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681" r:id="rId3"/>
  </p:sldMasterIdLst>
  <p:notesMasterIdLst>
    <p:notesMasterId r:id="rId38"/>
  </p:notesMasterIdLst>
  <p:sldIdLst>
    <p:sldId id="417" r:id="rId4"/>
    <p:sldId id="384" r:id="rId5"/>
    <p:sldId id="414" r:id="rId6"/>
    <p:sldId id="389" r:id="rId7"/>
    <p:sldId id="390" r:id="rId8"/>
    <p:sldId id="391" r:id="rId9"/>
    <p:sldId id="409" r:id="rId10"/>
    <p:sldId id="410" r:id="rId11"/>
    <p:sldId id="385" r:id="rId12"/>
    <p:sldId id="394" r:id="rId13"/>
    <p:sldId id="396" r:id="rId14"/>
    <p:sldId id="397" r:id="rId15"/>
    <p:sldId id="411" r:id="rId16"/>
    <p:sldId id="412" r:id="rId17"/>
    <p:sldId id="386" r:id="rId18"/>
    <p:sldId id="399" r:id="rId19"/>
    <p:sldId id="400" r:id="rId20"/>
    <p:sldId id="402" r:id="rId21"/>
    <p:sldId id="387" r:id="rId22"/>
    <p:sldId id="404" r:id="rId23"/>
    <p:sldId id="405" r:id="rId24"/>
    <p:sldId id="413" r:id="rId25"/>
    <p:sldId id="406" r:id="rId26"/>
    <p:sldId id="371" r:id="rId27"/>
    <p:sldId id="315" r:id="rId28"/>
    <p:sldId id="418" r:id="rId29"/>
    <p:sldId id="407" r:id="rId30"/>
    <p:sldId id="408" r:id="rId31"/>
    <p:sldId id="419" r:id="rId32"/>
    <p:sldId id="420" r:id="rId33"/>
    <p:sldId id="421" r:id="rId34"/>
    <p:sldId id="422" r:id="rId35"/>
    <p:sldId id="1781" r:id="rId36"/>
    <p:sldId id="1782" r:id="rId37"/>
  </p:sldIdLst>
  <p:sldSz cx="12192000" cy="6858000"/>
  <p:notesSz cx="6858000" cy="91440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917" userDrawn="1">
          <p15:clr>
            <a:srgbClr val="A4A3A4"/>
          </p15:clr>
        </p15:guide>
        <p15:guide id="4" orient="horz" pos="468" userDrawn="1">
          <p15:clr>
            <a:srgbClr val="A4A3A4"/>
          </p15:clr>
        </p15:guide>
        <p15:guide id="5" pos="7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9EDF0"/>
    <a:srgbClr val="06AAF4"/>
    <a:srgbClr val="ECF0F3"/>
    <a:srgbClr val="000000"/>
    <a:srgbClr val="3F0D3E"/>
    <a:srgbClr val="C9C3C9"/>
    <a:srgbClr val="B4AEA9"/>
    <a:srgbClr val="DED9D9"/>
    <a:srgbClr val="C8C1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518" autoAdjust="0"/>
    <p:restoredTop sz="93201" autoAdjust="0"/>
  </p:normalViewPr>
  <p:slideViewPr>
    <p:cSldViewPr snapToGrid="0">
      <p:cViewPr varScale="1">
        <p:scale>
          <a:sx n="73" d="100"/>
          <a:sy n="73" d="100"/>
        </p:scale>
        <p:origin x="312" y="66"/>
      </p:cViewPr>
      <p:guideLst>
        <p:guide pos="2917"/>
        <p:guide orient="horz" pos="468"/>
        <p:guide pos="735"/>
      </p:guideLst>
    </p:cSldViewPr>
  </p:slideViewPr>
  <p:outlineViewPr>
    <p:cViewPr>
      <p:scale>
        <a:sx n="33" d="100"/>
        <a:sy n="33" d="100"/>
      </p:scale>
      <p:origin x="0" y="-7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121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gs" Target="tags/tag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4E96B3-64D9-4A8F-8A05-F01D3CB199B8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22650A-3B22-4C48-85CF-E0840227A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925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2210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3860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7696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9021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2825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3787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6146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9639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0518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3406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52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8716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8876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7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621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6435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6566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7" name="Google Shape;2257;g71e807b215_2_161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58" name="Google Shape;2258;g71e807b215_2_1618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035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6546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4123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01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9192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3753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22650A-3B22-4C48-85CF-E0840227AD0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616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xiazai/" TargetMode="Externa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郑少PPT" hidden="1"/>
          <p:cNvSpPr/>
          <p:nvPr userDrawn="1"/>
        </p:nvSpPr>
        <p:spPr>
          <a:xfrm>
            <a:off x="4911129" y="3244334"/>
            <a:ext cx="236974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郑少</a:t>
            </a:r>
            <a:r>
              <a:rPr lang="en-US" altLang="zh-CN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PPT</a:t>
            </a:r>
            <a:endParaRPr lang="en-US" dirty="0">
              <a:solidFill>
                <a:srgbClr val="FFFFFF"/>
              </a:solidFill>
              <a:latin typeface="+mj-ea"/>
              <a:ea typeface="+mj-ea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73414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10E208B-166B-4326-4958-0F4A3F47C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30147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F4F4D7-E684-5C81-D3D8-920E8039B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07934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5C77DAA-596A-D54B-49A0-9BBF0DECE0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386945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49749E-3E2A-8D41-C964-0AFAC7776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F018226A-5D4D-D6AB-A57E-FAE8794FE4B9}"/>
              </a:ext>
            </a:extLst>
          </p:cNvPr>
          <p:cNvSpPr txBox="1"/>
          <p:nvPr userDrawn="1"/>
        </p:nvSpPr>
        <p:spPr>
          <a:xfrm>
            <a:off x="1717204" y="6195039"/>
            <a:ext cx="1224136" cy="118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00" dirty="0">
                <a:solidFill>
                  <a:prstClr val="black"/>
                </a:solidFill>
                <a:latin typeface="微软雅黑" panose="020B0503020204020204" pitchFamily="34" charset="-122"/>
                <a:hlinkClick r:id="rId2"/>
              </a:rPr>
              <a:t>PPT</a:t>
            </a:r>
            <a:r>
              <a:rPr lang="zh-CN" altLang="en-US" sz="100" dirty="0">
                <a:solidFill>
                  <a:prstClr val="black"/>
                </a:solidFill>
                <a:latin typeface="微软雅黑" panose="020B0503020204020204" pitchFamily="34" charset="-122"/>
                <a:hlinkClick r:id="rId2"/>
              </a:rPr>
              <a:t>下载</a:t>
            </a:r>
            <a:r>
              <a:rPr lang="zh-CN" altLang="en-US" sz="100" dirty="0">
                <a:solidFill>
                  <a:prstClr val="black"/>
                </a:solidFill>
                <a:latin typeface="微软雅黑" panose="020B0503020204020204" pitchFamily="34" charset="-122"/>
              </a:rPr>
              <a:t> </a:t>
            </a:r>
            <a:r>
              <a:rPr lang="en-US" altLang="zh-CN" sz="100" dirty="0">
                <a:solidFill>
                  <a:prstClr val="black"/>
                </a:solidFill>
                <a:latin typeface="微软雅黑" panose="020B0503020204020204" pitchFamily="34" charset="-122"/>
              </a:rPr>
              <a:t>http://www.1ppt.com/xiazai/</a:t>
            </a:r>
          </a:p>
        </p:txBody>
      </p:sp>
    </p:spTree>
    <p:extLst>
      <p:ext uri="{BB962C8B-B14F-4D97-AF65-F5344CB8AC3E}">
        <p14:creationId xmlns:p14="http://schemas.microsoft.com/office/powerpoint/2010/main" val="15589973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DF44F9A-4C14-C49A-9F16-3B8AC1CDAA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172330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4061562-BF55-138F-C095-0E860F4ED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13733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E3AAC11-D570-4EA9-AFC0-30FB72BA45EB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5ECCFAA-F4FB-487C-9F1E-C8836D0C3DC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15645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E3AAC11-D570-4EA9-AFC0-30FB72BA45EB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5ECCFAA-F4FB-487C-9F1E-C8836D0C3DC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76135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5562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4004758" y="52144"/>
            <a:ext cx="8111752" cy="4471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52496" y="2321294"/>
            <a:ext cx="3866361" cy="2189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52496" y="42022"/>
            <a:ext cx="3866361" cy="2189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8" hasCustomPrompt="1"/>
          </p:nvPr>
        </p:nvSpPr>
        <p:spPr>
          <a:xfrm>
            <a:off x="52496" y="4600567"/>
            <a:ext cx="3866361" cy="2189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9" hasCustomPrompt="1"/>
          </p:nvPr>
        </p:nvSpPr>
        <p:spPr>
          <a:xfrm>
            <a:off x="4004758" y="4609358"/>
            <a:ext cx="4044468" cy="217981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20" hasCustomPrompt="1"/>
          </p:nvPr>
        </p:nvSpPr>
        <p:spPr>
          <a:xfrm>
            <a:off x="8138302" y="4599884"/>
            <a:ext cx="3981517" cy="217981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71357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10" grpId="0" animBg="1"/>
      <p:bldP spid="11" grpId="0" animBg="1"/>
      <p:bldP spid="12" grpId="0" animBg="1"/>
      <p:bldP spid="13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郑少PPT" hidden="1">
            <a:extLst>
              <a:ext uri="{FF2B5EF4-FFF2-40B4-BE49-F238E27FC236}">
                <a16:creationId xmlns:a16="http://schemas.microsoft.com/office/drawing/2014/main" id="{4222A250-ED65-40DA-A092-D5DCAA6E6BDC}"/>
              </a:ext>
            </a:extLst>
          </p:cNvPr>
          <p:cNvSpPr/>
          <p:nvPr userDrawn="1"/>
        </p:nvSpPr>
        <p:spPr>
          <a:xfrm>
            <a:off x="4911129" y="3244334"/>
            <a:ext cx="236974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郑少</a:t>
            </a:r>
            <a:r>
              <a:rPr lang="en-US" altLang="zh-CN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PPT</a:t>
            </a:r>
            <a:endParaRPr lang="en-US" dirty="0">
              <a:solidFill>
                <a:srgbClr val="FFFFFF"/>
              </a:solidFill>
              <a:latin typeface="+mj-ea"/>
              <a:ea typeface="+mj-ea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01782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52496" y="47810"/>
            <a:ext cx="8111751" cy="4471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8253637" y="2322748"/>
            <a:ext cx="3866361" cy="2189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8248131" y="42022"/>
            <a:ext cx="3866361" cy="2189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8" hasCustomPrompt="1"/>
          </p:nvPr>
        </p:nvSpPr>
        <p:spPr>
          <a:xfrm>
            <a:off x="8261736" y="4596805"/>
            <a:ext cx="3866361" cy="2189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9" hasCustomPrompt="1"/>
          </p:nvPr>
        </p:nvSpPr>
        <p:spPr>
          <a:xfrm>
            <a:off x="63903" y="4596806"/>
            <a:ext cx="4044468" cy="2189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20" hasCustomPrompt="1"/>
          </p:nvPr>
        </p:nvSpPr>
        <p:spPr>
          <a:xfrm>
            <a:off x="4182730" y="4596805"/>
            <a:ext cx="3981517" cy="2189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56752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10" grpId="0" animBg="1"/>
      <p:bldP spid="11" grpId="0" animBg="1"/>
      <p:bldP spid="12" grpId="0" animBg="1"/>
      <p:bldP spid="13" grpId="0" animBg="1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58957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42085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43338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93336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63052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65277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451367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28731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9406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郑少PPT" hidden="1">
            <a:extLst>
              <a:ext uri="{FF2B5EF4-FFF2-40B4-BE49-F238E27FC236}">
                <a16:creationId xmlns:a16="http://schemas.microsoft.com/office/drawing/2014/main" id="{50D78330-D187-4610-9E26-97A245AB2B89}"/>
              </a:ext>
            </a:extLst>
          </p:cNvPr>
          <p:cNvSpPr/>
          <p:nvPr userDrawn="1"/>
        </p:nvSpPr>
        <p:spPr>
          <a:xfrm>
            <a:off x="4911129" y="3244334"/>
            <a:ext cx="236974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郑少</a:t>
            </a:r>
            <a:r>
              <a:rPr lang="en-US" altLang="zh-CN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PPT</a:t>
            </a:r>
            <a:endParaRPr lang="en-US" dirty="0">
              <a:solidFill>
                <a:srgbClr val="FFFFFF"/>
              </a:solidFill>
              <a:latin typeface="+mj-ea"/>
              <a:ea typeface="+mj-ea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5953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039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711615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bg>
      <p:bgPr>
        <a:solidFill>
          <a:srgbClr val="0E2A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</p:spTree>
    <p:extLst>
      <p:ext uri="{BB962C8B-B14F-4D97-AF65-F5344CB8AC3E}">
        <p14:creationId xmlns:p14="http://schemas.microsoft.com/office/powerpoint/2010/main" val="13037223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87363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155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737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DD760BA1-AA3F-48A9-B372-F4E9E3B14690}"/>
              </a:ext>
            </a:extLst>
          </p:cNvPr>
          <p:cNvGrpSpPr/>
          <p:nvPr userDrawn="1"/>
        </p:nvGrpSpPr>
        <p:grpSpPr>
          <a:xfrm>
            <a:off x="-600" y="0"/>
            <a:ext cx="12193200" cy="6858000"/>
            <a:chOff x="-600" y="0"/>
            <a:chExt cx="12193200" cy="6858000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9FFA11FE-7DF5-4B1C-9530-48C5ABC218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-600" y="0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858000 h 6858000"/>
                <a:gd name="connsiteX3" fmla="*/ 0 w 12193200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FC40E660-DE40-401B-BFAD-422E7EAA4670}"/>
                </a:ext>
              </a:extLst>
            </p:cNvPr>
            <p:cNvSpPr/>
            <p:nvPr userDrawn="1"/>
          </p:nvSpPr>
          <p:spPr>
            <a:xfrm>
              <a:off x="-600" y="0"/>
              <a:ext cx="12193200" cy="6858000"/>
            </a:xfrm>
            <a:prstGeom prst="rect">
              <a:avLst/>
            </a:prstGeom>
            <a:solidFill>
              <a:srgbClr val="000000">
                <a:alpha val="8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郑少PPT" hidden="1">
            <a:extLst>
              <a:ext uri="{FF2B5EF4-FFF2-40B4-BE49-F238E27FC236}">
                <a16:creationId xmlns:a16="http://schemas.microsoft.com/office/drawing/2014/main" id="{B9338B27-986B-4F48-8808-2D070D7AC65C}"/>
              </a:ext>
            </a:extLst>
          </p:cNvPr>
          <p:cNvSpPr/>
          <p:nvPr userDrawn="1"/>
        </p:nvSpPr>
        <p:spPr>
          <a:xfrm>
            <a:off x="4911129" y="3244334"/>
            <a:ext cx="236974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郑少</a:t>
            </a:r>
            <a:r>
              <a:rPr lang="en-US" altLang="zh-CN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PPT</a:t>
            </a:r>
            <a:endParaRPr lang="en-US" dirty="0">
              <a:solidFill>
                <a:srgbClr val="FFFFFF"/>
              </a:solidFill>
              <a:latin typeface="+mj-ea"/>
              <a:ea typeface="+mj-ea"/>
              <a:cs typeface="Segoe UI Light" panose="020B0502040204020203" pitchFamily="34" charset="0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D0FA8F3-2A49-4229-88E0-C7A47F23D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8051"/>
            <a:ext cx="5635171" cy="53553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14E15749-8957-4B42-B787-35DCA201ACCC}"/>
              </a:ext>
            </a:extLst>
          </p:cNvPr>
          <p:cNvSpPr/>
          <p:nvPr userDrawn="1"/>
        </p:nvSpPr>
        <p:spPr>
          <a:xfrm>
            <a:off x="5684196" y="1186776"/>
            <a:ext cx="823609" cy="972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3475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</p:bldLst>
  </p:timing>
  <p:extLst>
    <p:ext uri="{DCECCB84-F9BA-43D5-87BE-67443E8EF086}">
      <p15:sldGuideLst xmlns:p15="http://schemas.microsoft.com/office/powerpoint/2012/main">
        <p15:guide id="3" pos="7333">
          <p15:clr>
            <a:srgbClr val="FBAE40"/>
          </p15:clr>
        </p15:guide>
        <p15:guide id="4" orient="horz" pos="65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郑少PPT" hidden="1">
            <a:extLst>
              <a:ext uri="{FF2B5EF4-FFF2-40B4-BE49-F238E27FC236}">
                <a16:creationId xmlns:a16="http://schemas.microsoft.com/office/drawing/2014/main" id="{683D4E12-2CF8-4B1D-B6D5-FD05C5B0CB23}"/>
              </a:ext>
            </a:extLst>
          </p:cNvPr>
          <p:cNvSpPr/>
          <p:nvPr userDrawn="1"/>
        </p:nvSpPr>
        <p:spPr>
          <a:xfrm>
            <a:off x="4911129" y="3244334"/>
            <a:ext cx="236974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郑少</a:t>
            </a:r>
            <a:r>
              <a:rPr lang="en-US" altLang="zh-CN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PPT</a:t>
            </a:r>
            <a:endParaRPr lang="en-US" dirty="0">
              <a:solidFill>
                <a:srgbClr val="FFFFFF"/>
              </a:solidFill>
              <a:latin typeface="+mj-ea"/>
              <a:ea typeface="+mj-ea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297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733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封底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郑少PPT" hidden="1">
            <a:extLst>
              <a:ext uri="{FF2B5EF4-FFF2-40B4-BE49-F238E27FC236}">
                <a16:creationId xmlns:a16="http://schemas.microsoft.com/office/drawing/2014/main" id="{683D4E12-2CF8-4B1D-B6D5-FD05C5B0CB23}"/>
              </a:ext>
            </a:extLst>
          </p:cNvPr>
          <p:cNvSpPr/>
          <p:nvPr userDrawn="1"/>
        </p:nvSpPr>
        <p:spPr>
          <a:xfrm>
            <a:off x="4911129" y="3244334"/>
            <a:ext cx="236974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郑少</a:t>
            </a:r>
            <a:r>
              <a:rPr lang="en-US" altLang="zh-CN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PPT</a:t>
            </a:r>
            <a:endParaRPr lang="en-US" dirty="0">
              <a:solidFill>
                <a:srgbClr val="FFFFFF"/>
              </a:solidFill>
              <a:latin typeface="+mj-ea"/>
              <a:ea typeface="+mj-ea"/>
              <a:cs typeface="Segoe UI Light" panose="020B0502040204020203" pitchFamily="34" charset="0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2E3706BA-9692-45DF-AB6F-6CEA8A78388F}"/>
              </a:ext>
            </a:extLst>
          </p:cNvPr>
          <p:cNvGrpSpPr/>
          <p:nvPr userDrawn="1"/>
        </p:nvGrpSpPr>
        <p:grpSpPr>
          <a:xfrm>
            <a:off x="-600" y="0"/>
            <a:ext cx="12193200" cy="6858000"/>
            <a:chOff x="-600" y="0"/>
            <a:chExt cx="12193200" cy="6858000"/>
          </a:xfrm>
        </p:grpSpPr>
        <p:pic>
          <p:nvPicPr>
            <p:cNvPr id="4" name="图片 3">
              <a:extLst>
                <a:ext uri="{FF2B5EF4-FFF2-40B4-BE49-F238E27FC236}">
                  <a16:creationId xmlns:a16="http://schemas.microsoft.com/office/drawing/2014/main" id="{F4BBFF7E-A525-42F8-BC33-4A0E63CA02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-600" y="0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858000 h 6858000"/>
                <a:gd name="connsiteX3" fmla="*/ 0 w 12193200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6DB21FC4-5CDA-492F-AC57-043351933824}"/>
                </a:ext>
              </a:extLst>
            </p:cNvPr>
            <p:cNvSpPr/>
            <p:nvPr userDrawn="1"/>
          </p:nvSpPr>
          <p:spPr>
            <a:xfrm>
              <a:off x="-600" y="0"/>
              <a:ext cx="12193200" cy="6858000"/>
            </a:xfrm>
            <a:prstGeom prst="rect">
              <a:avLst/>
            </a:prstGeom>
            <a:solidFill>
              <a:srgbClr val="000000">
                <a:alpha val="8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946145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733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67BC78-4E26-3882-E5DC-2292A7179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920985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D280E1-AE57-DDB1-B548-7EBFDA0D9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62345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74FD6EF-5931-41EC-812C-E2BE90F72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95231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郑少PPT" hidden="1">
            <a:extLst>
              <a:ext uri="{FF2B5EF4-FFF2-40B4-BE49-F238E27FC236}">
                <a16:creationId xmlns:a16="http://schemas.microsoft.com/office/drawing/2014/main" id="{293880B1-84C8-4DB6-9807-D58B9788F884}"/>
              </a:ext>
            </a:extLst>
          </p:cNvPr>
          <p:cNvSpPr/>
          <p:nvPr userDrawn="1"/>
        </p:nvSpPr>
        <p:spPr>
          <a:xfrm>
            <a:off x="4911129" y="3244334"/>
            <a:ext cx="2369742" cy="369332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郑少</a:t>
            </a:r>
            <a:r>
              <a:rPr lang="en-US" altLang="zh-CN" dirty="0">
                <a:solidFill>
                  <a:srgbClr val="FFFFFF"/>
                </a:solidFill>
                <a:latin typeface="+mj-ea"/>
                <a:ea typeface="+mj-ea"/>
                <a:cs typeface="Segoe UI Light" panose="020B0502040204020203" pitchFamily="34" charset="0"/>
              </a:rPr>
              <a:t>PPT</a:t>
            </a:r>
            <a:endParaRPr lang="en-US" dirty="0">
              <a:solidFill>
                <a:srgbClr val="FFFFFF"/>
              </a:solidFill>
              <a:latin typeface="+mj-ea"/>
              <a:ea typeface="+mj-ea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31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3" r:id="rId11"/>
    <p:sldLayoutId id="2147483674" r:id="rId12"/>
    <p:sldLayoutId id="2147483675" r:id="rId13"/>
    <p:sldLayoutId id="2147483676" r:id="rId14"/>
    <p:sldLayoutId id="214748367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2571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FC91E9-BA21-4665-B569-3794335F89ED}" type="datetimeFigureOut">
              <a:rPr lang="zh-CN" altLang="en-US" smtClean="0"/>
              <a:t>2022/12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26C87-8BF2-4EE6-A5B5-29351161E3D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773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freeppt7.com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Relationship Id="rId5" Type="http://schemas.openxmlformats.org/officeDocument/2006/relationships/hyperlink" Target="https://www.freeppt7.com/" TargetMode="External"/><Relationship Id="rId4" Type="http://schemas.openxmlformats.org/officeDocument/2006/relationships/image" Target="../media/image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fonts.google.com/specimen/Krona+One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fonts.google.com/specimen/Ubuntu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图片 21">
            <a:extLst>
              <a:ext uri="{FF2B5EF4-FFF2-40B4-BE49-F238E27FC236}">
                <a16:creationId xmlns:a16="http://schemas.microsoft.com/office/drawing/2014/main" id="{3CFB3EE4-12E1-4507-B0C3-CEFAAFBD0AC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20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6858000 h 6858000"/>
              <a:gd name="connsiteX3" fmla="*/ 0 w 12193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23" name="矩形 22">
            <a:extLst>
              <a:ext uri="{FF2B5EF4-FFF2-40B4-BE49-F238E27FC236}">
                <a16:creationId xmlns:a16="http://schemas.microsoft.com/office/drawing/2014/main" id="{1CC37351-FB44-4C70-929F-1F3A85F7F53B}"/>
              </a:ext>
            </a:extLst>
          </p:cNvPr>
          <p:cNvSpPr/>
          <p:nvPr/>
        </p:nvSpPr>
        <p:spPr>
          <a:xfrm>
            <a:off x="-1200" y="0"/>
            <a:ext cx="12193200" cy="6858000"/>
          </a:xfrm>
          <a:prstGeom prst="rect">
            <a:avLst/>
          </a:prstGeom>
          <a:solidFill>
            <a:srgbClr val="000000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AAC1313C-4F61-4501-B932-6BD3C4ED52E3}"/>
              </a:ext>
            </a:extLst>
          </p:cNvPr>
          <p:cNvSpPr/>
          <p:nvPr/>
        </p:nvSpPr>
        <p:spPr>
          <a:xfrm rot="2700000">
            <a:off x="5161283" y="1135525"/>
            <a:ext cx="1869435" cy="1869435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88EABC2F-1ECA-44D4-834B-2819636BC7CC}"/>
              </a:ext>
            </a:extLst>
          </p:cNvPr>
          <p:cNvSpPr/>
          <p:nvPr/>
        </p:nvSpPr>
        <p:spPr>
          <a:xfrm rot="2700000">
            <a:off x="6288246" y="1135528"/>
            <a:ext cx="1869435" cy="1869435"/>
          </a:xfrm>
          <a:custGeom>
            <a:avLst/>
            <a:gdLst>
              <a:gd name="connsiteX0" fmla="*/ 70718 w 1448656"/>
              <a:gd name="connsiteY0" fmla="*/ 70718 h 1448656"/>
              <a:gd name="connsiteX1" fmla="*/ 241447 w 1448656"/>
              <a:gd name="connsiteY1" fmla="*/ 0 h 1448656"/>
              <a:gd name="connsiteX2" fmla="*/ 1207209 w 1448656"/>
              <a:gd name="connsiteY2" fmla="*/ 0 h 1448656"/>
              <a:gd name="connsiteX3" fmla="*/ 1448656 w 1448656"/>
              <a:gd name="connsiteY3" fmla="*/ 241447 h 1448656"/>
              <a:gd name="connsiteX4" fmla="*/ 1448656 w 1448656"/>
              <a:gd name="connsiteY4" fmla="*/ 1207209 h 1448656"/>
              <a:gd name="connsiteX5" fmla="*/ 1207209 w 1448656"/>
              <a:gd name="connsiteY5" fmla="*/ 1448656 h 1448656"/>
              <a:gd name="connsiteX6" fmla="*/ 983701 w 1448656"/>
              <a:gd name="connsiteY6" fmla="*/ 1448656 h 1448656"/>
              <a:gd name="connsiteX7" fmla="*/ 983701 w 1448656"/>
              <a:gd name="connsiteY7" fmla="*/ 1234976 h 1448656"/>
              <a:gd name="connsiteX8" fmla="*/ 1064757 w 1448656"/>
              <a:gd name="connsiteY8" fmla="*/ 1234976 h 1448656"/>
              <a:gd name="connsiteX9" fmla="*/ 1234976 w 1448656"/>
              <a:gd name="connsiteY9" fmla="*/ 1064757 h 1448656"/>
              <a:gd name="connsiteX10" fmla="*/ 1234976 w 1448656"/>
              <a:gd name="connsiteY10" fmla="*/ 383899 h 1448656"/>
              <a:gd name="connsiteX11" fmla="*/ 1064757 w 1448656"/>
              <a:gd name="connsiteY11" fmla="*/ 213680 h 1448656"/>
              <a:gd name="connsiteX12" fmla="*/ 383899 w 1448656"/>
              <a:gd name="connsiteY12" fmla="*/ 213680 h 1448656"/>
              <a:gd name="connsiteX13" fmla="*/ 213680 w 1448656"/>
              <a:gd name="connsiteY13" fmla="*/ 383899 h 1448656"/>
              <a:gd name="connsiteX14" fmla="*/ 213680 w 1448656"/>
              <a:gd name="connsiteY14" fmla="*/ 464955 h 1448656"/>
              <a:gd name="connsiteX15" fmla="*/ 0 w 1448656"/>
              <a:gd name="connsiteY15" fmla="*/ 464955 h 1448656"/>
              <a:gd name="connsiteX16" fmla="*/ 0 w 1448656"/>
              <a:gd name="connsiteY16" fmla="*/ 241447 h 1448656"/>
              <a:gd name="connsiteX17" fmla="*/ 70718 w 1448656"/>
              <a:gd name="connsiteY17" fmla="*/ 70718 h 1448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448656" h="1448656">
                <a:moveTo>
                  <a:pt x="70718" y="70718"/>
                </a:moveTo>
                <a:cubicBezTo>
                  <a:pt x="114412" y="27025"/>
                  <a:pt x="174773" y="0"/>
                  <a:pt x="241447" y="0"/>
                </a:cubicBezTo>
                <a:lnTo>
                  <a:pt x="1207209" y="0"/>
                </a:lnTo>
                <a:cubicBezTo>
                  <a:pt x="1340556" y="0"/>
                  <a:pt x="1448656" y="108100"/>
                  <a:pt x="1448656" y="241447"/>
                </a:cubicBezTo>
                <a:lnTo>
                  <a:pt x="1448656" y="1207209"/>
                </a:lnTo>
                <a:cubicBezTo>
                  <a:pt x="1448656" y="1340556"/>
                  <a:pt x="1340556" y="1448656"/>
                  <a:pt x="1207209" y="1448656"/>
                </a:cubicBezTo>
                <a:lnTo>
                  <a:pt x="983701" y="1448656"/>
                </a:lnTo>
                <a:lnTo>
                  <a:pt x="983701" y="1234976"/>
                </a:lnTo>
                <a:lnTo>
                  <a:pt x="1064757" y="1234976"/>
                </a:lnTo>
                <a:cubicBezTo>
                  <a:pt x="1158766" y="1234976"/>
                  <a:pt x="1234976" y="1158766"/>
                  <a:pt x="1234976" y="1064757"/>
                </a:cubicBezTo>
                <a:lnTo>
                  <a:pt x="1234976" y="383899"/>
                </a:lnTo>
                <a:cubicBezTo>
                  <a:pt x="1234976" y="289890"/>
                  <a:pt x="1158766" y="213680"/>
                  <a:pt x="1064757" y="213680"/>
                </a:cubicBezTo>
                <a:lnTo>
                  <a:pt x="383899" y="213680"/>
                </a:lnTo>
                <a:cubicBezTo>
                  <a:pt x="289890" y="213680"/>
                  <a:pt x="213680" y="289890"/>
                  <a:pt x="213680" y="383899"/>
                </a:cubicBezTo>
                <a:lnTo>
                  <a:pt x="213680" y="464955"/>
                </a:lnTo>
                <a:lnTo>
                  <a:pt x="0" y="464955"/>
                </a:lnTo>
                <a:lnTo>
                  <a:pt x="0" y="241447"/>
                </a:lnTo>
                <a:cubicBezTo>
                  <a:pt x="0" y="174774"/>
                  <a:pt x="27025" y="114412"/>
                  <a:pt x="70718" y="707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6C512C36-4874-4484-B887-E84614568015}"/>
              </a:ext>
            </a:extLst>
          </p:cNvPr>
          <p:cNvSpPr/>
          <p:nvPr/>
        </p:nvSpPr>
        <p:spPr>
          <a:xfrm rot="18900000" flipH="1">
            <a:off x="4034319" y="1135530"/>
            <a:ext cx="1869435" cy="1869435"/>
          </a:xfrm>
          <a:custGeom>
            <a:avLst/>
            <a:gdLst>
              <a:gd name="connsiteX0" fmla="*/ 70718 w 1448656"/>
              <a:gd name="connsiteY0" fmla="*/ 70718 h 1448656"/>
              <a:gd name="connsiteX1" fmla="*/ 241447 w 1448656"/>
              <a:gd name="connsiteY1" fmla="*/ 0 h 1448656"/>
              <a:gd name="connsiteX2" fmla="*/ 1207209 w 1448656"/>
              <a:gd name="connsiteY2" fmla="*/ 0 h 1448656"/>
              <a:gd name="connsiteX3" fmla="*/ 1448656 w 1448656"/>
              <a:gd name="connsiteY3" fmla="*/ 241447 h 1448656"/>
              <a:gd name="connsiteX4" fmla="*/ 1448656 w 1448656"/>
              <a:gd name="connsiteY4" fmla="*/ 1207209 h 1448656"/>
              <a:gd name="connsiteX5" fmla="*/ 1207209 w 1448656"/>
              <a:gd name="connsiteY5" fmla="*/ 1448656 h 1448656"/>
              <a:gd name="connsiteX6" fmla="*/ 983701 w 1448656"/>
              <a:gd name="connsiteY6" fmla="*/ 1448656 h 1448656"/>
              <a:gd name="connsiteX7" fmla="*/ 983701 w 1448656"/>
              <a:gd name="connsiteY7" fmla="*/ 1234976 h 1448656"/>
              <a:gd name="connsiteX8" fmla="*/ 1064757 w 1448656"/>
              <a:gd name="connsiteY8" fmla="*/ 1234976 h 1448656"/>
              <a:gd name="connsiteX9" fmla="*/ 1234976 w 1448656"/>
              <a:gd name="connsiteY9" fmla="*/ 1064757 h 1448656"/>
              <a:gd name="connsiteX10" fmla="*/ 1234976 w 1448656"/>
              <a:gd name="connsiteY10" fmla="*/ 383899 h 1448656"/>
              <a:gd name="connsiteX11" fmla="*/ 1064757 w 1448656"/>
              <a:gd name="connsiteY11" fmla="*/ 213680 h 1448656"/>
              <a:gd name="connsiteX12" fmla="*/ 383899 w 1448656"/>
              <a:gd name="connsiteY12" fmla="*/ 213680 h 1448656"/>
              <a:gd name="connsiteX13" fmla="*/ 213680 w 1448656"/>
              <a:gd name="connsiteY13" fmla="*/ 383899 h 1448656"/>
              <a:gd name="connsiteX14" fmla="*/ 213680 w 1448656"/>
              <a:gd name="connsiteY14" fmla="*/ 464955 h 1448656"/>
              <a:gd name="connsiteX15" fmla="*/ 0 w 1448656"/>
              <a:gd name="connsiteY15" fmla="*/ 464955 h 1448656"/>
              <a:gd name="connsiteX16" fmla="*/ 0 w 1448656"/>
              <a:gd name="connsiteY16" fmla="*/ 241447 h 1448656"/>
              <a:gd name="connsiteX17" fmla="*/ 70718 w 1448656"/>
              <a:gd name="connsiteY17" fmla="*/ 70718 h 1448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448656" h="1448656">
                <a:moveTo>
                  <a:pt x="70718" y="70718"/>
                </a:moveTo>
                <a:cubicBezTo>
                  <a:pt x="114412" y="27025"/>
                  <a:pt x="174773" y="0"/>
                  <a:pt x="241447" y="0"/>
                </a:cubicBezTo>
                <a:lnTo>
                  <a:pt x="1207209" y="0"/>
                </a:lnTo>
                <a:cubicBezTo>
                  <a:pt x="1340556" y="0"/>
                  <a:pt x="1448656" y="108100"/>
                  <a:pt x="1448656" y="241447"/>
                </a:cubicBezTo>
                <a:lnTo>
                  <a:pt x="1448656" y="1207209"/>
                </a:lnTo>
                <a:cubicBezTo>
                  <a:pt x="1448656" y="1340556"/>
                  <a:pt x="1340556" y="1448656"/>
                  <a:pt x="1207209" y="1448656"/>
                </a:cubicBezTo>
                <a:lnTo>
                  <a:pt x="983701" y="1448656"/>
                </a:lnTo>
                <a:lnTo>
                  <a:pt x="983701" y="1234976"/>
                </a:lnTo>
                <a:lnTo>
                  <a:pt x="1064757" y="1234976"/>
                </a:lnTo>
                <a:cubicBezTo>
                  <a:pt x="1158766" y="1234976"/>
                  <a:pt x="1234976" y="1158766"/>
                  <a:pt x="1234976" y="1064757"/>
                </a:cubicBezTo>
                <a:lnTo>
                  <a:pt x="1234976" y="383899"/>
                </a:lnTo>
                <a:cubicBezTo>
                  <a:pt x="1234976" y="289890"/>
                  <a:pt x="1158766" y="213680"/>
                  <a:pt x="1064757" y="213680"/>
                </a:cubicBezTo>
                <a:lnTo>
                  <a:pt x="383899" y="213680"/>
                </a:lnTo>
                <a:cubicBezTo>
                  <a:pt x="289890" y="213680"/>
                  <a:pt x="213680" y="289890"/>
                  <a:pt x="213680" y="383899"/>
                </a:cubicBezTo>
                <a:lnTo>
                  <a:pt x="213680" y="464955"/>
                </a:lnTo>
                <a:lnTo>
                  <a:pt x="0" y="464955"/>
                </a:lnTo>
                <a:lnTo>
                  <a:pt x="0" y="241447"/>
                </a:lnTo>
                <a:cubicBezTo>
                  <a:pt x="0" y="174774"/>
                  <a:pt x="27025" y="114412"/>
                  <a:pt x="70718" y="707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添加标题">
            <a:extLst>
              <a:ext uri="{FF2B5EF4-FFF2-40B4-BE49-F238E27FC236}">
                <a16:creationId xmlns:a16="http://schemas.microsoft.com/office/drawing/2014/main" id="{BDCB744D-429B-4E2B-8C9B-A0B47B7DA149}"/>
              </a:ext>
            </a:extLst>
          </p:cNvPr>
          <p:cNvSpPr/>
          <p:nvPr/>
        </p:nvSpPr>
        <p:spPr>
          <a:xfrm>
            <a:off x="4984613" y="1519680"/>
            <a:ext cx="222277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6000" b="1" dirty="0">
                <a:latin typeface="Abadi Extra Light" panose="020B0204020104020204" pitchFamily="34" charset="0"/>
                <a:cs typeface="+mn-ea"/>
                <a:sym typeface="+mn-lt"/>
              </a:rPr>
              <a:t>LOGO</a:t>
            </a:r>
            <a:endParaRPr lang="en-US" sz="6000" b="1" dirty="0">
              <a:latin typeface="Abadi Extra Light" panose="020B0204020104020204" pitchFamily="34" charset="0"/>
              <a:cs typeface="+mn-ea"/>
              <a:sym typeface="+mn-lt"/>
            </a:endParaRPr>
          </a:p>
        </p:txBody>
      </p:sp>
      <p:sp>
        <p:nvSpPr>
          <p:cNvPr id="43" name="添加标题">
            <a:extLst>
              <a:ext uri="{FF2B5EF4-FFF2-40B4-BE49-F238E27FC236}">
                <a16:creationId xmlns:a16="http://schemas.microsoft.com/office/drawing/2014/main" id="{4BDA5F71-795C-4F6B-80E6-85A95513887E}"/>
              </a:ext>
            </a:extLst>
          </p:cNvPr>
          <p:cNvSpPr/>
          <p:nvPr/>
        </p:nvSpPr>
        <p:spPr>
          <a:xfrm>
            <a:off x="1737360" y="3760506"/>
            <a:ext cx="867373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6000" dirty="0">
                <a:solidFill>
                  <a:srgbClr val="FFFFFF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  <a:cs typeface="+mn-ea"/>
                <a:sym typeface="+mn-lt"/>
              </a:rPr>
              <a:t>FREE PPT TEMPLATES</a:t>
            </a:r>
            <a:endParaRPr lang="en-US" sz="6000" dirty="0">
              <a:solidFill>
                <a:srgbClr val="FFFFFF"/>
              </a:solidFill>
              <a:latin typeface="方正正黑简体" panose="02000000000000000000" pitchFamily="2" charset="-122"/>
              <a:ea typeface="方正正黑简体" panose="02000000000000000000" pitchFamily="2" charset="-122"/>
              <a:cs typeface="+mn-ea"/>
              <a:sym typeface="+mn-lt"/>
            </a:endParaRPr>
          </a:p>
        </p:txBody>
      </p:sp>
      <p:sp>
        <p:nvSpPr>
          <p:cNvPr id="44" name="添加标题">
            <a:extLst>
              <a:ext uri="{FF2B5EF4-FFF2-40B4-BE49-F238E27FC236}">
                <a16:creationId xmlns:a16="http://schemas.microsoft.com/office/drawing/2014/main" id="{3ECFC9CC-E1DB-4ECD-9CC8-9418C9923124}"/>
              </a:ext>
            </a:extLst>
          </p:cNvPr>
          <p:cNvSpPr/>
          <p:nvPr/>
        </p:nvSpPr>
        <p:spPr>
          <a:xfrm>
            <a:off x="2390503" y="4728882"/>
            <a:ext cx="73674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/>
            <a:r>
              <a:rPr lang="en-US" altLang="zh-CN" sz="2800" dirty="0">
                <a:solidFill>
                  <a:srgbClr val="ECF0F3"/>
                </a:solidFill>
                <a:cs typeface="+mn-ea"/>
                <a:sym typeface="+mn-lt"/>
              </a:rPr>
              <a:t>Insert the Subtitle of Your Presentation</a:t>
            </a:r>
          </a:p>
        </p:txBody>
      </p: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71C33280-2FBB-4E97-B95E-49242EE6F3E3}"/>
              </a:ext>
            </a:extLst>
          </p:cNvPr>
          <p:cNvGrpSpPr/>
          <p:nvPr/>
        </p:nvGrpSpPr>
        <p:grpSpPr>
          <a:xfrm>
            <a:off x="3622576" y="5397754"/>
            <a:ext cx="2369742" cy="426468"/>
            <a:chOff x="3861792" y="4925145"/>
            <a:chExt cx="2369742" cy="426468"/>
          </a:xfrm>
        </p:grpSpPr>
        <p:sp>
          <p:nvSpPr>
            <p:cNvPr id="46" name="矩形: 圆角 45">
              <a:extLst>
                <a:ext uri="{FF2B5EF4-FFF2-40B4-BE49-F238E27FC236}">
                  <a16:creationId xmlns:a16="http://schemas.microsoft.com/office/drawing/2014/main" id="{34D46405-7201-49BA-96A2-1B51B5AD9048}"/>
                </a:ext>
              </a:extLst>
            </p:cNvPr>
            <p:cNvSpPr/>
            <p:nvPr/>
          </p:nvSpPr>
          <p:spPr>
            <a:xfrm>
              <a:off x="3991475" y="4946388"/>
              <a:ext cx="2110377" cy="405225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47" name="添加标题">
              <a:extLst>
                <a:ext uri="{FF2B5EF4-FFF2-40B4-BE49-F238E27FC236}">
                  <a16:creationId xmlns:a16="http://schemas.microsoft.com/office/drawing/2014/main" id="{532F7A4C-92D8-4DA1-B524-5B26A2BE6469}"/>
                </a:ext>
              </a:extLst>
            </p:cNvPr>
            <p:cNvSpPr/>
            <p:nvPr/>
          </p:nvSpPr>
          <p:spPr>
            <a:xfrm>
              <a:off x="3861792" y="4925145"/>
              <a:ext cx="236974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2000" dirty="0">
                  <a:solidFill>
                    <a:srgbClr val="FFFFFF"/>
                  </a:solidFill>
                  <a:cs typeface="+mn-ea"/>
                  <a:sym typeface="+mn-lt"/>
                  <a:hlinkClick r:id="rId4"/>
                </a:rPr>
                <a:t>freeppt7.com</a:t>
              </a:r>
              <a:endParaRPr lang="en-US" sz="2000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ADB9E4DA-6B54-416D-B80A-C9F244B35F24}"/>
              </a:ext>
            </a:extLst>
          </p:cNvPr>
          <p:cNvGrpSpPr/>
          <p:nvPr/>
        </p:nvGrpSpPr>
        <p:grpSpPr>
          <a:xfrm>
            <a:off x="6199683" y="5418997"/>
            <a:ext cx="2369742" cy="405225"/>
            <a:chOff x="5971205" y="4946388"/>
            <a:chExt cx="2369742" cy="405225"/>
          </a:xfrm>
        </p:grpSpPr>
        <p:sp>
          <p:nvSpPr>
            <p:cNvPr id="49" name="矩形: 圆角 48">
              <a:extLst>
                <a:ext uri="{FF2B5EF4-FFF2-40B4-BE49-F238E27FC236}">
                  <a16:creationId xmlns:a16="http://schemas.microsoft.com/office/drawing/2014/main" id="{B472BDBD-C93A-4251-B85E-AD3267502215}"/>
                </a:ext>
              </a:extLst>
            </p:cNvPr>
            <p:cNvSpPr/>
            <p:nvPr/>
          </p:nvSpPr>
          <p:spPr>
            <a:xfrm>
              <a:off x="6100888" y="4946388"/>
              <a:ext cx="2110377" cy="405225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50" name="添加标题">
              <a:extLst>
                <a:ext uri="{FF2B5EF4-FFF2-40B4-BE49-F238E27FC236}">
                  <a16:creationId xmlns:a16="http://schemas.microsoft.com/office/drawing/2014/main" id="{1A9F0719-93EA-454A-A0FC-A38DC35BCE72}"/>
                </a:ext>
              </a:extLst>
            </p:cNvPr>
            <p:cNvSpPr/>
            <p:nvPr/>
          </p:nvSpPr>
          <p:spPr>
            <a:xfrm>
              <a:off x="5971205" y="4964334"/>
              <a:ext cx="236974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dirty="0">
                  <a:solidFill>
                    <a:srgbClr val="FFFFFF"/>
                  </a:solidFill>
                  <a:cs typeface="+mn-ea"/>
                  <a:sym typeface="+mn-lt"/>
                </a:rPr>
                <a:t>Time </a:t>
              </a:r>
              <a:r>
                <a:rPr lang="zh-CN" altLang="en-US" dirty="0">
                  <a:solidFill>
                    <a:srgbClr val="FFFFFF"/>
                  </a:solidFill>
                  <a:cs typeface="+mn-ea"/>
                  <a:sym typeface="+mn-lt"/>
                </a:rPr>
                <a:t>：</a:t>
              </a:r>
              <a:r>
                <a:rPr lang="en-US" altLang="zh-CN" dirty="0">
                  <a:solidFill>
                    <a:srgbClr val="FFFFFF"/>
                  </a:solidFill>
                  <a:cs typeface="+mn-ea"/>
                  <a:sym typeface="+mn-lt"/>
                </a:rPr>
                <a:t>20XX</a:t>
              </a:r>
              <a:endParaRPr lang="en-US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264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000">
        <p:fade/>
      </p:transition>
    </mc:Choice>
    <mc:Fallback xmlns="">
      <p:transition spd="med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3" grpId="0" animBg="1"/>
      <p:bldP spid="20" grpId="0" animBg="1"/>
      <p:bldP spid="21" grpId="0" animBg="1"/>
      <p:bldP spid="24" grpId="0"/>
      <p:bldP spid="43" grpId="0"/>
      <p:bldP spid="4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C0DD67-2666-489A-BFC1-F55E812ED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pic>
        <p:nvPicPr>
          <p:cNvPr id="57" name="图片占位符 2">
            <a:extLst>
              <a:ext uri="{FF2B5EF4-FFF2-40B4-BE49-F238E27FC236}">
                <a16:creationId xmlns:a16="http://schemas.microsoft.com/office/drawing/2014/main" id="{A0E6EAB4-A20E-49D4-8A76-2DBA7A38B33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67202"/>
            <a:ext cx="3228135" cy="2560298"/>
          </a:xfrm>
          <a:prstGeom prst="rect">
            <a:avLst/>
          </a:prstGeom>
        </p:spPr>
      </p:pic>
      <p:pic>
        <p:nvPicPr>
          <p:cNvPr id="58" name="图片占位符 4">
            <a:extLst>
              <a:ext uri="{FF2B5EF4-FFF2-40B4-BE49-F238E27FC236}">
                <a16:creationId xmlns:a16="http://schemas.microsoft.com/office/drawing/2014/main" id="{6B803867-BD7F-409A-8668-D8924F00152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297702"/>
            <a:ext cx="3228135" cy="2560298"/>
          </a:xfrm>
          <a:prstGeom prst="rect">
            <a:avLst/>
          </a:prstGeom>
        </p:spPr>
      </p:pic>
      <p:sp>
        <p:nvSpPr>
          <p:cNvPr id="59" name="矩形 58">
            <a:extLst>
              <a:ext uri="{FF2B5EF4-FFF2-40B4-BE49-F238E27FC236}">
                <a16:creationId xmlns:a16="http://schemas.microsoft.com/office/drawing/2014/main" id="{BAD31D40-D1E5-4240-B0D8-BF19AE96D2A2}"/>
              </a:ext>
            </a:extLst>
          </p:cNvPr>
          <p:cNvSpPr/>
          <p:nvPr/>
        </p:nvSpPr>
        <p:spPr>
          <a:xfrm>
            <a:off x="3228134" y="2057401"/>
            <a:ext cx="391366" cy="2070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818C96AC-7E8C-4C41-B945-6095E848A5F3}"/>
              </a:ext>
            </a:extLst>
          </p:cNvPr>
          <p:cNvSpPr/>
          <p:nvPr/>
        </p:nvSpPr>
        <p:spPr>
          <a:xfrm>
            <a:off x="3619500" y="2057401"/>
            <a:ext cx="3403600" cy="2070100"/>
          </a:xfrm>
          <a:prstGeom prst="rect">
            <a:avLst/>
          </a:prstGeom>
          <a:solidFill>
            <a:srgbClr val="EAEAEA">
              <a:alpha val="1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69F0B0BE-E89A-4C51-9B7F-29EF91C2C604}"/>
              </a:ext>
            </a:extLst>
          </p:cNvPr>
          <p:cNvSpPr/>
          <p:nvPr/>
        </p:nvSpPr>
        <p:spPr>
          <a:xfrm>
            <a:off x="3228134" y="4787900"/>
            <a:ext cx="391366" cy="2070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69B26C09-4608-40F3-8762-123132D18A02}"/>
              </a:ext>
            </a:extLst>
          </p:cNvPr>
          <p:cNvSpPr/>
          <p:nvPr/>
        </p:nvSpPr>
        <p:spPr>
          <a:xfrm>
            <a:off x="3619500" y="4787900"/>
            <a:ext cx="3403600" cy="2070100"/>
          </a:xfrm>
          <a:prstGeom prst="rect">
            <a:avLst/>
          </a:prstGeom>
          <a:solidFill>
            <a:srgbClr val="EAEAEA">
              <a:alpha val="1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3" name="添加标题">
            <a:extLst>
              <a:ext uri="{FF2B5EF4-FFF2-40B4-BE49-F238E27FC236}">
                <a16:creationId xmlns:a16="http://schemas.microsoft.com/office/drawing/2014/main" id="{BC81EA6B-EB49-4F1C-B760-FC1A29B31CD6}"/>
              </a:ext>
            </a:extLst>
          </p:cNvPr>
          <p:cNvSpPr txBox="1"/>
          <p:nvPr/>
        </p:nvSpPr>
        <p:spPr>
          <a:xfrm>
            <a:off x="3905407" y="2438747"/>
            <a:ext cx="2831786" cy="1114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b="1" dirty="0">
                <a:solidFill>
                  <a:schemeClr val="accent1"/>
                </a:solidFill>
                <a:cs typeface="+mn-ea"/>
                <a:sym typeface="+mn-lt"/>
              </a:rPr>
              <a:t>Add title text</a:t>
            </a:r>
          </a:p>
          <a:p>
            <a:pPr algn="just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64" name="添加标题">
            <a:extLst>
              <a:ext uri="{FF2B5EF4-FFF2-40B4-BE49-F238E27FC236}">
                <a16:creationId xmlns:a16="http://schemas.microsoft.com/office/drawing/2014/main" id="{CB339FEC-F14E-4EC1-B7CD-F8459737740B}"/>
              </a:ext>
            </a:extLst>
          </p:cNvPr>
          <p:cNvSpPr txBox="1"/>
          <p:nvPr/>
        </p:nvSpPr>
        <p:spPr>
          <a:xfrm>
            <a:off x="3905407" y="5169246"/>
            <a:ext cx="2831786" cy="1114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b="1" dirty="0">
                <a:solidFill>
                  <a:schemeClr val="accent2"/>
                </a:solidFill>
                <a:cs typeface="+mn-ea"/>
                <a:sym typeface="+mn-lt"/>
              </a:rPr>
              <a:t>Add title text</a:t>
            </a:r>
          </a:p>
          <a:p>
            <a:pPr algn="just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65" name="Rectangle 8">
            <a:extLst>
              <a:ext uri="{FF2B5EF4-FFF2-40B4-BE49-F238E27FC236}">
                <a16:creationId xmlns:a16="http://schemas.microsoft.com/office/drawing/2014/main" id="{3B7280D8-FD93-45A9-BDD7-DA61D057E06F}"/>
              </a:ext>
            </a:extLst>
          </p:cNvPr>
          <p:cNvSpPr/>
          <p:nvPr/>
        </p:nvSpPr>
        <p:spPr>
          <a:xfrm>
            <a:off x="8773993" y="2184400"/>
            <a:ext cx="2561028" cy="698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66" name="TextBox 9">
            <a:extLst>
              <a:ext uri="{FF2B5EF4-FFF2-40B4-BE49-F238E27FC236}">
                <a16:creationId xmlns:a16="http://schemas.microsoft.com/office/drawing/2014/main" id="{36F0C6CF-51A8-4A3C-9A61-7F83D51445CF}"/>
              </a:ext>
            </a:extLst>
          </p:cNvPr>
          <p:cNvSpPr txBox="1"/>
          <p:nvPr/>
        </p:nvSpPr>
        <p:spPr>
          <a:xfrm>
            <a:off x="8752561" y="1753312"/>
            <a:ext cx="20473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Add title text</a:t>
            </a:r>
            <a:endParaRPr lang="en-GB" sz="2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C5FC101C-B767-49C1-A22F-B6D8C071D80D}"/>
              </a:ext>
            </a:extLst>
          </p:cNvPr>
          <p:cNvGrpSpPr/>
          <p:nvPr/>
        </p:nvGrpSpPr>
        <p:grpSpPr>
          <a:xfrm>
            <a:off x="7949109" y="3204358"/>
            <a:ext cx="3385911" cy="1114216"/>
            <a:chOff x="6052665" y="2772699"/>
            <a:chExt cx="3385911" cy="1114216"/>
          </a:xfrm>
        </p:grpSpPr>
        <p:grpSp>
          <p:nvGrpSpPr>
            <p:cNvPr id="68" name="组合 67">
              <a:extLst>
                <a:ext uri="{FF2B5EF4-FFF2-40B4-BE49-F238E27FC236}">
                  <a16:creationId xmlns:a16="http://schemas.microsoft.com/office/drawing/2014/main" id="{F6F82BA2-AFF0-4F87-A8D9-77EBD77345E9}"/>
                </a:ext>
              </a:extLst>
            </p:cNvPr>
            <p:cNvGrpSpPr/>
            <p:nvPr/>
          </p:nvGrpSpPr>
          <p:grpSpPr>
            <a:xfrm>
              <a:off x="6052665" y="2959770"/>
              <a:ext cx="658385" cy="658641"/>
              <a:chOff x="2151757" y="1214995"/>
              <a:chExt cx="896839" cy="897188"/>
            </a:xfrm>
          </p:grpSpPr>
          <p:sp>
            <p:nvSpPr>
              <p:cNvPr id="70" name="Shape 117">
                <a:extLst>
                  <a:ext uri="{FF2B5EF4-FFF2-40B4-BE49-F238E27FC236}">
                    <a16:creationId xmlns:a16="http://schemas.microsoft.com/office/drawing/2014/main" id="{E11A8CEB-E115-4C14-BAF0-361CA5ED335C}"/>
                  </a:ext>
                </a:extLst>
              </p:cNvPr>
              <p:cNvSpPr/>
              <p:nvPr/>
            </p:nvSpPr>
            <p:spPr>
              <a:xfrm>
                <a:off x="2151757" y="1214995"/>
                <a:ext cx="896839" cy="89718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lIns="91425" tIns="0" rIns="91425" bIns="64000" anchor="ctr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2800"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1" name="Shape 120">
                <a:extLst>
                  <a:ext uri="{FF2B5EF4-FFF2-40B4-BE49-F238E27FC236}">
                    <a16:creationId xmlns:a16="http://schemas.microsoft.com/office/drawing/2014/main" id="{50AD550B-60FD-4668-87B2-EB058666D5CF}"/>
                  </a:ext>
                </a:extLst>
              </p:cNvPr>
              <p:cNvSpPr/>
              <p:nvPr/>
            </p:nvSpPr>
            <p:spPr>
              <a:xfrm>
                <a:off x="2384211" y="1495196"/>
                <a:ext cx="451737" cy="31333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1495" y="119712"/>
                    </a:moveTo>
                    <a:lnTo>
                      <a:pt x="91495" y="119712"/>
                    </a:lnTo>
                    <a:cubicBezTo>
                      <a:pt x="28106" y="119712"/>
                      <a:pt x="28106" y="119712"/>
                      <a:pt x="28106" y="119712"/>
                    </a:cubicBezTo>
                    <a:cubicBezTo>
                      <a:pt x="12757" y="119712"/>
                      <a:pt x="0" y="101339"/>
                      <a:pt x="0" y="79234"/>
                    </a:cubicBezTo>
                    <a:cubicBezTo>
                      <a:pt x="0" y="60861"/>
                      <a:pt x="8372" y="44497"/>
                      <a:pt x="19734" y="40478"/>
                    </a:cubicBezTo>
                    <a:cubicBezTo>
                      <a:pt x="26710" y="16076"/>
                      <a:pt x="42259" y="0"/>
                      <a:pt x="60598" y="0"/>
                    </a:cubicBezTo>
                    <a:cubicBezTo>
                      <a:pt x="78936" y="0"/>
                      <a:pt x="94485" y="16076"/>
                      <a:pt x="100066" y="40478"/>
                    </a:cubicBezTo>
                    <a:cubicBezTo>
                      <a:pt x="111229" y="44497"/>
                      <a:pt x="119800" y="60861"/>
                      <a:pt x="119800" y="79234"/>
                    </a:cubicBezTo>
                    <a:cubicBezTo>
                      <a:pt x="119800" y="101339"/>
                      <a:pt x="107043" y="119712"/>
                      <a:pt x="91495" y="119712"/>
                    </a:cubicBezTo>
                    <a:close/>
                    <a:moveTo>
                      <a:pt x="102857" y="60861"/>
                    </a:moveTo>
                    <a:lnTo>
                      <a:pt x="102857" y="60861"/>
                    </a:lnTo>
                    <a:cubicBezTo>
                      <a:pt x="102857" y="60861"/>
                      <a:pt x="102857" y="60861"/>
                      <a:pt x="101461" y="58851"/>
                    </a:cubicBezTo>
                    <a:cubicBezTo>
                      <a:pt x="100066" y="58851"/>
                      <a:pt x="100066" y="56842"/>
                      <a:pt x="100066" y="56842"/>
                    </a:cubicBezTo>
                    <a:cubicBezTo>
                      <a:pt x="100066" y="56842"/>
                      <a:pt x="100066" y="56842"/>
                      <a:pt x="98671" y="56842"/>
                    </a:cubicBezTo>
                    <a:cubicBezTo>
                      <a:pt x="98671" y="56842"/>
                      <a:pt x="98671" y="56842"/>
                      <a:pt x="97275" y="56842"/>
                    </a:cubicBezTo>
                    <a:cubicBezTo>
                      <a:pt x="97275" y="56842"/>
                      <a:pt x="97275" y="56842"/>
                      <a:pt x="97275" y="54832"/>
                    </a:cubicBezTo>
                    <a:lnTo>
                      <a:pt x="95880" y="54832"/>
                    </a:lnTo>
                    <a:cubicBezTo>
                      <a:pt x="94485" y="54832"/>
                      <a:pt x="94485" y="54832"/>
                      <a:pt x="94485" y="54832"/>
                    </a:cubicBezTo>
                    <a:cubicBezTo>
                      <a:pt x="93089" y="54832"/>
                      <a:pt x="93089" y="54832"/>
                      <a:pt x="91495" y="54832"/>
                    </a:cubicBezTo>
                    <a:cubicBezTo>
                      <a:pt x="91495" y="52822"/>
                      <a:pt x="91495" y="52822"/>
                      <a:pt x="91495" y="50813"/>
                    </a:cubicBezTo>
                    <a:cubicBezTo>
                      <a:pt x="90099" y="50813"/>
                      <a:pt x="90099" y="50813"/>
                      <a:pt x="90099" y="50813"/>
                    </a:cubicBezTo>
                    <a:cubicBezTo>
                      <a:pt x="90099" y="48516"/>
                      <a:pt x="90099" y="48516"/>
                      <a:pt x="90099" y="46507"/>
                    </a:cubicBezTo>
                    <a:cubicBezTo>
                      <a:pt x="88704" y="44497"/>
                      <a:pt x="88704" y="44497"/>
                      <a:pt x="88704" y="42488"/>
                    </a:cubicBezTo>
                    <a:cubicBezTo>
                      <a:pt x="88704" y="40478"/>
                      <a:pt x="87308" y="40478"/>
                      <a:pt x="87308" y="38468"/>
                    </a:cubicBezTo>
                    <a:cubicBezTo>
                      <a:pt x="81727" y="26411"/>
                      <a:pt x="71960" y="16076"/>
                      <a:pt x="60598" y="16076"/>
                    </a:cubicBezTo>
                    <a:cubicBezTo>
                      <a:pt x="47840" y="16076"/>
                      <a:pt x="38073" y="26411"/>
                      <a:pt x="32491" y="38468"/>
                    </a:cubicBezTo>
                    <a:cubicBezTo>
                      <a:pt x="32491" y="40478"/>
                      <a:pt x="32491" y="40478"/>
                      <a:pt x="31096" y="42488"/>
                    </a:cubicBezTo>
                    <a:cubicBezTo>
                      <a:pt x="31096" y="44497"/>
                      <a:pt x="31096" y="44497"/>
                      <a:pt x="31096" y="46507"/>
                    </a:cubicBezTo>
                    <a:cubicBezTo>
                      <a:pt x="31096" y="46507"/>
                      <a:pt x="31096" y="46507"/>
                      <a:pt x="29501" y="46507"/>
                    </a:cubicBezTo>
                    <a:cubicBezTo>
                      <a:pt x="29501" y="48516"/>
                      <a:pt x="29501" y="48516"/>
                      <a:pt x="29501" y="50813"/>
                    </a:cubicBezTo>
                    <a:cubicBezTo>
                      <a:pt x="29501" y="52822"/>
                      <a:pt x="28106" y="52822"/>
                      <a:pt x="28106" y="54832"/>
                    </a:cubicBezTo>
                    <a:lnTo>
                      <a:pt x="26710" y="54832"/>
                    </a:lnTo>
                    <a:cubicBezTo>
                      <a:pt x="26710" y="54832"/>
                      <a:pt x="26710" y="54832"/>
                      <a:pt x="25315" y="54832"/>
                    </a:cubicBezTo>
                    <a:cubicBezTo>
                      <a:pt x="23920" y="54832"/>
                      <a:pt x="23920" y="54832"/>
                      <a:pt x="23920" y="54832"/>
                    </a:cubicBezTo>
                    <a:cubicBezTo>
                      <a:pt x="22524" y="56842"/>
                      <a:pt x="22524" y="56842"/>
                      <a:pt x="22524" y="56842"/>
                    </a:cubicBezTo>
                    <a:cubicBezTo>
                      <a:pt x="21129" y="56842"/>
                      <a:pt x="21129" y="56842"/>
                      <a:pt x="21129" y="56842"/>
                    </a:cubicBezTo>
                    <a:cubicBezTo>
                      <a:pt x="19734" y="56842"/>
                      <a:pt x="19734" y="58851"/>
                      <a:pt x="19734" y="58851"/>
                    </a:cubicBezTo>
                    <a:cubicBezTo>
                      <a:pt x="18338" y="58851"/>
                      <a:pt x="18338" y="58851"/>
                      <a:pt x="18338" y="58851"/>
                    </a:cubicBezTo>
                    <a:cubicBezTo>
                      <a:pt x="18338" y="60861"/>
                      <a:pt x="16943" y="60861"/>
                      <a:pt x="16943" y="60861"/>
                    </a:cubicBezTo>
                    <a:cubicBezTo>
                      <a:pt x="14152" y="64880"/>
                      <a:pt x="11362" y="70909"/>
                      <a:pt x="11362" y="79234"/>
                    </a:cubicBezTo>
                    <a:cubicBezTo>
                      <a:pt x="11362" y="93301"/>
                      <a:pt x="18338" y="103349"/>
                      <a:pt x="28106" y="103349"/>
                    </a:cubicBezTo>
                    <a:cubicBezTo>
                      <a:pt x="91495" y="103349"/>
                      <a:pt x="91495" y="103349"/>
                      <a:pt x="91495" y="103349"/>
                    </a:cubicBezTo>
                    <a:cubicBezTo>
                      <a:pt x="101461" y="103349"/>
                      <a:pt x="108438" y="93301"/>
                      <a:pt x="108438" y="79234"/>
                    </a:cubicBezTo>
                    <a:cubicBezTo>
                      <a:pt x="108438" y="70909"/>
                      <a:pt x="107043" y="64880"/>
                      <a:pt x="102857" y="6086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3600">
                  <a:solidFill>
                    <a:schemeClr val="dk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69" name="添加标题">
              <a:extLst>
                <a:ext uri="{FF2B5EF4-FFF2-40B4-BE49-F238E27FC236}">
                  <a16:creationId xmlns:a16="http://schemas.microsoft.com/office/drawing/2014/main" id="{FC80B7A1-DF22-4405-9665-9411C4B03106}"/>
                </a:ext>
              </a:extLst>
            </p:cNvPr>
            <p:cNvSpPr txBox="1"/>
            <p:nvPr/>
          </p:nvSpPr>
          <p:spPr>
            <a:xfrm>
              <a:off x="7000896" y="2772699"/>
              <a:ext cx="2437680" cy="1114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cs typeface="+mn-ea"/>
                  <a:sym typeface="+mn-lt"/>
                </a:rPr>
                <a:t>Add title text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09482713-2A67-4538-9A94-AB7313BA2526}"/>
              </a:ext>
            </a:extLst>
          </p:cNvPr>
          <p:cNvGrpSpPr/>
          <p:nvPr/>
        </p:nvGrpSpPr>
        <p:grpSpPr>
          <a:xfrm>
            <a:off x="7949109" y="4322393"/>
            <a:ext cx="3385911" cy="1114216"/>
            <a:chOff x="6052665" y="3846382"/>
            <a:chExt cx="3385911" cy="1114216"/>
          </a:xfrm>
        </p:grpSpPr>
        <p:grpSp>
          <p:nvGrpSpPr>
            <p:cNvPr id="73" name="组合 72">
              <a:extLst>
                <a:ext uri="{FF2B5EF4-FFF2-40B4-BE49-F238E27FC236}">
                  <a16:creationId xmlns:a16="http://schemas.microsoft.com/office/drawing/2014/main" id="{2B032C32-BE8C-4C67-A197-6437E4A173FF}"/>
                </a:ext>
              </a:extLst>
            </p:cNvPr>
            <p:cNvGrpSpPr/>
            <p:nvPr/>
          </p:nvGrpSpPr>
          <p:grpSpPr>
            <a:xfrm>
              <a:off x="6052665" y="4033453"/>
              <a:ext cx="658385" cy="658641"/>
              <a:chOff x="2151757" y="2395872"/>
              <a:chExt cx="896839" cy="897188"/>
            </a:xfrm>
          </p:grpSpPr>
          <p:sp>
            <p:nvSpPr>
              <p:cNvPr id="75" name="Shape 108">
                <a:extLst>
                  <a:ext uri="{FF2B5EF4-FFF2-40B4-BE49-F238E27FC236}">
                    <a16:creationId xmlns:a16="http://schemas.microsoft.com/office/drawing/2014/main" id="{25AF4CB1-A7EB-4823-9295-E3916E1D9AC0}"/>
                  </a:ext>
                </a:extLst>
              </p:cNvPr>
              <p:cNvSpPr/>
              <p:nvPr/>
            </p:nvSpPr>
            <p:spPr>
              <a:xfrm>
                <a:off x="2151757" y="2395872"/>
                <a:ext cx="896839" cy="89718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lIns="91425" tIns="0" rIns="91425" bIns="64000" anchor="ctr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2800"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6" name="Shape 123">
                <a:extLst>
                  <a:ext uri="{FF2B5EF4-FFF2-40B4-BE49-F238E27FC236}">
                    <a16:creationId xmlns:a16="http://schemas.microsoft.com/office/drawing/2014/main" id="{C416E7B0-7699-4CBD-BEDA-CD5C0CEF3A98}"/>
                  </a:ext>
                </a:extLst>
              </p:cNvPr>
              <p:cNvSpPr/>
              <p:nvPr/>
            </p:nvSpPr>
            <p:spPr>
              <a:xfrm>
                <a:off x="2384211" y="2600427"/>
                <a:ext cx="434681" cy="44859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7865" y="41298"/>
                    </a:moveTo>
                    <a:lnTo>
                      <a:pt x="107865" y="41298"/>
                    </a:lnTo>
                    <a:cubicBezTo>
                      <a:pt x="98157" y="18441"/>
                      <a:pt x="81438" y="0"/>
                      <a:pt x="71730" y="2077"/>
                    </a:cubicBezTo>
                    <a:cubicBezTo>
                      <a:pt x="57438" y="9350"/>
                      <a:pt x="81438" y="36883"/>
                      <a:pt x="9707" y="64415"/>
                    </a:cubicBezTo>
                    <a:cubicBezTo>
                      <a:pt x="2426" y="66753"/>
                      <a:pt x="0" y="75844"/>
                      <a:pt x="2426" y="82857"/>
                    </a:cubicBezTo>
                    <a:cubicBezTo>
                      <a:pt x="4853" y="87532"/>
                      <a:pt x="14292" y="94285"/>
                      <a:pt x="21842" y="92207"/>
                    </a:cubicBezTo>
                    <a:lnTo>
                      <a:pt x="26426" y="89870"/>
                    </a:lnTo>
                    <a:cubicBezTo>
                      <a:pt x="31280" y="96623"/>
                      <a:pt x="36134" y="92207"/>
                      <a:pt x="36134" y="96623"/>
                    </a:cubicBezTo>
                    <a:cubicBezTo>
                      <a:pt x="38561" y="101298"/>
                      <a:pt x="43146" y="110389"/>
                      <a:pt x="43146" y="112727"/>
                    </a:cubicBezTo>
                    <a:cubicBezTo>
                      <a:pt x="45573" y="115064"/>
                      <a:pt x="48000" y="119740"/>
                      <a:pt x="50426" y="117402"/>
                    </a:cubicBezTo>
                    <a:cubicBezTo>
                      <a:pt x="52853" y="117402"/>
                      <a:pt x="62292" y="115064"/>
                      <a:pt x="64719" y="112727"/>
                    </a:cubicBezTo>
                    <a:cubicBezTo>
                      <a:pt x="69303" y="112727"/>
                      <a:pt x="69303" y="110389"/>
                      <a:pt x="67146" y="108051"/>
                    </a:cubicBezTo>
                    <a:cubicBezTo>
                      <a:pt x="67146" y="105974"/>
                      <a:pt x="62292" y="103636"/>
                      <a:pt x="62292" y="101298"/>
                    </a:cubicBezTo>
                    <a:cubicBezTo>
                      <a:pt x="59865" y="98961"/>
                      <a:pt x="57438" y="89870"/>
                      <a:pt x="55011" y="87532"/>
                    </a:cubicBezTo>
                    <a:cubicBezTo>
                      <a:pt x="52853" y="85194"/>
                      <a:pt x="57438" y="80519"/>
                      <a:pt x="62292" y="80519"/>
                    </a:cubicBezTo>
                    <a:cubicBezTo>
                      <a:pt x="95730" y="78441"/>
                      <a:pt x="100584" y="96623"/>
                      <a:pt x="112449" y="92207"/>
                    </a:cubicBezTo>
                    <a:cubicBezTo>
                      <a:pt x="119730" y="89870"/>
                      <a:pt x="119730" y="64415"/>
                      <a:pt x="107865" y="41298"/>
                    </a:cubicBezTo>
                    <a:close/>
                    <a:moveTo>
                      <a:pt x="105168" y="80519"/>
                    </a:moveTo>
                    <a:lnTo>
                      <a:pt x="105168" y="80519"/>
                    </a:lnTo>
                    <a:cubicBezTo>
                      <a:pt x="102741" y="80519"/>
                      <a:pt x="88449" y="71428"/>
                      <a:pt x="81438" y="52987"/>
                    </a:cubicBezTo>
                    <a:cubicBezTo>
                      <a:pt x="74157" y="34545"/>
                      <a:pt x="74157" y="16103"/>
                      <a:pt x="76584" y="16103"/>
                    </a:cubicBezTo>
                    <a:cubicBezTo>
                      <a:pt x="79011" y="16103"/>
                      <a:pt x="90876" y="27532"/>
                      <a:pt x="98157" y="45974"/>
                    </a:cubicBezTo>
                    <a:cubicBezTo>
                      <a:pt x="107865" y="64415"/>
                      <a:pt x="105168" y="78441"/>
                      <a:pt x="105168" y="80519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lIns="91400" tIns="45700" rIns="91400" bIns="45700" anchor="ctr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3600">
                  <a:solidFill>
                    <a:schemeClr val="dk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74" name="添加标题">
              <a:extLst>
                <a:ext uri="{FF2B5EF4-FFF2-40B4-BE49-F238E27FC236}">
                  <a16:creationId xmlns:a16="http://schemas.microsoft.com/office/drawing/2014/main" id="{A5B36109-654B-450B-B727-EC49AD24E34B}"/>
                </a:ext>
              </a:extLst>
            </p:cNvPr>
            <p:cNvSpPr txBox="1"/>
            <p:nvPr/>
          </p:nvSpPr>
          <p:spPr>
            <a:xfrm>
              <a:off x="7000896" y="3846382"/>
              <a:ext cx="2437680" cy="1114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b="1" dirty="0">
                  <a:solidFill>
                    <a:schemeClr val="accent2"/>
                  </a:solidFill>
                  <a:cs typeface="+mn-ea"/>
                  <a:sym typeface="+mn-lt"/>
                </a:rPr>
                <a:t>Add title text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56E0CC34-38D4-4172-A470-4D95623A9C5E}"/>
              </a:ext>
            </a:extLst>
          </p:cNvPr>
          <p:cNvGrpSpPr/>
          <p:nvPr/>
        </p:nvGrpSpPr>
        <p:grpSpPr>
          <a:xfrm>
            <a:off x="7949109" y="5440427"/>
            <a:ext cx="3385912" cy="1114216"/>
            <a:chOff x="6052665" y="4815114"/>
            <a:chExt cx="3385912" cy="1114216"/>
          </a:xfrm>
        </p:grpSpPr>
        <p:grpSp>
          <p:nvGrpSpPr>
            <p:cNvPr id="78" name="组合 77">
              <a:extLst>
                <a:ext uri="{FF2B5EF4-FFF2-40B4-BE49-F238E27FC236}">
                  <a16:creationId xmlns:a16="http://schemas.microsoft.com/office/drawing/2014/main" id="{5F5EEDD3-757C-4B54-AC4E-F9FD624EE494}"/>
                </a:ext>
              </a:extLst>
            </p:cNvPr>
            <p:cNvGrpSpPr/>
            <p:nvPr/>
          </p:nvGrpSpPr>
          <p:grpSpPr>
            <a:xfrm>
              <a:off x="6052665" y="5002185"/>
              <a:ext cx="658385" cy="658641"/>
              <a:chOff x="2151757" y="3576749"/>
              <a:chExt cx="896839" cy="897188"/>
            </a:xfrm>
          </p:grpSpPr>
          <p:sp>
            <p:nvSpPr>
              <p:cNvPr id="80" name="Shape 111">
                <a:extLst>
                  <a:ext uri="{FF2B5EF4-FFF2-40B4-BE49-F238E27FC236}">
                    <a16:creationId xmlns:a16="http://schemas.microsoft.com/office/drawing/2014/main" id="{5584FECF-89B9-4C07-B257-4ED77CD08D07}"/>
                  </a:ext>
                </a:extLst>
              </p:cNvPr>
              <p:cNvSpPr/>
              <p:nvPr/>
            </p:nvSpPr>
            <p:spPr>
              <a:xfrm>
                <a:off x="2151757" y="3576749"/>
                <a:ext cx="896839" cy="89718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lIns="91425" tIns="0" rIns="91425" bIns="64000" anchor="ctr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2800"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1" name="Shape 122">
                <a:extLst>
                  <a:ext uri="{FF2B5EF4-FFF2-40B4-BE49-F238E27FC236}">
                    <a16:creationId xmlns:a16="http://schemas.microsoft.com/office/drawing/2014/main" id="{022A4C73-D37B-4C27-B413-2A96365D31BC}"/>
                  </a:ext>
                </a:extLst>
              </p:cNvPr>
              <p:cNvSpPr/>
              <p:nvPr/>
            </p:nvSpPr>
            <p:spPr>
              <a:xfrm>
                <a:off x="2409560" y="3896458"/>
                <a:ext cx="385289" cy="23506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1991" y="59801"/>
                    </a:moveTo>
                    <a:lnTo>
                      <a:pt x="91991" y="59801"/>
                    </a:lnTo>
                    <a:cubicBezTo>
                      <a:pt x="91991" y="35643"/>
                      <a:pt x="100684" y="17821"/>
                      <a:pt x="104788" y="17821"/>
                    </a:cubicBezTo>
                    <a:cubicBezTo>
                      <a:pt x="106961" y="17821"/>
                      <a:pt x="113480" y="17821"/>
                      <a:pt x="113480" y="17821"/>
                    </a:cubicBezTo>
                    <a:cubicBezTo>
                      <a:pt x="109134" y="7128"/>
                      <a:pt x="106961" y="0"/>
                      <a:pt x="91991" y="0"/>
                    </a:cubicBezTo>
                    <a:cubicBezTo>
                      <a:pt x="32112" y="0"/>
                      <a:pt x="32112" y="0"/>
                      <a:pt x="32112" y="0"/>
                    </a:cubicBezTo>
                    <a:cubicBezTo>
                      <a:pt x="8692" y="0"/>
                      <a:pt x="0" y="35643"/>
                      <a:pt x="0" y="59801"/>
                    </a:cubicBezTo>
                    <a:cubicBezTo>
                      <a:pt x="0" y="84356"/>
                      <a:pt x="8692" y="119603"/>
                      <a:pt x="32112" y="119603"/>
                    </a:cubicBezTo>
                    <a:cubicBezTo>
                      <a:pt x="91991" y="119603"/>
                      <a:pt x="91991" y="119603"/>
                      <a:pt x="91991" y="119603"/>
                    </a:cubicBezTo>
                    <a:cubicBezTo>
                      <a:pt x="106961" y="119603"/>
                      <a:pt x="109134" y="112475"/>
                      <a:pt x="113480" y="101782"/>
                    </a:cubicBezTo>
                    <a:cubicBezTo>
                      <a:pt x="113480" y="101782"/>
                      <a:pt x="111307" y="101782"/>
                      <a:pt x="104788" y="101782"/>
                    </a:cubicBezTo>
                    <a:cubicBezTo>
                      <a:pt x="100684" y="101782"/>
                      <a:pt x="91991" y="87920"/>
                      <a:pt x="91991" y="59801"/>
                    </a:cubicBezTo>
                    <a:close/>
                    <a:moveTo>
                      <a:pt x="74849" y="77623"/>
                    </a:moveTo>
                    <a:lnTo>
                      <a:pt x="74849" y="77623"/>
                    </a:lnTo>
                    <a:cubicBezTo>
                      <a:pt x="74849" y="80792"/>
                      <a:pt x="72917" y="77623"/>
                      <a:pt x="72917" y="77623"/>
                    </a:cubicBezTo>
                    <a:cubicBezTo>
                      <a:pt x="53360" y="66930"/>
                      <a:pt x="53360" y="66930"/>
                      <a:pt x="53360" y="66930"/>
                    </a:cubicBezTo>
                    <a:cubicBezTo>
                      <a:pt x="53360" y="66930"/>
                      <a:pt x="53360" y="70495"/>
                      <a:pt x="51187" y="77623"/>
                    </a:cubicBezTo>
                    <a:cubicBezTo>
                      <a:pt x="49255" y="80792"/>
                      <a:pt x="49255" y="87920"/>
                      <a:pt x="44909" y="80792"/>
                    </a:cubicBezTo>
                    <a:cubicBezTo>
                      <a:pt x="38390" y="74059"/>
                      <a:pt x="23661" y="49504"/>
                      <a:pt x="23661" y="49504"/>
                    </a:cubicBezTo>
                    <a:cubicBezTo>
                      <a:pt x="23661" y="49504"/>
                      <a:pt x="21488" y="45940"/>
                      <a:pt x="21488" y="42376"/>
                    </a:cubicBezTo>
                    <a:cubicBezTo>
                      <a:pt x="23661" y="42376"/>
                      <a:pt x="25593" y="42376"/>
                      <a:pt x="25593" y="42376"/>
                    </a:cubicBezTo>
                    <a:cubicBezTo>
                      <a:pt x="42736" y="56633"/>
                      <a:pt x="42736" y="56633"/>
                      <a:pt x="42736" y="56633"/>
                    </a:cubicBezTo>
                    <a:cubicBezTo>
                      <a:pt x="42736" y="56633"/>
                      <a:pt x="44909" y="49504"/>
                      <a:pt x="47082" y="45940"/>
                    </a:cubicBezTo>
                    <a:cubicBezTo>
                      <a:pt x="47082" y="38811"/>
                      <a:pt x="49255" y="35643"/>
                      <a:pt x="53360" y="42376"/>
                    </a:cubicBezTo>
                    <a:cubicBezTo>
                      <a:pt x="57706" y="45940"/>
                      <a:pt x="74849" y="74059"/>
                      <a:pt x="74849" y="74059"/>
                    </a:cubicBezTo>
                    <a:cubicBezTo>
                      <a:pt x="74849" y="74059"/>
                      <a:pt x="77022" y="77623"/>
                      <a:pt x="74849" y="77623"/>
                    </a:cubicBezTo>
                    <a:close/>
                    <a:moveTo>
                      <a:pt x="113480" y="38811"/>
                    </a:moveTo>
                    <a:lnTo>
                      <a:pt x="113480" y="38811"/>
                    </a:lnTo>
                    <a:cubicBezTo>
                      <a:pt x="109134" y="38811"/>
                      <a:pt x="109134" y="38811"/>
                      <a:pt x="109134" y="38811"/>
                    </a:cubicBezTo>
                    <a:cubicBezTo>
                      <a:pt x="104788" y="38811"/>
                      <a:pt x="102615" y="49504"/>
                      <a:pt x="102615" y="59801"/>
                    </a:cubicBezTo>
                    <a:cubicBezTo>
                      <a:pt x="102615" y="70495"/>
                      <a:pt x="104788" y="80792"/>
                      <a:pt x="109134" y="80792"/>
                    </a:cubicBezTo>
                    <a:cubicBezTo>
                      <a:pt x="113480" y="80792"/>
                      <a:pt x="113480" y="80792"/>
                      <a:pt x="113480" y="80792"/>
                    </a:cubicBezTo>
                    <a:cubicBezTo>
                      <a:pt x="115412" y="80792"/>
                      <a:pt x="119758" y="70495"/>
                      <a:pt x="119758" y="59801"/>
                    </a:cubicBezTo>
                    <a:cubicBezTo>
                      <a:pt x="119758" y="49504"/>
                      <a:pt x="115412" y="38811"/>
                      <a:pt x="113480" y="3881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lIns="91400" tIns="45700" rIns="91400" bIns="45700" anchor="ctr" anchorCtr="0">
                <a:noAutofit/>
              </a:bodyPr>
              <a:lstStyle/>
              <a:p>
                <a:pPr marL="0" marR="0" lvl="0" indent="0" algn="just" rtl="0">
                  <a:spcBef>
                    <a:spcPts val="0"/>
                  </a:spcBef>
                  <a:buNone/>
                </a:pPr>
                <a:endParaRPr sz="3600">
                  <a:solidFill>
                    <a:schemeClr val="dk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79" name="添加标题">
              <a:extLst>
                <a:ext uri="{FF2B5EF4-FFF2-40B4-BE49-F238E27FC236}">
                  <a16:creationId xmlns:a16="http://schemas.microsoft.com/office/drawing/2014/main" id="{B1712DDF-A0B1-4764-8751-FDF6EBD3A044}"/>
                </a:ext>
              </a:extLst>
            </p:cNvPr>
            <p:cNvSpPr txBox="1"/>
            <p:nvPr/>
          </p:nvSpPr>
          <p:spPr>
            <a:xfrm>
              <a:off x="7000897" y="4815114"/>
              <a:ext cx="2437680" cy="1114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b="1" dirty="0">
                  <a:solidFill>
                    <a:schemeClr val="accent3"/>
                  </a:solidFill>
                  <a:cs typeface="+mn-ea"/>
                  <a:sym typeface="+mn-lt"/>
                </a:rPr>
                <a:t>Add title text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1904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000">
        <p:fade/>
      </p:transition>
    </mc:Choice>
    <mc:Fallback xmlns="">
      <p:transition spd="med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000"/>
                            </p:stCondLst>
                            <p:childTnLst>
                              <p:par>
                                <p:cTn id="5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0" grpId="0" animBg="1"/>
      <p:bldP spid="61" grpId="0" animBg="1"/>
      <p:bldP spid="62" grpId="0" animBg="1"/>
      <p:bldP spid="63" grpId="0"/>
      <p:bldP spid="64" grpId="0"/>
      <p:bldP spid="65" grpId="0"/>
      <p:bldP spid="6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279020-E852-44B0-B00A-B5DACAFD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grpSp>
        <p:nvGrpSpPr>
          <p:cNvPr id="29" name="Group 5">
            <a:extLst>
              <a:ext uri="{FF2B5EF4-FFF2-40B4-BE49-F238E27FC236}">
                <a16:creationId xmlns:a16="http://schemas.microsoft.com/office/drawing/2014/main" id="{994E8F8C-6D09-41EC-844E-0CA63742E720}"/>
              </a:ext>
            </a:extLst>
          </p:cNvPr>
          <p:cNvGrpSpPr/>
          <p:nvPr/>
        </p:nvGrpSpPr>
        <p:grpSpPr>
          <a:xfrm flipH="1">
            <a:off x="-60685" y="-63388"/>
            <a:ext cx="5940661" cy="6960159"/>
            <a:chOff x="17393084" y="-1"/>
            <a:chExt cx="6984572" cy="6460437"/>
          </a:xfrm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64D002A6-8653-45BA-B184-02EF8A83D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93084" y="0"/>
              <a:ext cx="6984566" cy="6460436"/>
            </a:xfrm>
            <a:custGeom>
              <a:avLst/>
              <a:gdLst>
                <a:gd name="connsiteX0" fmla="*/ 559108 w 6984566"/>
                <a:gd name="connsiteY0" fmla="*/ 0 h 6460436"/>
                <a:gd name="connsiteX1" fmla="*/ 6984566 w 6984566"/>
                <a:gd name="connsiteY1" fmla="*/ 0 h 6460436"/>
                <a:gd name="connsiteX2" fmla="*/ 6984566 w 6984566"/>
                <a:gd name="connsiteY2" fmla="*/ 6460436 h 6460436"/>
                <a:gd name="connsiteX3" fmla="*/ 4330922 w 6984566"/>
                <a:gd name="connsiteY3" fmla="*/ 6460436 h 6460436"/>
                <a:gd name="connsiteX4" fmla="*/ 4107492 w 6984566"/>
                <a:gd name="connsiteY4" fmla="*/ 6454794 h 6460436"/>
                <a:gd name="connsiteX5" fmla="*/ 0 w 6984566"/>
                <a:gd name="connsiteY5" fmla="*/ 2127113 h 6460436"/>
                <a:gd name="connsiteX6" fmla="*/ 521362 w 6984566"/>
                <a:gd name="connsiteY6" fmla="*/ 62288 h 6460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84566" h="6460436">
                  <a:moveTo>
                    <a:pt x="559108" y="0"/>
                  </a:moveTo>
                  <a:lnTo>
                    <a:pt x="6984566" y="0"/>
                  </a:lnTo>
                  <a:lnTo>
                    <a:pt x="6984566" y="6460436"/>
                  </a:lnTo>
                  <a:lnTo>
                    <a:pt x="4330922" y="6460436"/>
                  </a:lnTo>
                  <a:lnTo>
                    <a:pt x="4107492" y="6454794"/>
                  </a:lnTo>
                  <a:cubicBezTo>
                    <a:pt x="1813394" y="6338643"/>
                    <a:pt x="0" y="4444035"/>
                    <a:pt x="0" y="2127113"/>
                  </a:cubicBezTo>
                  <a:cubicBezTo>
                    <a:pt x="0" y="1379719"/>
                    <a:pt x="188698" y="676270"/>
                    <a:pt x="521362" y="62288"/>
                  </a:cubicBezTo>
                  <a:close/>
                </a:path>
              </a:pathLst>
            </a:custGeom>
            <a:noFill/>
            <a:ln w="9525">
              <a:solidFill>
                <a:schemeClr val="accent1">
                  <a:alpha val="35000"/>
                </a:schemeClr>
              </a:solidFill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450" dirty="0">
                <a:cs typeface="+mn-ea"/>
                <a:sym typeface="+mn-lt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E281EA3D-5AB8-4C46-B58D-04B469E73EC1}"/>
                </a:ext>
              </a:extLst>
            </p:cNvPr>
            <p:cNvSpPr/>
            <p:nvPr/>
          </p:nvSpPr>
          <p:spPr>
            <a:xfrm>
              <a:off x="18029468" y="-1"/>
              <a:ext cx="6348188" cy="6460437"/>
            </a:xfrm>
            <a:custGeom>
              <a:avLst/>
              <a:gdLst>
                <a:gd name="connsiteX0" fmla="*/ 1094906 w 6348188"/>
                <a:gd name="connsiteY0" fmla="*/ 0 h 6434895"/>
                <a:gd name="connsiteX1" fmla="*/ 6348188 w 6348188"/>
                <a:gd name="connsiteY1" fmla="*/ 0 h 6434895"/>
                <a:gd name="connsiteX2" fmla="*/ 6348188 w 6348188"/>
                <a:gd name="connsiteY2" fmla="*/ 6434895 h 6434895"/>
                <a:gd name="connsiteX3" fmla="*/ 5617186 w 6348188"/>
                <a:gd name="connsiteY3" fmla="*/ 6434895 h 6434895"/>
                <a:gd name="connsiteX4" fmla="*/ 3772830 w 6348188"/>
                <a:gd name="connsiteY4" fmla="*/ 6434895 h 6434895"/>
                <a:gd name="connsiteX5" fmla="*/ 0 w 6348188"/>
                <a:gd name="connsiteY5" fmla="*/ 2660006 h 6434895"/>
                <a:gd name="connsiteX6" fmla="*/ 859628 w 6348188"/>
                <a:gd name="connsiteY6" fmla="*/ 259392 h 643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48188" h="6434895">
                  <a:moveTo>
                    <a:pt x="1094906" y="0"/>
                  </a:moveTo>
                  <a:lnTo>
                    <a:pt x="6348188" y="0"/>
                  </a:lnTo>
                  <a:lnTo>
                    <a:pt x="6348188" y="6434895"/>
                  </a:lnTo>
                  <a:lnTo>
                    <a:pt x="5617186" y="6434895"/>
                  </a:lnTo>
                  <a:cubicBezTo>
                    <a:pt x="4940048" y="6434895"/>
                    <a:pt x="4293408" y="6434895"/>
                    <a:pt x="3772830" y="6434895"/>
                  </a:cubicBezTo>
                  <a:cubicBezTo>
                    <a:pt x="1683262" y="6434895"/>
                    <a:pt x="0" y="4743454"/>
                    <a:pt x="0" y="2660006"/>
                  </a:cubicBezTo>
                  <a:cubicBezTo>
                    <a:pt x="0" y="1748497"/>
                    <a:pt x="322186" y="912021"/>
                    <a:pt x="859628" y="259392"/>
                  </a:cubicBezTo>
                  <a:close/>
                </a:path>
              </a:pathLst>
            </a:custGeom>
            <a:noFill/>
            <a:ln>
              <a:solidFill>
                <a:schemeClr val="accent1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21899" tIns="60950" rIns="121899" bIns="60950" rtlCol="0" anchor="ctr">
              <a:noAutofit/>
            </a:bodyPr>
            <a:lstStyle/>
            <a:p>
              <a:pPr algn="ctr"/>
              <a:endParaRPr lang="en-US" sz="450" dirty="0">
                <a:cs typeface="+mn-ea"/>
                <a:sym typeface="+mn-lt"/>
              </a:endParaRPr>
            </a:p>
          </p:txBody>
        </p:sp>
      </p:grpSp>
      <p:pic>
        <p:nvPicPr>
          <p:cNvPr id="33" name="Picture 1">
            <a:extLst>
              <a:ext uri="{FF2B5EF4-FFF2-40B4-BE49-F238E27FC236}">
                <a16:creationId xmlns:a16="http://schemas.microsoft.com/office/drawing/2014/main" id="{ABB71EEB-FCCF-42D2-BCA1-F7D1B3B845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915" y="951287"/>
            <a:ext cx="5054527" cy="5911303"/>
          </a:xfrm>
          <a:prstGeom prst="rect">
            <a:avLst/>
          </a:prstGeom>
        </p:spPr>
      </p:pic>
      <p:sp>
        <p:nvSpPr>
          <p:cNvPr id="35" name="Rounded Rectangle 9">
            <a:extLst>
              <a:ext uri="{FF2B5EF4-FFF2-40B4-BE49-F238E27FC236}">
                <a16:creationId xmlns:a16="http://schemas.microsoft.com/office/drawing/2014/main" id="{96A430F0-A10B-4139-8E89-C0B3852BEFCA}"/>
              </a:ext>
            </a:extLst>
          </p:cNvPr>
          <p:cNvSpPr/>
          <p:nvPr/>
        </p:nvSpPr>
        <p:spPr>
          <a:xfrm>
            <a:off x="6761307" y="1797782"/>
            <a:ext cx="4032448" cy="1076287"/>
          </a:xfrm>
          <a:prstGeom prst="roundRect">
            <a:avLst>
              <a:gd name="adj" fmla="val 6818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>
              <a:cs typeface="+mn-ea"/>
              <a:sym typeface="+mn-lt"/>
            </a:endParaRPr>
          </a:p>
        </p:txBody>
      </p:sp>
      <p:sp>
        <p:nvSpPr>
          <p:cNvPr id="36" name="Rounded Rectangle 10">
            <a:extLst>
              <a:ext uri="{FF2B5EF4-FFF2-40B4-BE49-F238E27FC236}">
                <a16:creationId xmlns:a16="http://schemas.microsoft.com/office/drawing/2014/main" id="{0A5C9887-8BE5-4DBA-BA82-5E278FF4BAA6}"/>
              </a:ext>
            </a:extLst>
          </p:cNvPr>
          <p:cNvSpPr/>
          <p:nvPr/>
        </p:nvSpPr>
        <p:spPr>
          <a:xfrm>
            <a:off x="6761307" y="4873929"/>
            <a:ext cx="4032448" cy="1076287"/>
          </a:xfrm>
          <a:prstGeom prst="roundRect">
            <a:avLst>
              <a:gd name="adj" fmla="val 6818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>
              <a:cs typeface="+mn-ea"/>
              <a:sym typeface="+mn-lt"/>
            </a:endParaRPr>
          </a:p>
        </p:txBody>
      </p:sp>
      <p:sp>
        <p:nvSpPr>
          <p:cNvPr id="37" name="Rounded Rectangle 8">
            <a:extLst>
              <a:ext uri="{FF2B5EF4-FFF2-40B4-BE49-F238E27FC236}">
                <a16:creationId xmlns:a16="http://schemas.microsoft.com/office/drawing/2014/main" id="{73A6DD10-EF8A-48D0-AD21-0E7DEC1B08D4}"/>
              </a:ext>
            </a:extLst>
          </p:cNvPr>
          <p:cNvSpPr/>
          <p:nvPr/>
        </p:nvSpPr>
        <p:spPr>
          <a:xfrm>
            <a:off x="6528048" y="3145737"/>
            <a:ext cx="5220580" cy="1472331"/>
          </a:xfrm>
          <a:prstGeom prst="roundRect">
            <a:avLst>
              <a:gd name="adj" fmla="val 6818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9200000" scaled="0"/>
          </a:gradFill>
          <a:ln>
            <a:solidFill>
              <a:schemeClr val="accent1"/>
            </a:solidFill>
          </a:ln>
          <a:effectLst>
            <a:outerShdw blurRad="520700" dist="266700" dir="2700000" sx="103000" sy="103000" algn="tl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>
              <a:cs typeface="+mn-ea"/>
              <a:sym typeface="+mn-lt"/>
            </a:endParaRPr>
          </a:p>
        </p:txBody>
      </p:sp>
      <p:grpSp>
        <p:nvGrpSpPr>
          <p:cNvPr id="38" name="Group 11">
            <a:extLst>
              <a:ext uri="{FF2B5EF4-FFF2-40B4-BE49-F238E27FC236}">
                <a16:creationId xmlns:a16="http://schemas.microsoft.com/office/drawing/2014/main" id="{CAF04D06-A6D4-4E35-BA68-6766787D2F81}"/>
              </a:ext>
            </a:extLst>
          </p:cNvPr>
          <p:cNvGrpSpPr/>
          <p:nvPr/>
        </p:nvGrpSpPr>
        <p:grpSpPr>
          <a:xfrm>
            <a:off x="6924092" y="2117710"/>
            <a:ext cx="434910" cy="436431"/>
            <a:chOff x="3206750" y="1381125"/>
            <a:chExt cx="490538" cy="492125"/>
          </a:xfrm>
          <a:solidFill>
            <a:schemeClr val="accent1"/>
          </a:solidFill>
        </p:grpSpPr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3645B7C4-6273-4E46-BED3-FA22DE686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6750" y="1381125"/>
              <a:ext cx="490538" cy="492125"/>
            </a:xfrm>
            <a:custGeom>
              <a:avLst/>
              <a:gdLst>
                <a:gd name="T0" fmla="*/ 80 w 128"/>
                <a:gd name="T1" fmla="*/ 0 h 128"/>
                <a:gd name="T2" fmla="*/ 32 w 128"/>
                <a:gd name="T3" fmla="*/ 48 h 128"/>
                <a:gd name="T4" fmla="*/ 38 w 128"/>
                <a:gd name="T5" fmla="*/ 70 h 128"/>
                <a:gd name="T6" fmla="*/ 4 w 128"/>
                <a:gd name="T7" fmla="*/ 104 h 128"/>
                <a:gd name="T8" fmla="*/ 4 w 128"/>
                <a:gd name="T9" fmla="*/ 104 h 128"/>
                <a:gd name="T10" fmla="*/ 0 w 128"/>
                <a:gd name="T11" fmla="*/ 114 h 128"/>
                <a:gd name="T12" fmla="*/ 14 w 128"/>
                <a:gd name="T13" fmla="*/ 128 h 128"/>
                <a:gd name="T14" fmla="*/ 24 w 128"/>
                <a:gd name="T15" fmla="*/ 124 h 128"/>
                <a:gd name="T16" fmla="*/ 24 w 128"/>
                <a:gd name="T17" fmla="*/ 124 h 128"/>
                <a:gd name="T18" fmla="*/ 58 w 128"/>
                <a:gd name="T19" fmla="*/ 90 h 128"/>
                <a:gd name="T20" fmla="*/ 80 w 128"/>
                <a:gd name="T21" fmla="*/ 96 h 128"/>
                <a:gd name="T22" fmla="*/ 128 w 128"/>
                <a:gd name="T23" fmla="*/ 48 h 128"/>
                <a:gd name="T24" fmla="*/ 80 w 128"/>
                <a:gd name="T25" fmla="*/ 0 h 128"/>
                <a:gd name="T26" fmla="*/ 19 w 128"/>
                <a:gd name="T27" fmla="*/ 119 h 128"/>
                <a:gd name="T28" fmla="*/ 14 w 128"/>
                <a:gd name="T29" fmla="*/ 121 h 128"/>
                <a:gd name="T30" fmla="*/ 7 w 128"/>
                <a:gd name="T31" fmla="*/ 114 h 128"/>
                <a:gd name="T32" fmla="*/ 9 w 128"/>
                <a:gd name="T33" fmla="*/ 109 h 128"/>
                <a:gd name="T34" fmla="*/ 9 w 128"/>
                <a:gd name="T35" fmla="*/ 109 h 128"/>
                <a:gd name="T36" fmla="*/ 41 w 128"/>
                <a:gd name="T37" fmla="*/ 77 h 128"/>
                <a:gd name="T38" fmla="*/ 51 w 128"/>
                <a:gd name="T39" fmla="*/ 87 h 128"/>
                <a:gd name="T40" fmla="*/ 19 w 128"/>
                <a:gd name="T41" fmla="*/ 119 h 128"/>
                <a:gd name="T42" fmla="*/ 80 w 128"/>
                <a:gd name="T43" fmla="*/ 88 h 128"/>
                <a:gd name="T44" fmla="*/ 40 w 128"/>
                <a:gd name="T45" fmla="*/ 48 h 128"/>
                <a:gd name="T46" fmla="*/ 80 w 128"/>
                <a:gd name="T47" fmla="*/ 8 h 128"/>
                <a:gd name="T48" fmla="*/ 120 w 128"/>
                <a:gd name="T49" fmla="*/ 48 h 128"/>
                <a:gd name="T50" fmla="*/ 80 w 128"/>
                <a:gd name="T51" fmla="*/ 8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128">
                  <a:moveTo>
                    <a:pt x="80" y="0"/>
                  </a:moveTo>
                  <a:cubicBezTo>
                    <a:pt x="53" y="0"/>
                    <a:pt x="32" y="21"/>
                    <a:pt x="32" y="48"/>
                  </a:cubicBezTo>
                  <a:cubicBezTo>
                    <a:pt x="32" y="56"/>
                    <a:pt x="34" y="64"/>
                    <a:pt x="38" y="70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2" y="106"/>
                    <a:pt x="0" y="110"/>
                    <a:pt x="0" y="114"/>
                  </a:cubicBezTo>
                  <a:cubicBezTo>
                    <a:pt x="0" y="122"/>
                    <a:pt x="6" y="128"/>
                    <a:pt x="14" y="128"/>
                  </a:cubicBezTo>
                  <a:cubicBezTo>
                    <a:pt x="18" y="128"/>
                    <a:pt x="22" y="126"/>
                    <a:pt x="24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64" y="94"/>
                    <a:pt x="72" y="96"/>
                    <a:pt x="80" y="96"/>
                  </a:cubicBezTo>
                  <a:cubicBezTo>
                    <a:pt x="107" y="96"/>
                    <a:pt x="128" y="75"/>
                    <a:pt x="128" y="48"/>
                  </a:cubicBezTo>
                  <a:cubicBezTo>
                    <a:pt x="128" y="21"/>
                    <a:pt x="107" y="0"/>
                    <a:pt x="80" y="0"/>
                  </a:cubicBezTo>
                  <a:close/>
                  <a:moveTo>
                    <a:pt x="19" y="119"/>
                  </a:moveTo>
                  <a:cubicBezTo>
                    <a:pt x="18" y="120"/>
                    <a:pt x="16" y="121"/>
                    <a:pt x="14" y="121"/>
                  </a:cubicBezTo>
                  <a:cubicBezTo>
                    <a:pt x="10" y="121"/>
                    <a:pt x="7" y="118"/>
                    <a:pt x="7" y="114"/>
                  </a:cubicBezTo>
                  <a:cubicBezTo>
                    <a:pt x="7" y="112"/>
                    <a:pt x="8" y="110"/>
                    <a:pt x="9" y="109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4" y="80"/>
                    <a:pt x="48" y="84"/>
                    <a:pt x="51" y="87"/>
                  </a:cubicBezTo>
                  <a:lnTo>
                    <a:pt x="19" y="119"/>
                  </a:lnTo>
                  <a:close/>
                  <a:moveTo>
                    <a:pt x="80" y="88"/>
                  </a:moveTo>
                  <a:cubicBezTo>
                    <a:pt x="58" y="88"/>
                    <a:pt x="40" y="70"/>
                    <a:pt x="40" y="48"/>
                  </a:cubicBezTo>
                  <a:cubicBezTo>
                    <a:pt x="40" y="26"/>
                    <a:pt x="58" y="8"/>
                    <a:pt x="80" y="8"/>
                  </a:cubicBezTo>
                  <a:cubicBezTo>
                    <a:pt x="102" y="8"/>
                    <a:pt x="120" y="26"/>
                    <a:pt x="120" y="48"/>
                  </a:cubicBezTo>
                  <a:cubicBezTo>
                    <a:pt x="120" y="70"/>
                    <a:pt x="102" y="88"/>
                    <a:pt x="8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50" dirty="0">
                <a:cs typeface="+mn-ea"/>
                <a:sym typeface="+mn-lt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B1F7A6B-6231-43BC-954F-D650EEFBF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6775" y="1458913"/>
              <a:ext cx="114300" cy="114300"/>
            </a:xfrm>
            <a:custGeom>
              <a:avLst/>
              <a:gdLst>
                <a:gd name="T0" fmla="*/ 28 w 30"/>
                <a:gd name="T1" fmla="*/ 0 h 30"/>
                <a:gd name="T2" fmla="*/ 0 w 30"/>
                <a:gd name="T3" fmla="*/ 28 h 30"/>
                <a:gd name="T4" fmla="*/ 2 w 30"/>
                <a:gd name="T5" fmla="*/ 30 h 30"/>
                <a:gd name="T6" fmla="*/ 4 w 30"/>
                <a:gd name="T7" fmla="*/ 28 h 30"/>
                <a:gd name="T8" fmla="*/ 28 w 30"/>
                <a:gd name="T9" fmla="*/ 4 h 30"/>
                <a:gd name="T10" fmla="*/ 30 w 30"/>
                <a:gd name="T11" fmla="*/ 2 h 30"/>
                <a:gd name="T12" fmla="*/ 28 w 3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0">
                  <a:moveTo>
                    <a:pt x="28" y="0"/>
                  </a:moveTo>
                  <a:cubicBezTo>
                    <a:pt x="13" y="0"/>
                    <a:pt x="0" y="13"/>
                    <a:pt x="0" y="28"/>
                  </a:cubicBezTo>
                  <a:cubicBezTo>
                    <a:pt x="0" y="29"/>
                    <a:pt x="1" y="30"/>
                    <a:pt x="2" y="30"/>
                  </a:cubicBezTo>
                  <a:cubicBezTo>
                    <a:pt x="3" y="30"/>
                    <a:pt x="4" y="29"/>
                    <a:pt x="4" y="28"/>
                  </a:cubicBezTo>
                  <a:cubicBezTo>
                    <a:pt x="4" y="15"/>
                    <a:pt x="15" y="4"/>
                    <a:pt x="28" y="4"/>
                  </a:cubicBezTo>
                  <a:cubicBezTo>
                    <a:pt x="29" y="4"/>
                    <a:pt x="30" y="3"/>
                    <a:pt x="30" y="2"/>
                  </a:cubicBezTo>
                  <a:cubicBezTo>
                    <a:pt x="30" y="1"/>
                    <a:pt x="29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50" dirty="0">
                <a:cs typeface="+mn-ea"/>
                <a:sym typeface="+mn-lt"/>
              </a:endParaRPr>
            </a:p>
          </p:txBody>
        </p:sp>
      </p:grpSp>
      <p:sp>
        <p:nvSpPr>
          <p:cNvPr id="41" name="Freeform 25">
            <a:extLst>
              <a:ext uri="{FF2B5EF4-FFF2-40B4-BE49-F238E27FC236}">
                <a16:creationId xmlns:a16="http://schemas.microsoft.com/office/drawing/2014/main" id="{73E31527-70FA-410C-9456-0C28B79E3CA8}"/>
              </a:ext>
            </a:extLst>
          </p:cNvPr>
          <p:cNvSpPr>
            <a:spLocks noEditPoints="1"/>
          </p:cNvSpPr>
          <p:nvPr/>
        </p:nvSpPr>
        <p:spPr bwMode="auto">
          <a:xfrm>
            <a:off x="6959875" y="3710186"/>
            <a:ext cx="384456" cy="384456"/>
          </a:xfrm>
          <a:custGeom>
            <a:avLst/>
            <a:gdLst>
              <a:gd name="T0" fmla="*/ 1639 w 1648"/>
              <a:gd name="T1" fmla="*/ 674 h 1648"/>
              <a:gd name="T2" fmla="*/ 1648 w 1648"/>
              <a:gd name="T3" fmla="*/ 621 h 1648"/>
              <a:gd name="T4" fmla="*/ 1576 w 1648"/>
              <a:gd name="T5" fmla="*/ 485 h 1648"/>
              <a:gd name="T6" fmla="*/ 1392 w 1648"/>
              <a:gd name="T7" fmla="*/ 242 h 1648"/>
              <a:gd name="T8" fmla="*/ 1225 w 1648"/>
              <a:gd name="T9" fmla="*/ 125 h 1648"/>
              <a:gd name="T10" fmla="*/ 1225 w 1648"/>
              <a:gd name="T11" fmla="*/ 125 h 1648"/>
              <a:gd name="T12" fmla="*/ 927 w 1648"/>
              <a:gd name="T13" fmla="*/ 32 h 1648"/>
              <a:gd name="T14" fmla="*/ 824 w 1648"/>
              <a:gd name="T15" fmla="*/ 0 h 1648"/>
              <a:gd name="T16" fmla="*/ 721 w 1648"/>
              <a:gd name="T17" fmla="*/ 32 h 1648"/>
              <a:gd name="T18" fmla="*/ 423 w 1648"/>
              <a:gd name="T19" fmla="*/ 125 h 1648"/>
              <a:gd name="T20" fmla="*/ 423 w 1648"/>
              <a:gd name="T21" fmla="*/ 125 h 1648"/>
              <a:gd name="T22" fmla="*/ 256 w 1648"/>
              <a:gd name="T23" fmla="*/ 242 h 1648"/>
              <a:gd name="T24" fmla="*/ 73 w 1648"/>
              <a:gd name="T25" fmla="*/ 485 h 1648"/>
              <a:gd name="T26" fmla="*/ 0 w 1648"/>
              <a:gd name="T27" fmla="*/ 621 h 1648"/>
              <a:gd name="T28" fmla="*/ 9 w 1648"/>
              <a:gd name="T29" fmla="*/ 674 h 1648"/>
              <a:gd name="T30" fmla="*/ 9 w 1648"/>
              <a:gd name="T31" fmla="*/ 974 h 1648"/>
              <a:gd name="T32" fmla="*/ 0 w 1648"/>
              <a:gd name="T33" fmla="*/ 1027 h 1648"/>
              <a:gd name="T34" fmla="*/ 73 w 1648"/>
              <a:gd name="T35" fmla="*/ 1163 h 1648"/>
              <a:gd name="T36" fmla="*/ 256 w 1648"/>
              <a:gd name="T37" fmla="*/ 1406 h 1648"/>
              <a:gd name="T38" fmla="*/ 423 w 1648"/>
              <a:gd name="T39" fmla="*/ 1523 h 1648"/>
              <a:gd name="T40" fmla="*/ 423 w 1648"/>
              <a:gd name="T41" fmla="*/ 1523 h 1648"/>
              <a:gd name="T42" fmla="*/ 721 w 1648"/>
              <a:gd name="T43" fmla="*/ 1616 h 1648"/>
              <a:gd name="T44" fmla="*/ 824 w 1648"/>
              <a:gd name="T45" fmla="*/ 1648 h 1648"/>
              <a:gd name="T46" fmla="*/ 927 w 1648"/>
              <a:gd name="T47" fmla="*/ 1616 h 1648"/>
              <a:gd name="T48" fmla="*/ 1225 w 1648"/>
              <a:gd name="T49" fmla="*/ 1523 h 1648"/>
              <a:gd name="T50" fmla="*/ 1225 w 1648"/>
              <a:gd name="T51" fmla="*/ 1523 h 1648"/>
              <a:gd name="T52" fmla="*/ 1392 w 1648"/>
              <a:gd name="T53" fmla="*/ 1406 h 1648"/>
              <a:gd name="T54" fmla="*/ 1576 w 1648"/>
              <a:gd name="T55" fmla="*/ 1163 h 1648"/>
              <a:gd name="T56" fmla="*/ 1648 w 1648"/>
              <a:gd name="T57" fmla="*/ 1027 h 1648"/>
              <a:gd name="T58" fmla="*/ 1639 w 1648"/>
              <a:gd name="T59" fmla="*/ 974 h 1648"/>
              <a:gd name="T60" fmla="*/ 1639 w 1648"/>
              <a:gd name="T61" fmla="*/ 674 h 1648"/>
              <a:gd name="T62" fmla="*/ 824 w 1648"/>
              <a:gd name="T63" fmla="*/ 1408 h 1648"/>
              <a:gd name="T64" fmla="*/ 240 w 1648"/>
              <a:gd name="T65" fmla="*/ 824 h 1648"/>
              <a:gd name="T66" fmla="*/ 824 w 1648"/>
              <a:gd name="T67" fmla="*/ 240 h 1648"/>
              <a:gd name="T68" fmla="*/ 1408 w 1648"/>
              <a:gd name="T69" fmla="*/ 824 h 1648"/>
              <a:gd name="T70" fmla="*/ 824 w 1648"/>
              <a:gd name="T71" fmla="*/ 1408 h 1648"/>
              <a:gd name="T72" fmla="*/ 738 w 1648"/>
              <a:gd name="T73" fmla="*/ 1096 h 1648"/>
              <a:gd name="T74" fmla="*/ 481 w 1648"/>
              <a:gd name="T75" fmla="*/ 846 h 1648"/>
              <a:gd name="T76" fmla="*/ 587 w 1648"/>
              <a:gd name="T77" fmla="*/ 740 h 1648"/>
              <a:gd name="T78" fmla="*/ 738 w 1648"/>
              <a:gd name="T79" fmla="*/ 883 h 1648"/>
              <a:gd name="T80" fmla="*/ 1061 w 1648"/>
              <a:gd name="T81" fmla="*/ 552 h 1648"/>
              <a:gd name="T82" fmla="*/ 1167 w 1648"/>
              <a:gd name="T83" fmla="*/ 658 h 1648"/>
              <a:gd name="T84" fmla="*/ 738 w 1648"/>
              <a:gd name="T85" fmla="*/ 1096 h 1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48" h="1648">
                <a:moveTo>
                  <a:pt x="1639" y="674"/>
                </a:moveTo>
                <a:cubicBezTo>
                  <a:pt x="1645" y="656"/>
                  <a:pt x="1648" y="639"/>
                  <a:pt x="1648" y="621"/>
                </a:cubicBezTo>
                <a:cubicBezTo>
                  <a:pt x="1648" y="568"/>
                  <a:pt x="1622" y="517"/>
                  <a:pt x="1576" y="485"/>
                </a:cubicBezTo>
                <a:cubicBezTo>
                  <a:pt x="1428" y="383"/>
                  <a:pt x="1447" y="408"/>
                  <a:pt x="1392" y="242"/>
                </a:cubicBezTo>
                <a:cubicBezTo>
                  <a:pt x="1368" y="172"/>
                  <a:pt x="1301" y="125"/>
                  <a:pt x="1225" y="125"/>
                </a:cubicBezTo>
                <a:cubicBezTo>
                  <a:pt x="1225" y="125"/>
                  <a:pt x="1225" y="125"/>
                  <a:pt x="1225" y="125"/>
                </a:cubicBezTo>
                <a:cubicBezTo>
                  <a:pt x="1043" y="126"/>
                  <a:pt x="1074" y="136"/>
                  <a:pt x="927" y="32"/>
                </a:cubicBezTo>
                <a:cubicBezTo>
                  <a:pt x="896" y="11"/>
                  <a:pt x="860" y="0"/>
                  <a:pt x="824" y="0"/>
                </a:cubicBezTo>
                <a:cubicBezTo>
                  <a:pt x="788" y="0"/>
                  <a:pt x="752" y="11"/>
                  <a:pt x="721" y="32"/>
                </a:cubicBezTo>
                <a:cubicBezTo>
                  <a:pt x="573" y="136"/>
                  <a:pt x="605" y="126"/>
                  <a:pt x="423" y="125"/>
                </a:cubicBezTo>
                <a:cubicBezTo>
                  <a:pt x="423" y="125"/>
                  <a:pt x="423" y="125"/>
                  <a:pt x="423" y="125"/>
                </a:cubicBezTo>
                <a:cubicBezTo>
                  <a:pt x="347" y="125"/>
                  <a:pt x="280" y="172"/>
                  <a:pt x="256" y="242"/>
                </a:cubicBezTo>
                <a:cubicBezTo>
                  <a:pt x="201" y="409"/>
                  <a:pt x="220" y="383"/>
                  <a:pt x="73" y="485"/>
                </a:cubicBezTo>
                <a:cubicBezTo>
                  <a:pt x="26" y="517"/>
                  <a:pt x="0" y="568"/>
                  <a:pt x="0" y="621"/>
                </a:cubicBezTo>
                <a:cubicBezTo>
                  <a:pt x="0" y="639"/>
                  <a:pt x="3" y="656"/>
                  <a:pt x="9" y="674"/>
                </a:cubicBezTo>
                <a:cubicBezTo>
                  <a:pt x="66" y="840"/>
                  <a:pt x="66" y="808"/>
                  <a:pt x="9" y="974"/>
                </a:cubicBezTo>
                <a:cubicBezTo>
                  <a:pt x="3" y="992"/>
                  <a:pt x="0" y="1009"/>
                  <a:pt x="0" y="1027"/>
                </a:cubicBezTo>
                <a:cubicBezTo>
                  <a:pt x="0" y="1080"/>
                  <a:pt x="26" y="1131"/>
                  <a:pt x="73" y="1163"/>
                </a:cubicBezTo>
                <a:cubicBezTo>
                  <a:pt x="220" y="1265"/>
                  <a:pt x="201" y="1239"/>
                  <a:pt x="256" y="1406"/>
                </a:cubicBezTo>
                <a:cubicBezTo>
                  <a:pt x="280" y="1476"/>
                  <a:pt x="347" y="1523"/>
                  <a:pt x="423" y="1523"/>
                </a:cubicBezTo>
                <a:cubicBezTo>
                  <a:pt x="423" y="1523"/>
                  <a:pt x="423" y="1523"/>
                  <a:pt x="423" y="1523"/>
                </a:cubicBezTo>
                <a:cubicBezTo>
                  <a:pt x="605" y="1522"/>
                  <a:pt x="574" y="1512"/>
                  <a:pt x="721" y="1616"/>
                </a:cubicBezTo>
                <a:cubicBezTo>
                  <a:pt x="752" y="1637"/>
                  <a:pt x="788" y="1648"/>
                  <a:pt x="824" y="1648"/>
                </a:cubicBezTo>
                <a:cubicBezTo>
                  <a:pt x="860" y="1648"/>
                  <a:pt x="896" y="1637"/>
                  <a:pt x="927" y="1616"/>
                </a:cubicBezTo>
                <a:cubicBezTo>
                  <a:pt x="1074" y="1512"/>
                  <a:pt x="1042" y="1522"/>
                  <a:pt x="1225" y="1523"/>
                </a:cubicBezTo>
                <a:cubicBezTo>
                  <a:pt x="1225" y="1523"/>
                  <a:pt x="1225" y="1523"/>
                  <a:pt x="1225" y="1523"/>
                </a:cubicBezTo>
                <a:cubicBezTo>
                  <a:pt x="1301" y="1523"/>
                  <a:pt x="1368" y="1476"/>
                  <a:pt x="1392" y="1406"/>
                </a:cubicBezTo>
                <a:cubicBezTo>
                  <a:pt x="1447" y="1239"/>
                  <a:pt x="1428" y="1265"/>
                  <a:pt x="1576" y="1163"/>
                </a:cubicBezTo>
                <a:cubicBezTo>
                  <a:pt x="1622" y="1131"/>
                  <a:pt x="1648" y="1080"/>
                  <a:pt x="1648" y="1027"/>
                </a:cubicBezTo>
                <a:cubicBezTo>
                  <a:pt x="1648" y="1009"/>
                  <a:pt x="1645" y="992"/>
                  <a:pt x="1639" y="974"/>
                </a:cubicBezTo>
                <a:cubicBezTo>
                  <a:pt x="1582" y="808"/>
                  <a:pt x="1582" y="840"/>
                  <a:pt x="1639" y="674"/>
                </a:cubicBezTo>
                <a:close/>
                <a:moveTo>
                  <a:pt x="824" y="1408"/>
                </a:moveTo>
                <a:cubicBezTo>
                  <a:pt x="502" y="1408"/>
                  <a:pt x="240" y="1146"/>
                  <a:pt x="240" y="824"/>
                </a:cubicBezTo>
                <a:cubicBezTo>
                  <a:pt x="240" y="502"/>
                  <a:pt x="502" y="240"/>
                  <a:pt x="824" y="240"/>
                </a:cubicBezTo>
                <a:cubicBezTo>
                  <a:pt x="1146" y="240"/>
                  <a:pt x="1408" y="502"/>
                  <a:pt x="1408" y="824"/>
                </a:cubicBezTo>
                <a:cubicBezTo>
                  <a:pt x="1408" y="1146"/>
                  <a:pt x="1146" y="1408"/>
                  <a:pt x="824" y="1408"/>
                </a:cubicBezTo>
                <a:close/>
                <a:moveTo>
                  <a:pt x="738" y="1096"/>
                </a:moveTo>
                <a:cubicBezTo>
                  <a:pt x="481" y="846"/>
                  <a:pt x="481" y="846"/>
                  <a:pt x="481" y="846"/>
                </a:cubicBezTo>
                <a:cubicBezTo>
                  <a:pt x="587" y="740"/>
                  <a:pt x="587" y="740"/>
                  <a:pt x="587" y="740"/>
                </a:cubicBezTo>
                <a:cubicBezTo>
                  <a:pt x="738" y="883"/>
                  <a:pt x="738" y="883"/>
                  <a:pt x="738" y="883"/>
                </a:cubicBezTo>
                <a:cubicBezTo>
                  <a:pt x="1061" y="552"/>
                  <a:pt x="1061" y="552"/>
                  <a:pt x="1061" y="552"/>
                </a:cubicBezTo>
                <a:cubicBezTo>
                  <a:pt x="1167" y="658"/>
                  <a:pt x="1167" y="658"/>
                  <a:pt x="1167" y="658"/>
                </a:cubicBezTo>
                <a:lnTo>
                  <a:pt x="738" y="1096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bg-BG" sz="450" dirty="0">
              <a:cs typeface="+mn-ea"/>
              <a:sym typeface="+mn-lt"/>
            </a:endParaRPr>
          </a:p>
        </p:txBody>
      </p:sp>
      <p:sp>
        <p:nvSpPr>
          <p:cNvPr id="42" name="Freeform 6">
            <a:extLst>
              <a:ext uri="{FF2B5EF4-FFF2-40B4-BE49-F238E27FC236}">
                <a16:creationId xmlns:a16="http://schemas.microsoft.com/office/drawing/2014/main" id="{4796AED2-1393-4173-8639-9C64CDD2DB15}"/>
              </a:ext>
            </a:extLst>
          </p:cNvPr>
          <p:cNvSpPr>
            <a:spLocks noEditPoints="1"/>
          </p:cNvSpPr>
          <p:nvPr/>
        </p:nvSpPr>
        <p:spPr bwMode="auto">
          <a:xfrm>
            <a:off x="6921107" y="5241908"/>
            <a:ext cx="360654" cy="340329"/>
          </a:xfrm>
          <a:custGeom>
            <a:avLst/>
            <a:gdLst>
              <a:gd name="T0" fmla="*/ 116 w 132"/>
              <a:gd name="T1" fmla="*/ 48 h 124"/>
              <a:gd name="T2" fmla="*/ 116 w 132"/>
              <a:gd name="T3" fmla="*/ 22 h 124"/>
              <a:gd name="T4" fmla="*/ 104 w 132"/>
              <a:gd name="T5" fmla="*/ 0 h 124"/>
              <a:gd name="T6" fmla="*/ 22 w 132"/>
              <a:gd name="T7" fmla="*/ 0 h 124"/>
              <a:gd name="T8" fmla="*/ 0 w 132"/>
              <a:gd name="T9" fmla="*/ 102 h 124"/>
              <a:gd name="T10" fmla="*/ 94 w 132"/>
              <a:gd name="T11" fmla="*/ 124 h 124"/>
              <a:gd name="T12" fmla="*/ 116 w 132"/>
              <a:gd name="T13" fmla="*/ 96 h 124"/>
              <a:gd name="T14" fmla="*/ 116 w 132"/>
              <a:gd name="T15" fmla="*/ 48 h 124"/>
              <a:gd name="T16" fmla="*/ 88 w 132"/>
              <a:gd name="T17" fmla="*/ 8 h 124"/>
              <a:gd name="T18" fmla="*/ 108 w 132"/>
              <a:gd name="T19" fmla="*/ 12 h 124"/>
              <a:gd name="T20" fmla="*/ 108 w 132"/>
              <a:gd name="T21" fmla="*/ 24 h 124"/>
              <a:gd name="T22" fmla="*/ 104 w 132"/>
              <a:gd name="T23" fmla="*/ 36 h 124"/>
              <a:gd name="T24" fmla="*/ 104 w 132"/>
              <a:gd name="T25" fmla="*/ 32 h 124"/>
              <a:gd name="T26" fmla="*/ 104 w 132"/>
              <a:gd name="T27" fmla="*/ 16 h 124"/>
              <a:gd name="T28" fmla="*/ 16 w 132"/>
              <a:gd name="T29" fmla="*/ 12 h 124"/>
              <a:gd name="T30" fmla="*/ 12 w 132"/>
              <a:gd name="T31" fmla="*/ 24 h 124"/>
              <a:gd name="T32" fmla="*/ 8 w 132"/>
              <a:gd name="T33" fmla="*/ 22 h 124"/>
              <a:gd name="T34" fmla="*/ 100 w 132"/>
              <a:gd name="T35" fmla="*/ 20 h 124"/>
              <a:gd name="T36" fmla="*/ 16 w 132"/>
              <a:gd name="T37" fmla="*/ 16 h 124"/>
              <a:gd name="T38" fmla="*/ 100 w 132"/>
              <a:gd name="T39" fmla="*/ 20 h 124"/>
              <a:gd name="T40" fmla="*/ 100 w 132"/>
              <a:gd name="T41" fmla="*/ 28 h 124"/>
              <a:gd name="T42" fmla="*/ 16 w 132"/>
              <a:gd name="T43" fmla="*/ 24 h 124"/>
              <a:gd name="T44" fmla="*/ 100 w 132"/>
              <a:gd name="T45" fmla="*/ 32 h 124"/>
              <a:gd name="T46" fmla="*/ 88 w 132"/>
              <a:gd name="T47" fmla="*/ 36 h 124"/>
              <a:gd name="T48" fmla="*/ 16 w 132"/>
              <a:gd name="T49" fmla="*/ 35 h 124"/>
              <a:gd name="T50" fmla="*/ 100 w 132"/>
              <a:gd name="T51" fmla="*/ 32 h 124"/>
              <a:gd name="T52" fmla="*/ 94 w 132"/>
              <a:gd name="T53" fmla="*/ 116 h 124"/>
              <a:gd name="T54" fmla="*/ 8 w 132"/>
              <a:gd name="T55" fmla="*/ 102 h 124"/>
              <a:gd name="T56" fmla="*/ 22 w 132"/>
              <a:gd name="T57" fmla="*/ 44 h 124"/>
              <a:gd name="T58" fmla="*/ 104 w 132"/>
              <a:gd name="T59" fmla="*/ 44 h 124"/>
              <a:gd name="T60" fmla="*/ 108 w 132"/>
              <a:gd name="T61" fmla="*/ 56 h 124"/>
              <a:gd name="T62" fmla="*/ 52 w 132"/>
              <a:gd name="T63" fmla="*/ 76 h 124"/>
              <a:gd name="T64" fmla="*/ 108 w 132"/>
              <a:gd name="T65" fmla="*/ 96 h 124"/>
              <a:gd name="T66" fmla="*/ 113 w 132"/>
              <a:gd name="T67" fmla="*/ 88 h 124"/>
              <a:gd name="T68" fmla="*/ 60 w 132"/>
              <a:gd name="T69" fmla="*/ 76 h 124"/>
              <a:gd name="T70" fmla="*/ 108 w 132"/>
              <a:gd name="T71" fmla="*/ 64 h 124"/>
              <a:gd name="T72" fmla="*/ 115 w 132"/>
              <a:gd name="T73" fmla="*/ 59 h 124"/>
              <a:gd name="T74" fmla="*/ 120 w 132"/>
              <a:gd name="T75" fmla="*/ 72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32" h="124">
                <a:moveTo>
                  <a:pt x="116" y="48"/>
                </a:moveTo>
                <a:cubicBezTo>
                  <a:pt x="116" y="48"/>
                  <a:pt x="116" y="48"/>
                  <a:pt x="116" y="48"/>
                </a:cubicBezTo>
                <a:cubicBezTo>
                  <a:pt x="116" y="24"/>
                  <a:pt x="116" y="24"/>
                  <a:pt x="116" y="24"/>
                </a:cubicBezTo>
                <a:cubicBezTo>
                  <a:pt x="116" y="22"/>
                  <a:pt x="116" y="22"/>
                  <a:pt x="116" y="22"/>
                </a:cubicBezTo>
                <a:cubicBezTo>
                  <a:pt x="116" y="12"/>
                  <a:pt x="116" y="12"/>
                  <a:pt x="116" y="12"/>
                </a:cubicBezTo>
                <a:cubicBezTo>
                  <a:pt x="116" y="5"/>
                  <a:pt x="111" y="0"/>
                  <a:pt x="104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102"/>
                  <a:pt x="0" y="102"/>
                  <a:pt x="0" y="102"/>
                </a:cubicBezTo>
                <a:cubicBezTo>
                  <a:pt x="0" y="114"/>
                  <a:pt x="10" y="124"/>
                  <a:pt x="22" y="124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106" y="124"/>
                  <a:pt x="116" y="114"/>
                  <a:pt x="116" y="102"/>
                </a:cubicBezTo>
                <a:cubicBezTo>
                  <a:pt x="116" y="96"/>
                  <a:pt x="116" y="96"/>
                  <a:pt x="116" y="96"/>
                </a:cubicBezTo>
                <a:cubicBezTo>
                  <a:pt x="116" y="96"/>
                  <a:pt x="116" y="96"/>
                  <a:pt x="116" y="96"/>
                </a:cubicBezTo>
                <a:cubicBezTo>
                  <a:pt x="132" y="84"/>
                  <a:pt x="132" y="60"/>
                  <a:pt x="116" y="48"/>
                </a:cubicBezTo>
                <a:close/>
                <a:moveTo>
                  <a:pt x="22" y="8"/>
                </a:moveTo>
                <a:cubicBezTo>
                  <a:pt x="88" y="8"/>
                  <a:pt x="88" y="8"/>
                  <a:pt x="88" y="8"/>
                </a:cubicBezTo>
                <a:cubicBezTo>
                  <a:pt x="104" y="8"/>
                  <a:pt x="104" y="8"/>
                  <a:pt x="104" y="8"/>
                </a:cubicBezTo>
                <a:cubicBezTo>
                  <a:pt x="106" y="8"/>
                  <a:pt x="108" y="10"/>
                  <a:pt x="108" y="12"/>
                </a:cubicBezTo>
                <a:cubicBezTo>
                  <a:pt x="108" y="22"/>
                  <a:pt x="108" y="22"/>
                  <a:pt x="108" y="22"/>
                </a:cubicBezTo>
                <a:cubicBezTo>
                  <a:pt x="108" y="24"/>
                  <a:pt x="108" y="24"/>
                  <a:pt x="108" y="24"/>
                </a:cubicBezTo>
                <a:cubicBezTo>
                  <a:pt x="108" y="37"/>
                  <a:pt x="108" y="37"/>
                  <a:pt x="108" y="37"/>
                </a:cubicBezTo>
                <a:cubicBezTo>
                  <a:pt x="107" y="36"/>
                  <a:pt x="105" y="36"/>
                  <a:pt x="104" y="36"/>
                </a:cubicBezTo>
                <a:cubicBezTo>
                  <a:pt x="104" y="36"/>
                  <a:pt x="104" y="36"/>
                  <a:pt x="104" y="36"/>
                </a:cubicBezTo>
                <a:cubicBezTo>
                  <a:pt x="104" y="32"/>
                  <a:pt x="104" y="32"/>
                  <a:pt x="104" y="32"/>
                </a:cubicBezTo>
                <a:cubicBezTo>
                  <a:pt x="104" y="24"/>
                  <a:pt x="104" y="24"/>
                  <a:pt x="104" y="24"/>
                </a:cubicBezTo>
                <a:cubicBezTo>
                  <a:pt x="104" y="16"/>
                  <a:pt x="104" y="16"/>
                  <a:pt x="104" y="16"/>
                </a:cubicBezTo>
                <a:cubicBezTo>
                  <a:pt x="104" y="14"/>
                  <a:pt x="102" y="12"/>
                  <a:pt x="100" y="12"/>
                </a:cubicBezTo>
                <a:cubicBezTo>
                  <a:pt x="16" y="12"/>
                  <a:pt x="16" y="12"/>
                  <a:pt x="16" y="12"/>
                </a:cubicBezTo>
                <a:cubicBezTo>
                  <a:pt x="14" y="12"/>
                  <a:pt x="12" y="14"/>
                  <a:pt x="12" y="16"/>
                </a:cubicBezTo>
                <a:cubicBezTo>
                  <a:pt x="12" y="24"/>
                  <a:pt x="12" y="24"/>
                  <a:pt x="12" y="24"/>
                </a:cubicBezTo>
                <a:cubicBezTo>
                  <a:pt x="12" y="32"/>
                  <a:pt x="12" y="32"/>
                  <a:pt x="12" y="32"/>
                </a:cubicBezTo>
                <a:cubicBezTo>
                  <a:pt x="10" y="29"/>
                  <a:pt x="8" y="26"/>
                  <a:pt x="8" y="22"/>
                </a:cubicBezTo>
                <a:cubicBezTo>
                  <a:pt x="8" y="14"/>
                  <a:pt x="14" y="8"/>
                  <a:pt x="22" y="8"/>
                </a:cubicBezTo>
                <a:close/>
                <a:moveTo>
                  <a:pt x="100" y="20"/>
                </a:moveTo>
                <a:cubicBezTo>
                  <a:pt x="16" y="20"/>
                  <a:pt x="16" y="20"/>
                  <a:pt x="16" y="20"/>
                </a:cubicBezTo>
                <a:cubicBezTo>
                  <a:pt x="16" y="16"/>
                  <a:pt x="16" y="16"/>
                  <a:pt x="16" y="16"/>
                </a:cubicBezTo>
                <a:cubicBezTo>
                  <a:pt x="100" y="16"/>
                  <a:pt x="100" y="16"/>
                  <a:pt x="100" y="16"/>
                </a:cubicBezTo>
                <a:lnTo>
                  <a:pt x="100" y="20"/>
                </a:lnTo>
                <a:close/>
                <a:moveTo>
                  <a:pt x="100" y="24"/>
                </a:moveTo>
                <a:cubicBezTo>
                  <a:pt x="100" y="28"/>
                  <a:pt x="100" y="28"/>
                  <a:pt x="100" y="28"/>
                </a:cubicBezTo>
                <a:cubicBezTo>
                  <a:pt x="16" y="28"/>
                  <a:pt x="16" y="28"/>
                  <a:pt x="16" y="28"/>
                </a:cubicBezTo>
                <a:cubicBezTo>
                  <a:pt x="16" y="24"/>
                  <a:pt x="16" y="24"/>
                  <a:pt x="16" y="24"/>
                </a:cubicBezTo>
                <a:lnTo>
                  <a:pt x="100" y="24"/>
                </a:lnTo>
                <a:close/>
                <a:moveTo>
                  <a:pt x="100" y="32"/>
                </a:moveTo>
                <a:cubicBezTo>
                  <a:pt x="100" y="36"/>
                  <a:pt x="100" y="36"/>
                  <a:pt x="100" y="36"/>
                </a:cubicBezTo>
                <a:cubicBezTo>
                  <a:pt x="88" y="36"/>
                  <a:pt x="88" y="36"/>
                  <a:pt x="88" y="36"/>
                </a:cubicBezTo>
                <a:cubicBezTo>
                  <a:pt x="22" y="36"/>
                  <a:pt x="22" y="36"/>
                  <a:pt x="22" y="36"/>
                </a:cubicBezTo>
                <a:cubicBezTo>
                  <a:pt x="20" y="36"/>
                  <a:pt x="18" y="35"/>
                  <a:pt x="16" y="35"/>
                </a:cubicBezTo>
                <a:cubicBezTo>
                  <a:pt x="16" y="32"/>
                  <a:pt x="16" y="32"/>
                  <a:pt x="16" y="32"/>
                </a:cubicBezTo>
                <a:lnTo>
                  <a:pt x="100" y="32"/>
                </a:lnTo>
                <a:close/>
                <a:moveTo>
                  <a:pt x="108" y="102"/>
                </a:moveTo>
                <a:cubicBezTo>
                  <a:pt x="108" y="110"/>
                  <a:pt x="102" y="116"/>
                  <a:pt x="94" y="116"/>
                </a:cubicBezTo>
                <a:cubicBezTo>
                  <a:pt x="22" y="116"/>
                  <a:pt x="22" y="116"/>
                  <a:pt x="22" y="116"/>
                </a:cubicBezTo>
                <a:cubicBezTo>
                  <a:pt x="14" y="116"/>
                  <a:pt x="8" y="110"/>
                  <a:pt x="8" y="102"/>
                </a:cubicBezTo>
                <a:cubicBezTo>
                  <a:pt x="8" y="39"/>
                  <a:pt x="8" y="39"/>
                  <a:pt x="8" y="39"/>
                </a:cubicBezTo>
                <a:cubicBezTo>
                  <a:pt x="12" y="42"/>
                  <a:pt x="17" y="44"/>
                  <a:pt x="22" y="44"/>
                </a:cubicBezTo>
                <a:cubicBezTo>
                  <a:pt x="88" y="44"/>
                  <a:pt x="88" y="44"/>
                  <a:pt x="88" y="44"/>
                </a:cubicBezTo>
                <a:cubicBezTo>
                  <a:pt x="104" y="44"/>
                  <a:pt x="104" y="44"/>
                  <a:pt x="104" y="44"/>
                </a:cubicBezTo>
                <a:cubicBezTo>
                  <a:pt x="106" y="44"/>
                  <a:pt x="108" y="46"/>
                  <a:pt x="108" y="48"/>
                </a:cubicBezTo>
                <a:cubicBezTo>
                  <a:pt x="108" y="56"/>
                  <a:pt x="108" y="56"/>
                  <a:pt x="108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61" y="56"/>
                  <a:pt x="52" y="65"/>
                  <a:pt x="52" y="76"/>
                </a:cubicBezTo>
                <a:cubicBezTo>
                  <a:pt x="52" y="87"/>
                  <a:pt x="61" y="96"/>
                  <a:pt x="72" y="96"/>
                </a:cubicBezTo>
                <a:cubicBezTo>
                  <a:pt x="108" y="96"/>
                  <a:pt x="108" y="96"/>
                  <a:pt x="108" y="96"/>
                </a:cubicBezTo>
                <a:lnTo>
                  <a:pt x="108" y="102"/>
                </a:lnTo>
                <a:close/>
                <a:moveTo>
                  <a:pt x="113" y="88"/>
                </a:moveTo>
                <a:cubicBezTo>
                  <a:pt x="72" y="88"/>
                  <a:pt x="72" y="88"/>
                  <a:pt x="72" y="88"/>
                </a:cubicBezTo>
                <a:cubicBezTo>
                  <a:pt x="65" y="88"/>
                  <a:pt x="60" y="83"/>
                  <a:pt x="60" y="76"/>
                </a:cubicBezTo>
                <a:cubicBezTo>
                  <a:pt x="60" y="69"/>
                  <a:pt x="65" y="64"/>
                  <a:pt x="72" y="64"/>
                </a:cubicBezTo>
                <a:cubicBezTo>
                  <a:pt x="108" y="64"/>
                  <a:pt x="108" y="64"/>
                  <a:pt x="108" y="64"/>
                </a:cubicBezTo>
                <a:cubicBezTo>
                  <a:pt x="110" y="64"/>
                  <a:pt x="113" y="63"/>
                  <a:pt x="114" y="61"/>
                </a:cubicBezTo>
                <a:cubicBezTo>
                  <a:pt x="115" y="60"/>
                  <a:pt x="115" y="60"/>
                  <a:pt x="115" y="59"/>
                </a:cubicBezTo>
                <a:cubicBezTo>
                  <a:pt x="115" y="59"/>
                  <a:pt x="116" y="59"/>
                  <a:pt x="116" y="59"/>
                </a:cubicBezTo>
                <a:cubicBezTo>
                  <a:pt x="118" y="62"/>
                  <a:pt x="120" y="67"/>
                  <a:pt x="120" y="72"/>
                </a:cubicBezTo>
                <a:cubicBezTo>
                  <a:pt x="120" y="78"/>
                  <a:pt x="118" y="84"/>
                  <a:pt x="113" y="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id-ID" sz="450" dirty="0">
              <a:cs typeface="+mn-ea"/>
              <a:sym typeface="+mn-lt"/>
            </a:endParaRPr>
          </a:p>
        </p:txBody>
      </p:sp>
      <p:sp>
        <p:nvSpPr>
          <p:cNvPr id="43" name="添加标题">
            <a:extLst>
              <a:ext uri="{FF2B5EF4-FFF2-40B4-BE49-F238E27FC236}">
                <a16:creationId xmlns:a16="http://schemas.microsoft.com/office/drawing/2014/main" id="{7E071940-FE0E-4A23-A8B5-B6B9AEC1D087}"/>
              </a:ext>
            </a:extLst>
          </p:cNvPr>
          <p:cNvSpPr txBox="1"/>
          <p:nvPr/>
        </p:nvSpPr>
        <p:spPr>
          <a:xfrm>
            <a:off x="7737988" y="1819534"/>
            <a:ext cx="2854997" cy="1114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44" name="添加标题">
            <a:extLst>
              <a:ext uri="{FF2B5EF4-FFF2-40B4-BE49-F238E27FC236}">
                <a16:creationId xmlns:a16="http://schemas.microsoft.com/office/drawing/2014/main" id="{ADAFD6FD-CFD6-4531-B143-19A022CAC14F}"/>
              </a:ext>
            </a:extLst>
          </p:cNvPr>
          <p:cNvSpPr txBox="1"/>
          <p:nvPr/>
        </p:nvSpPr>
        <p:spPr>
          <a:xfrm>
            <a:off x="7737988" y="4879007"/>
            <a:ext cx="2854997" cy="1114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45" name="添加标题">
            <a:extLst>
              <a:ext uri="{FF2B5EF4-FFF2-40B4-BE49-F238E27FC236}">
                <a16:creationId xmlns:a16="http://schemas.microsoft.com/office/drawing/2014/main" id="{93EC50A5-93FA-42C7-892B-608E500E642D}"/>
              </a:ext>
            </a:extLst>
          </p:cNvPr>
          <p:cNvSpPr txBox="1"/>
          <p:nvPr/>
        </p:nvSpPr>
        <p:spPr>
          <a:xfrm>
            <a:off x="7737988" y="3386022"/>
            <a:ext cx="3423998" cy="1114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solidFill>
                  <a:srgbClr val="FFFFFF"/>
                </a:solidFill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rgbClr val="FFFFFF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067A64F-E666-44F7-B05D-DEC742AB2D1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245585">
            <a:off x="2277881" y="1717306"/>
            <a:ext cx="1891146" cy="339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522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2000">
        <p14:gallery dir="l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41" grpId="0" animBg="1"/>
      <p:bldP spid="42" grpId="0" animBg="1"/>
      <p:bldP spid="43" grpId="0"/>
      <p:bldP spid="44" grpId="0"/>
      <p:bldP spid="4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427F95-E45B-45D3-8E59-B3E246C12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168E63EA-3451-470F-A157-6FB363D5862D}"/>
              </a:ext>
            </a:extLst>
          </p:cNvPr>
          <p:cNvGrpSpPr/>
          <p:nvPr/>
        </p:nvGrpSpPr>
        <p:grpSpPr>
          <a:xfrm>
            <a:off x="796933" y="1964799"/>
            <a:ext cx="2054184" cy="1887233"/>
            <a:chOff x="796933" y="1964799"/>
            <a:chExt cx="2054184" cy="1887233"/>
          </a:xfrm>
        </p:grpSpPr>
        <p:sp>
          <p:nvSpPr>
            <p:cNvPr id="14" name="Shape 2619">
              <a:extLst>
                <a:ext uri="{FF2B5EF4-FFF2-40B4-BE49-F238E27FC236}">
                  <a16:creationId xmlns:a16="http://schemas.microsoft.com/office/drawing/2014/main" id="{D1A917E5-7944-416A-816F-D92FEFDCF9AC}"/>
                </a:ext>
              </a:extLst>
            </p:cNvPr>
            <p:cNvSpPr/>
            <p:nvPr/>
          </p:nvSpPr>
          <p:spPr>
            <a:xfrm>
              <a:off x="1639170" y="1964799"/>
              <a:ext cx="369710" cy="3697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3" extrusionOk="0">
                  <a:moveTo>
                    <a:pt x="12364" y="11941"/>
                  </a:moveTo>
                  <a:lnTo>
                    <a:pt x="13062" y="14033"/>
                  </a:lnTo>
                  <a:lnTo>
                    <a:pt x="11365" y="12790"/>
                  </a:lnTo>
                  <a:lnTo>
                    <a:pt x="10785" y="12365"/>
                  </a:lnTo>
                  <a:lnTo>
                    <a:pt x="10205" y="12790"/>
                  </a:lnTo>
                  <a:lnTo>
                    <a:pt x="8508" y="14033"/>
                  </a:lnTo>
                  <a:lnTo>
                    <a:pt x="9206" y="11941"/>
                  </a:lnTo>
                  <a:lnTo>
                    <a:pt x="9426" y="11282"/>
                  </a:lnTo>
                  <a:lnTo>
                    <a:pt x="8877" y="10856"/>
                  </a:lnTo>
                  <a:lnTo>
                    <a:pt x="7511" y="9794"/>
                  </a:lnTo>
                  <a:lnTo>
                    <a:pt x="9790" y="9794"/>
                  </a:lnTo>
                  <a:lnTo>
                    <a:pt x="10030" y="9160"/>
                  </a:lnTo>
                  <a:lnTo>
                    <a:pt x="10785" y="7162"/>
                  </a:lnTo>
                  <a:lnTo>
                    <a:pt x="11540" y="9160"/>
                  </a:lnTo>
                  <a:lnTo>
                    <a:pt x="11779" y="9794"/>
                  </a:lnTo>
                  <a:lnTo>
                    <a:pt x="14059" y="9794"/>
                  </a:lnTo>
                  <a:lnTo>
                    <a:pt x="12692" y="10856"/>
                  </a:lnTo>
                  <a:lnTo>
                    <a:pt x="12144" y="11282"/>
                  </a:lnTo>
                  <a:cubicBezTo>
                    <a:pt x="12144" y="11282"/>
                    <a:pt x="12364" y="11941"/>
                    <a:pt x="12364" y="11941"/>
                  </a:cubicBezTo>
                  <a:close/>
                  <a:moveTo>
                    <a:pt x="12458" y="8813"/>
                  </a:moveTo>
                  <a:lnTo>
                    <a:pt x="10785" y="4384"/>
                  </a:lnTo>
                  <a:lnTo>
                    <a:pt x="9111" y="8813"/>
                  </a:lnTo>
                  <a:lnTo>
                    <a:pt x="4649" y="8813"/>
                  </a:lnTo>
                  <a:lnTo>
                    <a:pt x="8275" y="11631"/>
                  </a:lnTo>
                  <a:lnTo>
                    <a:pt x="6601" y="16647"/>
                  </a:lnTo>
                  <a:lnTo>
                    <a:pt x="10785" y="13582"/>
                  </a:lnTo>
                  <a:lnTo>
                    <a:pt x="14969" y="16647"/>
                  </a:lnTo>
                  <a:lnTo>
                    <a:pt x="13295" y="11631"/>
                  </a:lnTo>
                  <a:lnTo>
                    <a:pt x="16921" y="8813"/>
                  </a:lnTo>
                  <a:cubicBezTo>
                    <a:pt x="16921" y="8813"/>
                    <a:pt x="12458" y="8813"/>
                    <a:pt x="12458" y="8813"/>
                  </a:cubicBezTo>
                  <a:close/>
                  <a:moveTo>
                    <a:pt x="10800" y="20592"/>
                  </a:moveTo>
                  <a:cubicBezTo>
                    <a:pt x="9796" y="20381"/>
                    <a:pt x="982" y="17399"/>
                    <a:pt x="982" y="12263"/>
                  </a:cubicBezTo>
                  <a:cubicBezTo>
                    <a:pt x="982" y="7469"/>
                    <a:pt x="2322" y="2919"/>
                    <a:pt x="2778" y="1179"/>
                  </a:cubicBezTo>
                  <a:cubicBezTo>
                    <a:pt x="4022" y="1719"/>
                    <a:pt x="7232" y="2943"/>
                    <a:pt x="10800" y="2943"/>
                  </a:cubicBezTo>
                  <a:cubicBezTo>
                    <a:pt x="14368" y="2943"/>
                    <a:pt x="17579" y="1719"/>
                    <a:pt x="18823" y="1179"/>
                  </a:cubicBezTo>
                  <a:cubicBezTo>
                    <a:pt x="19278" y="2918"/>
                    <a:pt x="20618" y="7466"/>
                    <a:pt x="20618" y="12263"/>
                  </a:cubicBezTo>
                  <a:cubicBezTo>
                    <a:pt x="20618" y="17393"/>
                    <a:pt x="11803" y="20381"/>
                    <a:pt x="10800" y="20592"/>
                  </a:cubicBezTo>
                  <a:moveTo>
                    <a:pt x="19618" y="356"/>
                  </a:moveTo>
                  <a:cubicBezTo>
                    <a:pt x="19577" y="216"/>
                    <a:pt x="19477" y="101"/>
                    <a:pt x="19343" y="42"/>
                  </a:cubicBezTo>
                  <a:cubicBezTo>
                    <a:pt x="19210" y="-17"/>
                    <a:pt x="19057" y="-13"/>
                    <a:pt x="18926" y="52"/>
                  </a:cubicBezTo>
                  <a:cubicBezTo>
                    <a:pt x="18888" y="71"/>
                    <a:pt x="15053" y="1962"/>
                    <a:pt x="10800" y="1962"/>
                  </a:cubicBezTo>
                  <a:cubicBezTo>
                    <a:pt x="6556" y="1962"/>
                    <a:pt x="2712" y="71"/>
                    <a:pt x="2674" y="52"/>
                  </a:cubicBezTo>
                  <a:cubicBezTo>
                    <a:pt x="2543" y="-13"/>
                    <a:pt x="2391" y="-17"/>
                    <a:pt x="2257" y="42"/>
                  </a:cubicBezTo>
                  <a:cubicBezTo>
                    <a:pt x="2124" y="101"/>
                    <a:pt x="2023" y="216"/>
                    <a:pt x="1983" y="356"/>
                  </a:cubicBezTo>
                  <a:cubicBezTo>
                    <a:pt x="1963" y="426"/>
                    <a:pt x="0" y="6376"/>
                    <a:pt x="0" y="12263"/>
                  </a:cubicBezTo>
                  <a:cubicBezTo>
                    <a:pt x="0" y="18484"/>
                    <a:pt x="10271" y="21491"/>
                    <a:pt x="10708" y="21575"/>
                  </a:cubicBezTo>
                  <a:cubicBezTo>
                    <a:pt x="10739" y="21580"/>
                    <a:pt x="10770" y="21583"/>
                    <a:pt x="10800" y="21583"/>
                  </a:cubicBezTo>
                  <a:cubicBezTo>
                    <a:pt x="10831" y="21583"/>
                    <a:pt x="10862" y="21580"/>
                    <a:pt x="10892" y="21575"/>
                  </a:cubicBezTo>
                  <a:cubicBezTo>
                    <a:pt x="11329" y="21491"/>
                    <a:pt x="21600" y="18484"/>
                    <a:pt x="21600" y="12263"/>
                  </a:cubicBezTo>
                  <a:cubicBezTo>
                    <a:pt x="21600" y="6376"/>
                    <a:pt x="19637" y="426"/>
                    <a:pt x="19618" y="356"/>
                  </a:cubicBezTo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15" name="TextBox 88">
              <a:extLst>
                <a:ext uri="{FF2B5EF4-FFF2-40B4-BE49-F238E27FC236}">
                  <a16:creationId xmlns:a16="http://schemas.microsoft.com/office/drawing/2014/main" id="{E9ABF77A-DBAE-4F2C-847B-472300BA04A6}"/>
                </a:ext>
              </a:extLst>
            </p:cNvPr>
            <p:cNvSpPr txBox="1"/>
            <p:nvPr/>
          </p:nvSpPr>
          <p:spPr>
            <a:xfrm>
              <a:off x="1397627" y="2409679"/>
              <a:ext cx="852798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3000" dirty="0">
                  <a:solidFill>
                    <a:schemeClr val="accent1"/>
                  </a:solidFill>
                  <a:cs typeface="+mn-ea"/>
                  <a:sym typeface="+mn-lt"/>
                </a:rPr>
                <a:t>5569</a:t>
              </a:r>
            </a:p>
          </p:txBody>
        </p: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97488D71-40F0-45DA-BB99-E8B8ECEE9031}"/>
                </a:ext>
              </a:extLst>
            </p:cNvPr>
            <p:cNvGrpSpPr/>
            <p:nvPr/>
          </p:nvGrpSpPr>
          <p:grpSpPr>
            <a:xfrm>
              <a:off x="796933" y="2974149"/>
              <a:ext cx="2054184" cy="877883"/>
              <a:chOff x="796933" y="2974149"/>
              <a:chExt cx="2054184" cy="877883"/>
            </a:xfrm>
          </p:grpSpPr>
          <p:sp>
            <p:nvSpPr>
              <p:cNvPr id="17" name="TextBox 89">
                <a:extLst>
                  <a:ext uri="{FF2B5EF4-FFF2-40B4-BE49-F238E27FC236}">
                    <a16:creationId xmlns:a16="http://schemas.microsoft.com/office/drawing/2014/main" id="{4A51AD02-FBFD-442E-8A07-D6A22BE26C22}"/>
                  </a:ext>
                </a:extLst>
              </p:cNvPr>
              <p:cNvSpPr txBox="1"/>
              <p:nvPr/>
            </p:nvSpPr>
            <p:spPr>
              <a:xfrm>
                <a:off x="1189236" y="2974149"/>
                <a:ext cx="126957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accent1"/>
                    </a:solidFill>
                    <a:cs typeface="+mn-ea"/>
                    <a:sym typeface="+mn-lt"/>
                  </a:rPr>
                  <a:t>Add title text</a:t>
                </a:r>
                <a:endParaRPr lang="en-US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TextBox 90">
                <a:extLst>
                  <a:ext uri="{FF2B5EF4-FFF2-40B4-BE49-F238E27FC236}">
                    <a16:creationId xmlns:a16="http://schemas.microsoft.com/office/drawing/2014/main" id="{14D1A9F9-A6D3-4649-9ADF-4347D98DD033}"/>
                  </a:ext>
                </a:extLst>
              </p:cNvPr>
              <p:cNvSpPr txBox="1"/>
              <p:nvPr/>
            </p:nvSpPr>
            <p:spPr>
              <a:xfrm flipH="1">
                <a:off x="796933" y="3245648"/>
                <a:ext cx="2054184" cy="60638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zh-CN" sz="1400" dirty="0">
                    <a:solidFill>
                      <a:schemeClr val="tx2"/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400" dirty="0">
                  <a:solidFill>
                    <a:schemeClr val="tx2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987D8F77-7A04-4D8D-93C3-7DEF9DC5E9BB}"/>
              </a:ext>
            </a:extLst>
          </p:cNvPr>
          <p:cNvGrpSpPr/>
          <p:nvPr/>
        </p:nvGrpSpPr>
        <p:grpSpPr>
          <a:xfrm>
            <a:off x="796933" y="4381141"/>
            <a:ext cx="2054184" cy="1870478"/>
            <a:chOff x="796933" y="4381141"/>
            <a:chExt cx="2054184" cy="1870478"/>
          </a:xfrm>
        </p:grpSpPr>
        <p:sp>
          <p:nvSpPr>
            <p:cNvPr id="20" name="Shape 2633">
              <a:extLst>
                <a:ext uri="{FF2B5EF4-FFF2-40B4-BE49-F238E27FC236}">
                  <a16:creationId xmlns:a16="http://schemas.microsoft.com/office/drawing/2014/main" id="{9001B2AC-1900-4625-8262-8103223BCEE6}"/>
                </a:ext>
              </a:extLst>
            </p:cNvPr>
            <p:cNvSpPr/>
            <p:nvPr/>
          </p:nvSpPr>
          <p:spPr>
            <a:xfrm>
              <a:off x="1639170" y="4381141"/>
              <a:ext cx="369710" cy="3697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44" y="18334"/>
                  </a:moveTo>
                  <a:lnTo>
                    <a:pt x="15583" y="6873"/>
                  </a:lnTo>
                  <a:lnTo>
                    <a:pt x="20168" y="6873"/>
                  </a:lnTo>
                  <a:cubicBezTo>
                    <a:pt x="20168" y="6873"/>
                    <a:pt x="12144" y="18334"/>
                    <a:pt x="12144" y="18334"/>
                  </a:cubicBezTo>
                  <a:close/>
                  <a:moveTo>
                    <a:pt x="10800" y="19403"/>
                  </a:moveTo>
                  <a:lnTo>
                    <a:pt x="7041" y="6873"/>
                  </a:lnTo>
                  <a:lnTo>
                    <a:pt x="14559" y="6873"/>
                  </a:lnTo>
                  <a:cubicBezTo>
                    <a:pt x="14559" y="6873"/>
                    <a:pt x="10800" y="19403"/>
                    <a:pt x="10800" y="19403"/>
                  </a:cubicBezTo>
                  <a:close/>
                  <a:moveTo>
                    <a:pt x="1432" y="6873"/>
                  </a:moveTo>
                  <a:lnTo>
                    <a:pt x="6017" y="6873"/>
                  </a:lnTo>
                  <a:lnTo>
                    <a:pt x="9456" y="18334"/>
                  </a:lnTo>
                  <a:cubicBezTo>
                    <a:pt x="9456" y="18334"/>
                    <a:pt x="1432" y="6873"/>
                    <a:pt x="1432" y="6873"/>
                  </a:cubicBezTo>
                  <a:close/>
                  <a:moveTo>
                    <a:pt x="6578" y="982"/>
                  </a:moveTo>
                  <a:lnTo>
                    <a:pt x="8536" y="982"/>
                  </a:lnTo>
                  <a:lnTo>
                    <a:pt x="6082" y="5891"/>
                  </a:lnTo>
                  <a:lnTo>
                    <a:pt x="1669" y="5891"/>
                  </a:lnTo>
                  <a:cubicBezTo>
                    <a:pt x="1669" y="5891"/>
                    <a:pt x="6578" y="982"/>
                    <a:pt x="6578" y="982"/>
                  </a:cubicBezTo>
                  <a:close/>
                  <a:moveTo>
                    <a:pt x="11973" y="982"/>
                  </a:moveTo>
                  <a:lnTo>
                    <a:pt x="14427" y="5891"/>
                  </a:lnTo>
                  <a:lnTo>
                    <a:pt x="7173" y="5891"/>
                  </a:lnTo>
                  <a:lnTo>
                    <a:pt x="9627" y="982"/>
                  </a:lnTo>
                  <a:cubicBezTo>
                    <a:pt x="9627" y="982"/>
                    <a:pt x="11973" y="982"/>
                    <a:pt x="11973" y="982"/>
                  </a:cubicBezTo>
                  <a:close/>
                  <a:moveTo>
                    <a:pt x="15022" y="982"/>
                  </a:moveTo>
                  <a:lnTo>
                    <a:pt x="19931" y="5891"/>
                  </a:lnTo>
                  <a:lnTo>
                    <a:pt x="15518" y="5891"/>
                  </a:lnTo>
                  <a:lnTo>
                    <a:pt x="13064" y="982"/>
                  </a:lnTo>
                  <a:cubicBezTo>
                    <a:pt x="13064" y="982"/>
                    <a:pt x="15022" y="982"/>
                    <a:pt x="15022" y="982"/>
                  </a:cubicBezTo>
                  <a:close/>
                  <a:moveTo>
                    <a:pt x="21600" y="6382"/>
                  </a:moveTo>
                  <a:cubicBezTo>
                    <a:pt x="21600" y="6272"/>
                    <a:pt x="21557" y="6175"/>
                    <a:pt x="21495" y="6093"/>
                  </a:cubicBezTo>
                  <a:lnTo>
                    <a:pt x="21502" y="6088"/>
                  </a:lnTo>
                  <a:lnTo>
                    <a:pt x="21471" y="6057"/>
                  </a:lnTo>
                  <a:cubicBezTo>
                    <a:pt x="21459" y="6044"/>
                    <a:pt x="21448" y="6032"/>
                    <a:pt x="21434" y="6020"/>
                  </a:cubicBezTo>
                  <a:lnTo>
                    <a:pt x="15611" y="197"/>
                  </a:lnTo>
                  <a:lnTo>
                    <a:pt x="15604" y="201"/>
                  </a:lnTo>
                  <a:cubicBezTo>
                    <a:pt x="15514" y="82"/>
                    <a:pt x="15379" y="0"/>
                    <a:pt x="15218" y="0"/>
                  </a:cubicBezTo>
                  <a:lnTo>
                    <a:pt x="6382" y="0"/>
                  </a:lnTo>
                  <a:cubicBezTo>
                    <a:pt x="6221" y="0"/>
                    <a:pt x="6086" y="82"/>
                    <a:pt x="5996" y="201"/>
                  </a:cubicBezTo>
                  <a:lnTo>
                    <a:pt x="5989" y="197"/>
                  </a:lnTo>
                  <a:lnTo>
                    <a:pt x="166" y="6020"/>
                  </a:lnTo>
                  <a:cubicBezTo>
                    <a:pt x="152" y="6032"/>
                    <a:pt x="141" y="6044"/>
                    <a:pt x="129" y="6057"/>
                  </a:cubicBezTo>
                  <a:lnTo>
                    <a:pt x="98" y="6088"/>
                  </a:lnTo>
                  <a:lnTo>
                    <a:pt x="105" y="6093"/>
                  </a:lnTo>
                  <a:cubicBezTo>
                    <a:pt x="43" y="6175"/>
                    <a:pt x="0" y="6272"/>
                    <a:pt x="0" y="6382"/>
                  </a:cubicBezTo>
                  <a:cubicBezTo>
                    <a:pt x="0" y="6499"/>
                    <a:pt x="46" y="6602"/>
                    <a:pt x="115" y="6686"/>
                  </a:cubicBezTo>
                  <a:lnTo>
                    <a:pt x="109" y="6690"/>
                  </a:lnTo>
                  <a:lnTo>
                    <a:pt x="10418" y="21418"/>
                  </a:lnTo>
                  <a:lnTo>
                    <a:pt x="10424" y="21413"/>
                  </a:lnTo>
                  <a:cubicBezTo>
                    <a:pt x="10514" y="21525"/>
                    <a:pt x="10646" y="21600"/>
                    <a:pt x="10800" y="21600"/>
                  </a:cubicBezTo>
                  <a:cubicBezTo>
                    <a:pt x="10954" y="21600"/>
                    <a:pt x="11086" y="21525"/>
                    <a:pt x="11176" y="21413"/>
                  </a:cubicBezTo>
                  <a:lnTo>
                    <a:pt x="11182" y="21418"/>
                  </a:lnTo>
                  <a:lnTo>
                    <a:pt x="21491" y="6690"/>
                  </a:lnTo>
                  <a:lnTo>
                    <a:pt x="21485" y="6686"/>
                  </a:lnTo>
                  <a:cubicBezTo>
                    <a:pt x="21553" y="6602"/>
                    <a:pt x="21600" y="6499"/>
                    <a:pt x="21600" y="6382"/>
                  </a:cubicBezTo>
                </a:path>
              </a:pathLst>
            </a:custGeom>
            <a:solidFill>
              <a:schemeClr val="accent2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21" name="TextBox 92">
              <a:extLst>
                <a:ext uri="{FF2B5EF4-FFF2-40B4-BE49-F238E27FC236}">
                  <a16:creationId xmlns:a16="http://schemas.microsoft.com/office/drawing/2014/main" id="{0EDD0B64-8914-41E2-B6AA-932825F5A9D0}"/>
                </a:ext>
              </a:extLst>
            </p:cNvPr>
            <p:cNvSpPr txBox="1"/>
            <p:nvPr/>
          </p:nvSpPr>
          <p:spPr>
            <a:xfrm>
              <a:off x="1397627" y="4809266"/>
              <a:ext cx="852798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3000" dirty="0">
                  <a:solidFill>
                    <a:schemeClr val="accent2"/>
                  </a:solidFill>
                  <a:cs typeface="+mn-ea"/>
                  <a:sym typeface="+mn-lt"/>
                </a:rPr>
                <a:t>7669</a:t>
              </a:r>
            </a:p>
          </p:txBody>
        </p:sp>
        <p:sp>
          <p:nvSpPr>
            <p:cNvPr id="22" name="TextBox 93">
              <a:extLst>
                <a:ext uri="{FF2B5EF4-FFF2-40B4-BE49-F238E27FC236}">
                  <a16:creationId xmlns:a16="http://schemas.microsoft.com/office/drawing/2014/main" id="{6CEA9F3D-D680-4FDD-8A10-ED9721391DEE}"/>
                </a:ext>
              </a:extLst>
            </p:cNvPr>
            <p:cNvSpPr txBox="1"/>
            <p:nvPr/>
          </p:nvSpPr>
          <p:spPr>
            <a:xfrm>
              <a:off x="1189236" y="5373737"/>
              <a:ext cx="126957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altLang="zh-CN" dirty="0">
                  <a:solidFill>
                    <a:schemeClr val="accent2"/>
                  </a:solidFill>
                  <a:cs typeface="+mn-ea"/>
                  <a:sym typeface="+mn-lt"/>
                </a:rPr>
                <a:t>Add title text</a:t>
              </a:r>
              <a:endParaRPr lang="en-US" dirty="0">
                <a:solidFill>
                  <a:schemeClr val="accent2"/>
                </a:solidFill>
                <a:cs typeface="+mn-ea"/>
                <a:sym typeface="+mn-lt"/>
              </a:endParaRPr>
            </a:p>
          </p:txBody>
        </p:sp>
        <p:sp>
          <p:nvSpPr>
            <p:cNvPr id="23" name="TextBox 94">
              <a:extLst>
                <a:ext uri="{FF2B5EF4-FFF2-40B4-BE49-F238E27FC236}">
                  <a16:creationId xmlns:a16="http://schemas.microsoft.com/office/drawing/2014/main" id="{EF59149B-1A2C-4AD7-954A-7FC9DA4BED6F}"/>
                </a:ext>
              </a:extLst>
            </p:cNvPr>
            <p:cNvSpPr txBox="1"/>
            <p:nvPr/>
          </p:nvSpPr>
          <p:spPr>
            <a:xfrm flipH="1">
              <a:off x="796933" y="5645235"/>
              <a:ext cx="2054184" cy="6063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7FEDCDD9-77DD-4DD5-BB1A-2E7B4116C764}"/>
              </a:ext>
            </a:extLst>
          </p:cNvPr>
          <p:cNvGrpSpPr/>
          <p:nvPr/>
        </p:nvGrpSpPr>
        <p:grpSpPr>
          <a:xfrm>
            <a:off x="9335253" y="1964799"/>
            <a:ext cx="2054184" cy="1887233"/>
            <a:chOff x="9335253" y="1964799"/>
            <a:chExt cx="2054184" cy="1887233"/>
          </a:xfrm>
        </p:grpSpPr>
        <p:sp>
          <p:nvSpPr>
            <p:cNvPr id="25" name="Shape 2619">
              <a:extLst>
                <a:ext uri="{FF2B5EF4-FFF2-40B4-BE49-F238E27FC236}">
                  <a16:creationId xmlns:a16="http://schemas.microsoft.com/office/drawing/2014/main" id="{4C47D73F-E7F0-4406-8FB5-1E3FC7849597}"/>
                </a:ext>
              </a:extLst>
            </p:cNvPr>
            <p:cNvSpPr/>
            <p:nvPr/>
          </p:nvSpPr>
          <p:spPr>
            <a:xfrm>
              <a:off x="10177490" y="1964799"/>
              <a:ext cx="369710" cy="3697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3" extrusionOk="0">
                  <a:moveTo>
                    <a:pt x="12364" y="11941"/>
                  </a:moveTo>
                  <a:lnTo>
                    <a:pt x="13062" y="14033"/>
                  </a:lnTo>
                  <a:lnTo>
                    <a:pt x="11365" y="12790"/>
                  </a:lnTo>
                  <a:lnTo>
                    <a:pt x="10785" y="12365"/>
                  </a:lnTo>
                  <a:lnTo>
                    <a:pt x="10205" y="12790"/>
                  </a:lnTo>
                  <a:lnTo>
                    <a:pt x="8508" y="14033"/>
                  </a:lnTo>
                  <a:lnTo>
                    <a:pt x="9206" y="11941"/>
                  </a:lnTo>
                  <a:lnTo>
                    <a:pt x="9426" y="11282"/>
                  </a:lnTo>
                  <a:lnTo>
                    <a:pt x="8877" y="10856"/>
                  </a:lnTo>
                  <a:lnTo>
                    <a:pt x="7511" y="9794"/>
                  </a:lnTo>
                  <a:lnTo>
                    <a:pt x="9790" y="9794"/>
                  </a:lnTo>
                  <a:lnTo>
                    <a:pt x="10030" y="9160"/>
                  </a:lnTo>
                  <a:lnTo>
                    <a:pt x="10785" y="7162"/>
                  </a:lnTo>
                  <a:lnTo>
                    <a:pt x="11540" y="9160"/>
                  </a:lnTo>
                  <a:lnTo>
                    <a:pt x="11779" y="9794"/>
                  </a:lnTo>
                  <a:lnTo>
                    <a:pt x="14059" y="9794"/>
                  </a:lnTo>
                  <a:lnTo>
                    <a:pt x="12692" y="10856"/>
                  </a:lnTo>
                  <a:lnTo>
                    <a:pt x="12144" y="11282"/>
                  </a:lnTo>
                  <a:cubicBezTo>
                    <a:pt x="12144" y="11282"/>
                    <a:pt x="12364" y="11941"/>
                    <a:pt x="12364" y="11941"/>
                  </a:cubicBezTo>
                  <a:close/>
                  <a:moveTo>
                    <a:pt x="12458" y="8813"/>
                  </a:moveTo>
                  <a:lnTo>
                    <a:pt x="10785" y="4384"/>
                  </a:lnTo>
                  <a:lnTo>
                    <a:pt x="9111" y="8813"/>
                  </a:lnTo>
                  <a:lnTo>
                    <a:pt x="4649" y="8813"/>
                  </a:lnTo>
                  <a:lnTo>
                    <a:pt x="8275" y="11631"/>
                  </a:lnTo>
                  <a:lnTo>
                    <a:pt x="6601" y="16647"/>
                  </a:lnTo>
                  <a:lnTo>
                    <a:pt x="10785" y="13582"/>
                  </a:lnTo>
                  <a:lnTo>
                    <a:pt x="14969" y="16647"/>
                  </a:lnTo>
                  <a:lnTo>
                    <a:pt x="13295" y="11631"/>
                  </a:lnTo>
                  <a:lnTo>
                    <a:pt x="16921" y="8813"/>
                  </a:lnTo>
                  <a:cubicBezTo>
                    <a:pt x="16921" y="8813"/>
                    <a:pt x="12458" y="8813"/>
                    <a:pt x="12458" y="8813"/>
                  </a:cubicBezTo>
                  <a:close/>
                  <a:moveTo>
                    <a:pt x="10800" y="20592"/>
                  </a:moveTo>
                  <a:cubicBezTo>
                    <a:pt x="9796" y="20381"/>
                    <a:pt x="982" y="17399"/>
                    <a:pt x="982" y="12263"/>
                  </a:cubicBezTo>
                  <a:cubicBezTo>
                    <a:pt x="982" y="7469"/>
                    <a:pt x="2322" y="2919"/>
                    <a:pt x="2778" y="1179"/>
                  </a:cubicBezTo>
                  <a:cubicBezTo>
                    <a:pt x="4022" y="1719"/>
                    <a:pt x="7232" y="2943"/>
                    <a:pt x="10800" y="2943"/>
                  </a:cubicBezTo>
                  <a:cubicBezTo>
                    <a:pt x="14368" y="2943"/>
                    <a:pt x="17579" y="1719"/>
                    <a:pt x="18823" y="1179"/>
                  </a:cubicBezTo>
                  <a:cubicBezTo>
                    <a:pt x="19278" y="2918"/>
                    <a:pt x="20618" y="7466"/>
                    <a:pt x="20618" y="12263"/>
                  </a:cubicBezTo>
                  <a:cubicBezTo>
                    <a:pt x="20618" y="17393"/>
                    <a:pt x="11803" y="20381"/>
                    <a:pt x="10800" y="20592"/>
                  </a:cubicBezTo>
                  <a:moveTo>
                    <a:pt x="19618" y="356"/>
                  </a:moveTo>
                  <a:cubicBezTo>
                    <a:pt x="19577" y="216"/>
                    <a:pt x="19477" y="101"/>
                    <a:pt x="19343" y="42"/>
                  </a:cubicBezTo>
                  <a:cubicBezTo>
                    <a:pt x="19210" y="-17"/>
                    <a:pt x="19057" y="-13"/>
                    <a:pt x="18926" y="52"/>
                  </a:cubicBezTo>
                  <a:cubicBezTo>
                    <a:pt x="18888" y="71"/>
                    <a:pt x="15053" y="1962"/>
                    <a:pt x="10800" y="1962"/>
                  </a:cubicBezTo>
                  <a:cubicBezTo>
                    <a:pt x="6556" y="1962"/>
                    <a:pt x="2712" y="71"/>
                    <a:pt x="2674" y="52"/>
                  </a:cubicBezTo>
                  <a:cubicBezTo>
                    <a:pt x="2543" y="-13"/>
                    <a:pt x="2391" y="-17"/>
                    <a:pt x="2257" y="42"/>
                  </a:cubicBezTo>
                  <a:cubicBezTo>
                    <a:pt x="2124" y="101"/>
                    <a:pt x="2023" y="216"/>
                    <a:pt x="1983" y="356"/>
                  </a:cubicBezTo>
                  <a:cubicBezTo>
                    <a:pt x="1963" y="426"/>
                    <a:pt x="0" y="6376"/>
                    <a:pt x="0" y="12263"/>
                  </a:cubicBezTo>
                  <a:cubicBezTo>
                    <a:pt x="0" y="18484"/>
                    <a:pt x="10271" y="21491"/>
                    <a:pt x="10708" y="21575"/>
                  </a:cubicBezTo>
                  <a:cubicBezTo>
                    <a:pt x="10739" y="21580"/>
                    <a:pt x="10770" y="21583"/>
                    <a:pt x="10800" y="21583"/>
                  </a:cubicBezTo>
                  <a:cubicBezTo>
                    <a:pt x="10831" y="21583"/>
                    <a:pt x="10862" y="21580"/>
                    <a:pt x="10892" y="21575"/>
                  </a:cubicBezTo>
                  <a:cubicBezTo>
                    <a:pt x="11329" y="21491"/>
                    <a:pt x="21600" y="18484"/>
                    <a:pt x="21600" y="12263"/>
                  </a:cubicBezTo>
                  <a:cubicBezTo>
                    <a:pt x="21600" y="6376"/>
                    <a:pt x="19637" y="426"/>
                    <a:pt x="19618" y="356"/>
                  </a:cubicBezTo>
                </a:path>
              </a:pathLst>
            </a:custGeom>
            <a:solidFill>
              <a:schemeClr val="accent3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26" name="TextBox 96">
              <a:extLst>
                <a:ext uri="{FF2B5EF4-FFF2-40B4-BE49-F238E27FC236}">
                  <a16:creationId xmlns:a16="http://schemas.microsoft.com/office/drawing/2014/main" id="{A8FC9151-08FC-482C-88E0-F9D86B7231AE}"/>
                </a:ext>
              </a:extLst>
            </p:cNvPr>
            <p:cNvSpPr txBox="1"/>
            <p:nvPr/>
          </p:nvSpPr>
          <p:spPr>
            <a:xfrm>
              <a:off x="9935947" y="2409679"/>
              <a:ext cx="852798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3000">
                  <a:solidFill>
                    <a:schemeClr val="accent3"/>
                  </a:solidFill>
                  <a:cs typeface="+mn-ea"/>
                  <a:sym typeface="+mn-lt"/>
                </a:rPr>
                <a:t>5569</a:t>
              </a:r>
            </a:p>
          </p:txBody>
        </p:sp>
        <p:grpSp>
          <p:nvGrpSpPr>
            <p:cNvPr id="27" name="组合 26">
              <a:extLst>
                <a:ext uri="{FF2B5EF4-FFF2-40B4-BE49-F238E27FC236}">
                  <a16:creationId xmlns:a16="http://schemas.microsoft.com/office/drawing/2014/main" id="{79AA43A8-027D-4DCE-B07D-EF5ADEB835C6}"/>
                </a:ext>
              </a:extLst>
            </p:cNvPr>
            <p:cNvGrpSpPr/>
            <p:nvPr/>
          </p:nvGrpSpPr>
          <p:grpSpPr>
            <a:xfrm>
              <a:off x="9335253" y="2974149"/>
              <a:ext cx="2054184" cy="877883"/>
              <a:chOff x="9335253" y="2974149"/>
              <a:chExt cx="2054184" cy="877883"/>
            </a:xfrm>
          </p:grpSpPr>
          <p:sp>
            <p:nvSpPr>
              <p:cNvPr id="28" name="TextBox 97">
                <a:extLst>
                  <a:ext uri="{FF2B5EF4-FFF2-40B4-BE49-F238E27FC236}">
                    <a16:creationId xmlns:a16="http://schemas.microsoft.com/office/drawing/2014/main" id="{3B24BDE9-F6ED-45FA-AE3B-F29F39F2950B}"/>
                  </a:ext>
                </a:extLst>
              </p:cNvPr>
              <p:cNvSpPr txBox="1"/>
              <p:nvPr/>
            </p:nvSpPr>
            <p:spPr>
              <a:xfrm>
                <a:off x="9727556" y="2974149"/>
                <a:ext cx="126957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accent3"/>
                    </a:solidFill>
                    <a:cs typeface="+mn-ea"/>
                    <a:sym typeface="+mn-lt"/>
                  </a:rPr>
                  <a:t>Add title text</a:t>
                </a:r>
                <a:endParaRPr lang="en-US" dirty="0">
                  <a:solidFill>
                    <a:schemeClr val="accent3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TextBox 98">
                <a:extLst>
                  <a:ext uri="{FF2B5EF4-FFF2-40B4-BE49-F238E27FC236}">
                    <a16:creationId xmlns:a16="http://schemas.microsoft.com/office/drawing/2014/main" id="{28D3E0AE-8747-4D6C-8F8F-9AC99E6C8408}"/>
                  </a:ext>
                </a:extLst>
              </p:cNvPr>
              <p:cNvSpPr txBox="1"/>
              <p:nvPr/>
            </p:nvSpPr>
            <p:spPr>
              <a:xfrm flipH="1">
                <a:off x="9335253" y="3245648"/>
                <a:ext cx="2054184" cy="60638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zh-CN" sz="1400" dirty="0">
                    <a:solidFill>
                      <a:schemeClr val="tx2"/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400" dirty="0">
                  <a:solidFill>
                    <a:schemeClr val="tx2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3FF210B1-2686-48AA-A3A1-80E04472AF6F}"/>
              </a:ext>
            </a:extLst>
          </p:cNvPr>
          <p:cNvGrpSpPr/>
          <p:nvPr/>
        </p:nvGrpSpPr>
        <p:grpSpPr>
          <a:xfrm>
            <a:off x="9335253" y="4381141"/>
            <a:ext cx="2054184" cy="1870478"/>
            <a:chOff x="9335253" y="4381141"/>
            <a:chExt cx="2054184" cy="1870478"/>
          </a:xfrm>
        </p:grpSpPr>
        <p:sp>
          <p:nvSpPr>
            <p:cNvPr id="31" name="Shape 2633">
              <a:extLst>
                <a:ext uri="{FF2B5EF4-FFF2-40B4-BE49-F238E27FC236}">
                  <a16:creationId xmlns:a16="http://schemas.microsoft.com/office/drawing/2014/main" id="{CCE5EA7A-82D9-4C05-9F81-0E625839FE12}"/>
                </a:ext>
              </a:extLst>
            </p:cNvPr>
            <p:cNvSpPr/>
            <p:nvPr/>
          </p:nvSpPr>
          <p:spPr>
            <a:xfrm>
              <a:off x="10177490" y="4381141"/>
              <a:ext cx="369710" cy="3697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144" y="18334"/>
                  </a:moveTo>
                  <a:lnTo>
                    <a:pt x="15583" y="6873"/>
                  </a:lnTo>
                  <a:lnTo>
                    <a:pt x="20168" y="6873"/>
                  </a:lnTo>
                  <a:cubicBezTo>
                    <a:pt x="20168" y="6873"/>
                    <a:pt x="12144" y="18334"/>
                    <a:pt x="12144" y="18334"/>
                  </a:cubicBezTo>
                  <a:close/>
                  <a:moveTo>
                    <a:pt x="10800" y="19403"/>
                  </a:moveTo>
                  <a:lnTo>
                    <a:pt x="7041" y="6873"/>
                  </a:lnTo>
                  <a:lnTo>
                    <a:pt x="14559" y="6873"/>
                  </a:lnTo>
                  <a:cubicBezTo>
                    <a:pt x="14559" y="6873"/>
                    <a:pt x="10800" y="19403"/>
                    <a:pt x="10800" y="19403"/>
                  </a:cubicBezTo>
                  <a:close/>
                  <a:moveTo>
                    <a:pt x="1432" y="6873"/>
                  </a:moveTo>
                  <a:lnTo>
                    <a:pt x="6017" y="6873"/>
                  </a:lnTo>
                  <a:lnTo>
                    <a:pt x="9456" y="18334"/>
                  </a:lnTo>
                  <a:cubicBezTo>
                    <a:pt x="9456" y="18334"/>
                    <a:pt x="1432" y="6873"/>
                    <a:pt x="1432" y="6873"/>
                  </a:cubicBezTo>
                  <a:close/>
                  <a:moveTo>
                    <a:pt x="6578" y="982"/>
                  </a:moveTo>
                  <a:lnTo>
                    <a:pt x="8536" y="982"/>
                  </a:lnTo>
                  <a:lnTo>
                    <a:pt x="6082" y="5891"/>
                  </a:lnTo>
                  <a:lnTo>
                    <a:pt x="1669" y="5891"/>
                  </a:lnTo>
                  <a:cubicBezTo>
                    <a:pt x="1669" y="5891"/>
                    <a:pt x="6578" y="982"/>
                    <a:pt x="6578" y="982"/>
                  </a:cubicBezTo>
                  <a:close/>
                  <a:moveTo>
                    <a:pt x="11973" y="982"/>
                  </a:moveTo>
                  <a:lnTo>
                    <a:pt x="14427" y="5891"/>
                  </a:lnTo>
                  <a:lnTo>
                    <a:pt x="7173" y="5891"/>
                  </a:lnTo>
                  <a:lnTo>
                    <a:pt x="9627" y="982"/>
                  </a:lnTo>
                  <a:cubicBezTo>
                    <a:pt x="9627" y="982"/>
                    <a:pt x="11973" y="982"/>
                    <a:pt x="11973" y="982"/>
                  </a:cubicBezTo>
                  <a:close/>
                  <a:moveTo>
                    <a:pt x="15022" y="982"/>
                  </a:moveTo>
                  <a:lnTo>
                    <a:pt x="19931" y="5891"/>
                  </a:lnTo>
                  <a:lnTo>
                    <a:pt x="15518" y="5891"/>
                  </a:lnTo>
                  <a:lnTo>
                    <a:pt x="13064" y="982"/>
                  </a:lnTo>
                  <a:cubicBezTo>
                    <a:pt x="13064" y="982"/>
                    <a:pt x="15022" y="982"/>
                    <a:pt x="15022" y="982"/>
                  </a:cubicBezTo>
                  <a:close/>
                  <a:moveTo>
                    <a:pt x="21600" y="6382"/>
                  </a:moveTo>
                  <a:cubicBezTo>
                    <a:pt x="21600" y="6272"/>
                    <a:pt x="21557" y="6175"/>
                    <a:pt x="21495" y="6093"/>
                  </a:cubicBezTo>
                  <a:lnTo>
                    <a:pt x="21502" y="6088"/>
                  </a:lnTo>
                  <a:lnTo>
                    <a:pt x="21471" y="6057"/>
                  </a:lnTo>
                  <a:cubicBezTo>
                    <a:pt x="21459" y="6044"/>
                    <a:pt x="21448" y="6032"/>
                    <a:pt x="21434" y="6020"/>
                  </a:cubicBezTo>
                  <a:lnTo>
                    <a:pt x="15611" y="197"/>
                  </a:lnTo>
                  <a:lnTo>
                    <a:pt x="15604" y="201"/>
                  </a:lnTo>
                  <a:cubicBezTo>
                    <a:pt x="15514" y="82"/>
                    <a:pt x="15379" y="0"/>
                    <a:pt x="15218" y="0"/>
                  </a:cubicBezTo>
                  <a:lnTo>
                    <a:pt x="6382" y="0"/>
                  </a:lnTo>
                  <a:cubicBezTo>
                    <a:pt x="6221" y="0"/>
                    <a:pt x="6086" y="82"/>
                    <a:pt x="5996" y="201"/>
                  </a:cubicBezTo>
                  <a:lnTo>
                    <a:pt x="5989" y="197"/>
                  </a:lnTo>
                  <a:lnTo>
                    <a:pt x="166" y="6020"/>
                  </a:lnTo>
                  <a:cubicBezTo>
                    <a:pt x="152" y="6032"/>
                    <a:pt x="141" y="6044"/>
                    <a:pt x="129" y="6057"/>
                  </a:cubicBezTo>
                  <a:lnTo>
                    <a:pt x="98" y="6088"/>
                  </a:lnTo>
                  <a:lnTo>
                    <a:pt x="105" y="6093"/>
                  </a:lnTo>
                  <a:cubicBezTo>
                    <a:pt x="43" y="6175"/>
                    <a:pt x="0" y="6272"/>
                    <a:pt x="0" y="6382"/>
                  </a:cubicBezTo>
                  <a:cubicBezTo>
                    <a:pt x="0" y="6499"/>
                    <a:pt x="46" y="6602"/>
                    <a:pt x="115" y="6686"/>
                  </a:cubicBezTo>
                  <a:lnTo>
                    <a:pt x="109" y="6690"/>
                  </a:lnTo>
                  <a:lnTo>
                    <a:pt x="10418" y="21418"/>
                  </a:lnTo>
                  <a:lnTo>
                    <a:pt x="10424" y="21413"/>
                  </a:lnTo>
                  <a:cubicBezTo>
                    <a:pt x="10514" y="21525"/>
                    <a:pt x="10646" y="21600"/>
                    <a:pt x="10800" y="21600"/>
                  </a:cubicBezTo>
                  <a:cubicBezTo>
                    <a:pt x="10954" y="21600"/>
                    <a:pt x="11086" y="21525"/>
                    <a:pt x="11176" y="21413"/>
                  </a:cubicBezTo>
                  <a:lnTo>
                    <a:pt x="11182" y="21418"/>
                  </a:lnTo>
                  <a:lnTo>
                    <a:pt x="21491" y="6690"/>
                  </a:lnTo>
                  <a:lnTo>
                    <a:pt x="21485" y="6686"/>
                  </a:lnTo>
                  <a:cubicBezTo>
                    <a:pt x="21553" y="6602"/>
                    <a:pt x="21600" y="6499"/>
                    <a:pt x="21600" y="6382"/>
                  </a:cubicBezTo>
                </a:path>
              </a:pathLst>
            </a:custGeom>
            <a:solidFill>
              <a:schemeClr val="accent4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B91FB347-1738-4B6B-87B2-46E8BB90FF2A}"/>
                </a:ext>
              </a:extLst>
            </p:cNvPr>
            <p:cNvGrpSpPr/>
            <p:nvPr/>
          </p:nvGrpSpPr>
          <p:grpSpPr>
            <a:xfrm>
              <a:off x="9335253" y="4809266"/>
              <a:ext cx="2054184" cy="1442353"/>
              <a:chOff x="9335253" y="4809266"/>
              <a:chExt cx="2054184" cy="1442353"/>
            </a:xfrm>
          </p:grpSpPr>
          <p:sp>
            <p:nvSpPr>
              <p:cNvPr id="33" name="TextBox 100">
                <a:extLst>
                  <a:ext uri="{FF2B5EF4-FFF2-40B4-BE49-F238E27FC236}">
                    <a16:creationId xmlns:a16="http://schemas.microsoft.com/office/drawing/2014/main" id="{60ABF118-E182-43E9-BE11-938EFBACEE9D}"/>
                  </a:ext>
                </a:extLst>
              </p:cNvPr>
              <p:cNvSpPr txBox="1"/>
              <p:nvPr/>
            </p:nvSpPr>
            <p:spPr>
              <a:xfrm>
                <a:off x="9935947" y="4809266"/>
                <a:ext cx="852798" cy="4616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3000" dirty="0">
                    <a:solidFill>
                      <a:schemeClr val="accent4"/>
                    </a:solidFill>
                    <a:cs typeface="+mn-ea"/>
                    <a:sym typeface="+mn-lt"/>
                  </a:rPr>
                  <a:t>7669</a:t>
                </a:r>
              </a:p>
            </p:txBody>
          </p:sp>
          <p:sp>
            <p:nvSpPr>
              <p:cNvPr id="34" name="TextBox 101">
                <a:extLst>
                  <a:ext uri="{FF2B5EF4-FFF2-40B4-BE49-F238E27FC236}">
                    <a16:creationId xmlns:a16="http://schemas.microsoft.com/office/drawing/2014/main" id="{6323309E-D20F-4851-A35E-97741552504C}"/>
                  </a:ext>
                </a:extLst>
              </p:cNvPr>
              <p:cNvSpPr txBox="1"/>
              <p:nvPr/>
            </p:nvSpPr>
            <p:spPr>
              <a:xfrm>
                <a:off x="9727556" y="5373737"/>
                <a:ext cx="126957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accent4"/>
                    </a:solidFill>
                    <a:cs typeface="+mn-ea"/>
                    <a:sym typeface="+mn-lt"/>
                  </a:rPr>
                  <a:t>Add title text</a:t>
                </a:r>
                <a:endParaRPr lang="en-US" dirty="0">
                  <a:solidFill>
                    <a:schemeClr val="accent4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5" name="TextBox 102">
                <a:extLst>
                  <a:ext uri="{FF2B5EF4-FFF2-40B4-BE49-F238E27FC236}">
                    <a16:creationId xmlns:a16="http://schemas.microsoft.com/office/drawing/2014/main" id="{5469FA51-BE84-42D4-BBAD-B7629B90C0EF}"/>
                  </a:ext>
                </a:extLst>
              </p:cNvPr>
              <p:cNvSpPr txBox="1"/>
              <p:nvPr/>
            </p:nvSpPr>
            <p:spPr>
              <a:xfrm flipH="1">
                <a:off x="9335253" y="5645235"/>
                <a:ext cx="2054184" cy="60638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en-US" altLang="zh-CN" sz="1400" dirty="0">
                    <a:solidFill>
                      <a:schemeClr val="tx2"/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400" dirty="0">
                  <a:solidFill>
                    <a:schemeClr val="tx2"/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36" name="Freeform 6">
            <a:extLst>
              <a:ext uri="{FF2B5EF4-FFF2-40B4-BE49-F238E27FC236}">
                <a16:creationId xmlns:a16="http://schemas.microsoft.com/office/drawing/2014/main" id="{D170A2C5-10AA-4F43-AECF-F7AF7FF659F3}"/>
              </a:ext>
            </a:extLst>
          </p:cNvPr>
          <p:cNvSpPr>
            <a:spLocks/>
          </p:cNvSpPr>
          <p:nvPr/>
        </p:nvSpPr>
        <p:spPr bwMode="auto">
          <a:xfrm>
            <a:off x="5344727" y="1964799"/>
            <a:ext cx="1502549" cy="1678171"/>
          </a:xfrm>
          <a:custGeom>
            <a:avLst/>
            <a:gdLst>
              <a:gd name="T0" fmla="*/ 144 w 288"/>
              <a:gd name="T1" fmla="*/ 0 h 322"/>
              <a:gd name="T2" fmla="*/ 0 w 288"/>
              <a:gd name="T3" fmla="*/ 144 h 322"/>
              <a:gd name="T4" fmla="*/ 0 w 288"/>
              <a:gd name="T5" fmla="*/ 190 h 322"/>
              <a:gd name="T6" fmla="*/ 68 w 288"/>
              <a:gd name="T7" fmla="*/ 230 h 322"/>
              <a:gd name="T8" fmla="*/ 68 w 288"/>
              <a:gd name="T9" fmla="*/ 144 h 322"/>
              <a:gd name="T10" fmla="*/ 144 w 288"/>
              <a:gd name="T11" fmla="*/ 68 h 322"/>
              <a:gd name="T12" fmla="*/ 220 w 288"/>
              <a:gd name="T13" fmla="*/ 144 h 322"/>
              <a:gd name="T14" fmla="*/ 220 w 288"/>
              <a:gd name="T15" fmla="*/ 283 h 322"/>
              <a:gd name="T16" fmla="*/ 288 w 288"/>
              <a:gd name="T17" fmla="*/ 322 h 322"/>
              <a:gd name="T18" fmla="*/ 288 w 288"/>
              <a:gd name="T19" fmla="*/ 144 h 322"/>
              <a:gd name="T20" fmla="*/ 144 w 288"/>
              <a:gd name="T21" fmla="*/ 0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" h="322">
                <a:moveTo>
                  <a:pt x="144" y="0"/>
                </a:moveTo>
                <a:cubicBezTo>
                  <a:pt x="65" y="0"/>
                  <a:pt x="0" y="64"/>
                  <a:pt x="0" y="144"/>
                </a:cubicBezTo>
                <a:cubicBezTo>
                  <a:pt x="0" y="190"/>
                  <a:pt x="0" y="190"/>
                  <a:pt x="0" y="190"/>
                </a:cubicBezTo>
                <a:cubicBezTo>
                  <a:pt x="68" y="230"/>
                  <a:pt x="68" y="230"/>
                  <a:pt x="68" y="230"/>
                </a:cubicBezTo>
                <a:cubicBezTo>
                  <a:pt x="68" y="144"/>
                  <a:pt x="68" y="144"/>
                  <a:pt x="68" y="144"/>
                </a:cubicBezTo>
                <a:cubicBezTo>
                  <a:pt x="68" y="102"/>
                  <a:pt x="102" y="68"/>
                  <a:pt x="144" y="68"/>
                </a:cubicBezTo>
                <a:cubicBezTo>
                  <a:pt x="186" y="68"/>
                  <a:pt x="220" y="102"/>
                  <a:pt x="220" y="144"/>
                </a:cubicBezTo>
                <a:cubicBezTo>
                  <a:pt x="220" y="283"/>
                  <a:pt x="220" y="283"/>
                  <a:pt x="220" y="283"/>
                </a:cubicBezTo>
                <a:cubicBezTo>
                  <a:pt x="288" y="322"/>
                  <a:pt x="288" y="322"/>
                  <a:pt x="288" y="322"/>
                </a:cubicBezTo>
                <a:cubicBezTo>
                  <a:pt x="288" y="144"/>
                  <a:pt x="288" y="144"/>
                  <a:pt x="288" y="144"/>
                </a:cubicBezTo>
                <a:cubicBezTo>
                  <a:pt x="288" y="64"/>
                  <a:pt x="223" y="0"/>
                  <a:pt x="14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37" name="Freeform 7">
            <a:extLst>
              <a:ext uri="{FF2B5EF4-FFF2-40B4-BE49-F238E27FC236}">
                <a16:creationId xmlns:a16="http://schemas.microsoft.com/office/drawing/2014/main" id="{B6E1DA46-619E-4182-A65A-790A5BE71B28}"/>
              </a:ext>
            </a:extLst>
          </p:cNvPr>
          <p:cNvSpPr>
            <a:spLocks/>
          </p:cNvSpPr>
          <p:nvPr/>
        </p:nvSpPr>
        <p:spPr bwMode="auto">
          <a:xfrm>
            <a:off x="6847274" y="2700312"/>
            <a:ext cx="1445509" cy="1876309"/>
          </a:xfrm>
          <a:custGeom>
            <a:avLst/>
            <a:gdLst>
              <a:gd name="T0" fmla="*/ 236 w 277"/>
              <a:gd name="T1" fmla="*/ 75 h 360"/>
              <a:gd name="T2" fmla="*/ 148 w 277"/>
              <a:gd name="T3" fmla="*/ 9 h 360"/>
              <a:gd name="T4" fmla="*/ 39 w 277"/>
              <a:gd name="T5" fmla="*/ 25 h 360"/>
              <a:gd name="T6" fmla="*/ 0 w 277"/>
              <a:gd name="T7" fmla="*/ 49 h 360"/>
              <a:gd name="T8" fmla="*/ 0 w 277"/>
              <a:gd name="T9" fmla="*/ 128 h 360"/>
              <a:gd name="T10" fmla="*/ 74 w 277"/>
              <a:gd name="T11" fmla="*/ 83 h 360"/>
              <a:gd name="T12" fmla="*/ 178 w 277"/>
              <a:gd name="T13" fmla="*/ 110 h 360"/>
              <a:gd name="T14" fmla="*/ 152 w 277"/>
              <a:gd name="T15" fmla="*/ 213 h 360"/>
              <a:gd name="T16" fmla="*/ 39 w 277"/>
              <a:gd name="T17" fmla="*/ 281 h 360"/>
              <a:gd name="T18" fmla="*/ 39 w 277"/>
              <a:gd name="T19" fmla="*/ 360 h 360"/>
              <a:gd name="T20" fmla="*/ 187 w 277"/>
              <a:gd name="T21" fmla="*/ 272 h 360"/>
              <a:gd name="T22" fmla="*/ 236 w 277"/>
              <a:gd name="T23" fmla="*/ 75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7" h="360">
                <a:moveTo>
                  <a:pt x="236" y="75"/>
                </a:moveTo>
                <a:cubicBezTo>
                  <a:pt x="217" y="42"/>
                  <a:pt x="185" y="19"/>
                  <a:pt x="148" y="9"/>
                </a:cubicBezTo>
                <a:cubicBezTo>
                  <a:pt x="111" y="0"/>
                  <a:pt x="72" y="5"/>
                  <a:pt x="39" y="25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128"/>
                  <a:pt x="0" y="128"/>
                  <a:pt x="0" y="128"/>
                </a:cubicBezTo>
                <a:cubicBezTo>
                  <a:pt x="74" y="83"/>
                  <a:pt x="74" y="83"/>
                  <a:pt x="74" y="83"/>
                </a:cubicBezTo>
                <a:cubicBezTo>
                  <a:pt x="110" y="62"/>
                  <a:pt x="156" y="74"/>
                  <a:pt x="178" y="110"/>
                </a:cubicBezTo>
                <a:cubicBezTo>
                  <a:pt x="199" y="145"/>
                  <a:pt x="188" y="192"/>
                  <a:pt x="152" y="213"/>
                </a:cubicBezTo>
                <a:cubicBezTo>
                  <a:pt x="39" y="281"/>
                  <a:pt x="39" y="281"/>
                  <a:pt x="39" y="281"/>
                </a:cubicBezTo>
                <a:cubicBezTo>
                  <a:pt x="39" y="360"/>
                  <a:pt x="39" y="360"/>
                  <a:pt x="39" y="360"/>
                </a:cubicBezTo>
                <a:cubicBezTo>
                  <a:pt x="187" y="272"/>
                  <a:pt x="187" y="272"/>
                  <a:pt x="187" y="272"/>
                </a:cubicBezTo>
                <a:cubicBezTo>
                  <a:pt x="255" y="231"/>
                  <a:pt x="277" y="143"/>
                  <a:pt x="236" y="7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38" name="Freeform 8">
            <a:extLst>
              <a:ext uri="{FF2B5EF4-FFF2-40B4-BE49-F238E27FC236}">
                <a16:creationId xmlns:a16="http://schemas.microsoft.com/office/drawing/2014/main" id="{C5C5C5D1-14FF-4403-848C-253C8D9B8A4B}"/>
              </a:ext>
            </a:extLst>
          </p:cNvPr>
          <p:cNvSpPr>
            <a:spLocks/>
          </p:cNvSpPr>
          <p:nvPr/>
        </p:nvSpPr>
        <p:spPr bwMode="auto">
          <a:xfrm>
            <a:off x="6330914" y="4274911"/>
            <a:ext cx="1883814" cy="1547580"/>
          </a:xfrm>
          <a:custGeom>
            <a:avLst/>
            <a:gdLst>
              <a:gd name="T0" fmla="*/ 286 w 361"/>
              <a:gd name="T1" fmla="*/ 30 h 297"/>
              <a:gd name="T2" fmla="*/ 235 w 361"/>
              <a:gd name="T3" fmla="*/ 0 h 297"/>
              <a:gd name="T4" fmla="*/ 169 w 361"/>
              <a:gd name="T5" fmla="*/ 40 h 297"/>
              <a:gd name="T6" fmla="*/ 251 w 361"/>
              <a:gd name="T7" fmla="*/ 89 h 297"/>
              <a:gd name="T8" fmla="*/ 285 w 361"/>
              <a:gd name="T9" fmla="*/ 135 h 297"/>
              <a:gd name="T10" fmla="*/ 277 w 361"/>
              <a:gd name="T11" fmla="*/ 192 h 297"/>
              <a:gd name="T12" fmla="*/ 173 w 361"/>
              <a:gd name="T13" fmla="*/ 219 h 297"/>
              <a:gd name="T14" fmla="*/ 67 w 361"/>
              <a:gd name="T15" fmla="*/ 155 h 297"/>
              <a:gd name="T16" fmla="*/ 0 w 361"/>
              <a:gd name="T17" fmla="*/ 194 h 297"/>
              <a:gd name="T18" fmla="*/ 138 w 361"/>
              <a:gd name="T19" fmla="*/ 277 h 297"/>
              <a:gd name="T20" fmla="*/ 212 w 361"/>
              <a:gd name="T21" fmla="*/ 297 h 297"/>
              <a:gd name="T22" fmla="*/ 335 w 361"/>
              <a:gd name="T23" fmla="*/ 227 h 297"/>
              <a:gd name="T24" fmla="*/ 351 w 361"/>
              <a:gd name="T25" fmla="*/ 118 h 297"/>
              <a:gd name="T26" fmla="*/ 286 w 361"/>
              <a:gd name="T27" fmla="*/ 30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61" h="297">
                <a:moveTo>
                  <a:pt x="286" y="30"/>
                </a:moveTo>
                <a:cubicBezTo>
                  <a:pt x="235" y="0"/>
                  <a:pt x="235" y="0"/>
                  <a:pt x="235" y="0"/>
                </a:cubicBezTo>
                <a:cubicBezTo>
                  <a:pt x="169" y="40"/>
                  <a:pt x="169" y="40"/>
                  <a:pt x="169" y="40"/>
                </a:cubicBezTo>
                <a:cubicBezTo>
                  <a:pt x="251" y="89"/>
                  <a:pt x="251" y="89"/>
                  <a:pt x="251" y="89"/>
                </a:cubicBezTo>
                <a:cubicBezTo>
                  <a:pt x="268" y="99"/>
                  <a:pt x="280" y="115"/>
                  <a:pt x="285" y="135"/>
                </a:cubicBezTo>
                <a:cubicBezTo>
                  <a:pt x="290" y="155"/>
                  <a:pt x="287" y="175"/>
                  <a:pt x="277" y="192"/>
                </a:cubicBezTo>
                <a:cubicBezTo>
                  <a:pt x="255" y="228"/>
                  <a:pt x="209" y="240"/>
                  <a:pt x="173" y="219"/>
                </a:cubicBezTo>
                <a:cubicBezTo>
                  <a:pt x="67" y="155"/>
                  <a:pt x="67" y="155"/>
                  <a:pt x="67" y="155"/>
                </a:cubicBezTo>
                <a:cubicBezTo>
                  <a:pt x="0" y="194"/>
                  <a:pt x="0" y="194"/>
                  <a:pt x="0" y="194"/>
                </a:cubicBezTo>
                <a:cubicBezTo>
                  <a:pt x="138" y="277"/>
                  <a:pt x="138" y="277"/>
                  <a:pt x="138" y="277"/>
                </a:cubicBezTo>
                <a:cubicBezTo>
                  <a:pt x="161" y="291"/>
                  <a:pt x="187" y="297"/>
                  <a:pt x="212" y="297"/>
                </a:cubicBezTo>
                <a:cubicBezTo>
                  <a:pt x="261" y="297"/>
                  <a:pt x="308" y="272"/>
                  <a:pt x="335" y="227"/>
                </a:cubicBezTo>
                <a:cubicBezTo>
                  <a:pt x="355" y="194"/>
                  <a:pt x="361" y="156"/>
                  <a:pt x="351" y="118"/>
                </a:cubicBezTo>
                <a:cubicBezTo>
                  <a:pt x="342" y="81"/>
                  <a:pt x="319" y="50"/>
                  <a:pt x="286" y="3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39" name="Freeform 9">
            <a:extLst>
              <a:ext uri="{FF2B5EF4-FFF2-40B4-BE49-F238E27FC236}">
                <a16:creationId xmlns:a16="http://schemas.microsoft.com/office/drawing/2014/main" id="{CD8F6A88-E3DE-42D2-8421-9516349594DE}"/>
              </a:ext>
            </a:extLst>
          </p:cNvPr>
          <p:cNvSpPr>
            <a:spLocks/>
          </p:cNvSpPr>
          <p:nvPr/>
        </p:nvSpPr>
        <p:spPr bwMode="auto">
          <a:xfrm>
            <a:off x="5344727" y="4989409"/>
            <a:ext cx="1502549" cy="1595614"/>
          </a:xfrm>
          <a:custGeom>
            <a:avLst/>
            <a:gdLst>
              <a:gd name="T0" fmla="*/ 220 w 288"/>
              <a:gd name="T1" fmla="*/ 76 h 306"/>
              <a:gd name="T2" fmla="*/ 220 w 288"/>
              <a:gd name="T3" fmla="*/ 162 h 306"/>
              <a:gd name="T4" fmla="*/ 144 w 288"/>
              <a:gd name="T5" fmla="*/ 238 h 306"/>
              <a:gd name="T6" fmla="*/ 68 w 288"/>
              <a:gd name="T7" fmla="*/ 162 h 306"/>
              <a:gd name="T8" fmla="*/ 68 w 288"/>
              <a:gd name="T9" fmla="*/ 39 h 306"/>
              <a:gd name="T10" fmla="*/ 0 w 288"/>
              <a:gd name="T11" fmla="*/ 0 h 306"/>
              <a:gd name="T12" fmla="*/ 0 w 288"/>
              <a:gd name="T13" fmla="*/ 162 h 306"/>
              <a:gd name="T14" fmla="*/ 144 w 288"/>
              <a:gd name="T15" fmla="*/ 306 h 306"/>
              <a:gd name="T16" fmla="*/ 288 w 288"/>
              <a:gd name="T17" fmla="*/ 162 h 306"/>
              <a:gd name="T18" fmla="*/ 288 w 288"/>
              <a:gd name="T19" fmla="*/ 116 h 306"/>
              <a:gd name="T20" fmla="*/ 220 w 288"/>
              <a:gd name="T21" fmla="*/ 76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8" h="306">
                <a:moveTo>
                  <a:pt x="220" y="76"/>
                </a:moveTo>
                <a:cubicBezTo>
                  <a:pt x="220" y="162"/>
                  <a:pt x="220" y="162"/>
                  <a:pt x="220" y="162"/>
                </a:cubicBezTo>
                <a:cubicBezTo>
                  <a:pt x="220" y="204"/>
                  <a:pt x="186" y="238"/>
                  <a:pt x="144" y="238"/>
                </a:cubicBezTo>
                <a:cubicBezTo>
                  <a:pt x="102" y="238"/>
                  <a:pt x="68" y="204"/>
                  <a:pt x="68" y="162"/>
                </a:cubicBezTo>
                <a:cubicBezTo>
                  <a:pt x="68" y="39"/>
                  <a:pt x="68" y="39"/>
                  <a:pt x="68" y="39"/>
                </a:cubicBezTo>
                <a:cubicBezTo>
                  <a:pt x="0" y="0"/>
                  <a:pt x="0" y="0"/>
                  <a:pt x="0" y="0"/>
                </a:cubicBezTo>
                <a:cubicBezTo>
                  <a:pt x="0" y="162"/>
                  <a:pt x="0" y="162"/>
                  <a:pt x="0" y="162"/>
                </a:cubicBezTo>
                <a:cubicBezTo>
                  <a:pt x="0" y="242"/>
                  <a:pt x="65" y="306"/>
                  <a:pt x="144" y="306"/>
                </a:cubicBezTo>
                <a:cubicBezTo>
                  <a:pt x="223" y="306"/>
                  <a:pt x="288" y="242"/>
                  <a:pt x="288" y="162"/>
                </a:cubicBezTo>
                <a:cubicBezTo>
                  <a:pt x="288" y="116"/>
                  <a:pt x="288" y="116"/>
                  <a:pt x="288" y="116"/>
                </a:cubicBezTo>
                <a:lnTo>
                  <a:pt x="220" y="7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0" name="Freeform 10">
            <a:extLst>
              <a:ext uri="{FF2B5EF4-FFF2-40B4-BE49-F238E27FC236}">
                <a16:creationId xmlns:a16="http://schemas.microsoft.com/office/drawing/2014/main" id="{22BA1258-BC74-4924-9E3B-6B9B16907580}"/>
              </a:ext>
            </a:extLst>
          </p:cNvPr>
          <p:cNvSpPr>
            <a:spLocks/>
          </p:cNvSpPr>
          <p:nvPr/>
        </p:nvSpPr>
        <p:spPr bwMode="auto">
          <a:xfrm>
            <a:off x="3983277" y="3971699"/>
            <a:ext cx="1361450" cy="1850792"/>
          </a:xfrm>
          <a:custGeom>
            <a:avLst/>
            <a:gdLst>
              <a:gd name="T0" fmla="*/ 261 w 261"/>
              <a:gd name="T1" fmla="*/ 232 h 355"/>
              <a:gd name="T2" fmla="*/ 187 w 261"/>
              <a:gd name="T3" fmla="*/ 277 h 355"/>
              <a:gd name="T4" fmla="*/ 83 w 261"/>
              <a:gd name="T5" fmla="*/ 250 h 355"/>
              <a:gd name="T6" fmla="*/ 75 w 261"/>
              <a:gd name="T7" fmla="*/ 193 h 355"/>
              <a:gd name="T8" fmla="*/ 109 w 261"/>
              <a:gd name="T9" fmla="*/ 147 h 355"/>
              <a:gd name="T10" fmla="*/ 222 w 261"/>
              <a:gd name="T11" fmla="*/ 79 h 355"/>
              <a:gd name="T12" fmla="*/ 222 w 261"/>
              <a:gd name="T13" fmla="*/ 0 h 355"/>
              <a:gd name="T14" fmla="*/ 74 w 261"/>
              <a:gd name="T15" fmla="*/ 88 h 355"/>
              <a:gd name="T16" fmla="*/ 9 w 261"/>
              <a:gd name="T17" fmla="*/ 176 h 355"/>
              <a:gd name="T18" fmla="*/ 25 w 261"/>
              <a:gd name="T19" fmla="*/ 285 h 355"/>
              <a:gd name="T20" fmla="*/ 148 w 261"/>
              <a:gd name="T21" fmla="*/ 355 h 355"/>
              <a:gd name="T22" fmla="*/ 222 w 261"/>
              <a:gd name="T23" fmla="*/ 335 h 355"/>
              <a:gd name="T24" fmla="*/ 261 w 261"/>
              <a:gd name="T25" fmla="*/ 311 h 355"/>
              <a:gd name="T26" fmla="*/ 261 w 261"/>
              <a:gd name="T27" fmla="*/ 232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61" h="355">
                <a:moveTo>
                  <a:pt x="261" y="232"/>
                </a:moveTo>
                <a:cubicBezTo>
                  <a:pt x="187" y="277"/>
                  <a:pt x="187" y="277"/>
                  <a:pt x="187" y="277"/>
                </a:cubicBezTo>
                <a:cubicBezTo>
                  <a:pt x="151" y="298"/>
                  <a:pt x="105" y="286"/>
                  <a:pt x="83" y="250"/>
                </a:cubicBezTo>
                <a:cubicBezTo>
                  <a:pt x="73" y="233"/>
                  <a:pt x="70" y="213"/>
                  <a:pt x="75" y="193"/>
                </a:cubicBezTo>
                <a:cubicBezTo>
                  <a:pt x="80" y="173"/>
                  <a:pt x="92" y="157"/>
                  <a:pt x="109" y="147"/>
                </a:cubicBezTo>
                <a:cubicBezTo>
                  <a:pt x="222" y="79"/>
                  <a:pt x="222" y="79"/>
                  <a:pt x="222" y="79"/>
                </a:cubicBezTo>
                <a:cubicBezTo>
                  <a:pt x="222" y="0"/>
                  <a:pt x="222" y="0"/>
                  <a:pt x="222" y="0"/>
                </a:cubicBezTo>
                <a:cubicBezTo>
                  <a:pt x="74" y="88"/>
                  <a:pt x="74" y="88"/>
                  <a:pt x="74" y="88"/>
                </a:cubicBezTo>
                <a:cubicBezTo>
                  <a:pt x="42" y="108"/>
                  <a:pt x="18" y="139"/>
                  <a:pt x="9" y="176"/>
                </a:cubicBezTo>
                <a:cubicBezTo>
                  <a:pt x="0" y="214"/>
                  <a:pt x="5" y="252"/>
                  <a:pt x="25" y="285"/>
                </a:cubicBezTo>
                <a:cubicBezTo>
                  <a:pt x="52" y="330"/>
                  <a:pt x="100" y="355"/>
                  <a:pt x="148" y="355"/>
                </a:cubicBezTo>
                <a:cubicBezTo>
                  <a:pt x="174" y="355"/>
                  <a:pt x="199" y="349"/>
                  <a:pt x="222" y="335"/>
                </a:cubicBezTo>
                <a:cubicBezTo>
                  <a:pt x="261" y="311"/>
                  <a:pt x="261" y="311"/>
                  <a:pt x="261" y="311"/>
                </a:cubicBezTo>
                <a:lnTo>
                  <a:pt x="261" y="23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1" name="Freeform 11">
            <a:extLst>
              <a:ext uri="{FF2B5EF4-FFF2-40B4-BE49-F238E27FC236}">
                <a16:creationId xmlns:a16="http://schemas.microsoft.com/office/drawing/2014/main" id="{4C7CFCFB-41F2-4302-BA54-D1555567C802}"/>
              </a:ext>
            </a:extLst>
          </p:cNvPr>
          <p:cNvSpPr>
            <a:spLocks/>
          </p:cNvSpPr>
          <p:nvPr/>
        </p:nvSpPr>
        <p:spPr bwMode="auto">
          <a:xfrm>
            <a:off x="3899218" y="2700312"/>
            <a:ext cx="2035420" cy="1574599"/>
          </a:xfrm>
          <a:custGeom>
            <a:avLst/>
            <a:gdLst>
              <a:gd name="T0" fmla="*/ 238 w 390"/>
              <a:gd name="T1" fmla="*/ 25 h 302"/>
              <a:gd name="T2" fmla="*/ 129 w 390"/>
              <a:gd name="T3" fmla="*/ 9 h 302"/>
              <a:gd name="T4" fmla="*/ 41 w 390"/>
              <a:gd name="T5" fmla="*/ 75 h 302"/>
              <a:gd name="T6" fmla="*/ 90 w 390"/>
              <a:gd name="T7" fmla="*/ 272 h 302"/>
              <a:gd name="T8" fmla="*/ 141 w 390"/>
              <a:gd name="T9" fmla="*/ 302 h 302"/>
              <a:gd name="T10" fmla="*/ 207 w 390"/>
              <a:gd name="T11" fmla="*/ 262 h 302"/>
              <a:gd name="T12" fmla="*/ 125 w 390"/>
              <a:gd name="T13" fmla="*/ 213 h 302"/>
              <a:gd name="T14" fmla="*/ 99 w 390"/>
              <a:gd name="T15" fmla="*/ 110 h 302"/>
              <a:gd name="T16" fmla="*/ 146 w 390"/>
              <a:gd name="T17" fmla="*/ 75 h 302"/>
              <a:gd name="T18" fmla="*/ 165 w 390"/>
              <a:gd name="T19" fmla="*/ 73 h 302"/>
              <a:gd name="T20" fmla="*/ 203 w 390"/>
              <a:gd name="T21" fmla="*/ 83 h 302"/>
              <a:gd name="T22" fmla="*/ 323 w 390"/>
              <a:gd name="T23" fmla="*/ 155 h 302"/>
              <a:gd name="T24" fmla="*/ 390 w 390"/>
              <a:gd name="T25" fmla="*/ 116 h 302"/>
              <a:gd name="T26" fmla="*/ 238 w 390"/>
              <a:gd name="T27" fmla="*/ 25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0" h="302">
                <a:moveTo>
                  <a:pt x="238" y="25"/>
                </a:moveTo>
                <a:cubicBezTo>
                  <a:pt x="205" y="5"/>
                  <a:pt x="166" y="0"/>
                  <a:pt x="129" y="9"/>
                </a:cubicBezTo>
                <a:cubicBezTo>
                  <a:pt x="92" y="19"/>
                  <a:pt x="60" y="42"/>
                  <a:pt x="41" y="75"/>
                </a:cubicBezTo>
                <a:cubicBezTo>
                  <a:pt x="0" y="143"/>
                  <a:pt x="22" y="231"/>
                  <a:pt x="90" y="272"/>
                </a:cubicBezTo>
                <a:cubicBezTo>
                  <a:pt x="141" y="302"/>
                  <a:pt x="141" y="302"/>
                  <a:pt x="141" y="302"/>
                </a:cubicBezTo>
                <a:cubicBezTo>
                  <a:pt x="207" y="262"/>
                  <a:pt x="207" y="262"/>
                  <a:pt x="207" y="262"/>
                </a:cubicBezTo>
                <a:cubicBezTo>
                  <a:pt x="125" y="213"/>
                  <a:pt x="125" y="213"/>
                  <a:pt x="125" y="213"/>
                </a:cubicBezTo>
                <a:cubicBezTo>
                  <a:pt x="90" y="192"/>
                  <a:pt x="78" y="145"/>
                  <a:pt x="99" y="110"/>
                </a:cubicBezTo>
                <a:cubicBezTo>
                  <a:pt x="110" y="92"/>
                  <a:pt x="126" y="80"/>
                  <a:pt x="146" y="75"/>
                </a:cubicBezTo>
                <a:cubicBezTo>
                  <a:pt x="152" y="74"/>
                  <a:pt x="158" y="73"/>
                  <a:pt x="165" y="73"/>
                </a:cubicBezTo>
                <a:cubicBezTo>
                  <a:pt x="178" y="73"/>
                  <a:pt x="191" y="76"/>
                  <a:pt x="203" y="83"/>
                </a:cubicBezTo>
                <a:cubicBezTo>
                  <a:pt x="323" y="155"/>
                  <a:pt x="323" y="155"/>
                  <a:pt x="323" y="155"/>
                </a:cubicBezTo>
                <a:cubicBezTo>
                  <a:pt x="390" y="116"/>
                  <a:pt x="390" y="116"/>
                  <a:pt x="390" y="116"/>
                </a:cubicBezTo>
                <a:lnTo>
                  <a:pt x="238" y="2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cs typeface="+mn-ea"/>
              <a:sym typeface="+mn-lt"/>
            </a:endParaRPr>
          </a:p>
        </p:txBody>
      </p: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2E3E4749-3AA9-473A-B0E8-C720B6351D8D}"/>
              </a:ext>
            </a:extLst>
          </p:cNvPr>
          <p:cNvGrpSpPr/>
          <p:nvPr/>
        </p:nvGrpSpPr>
        <p:grpSpPr>
          <a:xfrm>
            <a:off x="5178110" y="3252697"/>
            <a:ext cx="1835781" cy="2116476"/>
            <a:chOff x="5178110" y="3666422"/>
            <a:chExt cx="1835781" cy="2116476"/>
          </a:xfrm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434E58D3-63C8-46DF-A4D1-20CDAC827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8110" y="3666422"/>
              <a:ext cx="1835781" cy="2116476"/>
            </a:xfrm>
            <a:custGeom>
              <a:avLst/>
              <a:gdLst>
                <a:gd name="T0" fmla="*/ 612 w 1223"/>
                <a:gd name="T1" fmla="*/ 1410 h 1410"/>
                <a:gd name="T2" fmla="*/ 0 w 1223"/>
                <a:gd name="T3" fmla="*/ 1056 h 1410"/>
                <a:gd name="T4" fmla="*/ 0 w 1223"/>
                <a:gd name="T5" fmla="*/ 351 h 1410"/>
                <a:gd name="T6" fmla="*/ 612 w 1223"/>
                <a:gd name="T7" fmla="*/ 0 h 1410"/>
                <a:gd name="T8" fmla="*/ 1223 w 1223"/>
                <a:gd name="T9" fmla="*/ 351 h 1410"/>
                <a:gd name="T10" fmla="*/ 1223 w 1223"/>
                <a:gd name="T11" fmla="*/ 1056 h 1410"/>
                <a:gd name="T12" fmla="*/ 612 w 1223"/>
                <a:gd name="T13" fmla="*/ 1410 h 1410"/>
                <a:gd name="T14" fmla="*/ 125 w 1223"/>
                <a:gd name="T15" fmla="*/ 986 h 1410"/>
                <a:gd name="T16" fmla="*/ 612 w 1223"/>
                <a:gd name="T17" fmla="*/ 1268 h 1410"/>
                <a:gd name="T18" fmla="*/ 1098 w 1223"/>
                <a:gd name="T19" fmla="*/ 986 h 1410"/>
                <a:gd name="T20" fmla="*/ 1098 w 1223"/>
                <a:gd name="T21" fmla="*/ 424 h 1410"/>
                <a:gd name="T22" fmla="*/ 612 w 1223"/>
                <a:gd name="T23" fmla="*/ 142 h 1410"/>
                <a:gd name="T24" fmla="*/ 125 w 1223"/>
                <a:gd name="T25" fmla="*/ 424 h 1410"/>
                <a:gd name="T26" fmla="*/ 125 w 1223"/>
                <a:gd name="T27" fmla="*/ 986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23" h="1410">
                  <a:moveTo>
                    <a:pt x="612" y="1410"/>
                  </a:moveTo>
                  <a:lnTo>
                    <a:pt x="0" y="1056"/>
                  </a:lnTo>
                  <a:lnTo>
                    <a:pt x="0" y="351"/>
                  </a:lnTo>
                  <a:lnTo>
                    <a:pt x="612" y="0"/>
                  </a:lnTo>
                  <a:lnTo>
                    <a:pt x="1223" y="351"/>
                  </a:lnTo>
                  <a:lnTo>
                    <a:pt x="1223" y="1056"/>
                  </a:lnTo>
                  <a:lnTo>
                    <a:pt x="612" y="1410"/>
                  </a:lnTo>
                  <a:close/>
                  <a:moveTo>
                    <a:pt x="125" y="986"/>
                  </a:moveTo>
                  <a:lnTo>
                    <a:pt x="612" y="1268"/>
                  </a:lnTo>
                  <a:lnTo>
                    <a:pt x="1098" y="986"/>
                  </a:lnTo>
                  <a:lnTo>
                    <a:pt x="1098" y="424"/>
                  </a:lnTo>
                  <a:lnTo>
                    <a:pt x="612" y="142"/>
                  </a:lnTo>
                  <a:lnTo>
                    <a:pt x="125" y="424"/>
                  </a:lnTo>
                  <a:lnTo>
                    <a:pt x="125" y="986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44" name="Shape 2619">
              <a:extLst>
                <a:ext uri="{FF2B5EF4-FFF2-40B4-BE49-F238E27FC236}">
                  <a16:creationId xmlns:a16="http://schemas.microsoft.com/office/drawing/2014/main" id="{0262E327-16E7-4FB8-A0A0-B339BA8B9CDC}"/>
                </a:ext>
              </a:extLst>
            </p:cNvPr>
            <p:cNvSpPr/>
            <p:nvPr/>
          </p:nvSpPr>
          <p:spPr>
            <a:xfrm>
              <a:off x="5736307" y="4364971"/>
              <a:ext cx="719386" cy="7193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3" extrusionOk="0">
                  <a:moveTo>
                    <a:pt x="12364" y="11941"/>
                  </a:moveTo>
                  <a:lnTo>
                    <a:pt x="13062" y="14033"/>
                  </a:lnTo>
                  <a:lnTo>
                    <a:pt x="11365" y="12790"/>
                  </a:lnTo>
                  <a:lnTo>
                    <a:pt x="10785" y="12365"/>
                  </a:lnTo>
                  <a:lnTo>
                    <a:pt x="10205" y="12790"/>
                  </a:lnTo>
                  <a:lnTo>
                    <a:pt x="8508" y="14033"/>
                  </a:lnTo>
                  <a:lnTo>
                    <a:pt x="9206" y="11941"/>
                  </a:lnTo>
                  <a:lnTo>
                    <a:pt x="9426" y="11282"/>
                  </a:lnTo>
                  <a:lnTo>
                    <a:pt x="8877" y="10856"/>
                  </a:lnTo>
                  <a:lnTo>
                    <a:pt x="7511" y="9794"/>
                  </a:lnTo>
                  <a:lnTo>
                    <a:pt x="9790" y="9794"/>
                  </a:lnTo>
                  <a:lnTo>
                    <a:pt x="10030" y="9160"/>
                  </a:lnTo>
                  <a:lnTo>
                    <a:pt x="10785" y="7162"/>
                  </a:lnTo>
                  <a:lnTo>
                    <a:pt x="11540" y="9160"/>
                  </a:lnTo>
                  <a:lnTo>
                    <a:pt x="11779" y="9794"/>
                  </a:lnTo>
                  <a:lnTo>
                    <a:pt x="14059" y="9794"/>
                  </a:lnTo>
                  <a:lnTo>
                    <a:pt x="12692" y="10856"/>
                  </a:lnTo>
                  <a:lnTo>
                    <a:pt x="12144" y="11282"/>
                  </a:lnTo>
                  <a:cubicBezTo>
                    <a:pt x="12144" y="11282"/>
                    <a:pt x="12364" y="11941"/>
                    <a:pt x="12364" y="11941"/>
                  </a:cubicBezTo>
                  <a:close/>
                  <a:moveTo>
                    <a:pt x="12458" y="8813"/>
                  </a:moveTo>
                  <a:lnTo>
                    <a:pt x="10785" y="4384"/>
                  </a:lnTo>
                  <a:lnTo>
                    <a:pt x="9111" y="8813"/>
                  </a:lnTo>
                  <a:lnTo>
                    <a:pt x="4649" y="8813"/>
                  </a:lnTo>
                  <a:lnTo>
                    <a:pt x="8275" y="11631"/>
                  </a:lnTo>
                  <a:lnTo>
                    <a:pt x="6601" y="16647"/>
                  </a:lnTo>
                  <a:lnTo>
                    <a:pt x="10785" y="13582"/>
                  </a:lnTo>
                  <a:lnTo>
                    <a:pt x="14969" y="16647"/>
                  </a:lnTo>
                  <a:lnTo>
                    <a:pt x="13295" y="11631"/>
                  </a:lnTo>
                  <a:lnTo>
                    <a:pt x="16921" y="8813"/>
                  </a:lnTo>
                  <a:cubicBezTo>
                    <a:pt x="16921" y="8813"/>
                    <a:pt x="12458" y="8813"/>
                    <a:pt x="12458" y="8813"/>
                  </a:cubicBezTo>
                  <a:close/>
                  <a:moveTo>
                    <a:pt x="10800" y="20592"/>
                  </a:moveTo>
                  <a:cubicBezTo>
                    <a:pt x="9796" y="20381"/>
                    <a:pt x="982" y="17399"/>
                    <a:pt x="982" y="12263"/>
                  </a:cubicBezTo>
                  <a:cubicBezTo>
                    <a:pt x="982" y="7469"/>
                    <a:pt x="2322" y="2919"/>
                    <a:pt x="2778" y="1179"/>
                  </a:cubicBezTo>
                  <a:cubicBezTo>
                    <a:pt x="4022" y="1719"/>
                    <a:pt x="7232" y="2943"/>
                    <a:pt x="10800" y="2943"/>
                  </a:cubicBezTo>
                  <a:cubicBezTo>
                    <a:pt x="14368" y="2943"/>
                    <a:pt x="17579" y="1719"/>
                    <a:pt x="18823" y="1179"/>
                  </a:cubicBezTo>
                  <a:cubicBezTo>
                    <a:pt x="19278" y="2918"/>
                    <a:pt x="20618" y="7466"/>
                    <a:pt x="20618" y="12263"/>
                  </a:cubicBezTo>
                  <a:cubicBezTo>
                    <a:pt x="20618" y="17393"/>
                    <a:pt x="11803" y="20381"/>
                    <a:pt x="10800" y="20592"/>
                  </a:cubicBezTo>
                  <a:moveTo>
                    <a:pt x="19618" y="356"/>
                  </a:moveTo>
                  <a:cubicBezTo>
                    <a:pt x="19577" y="216"/>
                    <a:pt x="19477" y="101"/>
                    <a:pt x="19343" y="42"/>
                  </a:cubicBezTo>
                  <a:cubicBezTo>
                    <a:pt x="19210" y="-17"/>
                    <a:pt x="19057" y="-13"/>
                    <a:pt x="18926" y="52"/>
                  </a:cubicBezTo>
                  <a:cubicBezTo>
                    <a:pt x="18888" y="71"/>
                    <a:pt x="15053" y="1962"/>
                    <a:pt x="10800" y="1962"/>
                  </a:cubicBezTo>
                  <a:cubicBezTo>
                    <a:pt x="6556" y="1962"/>
                    <a:pt x="2712" y="71"/>
                    <a:pt x="2674" y="52"/>
                  </a:cubicBezTo>
                  <a:cubicBezTo>
                    <a:pt x="2543" y="-13"/>
                    <a:pt x="2391" y="-17"/>
                    <a:pt x="2257" y="42"/>
                  </a:cubicBezTo>
                  <a:cubicBezTo>
                    <a:pt x="2124" y="101"/>
                    <a:pt x="2023" y="216"/>
                    <a:pt x="1983" y="356"/>
                  </a:cubicBezTo>
                  <a:cubicBezTo>
                    <a:pt x="1963" y="426"/>
                    <a:pt x="0" y="6376"/>
                    <a:pt x="0" y="12263"/>
                  </a:cubicBezTo>
                  <a:cubicBezTo>
                    <a:pt x="0" y="18484"/>
                    <a:pt x="10271" y="21491"/>
                    <a:pt x="10708" y="21575"/>
                  </a:cubicBezTo>
                  <a:cubicBezTo>
                    <a:pt x="10739" y="21580"/>
                    <a:pt x="10770" y="21583"/>
                    <a:pt x="10800" y="21583"/>
                  </a:cubicBezTo>
                  <a:cubicBezTo>
                    <a:pt x="10831" y="21583"/>
                    <a:pt x="10862" y="21580"/>
                    <a:pt x="10892" y="21575"/>
                  </a:cubicBezTo>
                  <a:cubicBezTo>
                    <a:pt x="11329" y="21491"/>
                    <a:pt x="21600" y="18484"/>
                    <a:pt x="21600" y="12263"/>
                  </a:cubicBezTo>
                  <a:cubicBezTo>
                    <a:pt x="21600" y="6376"/>
                    <a:pt x="19637" y="426"/>
                    <a:pt x="19618" y="356"/>
                  </a:cubicBezTo>
                </a:path>
              </a:pathLst>
            </a:custGeom>
            <a:solidFill>
              <a:srgbClr val="B2B2B2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1172347"/>
      </p:ext>
    </p:extLst>
  </p:cSld>
  <p:clrMapOvr>
    <a:masterClrMapping/>
  </p:clrMapOvr>
  <p:transition spd="slow" advClick="0" advTm="2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427F95-E45B-45D3-8E59-B3E246C12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C84DA667-D3D8-48B8-BF14-8F3F5717751A}"/>
              </a:ext>
            </a:extLst>
          </p:cNvPr>
          <p:cNvGrpSpPr/>
          <p:nvPr/>
        </p:nvGrpSpPr>
        <p:grpSpPr>
          <a:xfrm>
            <a:off x="3974386" y="2140956"/>
            <a:ext cx="4243228" cy="3708972"/>
            <a:chOff x="4167491" y="1882739"/>
            <a:chExt cx="4243228" cy="3708972"/>
          </a:xfrm>
        </p:grpSpPr>
        <p:sp>
          <p:nvSpPr>
            <p:cNvPr id="28" name="不完整圆 27">
              <a:extLst>
                <a:ext uri="{FF2B5EF4-FFF2-40B4-BE49-F238E27FC236}">
                  <a16:creationId xmlns:a16="http://schemas.microsoft.com/office/drawing/2014/main" id="{19EB42AC-EEB6-4998-B241-C0833042B6CF}"/>
                </a:ext>
              </a:extLst>
            </p:cNvPr>
            <p:cNvSpPr/>
            <p:nvPr/>
          </p:nvSpPr>
          <p:spPr>
            <a:xfrm flipH="1">
              <a:off x="4701747" y="1882739"/>
              <a:ext cx="3708972" cy="3708972"/>
            </a:xfrm>
            <a:prstGeom prst="pie">
              <a:avLst>
                <a:gd name="adj1" fmla="val 7490696"/>
                <a:gd name="adj2" fmla="val 1462580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1" name="不完整圆 50">
              <a:extLst>
                <a:ext uri="{FF2B5EF4-FFF2-40B4-BE49-F238E27FC236}">
                  <a16:creationId xmlns:a16="http://schemas.microsoft.com/office/drawing/2014/main" id="{1A982EB7-9EAF-4552-8EB9-A69CB79CBB9E}"/>
                </a:ext>
              </a:extLst>
            </p:cNvPr>
            <p:cNvSpPr/>
            <p:nvPr/>
          </p:nvSpPr>
          <p:spPr>
            <a:xfrm>
              <a:off x="4167491" y="1882739"/>
              <a:ext cx="3708972" cy="3708972"/>
            </a:xfrm>
            <a:prstGeom prst="pie">
              <a:avLst>
                <a:gd name="adj1" fmla="val 7490696"/>
                <a:gd name="adj2" fmla="val 14625802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4A3B22E1-581F-4CB5-8D83-A1B8B5D08CE1}"/>
              </a:ext>
            </a:extLst>
          </p:cNvPr>
          <p:cNvGrpSpPr/>
          <p:nvPr/>
        </p:nvGrpSpPr>
        <p:grpSpPr>
          <a:xfrm>
            <a:off x="1938238" y="1539534"/>
            <a:ext cx="896839" cy="897188"/>
            <a:chOff x="2151757" y="1214995"/>
            <a:chExt cx="896839" cy="897188"/>
          </a:xfrm>
        </p:grpSpPr>
        <p:sp>
          <p:nvSpPr>
            <p:cNvPr id="53" name="Shape 117">
              <a:extLst>
                <a:ext uri="{FF2B5EF4-FFF2-40B4-BE49-F238E27FC236}">
                  <a16:creationId xmlns:a16="http://schemas.microsoft.com/office/drawing/2014/main" id="{94AD53AA-5099-4964-889C-52589DAA115B}"/>
                </a:ext>
              </a:extLst>
            </p:cNvPr>
            <p:cNvSpPr/>
            <p:nvPr/>
          </p:nvSpPr>
          <p:spPr>
            <a:xfrm>
              <a:off x="2151757" y="1214995"/>
              <a:ext cx="896839" cy="8971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91425" tIns="0" rIns="91425" bIns="6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280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54" name="Shape 120">
              <a:extLst>
                <a:ext uri="{FF2B5EF4-FFF2-40B4-BE49-F238E27FC236}">
                  <a16:creationId xmlns:a16="http://schemas.microsoft.com/office/drawing/2014/main" id="{D9E53592-FD30-4C08-A3B9-35D8AE37597E}"/>
                </a:ext>
              </a:extLst>
            </p:cNvPr>
            <p:cNvSpPr/>
            <p:nvPr/>
          </p:nvSpPr>
          <p:spPr>
            <a:xfrm>
              <a:off x="2384211" y="1495196"/>
              <a:ext cx="451737" cy="31333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1495" y="119712"/>
                  </a:moveTo>
                  <a:lnTo>
                    <a:pt x="91495" y="119712"/>
                  </a:lnTo>
                  <a:cubicBezTo>
                    <a:pt x="28106" y="119712"/>
                    <a:pt x="28106" y="119712"/>
                    <a:pt x="28106" y="119712"/>
                  </a:cubicBezTo>
                  <a:cubicBezTo>
                    <a:pt x="12757" y="119712"/>
                    <a:pt x="0" y="101339"/>
                    <a:pt x="0" y="79234"/>
                  </a:cubicBezTo>
                  <a:cubicBezTo>
                    <a:pt x="0" y="60861"/>
                    <a:pt x="8372" y="44497"/>
                    <a:pt x="19734" y="40478"/>
                  </a:cubicBezTo>
                  <a:cubicBezTo>
                    <a:pt x="26710" y="16076"/>
                    <a:pt x="42259" y="0"/>
                    <a:pt x="60598" y="0"/>
                  </a:cubicBezTo>
                  <a:cubicBezTo>
                    <a:pt x="78936" y="0"/>
                    <a:pt x="94485" y="16076"/>
                    <a:pt x="100066" y="40478"/>
                  </a:cubicBezTo>
                  <a:cubicBezTo>
                    <a:pt x="111229" y="44497"/>
                    <a:pt x="119800" y="60861"/>
                    <a:pt x="119800" y="79234"/>
                  </a:cubicBezTo>
                  <a:cubicBezTo>
                    <a:pt x="119800" y="101339"/>
                    <a:pt x="107043" y="119712"/>
                    <a:pt x="91495" y="119712"/>
                  </a:cubicBezTo>
                  <a:close/>
                  <a:moveTo>
                    <a:pt x="102857" y="60861"/>
                  </a:moveTo>
                  <a:lnTo>
                    <a:pt x="102857" y="60861"/>
                  </a:lnTo>
                  <a:cubicBezTo>
                    <a:pt x="102857" y="60861"/>
                    <a:pt x="102857" y="60861"/>
                    <a:pt x="101461" y="58851"/>
                  </a:cubicBezTo>
                  <a:cubicBezTo>
                    <a:pt x="100066" y="58851"/>
                    <a:pt x="100066" y="56842"/>
                    <a:pt x="100066" y="56842"/>
                  </a:cubicBezTo>
                  <a:cubicBezTo>
                    <a:pt x="100066" y="56842"/>
                    <a:pt x="100066" y="56842"/>
                    <a:pt x="98671" y="56842"/>
                  </a:cubicBezTo>
                  <a:cubicBezTo>
                    <a:pt x="98671" y="56842"/>
                    <a:pt x="98671" y="56842"/>
                    <a:pt x="97275" y="56842"/>
                  </a:cubicBezTo>
                  <a:cubicBezTo>
                    <a:pt x="97275" y="56842"/>
                    <a:pt x="97275" y="56842"/>
                    <a:pt x="97275" y="54832"/>
                  </a:cubicBezTo>
                  <a:lnTo>
                    <a:pt x="95880" y="54832"/>
                  </a:lnTo>
                  <a:cubicBezTo>
                    <a:pt x="94485" y="54832"/>
                    <a:pt x="94485" y="54832"/>
                    <a:pt x="94485" y="54832"/>
                  </a:cubicBezTo>
                  <a:cubicBezTo>
                    <a:pt x="93089" y="54832"/>
                    <a:pt x="93089" y="54832"/>
                    <a:pt x="91495" y="54832"/>
                  </a:cubicBezTo>
                  <a:cubicBezTo>
                    <a:pt x="91495" y="52822"/>
                    <a:pt x="91495" y="52822"/>
                    <a:pt x="91495" y="50813"/>
                  </a:cubicBezTo>
                  <a:cubicBezTo>
                    <a:pt x="90099" y="50813"/>
                    <a:pt x="90099" y="50813"/>
                    <a:pt x="90099" y="50813"/>
                  </a:cubicBezTo>
                  <a:cubicBezTo>
                    <a:pt x="90099" y="48516"/>
                    <a:pt x="90099" y="48516"/>
                    <a:pt x="90099" y="46507"/>
                  </a:cubicBezTo>
                  <a:cubicBezTo>
                    <a:pt x="88704" y="44497"/>
                    <a:pt x="88704" y="44497"/>
                    <a:pt x="88704" y="42488"/>
                  </a:cubicBezTo>
                  <a:cubicBezTo>
                    <a:pt x="88704" y="40478"/>
                    <a:pt x="87308" y="40478"/>
                    <a:pt x="87308" y="38468"/>
                  </a:cubicBezTo>
                  <a:cubicBezTo>
                    <a:pt x="81727" y="26411"/>
                    <a:pt x="71960" y="16076"/>
                    <a:pt x="60598" y="16076"/>
                  </a:cubicBezTo>
                  <a:cubicBezTo>
                    <a:pt x="47840" y="16076"/>
                    <a:pt x="38073" y="26411"/>
                    <a:pt x="32491" y="38468"/>
                  </a:cubicBezTo>
                  <a:cubicBezTo>
                    <a:pt x="32491" y="40478"/>
                    <a:pt x="32491" y="40478"/>
                    <a:pt x="31096" y="42488"/>
                  </a:cubicBezTo>
                  <a:cubicBezTo>
                    <a:pt x="31096" y="44497"/>
                    <a:pt x="31096" y="44497"/>
                    <a:pt x="31096" y="46507"/>
                  </a:cubicBezTo>
                  <a:cubicBezTo>
                    <a:pt x="31096" y="46507"/>
                    <a:pt x="31096" y="46507"/>
                    <a:pt x="29501" y="46507"/>
                  </a:cubicBezTo>
                  <a:cubicBezTo>
                    <a:pt x="29501" y="48516"/>
                    <a:pt x="29501" y="48516"/>
                    <a:pt x="29501" y="50813"/>
                  </a:cubicBezTo>
                  <a:cubicBezTo>
                    <a:pt x="29501" y="52822"/>
                    <a:pt x="28106" y="52822"/>
                    <a:pt x="28106" y="54832"/>
                  </a:cubicBezTo>
                  <a:lnTo>
                    <a:pt x="26710" y="54832"/>
                  </a:lnTo>
                  <a:cubicBezTo>
                    <a:pt x="26710" y="54832"/>
                    <a:pt x="26710" y="54832"/>
                    <a:pt x="25315" y="54832"/>
                  </a:cubicBezTo>
                  <a:cubicBezTo>
                    <a:pt x="23920" y="54832"/>
                    <a:pt x="23920" y="54832"/>
                    <a:pt x="23920" y="54832"/>
                  </a:cubicBezTo>
                  <a:cubicBezTo>
                    <a:pt x="22524" y="56842"/>
                    <a:pt x="22524" y="56842"/>
                    <a:pt x="22524" y="56842"/>
                  </a:cubicBezTo>
                  <a:cubicBezTo>
                    <a:pt x="21129" y="56842"/>
                    <a:pt x="21129" y="56842"/>
                    <a:pt x="21129" y="56842"/>
                  </a:cubicBezTo>
                  <a:cubicBezTo>
                    <a:pt x="19734" y="56842"/>
                    <a:pt x="19734" y="58851"/>
                    <a:pt x="19734" y="58851"/>
                  </a:cubicBezTo>
                  <a:cubicBezTo>
                    <a:pt x="18338" y="58851"/>
                    <a:pt x="18338" y="58851"/>
                    <a:pt x="18338" y="58851"/>
                  </a:cubicBezTo>
                  <a:cubicBezTo>
                    <a:pt x="18338" y="60861"/>
                    <a:pt x="16943" y="60861"/>
                    <a:pt x="16943" y="60861"/>
                  </a:cubicBezTo>
                  <a:cubicBezTo>
                    <a:pt x="14152" y="64880"/>
                    <a:pt x="11362" y="70909"/>
                    <a:pt x="11362" y="79234"/>
                  </a:cubicBezTo>
                  <a:cubicBezTo>
                    <a:pt x="11362" y="93301"/>
                    <a:pt x="18338" y="103349"/>
                    <a:pt x="28106" y="103349"/>
                  </a:cubicBezTo>
                  <a:cubicBezTo>
                    <a:pt x="91495" y="103349"/>
                    <a:pt x="91495" y="103349"/>
                    <a:pt x="91495" y="103349"/>
                  </a:cubicBezTo>
                  <a:cubicBezTo>
                    <a:pt x="101461" y="103349"/>
                    <a:pt x="108438" y="93301"/>
                    <a:pt x="108438" y="79234"/>
                  </a:cubicBezTo>
                  <a:cubicBezTo>
                    <a:pt x="108438" y="70909"/>
                    <a:pt x="107043" y="64880"/>
                    <a:pt x="102857" y="6086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3600"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5" name="添加标题">
            <a:extLst>
              <a:ext uri="{FF2B5EF4-FFF2-40B4-BE49-F238E27FC236}">
                <a16:creationId xmlns:a16="http://schemas.microsoft.com/office/drawing/2014/main" id="{B893A668-73CE-49C8-9FB6-05B2C4DFB94E}"/>
              </a:ext>
            </a:extLst>
          </p:cNvPr>
          <p:cNvSpPr txBox="1"/>
          <p:nvPr/>
        </p:nvSpPr>
        <p:spPr>
          <a:xfrm>
            <a:off x="1182255" y="2459922"/>
            <a:ext cx="2408804" cy="1114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dirty="0">
                <a:solidFill>
                  <a:schemeClr val="accent1"/>
                </a:solidFill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36AA5BA2-AC2E-43A5-B6AD-83A8106681EE}"/>
              </a:ext>
            </a:extLst>
          </p:cNvPr>
          <p:cNvGrpSpPr/>
          <p:nvPr/>
        </p:nvGrpSpPr>
        <p:grpSpPr>
          <a:xfrm>
            <a:off x="9364300" y="1539534"/>
            <a:ext cx="896839" cy="897188"/>
            <a:chOff x="2151757" y="3576749"/>
            <a:chExt cx="896839" cy="897188"/>
          </a:xfrm>
        </p:grpSpPr>
        <p:sp>
          <p:nvSpPr>
            <p:cNvPr id="57" name="Shape 111">
              <a:extLst>
                <a:ext uri="{FF2B5EF4-FFF2-40B4-BE49-F238E27FC236}">
                  <a16:creationId xmlns:a16="http://schemas.microsoft.com/office/drawing/2014/main" id="{3CBF4F19-F90D-4521-B649-A62F3141A7C3}"/>
                </a:ext>
              </a:extLst>
            </p:cNvPr>
            <p:cNvSpPr/>
            <p:nvPr/>
          </p:nvSpPr>
          <p:spPr>
            <a:xfrm>
              <a:off x="2151757" y="3576749"/>
              <a:ext cx="896839" cy="8971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91425" tIns="0" rIns="91425" bIns="6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280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58" name="Shape 122">
              <a:extLst>
                <a:ext uri="{FF2B5EF4-FFF2-40B4-BE49-F238E27FC236}">
                  <a16:creationId xmlns:a16="http://schemas.microsoft.com/office/drawing/2014/main" id="{AA65DA95-97D7-4A74-A69F-67E766A63E43}"/>
                </a:ext>
              </a:extLst>
            </p:cNvPr>
            <p:cNvSpPr/>
            <p:nvPr/>
          </p:nvSpPr>
          <p:spPr>
            <a:xfrm>
              <a:off x="2409560" y="3896458"/>
              <a:ext cx="385289" cy="2350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1991" y="59801"/>
                  </a:moveTo>
                  <a:lnTo>
                    <a:pt x="91991" y="59801"/>
                  </a:lnTo>
                  <a:cubicBezTo>
                    <a:pt x="91991" y="35643"/>
                    <a:pt x="100684" y="17821"/>
                    <a:pt x="104788" y="17821"/>
                  </a:cubicBezTo>
                  <a:cubicBezTo>
                    <a:pt x="106961" y="17821"/>
                    <a:pt x="113480" y="17821"/>
                    <a:pt x="113480" y="17821"/>
                  </a:cubicBezTo>
                  <a:cubicBezTo>
                    <a:pt x="109134" y="7128"/>
                    <a:pt x="106961" y="0"/>
                    <a:pt x="91991" y="0"/>
                  </a:cubicBezTo>
                  <a:cubicBezTo>
                    <a:pt x="32112" y="0"/>
                    <a:pt x="32112" y="0"/>
                    <a:pt x="32112" y="0"/>
                  </a:cubicBezTo>
                  <a:cubicBezTo>
                    <a:pt x="8692" y="0"/>
                    <a:pt x="0" y="35643"/>
                    <a:pt x="0" y="59801"/>
                  </a:cubicBezTo>
                  <a:cubicBezTo>
                    <a:pt x="0" y="84356"/>
                    <a:pt x="8692" y="119603"/>
                    <a:pt x="32112" y="119603"/>
                  </a:cubicBezTo>
                  <a:cubicBezTo>
                    <a:pt x="91991" y="119603"/>
                    <a:pt x="91991" y="119603"/>
                    <a:pt x="91991" y="119603"/>
                  </a:cubicBezTo>
                  <a:cubicBezTo>
                    <a:pt x="106961" y="119603"/>
                    <a:pt x="109134" y="112475"/>
                    <a:pt x="113480" y="101782"/>
                  </a:cubicBezTo>
                  <a:cubicBezTo>
                    <a:pt x="113480" y="101782"/>
                    <a:pt x="111307" y="101782"/>
                    <a:pt x="104788" y="101782"/>
                  </a:cubicBezTo>
                  <a:cubicBezTo>
                    <a:pt x="100684" y="101782"/>
                    <a:pt x="91991" y="87920"/>
                    <a:pt x="91991" y="59801"/>
                  </a:cubicBezTo>
                  <a:close/>
                  <a:moveTo>
                    <a:pt x="74849" y="77623"/>
                  </a:moveTo>
                  <a:lnTo>
                    <a:pt x="74849" y="77623"/>
                  </a:lnTo>
                  <a:cubicBezTo>
                    <a:pt x="74849" y="80792"/>
                    <a:pt x="72917" y="77623"/>
                    <a:pt x="72917" y="77623"/>
                  </a:cubicBezTo>
                  <a:cubicBezTo>
                    <a:pt x="53360" y="66930"/>
                    <a:pt x="53360" y="66930"/>
                    <a:pt x="53360" y="66930"/>
                  </a:cubicBezTo>
                  <a:cubicBezTo>
                    <a:pt x="53360" y="66930"/>
                    <a:pt x="53360" y="70495"/>
                    <a:pt x="51187" y="77623"/>
                  </a:cubicBezTo>
                  <a:cubicBezTo>
                    <a:pt x="49255" y="80792"/>
                    <a:pt x="49255" y="87920"/>
                    <a:pt x="44909" y="80792"/>
                  </a:cubicBezTo>
                  <a:cubicBezTo>
                    <a:pt x="38390" y="74059"/>
                    <a:pt x="23661" y="49504"/>
                    <a:pt x="23661" y="49504"/>
                  </a:cubicBezTo>
                  <a:cubicBezTo>
                    <a:pt x="23661" y="49504"/>
                    <a:pt x="21488" y="45940"/>
                    <a:pt x="21488" y="42376"/>
                  </a:cubicBezTo>
                  <a:cubicBezTo>
                    <a:pt x="23661" y="42376"/>
                    <a:pt x="25593" y="42376"/>
                    <a:pt x="25593" y="42376"/>
                  </a:cubicBezTo>
                  <a:cubicBezTo>
                    <a:pt x="42736" y="56633"/>
                    <a:pt x="42736" y="56633"/>
                    <a:pt x="42736" y="56633"/>
                  </a:cubicBezTo>
                  <a:cubicBezTo>
                    <a:pt x="42736" y="56633"/>
                    <a:pt x="44909" y="49504"/>
                    <a:pt x="47082" y="45940"/>
                  </a:cubicBezTo>
                  <a:cubicBezTo>
                    <a:pt x="47082" y="38811"/>
                    <a:pt x="49255" y="35643"/>
                    <a:pt x="53360" y="42376"/>
                  </a:cubicBezTo>
                  <a:cubicBezTo>
                    <a:pt x="57706" y="45940"/>
                    <a:pt x="74849" y="74059"/>
                    <a:pt x="74849" y="74059"/>
                  </a:cubicBezTo>
                  <a:cubicBezTo>
                    <a:pt x="74849" y="74059"/>
                    <a:pt x="77022" y="77623"/>
                    <a:pt x="74849" y="77623"/>
                  </a:cubicBezTo>
                  <a:close/>
                  <a:moveTo>
                    <a:pt x="113480" y="38811"/>
                  </a:moveTo>
                  <a:lnTo>
                    <a:pt x="113480" y="38811"/>
                  </a:lnTo>
                  <a:cubicBezTo>
                    <a:pt x="109134" y="38811"/>
                    <a:pt x="109134" y="38811"/>
                    <a:pt x="109134" y="38811"/>
                  </a:cubicBezTo>
                  <a:cubicBezTo>
                    <a:pt x="104788" y="38811"/>
                    <a:pt x="102615" y="49504"/>
                    <a:pt x="102615" y="59801"/>
                  </a:cubicBezTo>
                  <a:cubicBezTo>
                    <a:pt x="102615" y="70495"/>
                    <a:pt x="104788" y="80792"/>
                    <a:pt x="109134" y="80792"/>
                  </a:cubicBezTo>
                  <a:cubicBezTo>
                    <a:pt x="113480" y="80792"/>
                    <a:pt x="113480" y="80792"/>
                    <a:pt x="113480" y="80792"/>
                  </a:cubicBezTo>
                  <a:cubicBezTo>
                    <a:pt x="115412" y="80792"/>
                    <a:pt x="119758" y="70495"/>
                    <a:pt x="119758" y="59801"/>
                  </a:cubicBezTo>
                  <a:cubicBezTo>
                    <a:pt x="119758" y="49504"/>
                    <a:pt x="115412" y="38811"/>
                    <a:pt x="113480" y="3881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00" tIns="45700" rIns="91400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3600"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9" name="添加标题">
            <a:extLst>
              <a:ext uri="{FF2B5EF4-FFF2-40B4-BE49-F238E27FC236}">
                <a16:creationId xmlns:a16="http://schemas.microsoft.com/office/drawing/2014/main" id="{AB524D3A-C0A6-439F-AE09-8E5A0862B78D}"/>
              </a:ext>
            </a:extLst>
          </p:cNvPr>
          <p:cNvSpPr txBox="1"/>
          <p:nvPr/>
        </p:nvSpPr>
        <p:spPr>
          <a:xfrm>
            <a:off x="8597897" y="2459922"/>
            <a:ext cx="2429645" cy="1114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dirty="0">
                <a:solidFill>
                  <a:schemeClr val="accent2"/>
                </a:solidFill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3662A32A-CBED-4CC0-875C-3CFED127391E}"/>
              </a:ext>
            </a:extLst>
          </p:cNvPr>
          <p:cNvGrpSpPr/>
          <p:nvPr/>
        </p:nvGrpSpPr>
        <p:grpSpPr>
          <a:xfrm>
            <a:off x="1938238" y="4155998"/>
            <a:ext cx="896839" cy="897188"/>
            <a:chOff x="2151757" y="2395872"/>
            <a:chExt cx="896839" cy="897188"/>
          </a:xfrm>
        </p:grpSpPr>
        <p:sp>
          <p:nvSpPr>
            <p:cNvPr id="61" name="Shape 108">
              <a:extLst>
                <a:ext uri="{FF2B5EF4-FFF2-40B4-BE49-F238E27FC236}">
                  <a16:creationId xmlns:a16="http://schemas.microsoft.com/office/drawing/2014/main" id="{30807DE6-3DE9-4B55-B6DE-8E322C4F85C7}"/>
                </a:ext>
              </a:extLst>
            </p:cNvPr>
            <p:cNvSpPr/>
            <p:nvPr/>
          </p:nvSpPr>
          <p:spPr>
            <a:xfrm>
              <a:off x="2151757" y="2395872"/>
              <a:ext cx="896839" cy="89718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91425" tIns="0" rIns="91425" bIns="6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280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62" name="Shape 123">
              <a:extLst>
                <a:ext uri="{FF2B5EF4-FFF2-40B4-BE49-F238E27FC236}">
                  <a16:creationId xmlns:a16="http://schemas.microsoft.com/office/drawing/2014/main" id="{25DABAF4-C676-4E64-B6C3-DF376652633A}"/>
                </a:ext>
              </a:extLst>
            </p:cNvPr>
            <p:cNvSpPr/>
            <p:nvPr/>
          </p:nvSpPr>
          <p:spPr>
            <a:xfrm>
              <a:off x="2384211" y="2600427"/>
              <a:ext cx="434681" cy="4485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865" y="41298"/>
                  </a:moveTo>
                  <a:lnTo>
                    <a:pt x="107865" y="41298"/>
                  </a:lnTo>
                  <a:cubicBezTo>
                    <a:pt x="98157" y="18441"/>
                    <a:pt x="81438" y="0"/>
                    <a:pt x="71730" y="2077"/>
                  </a:cubicBezTo>
                  <a:cubicBezTo>
                    <a:pt x="57438" y="9350"/>
                    <a:pt x="81438" y="36883"/>
                    <a:pt x="9707" y="64415"/>
                  </a:cubicBezTo>
                  <a:cubicBezTo>
                    <a:pt x="2426" y="66753"/>
                    <a:pt x="0" y="75844"/>
                    <a:pt x="2426" y="82857"/>
                  </a:cubicBezTo>
                  <a:cubicBezTo>
                    <a:pt x="4853" y="87532"/>
                    <a:pt x="14292" y="94285"/>
                    <a:pt x="21842" y="92207"/>
                  </a:cubicBezTo>
                  <a:lnTo>
                    <a:pt x="26426" y="89870"/>
                  </a:lnTo>
                  <a:cubicBezTo>
                    <a:pt x="31280" y="96623"/>
                    <a:pt x="36134" y="92207"/>
                    <a:pt x="36134" y="96623"/>
                  </a:cubicBezTo>
                  <a:cubicBezTo>
                    <a:pt x="38561" y="101298"/>
                    <a:pt x="43146" y="110389"/>
                    <a:pt x="43146" y="112727"/>
                  </a:cubicBezTo>
                  <a:cubicBezTo>
                    <a:pt x="45573" y="115064"/>
                    <a:pt x="48000" y="119740"/>
                    <a:pt x="50426" y="117402"/>
                  </a:cubicBezTo>
                  <a:cubicBezTo>
                    <a:pt x="52853" y="117402"/>
                    <a:pt x="62292" y="115064"/>
                    <a:pt x="64719" y="112727"/>
                  </a:cubicBezTo>
                  <a:cubicBezTo>
                    <a:pt x="69303" y="112727"/>
                    <a:pt x="69303" y="110389"/>
                    <a:pt x="67146" y="108051"/>
                  </a:cubicBezTo>
                  <a:cubicBezTo>
                    <a:pt x="67146" y="105974"/>
                    <a:pt x="62292" y="103636"/>
                    <a:pt x="62292" y="101298"/>
                  </a:cubicBezTo>
                  <a:cubicBezTo>
                    <a:pt x="59865" y="98961"/>
                    <a:pt x="57438" y="89870"/>
                    <a:pt x="55011" y="87532"/>
                  </a:cubicBezTo>
                  <a:cubicBezTo>
                    <a:pt x="52853" y="85194"/>
                    <a:pt x="57438" y="80519"/>
                    <a:pt x="62292" y="80519"/>
                  </a:cubicBezTo>
                  <a:cubicBezTo>
                    <a:pt x="95730" y="78441"/>
                    <a:pt x="100584" y="96623"/>
                    <a:pt x="112449" y="92207"/>
                  </a:cubicBezTo>
                  <a:cubicBezTo>
                    <a:pt x="119730" y="89870"/>
                    <a:pt x="119730" y="64415"/>
                    <a:pt x="107865" y="41298"/>
                  </a:cubicBezTo>
                  <a:close/>
                  <a:moveTo>
                    <a:pt x="105168" y="80519"/>
                  </a:moveTo>
                  <a:lnTo>
                    <a:pt x="105168" y="80519"/>
                  </a:lnTo>
                  <a:cubicBezTo>
                    <a:pt x="102741" y="80519"/>
                    <a:pt x="88449" y="71428"/>
                    <a:pt x="81438" y="52987"/>
                  </a:cubicBezTo>
                  <a:cubicBezTo>
                    <a:pt x="74157" y="34545"/>
                    <a:pt x="74157" y="16103"/>
                    <a:pt x="76584" y="16103"/>
                  </a:cubicBezTo>
                  <a:cubicBezTo>
                    <a:pt x="79011" y="16103"/>
                    <a:pt x="90876" y="27532"/>
                    <a:pt x="98157" y="45974"/>
                  </a:cubicBezTo>
                  <a:cubicBezTo>
                    <a:pt x="107865" y="64415"/>
                    <a:pt x="105168" y="78441"/>
                    <a:pt x="105168" y="805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00" tIns="45700" rIns="91400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3600"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63" name="添加标题">
            <a:extLst>
              <a:ext uri="{FF2B5EF4-FFF2-40B4-BE49-F238E27FC236}">
                <a16:creationId xmlns:a16="http://schemas.microsoft.com/office/drawing/2014/main" id="{D7B0B32A-BD65-4158-A446-0B96B9F56114}"/>
              </a:ext>
            </a:extLst>
          </p:cNvPr>
          <p:cNvSpPr txBox="1"/>
          <p:nvPr/>
        </p:nvSpPr>
        <p:spPr>
          <a:xfrm>
            <a:off x="1164459" y="5143941"/>
            <a:ext cx="2444397" cy="1114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dirty="0">
                <a:solidFill>
                  <a:schemeClr val="accent3"/>
                </a:solidFill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87BED5AB-AD3C-4E0D-A558-3CA764D07BA4}"/>
              </a:ext>
            </a:extLst>
          </p:cNvPr>
          <p:cNvGrpSpPr/>
          <p:nvPr/>
        </p:nvGrpSpPr>
        <p:grpSpPr>
          <a:xfrm>
            <a:off x="9364300" y="4155998"/>
            <a:ext cx="896839" cy="897188"/>
            <a:chOff x="2151757" y="4745817"/>
            <a:chExt cx="896839" cy="897188"/>
          </a:xfrm>
        </p:grpSpPr>
        <p:sp>
          <p:nvSpPr>
            <p:cNvPr id="65" name="Shape 114">
              <a:extLst>
                <a:ext uri="{FF2B5EF4-FFF2-40B4-BE49-F238E27FC236}">
                  <a16:creationId xmlns:a16="http://schemas.microsoft.com/office/drawing/2014/main" id="{FEAB48CD-DABF-4AE3-A881-CD351C18B77D}"/>
                </a:ext>
              </a:extLst>
            </p:cNvPr>
            <p:cNvSpPr/>
            <p:nvPr/>
          </p:nvSpPr>
          <p:spPr>
            <a:xfrm>
              <a:off x="2151757" y="4745817"/>
              <a:ext cx="896839" cy="89718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lIns="91425" tIns="0" rIns="91425" bIns="6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280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66" name="Shape 121">
              <a:extLst>
                <a:ext uri="{FF2B5EF4-FFF2-40B4-BE49-F238E27FC236}">
                  <a16:creationId xmlns:a16="http://schemas.microsoft.com/office/drawing/2014/main" id="{346C96C8-E98E-44D5-A250-E7E284C208D1}"/>
                </a:ext>
              </a:extLst>
            </p:cNvPr>
            <p:cNvSpPr/>
            <p:nvPr/>
          </p:nvSpPr>
          <p:spPr>
            <a:xfrm>
              <a:off x="2380221" y="5028603"/>
              <a:ext cx="441555" cy="3539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7585" y="21300"/>
                  </a:moveTo>
                  <a:lnTo>
                    <a:pt x="117585" y="21300"/>
                  </a:lnTo>
                  <a:cubicBezTo>
                    <a:pt x="89818" y="0"/>
                    <a:pt x="89818" y="0"/>
                    <a:pt x="89818" y="0"/>
                  </a:cubicBezTo>
                  <a:cubicBezTo>
                    <a:pt x="87645" y="0"/>
                    <a:pt x="87645" y="0"/>
                    <a:pt x="85472" y="0"/>
                  </a:cubicBezTo>
                  <a:cubicBezTo>
                    <a:pt x="59879" y="21300"/>
                    <a:pt x="59879" y="21300"/>
                    <a:pt x="59879" y="21300"/>
                  </a:cubicBezTo>
                  <a:cubicBezTo>
                    <a:pt x="34285" y="0"/>
                    <a:pt x="34285" y="0"/>
                    <a:pt x="34285" y="0"/>
                  </a:cubicBezTo>
                  <a:cubicBezTo>
                    <a:pt x="31871" y="0"/>
                    <a:pt x="31871" y="0"/>
                    <a:pt x="29698" y="0"/>
                  </a:cubicBezTo>
                  <a:cubicBezTo>
                    <a:pt x="1931" y="21300"/>
                    <a:pt x="1931" y="21300"/>
                    <a:pt x="1931" y="21300"/>
                  </a:cubicBezTo>
                  <a:cubicBezTo>
                    <a:pt x="0" y="24000"/>
                    <a:pt x="0" y="24000"/>
                    <a:pt x="0" y="26700"/>
                  </a:cubicBezTo>
                  <a:cubicBezTo>
                    <a:pt x="0" y="114600"/>
                    <a:pt x="0" y="114600"/>
                    <a:pt x="0" y="114600"/>
                  </a:cubicBezTo>
                  <a:cubicBezTo>
                    <a:pt x="0" y="114600"/>
                    <a:pt x="0" y="117000"/>
                    <a:pt x="1931" y="117000"/>
                  </a:cubicBezTo>
                  <a:cubicBezTo>
                    <a:pt x="1931" y="119700"/>
                    <a:pt x="4104" y="119700"/>
                    <a:pt x="6277" y="117000"/>
                  </a:cubicBezTo>
                  <a:cubicBezTo>
                    <a:pt x="31871" y="98400"/>
                    <a:pt x="31871" y="98400"/>
                    <a:pt x="31871" y="98400"/>
                  </a:cubicBezTo>
                  <a:cubicBezTo>
                    <a:pt x="57706" y="117000"/>
                    <a:pt x="57706" y="117000"/>
                    <a:pt x="57706" y="117000"/>
                  </a:cubicBezTo>
                  <a:cubicBezTo>
                    <a:pt x="59879" y="119700"/>
                    <a:pt x="59879" y="119700"/>
                    <a:pt x="62052" y="117000"/>
                  </a:cubicBezTo>
                  <a:cubicBezTo>
                    <a:pt x="87645" y="98400"/>
                    <a:pt x="87645" y="98400"/>
                    <a:pt x="87645" y="98400"/>
                  </a:cubicBezTo>
                  <a:cubicBezTo>
                    <a:pt x="113480" y="117000"/>
                    <a:pt x="113480" y="117000"/>
                    <a:pt x="113480" y="117000"/>
                  </a:cubicBezTo>
                  <a:cubicBezTo>
                    <a:pt x="113480" y="119700"/>
                    <a:pt x="115412" y="119700"/>
                    <a:pt x="115412" y="119700"/>
                  </a:cubicBezTo>
                  <a:cubicBezTo>
                    <a:pt x="115412" y="119700"/>
                    <a:pt x="117585" y="119700"/>
                    <a:pt x="117585" y="117000"/>
                  </a:cubicBezTo>
                  <a:cubicBezTo>
                    <a:pt x="119758" y="117000"/>
                    <a:pt x="119758" y="114600"/>
                    <a:pt x="119758" y="114600"/>
                  </a:cubicBezTo>
                  <a:cubicBezTo>
                    <a:pt x="119758" y="26700"/>
                    <a:pt x="119758" y="26700"/>
                    <a:pt x="119758" y="26700"/>
                  </a:cubicBezTo>
                  <a:cubicBezTo>
                    <a:pt x="119758" y="24000"/>
                    <a:pt x="119758" y="24000"/>
                    <a:pt x="117585" y="21300"/>
                  </a:cubicBezTo>
                  <a:close/>
                  <a:moveTo>
                    <a:pt x="27766" y="87900"/>
                  </a:moveTo>
                  <a:lnTo>
                    <a:pt x="27766" y="87900"/>
                  </a:lnTo>
                  <a:cubicBezTo>
                    <a:pt x="8450" y="103800"/>
                    <a:pt x="8450" y="103800"/>
                    <a:pt x="8450" y="103800"/>
                  </a:cubicBezTo>
                  <a:cubicBezTo>
                    <a:pt x="8450" y="29400"/>
                    <a:pt x="8450" y="29400"/>
                    <a:pt x="8450" y="29400"/>
                  </a:cubicBezTo>
                  <a:cubicBezTo>
                    <a:pt x="27766" y="13200"/>
                    <a:pt x="27766" y="13200"/>
                    <a:pt x="27766" y="13200"/>
                  </a:cubicBezTo>
                  <a:lnTo>
                    <a:pt x="27766" y="87900"/>
                  </a:lnTo>
                  <a:close/>
                  <a:moveTo>
                    <a:pt x="55533" y="103800"/>
                  </a:moveTo>
                  <a:lnTo>
                    <a:pt x="55533" y="103800"/>
                  </a:lnTo>
                  <a:cubicBezTo>
                    <a:pt x="36217" y="87900"/>
                    <a:pt x="36217" y="87900"/>
                    <a:pt x="36217" y="87900"/>
                  </a:cubicBezTo>
                  <a:cubicBezTo>
                    <a:pt x="36217" y="13200"/>
                    <a:pt x="36217" y="13200"/>
                    <a:pt x="36217" y="13200"/>
                  </a:cubicBezTo>
                  <a:cubicBezTo>
                    <a:pt x="55533" y="29400"/>
                    <a:pt x="55533" y="29400"/>
                    <a:pt x="55533" y="29400"/>
                  </a:cubicBezTo>
                  <a:lnTo>
                    <a:pt x="55533" y="103800"/>
                  </a:lnTo>
                  <a:close/>
                  <a:moveTo>
                    <a:pt x="83299" y="87900"/>
                  </a:moveTo>
                  <a:lnTo>
                    <a:pt x="83299" y="87900"/>
                  </a:lnTo>
                  <a:cubicBezTo>
                    <a:pt x="64225" y="103800"/>
                    <a:pt x="64225" y="103800"/>
                    <a:pt x="64225" y="103800"/>
                  </a:cubicBezTo>
                  <a:cubicBezTo>
                    <a:pt x="64225" y="29400"/>
                    <a:pt x="64225" y="29400"/>
                    <a:pt x="64225" y="29400"/>
                  </a:cubicBezTo>
                  <a:cubicBezTo>
                    <a:pt x="83299" y="13200"/>
                    <a:pt x="83299" y="13200"/>
                    <a:pt x="83299" y="13200"/>
                  </a:cubicBezTo>
                  <a:lnTo>
                    <a:pt x="83299" y="87900"/>
                  </a:lnTo>
                  <a:close/>
                  <a:moveTo>
                    <a:pt x="111307" y="103800"/>
                  </a:moveTo>
                  <a:lnTo>
                    <a:pt x="111307" y="103800"/>
                  </a:lnTo>
                  <a:cubicBezTo>
                    <a:pt x="91750" y="87900"/>
                    <a:pt x="91750" y="87900"/>
                    <a:pt x="91750" y="87900"/>
                  </a:cubicBezTo>
                  <a:cubicBezTo>
                    <a:pt x="91750" y="13200"/>
                    <a:pt x="91750" y="13200"/>
                    <a:pt x="91750" y="13200"/>
                  </a:cubicBezTo>
                  <a:cubicBezTo>
                    <a:pt x="111307" y="29400"/>
                    <a:pt x="111307" y="29400"/>
                    <a:pt x="111307" y="29400"/>
                  </a:cubicBezTo>
                  <a:lnTo>
                    <a:pt x="111307" y="1038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00" tIns="45700" rIns="91400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3600"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67" name="添加标题">
            <a:extLst>
              <a:ext uri="{FF2B5EF4-FFF2-40B4-BE49-F238E27FC236}">
                <a16:creationId xmlns:a16="http://schemas.microsoft.com/office/drawing/2014/main" id="{5E537E4B-16B7-49D6-9647-8ADCBB0185D1}"/>
              </a:ext>
            </a:extLst>
          </p:cNvPr>
          <p:cNvSpPr txBox="1"/>
          <p:nvPr/>
        </p:nvSpPr>
        <p:spPr>
          <a:xfrm>
            <a:off x="8597897" y="5143941"/>
            <a:ext cx="2429645" cy="1114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dirty="0">
                <a:solidFill>
                  <a:schemeClr val="accent4"/>
                </a:solidFill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90A04017-8353-4EC5-A1F4-BDE17958BA7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3395" y="2280942"/>
            <a:ext cx="3177755" cy="3429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732057551"/>
      </p:ext>
    </p:extLst>
  </p:cSld>
  <p:clrMapOvr>
    <a:masterClrMapping/>
  </p:clrMapOvr>
  <p:transition spd="slow" advClick="0" advTm="2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  <p:bldP spid="59" grpId="0"/>
      <p:bldP spid="63" grpId="0"/>
      <p:bldP spid="6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427F95-E45B-45D3-8E59-B3E246C12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sp>
        <p:nvSpPr>
          <p:cNvPr id="31" name="Can 110">
            <a:extLst>
              <a:ext uri="{FF2B5EF4-FFF2-40B4-BE49-F238E27FC236}">
                <a16:creationId xmlns:a16="http://schemas.microsoft.com/office/drawing/2014/main" id="{F1199899-94B9-4E6B-A2BB-851DFA534ADE}"/>
              </a:ext>
            </a:extLst>
          </p:cNvPr>
          <p:cNvSpPr/>
          <p:nvPr/>
        </p:nvSpPr>
        <p:spPr>
          <a:xfrm rot="5400000">
            <a:off x="5878663" y="-1559089"/>
            <a:ext cx="206043" cy="10807700"/>
          </a:xfrm>
          <a:prstGeom prst="ca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cs typeface="+mn-ea"/>
              <a:sym typeface="+mn-lt"/>
            </a:endParaRPr>
          </a:p>
        </p:txBody>
      </p:sp>
      <p:sp>
        <p:nvSpPr>
          <p:cNvPr id="32" name="Rounded Rectangle 111">
            <a:extLst>
              <a:ext uri="{FF2B5EF4-FFF2-40B4-BE49-F238E27FC236}">
                <a16:creationId xmlns:a16="http://schemas.microsoft.com/office/drawing/2014/main" id="{DAA32FF3-94E2-4E61-8F35-4029B49C63F4}"/>
              </a:ext>
            </a:extLst>
          </p:cNvPr>
          <p:cNvSpPr/>
          <p:nvPr/>
        </p:nvSpPr>
        <p:spPr>
          <a:xfrm>
            <a:off x="577834" y="3221264"/>
            <a:ext cx="846425" cy="349724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cs typeface="+mn-ea"/>
                <a:sym typeface="+mn-lt"/>
              </a:rPr>
              <a:t>Start</a:t>
            </a:r>
            <a:endParaRPr lang="en-IN" sz="1600" dirty="0">
              <a:cs typeface="+mn-ea"/>
              <a:sym typeface="+mn-lt"/>
            </a:endParaRPr>
          </a:p>
        </p:txBody>
      </p:sp>
      <p:grpSp>
        <p:nvGrpSpPr>
          <p:cNvPr id="33" name="Group 54">
            <a:extLst>
              <a:ext uri="{FF2B5EF4-FFF2-40B4-BE49-F238E27FC236}">
                <a16:creationId xmlns:a16="http://schemas.microsoft.com/office/drawing/2014/main" id="{A3569978-4B55-4EF0-A38F-376FA168EEFF}"/>
              </a:ext>
            </a:extLst>
          </p:cNvPr>
          <p:cNvGrpSpPr/>
          <p:nvPr/>
        </p:nvGrpSpPr>
        <p:grpSpPr>
          <a:xfrm>
            <a:off x="1483046" y="3741738"/>
            <a:ext cx="1214438" cy="1103312"/>
            <a:chOff x="1626390" y="3392488"/>
            <a:chExt cx="1214438" cy="1103312"/>
          </a:xfrm>
        </p:grpSpPr>
        <p:grpSp>
          <p:nvGrpSpPr>
            <p:cNvPr id="34" name="Group 57">
              <a:extLst>
                <a:ext uri="{FF2B5EF4-FFF2-40B4-BE49-F238E27FC236}">
                  <a16:creationId xmlns:a16="http://schemas.microsoft.com/office/drawing/2014/main" id="{A9960C82-CF98-4C70-8EAA-0111758A5068}"/>
                </a:ext>
              </a:extLst>
            </p:cNvPr>
            <p:cNvGrpSpPr/>
            <p:nvPr/>
          </p:nvGrpSpPr>
          <p:grpSpPr>
            <a:xfrm>
              <a:off x="1626390" y="3392488"/>
              <a:ext cx="1214438" cy="1103312"/>
              <a:chOff x="1515901" y="4289756"/>
              <a:chExt cx="1214438" cy="1103312"/>
            </a:xfrm>
          </p:grpSpPr>
          <p:sp>
            <p:nvSpPr>
              <p:cNvPr id="36" name="Can 115">
                <a:extLst>
                  <a:ext uri="{FF2B5EF4-FFF2-40B4-BE49-F238E27FC236}">
                    <a16:creationId xmlns:a16="http://schemas.microsoft.com/office/drawing/2014/main" id="{0AC1200A-B5C0-430A-960E-48B6C41033FA}"/>
                  </a:ext>
                </a:extLst>
              </p:cNvPr>
              <p:cNvSpPr/>
              <p:nvPr/>
            </p:nvSpPr>
            <p:spPr>
              <a:xfrm rot="5400000">
                <a:off x="2020098" y="3785559"/>
                <a:ext cx="206043" cy="1214438"/>
              </a:xfrm>
              <a:prstGeom prst="can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  <p:sp>
            <p:nvSpPr>
              <p:cNvPr id="37" name="Flowchart: Off-page Connector 65">
                <a:extLst>
                  <a:ext uri="{FF2B5EF4-FFF2-40B4-BE49-F238E27FC236}">
                    <a16:creationId xmlns:a16="http://schemas.microsoft.com/office/drawing/2014/main" id="{4D616206-4A8E-4898-8351-6311F9EDAA75}"/>
                  </a:ext>
                </a:extLst>
              </p:cNvPr>
              <p:cNvSpPr/>
              <p:nvPr/>
            </p:nvSpPr>
            <p:spPr>
              <a:xfrm>
                <a:off x="1515901" y="4289756"/>
                <a:ext cx="742950" cy="1103312"/>
              </a:xfrm>
              <a:prstGeom prst="flowChartOffpageConnector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</p:grpSp>
        <p:sp>
          <p:nvSpPr>
            <p:cNvPr id="35" name="TextBox 63">
              <a:extLst>
                <a:ext uri="{FF2B5EF4-FFF2-40B4-BE49-F238E27FC236}">
                  <a16:creationId xmlns:a16="http://schemas.microsoft.com/office/drawing/2014/main" id="{DD476C1A-6A14-4673-9CF2-38AF64E4B330}"/>
                </a:ext>
              </a:extLst>
            </p:cNvPr>
            <p:cNvSpPr txBox="1"/>
            <p:nvPr/>
          </p:nvSpPr>
          <p:spPr>
            <a:xfrm>
              <a:off x="1681839" y="3941124"/>
              <a:ext cx="61549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  <a:cs typeface="+mn-ea"/>
                  <a:sym typeface="+mn-lt"/>
                </a:rPr>
                <a:t>01</a:t>
              </a:r>
              <a:endParaRPr lang="en-IN" sz="24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8" name="Group 66">
            <a:extLst>
              <a:ext uri="{FF2B5EF4-FFF2-40B4-BE49-F238E27FC236}">
                <a16:creationId xmlns:a16="http://schemas.microsoft.com/office/drawing/2014/main" id="{1F59A6FE-D400-436D-98FB-F241E76F33DF}"/>
              </a:ext>
            </a:extLst>
          </p:cNvPr>
          <p:cNvGrpSpPr/>
          <p:nvPr/>
        </p:nvGrpSpPr>
        <p:grpSpPr>
          <a:xfrm>
            <a:off x="3424956" y="2844470"/>
            <a:ext cx="1214438" cy="1103312"/>
            <a:chOff x="3568300" y="2495220"/>
            <a:chExt cx="1214438" cy="1103312"/>
          </a:xfrm>
        </p:grpSpPr>
        <p:grpSp>
          <p:nvGrpSpPr>
            <p:cNvPr id="39" name="Group 67">
              <a:extLst>
                <a:ext uri="{FF2B5EF4-FFF2-40B4-BE49-F238E27FC236}">
                  <a16:creationId xmlns:a16="http://schemas.microsoft.com/office/drawing/2014/main" id="{A7D4B2A4-BF8B-4745-A789-44D496FF97F9}"/>
                </a:ext>
              </a:extLst>
            </p:cNvPr>
            <p:cNvGrpSpPr/>
            <p:nvPr/>
          </p:nvGrpSpPr>
          <p:grpSpPr>
            <a:xfrm flipV="1">
              <a:off x="3568300" y="2495220"/>
              <a:ext cx="1214438" cy="1103312"/>
              <a:chOff x="1515901" y="4289756"/>
              <a:chExt cx="1214438" cy="1103312"/>
            </a:xfrm>
            <a:solidFill>
              <a:schemeClr val="accent4"/>
            </a:solidFill>
          </p:grpSpPr>
          <p:sp>
            <p:nvSpPr>
              <p:cNvPr id="41" name="Can 120">
                <a:extLst>
                  <a:ext uri="{FF2B5EF4-FFF2-40B4-BE49-F238E27FC236}">
                    <a16:creationId xmlns:a16="http://schemas.microsoft.com/office/drawing/2014/main" id="{8664919F-77A8-4135-B4F0-65F3C29347FE}"/>
                  </a:ext>
                </a:extLst>
              </p:cNvPr>
              <p:cNvSpPr/>
              <p:nvPr/>
            </p:nvSpPr>
            <p:spPr>
              <a:xfrm rot="5400000">
                <a:off x="2020098" y="3785559"/>
                <a:ext cx="206043" cy="1214438"/>
              </a:xfrm>
              <a:prstGeom prst="ca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  <p:sp>
            <p:nvSpPr>
              <p:cNvPr id="42" name="Flowchart: Off-page Connector 70">
                <a:extLst>
                  <a:ext uri="{FF2B5EF4-FFF2-40B4-BE49-F238E27FC236}">
                    <a16:creationId xmlns:a16="http://schemas.microsoft.com/office/drawing/2014/main" id="{6C0DA3E8-8AA3-4184-BA2C-D3A8ADDDAEE2}"/>
                  </a:ext>
                </a:extLst>
              </p:cNvPr>
              <p:cNvSpPr/>
              <p:nvPr/>
            </p:nvSpPr>
            <p:spPr>
              <a:xfrm>
                <a:off x="1515901" y="4289756"/>
                <a:ext cx="742950" cy="1103312"/>
              </a:xfrm>
              <a:prstGeom prst="flowChartOffpageConnector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</p:grpSp>
        <p:sp>
          <p:nvSpPr>
            <p:cNvPr id="40" name="TextBox 68">
              <a:extLst>
                <a:ext uri="{FF2B5EF4-FFF2-40B4-BE49-F238E27FC236}">
                  <a16:creationId xmlns:a16="http://schemas.microsoft.com/office/drawing/2014/main" id="{5B501DCB-8F02-4A00-BEFA-508DB9347EE4}"/>
                </a:ext>
              </a:extLst>
            </p:cNvPr>
            <p:cNvSpPr txBox="1"/>
            <p:nvPr/>
          </p:nvSpPr>
          <p:spPr>
            <a:xfrm>
              <a:off x="3644581" y="2614615"/>
              <a:ext cx="59038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  <a:cs typeface="+mn-ea"/>
                  <a:sym typeface="+mn-lt"/>
                </a:rPr>
                <a:t>02</a:t>
              </a:r>
              <a:endParaRPr lang="en-IN" sz="24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3" name="Group 71">
            <a:extLst>
              <a:ext uri="{FF2B5EF4-FFF2-40B4-BE49-F238E27FC236}">
                <a16:creationId xmlns:a16="http://schemas.microsoft.com/office/drawing/2014/main" id="{BB0FAFC7-E2A4-4CCF-99BC-B388CBBCB531}"/>
              </a:ext>
            </a:extLst>
          </p:cNvPr>
          <p:cNvGrpSpPr/>
          <p:nvPr/>
        </p:nvGrpSpPr>
        <p:grpSpPr>
          <a:xfrm>
            <a:off x="5366867" y="3741738"/>
            <a:ext cx="1214438" cy="1103312"/>
            <a:chOff x="5510211" y="3392488"/>
            <a:chExt cx="1214438" cy="1103312"/>
          </a:xfrm>
        </p:grpSpPr>
        <p:grpSp>
          <p:nvGrpSpPr>
            <p:cNvPr id="44" name="Group 72">
              <a:extLst>
                <a:ext uri="{FF2B5EF4-FFF2-40B4-BE49-F238E27FC236}">
                  <a16:creationId xmlns:a16="http://schemas.microsoft.com/office/drawing/2014/main" id="{2C27C6F2-EB05-4189-844D-F56CB25E2455}"/>
                </a:ext>
              </a:extLst>
            </p:cNvPr>
            <p:cNvGrpSpPr/>
            <p:nvPr/>
          </p:nvGrpSpPr>
          <p:grpSpPr>
            <a:xfrm>
              <a:off x="5510211" y="3392488"/>
              <a:ext cx="1214438" cy="1103312"/>
              <a:chOff x="1515901" y="4289756"/>
              <a:chExt cx="1214438" cy="1103312"/>
            </a:xfrm>
            <a:solidFill>
              <a:schemeClr val="accent2"/>
            </a:solidFill>
          </p:grpSpPr>
          <p:sp>
            <p:nvSpPr>
              <p:cNvPr id="46" name="Can 125">
                <a:extLst>
                  <a:ext uri="{FF2B5EF4-FFF2-40B4-BE49-F238E27FC236}">
                    <a16:creationId xmlns:a16="http://schemas.microsoft.com/office/drawing/2014/main" id="{8454F571-6839-4014-AED8-CAD2792A42A8}"/>
                  </a:ext>
                </a:extLst>
              </p:cNvPr>
              <p:cNvSpPr/>
              <p:nvPr/>
            </p:nvSpPr>
            <p:spPr>
              <a:xfrm rot="5400000">
                <a:off x="2020098" y="3785559"/>
                <a:ext cx="206043" cy="1214438"/>
              </a:xfrm>
              <a:prstGeom prst="ca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  <p:sp>
            <p:nvSpPr>
              <p:cNvPr id="47" name="Flowchart: Off-page Connector 75">
                <a:extLst>
                  <a:ext uri="{FF2B5EF4-FFF2-40B4-BE49-F238E27FC236}">
                    <a16:creationId xmlns:a16="http://schemas.microsoft.com/office/drawing/2014/main" id="{AAC3EEB1-AC5C-41FB-BFE4-25F3E0198C02}"/>
                  </a:ext>
                </a:extLst>
              </p:cNvPr>
              <p:cNvSpPr/>
              <p:nvPr/>
            </p:nvSpPr>
            <p:spPr>
              <a:xfrm>
                <a:off x="1515901" y="4289756"/>
                <a:ext cx="742950" cy="1103312"/>
              </a:xfrm>
              <a:prstGeom prst="flowChartOffpageConnector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</p:grpSp>
        <p:sp>
          <p:nvSpPr>
            <p:cNvPr id="45" name="TextBox 73">
              <a:extLst>
                <a:ext uri="{FF2B5EF4-FFF2-40B4-BE49-F238E27FC236}">
                  <a16:creationId xmlns:a16="http://schemas.microsoft.com/office/drawing/2014/main" id="{542784D6-7FFE-42AC-A491-B739C0E62C58}"/>
                </a:ext>
              </a:extLst>
            </p:cNvPr>
            <p:cNvSpPr txBox="1"/>
            <p:nvPr/>
          </p:nvSpPr>
          <p:spPr>
            <a:xfrm>
              <a:off x="5614078" y="3944142"/>
              <a:ext cx="53521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  <a:cs typeface="+mn-ea"/>
                  <a:sym typeface="+mn-lt"/>
                </a:rPr>
                <a:t>03</a:t>
              </a:r>
              <a:endParaRPr lang="en-IN" sz="24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8" name="Group 76">
            <a:extLst>
              <a:ext uri="{FF2B5EF4-FFF2-40B4-BE49-F238E27FC236}">
                <a16:creationId xmlns:a16="http://schemas.microsoft.com/office/drawing/2014/main" id="{EBF2CF8B-0104-4E6F-AC31-B8376EBAB04A}"/>
              </a:ext>
            </a:extLst>
          </p:cNvPr>
          <p:cNvGrpSpPr/>
          <p:nvPr/>
        </p:nvGrpSpPr>
        <p:grpSpPr>
          <a:xfrm>
            <a:off x="7269628" y="2844470"/>
            <a:ext cx="1214438" cy="1103312"/>
            <a:chOff x="7412972" y="2495220"/>
            <a:chExt cx="1214438" cy="1103312"/>
          </a:xfrm>
        </p:grpSpPr>
        <p:grpSp>
          <p:nvGrpSpPr>
            <p:cNvPr id="49" name="Group 77">
              <a:extLst>
                <a:ext uri="{FF2B5EF4-FFF2-40B4-BE49-F238E27FC236}">
                  <a16:creationId xmlns:a16="http://schemas.microsoft.com/office/drawing/2014/main" id="{1E3106DA-4536-4DFC-9C6A-8A13B8F0F4C0}"/>
                </a:ext>
              </a:extLst>
            </p:cNvPr>
            <p:cNvGrpSpPr/>
            <p:nvPr/>
          </p:nvGrpSpPr>
          <p:grpSpPr>
            <a:xfrm flipV="1">
              <a:off x="7412972" y="2495220"/>
              <a:ext cx="1214438" cy="1103312"/>
              <a:chOff x="1515901" y="4289756"/>
              <a:chExt cx="1214438" cy="1103312"/>
            </a:xfrm>
            <a:solidFill>
              <a:schemeClr val="accent1"/>
            </a:solidFill>
          </p:grpSpPr>
          <p:sp>
            <p:nvSpPr>
              <p:cNvPr id="51" name="Can 130">
                <a:extLst>
                  <a:ext uri="{FF2B5EF4-FFF2-40B4-BE49-F238E27FC236}">
                    <a16:creationId xmlns:a16="http://schemas.microsoft.com/office/drawing/2014/main" id="{918DC853-DEF4-4BBF-881D-1F1712E592A8}"/>
                  </a:ext>
                </a:extLst>
              </p:cNvPr>
              <p:cNvSpPr/>
              <p:nvPr/>
            </p:nvSpPr>
            <p:spPr>
              <a:xfrm rot="5400000">
                <a:off x="2020098" y="3785559"/>
                <a:ext cx="206043" cy="1214438"/>
              </a:xfrm>
              <a:prstGeom prst="can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  <p:sp>
            <p:nvSpPr>
              <p:cNvPr id="52" name="Flowchart: Off-page Connector 80">
                <a:extLst>
                  <a:ext uri="{FF2B5EF4-FFF2-40B4-BE49-F238E27FC236}">
                    <a16:creationId xmlns:a16="http://schemas.microsoft.com/office/drawing/2014/main" id="{151F880C-2D54-4431-A6FB-8F0F276DBB68}"/>
                  </a:ext>
                </a:extLst>
              </p:cNvPr>
              <p:cNvSpPr/>
              <p:nvPr/>
            </p:nvSpPr>
            <p:spPr>
              <a:xfrm>
                <a:off x="1515901" y="4289756"/>
                <a:ext cx="742950" cy="1103312"/>
              </a:xfrm>
              <a:prstGeom prst="flowChartOffpageConnector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</p:grpSp>
        <p:sp>
          <p:nvSpPr>
            <p:cNvPr id="50" name="TextBox 78">
              <a:extLst>
                <a:ext uri="{FF2B5EF4-FFF2-40B4-BE49-F238E27FC236}">
                  <a16:creationId xmlns:a16="http://schemas.microsoft.com/office/drawing/2014/main" id="{D7DD1987-C88A-410B-8D57-17EBE8F58AC1}"/>
                </a:ext>
              </a:extLst>
            </p:cNvPr>
            <p:cNvSpPr txBox="1"/>
            <p:nvPr/>
          </p:nvSpPr>
          <p:spPr>
            <a:xfrm>
              <a:off x="7476698" y="2614614"/>
              <a:ext cx="61549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  <a:cs typeface="+mn-ea"/>
                  <a:sym typeface="+mn-lt"/>
                </a:rPr>
                <a:t>04</a:t>
              </a:r>
              <a:endParaRPr lang="en-IN" sz="24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53" name="Group 81">
            <a:extLst>
              <a:ext uri="{FF2B5EF4-FFF2-40B4-BE49-F238E27FC236}">
                <a16:creationId xmlns:a16="http://schemas.microsoft.com/office/drawing/2014/main" id="{7594988B-E4E5-4517-8803-E706310A026B}"/>
              </a:ext>
            </a:extLst>
          </p:cNvPr>
          <p:cNvGrpSpPr/>
          <p:nvPr/>
        </p:nvGrpSpPr>
        <p:grpSpPr>
          <a:xfrm>
            <a:off x="9250688" y="3741738"/>
            <a:ext cx="1214438" cy="1103312"/>
            <a:chOff x="9394032" y="3392488"/>
            <a:chExt cx="1214438" cy="1103312"/>
          </a:xfrm>
        </p:grpSpPr>
        <p:grpSp>
          <p:nvGrpSpPr>
            <p:cNvPr id="54" name="Group 82">
              <a:extLst>
                <a:ext uri="{FF2B5EF4-FFF2-40B4-BE49-F238E27FC236}">
                  <a16:creationId xmlns:a16="http://schemas.microsoft.com/office/drawing/2014/main" id="{5D37B7C2-4252-447A-8D4F-5EE0C82B320C}"/>
                </a:ext>
              </a:extLst>
            </p:cNvPr>
            <p:cNvGrpSpPr/>
            <p:nvPr/>
          </p:nvGrpSpPr>
          <p:grpSpPr>
            <a:xfrm>
              <a:off x="9394032" y="3392488"/>
              <a:ext cx="1214438" cy="1103312"/>
              <a:chOff x="1515901" y="4289756"/>
              <a:chExt cx="1214438" cy="1103312"/>
            </a:xfrm>
            <a:solidFill>
              <a:schemeClr val="accent5"/>
            </a:solidFill>
          </p:grpSpPr>
          <p:sp>
            <p:nvSpPr>
              <p:cNvPr id="56" name="Can 135">
                <a:extLst>
                  <a:ext uri="{FF2B5EF4-FFF2-40B4-BE49-F238E27FC236}">
                    <a16:creationId xmlns:a16="http://schemas.microsoft.com/office/drawing/2014/main" id="{DE3918F0-560C-401C-91D7-ADD1EA54FE58}"/>
                  </a:ext>
                </a:extLst>
              </p:cNvPr>
              <p:cNvSpPr/>
              <p:nvPr/>
            </p:nvSpPr>
            <p:spPr>
              <a:xfrm rot="5400000">
                <a:off x="2020098" y="3785559"/>
                <a:ext cx="206043" cy="1214438"/>
              </a:xfrm>
              <a:prstGeom prst="ca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  <p:sp>
            <p:nvSpPr>
              <p:cNvPr id="57" name="Flowchart: Off-page Connector 85">
                <a:extLst>
                  <a:ext uri="{FF2B5EF4-FFF2-40B4-BE49-F238E27FC236}">
                    <a16:creationId xmlns:a16="http://schemas.microsoft.com/office/drawing/2014/main" id="{4D14D4AB-4519-44A5-9DD3-D0C86B3DEF92}"/>
                  </a:ext>
                </a:extLst>
              </p:cNvPr>
              <p:cNvSpPr/>
              <p:nvPr/>
            </p:nvSpPr>
            <p:spPr>
              <a:xfrm>
                <a:off x="1515901" y="4289756"/>
                <a:ext cx="742950" cy="1103312"/>
              </a:xfrm>
              <a:prstGeom prst="flowChartOffpageConnector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cs typeface="+mn-ea"/>
                  <a:sym typeface="+mn-lt"/>
                </a:endParaRPr>
              </a:p>
            </p:txBody>
          </p:sp>
        </p:grpSp>
        <p:sp>
          <p:nvSpPr>
            <p:cNvPr id="55" name="TextBox 83">
              <a:extLst>
                <a:ext uri="{FF2B5EF4-FFF2-40B4-BE49-F238E27FC236}">
                  <a16:creationId xmlns:a16="http://schemas.microsoft.com/office/drawing/2014/main" id="{F17BA706-ED21-4340-86EC-AE653489B04F}"/>
                </a:ext>
              </a:extLst>
            </p:cNvPr>
            <p:cNvSpPr txBox="1"/>
            <p:nvPr/>
          </p:nvSpPr>
          <p:spPr>
            <a:xfrm>
              <a:off x="9457758" y="3944142"/>
              <a:ext cx="61549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400" dirty="0">
                  <a:solidFill>
                    <a:schemeClr val="bg1"/>
                  </a:solidFill>
                  <a:cs typeface="+mn-ea"/>
                  <a:sym typeface="+mn-lt"/>
                </a:rPr>
                <a:t>05</a:t>
              </a:r>
              <a:endParaRPr lang="en-IN" sz="24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8" name="Rounded Rectangle 157">
            <a:extLst>
              <a:ext uri="{FF2B5EF4-FFF2-40B4-BE49-F238E27FC236}">
                <a16:creationId xmlns:a16="http://schemas.microsoft.com/office/drawing/2014/main" id="{47169F6A-B5A0-4189-B632-C3591281F986}"/>
              </a:ext>
            </a:extLst>
          </p:cNvPr>
          <p:cNvSpPr/>
          <p:nvPr/>
        </p:nvSpPr>
        <p:spPr>
          <a:xfrm>
            <a:off x="10540075" y="3218945"/>
            <a:ext cx="846425" cy="349724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cs typeface="+mn-ea"/>
                <a:sym typeface="+mn-lt"/>
              </a:rPr>
              <a:t>End</a:t>
            </a:r>
            <a:endParaRPr lang="en-IN" sz="1600" dirty="0">
              <a:cs typeface="+mn-ea"/>
              <a:sym typeface="+mn-lt"/>
            </a:endParaRPr>
          </a:p>
        </p:txBody>
      </p:sp>
      <p:grpSp>
        <p:nvGrpSpPr>
          <p:cNvPr id="59" name="Group 115">
            <a:extLst>
              <a:ext uri="{FF2B5EF4-FFF2-40B4-BE49-F238E27FC236}">
                <a16:creationId xmlns:a16="http://schemas.microsoft.com/office/drawing/2014/main" id="{B0073EBC-9BD3-49FF-9317-0B0DB7225D53}"/>
              </a:ext>
            </a:extLst>
          </p:cNvPr>
          <p:cNvGrpSpPr/>
          <p:nvPr/>
        </p:nvGrpSpPr>
        <p:grpSpPr>
          <a:xfrm>
            <a:off x="7151538" y="1319865"/>
            <a:ext cx="2363479" cy="1140852"/>
            <a:chOff x="812001" y="4656406"/>
            <a:chExt cx="2363479" cy="1140852"/>
          </a:xfrm>
        </p:grpSpPr>
        <p:sp>
          <p:nvSpPr>
            <p:cNvPr id="60" name="Rectangle 116">
              <a:extLst>
                <a:ext uri="{FF2B5EF4-FFF2-40B4-BE49-F238E27FC236}">
                  <a16:creationId xmlns:a16="http://schemas.microsoft.com/office/drawing/2014/main" id="{E0628865-5BBA-4B68-A7B4-766015DF82EC}"/>
                </a:ext>
              </a:extLst>
            </p:cNvPr>
            <p:cNvSpPr/>
            <p:nvPr/>
          </p:nvSpPr>
          <p:spPr>
            <a:xfrm>
              <a:off x="928468" y="4656406"/>
              <a:ext cx="382807" cy="4571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800">
                <a:cs typeface="+mn-ea"/>
                <a:sym typeface="+mn-lt"/>
              </a:endParaRPr>
            </a:p>
          </p:txBody>
        </p:sp>
        <p:sp>
          <p:nvSpPr>
            <p:cNvPr id="61" name="TextBox 117">
              <a:extLst>
                <a:ext uri="{FF2B5EF4-FFF2-40B4-BE49-F238E27FC236}">
                  <a16:creationId xmlns:a16="http://schemas.microsoft.com/office/drawing/2014/main" id="{E7418B98-70FE-42B3-B3E2-62F87053E541}"/>
                </a:ext>
              </a:extLst>
            </p:cNvPr>
            <p:cNvSpPr txBox="1"/>
            <p:nvPr/>
          </p:nvSpPr>
          <p:spPr>
            <a:xfrm>
              <a:off x="812001" y="4736727"/>
              <a:ext cx="221561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>
                  <a:cs typeface="+mn-ea"/>
                  <a:sym typeface="+mn-lt"/>
                </a:rPr>
                <a:t>Add title text</a:t>
              </a:r>
              <a:endParaRPr lang="en-IN" sz="2400" dirty="0">
                <a:cs typeface="+mn-ea"/>
                <a:sym typeface="+mn-lt"/>
              </a:endParaRPr>
            </a:p>
          </p:txBody>
        </p:sp>
        <p:sp>
          <p:nvSpPr>
            <p:cNvPr id="62" name="Rectangle 118">
              <a:extLst>
                <a:ext uri="{FF2B5EF4-FFF2-40B4-BE49-F238E27FC236}">
                  <a16:creationId xmlns:a16="http://schemas.microsoft.com/office/drawing/2014/main" id="{94FFC0AB-CDA3-4DA1-97E0-78FD86F8DE42}"/>
                </a:ext>
              </a:extLst>
            </p:cNvPr>
            <p:cNvSpPr/>
            <p:nvPr/>
          </p:nvSpPr>
          <p:spPr>
            <a:xfrm>
              <a:off x="820250" y="5185103"/>
              <a:ext cx="2355230" cy="612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en-IN" sz="12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3" name="Group 86">
            <a:extLst>
              <a:ext uri="{FF2B5EF4-FFF2-40B4-BE49-F238E27FC236}">
                <a16:creationId xmlns:a16="http://schemas.microsoft.com/office/drawing/2014/main" id="{D14BF822-8661-457B-AC97-A1FB0003414C}"/>
              </a:ext>
            </a:extLst>
          </p:cNvPr>
          <p:cNvGrpSpPr/>
          <p:nvPr/>
        </p:nvGrpSpPr>
        <p:grpSpPr>
          <a:xfrm>
            <a:off x="1404381" y="4945868"/>
            <a:ext cx="2363479" cy="1140852"/>
            <a:chOff x="812001" y="4656406"/>
            <a:chExt cx="2363479" cy="1140852"/>
          </a:xfrm>
        </p:grpSpPr>
        <p:sp>
          <p:nvSpPr>
            <p:cNvPr id="64" name="Rectangle 87">
              <a:extLst>
                <a:ext uri="{FF2B5EF4-FFF2-40B4-BE49-F238E27FC236}">
                  <a16:creationId xmlns:a16="http://schemas.microsoft.com/office/drawing/2014/main" id="{2BB2EA11-6780-492F-B425-69356F1B174C}"/>
                </a:ext>
              </a:extLst>
            </p:cNvPr>
            <p:cNvSpPr/>
            <p:nvPr/>
          </p:nvSpPr>
          <p:spPr>
            <a:xfrm>
              <a:off x="928468" y="4656406"/>
              <a:ext cx="382807" cy="4571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800">
                <a:cs typeface="+mn-ea"/>
                <a:sym typeface="+mn-lt"/>
              </a:endParaRPr>
            </a:p>
          </p:txBody>
        </p:sp>
        <p:sp>
          <p:nvSpPr>
            <p:cNvPr id="65" name="TextBox 88">
              <a:extLst>
                <a:ext uri="{FF2B5EF4-FFF2-40B4-BE49-F238E27FC236}">
                  <a16:creationId xmlns:a16="http://schemas.microsoft.com/office/drawing/2014/main" id="{AECC0820-A992-40EE-B3A9-2B89FFF4D618}"/>
                </a:ext>
              </a:extLst>
            </p:cNvPr>
            <p:cNvSpPr txBox="1"/>
            <p:nvPr/>
          </p:nvSpPr>
          <p:spPr>
            <a:xfrm>
              <a:off x="812001" y="4736727"/>
              <a:ext cx="209685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>
                  <a:cs typeface="+mn-ea"/>
                  <a:sym typeface="+mn-lt"/>
                </a:rPr>
                <a:t>Add title text</a:t>
              </a:r>
              <a:endParaRPr lang="en-IN" sz="2400" dirty="0">
                <a:cs typeface="+mn-ea"/>
                <a:sym typeface="+mn-lt"/>
              </a:endParaRPr>
            </a:p>
          </p:txBody>
        </p:sp>
        <p:sp>
          <p:nvSpPr>
            <p:cNvPr id="66" name="Rectangle 89">
              <a:extLst>
                <a:ext uri="{FF2B5EF4-FFF2-40B4-BE49-F238E27FC236}">
                  <a16:creationId xmlns:a16="http://schemas.microsoft.com/office/drawing/2014/main" id="{77ECA967-0159-4FDD-A053-CE77FAA6A704}"/>
                </a:ext>
              </a:extLst>
            </p:cNvPr>
            <p:cNvSpPr/>
            <p:nvPr/>
          </p:nvSpPr>
          <p:spPr>
            <a:xfrm>
              <a:off x="820250" y="5185103"/>
              <a:ext cx="2355230" cy="612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en-IN" sz="12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7" name="Group 107">
            <a:extLst>
              <a:ext uri="{FF2B5EF4-FFF2-40B4-BE49-F238E27FC236}">
                <a16:creationId xmlns:a16="http://schemas.microsoft.com/office/drawing/2014/main" id="{4AAB6587-1A10-4932-BB13-0BDCBC824F8B}"/>
              </a:ext>
            </a:extLst>
          </p:cNvPr>
          <p:cNvGrpSpPr/>
          <p:nvPr/>
        </p:nvGrpSpPr>
        <p:grpSpPr>
          <a:xfrm>
            <a:off x="3424955" y="1315047"/>
            <a:ext cx="2363479" cy="1140852"/>
            <a:chOff x="812001" y="4656406"/>
            <a:chExt cx="2363479" cy="1140852"/>
          </a:xfrm>
        </p:grpSpPr>
        <p:sp>
          <p:nvSpPr>
            <p:cNvPr id="68" name="Rectangle 108">
              <a:extLst>
                <a:ext uri="{FF2B5EF4-FFF2-40B4-BE49-F238E27FC236}">
                  <a16:creationId xmlns:a16="http://schemas.microsoft.com/office/drawing/2014/main" id="{180A0FE6-FDA6-42F9-B54D-A0727BF4E793}"/>
                </a:ext>
              </a:extLst>
            </p:cNvPr>
            <p:cNvSpPr/>
            <p:nvPr/>
          </p:nvSpPr>
          <p:spPr>
            <a:xfrm>
              <a:off x="928468" y="4656406"/>
              <a:ext cx="382807" cy="457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800">
                <a:cs typeface="+mn-ea"/>
                <a:sym typeface="+mn-lt"/>
              </a:endParaRPr>
            </a:p>
          </p:txBody>
        </p:sp>
        <p:sp>
          <p:nvSpPr>
            <p:cNvPr id="69" name="TextBox 109">
              <a:extLst>
                <a:ext uri="{FF2B5EF4-FFF2-40B4-BE49-F238E27FC236}">
                  <a16:creationId xmlns:a16="http://schemas.microsoft.com/office/drawing/2014/main" id="{D4AA4B40-4072-427D-B4FB-58F623B160B2}"/>
                </a:ext>
              </a:extLst>
            </p:cNvPr>
            <p:cNvSpPr txBox="1"/>
            <p:nvPr/>
          </p:nvSpPr>
          <p:spPr>
            <a:xfrm>
              <a:off x="812001" y="4736727"/>
              <a:ext cx="204577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>
                  <a:cs typeface="+mn-ea"/>
                  <a:sym typeface="+mn-lt"/>
                </a:rPr>
                <a:t>Add title text</a:t>
              </a:r>
              <a:endParaRPr lang="en-IN" sz="2400" dirty="0">
                <a:cs typeface="+mn-ea"/>
                <a:sym typeface="+mn-lt"/>
              </a:endParaRPr>
            </a:p>
          </p:txBody>
        </p:sp>
        <p:sp>
          <p:nvSpPr>
            <p:cNvPr id="70" name="Rectangle 110">
              <a:extLst>
                <a:ext uri="{FF2B5EF4-FFF2-40B4-BE49-F238E27FC236}">
                  <a16:creationId xmlns:a16="http://schemas.microsoft.com/office/drawing/2014/main" id="{C5FC14B6-F545-4C9A-9902-D0C54F49F290}"/>
                </a:ext>
              </a:extLst>
            </p:cNvPr>
            <p:cNvSpPr/>
            <p:nvPr/>
          </p:nvSpPr>
          <p:spPr>
            <a:xfrm>
              <a:off x="820250" y="5185103"/>
              <a:ext cx="2355230" cy="612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en-IN" sz="12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71" name="Group 111">
            <a:extLst>
              <a:ext uri="{FF2B5EF4-FFF2-40B4-BE49-F238E27FC236}">
                <a16:creationId xmlns:a16="http://schemas.microsoft.com/office/drawing/2014/main" id="{00D9F42C-2862-457A-B482-CC31AC09D267}"/>
              </a:ext>
            </a:extLst>
          </p:cNvPr>
          <p:cNvGrpSpPr/>
          <p:nvPr/>
        </p:nvGrpSpPr>
        <p:grpSpPr>
          <a:xfrm>
            <a:off x="5366866" y="5122070"/>
            <a:ext cx="2363479" cy="1140852"/>
            <a:chOff x="812001" y="4656406"/>
            <a:chExt cx="2363479" cy="1140852"/>
          </a:xfrm>
        </p:grpSpPr>
        <p:sp>
          <p:nvSpPr>
            <p:cNvPr id="72" name="Rectangle 112">
              <a:extLst>
                <a:ext uri="{FF2B5EF4-FFF2-40B4-BE49-F238E27FC236}">
                  <a16:creationId xmlns:a16="http://schemas.microsoft.com/office/drawing/2014/main" id="{FA4E0EBD-C9D2-4B73-B6A8-86E48B4A0D3F}"/>
                </a:ext>
              </a:extLst>
            </p:cNvPr>
            <p:cNvSpPr/>
            <p:nvPr/>
          </p:nvSpPr>
          <p:spPr>
            <a:xfrm>
              <a:off x="928468" y="4656406"/>
              <a:ext cx="382807" cy="457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800">
                <a:cs typeface="+mn-ea"/>
                <a:sym typeface="+mn-lt"/>
              </a:endParaRPr>
            </a:p>
          </p:txBody>
        </p:sp>
        <p:sp>
          <p:nvSpPr>
            <p:cNvPr id="73" name="TextBox 113">
              <a:extLst>
                <a:ext uri="{FF2B5EF4-FFF2-40B4-BE49-F238E27FC236}">
                  <a16:creationId xmlns:a16="http://schemas.microsoft.com/office/drawing/2014/main" id="{300FD9A4-2BBE-465F-949C-6C2CB7E65461}"/>
                </a:ext>
              </a:extLst>
            </p:cNvPr>
            <p:cNvSpPr txBox="1"/>
            <p:nvPr/>
          </p:nvSpPr>
          <p:spPr>
            <a:xfrm>
              <a:off x="812001" y="4736727"/>
              <a:ext cx="228394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>
                  <a:cs typeface="+mn-ea"/>
                  <a:sym typeface="+mn-lt"/>
                </a:rPr>
                <a:t>Add title text</a:t>
              </a:r>
              <a:endParaRPr lang="en-IN" sz="2400" dirty="0">
                <a:cs typeface="+mn-ea"/>
                <a:sym typeface="+mn-lt"/>
              </a:endParaRPr>
            </a:p>
          </p:txBody>
        </p:sp>
        <p:sp>
          <p:nvSpPr>
            <p:cNvPr id="74" name="Rectangle 114">
              <a:extLst>
                <a:ext uri="{FF2B5EF4-FFF2-40B4-BE49-F238E27FC236}">
                  <a16:creationId xmlns:a16="http://schemas.microsoft.com/office/drawing/2014/main" id="{B216F7D2-C7B5-4B3B-9B59-E8E3CCF8FE9F}"/>
                </a:ext>
              </a:extLst>
            </p:cNvPr>
            <p:cNvSpPr/>
            <p:nvPr/>
          </p:nvSpPr>
          <p:spPr>
            <a:xfrm>
              <a:off x="820250" y="5185103"/>
              <a:ext cx="2355230" cy="612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en-IN" sz="12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75" name="Group 119">
            <a:extLst>
              <a:ext uri="{FF2B5EF4-FFF2-40B4-BE49-F238E27FC236}">
                <a16:creationId xmlns:a16="http://schemas.microsoft.com/office/drawing/2014/main" id="{E418B152-B58A-4907-85E0-5D946B252CB3}"/>
              </a:ext>
            </a:extLst>
          </p:cNvPr>
          <p:cNvGrpSpPr/>
          <p:nvPr/>
        </p:nvGrpSpPr>
        <p:grpSpPr>
          <a:xfrm>
            <a:off x="9250687" y="5030476"/>
            <a:ext cx="2363479" cy="1140852"/>
            <a:chOff x="812001" y="4656406"/>
            <a:chExt cx="2363479" cy="1140852"/>
          </a:xfrm>
        </p:grpSpPr>
        <p:sp>
          <p:nvSpPr>
            <p:cNvPr id="76" name="Rectangle 120">
              <a:extLst>
                <a:ext uri="{FF2B5EF4-FFF2-40B4-BE49-F238E27FC236}">
                  <a16:creationId xmlns:a16="http://schemas.microsoft.com/office/drawing/2014/main" id="{3A17E6BF-8B50-40F2-806B-29FDA11DB19C}"/>
                </a:ext>
              </a:extLst>
            </p:cNvPr>
            <p:cNvSpPr/>
            <p:nvPr/>
          </p:nvSpPr>
          <p:spPr>
            <a:xfrm>
              <a:off x="928468" y="4656406"/>
              <a:ext cx="382807" cy="457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800">
                <a:cs typeface="+mn-ea"/>
                <a:sym typeface="+mn-lt"/>
              </a:endParaRPr>
            </a:p>
          </p:txBody>
        </p:sp>
        <p:sp>
          <p:nvSpPr>
            <p:cNvPr id="77" name="TextBox 121">
              <a:extLst>
                <a:ext uri="{FF2B5EF4-FFF2-40B4-BE49-F238E27FC236}">
                  <a16:creationId xmlns:a16="http://schemas.microsoft.com/office/drawing/2014/main" id="{78A50838-A142-4180-8A03-E61B93B15764}"/>
                </a:ext>
              </a:extLst>
            </p:cNvPr>
            <p:cNvSpPr txBox="1"/>
            <p:nvPr/>
          </p:nvSpPr>
          <p:spPr>
            <a:xfrm>
              <a:off x="812001" y="4736727"/>
              <a:ext cx="19964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>
                  <a:cs typeface="+mn-ea"/>
                  <a:sym typeface="+mn-lt"/>
                </a:rPr>
                <a:t>Add title text</a:t>
              </a:r>
              <a:endParaRPr lang="en-IN" sz="2400" dirty="0">
                <a:cs typeface="+mn-ea"/>
                <a:sym typeface="+mn-lt"/>
              </a:endParaRPr>
            </a:p>
          </p:txBody>
        </p:sp>
        <p:sp>
          <p:nvSpPr>
            <p:cNvPr id="78" name="Rectangle 122">
              <a:extLst>
                <a:ext uri="{FF2B5EF4-FFF2-40B4-BE49-F238E27FC236}">
                  <a16:creationId xmlns:a16="http://schemas.microsoft.com/office/drawing/2014/main" id="{4FD17F98-3205-40CF-A64E-42EAAF4AF6A7}"/>
                </a:ext>
              </a:extLst>
            </p:cNvPr>
            <p:cNvSpPr/>
            <p:nvPr/>
          </p:nvSpPr>
          <p:spPr>
            <a:xfrm>
              <a:off x="820250" y="5185103"/>
              <a:ext cx="2355230" cy="612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en-IN" sz="12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4377863"/>
      </p:ext>
    </p:extLst>
  </p:cSld>
  <p:clrMapOvr>
    <a:masterClrMapping/>
  </p:clrMapOvr>
  <p:transition spd="slow" advClick="0" advTm="2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000"/>
                            </p:stCondLst>
                            <p:childTnLst>
                              <p:par>
                                <p:cTn id="38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500"/>
                            </p:stCondLst>
                            <p:childTnLst>
                              <p:par>
                                <p:cTn id="5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0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5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A0FA0662-4124-4975-BBD6-DC1A1437CC0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0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6858000 h 6858000"/>
              <a:gd name="connsiteX3" fmla="*/ 0 w 12193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0AC687EA-4D01-4F5E-B85D-2A988D8FB0C8}"/>
              </a:ext>
            </a:extLst>
          </p:cNvPr>
          <p:cNvSpPr/>
          <p:nvPr/>
        </p:nvSpPr>
        <p:spPr>
          <a:xfrm>
            <a:off x="-600" y="0"/>
            <a:ext cx="12193200" cy="6858000"/>
          </a:xfrm>
          <a:prstGeom prst="rect">
            <a:avLst/>
          </a:prstGeom>
          <a:solidFill>
            <a:srgbClr val="000000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F02AD3DA-B870-4EFF-8E2B-37E7976E45F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0898" y="0"/>
            <a:ext cx="4784504" cy="6858000"/>
          </a:xfrm>
          <a:custGeom>
            <a:avLst/>
            <a:gdLst>
              <a:gd name="connsiteX0" fmla="*/ 2758478 w 4784504"/>
              <a:gd name="connsiteY0" fmla="*/ 0 h 6858000"/>
              <a:gd name="connsiteX1" fmla="*/ 4784504 w 4784504"/>
              <a:gd name="connsiteY1" fmla="*/ 0 h 6858000"/>
              <a:gd name="connsiteX2" fmla="*/ 2162477 w 4784504"/>
              <a:gd name="connsiteY2" fmla="*/ 2622027 h 6858000"/>
              <a:gd name="connsiteX3" fmla="*/ 2162477 w 4784504"/>
              <a:gd name="connsiteY3" fmla="*/ 4235974 h 6858000"/>
              <a:gd name="connsiteX4" fmla="*/ 4784504 w 4784504"/>
              <a:gd name="connsiteY4" fmla="*/ 6858000 h 6858000"/>
              <a:gd name="connsiteX5" fmla="*/ 2758478 w 4784504"/>
              <a:gd name="connsiteY5" fmla="*/ 6858000 h 6858000"/>
              <a:gd name="connsiteX6" fmla="*/ 474129 w 4784504"/>
              <a:gd name="connsiteY6" fmla="*/ 4573651 h 6858000"/>
              <a:gd name="connsiteX7" fmla="*/ 474129 w 4784504"/>
              <a:gd name="connsiteY7" fmla="*/ 2284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4504" h="6858000">
                <a:moveTo>
                  <a:pt x="2758478" y="0"/>
                </a:moveTo>
                <a:lnTo>
                  <a:pt x="4784504" y="0"/>
                </a:lnTo>
                <a:lnTo>
                  <a:pt x="2162477" y="2622027"/>
                </a:lnTo>
                <a:cubicBezTo>
                  <a:pt x="1716800" y="3067704"/>
                  <a:pt x="1716800" y="3790296"/>
                  <a:pt x="2162477" y="4235974"/>
                </a:cubicBezTo>
                <a:lnTo>
                  <a:pt x="4784504" y="6858000"/>
                </a:lnTo>
                <a:lnTo>
                  <a:pt x="2758478" y="6858000"/>
                </a:lnTo>
                <a:lnTo>
                  <a:pt x="474129" y="4573651"/>
                </a:lnTo>
                <a:cubicBezTo>
                  <a:pt x="-158042" y="3941480"/>
                  <a:pt x="-158042" y="2916520"/>
                  <a:pt x="474129" y="228435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CCAD2904-0CC6-4BF4-9552-3124E7CD0A98}"/>
              </a:ext>
            </a:extLst>
          </p:cNvPr>
          <p:cNvSpPr/>
          <p:nvPr/>
        </p:nvSpPr>
        <p:spPr>
          <a:xfrm rot="18900000" flipH="1">
            <a:off x="399615" y="288023"/>
            <a:ext cx="6281955" cy="6281955"/>
          </a:xfrm>
          <a:custGeom>
            <a:avLst/>
            <a:gdLst>
              <a:gd name="connsiteX0" fmla="*/ 1432617 w 6281955"/>
              <a:gd name="connsiteY0" fmla="*/ 0 h 6281955"/>
              <a:gd name="connsiteX1" fmla="*/ 0 w 6281955"/>
              <a:gd name="connsiteY1" fmla="*/ 1432617 h 6281955"/>
              <a:gd name="connsiteX2" fmla="*/ 3708106 w 6281955"/>
              <a:gd name="connsiteY2" fmla="*/ 1432617 h 6281955"/>
              <a:gd name="connsiteX3" fmla="*/ 4849338 w 6281955"/>
              <a:gd name="connsiteY3" fmla="*/ 2573849 h 6281955"/>
              <a:gd name="connsiteX4" fmla="*/ 4849338 w 6281955"/>
              <a:gd name="connsiteY4" fmla="*/ 6281955 h 6281955"/>
              <a:gd name="connsiteX5" fmla="*/ 6281955 w 6281955"/>
              <a:gd name="connsiteY5" fmla="*/ 4849338 h 6281955"/>
              <a:gd name="connsiteX6" fmla="*/ 6281955 w 6281955"/>
              <a:gd name="connsiteY6" fmla="*/ 1618780 h 6281955"/>
              <a:gd name="connsiteX7" fmla="*/ 4663174 w 6281955"/>
              <a:gd name="connsiteY7" fmla="*/ 0 h 6281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1955" h="6281955">
                <a:moveTo>
                  <a:pt x="1432617" y="0"/>
                </a:moveTo>
                <a:lnTo>
                  <a:pt x="0" y="1432617"/>
                </a:lnTo>
                <a:lnTo>
                  <a:pt x="3708106" y="1432617"/>
                </a:lnTo>
                <a:cubicBezTo>
                  <a:pt x="4338388" y="1432617"/>
                  <a:pt x="4849338" y="1943567"/>
                  <a:pt x="4849338" y="2573849"/>
                </a:cubicBezTo>
                <a:lnTo>
                  <a:pt x="4849338" y="6281955"/>
                </a:lnTo>
                <a:lnTo>
                  <a:pt x="6281955" y="4849338"/>
                </a:lnTo>
                <a:lnTo>
                  <a:pt x="6281955" y="1618780"/>
                </a:lnTo>
                <a:cubicBezTo>
                  <a:pt x="6281955" y="724756"/>
                  <a:pt x="5557199" y="0"/>
                  <a:pt x="4663174" y="0"/>
                </a:cubicBezTo>
                <a:close/>
              </a:path>
            </a:pathLst>
          </a:custGeom>
          <a:solidFill>
            <a:schemeClr val="accent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699211CD-2E6B-4DB9-904A-9FDA5CC526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38395" y="0"/>
            <a:ext cx="4784504" cy="6858000"/>
          </a:xfrm>
          <a:custGeom>
            <a:avLst/>
            <a:gdLst>
              <a:gd name="connsiteX0" fmla="*/ 2758478 w 4784504"/>
              <a:gd name="connsiteY0" fmla="*/ 0 h 6858000"/>
              <a:gd name="connsiteX1" fmla="*/ 4784504 w 4784504"/>
              <a:gd name="connsiteY1" fmla="*/ 0 h 6858000"/>
              <a:gd name="connsiteX2" fmla="*/ 2162477 w 4784504"/>
              <a:gd name="connsiteY2" fmla="*/ 2622027 h 6858000"/>
              <a:gd name="connsiteX3" fmla="*/ 2162477 w 4784504"/>
              <a:gd name="connsiteY3" fmla="*/ 4235974 h 6858000"/>
              <a:gd name="connsiteX4" fmla="*/ 4784504 w 4784504"/>
              <a:gd name="connsiteY4" fmla="*/ 6858000 h 6858000"/>
              <a:gd name="connsiteX5" fmla="*/ 2758478 w 4784504"/>
              <a:gd name="connsiteY5" fmla="*/ 6858000 h 6858000"/>
              <a:gd name="connsiteX6" fmla="*/ 474129 w 4784504"/>
              <a:gd name="connsiteY6" fmla="*/ 4573651 h 6858000"/>
              <a:gd name="connsiteX7" fmla="*/ 474129 w 4784504"/>
              <a:gd name="connsiteY7" fmla="*/ 2284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4504" h="6858000">
                <a:moveTo>
                  <a:pt x="2758478" y="0"/>
                </a:moveTo>
                <a:lnTo>
                  <a:pt x="4784504" y="0"/>
                </a:lnTo>
                <a:lnTo>
                  <a:pt x="2162477" y="2622027"/>
                </a:lnTo>
                <a:cubicBezTo>
                  <a:pt x="1716800" y="3067704"/>
                  <a:pt x="1716800" y="3790296"/>
                  <a:pt x="2162477" y="4235974"/>
                </a:cubicBezTo>
                <a:lnTo>
                  <a:pt x="4784504" y="6858000"/>
                </a:lnTo>
                <a:lnTo>
                  <a:pt x="2758478" y="6858000"/>
                </a:lnTo>
                <a:lnTo>
                  <a:pt x="474129" y="4573651"/>
                </a:lnTo>
                <a:cubicBezTo>
                  <a:pt x="-158042" y="3941480"/>
                  <a:pt x="-158042" y="2916520"/>
                  <a:pt x="474129" y="228435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61AE783D-32F5-4DFE-9A11-345E9216CB7F}"/>
              </a:ext>
            </a:extLst>
          </p:cNvPr>
          <p:cNvSpPr/>
          <p:nvPr/>
        </p:nvSpPr>
        <p:spPr>
          <a:xfrm rot="2700000">
            <a:off x="5510431" y="288023"/>
            <a:ext cx="6281955" cy="6281955"/>
          </a:xfrm>
          <a:custGeom>
            <a:avLst/>
            <a:gdLst>
              <a:gd name="connsiteX0" fmla="*/ 1432617 w 6281955"/>
              <a:gd name="connsiteY0" fmla="*/ 0 h 6281955"/>
              <a:gd name="connsiteX1" fmla="*/ 0 w 6281955"/>
              <a:gd name="connsiteY1" fmla="*/ 1432617 h 6281955"/>
              <a:gd name="connsiteX2" fmla="*/ 3708106 w 6281955"/>
              <a:gd name="connsiteY2" fmla="*/ 1432617 h 6281955"/>
              <a:gd name="connsiteX3" fmla="*/ 4849338 w 6281955"/>
              <a:gd name="connsiteY3" fmla="*/ 2573849 h 6281955"/>
              <a:gd name="connsiteX4" fmla="*/ 4849338 w 6281955"/>
              <a:gd name="connsiteY4" fmla="*/ 6281955 h 6281955"/>
              <a:gd name="connsiteX5" fmla="*/ 6281955 w 6281955"/>
              <a:gd name="connsiteY5" fmla="*/ 4849338 h 6281955"/>
              <a:gd name="connsiteX6" fmla="*/ 6281955 w 6281955"/>
              <a:gd name="connsiteY6" fmla="*/ 1618780 h 6281955"/>
              <a:gd name="connsiteX7" fmla="*/ 4663174 w 6281955"/>
              <a:gd name="connsiteY7" fmla="*/ 0 h 6281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1955" h="6281955">
                <a:moveTo>
                  <a:pt x="1432617" y="0"/>
                </a:moveTo>
                <a:lnTo>
                  <a:pt x="0" y="1432617"/>
                </a:lnTo>
                <a:lnTo>
                  <a:pt x="3708106" y="1432617"/>
                </a:lnTo>
                <a:cubicBezTo>
                  <a:pt x="4338388" y="1432617"/>
                  <a:pt x="4849338" y="1943567"/>
                  <a:pt x="4849338" y="2573849"/>
                </a:cubicBezTo>
                <a:lnTo>
                  <a:pt x="4849338" y="6281955"/>
                </a:lnTo>
                <a:lnTo>
                  <a:pt x="6281955" y="4849338"/>
                </a:lnTo>
                <a:lnTo>
                  <a:pt x="6281955" y="1618780"/>
                </a:lnTo>
                <a:cubicBezTo>
                  <a:pt x="6281955" y="724756"/>
                  <a:pt x="5557199" y="0"/>
                  <a:pt x="4663174" y="0"/>
                </a:cubicBezTo>
                <a:close/>
              </a:path>
            </a:pathLst>
          </a:custGeom>
          <a:solidFill>
            <a:schemeClr val="accent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文本框">
            <a:extLst>
              <a:ext uri="{FF2B5EF4-FFF2-40B4-BE49-F238E27FC236}">
                <a16:creationId xmlns:a16="http://schemas.microsoft.com/office/drawing/2014/main" id="{78AF0C97-8319-4D4F-AED6-40B7931F96F2}"/>
              </a:ext>
            </a:extLst>
          </p:cNvPr>
          <p:cNvSpPr txBox="1"/>
          <p:nvPr/>
        </p:nvSpPr>
        <p:spPr>
          <a:xfrm>
            <a:off x="3703748" y="4162821"/>
            <a:ext cx="4784504" cy="14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3600" b="1" dirty="0"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18" name="文本框">
            <a:extLst>
              <a:ext uri="{FF2B5EF4-FFF2-40B4-BE49-F238E27FC236}">
                <a16:creationId xmlns:a16="http://schemas.microsoft.com/office/drawing/2014/main" id="{FF177CBF-39F5-4B10-A189-E80D584B3FEB}"/>
              </a:ext>
            </a:extLst>
          </p:cNvPr>
          <p:cNvSpPr txBox="1"/>
          <p:nvPr/>
        </p:nvSpPr>
        <p:spPr>
          <a:xfrm>
            <a:off x="4652221" y="972272"/>
            <a:ext cx="2887558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3800" b="1" dirty="0">
                <a:latin typeface="Abadi Extra Light" panose="020B0204020104020204" pitchFamily="34" charset="0"/>
                <a:cs typeface="+mn-ea"/>
                <a:sym typeface="+mn-lt"/>
              </a:rPr>
              <a:t>03</a:t>
            </a:r>
          </a:p>
          <a:p>
            <a:pPr algn="ctr"/>
            <a:r>
              <a:rPr lang="en-US" altLang="zh-CN" sz="4000" b="1" dirty="0">
                <a:solidFill>
                  <a:schemeClr val="tx2"/>
                </a:solidFill>
                <a:latin typeface="Abadi Extra Light" panose="020B0204020104020204" pitchFamily="34" charset="0"/>
                <a:cs typeface="+mn-ea"/>
                <a:sym typeface="+mn-lt"/>
              </a:rPr>
              <a:t>Part three</a:t>
            </a:r>
            <a:endParaRPr lang="zh-CN" altLang="en-US" sz="4000" dirty="0">
              <a:solidFill>
                <a:schemeClr val="tx2"/>
              </a:solidFill>
              <a:latin typeface="Abadi Extra Light" panose="020B0204020104020204" pitchFamily="34" charset="0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822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2000">
        <p14:gallery dir="l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6" grpId="0" animBg="1"/>
      <p:bldP spid="17" grpId="0"/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图片占位符 3">
            <a:extLst>
              <a:ext uri="{FF2B5EF4-FFF2-40B4-BE49-F238E27FC236}">
                <a16:creationId xmlns:a16="http://schemas.microsoft.com/office/drawing/2014/main" id="{FE99343B-F9FC-445C-A415-FA630B67F4C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6095999" cy="6858000"/>
          </a:xfrm>
          <a:prstGeom prst="rect">
            <a:avLst/>
          </a:prstGeom>
        </p:spPr>
      </p:pic>
      <p:sp>
        <p:nvSpPr>
          <p:cNvPr id="101" name="任意多边形: 形状 100">
            <a:extLst>
              <a:ext uri="{FF2B5EF4-FFF2-40B4-BE49-F238E27FC236}">
                <a16:creationId xmlns:a16="http://schemas.microsoft.com/office/drawing/2014/main" id="{0F3A99BC-D6F3-4763-9118-CC1A764CC1F3}"/>
              </a:ext>
            </a:extLst>
          </p:cNvPr>
          <p:cNvSpPr/>
          <p:nvPr/>
        </p:nvSpPr>
        <p:spPr>
          <a:xfrm>
            <a:off x="1588" y="0"/>
            <a:ext cx="6094412" cy="6858001"/>
          </a:xfrm>
          <a:custGeom>
            <a:avLst/>
            <a:gdLst>
              <a:gd name="connsiteX0" fmla="*/ 2427775 w 6094412"/>
              <a:gd name="connsiteY0" fmla="*/ 3840202 h 6858001"/>
              <a:gd name="connsiteX1" fmla="*/ 5083624 w 6094412"/>
              <a:gd name="connsiteY1" fmla="*/ 6496052 h 6858001"/>
              <a:gd name="connsiteX2" fmla="*/ 5069912 w 6094412"/>
              <a:gd name="connsiteY2" fmla="*/ 6767597 h 6858001"/>
              <a:gd name="connsiteX3" fmla="*/ 5058425 w 6094412"/>
              <a:gd name="connsiteY3" fmla="*/ 6858001 h 6858001"/>
              <a:gd name="connsiteX4" fmla="*/ 1 w 6094412"/>
              <a:gd name="connsiteY4" fmla="*/ 6858001 h 6858001"/>
              <a:gd name="connsiteX5" fmla="*/ 1 w 6094412"/>
              <a:gd name="connsiteY5" fmla="*/ 5419439 h 6858001"/>
              <a:gd name="connsiteX6" fmla="*/ 33821 w 6094412"/>
              <a:gd name="connsiteY6" fmla="*/ 5344631 h 6858001"/>
              <a:gd name="connsiteX7" fmla="*/ 2427775 w 6094412"/>
              <a:gd name="connsiteY7" fmla="*/ 3840202 h 6858001"/>
              <a:gd name="connsiteX8" fmla="*/ 0 w 6094412"/>
              <a:gd name="connsiteY8" fmla="*/ 0 h 6858001"/>
              <a:gd name="connsiteX9" fmla="*/ 6094412 w 6094412"/>
              <a:gd name="connsiteY9" fmla="*/ 0 h 6858001"/>
              <a:gd name="connsiteX10" fmla="*/ 6094412 w 6094412"/>
              <a:gd name="connsiteY10" fmla="*/ 6496051 h 6858001"/>
              <a:gd name="connsiteX11" fmla="*/ 2427774 w 6094412"/>
              <a:gd name="connsiteY11" fmla="*/ 2829412 h 6858001"/>
              <a:gd name="connsiteX12" fmla="*/ 95451 w 6094412"/>
              <a:gd name="connsiteY12" fmla="*/ 3666694 h 6858001"/>
              <a:gd name="connsiteX13" fmla="*/ 0 w 6094412"/>
              <a:gd name="connsiteY13" fmla="*/ 374937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094412" h="6858001">
                <a:moveTo>
                  <a:pt x="2427775" y="3840202"/>
                </a:moveTo>
                <a:cubicBezTo>
                  <a:pt x="3894560" y="3840202"/>
                  <a:pt x="5083624" y="5029266"/>
                  <a:pt x="5083624" y="6496052"/>
                </a:cubicBezTo>
                <a:cubicBezTo>
                  <a:pt x="5083624" y="6587726"/>
                  <a:pt x="5078979" y="6678315"/>
                  <a:pt x="5069912" y="6767597"/>
                </a:cubicBezTo>
                <a:lnTo>
                  <a:pt x="5058425" y="6858001"/>
                </a:lnTo>
                <a:lnTo>
                  <a:pt x="1" y="6858001"/>
                </a:lnTo>
                <a:lnTo>
                  <a:pt x="1" y="5419439"/>
                </a:lnTo>
                <a:lnTo>
                  <a:pt x="33821" y="5344631"/>
                </a:lnTo>
                <a:cubicBezTo>
                  <a:pt x="462742" y="4454475"/>
                  <a:pt x="1373523" y="3840202"/>
                  <a:pt x="2427775" y="3840202"/>
                </a:cubicBezTo>
                <a:close/>
                <a:moveTo>
                  <a:pt x="0" y="0"/>
                </a:moveTo>
                <a:lnTo>
                  <a:pt x="6094412" y="0"/>
                </a:lnTo>
                <a:lnTo>
                  <a:pt x="6094412" y="6496051"/>
                </a:lnTo>
                <a:cubicBezTo>
                  <a:pt x="6094412" y="4471023"/>
                  <a:pt x="4452802" y="2829412"/>
                  <a:pt x="2427774" y="2829412"/>
                </a:cubicBezTo>
                <a:cubicBezTo>
                  <a:pt x="1541824" y="2829412"/>
                  <a:pt x="729263" y="3143627"/>
                  <a:pt x="95451" y="3666694"/>
                </a:cubicBezTo>
                <a:lnTo>
                  <a:pt x="0" y="3749376"/>
                </a:ln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>
              <a:cs typeface="+mn-ea"/>
              <a:sym typeface="+mn-lt"/>
            </a:endParaRPr>
          </a:p>
        </p:txBody>
      </p: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C1E452C9-C10B-434C-B576-796B04E2CEE4}"/>
              </a:ext>
            </a:extLst>
          </p:cNvPr>
          <p:cNvGrpSpPr/>
          <p:nvPr/>
        </p:nvGrpSpPr>
        <p:grpSpPr>
          <a:xfrm>
            <a:off x="4172981" y="722671"/>
            <a:ext cx="3808425" cy="1135626"/>
            <a:chOff x="4172981" y="722671"/>
            <a:chExt cx="3808425" cy="1135626"/>
          </a:xfrm>
        </p:grpSpPr>
        <p:sp>
          <p:nvSpPr>
            <p:cNvPr id="103" name="Rectangle 12">
              <a:extLst>
                <a:ext uri="{FF2B5EF4-FFF2-40B4-BE49-F238E27FC236}">
                  <a16:creationId xmlns:a16="http://schemas.microsoft.com/office/drawing/2014/main" id="{8140DE1D-D4CA-43BB-8A67-C30FB6F49046}"/>
                </a:ext>
              </a:extLst>
            </p:cNvPr>
            <p:cNvSpPr/>
            <p:nvPr/>
          </p:nvSpPr>
          <p:spPr>
            <a:xfrm>
              <a:off x="4313110" y="722671"/>
              <a:ext cx="3565781" cy="113562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cs typeface="+mn-ea"/>
                <a:sym typeface="+mn-lt"/>
              </a:endParaRPr>
            </a:p>
          </p:txBody>
        </p:sp>
        <p:sp>
          <p:nvSpPr>
            <p:cNvPr id="104" name="Subtitle 2">
              <a:extLst>
                <a:ext uri="{FF2B5EF4-FFF2-40B4-BE49-F238E27FC236}">
                  <a16:creationId xmlns:a16="http://schemas.microsoft.com/office/drawing/2014/main" id="{6341C54B-16FC-41D6-AC42-69640E8EAA41}"/>
                </a:ext>
              </a:extLst>
            </p:cNvPr>
            <p:cNvSpPr txBox="1">
              <a:spLocks/>
            </p:cNvSpPr>
            <p:nvPr/>
          </p:nvSpPr>
          <p:spPr>
            <a:xfrm>
              <a:off x="4172981" y="889332"/>
              <a:ext cx="3808425" cy="802305"/>
            </a:xfrm>
            <a:prstGeom prst="rect">
              <a:avLst/>
            </a:prstGeom>
          </p:spPr>
          <p:txBody>
            <a:bodyPr vert="horz" wrap="square" lIns="108745" tIns="54373" rIns="108745" bIns="54373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</a:pPr>
              <a:r>
                <a:rPr lang="en-US" altLang="zh-CN" sz="4500" dirty="0">
                  <a:solidFill>
                    <a:srgbClr val="FFFFFF"/>
                  </a:solidFill>
                  <a:latin typeface="+mn-lt"/>
                  <a:cs typeface="+mn-ea"/>
                  <a:sym typeface="+mn-lt"/>
                </a:rPr>
                <a:t>Add title text</a:t>
              </a:r>
              <a:endParaRPr lang="en-US" sz="4500" dirty="0">
                <a:solidFill>
                  <a:srgbClr val="FFFFFF"/>
                </a:solidFill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105" name="组合 104">
            <a:extLst>
              <a:ext uri="{FF2B5EF4-FFF2-40B4-BE49-F238E27FC236}">
                <a16:creationId xmlns:a16="http://schemas.microsoft.com/office/drawing/2014/main" id="{FE0B6F26-9286-4304-8804-F4F6DFF25858}"/>
              </a:ext>
            </a:extLst>
          </p:cNvPr>
          <p:cNvGrpSpPr/>
          <p:nvPr/>
        </p:nvGrpSpPr>
        <p:grpSpPr>
          <a:xfrm>
            <a:off x="6683375" y="2460095"/>
            <a:ext cx="644525" cy="644525"/>
            <a:chOff x="6556375" y="2726807"/>
            <a:chExt cx="644525" cy="644525"/>
          </a:xfrm>
        </p:grpSpPr>
        <p:sp>
          <p:nvSpPr>
            <p:cNvPr id="106" name="Oval 14">
              <a:extLst>
                <a:ext uri="{FF2B5EF4-FFF2-40B4-BE49-F238E27FC236}">
                  <a16:creationId xmlns:a16="http://schemas.microsoft.com/office/drawing/2014/main" id="{ABF670A3-525F-4549-8994-16B7A7DB2AC4}"/>
                </a:ext>
              </a:extLst>
            </p:cNvPr>
            <p:cNvSpPr/>
            <p:nvPr/>
          </p:nvSpPr>
          <p:spPr>
            <a:xfrm>
              <a:off x="6556375" y="2726807"/>
              <a:ext cx="644525" cy="6445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cs typeface="+mn-ea"/>
                <a:sym typeface="+mn-lt"/>
              </a:endParaRPr>
            </a:p>
          </p:txBody>
        </p:sp>
        <p:grpSp>
          <p:nvGrpSpPr>
            <p:cNvPr id="107" name="Group 216">
              <a:extLst>
                <a:ext uri="{FF2B5EF4-FFF2-40B4-BE49-F238E27FC236}">
                  <a16:creationId xmlns:a16="http://schemas.microsoft.com/office/drawing/2014/main" id="{26C31A8F-BBEF-4361-8F7D-AA2F83EACDDE}"/>
                </a:ext>
              </a:extLst>
            </p:cNvPr>
            <p:cNvGrpSpPr/>
            <p:nvPr/>
          </p:nvGrpSpPr>
          <p:grpSpPr>
            <a:xfrm>
              <a:off x="6696044" y="2939689"/>
              <a:ext cx="365188" cy="218769"/>
              <a:chOff x="1775548" y="1990596"/>
              <a:chExt cx="621122" cy="372088"/>
            </a:xfrm>
            <a:noFill/>
          </p:grpSpPr>
          <p:sp>
            <p:nvSpPr>
              <p:cNvPr id="108" name="Freeform 226">
                <a:extLst>
                  <a:ext uri="{FF2B5EF4-FFF2-40B4-BE49-F238E27FC236}">
                    <a16:creationId xmlns:a16="http://schemas.microsoft.com/office/drawing/2014/main" id="{44C0CAC4-53B1-4C50-8EC4-66BAFDD7B6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5548" y="1990598"/>
                <a:ext cx="621122" cy="372086"/>
              </a:xfrm>
              <a:custGeom>
                <a:avLst/>
                <a:gdLst>
                  <a:gd name="T0" fmla="*/ 933 w 934"/>
                  <a:gd name="T1" fmla="*/ 559 h 560"/>
                  <a:gd name="T2" fmla="*/ 0 w 934"/>
                  <a:gd name="T3" fmla="*/ 559 h 560"/>
                  <a:gd name="T4" fmla="*/ 0 w 934"/>
                  <a:gd name="T5" fmla="*/ 0 h 560"/>
                  <a:gd name="T6" fmla="*/ 933 w 934"/>
                  <a:gd name="T7" fmla="*/ 0 h 560"/>
                  <a:gd name="T8" fmla="*/ 933 w 934"/>
                  <a:gd name="T9" fmla="*/ 559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4" h="560">
                    <a:moveTo>
                      <a:pt x="933" y="559"/>
                    </a:moveTo>
                    <a:lnTo>
                      <a:pt x="0" y="559"/>
                    </a:lnTo>
                    <a:lnTo>
                      <a:pt x="0" y="0"/>
                    </a:lnTo>
                    <a:lnTo>
                      <a:pt x="933" y="0"/>
                    </a:lnTo>
                    <a:lnTo>
                      <a:pt x="933" y="559"/>
                    </a:lnTo>
                  </a:path>
                </a:pathLst>
              </a:custGeom>
              <a:grpFill/>
              <a:ln w="34290" cap="flat">
                <a:solidFill>
                  <a:srgbClr val="FFFFFF"/>
                </a:solidFill>
                <a:bevel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cs typeface="+mn-ea"/>
                  <a:sym typeface="+mn-lt"/>
                </a:endParaRPr>
              </a:p>
            </p:txBody>
          </p:sp>
          <p:sp>
            <p:nvSpPr>
              <p:cNvPr id="109" name="Freeform 227">
                <a:extLst>
                  <a:ext uri="{FF2B5EF4-FFF2-40B4-BE49-F238E27FC236}">
                    <a16:creationId xmlns:a16="http://schemas.microsoft.com/office/drawing/2014/main" id="{D18C57C6-58D6-4826-B647-1976E2B11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5548" y="1990596"/>
                <a:ext cx="621122" cy="199228"/>
              </a:xfrm>
              <a:custGeom>
                <a:avLst/>
                <a:gdLst>
                  <a:gd name="T0" fmla="*/ 0 w 934"/>
                  <a:gd name="T1" fmla="*/ 0 h 299"/>
                  <a:gd name="T2" fmla="*/ 463 w 934"/>
                  <a:gd name="T3" fmla="*/ 298 h 299"/>
                  <a:gd name="T4" fmla="*/ 933 w 934"/>
                  <a:gd name="T5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34" h="299">
                    <a:moveTo>
                      <a:pt x="0" y="0"/>
                    </a:moveTo>
                    <a:lnTo>
                      <a:pt x="463" y="298"/>
                    </a:lnTo>
                    <a:lnTo>
                      <a:pt x="933" y="0"/>
                    </a:lnTo>
                  </a:path>
                </a:pathLst>
              </a:custGeom>
              <a:grpFill/>
              <a:ln w="34290" cap="flat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900" dirty="0">
                  <a:cs typeface="+mn-ea"/>
                  <a:sym typeface="+mn-lt"/>
                </a:endParaRPr>
              </a:p>
            </p:txBody>
          </p:sp>
        </p:grpSp>
      </p:grpSp>
      <p:sp>
        <p:nvSpPr>
          <p:cNvPr id="110" name="添加标题">
            <a:extLst>
              <a:ext uri="{FF2B5EF4-FFF2-40B4-BE49-F238E27FC236}">
                <a16:creationId xmlns:a16="http://schemas.microsoft.com/office/drawing/2014/main" id="{0B8101A0-DCA9-4021-BB99-70751F3E515F}"/>
              </a:ext>
            </a:extLst>
          </p:cNvPr>
          <p:cNvSpPr txBox="1"/>
          <p:nvPr/>
        </p:nvSpPr>
        <p:spPr>
          <a:xfrm>
            <a:off x="7594569" y="2127466"/>
            <a:ext cx="3797300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pSp>
        <p:nvGrpSpPr>
          <p:cNvPr id="111" name="组合 110">
            <a:extLst>
              <a:ext uri="{FF2B5EF4-FFF2-40B4-BE49-F238E27FC236}">
                <a16:creationId xmlns:a16="http://schemas.microsoft.com/office/drawing/2014/main" id="{8F231140-934E-4A5A-BE0E-25C7E4633EAE}"/>
              </a:ext>
            </a:extLst>
          </p:cNvPr>
          <p:cNvGrpSpPr/>
          <p:nvPr/>
        </p:nvGrpSpPr>
        <p:grpSpPr>
          <a:xfrm>
            <a:off x="6683375" y="3881547"/>
            <a:ext cx="644525" cy="644525"/>
            <a:chOff x="6556375" y="4015857"/>
            <a:chExt cx="644525" cy="644525"/>
          </a:xfrm>
        </p:grpSpPr>
        <p:sp>
          <p:nvSpPr>
            <p:cNvPr id="112" name="Oval 222">
              <a:extLst>
                <a:ext uri="{FF2B5EF4-FFF2-40B4-BE49-F238E27FC236}">
                  <a16:creationId xmlns:a16="http://schemas.microsoft.com/office/drawing/2014/main" id="{C81ADBAA-7BA8-4CDC-A399-13C6CCE3DFAF}"/>
                </a:ext>
              </a:extLst>
            </p:cNvPr>
            <p:cNvSpPr/>
            <p:nvPr/>
          </p:nvSpPr>
          <p:spPr>
            <a:xfrm>
              <a:off x="6556375" y="4015857"/>
              <a:ext cx="644525" cy="64452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cs typeface="+mn-ea"/>
                <a:sym typeface="+mn-lt"/>
              </a:endParaRPr>
            </a:p>
          </p:txBody>
        </p:sp>
        <p:sp>
          <p:nvSpPr>
            <p:cNvPr id="113" name="Shape 2547">
              <a:extLst>
                <a:ext uri="{FF2B5EF4-FFF2-40B4-BE49-F238E27FC236}">
                  <a16:creationId xmlns:a16="http://schemas.microsoft.com/office/drawing/2014/main" id="{10F8E37B-A879-47E5-8CA2-99061DB4B97A}"/>
                </a:ext>
              </a:extLst>
            </p:cNvPr>
            <p:cNvSpPr/>
            <p:nvPr/>
          </p:nvSpPr>
          <p:spPr>
            <a:xfrm>
              <a:off x="6680809" y="4140291"/>
              <a:ext cx="395657" cy="3956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73" y="17379"/>
                  </a:moveTo>
                  <a:lnTo>
                    <a:pt x="15643" y="14949"/>
                  </a:lnTo>
                  <a:cubicBezTo>
                    <a:pt x="16600" y="13832"/>
                    <a:pt x="17182" y="12386"/>
                    <a:pt x="17182" y="10800"/>
                  </a:cubicBezTo>
                  <a:cubicBezTo>
                    <a:pt x="17182" y="9214"/>
                    <a:pt x="16600" y="7767"/>
                    <a:pt x="15643" y="6651"/>
                  </a:cubicBezTo>
                  <a:lnTo>
                    <a:pt x="18073" y="4221"/>
                  </a:lnTo>
                  <a:cubicBezTo>
                    <a:pt x="19649" y="5963"/>
                    <a:pt x="20618" y="8266"/>
                    <a:pt x="20618" y="10800"/>
                  </a:cubicBezTo>
                  <a:cubicBezTo>
                    <a:pt x="20618" y="13335"/>
                    <a:pt x="19649" y="15637"/>
                    <a:pt x="18073" y="17379"/>
                  </a:cubicBezTo>
                  <a:moveTo>
                    <a:pt x="10800" y="20619"/>
                  </a:moveTo>
                  <a:cubicBezTo>
                    <a:pt x="8265" y="20619"/>
                    <a:pt x="5963" y="19650"/>
                    <a:pt x="4221" y="18073"/>
                  </a:cubicBezTo>
                  <a:lnTo>
                    <a:pt x="6651" y="15643"/>
                  </a:lnTo>
                  <a:cubicBezTo>
                    <a:pt x="7767" y="16600"/>
                    <a:pt x="9214" y="17182"/>
                    <a:pt x="10800" y="17182"/>
                  </a:cubicBezTo>
                  <a:cubicBezTo>
                    <a:pt x="12386" y="17182"/>
                    <a:pt x="13833" y="16600"/>
                    <a:pt x="14949" y="15643"/>
                  </a:cubicBezTo>
                  <a:lnTo>
                    <a:pt x="17379" y="18073"/>
                  </a:lnTo>
                  <a:cubicBezTo>
                    <a:pt x="15637" y="19650"/>
                    <a:pt x="13334" y="20619"/>
                    <a:pt x="10800" y="20619"/>
                  </a:cubicBezTo>
                  <a:moveTo>
                    <a:pt x="982" y="10800"/>
                  </a:moveTo>
                  <a:cubicBezTo>
                    <a:pt x="982" y="8266"/>
                    <a:pt x="1950" y="5963"/>
                    <a:pt x="3527" y="4221"/>
                  </a:cubicBezTo>
                  <a:lnTo>
                    <a:pt x="5957" y="6651"/>
                  </a:lnTo>
                  <a:cubicBezTo>
                    <a:pt x="4999" y="7767"/>
                    <a:pt x="4418" y="9214"/>
                    <a:pt x="4418" y="10800"/>
                  </a:cubicBezTo>
                  <a:cubicBezTo>
                    <a:pt x="4418" y="12386"/>
                    <a:pt x="4999" y="13832"/>
                    <a:pt x="5957" y="14949"/>
                  </a:cubicBezTo>
                  <a:lnTo>
                    <a:pt x="3527" y="17379"/>
                  </a:lnTo>
                  <a:cubicBezTo>
                    <a:pt x="1950" y="15637"/>
                    <a:pt x="982" y="13335"/>
                    <a:pt x="982" y="10800"/>
                  </a:cubicBezTo>
                  <a:moveTo>
                    <a:pt x="16200" y="10800"/>
                  </a:moveTo>
                  <a:cubicBezTo>
                    <a:pt x="16200" y="13782"/>
                    <a:pt x="13782" y="16200"/>
                    <a:pt x="10800" y="16200"/>
                  </a:cubicBezTo>
                  <a:cubicBezTo>
                    <a:pt x="7817" y="16200"/>
                    <a:pt x="5400" y="13782"/>
                    <a:pt x="5400" y="10800"/>
                  </a:cubicBez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400"/>
                    <a:pt x="16200" y="7817"/>
                    <a:pt x="16200" y="10800"/>
                  </a:cubicBezTo>
                  <a:moveTo>
                    <a:pt x="10800" y="982"/>
                  </a:moveTo>
                  <a:cubicBezTo>
                    <a:pt x="13334" y="982"/>
                    <a:pt x="15637" y="1950"/>
                    <a:pt x="17379" y="3527"/>
                  </a:cubicBezTo>
                  <a:lnTo>
                    <a:pt x="14949" y="5957"/>
                  </a:lnTo>
                  <a:cubicBezTo>
                    <a:pt x="13832" y="4999"/>
                    <a:pt x="12386" y="4418"/>
                    <a:pt x="10800" y="4418"/>
                  </a:cubicBezTo>
                  <a:cubicBezTo>
                    <a:pt x="9214" y="4418"/>
                    <a:pt x="7767" y="4999"/>
                    <a:pt x="6651" y="5957"/>
                  </a:cubicBezTo>
                  <a:lnTo>
                    <a:pt x="4221" y="3527"/>
                  </a:lnTo>
                  <a:cubicBezTo>
                    <a:pt x="5963" y="1950"/>
                    <a:pt x="8265" y="982"/>
                    <a:pt x="10800" y="982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4" y="21600"/>
                    <a:pt x="21600" y="1676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solidFill>
              <a:srgbClr val="FFFFFF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 dirty="0">
                <a:cs typeface="+mn-ea"/>
                <a:sym typeface="+mn-lt"/>
              </a:endParaRPr>
            </a:p>
          </p:txBody>
        </p:sp>
      </p:grpSp>
      <p:sp>
        <p:nvSpPr>
          <p:cNvPr id="114" name="添加标题">
            <a:extLst>
              <a:ext uri="{FF2B5EF4-FFF2-40B4-BE49-F238E27FC236}">
                <a16:creationId xmlns:a16="http://schemas.microsoft.com/office/drawing/2014/main" id="{60DE769C-4F8C-4168-971F-4EF9097A0F62}"/>
              </a:ext>
            </a:extLst>
          </p:cNvPr>
          <p:cNvSpPr txBox="1"/>
          <p:nvPr/>
        </p:nvSpPr>
        <p:spPr>
          <a:xfrm>
            <a:off x="7594569" y="3548918"/>
            <a:ext cx="3797300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pSp>
        <p:nvGrpSpPr>
          <p:cNvPr id="115" name="组合 114">
            <a:extLst>
              <a:ext uri="{FF2B5EF4-FFF2-40B4-BE49-F238E27FC236}">
                <a16:creationId xmlns:a16="http://schemas.microsoft.com/office/drawing/2014/main" id="{7D8FED14-31AF-43AD-8AAE-1882958A1F95}"/>
              </a:ext>
            </a:extLst>
          </p:cNvPr>
          <p:cNvGrpSpPr/>
          <p:nvPr/>
        </p:nvGrpSpPr>
        <p:grpSpPr>
          <a:xfrm>
            <a:off x="6683375" y="5302998"/>
            <a:ext cx="644525" cy="644525"/>
            <a:chOff x="6556375" y="5278600"/>
            <a:chExt cx="644525" cy="644525"/>
          </a:xfrm>
        </p:grpSpPr>
        <p:sp>
          <p:nvSpPr>
            <p:cNvPr id="116" name="Oval 223">
              <a:extLst>
                <a:ext uri="{FF2B5EF4-FFF2-40B4-BE49-F238E27FC236}">
                  <a16:creationId xmlns:a16="http://schemas.microsoft.com/office/drawing/2014/main" id="{63873D7F-1A6F-4468-A475-52FAFBED6B06}"/>
                </a:ext>
              </a:extLst>
            </p:cNvPr>
            <p:cNvSpPr/>
            <p:nvPr/>
          </p:nvSpPr>
          <p:spPr>
            <a:xfrm>
              <a:off x="6556375" y="5278600"/>
              <a:ext cx="644525" cy="64452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cs typeface="+mn-ea"/>
                <a:sym typeface="+mn-lt"/>
              </a:endParaRPr>
            </a:p>
          </p:txBody>
        </p:sp>
        <p:sp>
          <p:nvSpPr>
            <p:cNvPr id="117" name="Shape 2550">
              <a:extLst>
                <a:ext uri="{FF2B5EF4-FFF2-40B4-BE49-F238E27FC236}">
                  <a16:creationId xmlns:a16="http://schemas.microsoft.com/office/drawing/2014/main" id="{3A64B8BC-D3DE-4ED6-BE5B-CBBA32F081AD}"/>
                </a:ext>
              </a:extLst>
            </p:cNvPr>
            <p:cNvSpPr/>
            <p:nvPr/>
          </p:nvSpPr>
          <p:spPr>
            <a:xfrm>
              <a:off x="6735941" y="5439740"/>
              <a:ext cx="314285" cy="314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109" y="7364"/>
                  </a:moveTo>
                  <a:cubicBezTo>
                    <a:pt x="20838" y="7364"/>
                    <a:pt x="20618" y="7584"/>
                    <a:pt x="20618" y="7855"/>
                  </a:cubicBezTo>
                  <a:lnTo>
                    <a:pt x="20618" y="18655"/>
                  </a:lnTo>
                  <a:cubicBezTo>
                    <a:pt x="20618" y="19739"/>
                    <a:pt x="19739" y="20618"/>
                    <a:pt x="18655" y="20618"/>
                  </a:cubicBezTo>
                  <a:lnTo>
                    <a:pt x="2945" y="20618"/>
                  </a:lnTo>
                  <a:cubicBezTo>
                    <a:pt x="1861" y="20618"/>
                    <a:pt x="982" y="19739"/>
                    <a:pt x="982" y="18655"/>
                  </a:cubicBezTo>
                  <a:lnTo>
                    <a:pt x="982" y="2945"/>
                  </a:lnTo>
                  <a:cubicBezTo>
                    <a:pt x="982" y="1861"/>
                    <a:pt x="1861" y="982"/>
                    <a:pt x="2945" y="982"/>
                  </a:cubicBezTo>
                  <a:lnTo>
                    <a:pt x="13745" y="982"/>
                  </a:lnTo>
                  <a:cubicBezTo>
                    <a:pt x="14017" y="982"/>
                    <a:pt x="14236" y="762"/>
                    <a:pt x="14236" y="491"/>
                  </a:cubicBezTo>
                  <a:cubicBezTo>
                    <a:pt x="14236" y="220"/>
                    <a:pt x="14017" y="0"/>
                    <a:pt x="13745" y="0"/>
                  </a:cubicBezTo>
                  <a:lnTo>
                    <a:pt x="2945" y="0"/>
                  </a:lnTo>
                  <a:cubicBezTo>
                    <a:pt x="1318" y="0"/>
                    <a:pt x="0" y="1319"/>
                    <a:pt x="0" y="2945"/>
                  </a:cubicBezTo>
                  <a:lnTo>
                    <a:pt x="0" y="18655"/>
                  </a:lnTo>
                  <a:cubicBezTo>
                    <a:pt x="0" y="20282"/>
                    <a:pt x="1318" y="21600"/>
                    <a:pt x="2945" y="21600"/>
                  </a:cubicBezTo>
                  <a:lnTo>
                    <a:pt x="18655" y="21600"/>
                  </a:lnTo>
                  <a:cubicBezTo>
                    <a:pt x="20282" y="21600"/>
                    <a:pt x="21600" y="20282"/>
                    <a:pt x="21600" y="18655"/>
                  </a:cubicBezTo>
                  <a:lnTo>
                    <a:pt x="21600" y="7855"/>
                  </a:lnTo>
                  <a:cubicBezTo>
                    <a:pt x="21600" y="7584"/>
                    <a:pt x="21380" y="7364"/>
                    <a:pt x="21109" y="7364"/>
                  </a:cubicBezTo>
                  <a:moveTo>
                    <a:pt x="7006" y="12764"/>
                  </a:moveTo>
                  <a:lnTo>
                    <a:pt x="8836" y="12764"/>
                  </a:lnTo>
                  <a:lnTo>
                    <a:pt x="8836" y="14594"/>
                  </a:lnTo>
                  <a:lnTo>
                    <a:pt x="6627" y="14973"/>
                  </a:lnTo>
                  <a:cubicBezTo>
                    <a:pt x="6627" y="14973"/>
                    <a:pt x="7006" y="12764"/>
                    <a:pt x="7006" y="12764"/>
                  </a:cubicBezTo>
                  <a:close/>
                  <a:moveTo>
                    <a:pt x="16775" y="2742"/>
                  </a:moveTo>
                  <a:lnTo>
                    <a:pt x="18858" y="4825"/>
                  </a:lnTo>
                  <a:lnTo>
                    <a:pt x="9818" y="13865"/>
                  </a:lnTo>
                  <a:lnTo>
                    <a:pt x="9818" y="11782"/>
                  </a:lnTo>
                  <a:lnTo>
                    <a:pt x="7736" y="11782"/>
                  </a:lnTo>
                  <a:cubicBezTo>
                    <a:pt x="7736" y="11782"/>
                    <a:pt x="16775" y="2742"/>
                    <a:pt x="16775" y="2742"/>
                  </a:cubicBezTo>
                  <a:close/>
                  <a:moveTo>
                    <a:pt x="18104" y="1414"/>
                  </a:moveTo>
                  <a:cubicBezTo>
                    <a:pt x="18371" y="1147"/>
                    <a:pt x="18739" y="982"/>
                    <a:pt x="19145" y="982"/>
                  </a:cubicBezTo>
                  <a:cubicBezTo>
                    <a:pt x="19959" y="982"/>
                    <a:pt x="20618" y="1642"/>
                    <a:pt x="20618" y="2455"/>
                  </a:cubicBezTo>
                  <a:cubicBezTo>
                    <a:pt x="20618" y="2861"/>
                    <a:pt x="20453" y="3230"/>
                    <a:pt x="20187" y="3496"/>
                  </a:cubicBezTo>
                  <a:lnTo>
                    <a:pt x="19552" y="4131"/>
                  </a:lnTo>
                  <a:lnTo>
                    <a:pt x="17469" y="2048"/>
                  </a:lnTo>
                  <a:cubicBezTo>
                    <a:pt x="17469" y="2048"/>
                    <a:pt x="18104" y="1414"/>
                    <a:pt x="18104" y="1414"/>
                  </a:cubicBezTo>
                  <a:close/>
                  <a:moveTo>
                    <a:pt x="5400" y="16200"/>
                  </a:moveTo>
                  <a:lnTo>
                    <a:pt x="9590" y="15481"/>
                  </a:lnTo>
                  <a:lnTo>
                    <a:pt x="20881" y="4190"/>
                  </a:lnTo>
                  <a:cubicBezTo>
                    <a:pt x="21325" y="3746"/>
                    <a:pt x="21600" y="3133"/>
                    <a:pt x="21600" y="2455"/>
                  </a:cubicBezTo>
                  <a:cubicBezTo>
                    <a:pt x="21600" y="1099"/>
                    <a:pt x="20501" y="0"/>
                    <a:pt x="19145" y="0"/>
                  </a:cubicBezTo>
                  <a:cubicBezTo>
                    <a:pt x="18468" y="0"/>
                    <a:pt x="17854" y="275"/>
                    <a:pt x="17410" y="719"/>
                  </a:cubicBezTo>
                  <a:lnTo>
                    <a:pt x="6119" y="12010"/>
                  </a:lnTo>
                  <a:cubicBezTo>
                    <a:pt x="6119" y="12010"/>
                    <a:pt x="5400" y="16200"/>
                    <a:pt x="5400" y="16200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miter lim="400000"/>
            </a:ln>
          </p:spPr>
          <p:txBody>
            <a:bodyPr lIns="19045" tIns="19045" rIns="19045" bIns="19045" anchor="ctr"/>
            <a:lstStyle/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 dirty="0">
                <a:cs typeface="+mn-ea"/>
                <a:sym typeface="+mn-lt"/>
              </a:endParaRPr>
            </a:p>
          </p:txBody>
        </p:sp>
      </p:grpSp>
      <p:sp>
        <p:nvSpPr>
          <p:cNvPr id="118" name="添加标题">
            <a:extLst>
              <a:ext uri="{FF2B5EF4-FFF2-40B4-BE49-F238E27FC236}">
                <a16:creationId xmlns:a16="http://schemas.microsoft.com/office/drawing/2014/main" id="{F0DEE7AC-C992-4EB9-8107-D3C5C8A56099}"/>
              </a:ext>
            </a:extLst>
          </p:cNvPr>
          <p:cNvSpPr txBox="1"/>
          <p:nvPr/>
        </p:nvSpPr>
        <p:spPr>
          <a:xfrm>
            <a:off x="7594569" y="4970369"/>
            <a:ext cx="3797300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487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000">
        <p:fade/>
      </p:transition>
    </mc:Choice>
    <mc:Fallback xmlns="">
      <p:transition spd="med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10" grpId="0"/>
      <p:bldP spid="114" grpId="0"/>
      <p:bldP spid="11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74545A-610C-47B9-850E-6356311417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sp>
        <p:nvSpPr>
          <p:cNvPr id="58" name="Freeform 6">
            <a:extLst>
              <a:ext uri="{FF2B5EF4-FFF2-40B4-BE49-F238E27FC236}">
                <a16:creationId xmlns:a16="http://schemas.microsoft.com/office/drawing/2014/main" id="{D8117210-F2B1-4A61-BCCA-3AD0DA51CA39}"/>
              </a:ext>
            </a:extLst>
          </p:cNvPr>
          <p:cNvSpPr>
            <a:spLocks/>
          </p:cNvSpPr>
          <p:nvPr/>
        </p:nvSpPr>
        <p:spPr bwMode="auto">
          <a:xfrm flipH="1">
            <a:off x="7406884" y="1207545"/>
            <a:ext cx="771043" cy="1695779"/>
          </a:xfrm>
          <a:custGeom>
            <a:avLst/>
            <a:gdLst>
              <a:gd name="T0" fmla="*/ 493 w 698"/>
              <a:gd name="T1" fmla="*/ 204 h 1395"/>
              <a:gd name="T2" fmla="*/ 0 w 698"/>
              <a:gd name="T3" fmla="*/ 0 h 1395"/>
              <a:gd name="T4" fmla="*/ 0 w 698"/>
              <a:gd name="T5" fmla="*/ 86 h 1395"/>
              <a:gd name="T6" fmla="*/ 432 w 698"/>
              <a:gd name="T7" fmla="*/ 265 h 1395"/>
              <a:gd name="T8" fmla="*/ 611 w 698"/>
              <a:gd name="T9" fmla="*/ 697 h 1395"/>
              <a:gd name="T10" fmla="*/ 432 w 698"/>
              <a:gd name="T11" fmla="*/ 1130 h 1395"/>
              <a:gd name="T12" fmla="*/ 0 w 698"/>
              <a:gd name="T13" fmla="*/ 1309 h 1395"/>
              <a:gd name="T14" fmla="*/ 0 w 698"/>
              <a:gd name="T15" fmla="*/ 1395 h 1395"/>
              <a:gd name="T16" fmla="*/ 493 w 698"/>
              <a:gd name="T17" fmla="*/ 1191 h 1395"/>
              <a:gd name="T18" fmla="*/ 698 w 698"/>
              <a:gd name="T19" fmla="*/ 697 h 1395"/>
              <a:gd name="T20" fmla="*/ 493 w 698"/>
              <a:gd name="T21" fmla="*/ 204 h 1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98" h="1395">
                <a:moveTo>
                  <a:pt x="493" y="204"/>
                </a:moveTo>
                <a:cubicBezTo>
                  <a:pt x="361" y="72"/>
                  <a:pt x="186" y="0"/>
                  <a:pt x="0" y="0"/>
                </a:cubicBezTo>
                <a:cubicBezTo>
                  <a:pt x="0" y="86"/>
                  <a:pt x="0" y="86"/>
                  <a:pt x="0" y="86"/>
                </a:cubicBezTo>
                <a:cubicBezTo>
                  <a:pt x="163" y="86"/>
                  <a:pt x="317" y="150"/>
                  <a:pt x="432" y="265"/>
                </a:cubicBezTo>
                <a:cubicBezTo>
                  <a:pt x="548" y="381"/>
                  <a:pt x="611" y="534"/>
                  <a:pt x="611" y="697"/>
                </a:cubicBezTo>
                <a:cubicBezTo>
                  <a:pt x="611" y="861"/>
                  <a:pt x="548" y="1014"/>
                  <a:pt x="432" y="1130"/>
                </a:cubicBezTo>
                <a:cubicBezTo>
                  <a:pt x="317" y="1245"/>
                  <a:pt x="163" y="1309"/>
                  <a:pt x="0" y="1309"/>
                </a:cubicBezTo>
                <a:cubicBezTo>
                  <a:pt x="0" y="1395"/>
                  <a:pt x="0" y="1395"/>
                  <a:pt x="0" y="1395"/>
                </a:cubicBezTo>
                <a:cubicBezTo>
                  <a:pt x="186" y="1395"/>
                  <a:pt x="361" y="1323"/>
                  <a:pt x="493" y="1191"/>
                </a:cubicBezTo>
                <a:cubicBezTo>
                  <a:pt x="625" y="1059"/>
                  <a:pt x="698" y="884"/>
                  <a:pt x="698" y="697"/>
                </a:cubicBezTo>
                <a:cubicBezTo>
                  <a:pt x="698" y="511"/>
                  <a:pt x="625" y="336"/>
                  <a:pt x="493" y="20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cs typeface="+mn-ea"/>
              <a:sym typeface="+mn-lt"/>
            </a:endParaRPr>
          </a:p>
        </p:txBody>
      </p:sp>
      <p:sp>
        <p:nvSpPr>
          <p:cNvPr id="59" name="Freeform 6">
            <a:extLst>
              <a:ext uri="{FF2B5EF4-FFF2-40B4-BE49-F238E27FC236}">
                <a16:creationId xmlns:a16="http://schemas.microsoft.com/office/drawing/2014/main" id="{E0C15544-44A5-41C9-B3DA-472B20B5046B}"/>
              </a:ext>
            </a:extLst>
          </p:cNvPr>
          <p:cNvSpPr>
            <a:spLocks/>
          </p:cNvSpPr>
          <p:nvPr/>
        </p:nvSpPr>
        <p:spPr bwMode="auto">
          <a:xfrm flipH="1">
            <a:off x="7406884" y="3005820"/>
            <a:ext cx="771043" cy="1695779"/>
          </a:xfrm>
          <a:custGeom>
            <a:avLst/>
            <a:gdLst>
              <a:gd name="T0" fmla="*/ 493 w 698"/>
              <a:gd name="T1" fmla="*/ 204 h 1395"/>
              <a:gd name="T2" fmla="*/ 0 w 698"/>
              <a:gd name="T3" fmla="*/ 0 h 1395"/>
              <a:gd name="T4" fmla="*/ 0 w 698"/>
              <a:gd name="T5" fmla="*/ 86 h 1395"/>
              <a:gd name="T6" fmla="*/ 432 w 698"/>
              <a:gd name="T7" fmla="*/ 265 h 1395"/>
              <a:gd name="T8" fmla="*/ 611 w 698"/>
              <a:gd name="T9" fmla="*/ 697 h 1395"/>
              <a:gd name="T10" fmla="*/ 432 w 698"/>
              <a:gd name="T11" fmla="*/ 1130 h 1395"/>
              <a:gd name="T12" fmla="*/ 0 w 698"/>
              <a:gd name="T13" fmla="*/ 1309 h 1395"/>
              <a:gd name="T14" fmla="*/ 0 w 698"/>
              <a:gd name="T15" fmla="*/ 1395 h 1395"/>
              <a:gd name="T16" fmla="*/ 493 w 698"/>
              <a:gd name="T17" fmla="*/ 1191 h 1395"/>
              <a:gd name="T18" fmla="*/ 698 w 698"/>
              <a:gd name="T19" fmla="*/ 697 h 1395"/>
              <a:gd name="T20" fmla="*/ 493 w 698"/>
              <a:gd name="T21" fmla="*/ 204 h 1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98" h="1395">
                <a:moveTo>
                  <a:pt x="493" y="204"/>
                </a:moveTo>
                <a:cubicBezTo>
                  <a:pt x="361" y="72"/>
                  <a:pt x="186" y="0"/>
                  <a:pt x="0" y="0"/>
                </a:cubicBezTo>
                <a:cubicBezTo>
                  <a:pt x="0" y="86"/>
                  <a:pt x="0" y="86"/>
                  <a:pt x="0" y="86"/>
                </a:cubicBezTo>
                <a:cubicBezTo>
                  <a:pt x="163" y="86"/>
                  <a:pt x="317" y="150"/>
                  <a:pt x="432" y="265"/>
                </a:cubicBezTo>
                <a:cubicBezTo>
                  <a:pt x="548" y="381"/>
                  <a:pt x="611" y="534"/>
                  <a:pt x="611" y="697"/>
                </a:cubicBezTo>
                <a:cubicBezTo>
                  <a:pt x="611" y="861"/>
                  <a:pt x="548" y="1014"/>
                  <a:pt x="432" y="1130"/>
                </a:cubicBezTo>
                <a:cubicBezTo>
                  <a:pt x="317" y="1245"/>
                  <a:pt x="163" y="1309"/>
                  <a:pt x="0" y="1309"/>
                </a:cubicBezTo>
                <a:cubicBezTo>
                  <a:pt x="0" y="1395"/>
                  <a:pt x="0" y="1395"/>
                  <a:pt x="0" y="1395"/>
                </a:cubicBezTo>
                <a:cubicBezTo>
                  <a:pt x="186" y="1395"/>
                  <a:pt x="361" y="1323"/>
                  <a:pt x="493" y="1191"/>
                </a:cubicBezTo>
                <a:cubicBezTo>
                  <a:pt x="625" y="1059"/>
                  <a:pt x="698" y="884"/>
                  <a:pt x="698" y="697"/>
                </a:cubicBezTo>
                <a:cubicBezTo>
                  <a:pt x="698" y="511"/>
                  <a:pt x="625" y="336"/>
                  <a:pt x="493" y="20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cs typeface="+mn-ea"/>
              <a:sym typeface="+mn-lt"/>
            </a:endParaRPr>
          </a:p>
        </p:txBody>
      </p:sp>
      <p:sp>
        <p:nvSpPr>
          <p:cNvPr id="60" name="Freeform 6">
            <a:extLst>
              <a:ext uri="{FF2B5EF4-FFF2-40B4-BE49-F238E27FC236}">
                <a16:creationId xmlns:a16="http://schemas.microsoft.com/office/drawing/2014/main" id="{7AC21193-A966-4944-B5D5-87A779FC568A}"/>
              </a:ext>
            </a:extLst>
          </p:cNvPr>
          <p:cNvSpPr>
            <a:spLocks/>
          </p:cNvSpPr>
          <p:nvPr/>
        </p:nvSpPr>
        <p:spPr bwMode="auto">
          <a:xfrm flipH="1">
            <a:off x="7406884" y="4880152"/>
            <a:ext cx="771043" cy="1695779"/>
          </a:xfrm>
          <a:custGeom>
            <a:avLst/>
            <a:gdLst>
              <a:gd name="T0" fmla="*/ 493 w 698"/>
              <a:gd name="T1" fmla="*/ 204 h 1395"/>
              <a:gd name="T2" fmla="*/ 0 w 698"/>
              <a:gd name="T3" fmla="*/ 0 h 1395"/>
              <a:gd name="T4" fmla="*/ 0 w 698"/>
              <a:gd name="T5" fmla="*/ 86 h 1395"/>
              <a:gd name="T6" fmla="*/ 432 w 698"/>
              <a:gd name="T7" fmla="*/ 265 h 1395"/>
              <a:gd name="T8" fmla="*/ 611 w 698"/>
              <a:gd name="T9" fmla="*/ 697 h 1395"/>
              <a:gd name="T10" fmla="*/ 432 w 698"/>
              <a:gd name="T11" fmla="*/ 1130 h 1395"/>
              <a:gd name="T12" fmla="*/ 0 w 698"/>
              <a:gd name="T13" fmla="*/ 1309 h 1395"/>
              <a:gd name="T14" fmla="*/ 0 w 698"/>
              <a:gd name="T15" fmla="*/ 1395 h 1395"/>
              <a:gd name="T16" fmla="*/ 493 w 698"/>
              <a:gd name="T17" fmla="*/ 1191 h 1395"/>
              <a:gd name="T18" fmla="*/ 698 w 698"/>
              <a:gd name="T19" fmla="*/ 697 h 1395"/>
              <a:gd name="T20" fmla="*/ 493 w 698"/>
              <a:gd name="T21" fmla="*/ 204 h 1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98" h="1395">
                <a:moveTo>
                  <a:pt x="493" y="204"/>
                </a:moveTo>
                <a:cubicBezTo>
                  <a:pt x="361" y="72"/>
                  <a:pt x="186" y="0"/>
                  <a:pt x="0" y="0"/>
                </a:cubicBezTo>
                <a:cubicBezTo>
                  <a:pt x="0" y="86"/>
                  <a:pt x="0" y="86"/>
                  <a:pt x="0" y="86"/>
                </a:cubicBezTo>
                <a:cubicBezTo>
                  <a:pt x="163" y="86"/>
                  <a:pt x="317" y="150"/>
                  <a:pt x="432" y="265"/>
                </a:cubicBezTo>
                <a:cubicBezTo>
                  <a:pt x="548" y="381"/>
                  <a:pt x="611" y="534"/>
                  <a:pt x="611" y="697"/>
                </a:cubicBezTo>
                <a:cubicBezTo>
                  <a:pt x="611" y="861"/>
                  <a:pt x="548" y="1014"/>
                  <a:pt x="432" y="1130"/>
                </a:cubicBezTo>
                <a:cubicBezTo>
                  <a:pt x="317" y="1245"/>
                  <a:pt x="163" y="1309"/>
                  <a:pt x="0" y="1309"/>
                </a:cubicBezTo>
                <a:cubicBezTo>
                  <a:pt x="0" y="1395"/>
                  <a:pt x="0" y="1395"/>
                  <a:pt x="0" y="1395"/>
                </a:cubicBezTo>
                <a:cubicBezTo>
                  <a:pt x="186" y="1395"/>
                  <a:pt x="361" y="1323"/>
                  <a:pt x="493" y="1191"/>
                </a:cubicBezTo>
                <a:cubicBezTo>
                  <a:pt x="625" y="1059"/>
                  <a:pt x="698" y="884"/>
                  <a:pt x="698" y="697"/>
                </a:cubicBezTo>
                <a:cubicBezTo>
                  <a:pt x="698" y="511"/>
                  <a:pt x="625" y="336"/>
                  <a:pt x="493" y="20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cs typeface="+mn-ea"/>
              <a:sym typeface="+mn-lt"/>
            </a:endParaRPr>
          </a:p>
        </p:txBody>
      </p: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9595C556-952F-4806-AC90-836D09A3C14E}"/>
              </a:ext>
            </a:extLst>
          </p:cNvPr>
          <p:cNvGrpSpPr/>
          <p:nvPr/>
        </p:nvGrpSpPr>
        <p:grpSpPr>
          <a:xfrm>
            <a:off x="7665130" y="1403988"/>
            <a:ext cx="4541662" cy="1316736"/>
            <a:chOff x="7665130" y="1327788"/>
            <a:chExt cx="4541662" cy="1316736"/>
          </a:xfrm>
        </p:grpSpPr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62CCE48A-27A7-4074-AD4C-DAADFAF67AFD}"/>
                </a:ext>
              </a:extLst>
            </p:cNvPr>
            <p:cNvSpPr/>
            <p:nvPr/>
          </p:nvSpPr>
          <p:spPr>
            <a:xfrm>
              <a:off x="7665130" y="1327788"/>
              <a:ext cx="4541662" cy="1316736"/>
            </a:xfrm>
            <a:custGeom>
              <a:avLst/>
              <a:gdLst>
                <a:gd name="connsiteX0" fmla="*/ 658368 w 4541662"/>
                <a:gd name="connsiteY0" fmla="*/ 0 h 1316736"/>
                <a:gd name="connsiteX1" fmla="*/ 763042 w 4541662"/>
                <a:gd name="connsiteY1" fmla="*/ 10552 h 1316736"/>
                <a:gd name="connsiteX2" fmla="*/ 4541662 w 4541662"/>
                <a:gd name="connsiteY2" fmla="*/ 10552 h 1316736"/>
                <a:gd name="connsiteX3" fmla="*/ 4541662 w 4541662"/>
                <a:gd name="connsiteY3" fmla="*/ 1310077 h 1316736"/>
                <a:gd name="connsiteX4" fmla="*/ 724424 w 4541662"/>
                <a:gd name="connsiteY4" fmla="*/ 1310077 h 1316736"/>
                <a:gd name="connsiteX5" fmla="*/ 658368 w 4541662"/>
                <a:gd name="connsiteY5" fmla="*/ 1316736 h 1316736"/>
                <a:gd name="connsiteX6" fmla="*/ 0 w 4541662"/>
                <a:gd name="connsiteY6" fmla="*/ 658368 h 1316736"/>
                <a:gd name="connsiteX7" fmla="*/ 658368 w 4541662"/>
                <a:gd name="connsiteY7" fmla="*/ 0 h 1316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41662" h="1316736">
                  <a:moveTo>
                    <a:pt x="658368" y="0"/>
                  </a:moveTo>
                  <a:lnTo>
                    <a:pt x="763042" y="10552"/>
                  </a:lnTo>
                  <a:lnTo>
                    <a:pt x="4541662" y="10552"/>
                  </a:lnTo>
                  <a:lnTo>
                    <a:pt x="4541662" y="1310077"/>
                  </a:lnTo>
                  <a:lnTo>
                    <a:pt x="724424" y="1310077"/>
                  </a:lnTo>
                  <a:lnTo>
                    <a:pt x="658368" y="1316736"/>
                  </a:lnTo>
                  <a:cubicBezTo>
                    <a:pt x="294761" y="1316736"/>
                    <a:pt x="0" y="1021975"/>
                    <a:pt x="0" y="658368"/>
                  </a:cubicBezTo>
                  <a:cubicBezTo>
                    <a:pt x="0" y="294761"/>
                    <a:pt x="294761" y="0"/>
                    <a:pt x="65836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3200">
                <a:cs typeface="+mn-ea"/>
                <a:sym typeface="+mn-lt"/>
              </a:endParaRPr>
            </a:p>
          </p:txBody>
        </p:sp>
        <p:grpSp>
          <p:nvGrpSpPr>
            <p:cNvPr id="63" name="组合 62">
              <a:extLst>
                <a:ext uri="{FF2B5EF4-FFF2-40B4-BE49-F238E27FC236}">
                  <a16:creationId xmlns:a16="http://schemas.microsoft.com/office/drawing/2014/main" id="{47B849CB-12A4-4E04-91A0-96F014C66A38}"/>
                </a:ext>
              </a:extLst>
            </p:cNvPr>
            <p:cNvGrpSpPr/>
            <p:nvPr/>
          </p:nvGrpSpPr>
          <p:grpSpPr>
            <a:xfrm>
              <a:off x="7873824" y="1536480"/>
              <a:ext cx="899349" cy="899349"/>
              <a:chOff x="7873824" y="1193580"/>
              <a:chExt cx="899349" cy="899349"/>
            </a:xfrm>
          </p:grpSpPr>
          <p:sp>
            <p:nvSpPr>
              <p:cNvPr id="65" name="Oval 17">
                <a:extLst>
                  <a:ext uri="{FF2B5EF4-FFF2-40B4-BE49-F238E27FC236}">
                    <a16:creationId xmlns:a16="http://schemas.microsoft.com/office/drawing/2014/main" id="{A903D497-4C0D-4AC7-A92D-1FA9244B9248}"/>
                  </a:ext>
                </a:extLst>
              </p:cNvPr>
              <p:cNvSpPr/>
              <p:nvPr/>
            </p:nvSpPr>
            <p:spPr>
              <a:xfrm>
                <a:off x="7873824" y="1193580"/>
                <a:ext cx="899349" cy="89934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200">
                  <a:cs typeface="+mn-ea"/>
                  <a:sym typeface="+mn-lt"/>
                </a:endParaRPr>
              </a:p>
            </p:txBody>
          </p:sp>
          <p:sp>
            <p:nvSpPr>
              <p:cNvPr id="66" name="Freeform 12">
                <a:extLst>
                  <a:ext uri="{FF2B5EF4-FFF2-40B4-BE49-F238E27FC236}">
                    <a16:creationId xmlns:a16="http://schemas.microsoft.com/office/drawing/2014/main" id="{DF333167-EA42-413D-B653-AE1749F94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41173" y="1344909"/>
                <a:ext cx="564649" cy="603475"/>
              </a:xfrm>
              <a:custGeom>
                <a:avLst/>
                <a:gdLst>
                  <a:gd name="T0" fmla="*/ 53 w 139"/>
                  <a:gd name="T1" fmla="*/ 149 h 149"/>
                  <a:gd name="T2" fmla="*/ 15 w 139"/>
                  <a:gd name="T3" fmla="*/ 134 h 149"/>
                  <a:gd name="T4" fmla="*/ 0 w 139"/>
                  <a:gd name="T5" fmla="*/ 96 h 149"/>
                  <a:gd name="T6" fmla="*/ 15 w 139"/>
                  <a:gd name="T7" fmla="*/ 59 h 149"/>
                  <a:gd name="T8" fmla="*/ 17 w 139"/>
                  <a:gd name="T9" fmla="*/ 57 h 149"/>
                  <a:gd name="T10" fmla="*/ 52 w 139"/>
                  <a:gd name="T11" fmla="*/ 22 h 149"/>
                  <a:gd name="T12" fmla="*/ 63 w 139"/>
                  <a:gd name="T13" fmla="*/ 11 h 149"/>
                  <a:gd name="T14" fmla="*/ 90 w 139"/>
                  <a:gd name="T15" fmla="*/ 0 h 149"/>
                  <a:gd name="T16" fmla="*/ 118 w 139"/>
                  <a:gd name="T17" fmla="*/ 11 h 149"/>
                  <a:gd name="T18" fmla="*/ 129 w 139"/>
                  <a:gd name="T19" fmla="*/ 38 h 149"/>
                  <a:gd name="T20" fmla="*/ 118 w 139"/>
                  <a:gd name="T21" fmla="*/ 65 h 149"/>
                  <a:gd name="T22" fmla="*/ 111 w 139"/>
                  <a:gd name="T23" fmla="*/ 72 h 149"/>
                  <a:gd name="T24" fmla="*/ 111 w 139"/>
                  <a:gd name="T25" fmla="*/ 72 h 149"/>
                  <a:gd name="T26" fmla="*/ 110 w 139"/>
                  <a:gd name="T27" fmla="*/ 73 h 149"/>
                  <a:gd name="T28" fmla="*/ 70 w 139"/>
                  <a:gd name="T29" fmla="*/ 113 h 149"/>
                  <a:gd name="T30" fmla="*/ 53 w 139"/>
                  <a:gd name="T31" fmla="*/ 120 h 149"/>
                  <a:gd name="T32" fmla="*/ 36 w 139"/>
                  <a:gd name="T33" fmla="*/ 113 h 149"/>
                  <a:gd name="T34" fmla="*/ 29 w 139"/>
                  <a:gd name="T35" fmla="*/ 96 h 149"/>
                  <a:gd name="T36" fmla="*/ 36 w 139"/>
                  <a:gd name="T37" fmla="*/ 79 h 149"/>
                  <a:gd name="T38" fmla="*/ 71 w 139"/>
                  <a:gd name="T39" fmla="*/ 44 h 149"/>
                  <a:gd name="T40" fmla="*/ 78 w 139"/>
                  <a:gd name="T41" fmla="*/ 41 h 149"/>
                  <a:gd name="T42" fmla="*/ 84 w 139"/>
                  <a:gd name="T43" fmla="*/ 44 h 149"/>
                  <a:gd name="T44" fmla="*/ 87 w 139"/>
                  <a:gd name="T45" fmla="*/ 51 h 149"/>
                  <a:gd name="T46" fmla="*/ 84 w 139"/>
                  <a:gd name="T47" fmla="*/ 58 h 149"/>
                  <a:gd name="T48" fmla="*/ 49 w 139"/>
                  <a:gd name="T49" fmla="*/ 93 h 149"/>
                  <a:gd name="T50" fmla="*/ 48 w 139"/>
                  <a:gd name="T51" fmla="*/ 96 h 149"/>
                  <a:gd name="T52" fmla="*/ 49 w 139"/>
                  <a:gd name="T53" fmla="*/ 100 h 149"/>
                  <a:gd name="T54" fmla="*/ 53 w 139"/>
                  <a:gd name="T55" fmla="*/ 101 h 149"/>
                  <a:gd name="T56" fmla="*/ 56 w 139"/>
                  <a:gd name="T57" fmla="*/ 100 h 149"/>
                  <a:gd name="T58" fmla="*/ 60 w 139"/>
                  <a:gd name="T59" fmla="*/ 96 h 149"/>
                  <a:gd name="T60" fmla="*/ 60 w 139"/>
                  <a:gd name="T61" fmla="*/ 96 h 149"/>
                  <a:gd name="T62" fmla="*/ 104 w 139"/>
                  <a:gd name="T63" fmla="*/ 52 h 149"/>
                  <a:gd name="T64" fmla="*/ 110 w 139"/>
                  <a:gd name="T65" fmla="*/ 38 h 149"/>
                  <a:gd name="T66" fmla="*/ 104 w 139"/>
                  <a:gd name="T67" fmla="*/ 24 h 149"/>
                  <a:gd name="T68" fmla="*/ 90 w 139"/>
                  <a:gd name="T69" fmla="*/ 19 h 149"/>
                  <a:gd name="T70" fmla="*/ 77 w 139"/>
                  <a:gd name="T71" fmla="*/ 24 h 149"/>
                  <a:gd name="T72" fmla="*/ 65 w 139"/>
                  <a:gd name="T73" fmla="*/ 35 h 149"/>
                  <a:gd name="T74" fmla="*/ 30 w 139"/>
                  <a:gd name="T75" fmla="*/ 71 h 149"/>
                  <a:gd name="T76" fmla="*/ 29 w 139"/>
                  <a:gd name="T77" fmla="*/ 72 h 149"/>
                  <a:gd name="T78" fmla="*/ 19 w 139"/>
                  <a:gd name="T79" fmla="*/ 96 h 149"/>
                  <a:gd name="T80" fmla="*/ 29 w 139"/>
                  <a:gd name="T81" fmla="*/ 120 h 149"/>
                  <a:gd name="T82" fmla="*/ 53 w 139"/>
                  <a:gd name="T83" fmla="*/ 130 h 149"/>
                  <a:gd name="T84" fmla="*/ 77 w 139"/>
                  <a:gd name="T85" fmla="*/ 120 h 149"/>
                  <a:gd name="T86" fmla="*/ 102 w 139"/>
                  <a:gd name="T87" fmla="*/ 95 h 149"/>
                  <a:gd name="T88" fmla="*/ 107 w 139"/>
                  <a:gd name="T89" fmla="*/ 90 h 149"/>
                  <a:gd name="T90" fmla="*/ 122 w 139"/>
                  <a:gd name="T91" fmla="*/ 82 h 149"/>
                  <a:gd name="T92" fmla="*/ 127 w 139"/>
                  <a:gd name="T93" fmla="*/ 82 h 149"/>
                  <a:gd name="T94" fmla="*/ 139 w 139"/>
                  <a:gd name="T95" fmla="*/ 85 h 149"/>
                  <a:gd name="T96" fmla="*/ 90 w 139"/>
                  <a:gd name="T97" fmla="*/ 134 h 149"/>
                  <a:gd name="T98" fmla="*/ 53 w 139"/>
                  <a:gd name="T9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39" h="149">
                    <a:moveTo>
                      <a:pt x="53" y="149"/>
                    </a:moveTo>
                    <a:cubicBezTo>
                      <a:pt x="38" y="149"/>
                      <a:pt x="26" y="144"/>
                      <a:pt x="15" y="134"/>
                    </a:cubicBezTo>
                    <a:cubicBezTo>
                      <a:pt x="5" y="123"/>
                      <a:pt x="0" y="111"/>
                      <a:pt x="0" y="96"/>
                    </a:cubicBezTo>
                    <a:cubicBezTo>
                      <a:pt x="0" y="82"/>
                      <a:pt x="5" y="69"/>
                      <a:pt x="15" y="59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63" y="11"/>
                      <a:pt x="63" y="11"/>
                      <a:pt x="63" y="11"/>
                    </a:cubicBezTo>
                    <a:cubicBezTo>
                      <a:pt x="71" y="3"/>
                      <a:pt x="80" y="0"/>
                      <a:pt x="90" y="0"/>
                    </a:cubicBezTo>
                    <a:cubicBezTo>
                      <a:pt x="101" y="0"/>
                      <a:pt x="110" y="3"/>
                      <a:pt x="118" y="11"/>
                    </a:cubicBezTo>
                    <a:cubicBezTo>
                      <a:pt x="125" y="18"/>
                      <a:pt x="129" y="27"/>
                      <a:pt x="129" y="38"/>
                    </a:cubicBezTo>
                    <a:cubicBezTo>
                      <a:pt x="129" y="49"/>
                      <a:pt x="125" y="58"/>
                      <a:pt x="118" y="65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1" y="73"/>
                      <a:pt x="110" y="73"/>
                      <a:pt x="110" y="73"/>
                    </a:cubicBezTo>
                    <a:cubicBezTo>
                      <a:pt x="70" y="113"/>
                      <a:pt x="70" y="113"/>
                      <a:pt x="70" y="113"/>
                    </a:cubicBezTo>
                    <a:cubicBezTo>
                      <a:pt x="65" y="118"/>
                      <a:pt x="60" y="120"/>
                      <a:pt x="53" y="120"/>
                    </a:cubicBezTo>
                    <a:cubicBezTo>
                      <a:pt x="46" y="120"/>
                      <a:pt x="41" y="118"/>
                      <a:pt x="36" y="113"/>
                    </a:cubicBezTo>
                    <a:cubicBezTo>
                      <a:pt x="31" y="108"/>
                      <a:pt x="29" y="103"/>
                      <a:pt x="29" y="96"/>
                    </a:cubicBezTo>
                    <a:cubicBezTo>
                      <a:pt x="29" y="89"/>
                      <a:pt x="31" y="84"/>
                      <a:pt x="36" y="79"/>
                    </a:cubicBezTo>
                    <a:cubicBezTo>
                      <a:pt x="71" y="44"/>
                      <a:pt x="71" y="44"/>
                      <a:pt x="71" y="44"/>
                    </a:cubicBezTo>
                    <a:cubicBezTo>
                      <a:pt x="73" y="42"/>
                      <a:pt x="75" y="41"/>
                      <a:pt x="78" y="41"/>
                    </a:cubicBezTo>
                    <a:cubicBezTo>
                      <a:pt x="80" y="41"/>
                      <a:pt x="83" y="42"/>
                      <a:pt x="84" y="44"/>
                    </a:cubicBezTo>
                    <a:cubicBezTo>
                      <a:pt x="86" y="46"/>
                      <a:pt x="87" y="48"/>
                      <a:pt x="87" y="51"/>
                    </a:cubicBezTo>
                    <a:cubicBezTo>
                      <a:pt x="87" y="54"/>
                      <a:pt x="86" y="56"/>
                      <a:pt x="84" y="58"/>
                    </a:cubicBezTo>
                    <a:cubicBezTo>
                      <a:pt x="49" y="93"/>
                      <a:pt x="49" y="93"/>
                      <a:pt x="49" y="93"/>
                    </a:cubicBezTo>
                    <a:cubicBezTo>
                      <a:pt x="48" y="94"/>
                      <a:pt x="48" y="95"/>
                      <a:pt x="48" y="96"/>
                    </a:cubicBezTo>
                    <a:cubicBezTo>
                      <a:pt x="48" y="97"/>
                      <a:pt x="48" y="99"/>
                      <a:pt x="49" y="100"/>
                    </a:cubicBezTo>
                    <a:cubicBezTo>
                      <a:pt x="50" y="101"/>
                      <a:pt x="52" y="101"/>
                      <a:pt x="53" y="101"/>
                    </a:cubicBezTo>
                    <a:cubicBezTo>
                      <a:pt x="54" y="101"/>
                      <a:pt x="56" y="101"/>
                      <a:pt x="56" y="100"/>
                    </a:cubicBezTo>
                    <a:cubicBezTo>
                      <a:pt x="60" y="96"/>
                      <a:pt x="60" y="96"/>
                      <a:pt x="60" y="96"/>
                    </a:cubicBezTo>
                    <a:cubicBezTo>
                      <a:pt x="60" y="96"/>
                      <a:pt x="60" y="96"/>
                      <a:pt x="60" y="96"/>
                    </a:cubicBezTo>
                    <a:cubicBezTo>
                      <a:pt x="104" y="52"/>
                      <a:pt x="104" y="52"/>
                      <a:pt x="104" y="52"/>
                    </a:cubicBezTo>
                    <a:cubicBezTo>
                      <a:pt x="108" y="48"/>
                      <a:pt x="110" y="44"/>
                      <a:pt x="110" y="38"/>
                    </a:cubicBezTo>
                    <a:cubicBezTo>
                      <a:pt x="110" y="33"/>
                      <a:pt x="108" y="28"/>
                      <a:pt x="104" y="24"/>
                    </a:cubicBezTo>
                    <a:cubicBezTo>
                      <a:pt x="100" y="20"/>
                      <a:pt x="96" y="19"/>
                      <a:pt x="90" y="19"/>
                    </a:cubicBezTo>
                    <a:cubicBezTo>
                      <a:pt x="85" y="19"/>
                      <a:pt x="80" y="20"/>
                      <a:pt x="77" y="24"/>
                    </a:cubicBezTo>
                    <a:cubicBezTo>
                      <a:pt x="65" y="35"/>
                      <a:pt x="65" y="35"/>
                      <a:pt x="65" y="35"/>
                    </a:cubicBezTo>
                    <a:cubicBezTo>
                      <a:pt x="30" y="71"/>
                      <a:pt x="30" y="71"/>
                      <a:pt x="30" y="71"/>
                    </a:cubicBezTo>
                    <a:cubicBezTo>
                      <a:pt x="29" y="72"/>
                      <a:pt x="29" y="72"/>
                      <a:pt x="29" y="72"/>
                    </a:cubicBezTo>
                    <a:cubicBezTo>
                      <a:pt x="22" y="79"/>
                      <a:pt x="19" y="87"/>
                      <a:pt x="19" y="96"/>
                    </a:cubicBezTo>
                    <a:cubicBezTo>
                      <a:pt x="19" y="106"/>
                      <a:pt x="22" y="114"/>
                      <a:pt x="29" y="120"/>
                    </a:cubicBezTo>
                    <a:cubicBezTo>
                      <a:pt x="35" y="127"/>
                      <a:pt x="43" y="130"/>
                      <a:pt x="53" y="130"/>
                    </a:cubicBezTo>
                    <a:cubicBezTo>
                      <a:pt x="62" y="130"/>
                      <a:pt x="70" y="127"/>
                      <a:pt x="77" y="120"/>
                    </a:cubicBezTo>
                    <a:cubicBezTo>
                      <a:pt x="102" y="95"/>
                      <a:pt x="102" y="95"/>
                      <a:pt x="102" y="95"/>
                    </a:cubicBezTo>
                    <a:cubicBezTo>
                      <a:pt x="107" y="90"/>
                      <a:pt x="107" y="90"/>
                      <a:pt x="107" y="90"/>
                    </a:cubicBezTo>
                    <a:cubicBezTo>
                      <a:pt x="111" y="86"/>
                      <a:pt x="116" y="83"/>
                      <a:pt x="122" y="82"/>
                    </a:cubicBezTo>
                    <a:cubicBezTo>
                      <a:pt x="124" y="82"/>
                      <a:pt x="126" y="82"/>
                      <a:pt x="127" y="82"/>
                    </a:cubicBezTo>
                    <a:cubicBezTo>
                      <a:pt x="131" y="82"/>
                      <a:pt x="135" y="83"/>
                      <a:pt x="139" y="85"/>
                    </a:cubicBezTo>
                    <a:cubicBezTo>
                      <a:pt x="90" y="134"/>
                      <a:pt x="90" y="134"/>
                      <a:pt x="90" y="134"/>
                    </a:cubicBezTo>
                    <a:cubicBezTo>
                      <a:pt x="80" y="144"/>
                      <a:pt x="67" y="149"/>
                      <a:pt x="53" y="14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>
                  <a:cs typeface="+mn-ea"/>
                  <a:sym typeface="+mn-lt"/>
                </a:endParaRPr>
              </a:p>
            </p:txBody>
          </p:sp>
        </p:grpSp>
        <p:sp>
          <p:nvSpPr>
            <p:cNvPr id="64" name="添加标题">
              <a:extLst>
                <a:ext uri="{FF2B5EF4-FFF2-40B4-BE49-F238E27FC236}">
                  <a16:creationId xmlns:a16="http://schemas.microsoft.com/office/drawing/2014/main" id="{161AE337-80FD-4D16-A830-8F52EF2D285C}"/>
                </a:ext>
              </a:extLst>
            </p:cNvPr>
            <p:cNvSpPr txBox="1"/>
            <p:nvPr/>
          </p:nvSpPr>
          <p:spPr>
            <a:xfrm>
              <a:off x="9031419" y="1469765"/>
              <a:ext cx="3057031" cy="1027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b="1" dirty="0">
                  <a:solidFill>
                    <a:srgbClr val="FFFFFF"/>
                  </a:solidFill>
                  <a:cs typeface="+mn-ea"/>
                  <a:sym typeface="+mn-lt"/>
                </a:rPr>
                <a:t>Add title text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rgbClr val="FFFFFF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200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67CF93A0-3724-428E-A8A7-4B3E6EF9183F}"/>
              </a:ext>
            </a:extLst>
          </p:cNvPr>
          <p:cNvGrpSpPr/>
          <p:nvPr/>
        </p:nvGrpSpPr>
        <p:grpSpPr>
          <a:xfrm>
            <a:off x="7665131" y="3208563"/>
            <a:ext cx="4541661" cy="1316736"/>
            <a:chOff x="7665131" y="3132363"/>
            <a:chExt cx="4541661" cy="1316736"/>
          </a:xfrm>
        </p:grpSpPr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9238024A-FCA6-4111-BD56-091C0216A886}"/>
                </a:ext>
              </a:extLst>
            </p:cNvPr>
            <p:cNvSpPr/>
            <p:nvPr/>
          </p:nvSpPr>
          <p:spPr>
            <a:xfrm>
              <a:off x="7665131" y="3132363"/>
              <a:ext cx="4541661" cy="1316736"/>
            </a:xfrm>
            <a:custGeom>
              <a:avLst/>
              <a:gdLst>
                <a:gd name="connsiteX0" fmla="*/ 658368 w 4541661"/>
                <a:gd name="connsiteY0" fmla="*/ 0 h 1316736"/>
                <a:gd name="connsiteX1" fmla="*/ 715665 w 4541661"/>
                <a:gd name="connsiteY1" fmla="*/ 5776 h 1316736"/>
                <a:gd name="connsiteX2" fmla="*/ 4541661 w 4541661"/>
                <a:gd name="connsiteY2" fmla="*/ 5776 h 1316736"/>
                <a:gd name="connsiteX3" fmla="*/ 4541661 w 4541661"/>
                <a:gd name="connsiteY3" fmla="*/ 1305301 h 1316736"/>
                <a:gd name="connsiteX4" fmla="*/ 771801 w 4541661"/>
                <a:gd name="connsiteY4" fmla="*/ 1305301 h 1316736"/>
                <a:gd name="connsiteX5" fmla="*/ 658368 w 4541661"/>
                <a:gd name="connsiteY5" fmla="*/ 1316736 h 1316736"/>
                <a:gd name="connsiteX6" fmla="*/ 0 w 4541661"/>
                <a:gd name="connsiteY6" fmla="*/ 658368 h 1316736"/>
                <a:gd name="connsiteX7" fmla="*/ 525684 w 4541661"/>
                <a:gd name="connsiteY7" fmla="*/ 13376 h 1316736"/>
                <a:gd name="connsiteX8" fmla="*/ 595214 w 4541661"/>
                <a:gd name="connsiteY8" fmla="*/ 6367 h 1316736"/>
                <a:gd name="connsiteX9" fmla="*/ 595214 w 4541661"/>
                <a:gd name="connsiteY9" fmla="*/ 5776 h 1316736"/>
                <a:gd name="connsiteX10" fmla="*/ 601071 w 4541661"/>
                <a:gd name="connsiteY10" fmla="*/ 5776 h 1316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41661" h="1316736">
                  <a:moveTo>
                    <a:pt x="658368" y="0"/>
                  </a:moveTo>
                  <a:lnTo>
                    <a:pt x="715665" y="5776"/>
                  </a:lnTo>
                  <a:lnTo>
                    <a:pt x="4541661" y="5776"/>
                  </a:lnTo>
                  <a:lnTo>
                    <a:pt x="4541661" y="1305301"/>
                  </a:lnTo>
                  <a:lnTo>
                    <a:pt x="771801" y="1305301"/>
                  </a:lnTo>
                  <a:lnTo>
                    <a:pt x="658368" y="1316736"/>
                  </a:lnTo>
                  <a:cubicBezTo>
                    <a:pt x="294761" y="1316736"/>
                    <a:pt x="0" y="1021975"/>
                    <a:pt x="0" y="658368"/>
                  </a:cubicBezTo>
                  <a:cubicBezTo>
                    <a:pt x="0" y="340212"/>
                    <a:pt x="225676" y="74766"/>
                    <a:pt x="525684" y="13376"/>
                  </a:cubicBezTo>
                  <a:lnTo>
                    <a:pt x="595214" y="6367"/>
                  </a:lnTo>
                  <a:lnTo>
                    <a:pt x="595214" y="5776"/>
                  </a:lnTo>
                  <a:lnTo>
                    <a:pt x="601071" y="577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3200">
                <a:cs typeface="+mn-ea"/>
                <a:sym typeface="+mn-lt"/>
              </a:endParaRPr>
            </a:p>
          </p:txBody>
        </p: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AD9FB8C2-A443-43A2-AAA1-B78FD7871144}"/>
                </a:ext>
              </a:extLst>
            </p:cNvPr>
            <p:cNvGrpSpPr/>
            <p:nvPr/>
          </p:nvGrpSpPr>
          <p:grpSpPr>
            <a:xfrm>
              <a:off x="7873823" y="3341056"/>
              <a:ext cx="899349" cy="899349"/>
              <a:chOff x="7873823" y="2998156"/>
              <a:chExt cx="899349" cy="899349"/>
            </a:xfrm>
          </p:grpSpPr>
          <p:sp>
            <p:nvSpPr>
              <p:cNvPr id="71" name="Oval 97">
                <a:extLst>
                  <a:ext uri="{FF2B5EF4-FFF2-40B4-BE49-F238E27FC236}">
                    <a16:creationId xmlns:a16="http://schemas.microsoft.com/office/drawing/2014/main" id="{EF9D7831-8C71-4A85-9FC9-47E87E18BFD7}"/>
                  </a:ext>
                </a:extLst>
              </p:cNvPr>
              <p:cNvSpPr/>
              <p:nvPr/>
            </p:nvSpPr>
            <p:spPr>
              <a:xfrm>
                <a:off x="7873823" y="2998156"/>
                <a:ext cx="899349" cy="899349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200">
                  <a:cs typeface="+mn-ea"/>
                  <a:sym typeface="+mn-lt"/>
                </a:endParaRPr>
              </a:p>
            </p:txBody>
          </p:sp>
          <p:sp>
            <p:nvSpPr>
              <p:cNvPr id="72" name="Freeform 13">
                <a:extLst>
                  <a:ext uri="{FF2B5EF4-FFF2-40B4-BE49-F238E27FC236}">
                    <a16:creationId xmlns:a16="http://schemas.microsoft.com/office/drawing/2014/main" id="{57A2D211-8D62-451A-ADAA-5478E8B1D2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59876" y="3158355"/>
                <a:ext cx="532017" cy="486334"/>
              </a:xfrm>
              <a:custGeom>
                <a:avLst/>
                <a:gdLst>
                  <a:gd name="T0" fmla="*/ 0 w 148"/>
                  <a:gd name="T1" fmla="*/ 66 h 149"/>
                  <a:gd name="T2" fmla="*/ 0 w 148"/>
                  <a:gd name="T3" fmla="*/ 47 h 149"/>
                  <a:gd name="T4" fmla="*/ 2 w 148"/>
                  <a:gd name="T5" fmla="*/ 41 h 149"/>
                  <a:gd name="T6" fmla="*/ 9 w 148"/>
                  <a:gd name="T7" fmla="*/ 38 h 149"/>
                  <a:gd name="T8" fmla="*/ 33 w 148"/>
                  <a:gd name="T9" fmla="*/ 38 h 149"/>
                  <a:gd name="T10" fmla="*/ 33 w 148"/>
                  <a:gd name="T11" fmla="*/ 17 h 149"/>
                  <a:gd name="T12" fmla="*/ 38 w 148"/>
                  <a:gd name="T13" fmla="*/ 5 h 149"/>
                  <a:gd name="T14" fmla="*/ 51 w 148"/>
                  <a:gd name="T15" fmla="*/ 0 h 149"/>
                  <a:gd name="T16" fmla="*/ 97 w 148"/>
                  <a:gd name="T17" fmla="*/ 0 h 149"/>
                  <a:gd name="T18" fmla="*/ 110 w 148"/>
                  <a:gd name="T19" fmla="*/ 5 h 149"/>
                  <a:gd name="T20" fmla="*/ 115 w 148"/>
                  <a:gd name="T21" fmla="*/ 17 h 149"/>
                  <a:gd name="T22" fmla="*/ 115 w 148"/>
                  <a:gd name="T23" fmla="*/ 38 h 149"/>
                  <a:gd name="T24" fmla="*/ 139 w 148"/>
                  <a:gd name="T25" fmla="*/ 38 h 149"/>
                  <a:gd name="T26" fmla="*/ 145 w 148"/>
                  <a:gd name="T27" fmla="*/ 41 h 149"/>
                  <a:gd name="T28" fmla="*/ 148 w 148"/>
                  <a:gd name="T29" fmla="*/ 47 h 149"/>
                  <a:gd name="T30" fmla="*/ 148 w 148"/>
                  <a:gd name="T31" fmla="*/ 66 h 149"/>
                  <a:gd name="T32" fmla="*/ 74 w 148"/>
                  <a:gd name="T33" fmla="*/ 87 h 149"/>
                  <a:gd name="T34" fmla="*/ 0 w 148"/>
                  <a:gd name="T35" fmla="*/ 66 h 149"/>
                  <a:gd name="T36" fmla="*/ 0 w 148"/>
                  <a:gd name="T37" fmla="*/ 140 h 149"/>
                  <a:gd name="T38" fmla="*/ 0 w 148"/>
                  <a:gd name="T39" fmla="*/ 74 h 149"/>
                  <a:gd name="T40" fmla="*/ 66 w 148"/>
                  <a:gd name="T41" fmla="*/ 94 h 149"/>
                  <a:gd name="T42" fmla="*/ 66 w 148"/>
                  <a:gd name="T43" fmla="*/ 111 h 149"/>
                  <a:gd name="T44" fmla="*/ 82 w 148"/>
                  <a:gd name="T45" fmla="*/ 111 h 149"/>
                  <a:gd name="T46" fmla="*/ 82 w 148"/>
                  <a:gd name="T47" fmla="*/ 94 h 149"/>
                  <a:gd name="T48" fmla="*/ 148 w 148"/>
                  <a:gd name="T49" fmla="*/ 74 h 149"/>
                  <a:gd name="T50" fmla="*/ 148 w 148"/>
                  <a:gd name="T51" fmla="*/ 140 h 149"/>
                  <a:gd name="T52" fmla="*/ 145 w 148"/>
                  <a:gd name="T53" fmla="*/ 146 h 149"/>
                  <a:gd name="T54" fmla="*/ 139 w 148"/>
                  <a:gd name="T55" fmla="*/ 149 h 149"/>
                  <a:gd name="T56" fmla="*/ 9 w 148"/>
                  <a:gd name="T57" fmla="*/ 149 h 149"/>
                  <a:gd name="T58" fmla="*/ 2 w 148"/>
                  <a:gd name="T59" fmla="*/ 146 h 149"/>
                  <a:gd name="T60" fmla="*/ 0 w 148"/>
                  <a:gd name="T61" fmla="*/ 140 h 149"/>
                  <a:gd name="T62" fmla="*/ 50 w 148"/>
                  <a:gd name="T63" fmla="*/ 38 h 149"/>
                  <a:gd name="T64" fmla="*/ 98 w 148"/>
                  <a:gd name="T65" fmla="*/ 38 h 149"/>
                  <a:gd name="T66" fmla="*/ 98 w 148"/>
                  <a:gd name="T67" fmla="*/ 17 h 149"/>
                  <a:gd name="T68" fmla="*/ 97 w 148"/>
                  <a:gd name="T69" fmla="*/ 16 h 149"/>
                  <a:gd name="T70" fmla="*/ 51 w 148"/>
                  <a:gd name="T71" fmla="*/ 16 h 149"/>
                  <a:gd name="T72" fmla="*/ 50 w 148"/>
                  <a:gd name="T73" fmla="*/ 17 h 149"/>
                  <a:gd name="T74" fmla="*/ 50 w 148"/>
                  <a:gd name="T75" fmla="*/ 3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8" h="149">
                    <a:moveTo>
                      <a:pt x="0" y="66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45"/>
                      <a:pt x="1" y="42"/>
                      <a:pt x="2" y="41"/>
                    </a:cubicBezTo>
                    <a:cubicBezTo>
                      <a:pt x="4" y="39"/>
                      <a:pt x="6" y="38"/>
                      <a:pt x="9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2"/>
                      <a:pt x="35" y="8"/>
                      <a:pt x="38" y="5"/>
                    </a:cubicBezTo>
                    <a:cubicBezTo>
                      <a:pt x="42" y="1"/>
                      <a:pt x="46" y="0"/>
                      <a:pt x="51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102" y="0"/>
                      <a:pt x="106" y="1"/>
                      <a:pt x="110" y="5"/>
                    </a:cubicBezTo>
                    <a:cubicBezTo>
                      <a:pt x="113" y="8"/>
                      <a:pt x="115" y="12"/>
                      <a:pt x="115" y="17"/>
                    </a:cubicBezTo>
                    <a:cubicBezTo>
                      <a:pt x="115" y="38"/>
                      <a:pt x="115" y="38"/>
                      <a:pt x="115" y="38"/>
                    </a:cubicBezTo>
                    <a:cubicBezTo>
                      <a:pt x="139" y="38"/>
                      <a:pt x="139" y="38"/>
                      <a:pt x="139" y="38"/>
                    </a:cubicBezTo>
                    <a:cubicBezTo>
                      <a:pt x="141" y="38"/>
                      <a:pt x="143" y="39"/>
                      <a:pt x="145" y="41"/>
                    </a:cubicBezTo>
                    <a:cubicBezTo>
                      <a:pt x="147" y="42"/>
                      <a:pt x="148" y="45"/>
                      <a:pt x="148" y="47"/>
                    </a:cubicBezTo>
                    <a:cubicBezTo>
                      <a:pt x="148" y="66"/>
                      <a:pt x="148" y="66"/>
                      <a:pt x="148" y="66"/>
                    </a:cubicBezTo>
                    <a:cubicBezTo>
                      <a:pt x="74" y="87"/>
                      <a:pt x="74" y="87"/>
                      <a:pt x="74" y="87"/>
                    </a:cubicBezTo>
                    <a:lnTo>
                      <a:pt x="0" y="66"/>
                    </a:lnTo>
                    <a:close/>
                    <a:moveTo>
                      <a:pt x="0" y="140"/>
                    </a:moveTo>
                    <a:cubicBezTo>
                      <a:pt x="0" y="74"/>
                      <a:pt x="0" y="74"/>
                      <a:pt x="0" y="74"/>
                    </a:cubicBezTo>
                    <a:cubicBezTo>
                      <a:pt x="66" y="94"/>
                      <a:pt x="66" y="94"/>
                      <a:pt x="66" y="94"/>
                    </a:cubicBezTo>
                    <a:cubicBezTo>
                      <a:pt x="66" y="111"/>
                      <a:pt x="66" y="111"/>
                      <a:pt x="66" y="111"/>
                    </a:cubicBezTo>
                    <a:cubicBezTo>
                      <a:pt x="82" y="111"/>
                      <a:pt x="82" y="111"/>
                      <a:pt x="82" y="111"/>
                    </a:cubicBezTo>
                    <a:cubicBezTo>
                      <a:pt x="82" y="94"/>
                      <a:pt x="82" y="94"/>
                      <a:pt x="82" y="94"/>
                    </a:cubicBezTo>
                    <a:cubicBezTo>
                      <a:pt x="148" y="74"/>
                      <a:pt x="148" y="74"/>
                      <a:pt x="148" y="74"/>
                    </a:cubicBezTo>
                    <a:cubicBezTo>
                      <a:pt x="148" y="140"/>
                      <a:pt x="148" y="140"/>
                      <a:pt x="148" y="140"/>
                    </a:cubicBezTo>
                    <a:cubicBezTo>
                      <a:pt x="148" y="143"/>
                      <a:pt x="147" y="145"/>
                      <a:pt x="145" y="146"/>
                    </a:cubicBezTo>
                    <a:cubicBezTo>
                      <a:pt x="143" y="148"/>
                      <a:pt x="141" y="149"/>
                      <a:pt x="139" y="149"/>
                    </a:cubicBezTo>
                    <a:cubicBezTo>
                      <a:pt x="9" y="149"/>
                      <a:pt x="9" y="149"/>
                      <a:pt x="9" y="149"/>
                    </a:cubicBezTo>
                    <a:cubicBezTo>
                      <a:pt x="6" y="149"/>
                      <a:pt x="4" y="148"/>
                      <a:pt x="2" y="146"/>
                    </a:cubicBezTo>
                    <a:cubicBezTo>
                      <a:pt x="1" y="145"/>
                      <a:pt x="0" y="143"/>
                      <a:pt x="0" y="140"/>
                    </a:cubicBezTo>
                    <a:close/>
                    <a:moveTo>
                      <a:pt x="50" y="38"/>
                    </a:moveTo>
                    <a:cubicBezTo>
                      <a:pt x="98" y="38"/>
                      <a:pt x="98" y="38"/>
                      <a:pt x="98" y="38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8" y="17"/>
                      <a:pt x="98" y="16"/>
                      <a:pt x="97" y="16"/>
                    </a:cubicBezTo>
                    <a:cubicBezTo>
                      <a:pt x="51" y="16"/>
                      <a:pt x="51" y="16"/>
                      <a:pt x="51" y="16"/>
                    </a:cubicBezTo>
                    <a:cubicBezTo>
                      <a:pt x="50" y="16"/>
                      <a:pt x="50" y="17"/>
                      <a:pt x="50" y="17"/>
                    </a:cubicBezTo>
                    <a:lnTo>
                      <a:pt x="50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>
                  <a:cs typeface="+mn-ea"/>
                  <a:sym typeface="+mn-lt"/>
                </a:endParaRPr>
              </a:p>
            </p:txBody>
          </p:sp>
        </p:grpSp>
        <p:sp>
          <p:nvSpPr>
            <p:cNvPr id="70" name="添加标题">
              <a:extLst>
                <a:ext uri="{FF2B5EF4-FFF2-40B4-BE49-F238E27FC236}">
                  <a16:creationId xmlns:a16="http://schemas.microsoft.com/office/drawing/2014/main" id="{1E0177BC-DCEA-4913-9172-734425512F06}"/>
                </a:ext>
              </a:extLst>
            </p:cNvPr>
            <p:cNvSpPr txBox="1"/>
            <p:nvPr/>
          </p:nvSpPr>
          <p:spPr>
            <a:xfrm>
              <a:off x="9031419" y="3274340"/>
              <a:ext cx="3057031" cy="1027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b="1" dirty="0">
                  <a:solidFill>
                    <a:srgbClr val="FFFFFF"/>
                  </a:solidFill>
                  <a:cs typeface="+mn-ea"/>
                  <a:sym typeface="+mn-lt"/>
                </a:rPr>
                <a:t>Add title text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rgbClr val="FFFFFF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200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73" name="组合 72">
            <a:extLst>
              <a:ext uri="{FF2B5EF4-FFF2-40B4-BE49-F238E27FC236}">
                <a16:creationId xmlns:a16="http://schemas.microsoft.com/office/drawing/2014/main" id="{3F1D8DAE-26B1-4B73-A9FF-6533955C36DB}"/>
              </a:ext>
            </a:extLst>
          </p:cNvPr>
          <p:cNvGrpSpPr/>
          <p:nvPr/>
        </p:nvGrpSpPr>
        <p:grpSpPr>
          <a:xfrm>
            <a:off x="7665131" y="5067852"/>
            <a:ext cx="4541661" cy="1316736"/>
            <a:chOff x="7665131" y="4991652"/>
            <a:chExt cx="4541661" cy="1316736"/>
          </a:xfrm>
        </p:grpSpPr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69299259-7498-4D82-B33E-9857FF7EB3E8}"/>
                </a:ext>
              </a:extLst>
            </p:cNvPr>
            <p:cNvSpPr/>
            <p:nvPr/>
          </p:nvSpPr>
          <p:spPr>
            <a:xfrm>
              <a:off x="7665131" y="4991652"/>
              <a:ext cx="4541661" cy="1316736"/>
            </a:xfrm>
            <a:custGeom>
              <a:avLst/>
              <a:gdLst>
                <a:gd name="connsiteX0" fmla="*/ 658368 w 4541661"/>
                <a:gd name="connsiteY0" fmla="*/ 0 h 1316736"/>
                <a:gd name="connsiteX1" fmla="*/ 706807 w 4541661"/>
                <a:gd name="connsiteY1" fmla="*/ 4883 h 1316736"/>
                <a:gd name="connsiteX2" fmla="*/ 4541661 w 4541661"/>
                <a:gd name="connsiteY2" fmla="*/ 4883 h 1316736"/>
                <a:gd name="connsiteX3" fmla="*/ 4541661 w 4541661"/>
                <a:gd name="connsiteY3" fmla="*/ 1316735 h 1316736"/>
                <a:gd name="connsiteX4" fmla="*/ 658378 w 4541661"/>
                <a:gd name="connsiteY4" fmla="*/ 1316735 h 1316736"/>
                <a:gd name="connsiteX5" fmla="*/ 658368 w 4541661"/>
                <a:gd name="connsiteY5" fmla="*/ 1316736 h 1316736"/>
                <a:gd name="connsiteX6" fmla="*/ 658358 w 4541661"/>
                <a:gd name="connsiteY6" fmla="*/ 1316735 h 1316736"/>
                <a:gd name="connsiteX7" fmla="*/ 595214 w 4541661"/>
                <a:gd name="connsiteY7" fmla="*/ 1316735 h 1316736"/>
                <a:gd name="connsiteX8" fmla="*/ 595214 w 4541661"/>
                <a:gd name="connsiteY8" fmla="*/ 1310370 h 1316736"/>
                <a:gd name="connsiteX9" fmla="*/ 525684 w 4541661"/>
                <a:gd name="connsiteY9" fmla="*/ 1303361 h 1316736"/>
                <a:gd name="connsiteX10" fmla="*/ 0 w 4541661"/>
                <a:gd name="connsiteY10" fmla="*/ 658368 h 1316736"/>
                <a:gd name="connsiteX11" fmla="*/ 525684 w 4541661"/>
                <a:gd name="connsiteY11" fmla="*/ 13376 h 1316736"/>
                <a:gd name="connsiteX12" fmla="*/ 595214 w 4541661"/>
                <a:gd name="connsiteY12" fmla="*/ 6367 h 1316736"/>
                <a:gd name="connsiteX13" fmla="*/ 595214 w 4541661"/>
                <a:gd name="connsiteY13" fmla="*/ 4883 h 1316736"/>
                <a:gd name="connsiteX14" fmla="*/ 609930 w 4541661"/>
                <a:gd name="connsiteY14" fmla="*/ 4883 h 1316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541661" h="1316736">
                  <a:moveTo>
                    <a:pt x="658368" y="0"/>
                  </a:moveTo>
                  <a:lnTo>
                    <a:pt x="706807" y="4883"/>
                  </a:lnTo>
                  <a:lnTo>
                    <a:pt x="4541661" y="4883"/>
                  </a:lnTo>
                  <a:lnTo>
                    <a:pt x="4541661" y="1316735"/>
                  </a:lnTo>
                  <a:lnTo>
                    <a:pt x="658378" y="1316735"/>
                  </a:lnTo>
                  <a:lnTo>
                    <a:pt x="658368" y="1316736"/>
                  </a:lnTo>
                  <a:lnTo>
                    <a:pt x="658358" y="1316735"/>
                  </a:lnTo>
                  <a:lnTo>
                    <a:pt x="595214" y="1316735"/>
                  </a:lnTo>
                  <a:lnTo>
                    <a:pt x="595214" y="1310370"/>
                  </a:lnTo>
                  <a:lnTo>
                    <a:pt x="525684" y="1303361"/>
                  </a:lnTo>
                  <a:cubicBezTo>
                    <a:pt x="225677" y="1241970"/>
                    <a:pt x="0" y="976524"/>
                    <a:pt x="0" y="658368"/>
                  </a:cubicBezTo>
                  <a:cubicBezTo>
                    <a:pt x="0" y="340212"/>
                    <a:pt x="225677" y="74766"/>
                    <a:pt x="525684" y="13376"/>
                  </a:cubicBezTo>
                  <a:lnTo>
                    <a:pt x="595214" y="6367"/>
                  </a:lnTo>
                  <a:lnTo>
                    <a:pt x="595214" y="4883"/>
                  </a:lnTo>
                  <a:lnTo>
                    <a:pt x="609930" y="488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3200">
                <a:cs typeface="+mn-ea"/>
                <a:sym typeface="+mn-lt"/>
              </a:endParaRPr>
            </a:p>
          </p:txBody>
        </p:sp>
        <p:grpSp>
          <p:nvGrpSpPr>
            <p:cNvPr id="75" name="组合 74">
              <a:extLst>
                <a:ext uri="{FF2B5EF4-FFF2-40B4-BE49-F238E27FC236}">
                  <a16:creationId xmlns:a16="http://schemas.microsoft.com/office/drawing/2014/main" id="{24DEBBB0-2F6F-4735-8A2B-F0F0B3C511D8}"/>
                </a:ext>
              </a:extLst>
            </p:cNvPr>
            <p:cNvGrpSpPr/>
            <p:nvPr/>
          </p:nvGrpSpPr>
          <p:grpSpPr>
            <a:xfrm>
              <a:off x="7873823" y="5200344"/>
              <a:ext cx="899349" cy="899349"/>
              <a:chOff x="7873823" y="4857444"/>
              <a:chExt cx="899349" cy="899349"/>
            </a:xfrm>
          </p:grpSpPr>
          <p:sp>
            <p:nvSpPr>
              <p:cNvPr id="77" name="Oval 103">
                <a:extLst>
                  <a:ext uri="{FF2B5EF4-FFF2-40B4-BE49-F238E27FC236}">
                    <a16:creationId xmlns:a16="http://schemas.microsoft.com/office/drawing/2014/main" id="{3716B360-D11C-441D-B02A-355705D30109}"/>
                  </a:ext>
                </a:extLst>
              </p:cNvPr>
              <p:cNvSpPr/>
              <p:nvPr/>
            </p:nvSpPr>
            <p:spPr>
              <a:xfrm>
                <a:off x="7873823" y="4857444"/>
                <a:ext cx="899349" cy="899349"/>
              </a:xfrm>
              <a:prstGeom prst="ellipse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200">
                  <a:cs typeface="+mn-ea"/>
                  <a:sym typeface="+mn-lt"/>
                </a:endParaRPr>
              </a:p>
            </p:txBody>
          </p:sp>
          <p:sp>
            <p:nvSpPr>
              <p:cNvPr id="78" name="Freeform 11">
                <a:extLst>
                  <a:ext uri="{FF2B5EF4-FFF2-40B4-BE49-F238E27FC236}">
                    <a16:creationId xmlns:a16="http://schemas.microsoft.com/office/drawing/2014/main" id="{2C89551B-D4D7-49D4-9B73-F6595F1A8B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60227" y="5083903"/>
                <a:ext cx="529199" cy="503192"/>
              </a:xfrm>
              <a:custGeom>
                <a:avLst/>
                <a:gdLst>
                  <a:gd name="T0" fmla="*/ 121 w 128"/>
                  <a:gd name="T1" fmla="*/ 14 h 122"/>
                  <a:gd name="T2" fmla="*/ 99 w 128"/>
                  <a:gd name="T3" fmla="*/ 122 h 122"/>
                  <a:gd name="T4" fmla="*/ 9 w 128"/>
                  <a:gd name="T5" fmla="*/ 14 h 122"/>
                  <a:gd name="T6" fmla="*/ 0 w 128"/>
                  <a:gd name="T7" fmla="*/ 7 h 122"/>
                  <a:gd name="T8" fmla="*/ 121 w 128"/>
                  <a:gd name="T9" fmla="*/ 0 h 122"/>
                  <a:gd name="T10" fmla="*/ 27 w 128"/>
                  <a:gd name="T11" fmla="*/ 14 h 122"/>
                  <a:gd name="T12" fmla="*/ 21 w 128"/>
                  <a:gd name="T13" fmla="*/ 21 h 122"/>
                  <a:gd name="T14" fmla="*/ 23 w 128"/>
                  <a:gd name="T15" fmla="*/ 29 h 122"/>
                  <a:gd name="T16" fmla="*/ 29 w 128"/>
                  <a:gd name="T17" fmla="*/ 46 h 122"/>
                  <a:gd name="T18" fmla="*/ 29 w 128"/>
                  <a:gd name="T19" fmla="*/ 22 h 122"/>
                  <a:gd name="T20" fmla="*/ 32 w 128"/>
                  <a:gd name="T21" fmla="*/ 78 h 122"/>
                  <a:gd name="T22" fmla="*/ 29 w 128"/>
                  <a:gd name="T23" fmla="*/ 56 h 122"/>
                  <a:gd name="T24" fmla="*/ 32 w 128"/>
                  <a:gd name="T25" fmla="*/ 78 h 122"/>
                  <a:gd name="T26" fmla="*/ 37 w 128"/>
                  <a:gd name="T27" fmla="*/ 14 h 122"/>
                  <a:gd name="T28" fmla="*/ 47 w 128"/>
                  <a:gd name="T29" fmla="*/ 29 h 122"/>
                  <a:gd name="T30" fmla="*/ 56 w 128"/>
                  <a:gd name="T31" fmla="*/ 14 h 122"/>
                  <a:gd name="T32" fmla="*/ 59 w 128"/>
                  <a:gd name="T33" fmla="*/ 51 h 122"/>
                  <a:gd name="T34" fmla="*/ 34 w 128"/>
                  <a:gd name="T35" fmla="*/ 51 h 122"/>
                  <a:gd name="T36" fmla="*/ 34 w 128"/>
                  <a:gd name="T37" fmla="*/ 86 h 122"/>
                  <a:gd name="T38" fmla="*/ 59 w 128"/>
                  <a:gd name="T39" fmla="*/ 86 h 122"/>
                  <a:gd name="T40" fmla="*/ 34 w 128"/>
                  <a:gd name="T41" fmla="*/ 86 h 122"/>
                  <a:gd name="T42" fmla="*/ 51 w 128"/>
                  <a:gd name="T43" fmla="*/ 112 h 122"/>
                  <a:gd name="T44" fmla="*/ 39 w 128"/>
                  <a:gd name="T45" fmla="*/ 112 h 122"/>
                  <a:gd name="T46" fmla="*/ 64 w 128"/>
                  <a:gd name="T47" fmla="*/ 22 h 122"/>
                  <a:gd name="T48" fmla="*/ 64 w 128"/>
                  <a:gd name="T49" fmla="*/ 46 h 122"/>
                  <a:gd name="T50" fmla="*/ 52 w 128"/>
                  <a:gd name="T51" fmla="*/ 68 h 122"/>
                  <a:gd name="T52" fmla="*/ 76 w 128"/>
                  <a:gd name="T53" fmla="*/ 68 h 122"/>
                  <a:gd name="T54" fmla="*/ 52 w 128"/>
                  <a:gd name="T55" fmla="*/ 68 h 122"/>
                  <a:gd name="T56" fmla="*/ 61 w 128"/>
                  <a:gd name="T57" fmla="*/ 112 h 122"/>
                  <a:gd name="T58" fmla="*/ 76 w 128"/>
                  <a:gd name="T59" fmla="*/ 103 h 122"/>
                  <a:gd name="T60" fmla="*/ 52 w 128"/>
                  <a:gd name="T61" fmla="*/ 103 h 122"/>
                  <a:gd name="T62" fmla="*/ 71 w 128"/>
                  <a:gd name="T63" fmla="*/ 14 h 122"/>
                  <a:gd name="T64" fmla="*/ 81 w 128"/>
                  <a:gd name="T65" fmla="*/ 29 h 122"/>
                  <a:gd name="T66" fmla="*/ 90 w 128"/>
                  <a:gd name="T67" fmla="*/ 14 h 122"/>
                  <a:gd name="T68" fmla="*/ 93 w 128"/>
                  <a:gd name="T69" fmla="*/ 51 h 122"/>
                  <a:gd name="T70" fmla="*/ 69 w 128"/>
                  <a:gd name="T71" fmla="*/ 51 h 122"/>
                  <a:gd name="T72" fmla="*/ 93 w 128"/>
                  <a:gd name="T73" fmla="*/ 86 h 122"/>
                  <a:gd name="T74" fmla="*/ 69 w 128"/>
                  <a:gd name="T75" fmla="*/ 86 h 122"/>
                  <a:gd name="T76" fmla="*/ 93 w 128"/>
                  <a:gd name="T77" fmla="*/ 86 h 122"/>
                  <a:gd name="T78" fmla="*/ 90 w 128"/>
                  <a:gd name="T79" fmla="*/ 112 h 122"/>
                  <a:gd name="T80" fmla="*/ 77 w 128"/>
                  <a:gd name="T81" fmla="*/ 112 h 122"/>
                  <a:gd name="T82" fmla="*/ 98 w 128"/>
                  <a:gd name="T83" fmla="*/ 22 h 122"/>
                  <a:gd name="T84" fmla="*/ 98 w 128"/>
                  <a:gd name="T85" fmla="*/ 46 h 122"/>
                  <a:gd name="T86" fmla="*/ 106 w 128"/>
                  <a:gd name="T87" fmla="*/ 30 h 122"/>
                  <a:gd name="T88" fmla="*/ 98 w 128"/>
                  <a:gd name="T89" fmla="*/ 56 h 122"/>
                  <a:gd name="T90" fmla="*/ 96 w 128"/>
                  <a:gd name="T91" fmla="*/ 79 h 122"/>
                  <a:gd name="T92" fmla="*/ 109 w 128"/>
                  <a:gd name="T93" fmla="*/ 14 h 122"/>
                  <a:gd name="T94" fmla="*/ 108 w 128"/>
                  <a:gd name="T95" fmla="*/ 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8" h="122">
                    <a:moveTo>
                      <a:pt x="128" y="7"/>
                    </a:moveTo>
                    <a:cubicBezTo>
                      <a:pt x="128" y="11"/>
                      <a:pt x="125" y="14"/>
                      <a:pt x="121" y="14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30" y="122"/>
                      <a:pt x="30" y="122"/>
                      <a:pt x="30" y="122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5" y="0"/>
                      <a:pt x="128" y="3"/>
                      <a:pt x="128" y="7"/>
                    </a:cubicBezTo>
                    <a:close/>
                    <a:moveTo>
                      <a:pt x="27" y="14"/>
                    </a:moveTo>
                    <a:cubicBezTo>
                      <a:pt x="20" y="14"/>
                      <a:pt x="20" y="14"/>
                      <a:pt x="20" y="14"/>
                    </a:cubicBezTo>
                    <a:cubicBezTo>
                      <a:pt x="21" y="21"/>
                      <a:pt x="21" y="21"/>
                      <a:pt x="21" y="21"/>
                    </a:cubicBezTo>
                    <a:lnTo>
                      <a:pt x="27" y="14"/>
                    </a:lnTo>
                    <a:close/>
                    <a:moveTo>
                      <a:pt x="23" y="29"/>
                    </a:moveTo>
                    <a:cubicBezTo>
                      <a:pt x="25" y="42"/>
                      <a:pt x="25" y="42"/>
                      <a:pt x="25" y="42"/>
                    </a:cubicBezTo>
                    <a:cubicBezTo>
                      <a:pt x="29" y="46"/>
                      <a:pt x="29" y="46"/>
                      <a:pt x="29" y="46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29" y="22"/>
                      <a:pt x="29" y="22"/>
                      <a:pt x="29" y="22"/>
                    </a:cubicBezTo>
                    <a:lnTo>
                      <a:pt x="23" y="29"/>
                    </a:lnTo>
                    <a:close/>
                    <a:moveTo>
                      <a:pt x="32" y="78"/>
                    </a:moveTo>
                    <a:cubicBezTo>
                      <a:pt x="42" y="68"/>
                      <a:pt x="42" y="68"/>
                      <a:pt x="42" y="68"/>
                    </a:cubicBezTo>
                    <a:cubicBezTo>
                      <a:pt x="29" y="56"/>
                      <a:pt x="29" y="56"/>
                      <a:pt x="29" y="56"/>
                    </a:cubicBezTo>
                    <a:cubicBezTo>
                      <a:pt x="28" y="58"/>
                      <a:pt x="28" y="58"/>
                      <a:pt x="28" y="58"/>
                    </a:cubicBezTo>
                    <a:lnTo>
                      <a:pt x="32" y="78"/>
                    </a:lnTo>
                    <a:close/>
                    <a:moveTo>
                      <a:pt x="56" y="14"/>
                    </a:moveTo>
                    <a:cubicBezTo>
                      <a:pt x="37" y="14"/>
                      <a:pt x="37" y="14"/>
                      <a:pt x="37" y="14"/>
                    </a:cubicBezTo>
                    <a:cubicBezTo>
                      <a:pt x="34" y="17"/>
                      <a:pt x="34" y="17"/>
                      <a:pt x="34" y="17"/>
                    </a:cubicBezTo>
                    <a:cubicBezTo>
                      <a:pt x="47" y="29"/>
                      <a:pt x="47" y="29"/>
                      <a:pt x="47" y="29"/>
                    </a:cubicBezTo>
                    <a:cubicBezTo>
                      <a:pt x="59" y="17"/>
                      <a:pt x="59" y="17"/>
                      <a:pt x="59" y="17"/>
                    </a:cubicBezTo>
                    <a:lnTo>
                      <a:pt x="56" y="14"/>
                    </a:lnTo>
                    <a:close/>
                    <a:moveTo>
                      <a:pt x="47" y="64"/>
                    </a:moveTo>
                    <a:cubicBezTo>
                      <a:pt x="59" y="51"/>
                      <a:pt x="59" y="51"/>
                      <a:pt x="59" y="51"/>
                    </a:cubicBezTo>
                    <a:cubicBezTo>
                      <a:pt x="47" y="39"/>
                      <a:pt x="47" y="39"/>
                      <a:pt x="47" y="39"/>
                    </a:cubicBezTo>
                    <a:cubicBezTo>
                      <a:pt x="34" y="51"/>
                      <a:pt x="34" y="51"/>
                      <a:pt x="34" y="51"/>
                    </a:cubicBezTo>
                    <a:lnTo>
                      <a:pt x="47" y="64"/>
                    </a:lnTo>
                    <a:close/>
                    <a:moveTo>
                      <a:pt x="34" y="86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9" y="86"/>
                      <a:pt x="59" y="86"/>
                      <a:pt x="59" y="86"/>
                    </a:cubicBezTo>
                    <a:cubicBezTo>
                      <a:pt x="47" y="74"/>
                      <a:pt x="47" y="74"/>
                      <a:pt x="47" y="74"/>
                    </a:cubicBezTo>
                    <a:lnTo>
                      <a:pt x="34" y="86"/>
                    </a:lnTo>
                    <a:close/>
                    <a:moveTo>
                      <a:pt x="39" y="112"/>
                    </a:moveTo>
                    <a:cubicBezTo>
                      <a:pt x="51" y="112"/>
                      <a:pt x="51" y="112"/>
                      <a:pt x="51" y="112"/>
                    </a:cubicBezTo>
                    <a:cubicBezTo>
                      <a:pt x="36" y="97"/>
                      <a:pt x="36" y="97"/>
                      <a:pt x="36" y="97"/>
                    </a:cubicBezTo>
                    <a:lnTo>
                      <a:pt x="39" y="112"/>
                    </a:lnTo>
                    <a:close/>
                    <a:moveTo>
                      <a:pt x="76" y="34"/>
                    </a:moveTo>
                    <a:cubicBezTo>
                      <a:pt x="64" y="22"/>
                      <a:pt x="64" y="22"/>
                      <a:pt x="64" y="22"/>
                    </a:cubicBezTo>
                    <a:cubicBezTo>
                      <a:pt x="52" y="34"/>
                      <a:pt x="52" y="34"/>
                      <a:pt x="52" y="34"/>
                    </a:cubicBezTo>
                    <a:cubicBezTo>
                      <a:pt x="64" y="46"/>
                      <a:pt x="64" y="46"/>
                      <a:pt x="64" y="46"/>
                    </a:cubicBezTo>
                    <a:lnTo>
                      <a:pt x="76" y="34"/>
                    </a:lnTo>
                    <a:close/>
                    <a:moveTo>
                      <a:pt x="52" y="68"/>
                    </a:moveTo>
                    <a:cubicBezTo>
                      <a:pt x="64" y="81"/>
                      <a:pt x="64" y="81"/>
                      <a:pt x="64" y="81"/>
                    </a:cubicBezTo>
                    <a:cubicBezTo>
                      <a:pt x="76" y="68"/>
                      <a:pt x="76" y="68"/>
                      <a:pt x="76" y="68"/>
                    </a:cubicBezTo>
                    <a:cubicBezTo>
                      <a:pt x="64" y="56"/>
                      <a:pt x="64" y="56"/>
                      <a:pt x="64" y="56"/>
                    </a:cubicBezTo>
                    <a:lnTo>
                      <a:pt x="52" y="68"/>
                    </a:lnTo>
                    <a:close/>
                    <a:moveTo>
                      <a:pt x="52" y="103"/>
                    </a:moveTo>
                    <a:cubicBezTo>
                      <a:pt x="61" y="112"/>
                      <a:pt x="61" y="112"/>
                      <a:pt x="61" y="112"/>
                    </a:cubicBezTo>
                    <a:cubicBezTo>
                      <a:pt x="67" y="112"/>
                      <a:pt x="67" y="112"/>
                      <a:pt x="67" y="112"/>
                    </a:cubicBezTo>
                    <a:cubicBezTo>
                      <a:pt x="76" y="103"/>
                      <a:pt x="76" y="103"/>
                      <a:pt x="76" y="103"/>
                    </a:cubicBezTo>
                    <a:cubicBezTo>
                      <a:pt x="64" y="91"/>
                      <a:pt x="64" y="91"/>
                      <a:pt x="64" y="91"/>
                    </a:cubicBezTo>
                    <a:lnTo>
                      <a:pt x="52" y="103"/>
                    </a:lnTo>
                    <a:close/>
                    <a:moveTo>
                      <a:pt x="90" y="14"/>
                    </a:moveTo>
                    <a:cubicBezTo>
                      <a:pt x="71" y="14"/>
                      <a:pt x="71" y="14"/>
                      <a:pt x="71" y="14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81" y="29"/>
                      <a:pt x="81" y="29"/>
                      <a:pt x="81" y="29"/>
                    </a:cubicBezTo>
                    <a:cubicBezTo>
                      <a:pt x="93" y="17"/>
                      <a:pt x="93" y="17"/>
                      <a:pt x="93" y="17"/>
                    </a:cubicBezTo>
                    <a:lnTo>
                      <a:pt x="90" y="14"/>
                    </a:lnTo>
                    <a:close/>
                    <a:moveTo>
                      <a:pt x="81" y="64"/>
                    </a:moveTo>
                    <a:cubicBezTo>
                      <a:pt x="93" y="51"/>
                      <a:pt x="93" y="51"/>
                      <a:pt x="93" y="51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69" y="51"/>
                      <a:pt x="69" y="51"/>
                      <a:pt x="69" y="51"/>
                    </a:cubicBezTo>
                    <a:lnTo>
                      <a:pt x="81" y="64"/>
                    </a:lnTo>
                    <a:close/>
                    <a:moveTo>
                      <a:pt x="93" y="86"/>
                    </a:moveTo>
                    <a:cubicBezTo>
                      <a:pt x="81" y="74"/>
                      <a:pt x="81" y="74"/>
                      <a:pt x="81" y="74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81" y="98"/>
                      <a:pt x="81" y="98"/>
                      <a:pt x="81" y="98"/>
                    </a:cubicBezTo>
                    <a:lnTo>
                      <a:pt x="93" y="86"/>
                    </a:lnTo>
                    <a:close/>
                    <a:moveTo>
                      <a:pt x="77" y="112"/>
                    </a:moveTo>
                    <a:cubicBezTo>
                      <a:pt x="90" y="112"/>
                      <a:pt x="90" y="112"/>
                      <a:pt x="90" y="112"/>
                    </a:cubicBezTo>
                    <a:cubicBezTo>
                      <a:pt x="93" y="95"/>
                      <a:pt x="93" y="95"/>
                      <a:pt x="93" y="95"/>
                    </a:cubicBezTo>
                    <a:lnTo>
                      <a:pt x="77" y="112"/>
                    </a:lnTo>
                    <a:close/>
                    <a:moveTo>
                      <a:pt x="106" y="30"/>
                    </a:moveTo>
                    <a:cubicBezTo>
                      <a:pt x="98" y="22"/>
                      <a:pt x="98" y="22"/>
                      <a:pt x="98" y="22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98" y="46"/>
                      <a:pt x="98" y="46"/>
                      <a:pt x="98" y="46"/>
                    </a:cubicBezTo>
                    <a:cubicBezTo>
                      <a:pt x="104" y="40"/>
                      <a:pt x="104" y="40"/>
                      <a:pt x="104" y="40"/>
                    </a:cubicBezTo>
                    <a:lnTo>
                      <a:pt x="106" y="30"/>
                    </a:lnTo>
                    <a:close/>
                    <a:moveTo>
                      <a:pt x="100" y="59"/>
                    </a:moveTo>
                    <a:cubicBezTo>
                      <a:pt x="98" y="56"/>
                      <a:pt x="98" y="56"/>
                      <a:pt x="98" y="56"/>
                    </a:cubicBezTo>
                    <a:cubicBezTo>
                      <a:pt x="86" y="68"/>
                      <a:pt x="86" y="68"/>
                      <a:pt x="86" y="68"/>
                    </a:cubicBezTo>
                    <a:cubicBezTo>
                      <a:pt x="96" y="79"/>
                      <a:pt x="96" y="79"/>
                      <a:pt x="96" y="79"/>
                    </a:cubicBezTo>
                    <a:lnTo>
                      <a:pt x="100" y="59"/>
                    </a:lnTo>
                    <a:close/>
                    <a:moveTo>
                      <a:pt x="109" y="14"/>
                    </a:moveTo>
                    <a:cubicBezTo>
                      <a:pt x="100" y="14"/>
                      <a:pt x="100" y="14"/>
                      <a:pt x="100" y="14"/>
                    </a:cubicBezTo>
                    <a:cubicBezTo>
                      <a:pt x="108" y="22"/>
                      <a:pt x="108" y="22"/>
                      <a:pt x="108" y="22"/>
                    </a:cubicBezTo>
                    <a:lnTo>
                      <a:pt x="109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>
                  <a:cs typeface="+mn-ea"/>
                  <a:sym typeface="+mn-lt"/>
                </a:endParaRPr>
              </a:p>
            </p:txBody>
          </p:sp>
        </p:grpSp>
        <p:sp>
          <p:nvSpPr>
            <p:cNvPr id="76" name="添加标题">
              <a:extLst>
                <a:ext uri="{FF2B5EF4-FFF2-40B4-BE49-F238E27FC236}">
                  <a16:creationId xmlns:a16="http://schemas.microsoft.com/office/drawing/2014/main" id="{C3C0AF93-4D3B-4CFC-9E92-9B4DC5FF8C24}"/>
                </a:ext>
              </a:extLst>
            </p:cNvPr>
            <p:cNvSpPr txBox="1"/>
            <p:nvPr/>
          </p:nvSpPr>
          <p:spPr>
            <a:xfrm>
              <a:off x="9031419" y="5133629"/>
              <a:ext cx="3057031" cy="1027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b="1" dirty="0">
                  <a:solidFill>
                    <a:srgbClr val="FFFFFF"/>
                  </a:solidFill>
                  <a:cs typeface="+mn-ea"/>
                  <a:sym typeface="+mn-lt"/>
                </a:rPr>
                <a:t>Add title text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200" dirty="0">
                  <a:solidFill>
                    <a:srgbClr val="FFFFFF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200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sp>
        <p:nvSpPr>
          <p:cNvPr id="79" name="Development Team…">
            <a:extLst>
              <a:ext uri="{FF2B5EF4-FFF2-40B4-BE49-F238E27FC236}">
                <a16:creationId xmlns:a16="http://schemas.microsoft.com/office/drawing/2014/main" id="{A5CEF8C6-237B-4A97-B625-41B792CD1D69}"/>
              </a:ext>
            </a:extLst>
          </p:cNvPr>
          <p:cNvSpPr/>
          <p:nvPr/>
        </p:nvSpPr>
        <p:spPr>
          <a:xfrm>
            <a:off x="1222630" y="4994843"/>
            <a:ext cx="985847" cy="8622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20000"/>
              </a:lnSpc>
              <a:defRPr sz="1600">
                <a:solidFill>
                  <a:srgbClr val="677180"/>
                </a:solidFill>
                <a:latin typeface="Roboto Slab Bold"/>
                <a:ea typeface="Roboto Slab Bold"/>
                <a:cs typeface="Roboto Slab Bold"/>
                <a:sym typeface="Roboto Slab Bold"/>
              </a:defRPr>
            </a:pPr>
            <a:r>
              <a:rPr lang="en-US" altLang="zh-CN" sz="1400" dirty="0">
                <a:solidFill>
                  <a:schemeClr val="accent1"/>
                </a:solidFill>
                <a:cs typeface="+mn-ea"/>
                <a:sym typeface="+mn-lt"/>
              </a:rPr>
              <a:t>Add title text</a:t>
            </a:r>
            <a:endParaRPr sz="1400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l">
              <a:lnSpc>
                <a:spcPct val="120000"/>
              </a:lnSpc>
              <a:defRPr sz="3200">
                <a:solidFill>
                  <a:srgbClr val="677180"/>
                </a:solidFill>
                <a:latin typeface="Roboto Slab Bold"/>
                <a:ea typeface="Roboto Slab Bold"/>
                <a:cs typeface="Roboto Slab Bold"/>
                <a:sym typeface="Roboto Slab Bold"/>
              </a:defRPr>
            </a:pPr>
            <a:r>
              <a:rPr lang="en-US" altLang="zh-CN" sz="3600" b="1" dirty="0">
                <a:solidFill>
                  <a:schemeClr val="accent1"/>
                </a:solidFill>
                <a:cs typeface="+mn-ea"/>
                <a:sym typeface="+mn-lt"/>
              </a:rPr>
              <a:t>65</a:t>
            </a:r>
            <a:r>
              <a:rPr sz="3600" b="1" dirty="0">
                <a:solidFill>
                  <a:schemeClr val="accent1"/>
                </a:solidFill>
                <a:cs typeface="+mn-ea"/>
                <a:sym typeface="+mn-lt"/>
              </a:rPr>
              <a:t>%</a:t>
            </a:r>
          </a:p>
        </p:txBody>
      </p:sp>
      <p:sp>
        <p:nvSpPr>
          <p:cNvPr id="80" name="Development Team…">
            <a:extLst>
              <a:ext uri="{FF2B5EF4-FFF2-40B4-BE49-F238E27FC236}">
                <a16:creationId xmlns:a16="http://schemas.microsoft.com/office/drawing/2014/main" id="{D8AE29F3-3E7E-41EF-8A91-F02620B0273A}"/>
              </a:ext>
            </a:extLst>
          </p:cNvPr>
          <p:cNvSpPr/>
          <p:nvPr/>
        </p:nvSpPr>
        <p:spPr>
          <a:xfrm>
            <a:off x="2959297" y="4994843"/>
            <a:ext cx="985847" cy="8622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20000"/>
              </a:lnSpc>
              <a:defRPr sz="1600">
                <a:solidFill>
                  <a:srgbClr val="677180"/>
                </a:solidFill>
                <a:latin typeface="Roboto Slab Bold"/>
                <a:ea typeface="Roboto Slab Bold"/>
                <a:cs typeface="Roboto Slab Bold"/>
                <a:sym typeface="Roboto Slab Bold"/>
              </a:defRPr>
            </a:pPr>
            <a:r>
              <a:rPr lang="en-US" altLang="zh-CN" sz="1400" dirty="0">
                <a:solidFill>
                  <a:schemeClr val="accent2"/>
                </a:solidFill>
                <a:cs typeface="+mn-ea"/>
                <a:sym typeface="+mn-lt"/>
              </a:rPr>
              <a:t>Add title text</a:t>
            </a:r>
          </a:p>
          <a:p>
            <a:pPr algn="l">
              <a:lnSpc>
                <a:spcPct val="120000"/>
              </a:lnSpc>
              <a:defRPr sz="1600">
                <a:solidFill>
                  <a:srgbClr val="677180"/>
                </a:solidFill>
                <a:latin typeface="Roboto Slab Bold"/>
                <a:ea typeface="Roboto Slab Bold"/>
                <a:cs typeface="Roboto Slab Bold"/>
                <a:sym typeface="Roboto Slab Bold"/>
              </a:defRPr>
            </a:pPr>
            <a:r>
              <a:rPr lang="en-ID" sz="3600" b="1" dirty="0">
                <a:solidFill>
                  <a:schemeClr val="accent2"/>
                </a:solidFill>
                <a:cs typeface="+mn-ea"/>
                <a:sym typeface="+mn-lt"/>
              </a:rPr>
              <a:t>45</a:t>
            </a:r>
            <a:r>
              <a:rPr sz="3600" b="1" dirty="0">
                <a:solidFill>
                  <a:schemeClr val="accent2"/>
                </a:solidFill>
                <a:cs typeface="+mn-ea"/>
                <a:sym typeface="+mn-lt"/>
              </a:rPr>
              <a:t>%</a:t>
            </a:r>
          </a:p>
        </p:txBody>
      </p:sp>
      <p:sp>
        <p:nvSpPr>
          <p:cNvPr id="81" name="Rectangle 8">
            <a:extLst>
              <a:ext uri="{FF2B5EF4-FFF2-40B4-BE49-F238E27FC236}">
                <a16:creationId xmlns:a16="http://schemas.microsoft.com/office/drawing/2014/main" id="{4F9A5D88-0E6C-4C46-8ACD-BD1E70F7A10F}"/>
              </a:ext>
            </a:extLst>
          </p:cNvPr>
          <p:cNvSpPr/>
          <p:nvPr/>
        </p:nvSpPr>
        <p:spPr>
          <a:xfrm>
            <a:off x="1117834" y="2520705"/>
            <a:ext cx="5127834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2" name="TextBox 9">
            <a:extLst>
              <a:ext uri="{FF2B5EF4-FFF2-40B4-BE49-F238E27FC236}">
                <a16:creationId xmlns:a16="http://schemas.microsoft.com/office/drawing/2014/main" id="{BE455446-C701-48B0-BB6B-80D4D42AF52B}"/>
              </a:ext>
            </a:extLst>
          </p:cNvPr>
          <p:cNvSpPr txBox="1"/>
          <p:nvPr/>
        </p:nvSpPr>
        <p:spPr>
          <a:xfrm>
            <a:off x="1093759" y="2036410"/>
            <a:ext cx="20473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>
                <a:cs typeface="+mn-ea"/>
                <a:sym typeface="+mn-lt"/>
              </a:rPr>
              <a:t>Add title text</a:t>
            </a:r>
            <a:endParaRPr lang="en-GB" sz="2400" b="1" dirty="0">
              <a:cs typeface="+mn-ea"/>
              <a:sym typeface="+mn-lt"/>
            </a:endParaRPr>
          </a:p>
        </p:txBody>
      </p:sp>
      <p:sp>
        <p:nvSpPr>
          <p:cNvPr id="83" name="Rectangle 8">
            <a:extLst>
              <a:ext uri="{FF2B5EF4-FFF2-40B4-BE49-F238E27FC236}">
                <a16:creationId xmlns:a16="http://schemas.microsoft.com/office/drawing/2014/main" id="{F7AED92C-2CE5-410B-B4A5-9593A7E63628}"/>
              </a:ext>
            </a:extLst>
          </p:cNvPr>
          <p:cNvSpPr/>
          <p:nvPr/>
        </p:nvSpPr>
        <p:spPr>
          <a:xfrm>
            <a:off x="1117834" y="3338339"/>
            <a:ext cx="5127834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4" name="Development Team…">
            <a:extLst>
              <a:ext uri="{FF2B5EF4-FFF2-40B4-BE49-F238E27FC236}">
                <a16:creationId xmlns:a16="http://schemas.microsoft.com/office/drawing/2014/main" id="{57F367F3-DCDF-4EF7-A6B8-A53ED6B040D2}"/>
              </a:ext>
            </a:extLst>
          </p:cNvPr>
          <p:cNvSpPr/>
          <p:nvPr/>
        </p:nvSpPr>
        <p:spPr>
          <a:xfrm>
            <a:off x="4695964" y="4994843"/>
            <a:ext cx="985847" cy="8622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20000"/>
              </a:lnSpc>
              <a:defRPr sz="1600">
                <a:solidFill>
                  <a:srgbClr val="677180"/>
                </a:solidFill>
                <a:latin typeface="Roboto Slab Bold"/>
                <a:ea typeface="Roboto Slab Bold"/>
                <a:cs typeface="Roboto Slab Bold"/>
                <a:sym typeface="Roboto Slab Bold"/>
              </a:defRPr>
            </a:pPr>
            <a:r>
              <a:rPr lang="en-US" altLang="zh-CN" sz="1400" dirty="0">
                <a:solidFill>
                  <a:schemeClr val="accent3"/>
                </a:solidFill>
                <a:cs typeface="+mn-ea"/>
                <a:sym typeface="+mn-lt"/>
              </a:rPr>
              <a:t>Add title text</a:t>
            </a:r>
          </a:p>
          <a:p>
            <a:pPr algn="l">
              <a:lnSpc>
                <a:spcPct val="120000"/>
              </a:lnSpc>
              <a:defRPr sz="1600">
                <a:solidFill>
                  <a:srgbClr val="677180"/>
                </a:solidFill>
                <a:latin typeface="Roboto Slab Bold"/>
                <a:ea typeface="Roboto Slab Bold"/>
                <a:cs typeface="Roboto Slab Bold"/>
                <a:sym typeface="Roboto Slab Bold"/>
              </a:defRPr>
            </a:pPr>
            <a:r>
              <a:rPr lang="en-ID" sz="3600" b="1" dirty="0">
                <a:solidFill>
                  <a:schemeClr val="accent3"/>
                </a:solidFill>
                <a:cs typeface="+mn-ea"/>
                <a:sym typeface="+mn-lt"/>
              </a:rPr>
              <a:t>35</a:t>
            </a:r>
            <a:r>
              <a:rPr sz="3600" b="1" dirty="0">
                <a:solidFill>
                  <a:schemeClr val="accent3"/>
                </a:solidFill>
                <a:cs typeface="+mn-ea"/>
                <a:sym typeface="+mn-lt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41694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 advTm="2000">
        <p14:pan dir="u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60" grpId="0" animBg="1"/>
      <p:bldP spid="79" grpId="0" animBg="1"/>
      <p:bldP spid="80" grpId="0" animBg="1"/>
      <p:bldP spid="81" grpId="0"/>
      <p:bldP spid="82" grpId="0"/>
      <p:bldP spid="83" grpId="0"/>
      <p:bldP spid="8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4427F95-E45B-45D3-8E59-B3E246C12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1E631A10-7E6E-4CB1-848B-0A52A43ED2A4}"/>
              </a:ext>
            </a:extLst>
          </p:cNvPr>
          <p:cNvGrpSpPr/>
          <p:nvPr/>
        </p:nvGrpSpPr>
        <p:grpSpPr>
          <a:xfrm>
            <a:off x="6591379" y="2912416"/>
            <a:ext cx="4865861" cy="1114216"/>
            <a:chOff x="668034" y="2036434"/>
            <a:chExt cx="4865861" cy="1114216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F8A3CDA0-5437-415E-BD8F-33561D5F68C7}"/>
                </a:ext>
              </a:extLst>
            </p:cNvPr>
            <p:cNvGrpSpPr/>
            <p:nvPr/>
          </p:nvGrpSpPr>
          <p:grpSpPr>
            <a:xfrm>
              <a:off x="668034" y="2182290"/>
              <a:ext cx="741070" cy="741070"/>
              <a:chOff x="671431" y="4984261"/>
              <a:chExt cx="914400" cy="914400"/>
            </a:xfrm>
          </p:grpSpPr>
          <p:sp>
            <p:nvSpPr>
              <p:cNvPr id="7" name="椭圆 6">
                <a:extLst>
                  <a:ext uri="{FF2B5EF4-FFF2-40B4-BE49-F238E27FC236}">
                    <a16:creationId xmlns:a16="http://schemas.microsoft.com/office/drawing/2014/main" id="{49301453-9E60-41D6-BBCA-711720DFECB3}"/>
                  </a:ext>
                </a:extLst>
              </p:cNvPr>
              <p:cNvSpPr/>
              <p:nvPr/>
            </p:nvSpPr>
            <p:spPr>
              <a:xfrm>
                <a:off x="671431" y="4984261"/>
                <a:ext cx="914400" cy="9144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grpSp>
            <p:nvGrpSpPr>
              <p:cNvPr id="8" name="Group 10">
                <a:extLst>
                  <a:ext uri="{FF2B5EF4-FFF2-40B4-BE49-F238E27FC236}">
                    <a16:creationId xmlns:a16="http://schemas.microsoft.com/office/drawing/2014/main" id="{23CC662D-5388-4C04-B877-C73D253EFDAF}"/>
                  </a:ext>
                </a:extLst>
              </p:cNvPr>
              <p:cNvGrpSpPr/>
              <p:nvPr/>
            </p:nvGrpSpPr>
            <p:grpSpPr>
              <a:xfrm>
                <a:off x="896461" y="5209293"/>
                <a:ext cx="464344" cy="464344"/>
                <a:chOff x="4439444" y="1652588"/>
                <a:chExt cx="464344" cy="464344"/>
              </a:xfrm>
              <a:solidFill>
                <a:srgbClr val="FFFFFF"/>
              </a:solidFill>
            </p:grpSpPr>
            <p:sp>
              <p:nvSpPr>
                <p:cNvPr id="9" name="AutoShape 136">
                  <a:extLst>
                    <a:ext uri="{FF2B5EF4-FFF2-40B4-BE49-F238E27FC236}">
                      <a16:creationId xmlns:a16="http://schemas.microsoft.com/office/drawing/2014/main" id="{A6213F10-E1CA-4B90-8246-6D662DCCC0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6300" y="1710532"/>
                  <a:ext cx="152400" cy="15240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9538" y="20579"/>
                      </a:moveTo>
                      <a:lnTo>
                        <a:pt x="19542" y="20579"/>
                      </a:lnTo>
                      <a:cubicBezTo>
                        <a:pt x="19546" y="21142"/>
                        <a:pt x="20004" y="21600"/>
                        <a:pt x="20571" y="21600"/>
                      </a:cubicBezTo>
                      <a:cubicBezTo>
                        <a:pt x="21137" y="21600"/>
                        <a:pt x="21599" y="21138"/>
                        <a:pt x="21599" y="20571"/>
                      </a:cubicBezTo>
                      <a:cubicBezTo>
                        <a:pt x="21599" y="20565"/>
                        <a:pt x="21595" y="20561"/>
                        <a:pt x="21595" y="20555"/>
                      </a:cubicBezTo>
                      <a:cubicBezTo>
                        <a:pt x="21583" y="9221"/>
                        <a:pt x="12411" y="41"/>
                        <a:pt x="1080" y="12"/>
                      </a:cubicBezTo>
                      <a:cubicBezTo>
                        <a:pt x="1064" y="10"/>
                        <a:pt x="1048" y="0"/>
                        <a:pt x="1028" y="0"/>
                      </a:cubicBezTo>
                      <a:cubicBezTo>
                        <a:pt x="458" y="0"/>
                        <a:pt x="0" y="461"/>
                        <a:pt x="0" y="1028"/>
                      </a:cubicBezTo>
                      <a:cubicBezTo>
                        <a:pt x="0" y="1594"/>
                        <a:pt x="458" y="2055"/>
                        <a:pt x="1024" y="2057"/>
                      </a:cubicBezTo>
                      <a:lnTo>
                        <a:pt x="1024" y="2065"/>
                      </a:lnTo>
                      <a:cubicBezTo>
                        <a:pt x="11233" y="2065"/>
                        <a:pt x="19538" y="10370"/>
                        <a:pt x="19538" y="20579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0" tIns="19050" rIns="19050" bIns="19050" anchor="ctr"/>
                <a:lstStyle/>
                <a:p>
                  <a:pPr algn="ctr" defTabSz="22860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cs typeface="+mn-ea"/>
                    <a:sym typeface="+mn-lt"/>
                  </a:endParaRPr>
                </a:p>
              </p:txBody>
            </p:sp>
            <p:sp>
              <p:nvSpPr>
                <p:cNvPr id="10" name="AutoShape 137">
                  <a:extLst>
                    <a:ext uri="{FF2B5EF4-FFF2-40B4-BE49-F238E27FC236}">
                      <a16:creationId xmlns:a16="http://schemas.microsoft.com/office/drawing/2014/main" id="{E590E7EF-CB2D-4B55-9C7C-F7DFB88EE3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9444" y="1652588"/>
                  <a:ext cx="464344" cy="464344"/>
                </a:xfrm>
                <a:custGeom>
                  <a:avLst/>
                  <a:gdLst>
                    <a:gd name="T0" fmla="+- 0 10819 195"/>
                    <a:gd name="T1" fmla="*/ T0 w 21248"/>
                    <a:gd name="T2" fmla="*/ 10800 h 21600"/>
                    <a:gd name="T3" fmla="+- 0 10819 195"/>
                    <a:gd name="T4" fmla="*/ T3 w 21248"/>
                    <a:gd name="T5" fmla="*/ 10800 h 21600"/>
                    <a:gd name="T6" fmla="+- 0 10819 195"/>
                    <a:gd name="T7" fmla="*/ T6 w 21248"/>
                    <a:gd name="T8" fmla="*/ 10800 h 21600"/>
                    <a:gd name="T9" fmla="+- 0 10819 195"/>
                    <a:gd name="T10" fmla="*/ T9 w 21248"/>
                    <a:gd name="T11" fmla="*/ 10800 h 21600"/>
                  </a:gdLst>
                  <a:ahLst/>
                  <a:cxnLst>
                    <a:cxn ang="0">
                      <a:pos x="T1" y="T2"/>
                    </a:cxn>
                    <a:cxn ang="0">
                      <a:pos x="T4" y="T5"/>
                    </a:cxn>
                    <a:cxn ang="0">
                      <a:pos x="T7" y="T8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1248" h="21600">
                      <a:moveTo>
                        <a:pt x="19868" y="17133"/>
                      </a:moveTo>
                      <a:cubicBezTo>
                        <a:pt x="19766" y="17386"/>
                        <a:pt x="19525" y="17549"/>
                        <a:pt x="19255" y="17549"/>
                      </a:cubicBezTo>
                      <a:lnTo>
                        <a:pt x="19058" y="17549"/>
                      </a:lnTo>
                      <a:lnTo>
                        <a:pt x="3983" y="2226"/>
                      </a:lnTo>
                      <a:lnTo>
                        <a:pt x="3983" y="2025"/>
                      </a:lnTo>
                      <a:cubicBezTo>
                        <a:pt x="3983" y="1750"/>
                        <a:pt x="4144" y="1506"/>
                        <a:pt x="4393" y="1401"/>
                      </a:cubicBezTo>
                      <a:cubicBezTo>
                        <a:pt x="4475" y="1367"/>
                        <a:pt x="4560" y="1350"/>
                        <a:pt x="4647" y="1350"/>
                      </a:cubicBezTo>
                      <a:cubicBezTo>
                        <a:pt x="4824" y="1350"/>
                        <a:pt x="4991" y="1420"/>
                        <a:pt x="5116" y="1547"/>
                      </a:cubicBezTo>
                      <a:lnTo>
                        <a:pt x="19724" y="16397"/>
                      </a:lnTo>
                      <a:cubicBezTo>
                        <a:pt x="19915" y="16591"/>
                        <a:pt x="19972" y="16880"/>
                        <a:pt x="19868" y="17133"/>
                      </a:cubicBezTo>
                      <a:moveTo>
                        <a:pt x="10121" y="17549"/>
                      </a:moveTo>
                      <a:cubicBezTo>
                        <a:pt x="10017" y="17549"/>
                        <a:pt x="9922" y="17586"/>
                        <a:pt x="9824" y="17609"/>
                      </a:cubicBezTo>
                      <a:lnTo>
                        <a:pt x="3923" y="11612"/>
                      </a:lnTo>
                      <a:cubicBezTo>
                        <a:pt x="3946" y="11512"/>
                        <a:pt x="3982" y="11415"/>
                        <a:pt x="3982" y="11311"/>
                      </a:cubicBezTo>
                      <a:lnTo>
                        <a:pt x="3983" y="3180"/>
                      </a:lnTo>
                      <a:lnTo>
                        <a:pt x="18119" y="17549"/>
                      </a:lnTo>
                      <a:cubicBezTo>
                        <a:pt x="18119" y="17549"/>
                        <a:pt x="10121" y="17549"/>
                        <a:pt x="10121" y="17549"/>
                      </a:cubicBezTo>
                      <a:close/>
                      <a:moveTo>
                        <a:pt x="9182" y="17945"/>
                      </a:moveTo>
                      <a:lnTo>
                        <a:pt x="7109" y="20052"/>
                      </a:lnTo>
                      <a:cubicBezTo>
                        <a:pt x="6939" y="20224"/>
                        <a:pt x="6742" y="20249"/>
                        <a:pt x="6640" y="20249"/>
                      </a:cubicBezTo>
                      <a:cubicBezTo>
                        <a:pt x="6537" y="20249"/>
                        <a:pt x="6339" y="20224"/>
                        <a:pt x="6170" y="20052"/>
                      </a:cubicBezTo>
                      <a:lnTo>
                        <a:pt x="1522" y="15327"/>
                      </a:lnTo>
                      <a:cubicBezTo>
                        <a:pt x="1352" y="15154"/>
                        <a:pt x="1327" y="14953"/>
                        <a:pt x="1327" y="14850"/>
                      </a:cubicBezTo>
                      <a:cubicBezTo>
                        <a:pt x="1327" y="14745"/>
                        <a:pt x="1352" y="14544"/>
                        <a:pt x="1522" y="14373"/>
                      </a:cubicBezTo>
                      <a:lnTo>
                        <a:pt x="3593" y="12266"/>
                      </a:lnTo>
                      <a:cubicBezTo>
                        <a:pt x="3599" y="12260"/>
                        <a:pt x="3601" y="12251"/>
                        <a:pt x="3607" y="12245"/>
                      </a:cubicBezTo>
                      <a:lnTo>
                        <a:pt x="9202" y="17932"/>
                      </a:lnTo>
                      <a:cubicBezTo>
                        <a:pt x="9196" y="17937"/>
                        <a:pt x="9187" y="17939"/>
                        <a:pt x="9182" y="17945"/>
                      </a:cubicBezTo>
                      <a:moveTo>
                        <a:pt x="6056" y="593"/>
                      </a:moveTo>
                      <a:cubicBezTo>
                        <a:pt x="5675" y="205"/>
                        <a:pt x="5165" y="0"/>
                        <a:pt x="4647" y="0"/>
                      </a:cubicBezTo>
                      <a:cubicBezTo>
                        <a:pt x="4390" y="0"/>
                        <a:pt x="4132" y="49"/>
                        <a:pt x="3885" y="154"/>
                      </a:cubicBezTo>
                      <a:cubicBezTo>
                        <a:pt x="3141" y="467"/>
                        <a:pt x="2655" y="1205"/>
                        <a:pt x="2655" y="2025"/>
                      </a:cubicBezTo>
                      <a:lnTo>
                        <a:pt x="2654" y="11311"/>
                      </a:lnTo>
                      <a:lnTo>
                        <a:pt x="583" y="13418"/>
                      </a:lnTo>
                      <a:cubicBezTo>
                        <a:pt x="-195" y="14208"/>
                        <a:pt x="-195" y="15491"/>
                        <a:pt x="583" y="16281"/>
                      </a:cubicBezTo>
                      <a:lnTo>
                        <a:pt x="5231" y="21006"/>
                      </a:lnTo>
                      <a:cubicBezTo>
                        <a:pt x="5620" y="21402"/>
                        <a:pt x="6131" y="21599"/>
                        <a:pt x="6640" y="21599"/>
                      </a:cubicBezTo>
                      <a:cubicBezTo>
                        <a:pt x="7150" y="21599"/>
                        <a:pt x="7659" y="21402"/>
                        <a:pt x="8048" y="21006"/>
                      </a:cubicBezTo>
                      <a:lnTo>
                        <a:pt x="10121" y="18900"/>
                      </a:lnTo>
                      <a:lnTo>
                        <a:pt x="19255" y="18900"/>
                      </a:lnTo>
                      <a:cubicBezTo>
                        <a:pt x="20062" y="18900"/>
                        <a:pt x="20788" y="18407"/>
                        <a:pt x="21095" y="17650"/>
                      </a:cubicBezTo>
                      <a:cubicBezTo>
                        <a:pt x="21405" y="16893"/>
                        <a:pt x="21234" y="16022"/>
                        <a:pt x="20663" y="15443"/>
                      </a:cubicBezTo>
                      <a:cubicBezTo>
                        <a:pt x="20663" y="15443"/>
                        <a:pt x="6056" y="593"/>
                        <a:pt x="6056" y="59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0" tIns="19050" rIns="19050" bIns="19050" anchor="ctr"/>
                <a:lstStyle/>
                <a:p>
                  <a:pPr algn="ctr" defTabSz="22860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cs typeface="+mn-ea"/>
                    <a:sym typeface="+mn-lt"/>
                  </a:endParaRPr>
                </a:p>
              </p:txBody>
            </p:sp>
            <p:sp>
              <p:nvSpPr>
                <p:cNvPr id="11" name="AutoShape 138">
                  <a:extLst>
                    <a:ext uri="{FF2B5EF4-FFF2-40B4-BE49-F238E27FC236}">
                      <a16:creationId xmlns:a16="http://schemas.microsoft.com/office/drawing/2014/main" id="{D691E1CB-857A-4ACD-A3E3-A63C874A18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6300" y="1652588"/>
                  <a:ext cx="217488" cy="217488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437" y="2880"/>
                      </a:moveTo>
                      <a:lnTo>
                        <a:pt x="1437" y="2885"/>
                      </a:lnTo>
                      <a:cubicBezTo>
                        <a:pt x="10965" y="2885"/>
                        <a:pt x="18717" y="10637"/>
                        <a:pt x="18717" y="20165"/>
                      </a:cubicBezTo>
                      <a:lnTo>
                        <a:pt x="18720" y="20165"/>
                      </a:lnTo>
                      <a:cubicBezTo>
                        <a:pt x="18722" y="20959"/>
                        <a:pt x="19366" y="21600"/>
                        <a:pt x="20160" y="21600"/>
                      </a:cubicBezTo>
                      <a:cubicBezTo>
                        <a:pt x="20955" y="21600"/>
                        <a:pt x="21599" y="20956"/>
                        <a:pt x="21599" y="20160"/>
                      </a:cubicBezTo>
                      <a:cubicBezTo>
                        <a:pt x="21599" y="20155"/>
                        <a:pt x="21597" y="20152"/>
                        <a:pt x="21597" y="20148"/>
                      </a:cubicBezTo>
                      <a:cubicBezTo>
                        <a:pt x="21588" y="9034"/>
                        <a:pt x="12588" y="28"/>
                        <a:pt x="1476" y="8"/>
                      </a:cubicBezTo>
                      <a:cubicBezTo>
                        <a:pt x="1465" y="7"/>
                        <a:pt x="1454" y="0"/>
                        <a:pt x="1440" y="0"/>
                      </a:cubicBezTo>
                      <a:cubicBezTo>
                        <a:pt x="644" y="0"/>
                        <a:pt x="0" y="644"/>
                        <a:pt x="0" y="1440"/>
                      </a:cubicBezTo>
                      <a:cubicBezTo>
                        <a:pt x="0" y="2234"/>
                        <a:pt x="644" y="2878"/>
                        <a:pt x="1437" y="288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0" tIns="19050" rIns="19050" bIns="19050" anchor="ctr"/>
                <a:lstStyle/>
                <a:p>
                  <a:pPr algn="ctr" defTabSz="22860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6" name="添加标题">
              <a:extLst>
                <a:ext uri="{FF2B5EF4-FFF2-40B4-BE49-F238E27FC236}">
                  <a16:creationId xmlns:a16="http://schemas.microsoft.com/office/drawing/2014/main" id="{BE3D454E-E7D7-48FA-A4E0-47881C639212}"/>
                </a:ext>
              </a:extLst>
            </p:cNvPr>
            <p:cNvSpPr txBox="1"/>
            <p:nvPr/>
          </p:nvSpPr>
          <p:spPr>
            <a:xfrm>
              <a:off x="1635072" y="2036434"/>
              <a:ext cx="3898823" cy="1114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b="1" dirty="0">
                  <a:solidFill>
                    <a:schemeClr val="accent1"/>
                  </a:solidFill>
                  <a:cs typeface="+mn-ea"/>
                  <a:sym typeface="+mn-lt"/>
                </a:rPr>
                <a:t>Add title text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2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44B36E7C-C9E8-405E-83CD-A45212480BE7}"/>
              </a:ext>
            </a:extLst>
          </p:cNvPr>
          <p:cNvGrpSpPr/>
          <p:nvPr/>
        </p:nvGrpSpPr>
        <p:grpSpPr>
          <a:xfrm>
            <a:off x="6591379" y="4181895"/>
            <a:ext cx="4865861" cy="1114216"/>
            <a:chOff x="668034" y="3414434"/>
            <a:chExt cx="4865861" cy="1114216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0504BE76-149B-455D-9A42-E831991EAFF2}"/>
                </a:ext>
              </a:extLst>
            </p:cNvPr>
            <p:cNvGrpSpPr/>
            <p:nvPr/>
          </p:nvGrpSpPr>
          <p:grpSpPr>
            <a:xfrm>
              <a:off x="668034" y="3560290"/>
              <a:ext cx="741070" cy="741070"/>
              <a:chOff x="6449085" y="4984261"/>
              <a:chExt cx="914401" cy="914400"/>
            </a:xfrm>
          </p:grpSpPr>
          <p:sp>
            <p:nvSpPr>
              <p:cNvPr id="15" name="椭圆 14">
                <a:extLst>
                  <a:ext uri="{FF2B5EF4-FFF2-40B4-BE49-F238E27FC236}">
                    <a16:creationId xmlns:a16="http://schemas.microsoft.com/office/drawing/2014/main" id="{4A568E01-C317-43E6-A4D8-626CAAA68011}"/>
                  </a:ext>
                </a:extLst>
              </p:cNvPr>
              <p:cNvSpPr/>
              <p:nvPr/>
            </p:nvSpPr>
            <p:spPr>
              <a:xfrm>
                <a:off x="6449085" y="4984261"/>
                <a:ext cx="914401" cy="9144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16" name="AutoShape 59">
                <a:extLst>
                  <a:ext uri="{FF2B5EF4-FFF2-40B4-BE49-F238E27FC236}">
                    <a16:creationId xmlns:a16="http://schemas.microsoft.com/office/drawing/2014/main" id="{28A18758-7036-434F-A1BF-88E0DEAC10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3710" y="5209293"/>
                <a:ext cx="465138" cy="464344"/>
              </a:xfrm>
              <a:custGeom>
                <a:avLst/>
                <a:gdLst>
                  <a:gd name="T0" fmla="+- 0 10794 23"/>
                  <a:gd name="T1" fmla="*/ T0 w 21543"/>
                  <a:gd name="T2" fmla="*/ 10800 h 21600"/>
                  <a:gd name="T3" fmla="+- 0 10794 23"/>
                  <a:gd name="T4" fmla="*/ T3 w 21543"/>
                  <a:gd name="T5" fmla="*/ 10800 h 21600"/>
                  <a:gd name="T6" fmla="+- 0 10794 23"/>
                  <a:gd name="T7" fmla="*/ T6 w 21543"/>
                  <a:gd name="T8" fmla="*/ 10800 h 21600"/>
                  <a:gd name="T9" fmla="+- 0 10794 23"/>
                  <a:gd name="T10" fmla="*/ T9 w 21543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1543" h="21600">
                    <a:moveTo>
                      <a:pt x="16976" y="19986"/>
                    </a:moveTo>
                    <a:lnTo>
                      <a:pt x="11226" y="17680"/>
                    </a:lnTo>
                    <a:cubicBezTo>
                      <a:pt x="11088" y="17626"/>
                      <a:pt x="10946" y="17608"/>
                      <a:pt x="10806" y="17600"/>
                    </a:cubicBezTo>
                    <a:lnTo>
                      <a:pt x="19660" y="3837"/>
                    </a:lnTo>
                    <a:cubicBezTo>
                      <a:pt x="19660" y="3837"/>
                      <a:pt x="16976" y="19986"/>
                      <a:pt x="16976" y="19986"/>
                    </a:cubicBezTo>
                    <a:close/>
                    <a:moveTo>
                      <a:pt x="6859" y="16244"/>
                    </a:moveTo>
                    <a:cubicBezTo>
                      <a:pt x="6858" y="16242"/>
                      <a:pt x="6855" y="16240"/>
                      <a:pt x="6854" y="16238"/>
                    </a:cubicBezTo>
                    <a:lnTo>
                      <a:pt x="19606" y="2552"/>
                    </a:lnTo>
                    <a:lnTo>
                      <a:pt x="8735" y="19536"/>
                    </a:lnTo>
                    <a:cubicBezTo>
                      <a:pt x="8735" y="19536"/>
                      <a:pt x="6859" y="16244"/>
                      <a:pt x="6859" y="16244"/>
                    </a:cubicBezTo>
                    <a:close/>
                    <a:moveTo>
                      <a:pt x="2111" y="14024"/>
                    </a:moveTo>
                    <a:lnTo>
                      <a:pt x="17712" y="3595"/>
                    </a:lnTo>
                    <a:lnTo>
                      <a:pt x="6369" y="15770"/>
                    </a:lnTo>
                    <a:cubicBezTo>
                      <a:pt x="6309" y="15734"/>
                      <a:pt x="6256" y="15687"/>
                      <a:pt x="6190" y="15660"/>
                    </a:cubicBezTo>
                    <a:cubicBezTo>
                      <a:pt x="6190" y="15660"/>
                      <a:pt x="2111" y="14024"/>
                      <a:pt x="2111" y="14024"/>
                    </a:cubicBezTo>
                    <a:close/>
                    <a:moveTo>
                      <a:pt x="21234" y="108"/>
                    </a:moveTo>
                    <a:cubicBezTo>
                      <a:pt x="21123" y="35"/>
                      <a:pt x="20996" y="0"/>
                      <a:pt x="20868" y="0"/>
                    </a:cubicBezTo>
                    <a:cubicBezTo>
                      <a:pt x="20738" y="0"/>
                      <a:pt x="20608" y="36"/>
                      <a:pt x="20495" y="113"/>
                    </a:cubicBezTo>
                    <a:lnTo>
                      <a:pt x="299" y="13613"/>
                    </a:lnTo>
                    <a:cubicBezTo>
                      <a:pt x="91" y="13751"/>
                      <a:pt x="-23" y="13995"/>
                      <a:pt x="3" y="14244"/>
                    </a:cubicBezTo>
                    <a:cubicBezTo>
                      <a:pt x="28" y="14494"/>
                      <a:pt x="190" y="14708"/>
                      <a:pt x="422" y="14801"/>
                    </a:cubicBezTo>
                    <a:lnTo>
                      <a:pt x="5689" y="16914"/>
                    </a:lnTo>
                    <a:lnTo>
                      <a:pt x="8166" y="21259"/>
                    </a:lnTo>
                    <a:cubicBezTo>
                      <a:pt x="8284" y="21468"/>
                      <a:pt x="8505" y="21597"/>
                      <a:pt x="8743" y="21599"/>
                    </a:cubicBezTo>
                    <a:lnTo>
                      <a:pt x="8751" y="21599"/>
                    </a:lnTo>
                    <a:cubicBezTo>
                      <a:pt x="8987" y="21599"/>
                      <a:pt x="9206" y="21474"/>
                      <a:pt x="9328" y="21271"/>
                    </a:cubicBezTo>
                    <a:lnTo>
                      <a:pt x="10726" y="18934"/>
                    </a:lnTo>
                    <a:lnTo>
                      <a:pt x="17253" y="21551"/>
                    </a:lnTo>
                    <a:cubicBezTo>
                      <a:pt x="17332" y="21584"/>
                      <a:pt x="17418" y="21599"/>
                      <a:pt x="17502" y="21599"/>
                    </a:cubicBezTo>
                    <a:cubicBezTo>
                      <a:pt x="17617" y="21599"/>
                      <a:pt x="17731" y="21571"/>
                      <a:pt x="17832" y="21512"/>
                    </a:cubicBezTo>
                    <a:cubicBezTo>
                      <a:pt x="18010" y="21412"/>
                      <a:pt x="18133" y="21238"/>
                      <a:pt x="18167" y="21035"/>
                    </a:cubicBezTo>
                    <a:lnTo>
                      <a:pt x="21533" y="785"/>
                    </a:lnTo>
                    <a:cubicBezTo>
                      <a:pt x="21576" y="520"/>
                      <a:pt x="21459" y="254"/>
                      <a:pt x="21234" y="10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</p:grpSp>
        <p:sp>
          <p:nvSpPr>
            <p:cNvPr id="14" name="添加标题">
              <a:extLst>
                <a:ext uri="{FF2B5EF4-FFF2-40B4-BE49-F238E27FC236}">
                  <a16:creationId xmlns:a16="http://schemas.microsoft.com/office/drawing/2014/main" id="{BD65C60C-159E-410E-911B-AB7C64D3A456}"/>
                </a:ext>
              </a:extLst>
            </p:cNvPr>
            <p:cNvSpPr txBox="1"/>
            <p:nvPr/>
          </p:nvSpPr>
          <p:spPr>
            <a:xfrm>
              <a:off x="1635072" y="3414434"/>
              <a:ext cx="3898823" cy="1114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b="1" dirty="0">
                  <a:solidFill>
                    <a:schemeClr val="accent2"/>
                  </a:solidFill>
                  <a:cs typeface="+mn-ea"/>
                  <a:sym typeface="+mn-lt"/>
                </a:rPr>
                <a:t>Add title text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30877B68-ADEA-43CC-9A4B-57027AB26F8D}"/>
              </a:ext>
            </a:extLst>
          </p:cNvPr>
          <p:cNvGrpSpPr/>
          <p:nvPr/>
        </p:nvGrpSpPr>
        <p:grpSpPr>
          <a:xfrm>
            <a:off x="6591379" y="5451375"/>
            <a:ext cx="4865861" cy="1114216"/>
            <a:chOff x="668034" y="4575393"/>
            <a:chExt cx="4865861" cy="1114216"/>
          </a:xfrm>
        </p:grpSpPr>
        <p:sp>
          <p:nvSpPr>
            <p:cNvPr id="18" name="添加标题">
              <a:extLst>
                <a:ext uri="{FF2B5EF4-FFF2-40B4-BE49-F238E27FC236}">
                  <a16:creationId xmlns:a16="http://schemas.microsoft.com/office/drawing/2014/main" id="{C27C44CE-6CB4-4D8A-BFBD-FAF35791653C}"/>
                </a:ext>
              </a:extLst>
            </p:cNvPr>
            <p:cNvSpPr txBox="1"/>
            <p:nvPr/>
          </p:nvSpPr>
          <p:spPr>
            <a:xfrm>
              <a:off x="1635072" y="4575393"/>
              <a:ext cx="3898823" cy="1114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b="1" dirty="0">
                  <a:solidFill>
                    <a:schemeClr val="accent3"/>
                  </a:solidFill>
                  <a:cs typeface="+mn-ea"/>
                  <a:sym typeface="+mn-lt"/>
                </a:rPr>
                <a:t>Add title text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67D796BE-4BE3-4976-95E7-D031A7F874D3}"/>
                </a:ext>
              </a:extLst>
            </p:cNvPr>
            <p:cNvGrpSpPr/>
            <p:nvPr/>
          </p:nvGrpSpPr>
          <p:grpSpPr>
            <a:xfrm>
              <a:off x="668034" y="4721249"/>
              <a:ext cx="741070" cy="741070"/>
              <a:chOff x="668034" y="4897764"/>
              <a:chExt cx="741070" cy="741070"/>
            </a:xfrm>
          </p:grpSpPr>
          <p:sp>
            <p:nvSpPr>
              <p:cNvPr id="20" name="椭圆 19">
                <a:extLst>
                  <a:ext uri="{FF2B5EF4-FFF2-40B4-BE49-F238E27FC236}">
                    <a16:creationId xmlns:a16="http://schemas.microsoft.com/office/drawing/2014/main" id="{C38CB65B-3EA3-4FA0-9E47-37969A121681}"/>
                  </a:ext>
                </a:extLst>
              </p:cNvPr>
              <p:cNvSpPr/>
              <p:nvPr/>
            </p:nvSpPr>
            <p:spPr>
              <a:xfrm>
                <a:off x="668034" y="4897764"/>
                <a:ext cx="741070" cy="74107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grpSp>
            <p:nvGrpSpPr>
              <p:cNvPr id="21" name="组合 20">
                <a:extLst>
                  <a:ext uri="{FF2B5EF4-FFF2-40B4-BE49-F238E27FC236}">
                    <a16:creationId xmlns:a16="http://schemas.microsoft.com/office/drawing/2014/main" id="{85EC6B9B-56E0-4BB5-ACC3-C3A1E8A40CAA}"/>
                  </a:ext>
                </a:extLst>
              </p:cNvPr>
              <p:cNvGrpSpPr/>
              <p:nvPr/>
            </p:nvGrpSpPr>
            <p:grpSpPr>
              <a:xfrm>
                <a:off x="852210" y="5081940"/>
                <a:ext cx="372718" cy="372718"/>
                <a:chOff x="4427654" y="3049909"/>
                <a:chExt cx="464344" cy="464344"/>
              </a:xfrm>
              <a:solidFill>
                <a:srgbClr val="FFFFFF"/>
              </a:solidFill>
            </p:grpSpPr>
            <p:sp>
              <p:nvSpPr>
                <p:cNvPr id="22" name="AutoShape 123">
                  <a:extLst>
                    <a:ext uri="{FF2B5EF4-FFF2-40B4-BE49-F238E27FC236}">
                      <a16:creationId xmlns:a16="http://schemas.microsoft.com/office/drawing/2014/main" id="{4A6E1070-AC18-46BB-BB82-0EF8901047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7654" y="3049909"/>
                  <a:ext cx="464344" cy="464344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8180" y="12132"/>
                      </a:moveTo>
                      <a:cubicBezTo>
                        <a:pt x="17710" y="12226"/>
                        <a:pt x="17327" y="12561"/>
                        <a:pt x="17170" y="13012"/>
                      </a:cubicBezTo>
                      <a:cubicBezTo>
                        <a:pt x="17083" y="13261"/>
                        <a:pt x="16981" y="13503"/>
                        <a:pt x="16868" y="13738"/>
                      </a:cubicBezTo>
                      <a:cubicBezTo>
                        <a:pt x="16658" y="14169"/>
                        <a:pt x="16694" y="14677"/>
                        <a:pt x="16959" y="15075"/>
                      </a:cubicBezTo>
                      <a:lnTo>
                        <a:pt x="18131" y="16833"/>
                      </a:lnTo>
                      <a:lnTo>
                        <a:pt x="16832" y="18132"/>
                      </a:lnTo>
                      <a:lnTo>
                        <a:pt x="15075" y="16960"/>
                      </a:lnTo>
                      <a:cubicBezTo>
                        <a:pt x="14850" y="16810"/>
                        <a:pt x="14589" y="16733"/>
                        <a:pt x="14326" y="16733"/>
                      </a:cubicBezTo>
                      <a:cubicBezTo>
                        <a:pt x="14126" y="16733"/>
                        <a:pt x="13924" y="16778"/>
                        <a:pt x="13738" y="16868"/>
                      </a:cubicBezTo>
                      <a:cubicBezTo>
                        <a:pt x="13504" y="16981"/>
                        <a:pt x="13262" y="17083"/>
                        <a:pt x="13012" y="17170"/>
                      </a:cubicBezTo>
                      <a:cubicBezTo>
                        <a:pt x="12561" y="17327"/>
                        <a:pt x="12226" y="17712"/>
                        <a:pt x="12133" y="18180"/>
                      </a:cubicBezTo>
                      <a:lnTo>
                        <a:pt x="11717" y="20249"/>
                      </a:lnTo>
                      <a:lnTo>
                        <a:pt x="9881" y="20249"/>
                      </a:lnTo>
                      <a:lnTo>
                        <a:pt x="9467" y="18180"/>
                      </a:lnTo>
                      <a:cubicBezTo>
                        <a:pt x="9373" y="17712"/>
                        <a:pt x="9039" y="17327"/>
                        <a:pt x="8588" y="17170"/>
                      </a:cubicBezTo>
                      <a:cubicBezTo>
                        <a:pt x="8339" y="17083"/>
                        <a:pt x="8096" y="16983"/>
                        <a:pt x="7861" y="16869"/>
                      </a:cubicBezTo>
                      <a:cubicBezTo>
                        <a:pt x="7675" y="16778"/>
                        <a:pt x="7474" y="16733"/>
                        <a:pt x="7273" y="16733"/>
                      </a:cubicBezTo>
                      <a:cubicBezTo>
                        <a:pt x="7011" y="16733"/>
                        <a:pt x="6750" y="16810"/>
                        <a:pt x="6525" y="16960"/>
                      </a:cubicBezTo>
                      <a:lnTo>
                        <a:pt x="4767" y="18132"/>
                      </a:lnTo>
                      <a:lnTo>
                        <a:pt x="3468" y="16833"/>
                      </a:lnTo>
                      <a:lnTo>
                        <a:pt x="4639" y="15075"/>
                      </a:lnTo>
                      <a:cubicBezTo>
                        <a:pt x="4904" y="14677"/>
                        <a:pt x="4939" y="14169"/>
                        <a:pt x="4732" y="13738"/>
                      </a:cubicBezTo>
                      <a:cubicBezTo>
                        <a:pt x="4618" y="13504"/>
                        <a:pt x="4516" y="13263"/>
                        <a:pt x="4429" y="13013"/>
                      </a:cubicBezTo>
                      <a:cubicBezTo>
                        <a:pt x="4273" y="12561"/>
                        <a:pt x="3888" y="12227"/>
                        <a:pt x="3419" y="12133"/>
                      </a:cubicBezTo>
                      <a:lnTo>
                        <a:pt x="1350" y="11718"/>
                      </a:lnTo>
                      <a:lnTo>
                        <a:pt x="1349" y="9882"/>
                      </a:lnTo>
                      <a:lnTo>
                        <a:pt x="3419" y="9468"/>
                      </a:lnTo>
                      <a:cubicBezTo>
                        <a:pt x="3888" y="9374"/>
                        <a:pt x="4273" y="9039"/>
                        <a:pt x="4429" y="8588"/>
                      </a:cubicBezTo>
                      <a:cubicBezTo>
                        <a:pt x="4516" y="8338"/>
                        <a:pt x="4617" y="8096"/>
                        <a:pt x="4731" y="7862"/>
                      </a:cubicBezTo>
                      <a:cubicBezTo>
                        <a:pt x="4940" y="7431"/>
                        <a:pt x="4905" y="6923"/>
                        <a:pt x="4639" y="6524"/>
                      </a:cubicBezTo>
                      <a:lnTo>
                        <a:pt x="3468" y="4767"/>
                      </a:lnTo>
                      <a:lnTo>
                        <a:pt x="4767" y="3468"/>
                      </a:lnTo>
                      <a:lnTo>
                        <a:pt x="6525" y="4639"/>
                      </a:lnTo>
                      <a:cubicBezTo>
                        <a:pt x="6750" y="4790"/>
                        <a:pt x="7011" y="4866"/>
                        <a:pt x="7273" y="4866"/>
                      </a:cubicBezTo>
                      <a:cubicBezTo>
                        <a:pt x="7474" y="4866"/>
                        <a:pt x="7674" y="4822"/>
                        <a:pt x="7861" y="4732"/>
                      </a:cubicBezTo>
                      <a:cubicBezTo>
                        <a:pt x="8095" y="4619"/>
                        <a:pt x="8337" y="4517"/>
                        <a:pt x="8586" y="4430"/>
                      </a:cubicBezTo>
                      <a:cubicBezTo>
                        <a:pt x="9039" y="4272"/>
                        <a:pt x="9373" y="3888"/>
                        <a:pt x="9467" y="3420"/>
                      </a:cubicBezTo>
                      <a:lnTo>
                        <a:pt x="9881" y="1350"/>
                      </a:lnTo>
                      <a:lnTo>
                        <a:pt x="11717" y="1350"/>
                      </a:lnTo>
                      <a:lnTo>
                        <a:pt x="12131" y="3420"/>
                      </a:lnTo>
                      <a:cubicBezTo>
                        <a:pt x="12225" y="3888"/>
                        <a:pt x="12560" y="4272"/>
                        <a:pt x="13012" y="4430"/>
                      </a:cubicBezTo>
                      <a:cubicBezTo>
                        <a:pt x="13261" y="4517"/>
                        <a:pt x="13502" y="4617"/>
                        <a:pt x="13737" y="4731"/>
                      </a:cubicBezTo>
                      <a:cubicBezTo>
                        <a:pt x="13924" y="4822"/>
                        <a:pt x="14125" y="4866"/>
                        <a:pt x="14326" y="4866"/>
                      </a:cubicBezTo>
                      <a:cubicBezTo>
                        <a:pt x="14589" y="4866"/>
                        <a:pt x="14850" y="4790"/>
                        <a:pt x="15075" y="4639"/>
                      </a:cubicBezTo>
                      <a:lnTo>
                        <a:pt x="16832" y="3468"/>
                      </a:lnTo>
                      <a:lnTo>
                        <a:pt x="18131" y="4767"/>
                      </a:lnTo>
                      <a:lnTo>
                        <a:pt x="16959" y="6524"/>
                      </a:lnTo>
                      <a:cubicBezTo>
                        <a:pt x="16694" y="6923"/>
                        <a:pt x="16660" y="7431"/>
                        <a:pt x="16867" y="7861"/>
                      </a:cubicBezTo>
                      <a:cubicBezTo>
                        <a:pt x="16980" y="8096"/>
                        <a:pt x="17083" y="8337"/>
                        <a:pt x="17170" y="8587"/>
                      </a:cubicBezTo>
                      <a:cubicBezTo>
                        <a:pt x="17327" y="9039"/>
                        <a:pt x="17710" y="9373"/>
                        <a:pt x="18180" y="9467"/>
                      </a:cubicBezTo>
                      <a:lnTo>
                        <a:pt x="20248" y="9882"/>
                      </a:lnTo>
                      <a:lnTo>
                        <a:pt x="20250" y="11718"/>
                      </a:lnTo>
                      <a:cubicBezTo>
                        <a:pt x="20250" y="11718"/>
                        <a:pt x="18180" y="12132"/>
                        <a:pt x="18180" y="12132"/>
                      </a:cubicBezTo>
                      <a:close/>
                      <a:moveTo>
                        <a:pt x="20513" y="8558"/>
                      </a:moveTo>
                      <a:lnTo>
                        <a:pt x="18445" y="8143"/>
                      </a:lnTo>
                      <a:cubicBezTo>
                        <a:pt x="18341" y="7844"/>
                        <a:pt x="18218" y="7554"/>
                        <a:pt x="18082" y="7273"/>
                      </a:cubicBezTo>
                      <a:lnTo>
                        <a:pt x="19254" y="5516"/>
                      </a:lnTo>
                      <a:cubicBezTo>
                        <a:pt x="19611" y="4980"/>
                        <a:pt x="19540" y="4268"/>
                        <a:pt x="19085" y="3813"/>
                      </a:cubicBezTo>
                      <a:lnTo>
                        <a:pt x="17787" y="2514"/>
                      </a:lnTo>
                      <a:cubicBezTo>
                        <a:pt x="17526" y="2253"/>
                        <a:pt x="17181" y="2118"/>
                        <a:pt x="16831" y="2118"/>
                      </a:cubicBezTo>
                      <a:cubicBezTo>
                        <a:pt x="16573" y="2118"/>
                        <a:pt x="16312" y="2193"/>
                        <a:pt x="16084" y="2345"/>
                      </a:cubicBezTo>
                      <a:lnTo>
                        <a:pt x="14326" y="3516"/>
                      </a:lnTo>
                      <a:cubicBezTo>
                        <a:pt x="14044" y="3380"/>
                        <a:pt x="13754" y="3258"/>
                        <a:pt x="13455" y="3155"/>
                      </a:cubicBezTo>
                      <a:lnTo>
                        <a:pt x="13041" y="1085"/>
                      </a:lnTo>
                      <a:cubicBezTo>
                        <a:pt x="12916" y="454"/>
                        <a:pt x="12361" y="0"/>
                        <a:pt x="11717" y="0"/>
                      </a:cubicBezTo>
                      <a:lnTo>
                        <a:pt x="9881" y="0"/>
                      </a:lnTo>
                      <a:cubicBezTo>
                        <a:pt x="9238" y="0"/>
                        <a:pt x="8684" y="454"/>
                        <a:pt x="8557" y="1085"/>
                      </a:cubicBezTo>
                      <a:lnTo>
                        <a:pt x="8143" y="3155"/>
                      </a:lnTo>
                      <a:cubicBezTo>
                        <a:pt x="7843" y="3258"/>
                        <a:pt x="7554" y="3381"/>
                        <a:pt x="7273" y="3516"/>
                      </a:cubicBezTo>
                      <a:lnTo>
                        <a:pt x="5516" y="2345"/>
                      </a:lnTo>
                      <a:cubicBezTo>
                        <a:pt x="5287" y="2193"/>
                        <a:pt x="5026" y="2118"/>
                        <a:pt x="4767" y="2118"/>
                      </a:cubicBezTo>
                      <a:cubicBezTo>
                        <a:pt x="4419" y="2118"/>
                        <a:pt x="4073" y="2253"/>
                        <a:pt x="3812" y="2514"/>
                      </a:cubicBezTo>
                      <a:lnTo>
                        <a:pt x="2514" y="3813"/>
                      </a:lnTo>
                      <a:cubicBezTo>
                        <a:pt x="2059" y="4268"/>
                        <a:pt x="1988" y="4980"/>
                        <a:pt x="2345" y="5516"/>
                      </a:cubicBezTo>
                      <a:lnTo>
                        <a:pt x="3516" y="7273"/>
                      </a:lnTo>
                      <a:cubicBezTo>
                        <a:pt x="3380" y="7555"/>
                        <a:pt x="3258" y="7844"/>
                        <a:pt x="3154" y="8144"/>
                      </a:cubicBezTo>
                      <a:lnTo>
                        <a:pt x="1085" y="8558"/>
                      </a:lnTo>
                      <a:cubicBezTo>
                        <a:pt x="454" y="8684"/>
                        <a:pt x="0" y="9238"/>
                        <a:pt x="0" y="9882"/>
                      </a:cubicBezTo>
                      <a:lnTo>
                        <a:pt x="0" y="11718"/>
                      </a:lnTo>
                      <a:cubicBezTo>
                        <a:pt x="0" y="12361"/>
                        <a:pt x="454" y="12916"/>
                        <a:pt x="1085" y="13042"/>
                      </a:cubicBezTo>
                      <a:lnTo>
                        <a:pt x="3154" y="13456"/>
                      </a:lnTo>
                      <a:cubicBezTo>
                        <a:pt x="3258" y="13755"/>
                        <a:pt x="3380" y="14046"/>
                        <a:pt x="3516" y="14326"/>
                      </a:cubicBezTo>
                      <a:lnTo>
                        <a:pt x="2345" y="16083"/>
                      </a:lnTo>
                      <a:cubicBezTo>
                        <a:pt x="1988" y="16619"/>
                        <a:pt x="2059" y="17332"/>
                        <a:pt x="2514" y="17787"/>
                      </a:cubicBezTo>
                      <a:lnTo>
                        <a:pt x="3812" y="19086"/>
                      </a:lnTo>
                      <a:cubicBezTo>
                        <a:pt x="4073" y="19346"/>
                        <a:pt x="4419" y="19482"/>
                        <a:pt x="4767" y="19482"/>
                      </a:cubicBezTo>
                      <a:cubicBezTo>
                        <a:pt x="5026" y="19482"/>
                        <a:pt x="5287" y="19406"/>
                        <a:pt x="5516" y="19254"/>
                      </a:cubicBezTo>
                      <a:lnTo>
                        <a:pt x="7273" y="18083"/>
                      </a:lnTo>
                      <a:cubicBezTo>
                        <a:pt x="7554" y="18220"/>
                        <a:pt x="7843" y="18341"/>
                        <a:pt x="8143" y="18445"/>
                      </a:cubicBezTo>
                      <a:lnTo>
                        <a:pt x="8557" y="20514"/>
                      </a:lnTo>
                      <a:cubicBezTo>
                        <a:pt x="8684" y="21146"/>
                        <a:pt x="9238" y="21599"/>
                        <a:pt x="9881" y="21599"/>
                      </a:cubicBezTo>
                      <a:lnTo>
                        <a:pt x="11717" y="21599"/>
                      </a:lnTo>
                      <a:cubicBezTo>
                        <a:pt x="12361" y="21599"/>
                        <a:pt x="12916" y="21146"/>
                        <a:pt x="13041" y="20514"/>
                      </a:cubicBezTo>
                      <a:lnTo>
                        <a:pt x="13456" y="18445"/>
                      </a:lnTo>
                      <a:cubicBezTo>
                        <a:pt x="13755" y="18341"/>
                        <a:pt x="14046" y="18219"/>
                        <a:pt x="14326" y="18083"/>
                      </a:cubicBezTo>
                      <a:lnTo>
                        <a:pt x="16084" y="19254"/>
                      </a:lnTo>
                      <a:cubicBezTo>
                        <a:pt x="16312" y="19406"/>
                        <a:pt x="16573" y="19482"/>
                        <a:pt x="16831" y="19482"/>
                      </a:cubicBezTo>
                      <a:cubicBezTo>
                        <a:pt x="17181" y="19482"/>
                        <a:pt x="17526" y="19346"/>
                        <a:pt x="17787" y="19086"/>
                      </a:cubicBezTo>
                      <a:lnTo>
                        <a:pt x="19085" y="17787"/>
                      </a:lnTo>
                      <a:cubicBezTo>
                        <a:pt x="19540" y="17332"/>
                        <a:pt x="19611" y="16619"/>
                        <a:pt x="19254" y="16083"/>
                      </a:cubicBezTo>
                      <a:lnTo>
                        <a:pt x="18082" y="14326"/>
                      </a:lnTo>
                      <a:cubicBezTo>
                        <a:pt x="18219" y="14045"/>
                        <a:pt x="18341" y="13755"/>
                        <a:pt x="18445" y="13456"/>
                      </a:cubicBezTo>
                      <a:lnTo>
                        <a:pt x="20513" y="13042"/>
                      </a:lnTo>
                      <a:cubicBezTo>
                        <a:pt x="21145" y="12916"/>
                        <a:pt x="21599" y="12361"/>
                        <a:pt x="21599" y="11718"/>
                      </a:cubicBezTo>
                      <a:lnTo>
                        <a:pt x="21599" y="9882"/>
                      </a:lnTo>
                      <a:cubicBezTo>
                        <a:pt x="21599" y="9238"/>
                        <a:pt x="21145" y="8684"/>
                        <a:pt x="20513" y="855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0" tIns="19050" rIns="19050" bIns="19050" anchor="ctr"/>
                <a:lstStyle/>
                <a:p>
                  <a:pPr algn="ctr" defTabSz="22860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cs typeface="+mn-ea"/>
                    <a:sym typeface="+mn-lt"/>
                  </a:endParaRPr>
                </a:p>
              </p:txBody>
            </p:sp>
            <p:sp>
              <p:nvSpPr>
                <p:cNvPr id="23" name="AutoShape 124">
                  <a:extLst>
                    <a:ext uri="{FF2B5EF4-FFF2-40B4-BE49-F238E27FC236}">
                      <a16:creationId xmlns:a16="http://schemas.microsoft.com/office/drawing/2014/main" id="{BACFCCC4-7EC3-4971-BE9B-C1937034A7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8623" y="3180084"/>
                  <a:ext cx="203200" cy="20320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0800" y="20250"/>
                      </a:moveTo>
                      <a:cubicBezTo>
                        <a:pt x="5580" y="20250"/>
                        <a:pt x="1350" y="16017"/>
                        <a:pt x="1350" y="10800"/>
                      </a:cubicBezTo>
                      <a:cubicBezTo>
                        <a:pt x="1350" y="5582"/>
                        <a:pt x="5580" y="1349"/>
                        <a:pt x="10800" y="1349"/>
                      </a:cubicBezTo>
                      <a:cubicBezTo>
                        <a:pt x="16016" y="1349"/>
                        <a:pt x="20250" y="5582"/>
                        <a:pt x="20250" y="10800"/>
                      </a:cubicBezTo>
                      <a:cubicBezTo>
                        <a:pt x="20250" y="16017"/>
                        <a:pt x="16016" y="20250"/>
                        <a:pt x="10800" y="20250"/>
                      </a:cubicBezTo>
                      <a:moveTo>
                        <a:pt x="10800" y="0"/>
                      </a:moveTo>
                      <a:cubicBezTo>
                        <a:pt x="4836" y="0"/>
                        <a:pt x="0" y="4836"/>
                        <a:pt x="0" y="10800"/>
                      </a:cubicBezTo>
                      <a:cubicBezTo>
                        <a:pt x="0" y="16763"/>
                        <a:pt x="4836" y="21600"/>
                        <a:pt x="10800" y="21600"/>
                      </a:cubicBezTo>
                      <a:cubicBezTo>
                        <a:pt x="16763" y="21600"/>
                        <a:pt x="21599" y="16763"/>
                        <a:pt x="21599" y="10800"/>
                      </a:cubicBezTo>
                      <a:cubicBezTo>
                        <a:pt x="21599" y="4836"/>
                        <a:pt x="16763" y="0"/>
                        <a:pt x="1080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0" tIns="19050" rIns="19050" bIns="19050" anchor="ctr"/>
                <a:lstStyle/>
                <a:p>
                  <a:pPr algn="ctr" defTabSz="22860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AutoShape 125">
                  <a:extLst>
                    <a:ext uri="{FF2B5EF4-FFF2-40B4-BE49-F238E27FC236}">
                      <a16:creationId xmlns:a16="http://schemas.microsoft.com/office/drawing/2014/main" id="{3347631A-A38C-4BA7-8A9B-A81320C9E1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01485" y="3223740"/>
                  <a:ext cx="116682" cy="116682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0800" y="18900"/>
                      </a:moveTo>
                      <a:cubicBezTo>
                        <a:pt x="6328" y="18900"/>
                        <a:pt x="2699" y="15271"/>
                        <a:pt x="2699" y="10800"/>
                      </a:cubicBezTo>
                      <a:cubicBezTo>
                        <a:pt x="2699" y="6329"/>
                        <a:pt x="6328" y="2700"/>
                        <a:pt x="10800" y="2700"/>
                      </a:cubicBezTo>
                      <a:cubicBezTo>
                        <a:pt x="15271" y="2700"/>
                        <a:pt x="18899" y="6329"/>
                        <a:pt x="18899" y="10800"/>
                      </a:cubicBezTo>
                      <a:cubicBezTo>
                        <a:pt x="18899" y="15271"/>
                        <a:pt x="15271" y="18900"/>
                        <a:pt x="10800" y="18900"/>
                      </a:cubicBezTo>
                      <a:moveTo>
                        <a:pt x="10800" y="0"/>
                      </a:moveTo>
                      <a:cubicBezTo>
                        <a:pt x="4830" y="0"/>
                        <a:pt x="0" y="4833"/>
                        <a:pt x="0" y="10800"/>
                      </a:cubicBezTo>
                      <a:cubicBezTo>
                        <a:pt x="0" y="16766"/>
                        <a:pt x="4830" y="21599"/>
                        <a:pt x="10800" y="21599"/>
                      </a:cubicBezTo>
                      <a:cubicBezTo>
                        <a:pt x="16764" y="21599"/>
                        <a:pt x="21600" y="16766"/>
                        <a:pt x="21600" y="10800"/>
                      </a:cubicBezTo>
                      <a:cubicBezTo>
                        <a:pt x="21600" y="4833"/>
                        <a:pt x="16764" y="0"/>
                        <a:pt x="1080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lIns="19050" tIns="19050" rIns="19050" bIns="19050" anchor="ctr"/>
                <a:lstStyle/>
                <a:p>
                  <a:pPr algn="ctr" defTabSz="22860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cs typeface="+mn-ea"/>
                    <a:sym typeface="+mn-lt"/>
                  </a:endParaRPr>
                </a:p>
              </p:txBody>
            </p:sp>
          </p:grpSp>
        </p:grp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E678EB54-3E3E-4BFF-9B16-071EACD5E9DE}"/>
              </a:ext>
            </a:extLst>
          </p:cNvPr>
          <p:cNvGrpSpPr/>
          <p:nvPr/>
        </p:nvGrpSpPr>
        <p:grpSpPr>
          <a:xfrm>
            <a:off x="690354" y="1320485"/>
            <a:ext cx="10766885" cy="1450247"/>
            <a:chOff x="589633" y="2754996"/>
            <a:chExt cx="10766885" cy="1450247"/>
          </a:xfrm>
        </p:grpSpPr>
        <p:sp>
          <p:nvSpPr>
            <p:cNvPr id="26" name="Rectangle 8">
              <a:extLst>
                <a:ext uri="{FF2B5EF4-FFF2-40B4-BE49-F238E27FC236}">
                  <a16:creationId xmlns:a16="http://schemas.microsoft.com/office/drawing/2014/main" id="{41DABEAD-E9E1-4BF8-8B52-BE99C89FC848}"/>
                </a:ext>
              </a:extLst>
            </p:cNvPr>
            <p:cNvSpPr/>
            <p:nvPr/>
          </p:nvSpPr>
          <p:spPr>
            <a:xfrm>
              <a:off x="589633" y="3419900"/>
              <a:ext cx="10766885" cy="7853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sz="16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text content, such as keywords, some brief introductions, </a:t>
              </a:r>
              <a:r>
                <a:rPr lang="en-US" altLang="zh-CN" sz="1600" dirty="0" err="1">
                  <a:solidFill>
                    <a:schemeClr val="tx2"/>
                  </a:solidFill>
                  <a:cs typeface="+mn-ea"/>
                  <a:sym typeface="+mn-lt"/>
                </a:rPr>
                <a:t>etc.Click</a:t>
              </a:r>
              <a:r>
                <a:rPr lang="en-US" altLang="zh-CN" sz="1600" dirty="0">
                  <a:solidFill>
                    <a:schemeClr val="tx2"/>
                  </a:solidFill>
                  <a:cs typeface="+mn-ea"/>
                  <a:sym typeface="+mn-lt"/>
                </a:rPr>
                <a:t> here to add content, content to match the title. text content, such as keywords, some brief introductions, etc.</a:t>
              </a:r>
              <a:endParaRPr lang="zh-CN" altLang="en-US" sz="16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27" name="TextBox 9">
              <a:extLst>
                <a:ext uri="{FF2B5EF4-FFF2-40B4-BE49-F238E27FC236}">
                  <a16:creationId xmlns:a16="http://schemas.microsoft.com/office/drawing/2014/main" id="{2E7F1D79-93FB-44F8-9EA2-FC12F31F1689}"/>
                </a:ext>
              </a:extLst>
            </p:cNvPr>
            <p:cNvSpPr txBox="1"/>
            <p:nvPr/>
          </p:nvSpPr>
          <p:spPr>
            <a:xfrm>
              <a:off x="589633" y="2754996"/>
              <a:ext cx="236314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just"/>
              <a:r>
                <a: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rPr>
                <a:t>Add title text</a:t>
              </a:r>
            </a:p>
          </p:txBody>
        </p:sp>
        <p:cxnSp>
          <p:nvCxnSpPr>
            <p:cNvPr id="28" name="直接连接符 27">
              <a:extLst>
                <a:ext uri="{FF2B5EF4-FFF2-40B4-BE49-F238E27FC236}">
                  <a16:creationId xmlns:a16="http://schemas.microsoft.com/office/drawing/2014/main" id="{5A5FC916-D4B1-46E3-9F1D-DCCF36FDB8FF}"/>
                </a:ext>
              </a:extLst>
            </p:cNvPr>
            <p:cNvCxnSpPr>
              <a:cxnSpLocks/>
            </p:cNvCxnSpPr>
            <p:nvPr/>
          </p:nvCxnSpPr>
          <p:spPr>
            <a:xfrm>
              <a:off x="689657" y="3314679"/>
              <a:ext cx="300492" cy="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图片 29">
            <a:extLst>
              <a:ext uri="{FF2B5EF4-FFF2-40B4-BE49-F238E27FC236}">
                <a16:creationId xmlns:a16="http://schemas.microsoft.com/office/drawing/2014/main" id="{28DAC3DB-2704-4A88-B40C-05CABB24A2B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354" y="2912416"/>
            <a:ext cx="5405646" cy="3241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509373"/>
      </p:ext>
    </p:extLst>
  </p:cSld>
  <p:clrMapOvr>
    <a:masterClrMapping/>
  </p:clrMapOvr>
  <p:transition spd="slow" advClick="0" advTm="2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1217E115-5EAB-4182-9079-724BCAD07AC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0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6858000 h 6858000"/>
              <a:gd name="connsiteX3" fmla="*/ 0 w 12193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461A0B30-5DA8-4FA7-B20C-99AF41D81759}"/>
              </a:ext>
            </a:extLst>
          </p:cNvPr>
          <p:cNvSpPr/>
          <p:nvPr/>
        </p:nvSpPr>
        <p:spPr>
          <a:xfrm>
            <a:off x="-600" y="0"/>
            <a:ext cx="12193200" cy="6858000"/>
          </a:xfrm>
          <a:prstGeom prst="rect">
            <a:avLst/>
          </a:prstGeom>
          <a:solidFill>
            <a:srgbClr val="000000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2346D13F-FF36-4900-9868-A9F61E5BD2C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0898" y="0"/>
            <a:ext cx="4784504" cy="6858000"/>
          </a:xfrm>
          <a:custGeom>
            <a:avLst/>
            <a:gdLst>
              <a:gd name="connsiteX0" fmla="*/ 2758478 w 4784504"/>
              <a:gd name="connsiteY0" fmla="*/ 0 h 6858000"/>
              <a:gd name="connsiteX1" fmla="*/ 4784504 w 4784504"/>
              <a:gd name="connsiteY1" fmla="*/ 0 h 6858000"/>
              <a:gd name="connsiteX2" fmla="*/ 2162477 w 4784504"/>
              <a:gd name="connsiteY2" fmla="*/ 2622027 h 6858000"/>
              <a:gd name="connsiteX3" fmla="*/ 2162477 w 4784504"/>
              <a:gd name="connsiteY3" fmla="*/ 4235974 h 6858000"/>
              <a:gd name="connsiteX4" fmla="*/ 4784504 w 4784504"/>
              <a:gd name="connsiteY4" fmla="*/ 6858000 h 6858000"/>
              <a:gd name="connsiteX5" fmla="*/ 2758478 w 4784504"/>
              <a:gd name="connsiteY5" fmla="*/ 6858000 h 6858000"/>
              <a:gd name="connsiteX6" fmla="*/ 474129 w 4784504"/>
              <a:gd name="connsiteY6" fmla="*/ 4573651 h 6858000"/>
              <a:gd name="connsiteX7" fmla="*/ 474129 w 4784504"/>
              <a:gd name="connsiteY7" fmla="*/ 2284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4504" h="6858000">
                <a:moveTo>
                  <a:pt x="2758478" y="0"/>
                </a:moveTo>
                <a:lnTo>
                  <a:pt x="4784504" y="0"/>
                </a:lnTo>
                <a:lnTo>
                  <a:pt x="2162477" y="2622027"/>
                </a:lnTo>
                <a:cubicBezTo>
                  <a:pt x="1716800" y="3067704"/>
                  <a:pt x="1716800" y="3790296"/>
                  <a:pt x="2162477" y="4235974"/>
                </a:cubicBezTo>
                <a:lnTo>
                  <a:pt x="4784504" y="6858000"/>
                </a:lnTo>
                <a:lnTo>
                  <a:pt x="2758478" y="6858000"/>
                </a:lnTo>
                <a:lnTo>
                  <a:pt x="474129" y="4573651"/>
                </a:lnTo>
                <a:cubicBezTo>
                  <a:pt x="-158042" y="3941480"/>
                  <a:pt x="-158042" y="2916520"/>
                  <a:pt x="474129" y="228435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BFE0BA57-1FF8-468F-8F97-1362767032A4}"/>
              </a:ext>
            </a:extLst>
          </p:cNvPr>
          <p:cNvSpPr/>
          <p:nvPr/>
        </p:nvSpPr>
        <p:spPr>
          <a:xfrm rot="18900000" flipH="1">
            <a:off x="399615" y="288023"/>
            <a:ext cx="6281955" cy="6281955"/>
          </a:xfrm>
          <a:custGeom>
            <a:avLst/>
            <a:gdLst>
              <a:gd name="connsiteX0" fmla="*/ 1432617 w 6281955"/>
              <a:gd name="connsiteY0" fmla="*/ 0 h 6281955"/>
              <a:gd name="connsiteX1" fmla="*/ 0 w 6281955"/>
              <a:gd name="connsiteY1" fmla="*/ 1432617 h 6281955"/>
              <a:gd name="connsiteX2" fmla="*/ 3708106 w 6281955"/>
              <a:gd name="connsiteY2" fmla="*/ 1432617 h 6281955"/>
              <a:gd name="connsiteX3" fmla="*/ 4849338 w 6281955"/>
              <a:gd name="connsiteY3" fmla="*/ 2573849 h 6281955"/>
              <a:gd name="connsiteX4" fmla="*/ 4849338 w 6281955"/>
              <a:gd name="connsiteY4" fmla="*/ 6281955 h 6281955"/>
              <a:gd name="connsiteX5" fmla="*/ 6281955 w 6281955"/>
              <a:gd name="connsiteY5" fmla="*/ 4849338 h 6281955"/>
              <a:gd name="connsiteX6" fmla="*/ 6281955 w 6281955"/>
              <a:gd name="connsiteY6" fmla="*/ 1618780 h 6281955"/>
              <a:gd name="connsiteX7" fmla="*/ 4663174 w 6281955"/>
              <a:gd name="connsiteY7" fmla="*/ 0 h 6281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1955" h="6281955">
                <a:moveTo>
                  <a:pt x="1432617" y="0"/>
                </a:moveTo>
                <a:lnTo>
                  <a:pt x="0" y="1432617"/>
                </a:lnTo>
                <a:lnTo>
                  <a:pt x="3708106" y="1432617"/>
                </a:lnTo>
                <a:cubicBezTo>
                  <a:pt x="4338388" y="1432617"/>
                  <a:pt x="4849338" y="1943567"/>
                  <a:pt x="4849338" y="2573849"/>
                </a:cubicBezTo>
                <a:lnTo>
                  <a:pt x="4849338" y="6281955"/>
                </a:lnTo>
                <a:lnTo>
                  <a:pt x="6281955" y="4849338"/>
                </a:lnTo>
                <a:lnTo>
                  <a:pt x="6281955" y="1618780"/>
                </a:lnTo>
                <a:cubicBezTo>
                  <a:pt x="6281955" y="724756"/>
                  <a:pt x="5557199" y="0"/>
                  <a:pt x="4663174" y="0"/>
                </a:cubicBezTo>
                <a:close/>
              </a:path>
            </a:pathLst>
          </a:custGeom>
          <a:solidFill>
            <a:schemeClr val="accent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52CAF641-F811-44EA-B6BB-67037F7586F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38395" y="0"/>
            <a:ext cx="4784504" cy="6858000"/>
          </a:xfrm>
          <a:custGeom>
            <a:avLst/>
            <a:gdLst>
              <a:gd name="connsiteX0" fmla="*/ 2758478 w 4784504"/>
              <a:gd name="connsiteY0" fmla="*/ 0 h 6858000"/>
              <a:gd name="connsiteX1" fmla="*/ 4784504 w 4784504"/>
              <a:gd name="connsiteY1" fmla="*/ 0 h 6858000"/>
              <a:gd name="connsiteX2" fmla="*/ 2162477 w 4784504"/>
              <a:gd name="connsiteY2" fmla="*/ 2622027 h 6858000"/>
              <a:gd name="connsiteX3" fmla="*/ 2162477 w 4784504"/>
              <a:gd name="connsiteY3" fmla="*/ 4235974 h 6858000"/>
              <a:gd name="connsiteX4" fmla="*/ 4784504 w 4784504"/>
              <a:gd name="connsiteY4" fmla="*/ 6858000 h 6858000"/>
              <a:gd name="connsiteX5" fmla="*/ 2758478 w 4784504"/>
              <a:gd name="connsiteY5" fmla="*/ 6858000 h 6858000"/>
              <a:gd name="connsiteX6" fmla="*/ 474129 w 4784504"/>
              <a:gd name="connsiteY6" fmla="*/ 4573651 h 6858000"/>
              <a:gd name="connsiteX7" fmla="*/ 474129 w 4784504"/>
              <a:gd name="connsiteY7" fmla="*/ 2284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4504" h="6858000">
                <a:moveTo>
                  <a:pt x="2758478" y="0"/>
                </a:moveTo>
                <a:lnTo>
                  <a:pt x="4784504" y="0"/>
                </a:lnTo>
                <a:lnTo>
                  <a:pt x="2162477" y="2622027"/>
                </a:lnTo>
                <a:cubicBezTo>
                  <a:pt x="1716800" y="3067704"/>
                  <a:pt x="1716800" y="3790296"/>
                  <a:pt x="2162477" y="4235974"/>
                </a:cubicBezTo>
                <a:lnTo>
                  <a:pt x="4784504" y="6858000"/>
                </a:lnTo>
                <a:lnTo>
                  <a:pt x="2758478" y="6858000"/>
                </a:lnTo>
                <a:lnTo>
                  <a:pt x="474129" y="4573651"/>
                </a:lnTo>
                <a:cubicBezTo>
                  <a:pt x="-158042" y="3941480"/>
                  <a:pt x="-158042" y="2916520"/>
                  <a:pt x="474129" y="228435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6D12842C-F7F0-4893-8DF1-C3A7E625DDC8}"/>
              </a:ext>
            </a:extLst>
          </p:cNvPr>
          <p:cNvSpPr/>
          <p:nvPr/>
        </p:nvSpPr>
        <p:spPr>
          <a:xfrm rot="2700000">
            <a:off x="5510431" y="288023"/>
            <a:ext cx="6281955" cy="6281955"/>
          </a:xfrm>
          <a:custGeom>
            <a:avLst/>
            <a:gdLst>
              <a:gd name="connsiteX0" fmla="*/ 1432617 w 6281955"/>
              <a:gd name="connsiteY0" fmla="*/ 0 h 6281955"/>
              <a:gd name="connsiteX1" fmla="*/ 0 w 6281955"/>
              <a:gd name="connsiteY1" fmla="*/ 1432617 h 6281955"/>
              <a:gd name="connsiteX2" fmla="*/ 3708106 w 6281955"/>
              <a:gd name="connsiteY2" fmla="*/ 1432617 h 6281955"/>
              <a:gd name="connsiteX3" fmla="*/ 4849338 w 6281955"/>
              <a:gd name="connsiteY3" fmla="*/ 2573849 h 6281955"/>
              <a:gd name="connsiteX4" fmla="*/ 4849338 w 6281955"/>
              <a:gd name="connsiteY4" fmla="*/ 6281955 h 6281955"/>
              <a:gd name="connsiteX5" fmla="*/ 6281955 w 6281955"/>
              <a:gd name="connsiteY5" fmla="*/ 4849338 h 6281955"/>
              <a:gd name="connsiteX6" fmla="*/ 6281955 w 6281955"/>
              <a:gd name="connsiteY6" fmla="*/ 1618780 h 6281955"/>
              <a:gd name="connsiteX7" fmla="*/ 4663174 w 6281955"/>
              <a:gd name="connsiteY7" fmla="*/ 0 h 6281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1955" h="6281955">
                <a:moveTo>
                  <a:pt x="1432617" y="0"/>
                </a:moveTo>
                <a:lnTo>
                  <a:pt x="0" y="1432617"/>
                </a:lnTo>
                <a:lnTo>
                  <a:pt x="3708106" y="1432617"/>
                </a:lnTo>
                <a:cubicBezTo>
                  <a:pt x="4338388" y="1432617"/>
                  <a:pt x="4849338" y="1943567"/>
                  <a:pt x="4849338" y="2573849"/>
                </a:cubicBezTo>
                <a:lnTo>
                  <a:pt x="4849338" y="6281955"/>
                </a:lnTo>
                <a:lnTo>
                  <a:pt x="6281955" y="4849338"/>
                </a:lnTo>
                <a:lnTo>
                  <a:pt x="6281955" y="1618780"/>
                </a:lnTo>
                <a:cubicBezTo>
                  <a:pt x="6281955" y="724756"/>
                  <a:pt x="5557199" y="0"/>
                  <a:pt x="4663174" y="0"/>
                </a:cubicBezTo>
                <a:close/>
              </a:path>
            </a:pathLst>
          </a:custGeom>
          <a:solidFill>
            <a:schemeClr val="accent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文本框">
            <a:extLst>
              <a:ext uri="{FF2B5EF4-FFF2-40B4-BE49-F238E27FC236}">
                <a16:creationId xmlns:a16="http://schemas.microsoft.com/office/drawing/2014/main" id="{A15423CB-91DE-4A84-A74D-529CB4F92558}"/>
              </a:ext>
            </a:extLst>
          </p:cNvPr>
          <p:cNvSpPr txBox="1"/>
          <p:nvPr/>
        </p:nvSpPr>
        <p:spPr>
          <a:xfrm>
            <a:off x="3726153" y="4162822"/>
            <a:ext cx="4739695" cy="14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3600" b="1" dirty="0"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18" name="文本框">
            <a:extLst>
              <a:ext uri="{FF2B5EF4-FFF2-40B4-BE49-F238E27FC236}">
                <a16:creationId xmlns:a16="http://schemas.microsoft.com/office/drawing/2014/main" id="{5726EE7D-43A0-44E0-BA09-05F00B3A9B8B}"/>
              </a:ext>
            </a:extLst>
          </p:cNvPr>
          <p:cNvSpPr txBox="1"/>
          <p:nvPr/>
        </p:nvSpPr>
        <p:spPr>
          <a:xfrm>
            <a:off x="4652221" y="972271"/>
            <a:ext cx="2887558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3800" b="1" dirty="0">
                <a:latin typeface="Abadi Extra Light" panose="020B0204020104020204" pitchFamily="34" charset="0"/>
                <a:cs typeface="+mn-ea"/>
                <a:sym typeface="+mn-lt"/>
              </a:rPr>
              <a:t>04</a:t>
            </a:r>
          </a:p>
          <a:p>
            <a:pPr algn="ctr"/>
            <a:r>
              <a:rPr lang="en-US" altLang="zh-CN" sz="4000" b="1" dirty="0">
                <a:solidFill>
                  <a:schemeClr val="tx2"/>
                </a:solidFill>
                <a:latin typeface="Abadi Extra Light" panose="020B0204020104020204" pitchFamily="34" charset="0"/>
                <a:cs typeface="+mn-ea"/>
                <a:sym typeface="+mn-lt"/>
              </a:rPr>
              <a:t>Part four</a:t>
            </a:r>
            <a:endParaRPr lang="zh-CN" altLang="en-US" sz="4000" dirty="0">
              <a:solidFill>
                <a:schemeClr val="tx2"/>
              </a:solidFill>
              <a:latin typeface="Abadi Extra Light" panose="020B0204020104020204" pitchFamily="34" charset="0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59331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2000">
        <p14:gallery dir="l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6" grpId="0" animBg="1"/>
      <p:bldP spid="17" grpId="0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组合 57">
            <a:extLst>
              <a:ext uri="{FF2B5EF4-FFF2-40B4-BE49-F238E27FC236}">
                <a16:creationId xmlns:a16="http://schemas.microsoft.com/office/drawing/2014/main" id="{D62AC47C-D552-4B5D-87D6-E713969D8FF9}"/>
              </a:ext>
            </a:extLst>
          </p:cNvPr>
          <p:cNvGrpSpPr/>
          <p:nvPr/>
        </p:nvGrpSpPr>
        <p:grpSpPr>
          <a:xfrm>
            <a:off x="-600" y="0"/>
            <a:ext cx="12193200" cy="6858000"/>
            <a:chOff x="-600" y="0"/>
            <a:chExt cx="12193200" cy="6858000"/>
          </a:xfrm>
        </p:grpSpPr>
        <p:pic>
          <p:nvPicPr>
            <p:cNvPr id="59" name="图片 58">
              <a:extLst>
                <a:ext uri="{FF2B5EF4-FFF2-40B4-BE49-F238E27FC236}">
                  <a16:creationId xmlns:a16="http://schemas.microsoft.com/office/drawing/2014/main" id="{F593DA1A-775B-4BAB-87BF-6D6923D200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-600" y="0"/>
              <a:ext cx="12193200" cy="6858000"/>
            </a:xfrm>
            <a:custGeom>
              <a:avLst/>
              <a:gdLst>
                <a:gd name="connsiteX0" fmla="*/ 0 w 12193200"/>
                <a:gd name="connsiteY0" fmla="*/ 0 h 6858000"/>
                <a:gd name="connsiteX1" fmla="*/ 12193200 w 12193200"/>
                <a:gd name="connsiteY1" fmla="*/ 0 h 6858000"/>
                <a:gd name="connsiteX2" fmla="*/ 12193200 w 12193200"/>
                <a:gd name="connsiteY2" fmla="*/ 6858000 h 6858000"/>
                <a:gd name="connsiteX3" fmla="*/ 0 w 12193200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3200" h="6858000">
                  <a:moveTo>
                    <a:pt x="0" y="0"/>
                  </a:moveTo>
                  <a:lnTo>
                    <a:pt x="12193200" y="0"/>
                  </a:lnTo>
                  <a:lnTo>
                    <a:pt x="12193200" y="6858000"/>
                  </a:lnTo>
                  <a:lnTo>
                    <a:pt x="0" y="6858000"/>
                  </a:lnTo>
                  <a:close/>
                </a:path>
              </a:pathLst>
            </a:custGeom>
          </p:spPr>
        </p:pic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07AFCF82-A339-44AD-9BC2-55268AC0E3E9}"/>
                </a:ext>
              </a:extLst>
            </p:cNvPr>
            <p:cNvSpPr/>
            <p:nvPr userDrawn="1"/>
          </p:nvSpPr>
          <p:spPr>
            <a:xfrm>
              <a:off x="-600" y="0"/>
              <a:ext cx="12193200" cy="6858000"/>
            </a:xfrm>
            <a:prstGeom prst="rect">
              <a:avLst/>
            </a:prstGeom>
            <a:solidFill>
              <a:srgbClr val="000000">
                <a:alpha val="8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pic>
        <p:nvPicPr>
          <p:cNvPr id="21" name="图片 20">
            <a:extLst>
              <a:ext uri="{FF2B5EF4-FFF2-40B4-BE49-F238E27FC236}">
                <a16:creationId xmlns:a16="http://schemas.microsoft.com/office/drawing/2014/main" id="{C5C645DB-6498-4276-950E-015A6941F81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4080041" y="-1503252"/>
            <a:ext cx="9864505" cy="9864505"/>
          </a:xfrm>
          <a:custGeom>
            <a:avLst/>
            <a:gdLst>
              <a:gd name="connsiteX0" fmla="*/ 4932252 w 9864505"/>
              <a:gd name="connsiteY0" fmla="*/ 0 h 9864505"/>
              <a:gd name="connsiteX1" fmla="*/ 5843255 w 9864505"/>
              <a:gd name="connsiteY1" fmla="*/ 377349 h 9864505"/>
              <a:gd name="connsiteX2" fmla="*/ 9487156 w 9864505"/>
              <a:gd name="connsiteY2" fmla="*/ 4021250 h 9864505"/>
              <a:gd name="connsiteX3" fmla="*/ 9487156 w 9864505"/>
              <a:gd name="connsiteY3" fmla="*/ 5843255 h 9864505"/>
              <a:gd name="connsiteX4" fmla="*/ 5843255 w 9864505"/>
              <a:gd name="connsiteY4" fmla="*/ 9487156 h 9864505"/>
              <a:gd name="connsiteX5" fmla="*/ 4021250 w 9864505"/>
              <a:gd name="connsiteY5" fmla="*/ 9487156 h 9864505"/>
              <a:gd name="connsiteX6" fmla="*/ 377349 w 9864505"/>
              <a:gd name="connsiteY6" fmla="*/ 5843255 h 9864505"/>
              <a:gd name="connsiteX7" fmla="*/ 377349 w 9864505"/>
              <a:gd name="connsiteY7" fmla="*/ 4021250 h 9864505"/>
              <a:gd name="connsiteX8" fmla="*/ 4021250 w 9864505"/>
              <a:gd name="connsiteY8" fmla="*/ 377349 h 9864505"/>
              <a:gd name="connsiteX9" fmla="*/ 4932252 w 9864505"/>
              <a:gd name="connsiteY9" fmla="*/ 0 h 9864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864505" h="9864505">
                <a:moveTo>
                  <a:pt x="4932252" y="0"/>
                </a:moveTo>
                <a:cubicBezTo>
                  <a:pt x="5261970" y="0"/>
                  <a:pt x="5591689" y="125783"/>
                  <a:pt x="5843255" y="377349"/>
                </a:cubicBezTo>
                <a:lnTo>
                  <a:pt x="9487156" y="4021250"/>
                </a:lnTo>
                <a:cubicBezTo>
                  <a:pt x="9990288" y="4524383"/>
                  <a:pt x="9990288" y="5340122"/>
                  <a:pt x="9487156" y="5843255"/>
                </a:cubicBezTo>
                <a:lnTo>
                  <a:pt x="5843255" y="9487156"/>
                </a:lnTo>
                <a:cubicBezTo>
                  <a:pt x="5340122" y="9990288"/>
                  <a:pt x="4524383" y="9990288"/>
                  <a:pt x="4021250" y="9487156"/>
                </a:cubicBezTo>
                <a:lnTo>
                  <a:pt x="377349" y="5843255"/>
                </a:lnTo>
                <a:cubicBezTo>
                  <a:pt x="-125783" y="5340122"/>
                  <a:pt x="-125783" y="4524383"/>
                  <a:pt x="377349" y="4021250"/>
                </a:cubicBezTo>
                <a:lnTo>
                  <a:pt x="4021250" y="377349"/>
                </a:lnTo>
                <a:cubicBezTo>
                  <a:pt x="4272816" y="125783"/>
                  <a:pt x="4602534" y="0"/>
                  <a:pt x="4932252" y="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2" name="矩形: 圆角 1">
            <a:extLst>
              <a:ext uri="{FF2B5EF4-FFF2-40B4-BE49-F238E27FC236}">
                <a16:creationId xmlns:a16="http://schemas.microsoft.com/office/drawing/2014/main" id="{731B354D-9F80-4A73-8DDD-DFC370CD27C9}"/>
              </a:ext>
            </a:extLst>
          </p:cNvPr>
          <p:cNvSpPr/>
          <p:nvPr/>
        </p:nvSpPr>
        <p:spPr>
          <a:xfrm rot="2700000">
            <a:off x="-3012769" y="-435979"/>
            <a:ext cx="7729958" cy="7729958"/>
          </a:xfrm>
          <a:prstGeom prst="roundRect">
            <a:avLst/>
          </a:prstGeom>
          <a:solidFill>
            <a:schemeClr val="accent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49C3C070-6CE4-4EE4-A75D-5F03FA733187}"/>
              </a:ext>
            </a:extLst>
          </p:cNvPr>
          <p:cNvSpPr/>
          <p:nvPr/>
        </p:nvSpPr>
        <p:spPr>
          <a:xfrm rot="2700000">
            <a:off x="-1109619" y="864052"/>
            <a:ext cx="5129888" cy="5129888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27717F75-7FAD-4A1B-AB69-340883D640E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233333" y="740338"/>
            <a:ext cx="5377316" cy="5377316"/>
          </a:xfrm>
          <a:custGeom>
            <a:avLst/>
            <a:gdLst>
              <a:gd name="connsiteX0" fmla="*/ 2917099 w 5834198"/>
              <a:gd name="connsiteY0" fmla="*/ 0 h 5834198"/>
              <a:gd name="connsiteX1" fmla="*/ 3455897 w 5834198"/>
              <a:gd name="connsiteY1" fmla="*/ 223177 h 5834198"/>
              <a:gd name="connsiteX2" fmla="*/ 5611021 w 5834198"/>
              <a:gd name="connsiteY2" fmla="*/ 2378301 h 5834198"/>
              <a:gd name="connsiteX3" fmla="*/ 5611021 w 5834198"/>
              <a:gd name="connsiteY3" fmla="*/ 3455897 h 5834198"/>
              <a:gd name="connsiteX4" fmla="*/ 3455897 w 5834198"/>
              <a:gd name="connsiteY4" fmla="*/ 5611021 h 5834198"/>
              <a:gd name="connsiteX5" fmla="*/ 2378301 w 5834198"/>
              <a:gd name="connsiteY5" fmla="*/ 5611021 h 5834198"/>
              <a:gd name="connsiteX6" fmla="*/ 223177 w 5834198"/>
              <a:gd name="connsiteY6" fmla="*/ 3455897 h 5834198"/>
              <a:gd name="connsiteX7" fmla="*/ 223177 w 5834198"/>
              <a:gd name="connsiteY7" fmla="*/ 2378301 h 5834198"/>
              <a:gd name="connsiteX8" fmla="*/ 2378301 w 5834198"/>
              <a:gd name="connsiteY8" fmla="*/ 223177 h 5834198"/>
              <a:gd name="connsiteX9" fmla="*/ 2917099 w 5834198"/>
              <a:gd name="connsiteY9" fmla="*/ 0 h 5834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834198" h="5834198">
                <a:moveTo>
                  <a:pt x="2917099" y="0"/>
                </a:moveTo>
                <a:cubicBezTo>
                  <a:pt x="3112106" y="0"/>
                  <a:pt x="3307112" y="74392"/>
                  <a:pt x="3455897" y="223177"/>
                </a:cubicBezTo>
                <a:lnTo>
                  <a:pt x="5611021" y="2378301"/>
                </a:lnTo>
                <a:cubicBezTo>
                  <a:pt x="5908591" y="2675871"/>
                  <a:pt x="5908591" y="3158327"/>
                  <a:pt x="5611021" y="3455897"/>
                </a:cubicBezTo>
                <a:lnTo>
                  <a:pt x="3455897" y="5611021"/>
                </a:lnTo>
                <a:cubicBezTo>
                  <a:pt x="3158327" y="5908591"/>
                  <a:pt x="2675871" y="5908591"/>
                  <a:pt x="2378301" y="5611021"/>
                </a:cubicBezTo>
                <a:lnTo>
                  <a:pt x="223177" y="3455897"/>
                </a:lnTo>
                <a:cubicBezTo>
                  <a:pt x="-74392" y="3158327"/>
                  <a:pt x="-74392" y="2675871"/>
                  <a:pt x="223177" y="2378301"/>
                </a:cubicBezTo>
                <a:lnTo>
                  <a:pt x="2378301" y="223177"/>
                </a:lnTo>
                <a:cubicBezTo>
                  <a:pt x="2527086" y="74392"/>
                  <a:pt x="2722093" y="0"/>
                  <a:pt x="2917099" y="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48" name="添加标题">
            <a:extLst>
              <a:ext uri="{FF2B5EF4-FFF2-40B4-BE49-F238E27FC236}">
                <a16:creationId xmlns:a16="http://schemas.microsoft.com/office/drawing/2014/main" id="{EE9EC66A-8C5B-4E1D-B021-2F034150AA54}"/>
              </a:ext>
            </a:extLst>
          </p:cNvPr>
          <p:cNvSpPr/>
          <p:nvPr/>
        </p:nvSpPr>
        <p:spPr>
          <a:xfrm>
            <a:off x="-1097219" y="2874998"/>
            <a:ext cx="504493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6600" b="1" dirty="0">
                <a:cs typeface="+mn-ea"/>
                <a:sym typeface="+mn-lt"/>
              </a:rPr>
              <a:t>CONTENTS</a:t>
            </a:r>
          </a:p>
        </p:txBody>
      </p:sp>
      <p:sp>
        <p:nvSpPr>
          <p:cNvPr id="50" name="添加标题">
            <a:extLst>
              <a:ext uri="{FF2B5EF4-FFF2-40B4-BE49-F238E27FC236}">
                <a16:creationId xmlns:a16="http://schemas.microsoft.com/office/drawing/2014/main" id="{1ACE517B-717B-4CD3-ACC3-E9E4889F593A}"/>
              </a:ext>
            </a:extLst>
          </p:cNvPr>
          <p:cNvSpPr txBox="1"/>
          <p:nvPr/>
        </p:nvSpPr>
        <p:spPr>
          <a:xfrm>
            <a:off x="7728085" y="704929"/>
            <a:ext cx="3243273" cy="1252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51" name="添加标题">
            <a:extLst>
              <a:ext uri="{FF2B5EF4-FFF2-40B4-BE49-F238E27FC236}">
                <a16:creationId xmlns:a16="http://schemas.microsoft.com/office/drawing/2014/main" id="{A554836B-6664-457C-909C-6FB0392EF46B}"/>
              </a:ext>
            </a:extLst>
          </p:cNvPr>
          <p:cNvSpPr/>
          <p:nvPr/>
        </p:nvSpPr>
        <p:spPr>
          <a:xfrm>
            <a:off x="6235703" y="825122"/>
            <a:ext cx="11882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6000" b="1" dirty="0">
                <a:solidFill>
                  <a:schemeClr val="accent1"/>
                </a:solidFill>
                <a:latin typeface="Abadi Extra Light" panose="020B0204020104020204" pitchFamily="34" charset="0"/>
                <a:cs typeface="+mn-ea"/>
                <a:sym typeface="+mn-lt"/>
              </a:rPr>
              <a:t>01</a:t>
            </a:r>
            <a:endParaRPr lang="en-US" sz="6000" dirty="0">
              <a:solidFill>
                <a:schemeClr val="accent1"/>
              </a:solidFill>
              <a:latin typeface="Abadi Extra Light" panose="020B0204020104020204" pitchFamily="34" charset="0"/>
              <a:cs typeface="+mn-ea"/>
              <a:sym typeface="+mn-lt"/>
            </a:endParaRPr>
          </a:p>
        </p:txBody>
      </p:sp>
      <p:sp>
        <p:nvSpPr>
          <p:cNvPr id="52" name="添加标题">
            <a:extLst>
              <a:ext uri="{FF2B5EF4-FFF2-40B4-BE49-F238E27FC236}">
                <a16:creationId xmlns:a16="http://schemas.microsoft.com/office/drawing/2014/main" id="{D977F89B-54AE-4A10-9507-A5068E00353E}"/>
              </a:ext>
            </a:extLst>
          </p:cNvPr>
          <p:cNvSpPr/>
          <p:nvPr/>
        </p:nvSpPr>
        <p:spPr>
          <a:xfrm>
            <a:off x="6235703" y="2242518"/>
            <a:ext cx="11882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6000" b="1" dirty="0">
                <a:solidFill>
                  <a:schemeClr val="accent2"/>
                </a:solidFill>
                <a:latin typeface="Abadi Extra Light" panose="020B0204020104020204" pitchFamily="34" charset="0"/>
                <a:cs typeface="+mn-ea"/>
                <a:sym typeface="+mn-lt"/>
              </a:rPr>
              <a:t>02</a:t>
            </a:r>
            <a:endParaRPr lang="en-US" sz="6000" dirty="0">
              <a:solidFill>
                <a:schemeClr val="accent2"/>
              </a:solidFill>
              <a:latin typeface="Abadi Extra Light" panose="020B0204020104020204" pitchFamily="34" charset="0"/>
              <a:cs typeface="+mn-ea"/>
              <a:sym typeface="+mn-lt"/>
            </a:endParaRPr>
          </a:p>
        </p:txBody>
      </p:sp>
      <p:sp>
        <p:nvSpPr>
          <p:cNvPr id="53" name="添加标题">
            <a:extLst>
              <a:ext uri="{FF2B5EF4-FFF2-40B4-BE49-F238E27FC236}">
                <a16:creationId xmlns:a16="http://schemas.microsoft.com/office/drawing/2014/main" id="{10FA6D90-A1FC-42C8-B8D9-007BF520535B}"/>
              </a:ext>
            </a:extLst>
          </p:cNvPr>
          <p:cNvSpPr txBox="1"/>
          <p:nvPr/>
        </p:nvSpPr>
        <p:spPr>
          <a:xfrm>
            <a:off x="7728085" y="2122325"/>
            <a:ext cx="3243273" cy="1252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schemeClr val="accent2"/>
                </a:solidFill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54" name="添加标题">
            <a:extLst>
              <a:ext uri="{FF2B5EF4-FFF2-40B4-BE49-F238E27FC236}">
                <a16:creationId xmlns:a16="http://schemas.microsoft.com/office/drawing/2014/main" id="{0A662CD1-A04D-42D3-BA34-9352DCBE5C86}"/>
              </a:ext>
            </a:extLst>
          </p:cNvPr>
          <p:cNvSpPr/>
          <p:nvPr/>
        </p:nvSpPr>
        <p:spPr>
          <a:xfrm>
            <a:off x="6235703" y="3659915"/>
            <a:ext cx="11882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6000" b="1" dirty="0">
                <a:solidFill>
                  <a:schemeClr val="accent3"/>
                </a:solidFill>
                <a:latin typeface="Abadi Extra Light" panose="020B0204020104020204" pitchFamily="34" charset="0"/>
                <a:cs typeface="+mn-ea"/>
                <a:sym typeface="+mn-lt"/>
              </a:rPr>
              <a:t>03</a:t>
            </a:r>
            <a:endParaRPr lang="en-US" sz="6000" dirty="0">
              <a:solidFill>
                <a:schemeClr val="accent3"/>
              </a:solidFill>
              <a:latin typeface="Abadi Extra Light" panose="020B0204020104020204" pitchFamily="34" charset="0"/>
              <a:cs typeface="+mn-ea"/>
              <a:sym typeface="+mn-lt"/>
            </a:endParaRPr>
          </a:p>
        </p:txBody>
      </p:sp>
      <p:sp>
        <p:nvSpPr>
          <p:cNvPr id="55" name="添加标题">
            <a:extLst>
              <a:ext uri="{FF2B5EF4-FFF2-40B4-BE49-F238E27FC236}">
                <a16:creationId xmlns:a16="http://schemas.microsoft.com/office/drawing/2014/main" id="{C4B1F2FD-4B18-4504-9A16-B67546CCA14C}"/>
              </a:ext>
            </a:extLst>
          </p:cNvPr>
          <p:cNvSpPr txBox="1"/>
          <p:nvPr/>
        </p:nvSpPr>
        <p:spPr>
          <a:xfrm>
            <a:off x="7728085" y="3539722"/>
            <a:ext cx="3243273" cy="1252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schemeClr val="accent3"/>
                </a:solidFill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56" name="添加标题">
            <a:extLst>
              <a:ext uri="{FF2B5EF4-FFF2-40B4-BE49-F238E27FC236}">
                <a16:creationId xmlns:a16="http://schemas.microsoft.com/office/drawing/2014/main" id="{56F412AC-13B1-4A65-BE3C-B24AB5A1DC77}"/>
              </a:ext>
            </a:extLst>
          </p:cNvPr>
          <p:cNvSpPr/>
          <p:nvPr/>
        </p:nvSpPr>
        <p:spPr>
          <a:xfrm>
            <a:off x="6235703" y="5017215"/>
            <a:ext cx="11882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6000" b="1" dirty="0">
                <a:solidFill>
                  <a:schemeClr val="accent4"/>
                </a:solidFill>
                <a:latin typeface="Abadi Extra Light" panose="020B0204020104020204" pitchFamily="34" charset="0"/>
                <a:cs typeface="+mn-ea"/>
                <a:sym typeface="+mn-lt"/>
              </a:rPr>
              <a:t>04</a:t>
            </a:r>
            <a:endParaRPr lang="en-US" sz="6000" dirty="0">
              <a:solidFill>
                <a:schemeClr val="accent4"/>
              </a:solidFill>
              <a:latin typeface="Abadi Extra Light" panose="020B0204020104020204" pitchFamily="34" charset="0"/>
              <a:cs typeface="+mn-ea"/>
              <a:sym typeface="+mn-lt"/>
            </a:endParaRPr>
          </a:p>
        </p:txBody>
      </p:sp>
      <p:sp>
        <p:nvSpPr>
          <p:cNvPr id="57" name="添加标题">
            <a:extLst>
              <a:ext uri="{FF2B5EF4-FFF2-40B4-BE49-F238E27FC236}">
                <a16:creationId xmlns:a16="http://schemas.microsoft.com/office/drawing/2014/main" id="{5E6DABAA-94FC-4685-BCA8-4700170E6C8E}"/>
              </a:ext>
            </a:extLst>
          </p:cNvPr>
          <p:cNvSpPr txBox="1"/>
          <p:nvPr/>
        </p:nvSpPr>
        <p:spPr>
          <a:xfrm>
            <a:off x="7728085" y="4897022"/>
            <a:ext cx="3243273" cy="1252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schemeClr val="accent4"/>
                </a:solidFill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1116991"/>
      </p:ext>
    </p:extLst>
  </p:cSld>
  <p:clrMapOvr>
    <a:masterClrMapping/>
  </p:clrMapOvr>
  <p:transition spd="slow" advClick="0" advTm="200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500"/>
                            </p:stCondLst>
                            <p:childTnLst>
                              <p:par>
                                <p:cTn id="4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500"/>
                            </p:stCondLst>
                            <p:childTnLst>
                              <p:par>
                                <p:cTn id="5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6000"/>
                            </p:stCondLst>
                            <p:childTnLst>
                              <p:par>
                                <p:cTn id="6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8" grpId="0" animBg="1"/>
      <p:bldP spid="50" grpId="0"/>
      <p:bldP spid="51" grpId="0"/>
      <p:bldP spid="52" grpId="0"/>
      <p:bldP spid="53" grpId="0"/>
      <p:bldP spid="54" grpId="0"/>
      <p:bldP spid="55" grpId="0"/>
      <p:bldP spid="56" grpId="0"/>
      <p:bldP spid="5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C0DD67-2666-489A-BFC1-F55E812ED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7125A71A-1741-4EC0-B180-D6E4137CF0CE}"/>
              </a:ext>
            </a:extLst>
          </p:cNvPr>
          <p:cNvGrpSpPr/>
          <p:nvPr/>
        </p:nvGrpSpPr>
        <p:grpSpPr>
          <a:xfrm>
            <a:off x="7996796" y="2237101"/>
            <a:ext cx="3143337" cy="2569184"/>
            <a:chOff x="7996796" y="2237101"/>
            <a:chExt cx="3143337" cy="2569184"/>
          </a:xfrm>
        </p:grpSpPr>
        <p:sp>
          <p:nvSpPr>
            <p:cNvPr id="4" name="TextBox 139">
              <a:extLst>
                <a:ext uri="{FF2B5EF4-FFF2-40B4-BE49-F238E27FC236}">
                  <a16:creationId xmlns:a16="http://schemas.microsoft.com/office/drawing/2014/main" id="{E3967A46-B3B1-4E36-B16B-C6CFC2EC563A}"/>
                </a:ext>
              </a:extLst>
            </p:cNvPr>
            <p:cNvSpPr txBox="1"/>
            <p:nvPr/>
          </p:nvSpPr>
          <p:spPr>
            <a:xfrm>
              <a:off x="7996797" y="2237101"/>
              <a:ext cx="173477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b="1" dirty="0">
                  <a:solidFill>
                    <a:schemeClr val="accent2"/>
                  </a:solidFill>
                  <a:cs typeface="+mn-ea"/>
                  <a:sym typeface="+mn-lt"/>
                </a:rPr>
                <a:t>Add title text</a:t>
              </a:r>
              <a:endParaRPr lang="en-US" sz="2000" b="1" dirty="0">
                <a:solidFill>
                  <a:schemeClr val="accent2"/>
                </a:solidFill>
                <a:cs typeface="+mn-ea"/>
                <a:sym typeface="+mn-lt"/>
              </a:endParaRPr>
            </a:p>
          </p:txBody>
        </p:sp>
        <p:sp>
          <p:nvSpPr>
            <p:cNvPr id="5" name="TextBox 140">
              <a:extLst>
                <a:ext uri="{FF2B5EF4-FFF2-40B4-BE49-F238E27FC236}">
                  <a16:creationId xmlns:a16="http://schemas.microsoft.com/office/drawing/2014/main" id="{C5745752-AC7F-40EB-923C-520649B17A9C}"/>
                </a:ext>
              </a:extLst>
            </p:cNvPr>
            <p:cNvSpPr txBox="1"/>
            <p:nvPr/>
          </p:nvSpPr>
          <p:spPr>
            <a:xfrm>
              <a:off x="7996796" y="2604849"/>
              <a:ext cx="3143337" cy="6987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6" name="TextBox 143">
              <a:extLst>
                <a:ext uri="{FF2B5EF4-FFF2-40B4-BE49-F238E27FC236}">
                  <a16:creationId xmlns:a16="http://schemas.microsoft.com/office/drawing/2014/main" id="{242E02A8-E13D-48A9-BA1B-85F2974D02B2}"/>
                </a:ext>
              </a:extLst>
            </p:cNvPr>
            <p:cNvSpPr txBox="1"/>
            <p:nvPr/>
          </p:nvSpPr>
          <p:spPr>
            <a:xfrm>
              <a:off x="7996796" y="3384293"/>
              <a:ext cx="3143337" cy="1421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50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</a:p>
            <a:p>
              <a:pPr marL="171450" indent="-171450">
                <a:lnSpc>
                  <a:spcPct val="150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</a:p>
          </p:txBody>
        </p:sp>
        <p:cxnSp>
          <p:nvCxnSpPr>
            <p:cNvPr id="7" name="Straight Connector 17">
              <a:extLst>
                <a:ext uri="{FF2B5EF4-FFF2-40B4-BE49-F238E27FC236}">
                  <a16:creationId xmlns:a16="http://schemas.microsoft.com/office/drawing/2014/main" id="{DECE6E5C-2600-4A4E-9B87-A5D41D0F6412}"/>
                </a:ext>
              </a:extLst>
            </p:cNvPr>
            <p:cNvCxnSpPr/>
            <p:nvPr/>
          </p:nvCxnSpPr>
          <p:spPr>
            <a:xfrm>
              <a:off x="8092134" y="3317875"/>
              <a:ext cx="29337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241A61C0-5351-494E-AC85-016108A86605}"/>
              </a:ext>
            </a:extLst>
          </p:cNvPr>
          <p:cNvGrpSpPr/>
          <p:nvPr/>
        </p:nvGrpSpPr>
        <p:grpSpPr>
          <a:xfrm>
            <a:off x="1051868" y="1930826"/>
            <a:ext cx="3233748" cy="2583096"/>
            <a:chOff x="1051868" y="1930826"/>
            <a:chExt cx="3233748" cy="2583096"/>
          </a:xfrm>
        </p:grpSpPr>
        <p:sp>
          <p:nvSpPr>
            <p:cNvPr id="9" name="TextBox 141">
              <a:extLst>
                <a:ext uri="{FF2B5EF4-FFF2-40B4-BE49-F238E27FC236}">
                  <a16:creationId xmlns:a16="http://schemas.microsoft.com/office/drawing/2014/main" id="{CD0C7730-4EE3-4A42-86BA-8FE5228F561B}"/>
                </a:ext>
              </a:extLst>
            </p:cNvPr>
            <p:cNvSpPr txBox="1"/>
            <p:nvPr/>
          </p:nvSpPr>
          <p:spPr>
            <a:xfrm>
              <a:off x="2550846" y="1930826"/>
              <a:ext cx="173477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altLang="zh-CN" sz="2000" b="1" dirty="0">
                  <a:solidFill>
                    <a:schemeClr val="accent1"/>
                  </a:solidFill>
                  <a:cs typeface="+mn-ea"/>
                  <a:sym typeface="+mn-lt"/>
                </a:rPr>
                <a:t>Add title text</a:t>
              </a:r>
              <a:endParaRPr lang="id-ID" sz="2000" b="1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sp>
          <p:nvSpPr>
            <p:cNvPr id="10" name="TextBox 142">
              <a:extLst>
                <a:ext uri="{FF2B5EF4-FFF2-40B4-BE49-F238E27FC236}">
                  <a16:creationId xmlns:a16="http://schemas.microsoft.com/office/drawing/2014/main" id="{5DF9F3DC-4EF2-4B49-B2AC-E23562BCE72E}"/>
                </a:ext>
              </a:extLst>
            </p:cNvPr>
            <p:cNvSpPr txBox="1"/>
            <p:nvPr/>
          </p:nvSpPr>
          <p:spPr>
            <a:xfrm>
              <a:off x="1142279" y="2298574"/>
              <a:ext cx="3143337" cy="6987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11" name="TextBox 144">
              <a:extLst>
                <a:ext uri="{FF2B5EF4-FFF2-40B4-BE49-F238E27FC236}">
                  <a16:creationId xmlns:a16="http://schemas.microsoft.com/office/drawing/2014/main" id="{667EA943-9BAA-428C-BC6D-D0217ECA773D}"/>
                </a:ext>
              </a:extLst>
            </p:cNvPr>
            <p:cNvSpPr txBox="1"/>
            <p:nvPr/>
          </p:nvSpPr>
          <p:spPr>
            <a:xfrm>
              <a:off x="1051868" y="3091930"/>
              <a:ext cx="3143337" cy="1421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r">
                <a:lnSpc>
                  <a:spcPct val="150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</a:p>
            <a:p>
              <a:pPr marL="171450" indent="-171450" algn="r">
                <a:lnSpc>
                  <a:spcPct val="150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</a:p>
          </p:txBody>
        </p:sp>
        <p:cxnSp>
          <p:nvCxnSpPr>
            <p:cNvPr id="12" name="Straight Connector 145">
              <a:extLst>
                <a:ext uri="{FF2B5EF4-FFF2-40B4-BE49-F238E27FC236}">
                  <a16:creationId xmlns:a16="http://schemas.microsoft.com/office/drawing/2014/main" id="{6537283E-4B60-435D-8171-5A50773FE89C}"/>
                </a:ext>
              </a:extLst>
            </p:cNvPr>
            <p:cNvCxnSpPr/>
            <p:nvPr/>
          </p:nvCxnSpPr>
          <p:spPr>
            <a:xfrm>
              <a:off x="1223021" y="3009494"/>
              <a:ext cx="2933700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3">
            <a:extLst>
              <a:ext uri="{FF2B5EF4-FFF2-40B4-BE49-F238E27FC236}">
                <a16:creationId xmlns:a16="http://schemas.microsoft.com/office/drawing/2014/main" id="{D4586DB1-3F72-4F9B-ABDD-3013BEF390AF}"/>
              </a:ext>
            </a:extLst>
          </p:cNvPr>
          <p:cNvGrpSpPr/>
          <p:nvPr/>
        </p:nvGrpSpPr>
        <p:grpSpPr>
          <a:xfrm>
            <a:off x="4978640" y="1838446"/>
            <a:ext cx="2234720" cy="2797354"/>
            <a:chOff x="4970212" y="1838446"/>
            <a:chExt cx="2234720" cy="2797354"/>
          </a:xfrm>
        </p:grpSpPr>
        <p:sp>
          <p:nvSpPr>
            <p:cNvPr id="14" name="Freeform 41">
              <a:extLst>
                <a:ext uri="{FF2B5EF4-FFF2-40B4-BE49-F238E27FC236}">
                  <a16:creationId xmlns:a16="http://schemas.microsoft.com/office/drawing/2014/main" id="{C6C463D7-49F4-42ED-A51C-8D054A9E6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0187" y="4388490"/>
              <a:ext cx="1238813" cy="247310"/>
            </a:xfrm>
            <a:custGeom>
              <a:avLst/>
              <a:gdLst>
                <a:gd name="T0" fmla="*/ 1148 w 2185"/>
                <a:gd name="T1" fmla="*/ 438 h 439"/>
                <a:gd name="T2" fmla="*/ 1258 w 2185"/>
                <a:gd name="T3" fmla="*/ 436 h 439"/>
                <a:gd name="T4" fmla="*/ 1365 w 2185"/>
                <a:gd name="T5" fmla="*/ 431 h 439"/>
                <a:gd name="T6" fmla="*/ 1467 w 2185"/>
                <a:gd name="T7" fmla="*/ 425 h 439"/>
                <a:gd name="T8" fmla="*/ 1565 w 2185"/>
                <a:gd name="T9" fmla="*/ 417 h 439"/>
                <a:gd name="T10" fmla="*/ 1657 w 2185"/>
                <a:gd name="T11" fmla="*/ 406 h 439"/>
                <a:gd name="T12" fmla="*/ 1745 w 2185"/>
                <a:gd name="T13" fmla="*/ 394 h 439"/>
                <a:gd name="T14" fmla="*/ 1826 w 2185"/>
                <a:gd name="T15" fmla="*/ 381 h 439"/>
                <a:gd name="T16" fmla="*/ 1900 w 2185"/>
                <a:gd name="T17" fmla="*/ 366 h 439"/>
                <a:gd name="T18" fmla="*/ 1967 w 2185"/>
                <a:gd name="T19" fmla="*/ 350 h 439"/>
                <a:gd name="T20" fmla="*/ 2025 w 2185"/>
                <a:gd name="T21" fmla="*/ 333 h 439"/>
                <a:gd name="T22" fmla="*/ 2075 w 2185"/>
                <a:gd name="T23" fmla="*/ 314 h 439"/>
                <a:gd name="T24" fmla="*/ 2117 w 2185"/>
                <a:gd name="T25" fmla="*/ 295 h 439"/>
                <a:gd name="T26" fmla="*/ 2149 w 2185"/>
                <a:gd name="T27" fmla="*/ 274 h 439"/>
                <a:gd name="T28" fmla="*/ 2171 w 2185"/>
                <a:gd name="T29" fmla="*/ 253 h 439"/>
                <a:gd name="T30" fmla="*/ 2182 w 2185"/>
                <a:gd name="T31" fmla="*/ 231 h 439"/>
                <a:gd name="T32" fmla="*/ 2185 w 2185"/>
                <a:gd name="T33" fmla="*/ 82 h 439"/>
                <a:gd name="T34" fmla="*/ 1910 w 2185"/>
                <a:gd name="T35" fmla="*/ 74 h 439"/>
                <a:gd name="T36" fmla="*/ 1825 w 2185"/>
                <a:gd name="T37" fmla="*/ 58 h 439"/>
                <a:gd name="T38" fmla="*/ 1731 w 2185"/>
                <a:gd name="T39" fmla="*/ 41 h 439"/>
                <a:gd name="T40" fmla="*/ 1629 w 2185"/>
                <a:gd name="T41" fmla="*/ 28 h 439"/>
                <a:gd name="T42" fmla="*/ 1520 w 2185"/>
                <a:gd name="T43" fmla="*/ 18 h 439"/>
                <a:gd name="T44" fmla="*/ 1404 w 2185"/>
                <a:gd name="T45" fmla="*/ 10 h 439"/>
                <a:gd name="T46" fmla="*/ 1283 w 2185"/>
                <a:gd name="T47" fmla="*/ 4 h 439"/>
                <a:gd name="T48" fmla="*/ 1156 w 2185"/>
                <a:gd name="T49" fmla="*/ 0 h 439"/>
                <a:gd name="T50" fmla="*/ 1027 w 2185"/>
                <a:gd name="T51" fmla="*/ 0 h 439"/>
                <a:gd name="T52" fmla="*/ 901 w 2185"/>
                <a:gd name="T53" fmla="*/ 4 h 439"/>
                <a:gd name="T54" fmla="*/ 780 w 2185"/>
                <a:gd name="T55" fmla="*/ 10 h 439"/>
                <a:gd name="T56" fmla="*/ 664 w 2185"/>
                <a:gd name="T57" fmla="*/ 18 h 439"/>
                <a:gd name="T58" fmla="*/ 554 w 2185"/>
                <a:gd name="T59" fmla="*/ 28 h 439"/>
                <a:gd name="T60" fmla="*/ 453 w 2185"/>
                <a:gd name="T61" fmla="*/ 41 h 439"/>
                <a:gd name="T62" fmla="*/ 358 w 2185"/>
                <a:gd name="T63" fmla="*/ 58 h 439"/>
                <a:gd name="T64" fmla="*/ 274 w 2185"/>
                <a:gd name="T65" fmla="*/ 74 h 439"/>
                <a:gd name="T66" fmla="*/ 0 w 2185"/>
                <a:gd name="T67" fmla="*/ 84 h 439"/>
                <a:gd name="T68" fmla="*/ 0 w 2185"/>
                <a:gd name="T69" fmla="*/ 222 h 439"/>
                <a:gd name="T70" fmla="*/ 2 w 2185"/>
                <a:gd name="T71" fmla="*/ 234 h 439"/>
                <a:gd name="T72" fmla="*/ 15 w 2185"/>
                <a:gd name="T73" fmla="*/ 256 h 439"/>
                <a:gd name="T74" fmla="*/ 38 w 2185"/>
                <a:gd name="T75" fmla="*/ 276 h 439"/>
                <a:gd name="T76" fmla="*/ 70 w 2185"/>
                <a:gd name="T77" fmla="*/ 297 h 439"/>
                <a:gd name="T78" fmla="*/ 113 w 2185"/>
                <a:gd name="T79" fmla="*/ 316 h 439"/>
                <a:gd name="T80" fmla="*/ 164 w 2185"/>
                <a:gd name="T81" fmla="*/ 335 h 439"/>
                <a:gd name="T82" fmla="*/ 222 w 2185"/>
                <a:gd name="T83" fmla="*/ 352 h 439"/>
                <a:gd name="T84" fmla="*/ 289 w 2185"/>
                <a:gd name="T85" fmla="*/ 367 h 439"/>
                <a:gd name="T86" fmla="*/ 363 w 2185"/>
                <a:gd name="T87" fmla="*/ 382 h 439"/>
                <a:gd name="T88" fmla="*/ 444 w 2185"/>
                <a:gd name="T89" fmla="*/ 395 h 439"/>
                <a:gd name="T90" fmla="*/ 531 w 2185"/>
                <a:gd name="T91" fmla="*/ 407 h 439"/>
                <a:gd name="T92" fmla="*/ 623 w 2185"/>
                <a:gd name="T93" fmla="*/ 417 h 439"/>
                <a:gd name="T94" fmla="*/ 720 w 2185"/>
                <a:gd name="T95" fmla="*/ 426 h 439"/>
                <a:gd name="T96" fmla="*/ 822 w 2185"/>
                <a:gd name="T97" fmla="*/ 431 h 439"/>
                <a:gd name="T98" fmla="*/ 927 w 2185"/>
                <a:gd name="T99" fmla="*/ 436 h 439"/>
                <a:gd name="T100" fmla="*/ 1036 w 2185"/>
                <a:gd name="T101" fmla="*/ 438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85" h="439">
                  <a:moveTo>
                    <a:pt x="1092" y="439"/>
                  </a:moveTo>
                  <a:lnTo>
                    <a:pt x="1148" y="438"/>
                  </a:lnTo>
                  <a:lnTo>
                    <a:pt x="1204" y="438"/>
                  </a:lnTo>
                  <a:lnTo>
                    <a:pt x="1258" y="436"/>
                  </a:lnTo>
                  <a:lnTo>
                    <a:pt x="1312" y="434"/>
                  </a:lnTo>
                  <a:lnTo>
                    <a:pt x="1365" y="431"/>
                  </a:lnTo>
                  <a:lnTo>
                    <a:pt x="1416" y="429"/>
                  </a:lnTo>
                  <a:lnTo>
                    <a:pt x="1467" y="425"/>
                  </a:lnTo>
                  <a:lnTo>
                    <a:pt x="1517" y="421"/>
                  </a:lnTo>
                  <a:lnTo>
                    <a:pt x="1565" y="417"/>
                  </a:lnTo>
                  <a:lnTo>
                    <a:pt x="1612" y="412"/>
                  </a:lnTo>
                  <a:lnTo>
                    <a:pt x="1657" y="406"/>
                  </a:lnTo>
                  <a:lnTo>
                    <a:pt x="1702" y="401"/>
                  </a:lnTo>
                  <a:lnTo>
                    <a:pt x="1745" y="394"/>
                  </a:lnTo>
                  <a:lnTo>
                    <a:pt x="1786" y="388"/>
                  </a:lnTo>
                  <a:lnTo>
                    <a:pt x="1826" y="381"/>
                  </a:lnTo>
                  <a:lnTo>
                    <a:pt x="1864" y="374"/>
                  </a:lnTo>
                  <a:lnTo>
                    <a:pt x="1900" y="366"/>
                  </a:lnTo>
                  <a:lnTo>
                    <a:pt x="1935" y="359"/>
                  </a:lnTo>
                  <a:lnTo>
                    <a:pt x="1967" y="350"/>
                  </a:lnTo>
                  <a:lnTo>
                    <a:pt x="1997" y="341"/>
                  </a:lnTo>
                  <a:lnTo>
                    <a:pt x="2025" y="333"/>
                  </a:lnTo>
                  <a:lnTo>
                    <a:pt x="2051" y="324"/>
                  </a:lnTo>
                  <a:lnTo>
                    <a:pt x="2075" y="314"/>
                  </a:lnTo>
                  <a:lnTo>
                    <a:pt x="2098" y="305"/>
                  </a:lnTo>
                  <a:lnTo>
                    <a:pt x="2117" y="295"/>
                  </a:lnTo>
                  <a:lnTo>
                    <a:pt x="2135" y="285"/>
                  </a:lnTo>
                  <a:lnTo>
                    <a:pt x="2149" y="274"/>
                  </a:lnTo>
                  <a:lnTo>
                    <a:pt x="2162" y="263"/>
                  </a:lnTo>
                  <a:lnTo>
                    <a:pt x="2171" y="253"/>
                  </a:lnTo>
                  <a:lnTo>
                    <a:pt x="2178" y="242"/>
                  </a:lnTo>
                  <a:lnTo>
                    <a:pt x="2182" y="231"/>
                  </a:lnTo>
                  <a:lnTo>
                    <a:pt x="2184" y="219"/>
                  </a:lnTo>
                  <a:lnTo>
                    <a:pt x="2185" y="82"/>
                  </a:lnTo>
                  <a:lnTo>
                    <a:pt x="1949" y="84"/>
                  </a:lnTo>
                  <a:lnTo>
                    <a:pt x="1910" y="74"/>
                  </a:lnTo>
                  <a:lnTo>
                    <a:pt x="1869" y="65"/>
                  </a:lnTo>
                  <a:lnTo>
                    <a:pt x="1825" y="58"/>
                  </a:lnTo>
                  <a:lnTo>
                    <a:pt x="1780" y="49"/>
                  </a:lnTo>
                  <a:lnTo>
                    <a:pt x="1731" y="41"/>
                  </a:lnTo>
                  <a:lnTo>
                    <a:pt x="1681" y="35"/>
                  </a:lnTo>
                  <a:lnTo>
                    <a:pt x="1629" y="28"/>
                  </a:lnTo>
                  <a:lnTo>
                    <a:pt x="1575" y="23"/>
                  </a:lnTo>
                  <a:lnTo>
                    <a:pt x="1520" y="18"/>
                  </a:lnTo>
                  <a:lnTo>
                    <a:pt x="1463" y="13"/>
                  </a:lnTo>
                  <a:lnTo>
                    <a:pt x="1404" y="10"/>
                  </a:lnTo>
                  <a:lnTo>
                    <a:pt x="1345" y="7"/>
                  </a:lnTo>
                  <a:lnTo>
                    <a:pt x="1283" y="4"/>
                  </a:lnTo>
                  <a:lnTo>
                    <a:pt x="1220" y="1"/>
                  </a:lnTo>
                  <a:lnTo>
                    <a:pt x="1156" y="0"/>
                  </a:lnTo>
                  <a:lnTo>
                    <a:pt x="1092" y="0"/>
                  </a:lnTo>
                  <a:lnTo>
                    <a:pt x="1027" y="0"/>
                  </a:lnTo>
                  <a:lnTo>
                    <a:pt x="964" y="1"/>
                  </a:lnTo>
                  <a:lnTo>
                    <a:pt x="901" y="4"/>
                  </a:lnTo>
                  <a:lnTo>
                    <a:pt x="839" y="7"/>
                  </a:lnTo>
                  <a:lnTo>
                    <a:pt x="780" y="10"/>
                  </a:lnTo>
                  <a:lnTo>
                    <a:pt x="721" y="13"/>
                  </a:lnTo>
                  <a:lnTo>
                    <a:pt x="664" y="18"/>
                  </a:lnTo>
                  <a:lnTo>
                    <a:pt x="608" y="23"/>
                  </a:lnTo>
                  <a:lnTo>
                    <a:pt x="554" y="28"/>
                  </a:lnTo>
                  <a:lnTo>
                    <a:pt x="502" y="35"/>
                  </a:lnTo>
                  <a:lnTo>
                    <a:pt x="453" y="41"/>
                  </a:lnTo>
                  <a:lnTo>
                    <a:pt x="404" y="49"/>
                  </a:lnTo>
                  <a:lnTo>
                    <a:pt x="358" y="58"/>
                  </a:lnTo>
                  <a:lnTo>
                    <a:pt x="315" y="65"/>
                  </a:lnTo>
                  <a:lnTo>
                    <a:pt x="274" y="74"/>
                  </a:lnTo>
                  <a:lnTo>
                    <a:pt x="235" y="84"/>
                  </a:lnTo>
                  <a:lnTo>
                    <a:pt x="0" y="84"/>
                  </a:lnTo>
                  <a:lnTo>
                    <a:pt x="0" y="219"/>
                  </a:lnTo>
                  <a:lnTo>
                    <a:pt x="0" y="222"/>
                  </a:lnTo>
                  <a:lnTo>
                    <a:pt x="0" y="222"/>
                  </a:lnTo>
                  <a:lnTo>
                    <a:pt x="2" y="234"/>
                  </a:lnTo>
                  <a:lnTo>
                    <a:pt x="8" y="245"/>
                  </a:lnTo>
                  <a:lnTo>
                    <a:pt x="15" y="256"/>
                  </a:lnTo>
                  <a:lnTo>
                    <a:pt x="25" y="267"/>
                  </a:lnTo>
                  <a:lnTo>
                    <a:pt x="38" y="276"/>
                  </a:lnTo>
                  <a:lnTo>
                    <a:pt x="53" y="287"/>
                  </a:lnTo>
                  <a:lnTo>
                    <a:pt x="70" y="297"/>
                  </a:lnTo>
                  <a:lnTo>
                    <a:pt x="90" y="307"/>
                  </a:lnTo>
                  <a:lnTo>
                    <a:pt x="113" y="316"/>
                  </a:lnTo>
                  <a:lnTo>
                    <a:pt x="137" y="325"/>
                  </a:lnTo>
                  <a:lnTo>
                    <a:pt x="164" y="335"/>
                  </a:lnTo>
                  <a:lnTo>
                    <a:pt x="192" y="344"/>
                  </a:lnTo>
                  <a:lnTo>
                    <a:pt x="222" y="352"/>
                  </a:lnTo>
                  <a:lnTo>
                    <a:pt x="255" y="360"/>
                  </a:lnTo>
                  <a:lnTo>
                    <a:pt x="289" y="367"/>
                  </a:lnTo>
                  <a:lnTo>
                    <a:pt x="325" y="375"/>
                  </a:lnTo>
                  <a:lnTo>
                    <a:pt x="363" y="382"/>
                  </a:lnTo>
                  <a:lnTo>
                    <a:pt x="403" y="389"/>
                  </a:lnTo>
                  <a:lnTo>
                    <a:pt x="444" y="395"/>
                  </a:lnTo>
                  <a:lnTo>
                    <a:pt x="486" y="402"/>
                  </a:lnTo>
                  <a:lnTo>
                    <a:pt x="531" y="407"/>
                  </a:lnTo>
                  <a:lnTo>
                    <a:pt x="576" y="413"/>
                  </a:lnTo>
                  <a:lnTo>
                    <a:pt x="623" y="417"/>
                  </a:lnTo>
                  <a:lnTo>
                    <a:pt x="670" y="421"/>
                  </a:lnTo>
                  <a:lnTo>
                    <a:pt x="720" y="426"/>
                  </a:lnTo>
                  <a:lnTo>
                    <a:pt x="770" y="429"/>
                  </a:lnTo>
                  <a:lnTo>
                    <a:pt x="822" y="431"/>
                  </a:lnTo>
                  <a:lnTo>
                    <a:pt x="874" y="434"/>
                  </a:lnTo>
                  <a:lnTo>
                    <a:pt x="927" y="436"/>
                  </a:lnTo>
                  <a:lnTo>
                    <a:pt x="981" y="438"/>
                  </a:lnTo>
                  <a:lnTo>
                    <a:pt x="1036" y="438"/>
                  </a:lnTo>
                  <a:lnTo>
                    <a:pt x="1092" y="439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5" name="Freeform 42">
              <a:extLst>
                <a:ext uri="{FF2B5EF4-FFF2-40B4-BE49-F238E27FC236}">
                  <a16:creationId xmlns:a16="http://schemas.microsoft.com/office/drawing/2014/main" id="{15C59EFE-6D84-459C-B850-9D3CE3493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0187" y="4313616"/>
              <a:ext cx="1238812" cy="249578"/>
            </a:xfrm>
            <a:custGeom>
              <a:avLst/>
              <a:gdLst>
                <a:gd name="T0" fmla="*/ 1204 w 2184"/>
                <a:gd name="T1" fmla="*/ 438 h 439"/>
                <a:gd name="T2" fmla="*/ 1365 w 2184"/>
                <a:gd name="T3" fmla="*/ 432 h 439"/>
                <a:gd name="T4" fmla="*/ 1517 w 2184"/>
                <a:gd name="T5" fmla="*/ 422 h 439"/>
                <a:gd name="T6" fmla="*/ 1659 w 2184"/>
                <a:gd name="T7" fmla="*/ 407 h 439"/>
                <a:gd name="T8" fmla="*/ 1786 w 2184"/>
                <a:gd name="T9" fmla="*/ 389 h 439"/>
                <a:gd name="T10" fmla="*/ 1900 w 2184"/>
                <a:gd name="T11" fmla="*/ 367 h 439"/>
                <a:gd name="T12" fmla="*/ 1997 w 2184"/>
                <a:gd name="T13" fmla="*/ 343 h 439"/>
                <a:gd name="T14" fmla="*/ 2076 w 2184"/>
                <a:gd name="T15" fmla="*/ 314 h 439"/>
                <a:gd name="T16" fmla="*/ 2135 w 2184"/>
                <a:gd name="T17" fmla="*/ 285 h 439"/>
                <a:gd name="T18" fmla="*/ 2172 w 2184"/>
                <a:gd name="T19" fmla="*/ 254 h 439"/>
                <a:gd name="T20" fmla="*/ 2184 w 2184"/>
                <a:gd name="T21" fmla="*/ 220 h 439"/>
                <a:gd name="T22" fmla="*/ 2172 w 2184"/>
                <a:gd name="T23" fmla="*/ 187 h 439"/>
                <a:gd name="T24" fmla="*/ 2135 w 2184"/>
                <a:gd name="T25" fmla="*/ 155 h 439"/>
                <a:gd name="T26" fmla="*/ 2076 w 2184"/>
                <a:gd name="T27" fmla="*/ 125 h 439"/>
                <a:gd name="T28" fmla="*/ 1997 w 2184"/>
                <a:gd name="T29" fmla="*/ 98 h 439"/>
                <a:gd name="T30" fmla="*/ 1900 w 2184"/>
                <a:gd name="T31" fmla="*/ 73 h 439"/>
                <a:gd name="T32" fmla="*/ 1786 w 2184"/>
                <a:gd name="T33" fmla="*/ 51 h 439"/>
                <a:gd name="T34" fmla="*/ 1659 w 2184"/>
                <a:gd name="T35" fmla="*/ 33 h 439"/>
                <a:gd name="T36" fmla="*/ 1517 w 2184"/>
                <a:gd name="T37" fmla="*/ 18 h 439"/>
                <a:gd name="T38" fmla="*/ 1365 w 2184"/>
                <a:gd name="T39" fmla="*/ 8 h 439"/>
                <a:gd name="T40" fmla="*/ 1204 w 2184"/>
                <a:gd name="T41" fmla="*/ 2 h 439"/>
                <a:gd name="T42" fmla="*/ 1036 w 2184"/>
                <a:gd name="T43" fmla="*/ 2 h 439"/>
                <a:gd name="T44" fmla="*/ 872 w 2184"/>
                <a:gd name="T45" fmla="*/ 6 h 439"/>
                <a:gd name="T46" fmla="*/ 717 w 2184"/>
                <a:gd name="T47" fmla="*/ 14 h 439"/>
                <a:gd name="T48" fmla="*/ 572 w 2184"/>
                <a:gd name="T49" fmla="*/ 27 h 439"/>
                <a:gd name="T50" fmla="*/ 439 w 2184"/>
                <a:gd name="T51" fmla="*/ 45 h 439"/>
                <a:gd name="T52" fmla="*/ 319 w 2184"/>
                <a:gd name="T53" fmla="*/ 65 h 439"/>
                <a:gd name="T54" fmla="*/ 217 w 2184"/>
                <a:gd name="T55" fmla="*/ 89 h 439"/>
                <a:gd name="T56" fmla="*/ 132 w 2184"/>
                <a:gd name="T57" fmla="*/ 115 h 439"/>
                <a:gd name="T58" fmla="*/ 66 w 2184"/>
                <a:gd name="T59" fmla="*/ 144 h 439"/>
                <a:gd name="T60" fmla="*/ 22 w 2184"/>
                <a:gd name="T61" fmla="*/ 176 h 439"/>
                <a:gd name="T62" fmla="*/ 1 w 2184"/>
                <a:gd name="T63" fmla="*/ 208 h 439"/>
                <a:gd name="T64" fmla="*/ 6 w 2184"/>
                <a:gd name="T65" fmla="*/ 242 h 439"/>
                <a:gd name="T66" fmla="*/ 35 w 2184"/>
                <a:gd name="T67" fmla="*/ 274 h 439"/>
                <a:gd name="T68" fmla="*/ 86 w 2184"/>
                <a:gd name="T69" fmla="*/ 305 h 439"/>
                <a:gd name="T70" fmla="*/ 158 w 2184"/>
                <a:gd name="T71" fmla="*/ 334 h 439"/>
                <a:gd name="T72" fmla="*/ 249 w 2184"/>
                <a:gd name="T73" fmla="*/ 359 h 439"/>
                <a:gd name="T74" fmla="*/ 357 w 2184"/>
                <a:gd name="T75" fmla="*/ 381 h 439"/>
                <a:gd name="T76" fmla="*/ 482 w 2184"/>
                <a:gd name="T77" fmla="*/ 401 h 439"/>
                <a:gd name="T78" fmla="*/ 618 w 2184"/>
                <a:gd name="T79" fmla="*/ 417 h 439"/>
                <a:gd name="T80" fmla="*/ 768 w 2184"/>
                <a:gd name="T81" fmla="*/ 429 h 439"/>
                <a:gd name="T82" fmla="*/ 926 w 2184"/>
                <a:gd name="T83" fmla="*/ 437 h 439"/>
                <a:gd name="T84" fmla="*/ 1092 w 2184"/>
                <a:gd name="T85" fmla="*/ 439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84" h="439">
                  <a:moveTo>
                    <a:pt x="1092" y="439"/>
                  </a:moveTo>
                  <a:lnTo>
                    <a:pt x="1148" y="439"/>
                  </a:lnTo>
                  <a:lnTo>
                    <a:pt x="1204" y="438"/>
                  </a:lnTo>
                  <a:lnTo>
                    <a:pt x="1258" y="437"/>
                  </a:lnTo>
                  <a:lnTo>
                    <a:pt x="1312" y="435"/>
                  </a:lnTo>
                  <a:lnTo>
                    <a:pt x="1365" y="432"/>
                  </a:lnTo>
                  <a:lnTo>
                    <a:pt x="1416" y="429"/>
                  </a:lnTo>
                  <a:lnTo>
                    <a:pt x="1467" y="426"/>
                  </a:lnTo>
                  <a:lnTo>
                    <a:pt x="1517" y="422"/>
                  </a:lnTo>
                  <a:lnTo>
                    <a:pt x="1565" y="417"/>
                  </a:lnTo>
                  <a:lnTo>
                    <a:pt x="1612" y="413"/>
                  </a:lnTo>
                  <a:lnTo>
                    <a:pt x="1659" y="407"/>
                  </a:lnTo>
                  <a:lnTo>
                    <a:pt x="1702" y="401"/>
                  </a:lnTo>
                  <a:lnTo>
                    <a:pt x="1745" y="396"/>
                  </a:lnTo>
                  <a:lnTo>
                    <a:pt x="1786" y="389"/>
                  </a:lnTo>
                  <a:lnTo>
                    <a:pt x="1826" y="381"/>
                  </a:lnTo>
                  <a:lnTo>
                    <a:pt x="1864" y="375"/>
                  </a:lnTo>
                  <a:lnTo>
                    <a:pt x="1900" y="367"/>
                  </a:lnTo>
                  <a:lnTo>
                    <a:pt x="1935" y="359"/>
                  </a:lnTo>
                  <a:lnTo>
                    <a:pt x="1967" y="351"/>
                  </a:lnTo>
                  <a:lnTo>
                    <a:pt x="1997" y="343"/>
                  </a:lnTo>
                  <a:lnTo>
                    <a:pt x="2025" y="334"/>
                  </a:lnTo>
                  <a:lnTo>
                    <a:pt x="2051" y="324"/>
                  </a:lnTo>
                  <a:lnTo>
                    <a:pt x="2076" y="314"/>
                  </a:lnTo>
                  <a:lnTo>
                    <a:pt x="2098" y="305"/>
                  </a:lnTo>
                  <a:lnTo>
                    <a:pt x="2117" y="295"/>
                  </a:lnTo>
                  <a:lnTo>
                    <a:pt x="2135" y="285"/>
                  </a:lnTo>
                  <a:lnTo>
                    <a:pt x="2149" y="274"/>
                  </a:lnTo>
                  <a:lnTo>
                    <a:pt x="2162" y="263"/>
                  </a:lnTo>
                  <a:lnTo>
                    <a:pt x="2172" y="254"/>
                  </a:lnTo>
                  <a:lnTo>
                    <a:pt x="2178" y="242"/>
                  </a:lnTo>
                  <a:lnTo>
                    <a:pt x="2182" y="231"/>
                  </a:lnTo>
                  <a:lnTo>
                    <a:pt x="2184" y="220"/>
                  </a:lnTo>
                  <a:lnTo>
                    <a:pt x="2182" y="208"/>
                  </a:lnTo>
                  <a:lnTo>
                    <a:pt x="2178" y="197"/>
                  </a:lnTo>
                  <a:lnTo>
                    <a:pt x="2172" y="187"/>
                  </a:lnTo>
                  <a:lnTo>
                    <a:pt x="2162" y="176"/>
                  </a:lnTo>
                  <a:lnTo>
                    <a:pt x="2149" y="165"/>
                  </a:lnTo>
                  <a:lnTo>
                    <a:pt x="2135" y="155"/>
                  </a:lnTo>
                  <a:lnTo>
                    <a:pt x="2117" y="144"/>
                  </a:lnTo>
                  <a:lnTo>
                    <a:pt x="2098" y="135"/>
                  </a:lnTo>
                  <a:lnTo>
                    <a:pt x="2076" y="125"/>
                  </a:lnTo>
                  <a:lnTo>
                    <a:pt x="2051" y="115"/>
                  </a:lnTo>
                  <a:lnTo>
                    <a:pt x="2025" y="107"/>
                  </a:lnTo>
                  <a:lnTo>
                    <a:pt x="1997" y="98"/>
                  </a:lnTo>
                  <a:lnTo>
                    <a:pt x="1967" y="89"/>
                  </a:lnTo>
                  <a:lnTo>
                    <a:pt x="1935" y="81"/>
                  </a:lnTo>
                  <a:lnTo>
                    <a:pt x="1900" y="73"/>
                  </a:lnTo>
                  <a:lnTo>
                    <a:pt x="1864" y="65"/>
                  </a:lnTo>
                  <a:lnTo>
                    <a:pt x="1826" y="58"/>
                  </a:lnTo>
                  <a:lnTo>
                    <a:pt x="1786" y="51"/>
                  </a:lnTo>
                  <a:lnTo>
                    <a:pt x="1745" y="45"/>
                  </a:lnTo>
                  <a:lnTo>
                    <a:pt x="1702" y="38"/>
                  </a:lnTo>
                  <a:lnTo>
                    <a:pt x="1659" y="33"/>
                  </a:lnTo>
                  <a:lnTo>
                    <a:pt x="1612" y="27"/>
                  </a:lnTo>
                  <a:lnTo>
                    <a:pt x="1565" y="22"/>
                  </a:lnTo>
                  <a:lnTo>
                    <a:pt x="1517" y="18"/>
                  </a:lnTo>
                  <a:lnTo>
                    <a:pt x="1467" y="14"/>
                  </a:lnTo>
                  <a:lnTo>
                    <a:pt x="1416" y="11"/>
                  </a:lnTo>
                  <a:lnTo>
                    <a:pt x="1365" y="8"/>
                  </a:lnTo>
                  <a:lnTo>
                    <a:pt x="1312" y="6"/>
                  </a:lnTo>
                  <a:lnTo>
                    <a:pt x="1258" y="4"/>
                  </a:lnTo>
                  <a:lnTo>
                    <a:pt x="1204" y="2"/>
                  </a:lnTo>
                  <a:lnTo>
                    <a:pt x="1148" y="2"/>
                  </a:lnTo>
                  <a:lnTo>
                    <a:pt x="1092" y="0"/>
                  </a:lnTo>
                  <a:lnTo>
                    <a:pt x="1036" y="2"/>
                  </a:lnTo>
                  <a:lnTo>
                    <a:pt x="980" y="2"/>
                  </a:lnTo>
                  <a:lnTo>
                    <a:pt x="926" y="4"/>
                  </a:lnTo>
                  <a:lnTo>
                    <a:pt x="872" y="6"/>
                  </a:lnTo>
                  <a:lnTo>
                    <a:pt x="820" y="8"/>
                  </a:lnTo>
                  <a:lnTo>
                    <a:pt x="768" y="11"/>
                  </a:lnTo>
                  <a:lnTo>
                    <a:pt x="717" y="14"/>
                  </a:lnTo>
                  <a:lnTo>
                    <a:pt x="667" y="18"/>
                  </a:lnTo>
                  <a:lnTo>
                    <a:pt x="618" y="22"/>
                  </a:lnTo>
                  <a:lnTo>
                    <a:pt x="572" y="27"/>
                  </a:lnTo>
                  <a:lnTo>
                    <a:pt x="526" y="33"/>
                  </a:lnTo>
                  <a:lnTo>
                    <a:pt x="482" y="38"/>
                  </a:lnTo>
                  <a:lnTo>
                    <a:pt x="439" y="45"/>
                  </a:lnTo>
                  <a:lnTo>
                    <a:pt x="397" y="51"/>
                  </a:lnTo>
                  <a:lnTo>
                    <a:pt x="357" y="58"/>
                  </a:lnTo>
                  <a:lnTo>
                    <a:pt x="319" y="65"/>
                  </a:lnTo>
                  <a:lnTo>
                    <a:pt x="284" y="73"/>
                  </a:lnTo>
                  <a:lnTo>
                    <a:pt x="249" y="81"/>
                  </a:lnTo>
                  <a:lnTo>
                    <a:pt x="217" y="89"/>
                  </a:lnTo>
                  <a:lnTo>
                    <a:pt x="186" y="98"/>
                  </a:lnTo>
                  <a:lnTo>
                    <a:pt x="158" y="107"/>
                  </a:lnTo>
                  <a:lnTo>
                    <a:pt x="132" y="115"/>
                  </a:lnTo>
                  <a:lnTo>
                    <a:pt x="107" y="125"/>
                  </a:lnTo>
                  <a:lnTo>
                    <a:pt x="86" y="135"/>
                  </a:lnTo>
                  <a:lnTo>
                    <a:pt x="66" y="144"/>
                  </a:lnTo>
                  <a:lnTo>
                    <a:pt x="49" y="155"/>
                  </a:lnTo>
                  <a:lnTo>
                    <a:pt x="35" y="165"/>
                  </a:lnTo>
                  <a:lnTo>
                    <a:pt x="22" y="176"/>
                  </a:lnTo>
                  <a:lnTo>
                    <a:pt x="13" y="187"/>
                  </a:lnTo>
                  <a:lnTo>
                    <a:pt x="6" y="197"/>
                  </a:lnTo>
                  <a:lnTo>
                    <a:pt x="1" y="208"/>
                  </a:lnTo>
                  <a:lnTo>
                    <a:pt x="0" y="220"/>
                  </a:lnTo>
                  <a:lnTo>
                    <a:pt x="1" y="231"/>
                  </a:lnTo>
                  <a:lnTo>
                    <a:pt x="6" y="242"/>
                  </a:lnTo>
                  <a:lnTo>
                    <a:pt x="13" y="254"/>
                  </a:lnTo>
                  <a:lnTo>
                    <a:pt x="22" y="263"/>
                  </a:lnTo>
                  <a:lnTo>
                    <a:pt x="35" y="274"/>
                  </a:lnTo>
                  <a:lnTo>
                    <a:pt x="49" y="285"/>
                  </a:lnTo>
                  <a:lnTo>
                    <a:pt x="66" y="295"/>
                  </a:lnTo>
                  <a:lnTo>
                    <a:pt x="86" y="305"/>
                  </a:lnTo>
                  <a:lnTo>
                    <a:pt x="107" y="314"/>
                  </a:lnTo>
                  <a:lnTo>
                    <a:pt x="132" y="324"/>
                  </a:lnTo>
                  <a:lnTo>
                    <a:pt x="158" y="334"/>
                  </a:lnTo>
                  <a:lnTo>
                    <a:pt x="186" y="343"/>
                  </a:lnTo>
                  <a:lnTo>
                    <a:pt x="217" y="351"/>
                  </a:lnTo>
                  <a:lnTo>
                    <a:pt x="249" y="359"/>
                  </a:lnTo>
                  <a:lnTo>
                    <a:pt x="284" y="367"/>
                  </a:lnTo>
                  <a:lnTo>
                    <a:pt x="319" y="375"/>
                  </a:lnTo>
                  <a:lnTo>
                    <a:pt x="357" y="381"/>
                  </a:lnTo>
                  <a:lnTo>
                    <a:pt x="397" y="389"/>
                  </a:lnTo>
                  <a:lnTo>
                    <a:pt x="439" y="396"/>
                  </a:lnTo>
                  <a:lnTo>
                    <a:pt x="482" y="401"/>
                  </a:lnTo>
                  <a:lnTo>
                    <a:pt x="526" y="407"/>
                  </a:lnTo>
                  <a:lnTo>
                    <a:pt x="572" y="413"/>
                  </a:lnTo>
                  <a:lnTo>
                    <a:pt x="618" y="417"/>
                  </a:lnTo>
                  <a:lnTo>
                    <a:pt x="667" y="422"/>
                  </a:lnTo>
                  <a:lnTo>
                    <a:pt x="717" y="426"/>
                  </a:lnTo>
                  <a:lnTo>
                    <a:pt x="768" y="429"/>
                  </a:lnTo>
                  <a:lnTo>
                    <a:pt x="820" y="432"/>
                  </a:lnTo>
                  <a:lnTo>
                    <a:pt x="872" y="435"/>
                  </a:lnTo>
                  <a:lnTo>
                    <a:pt x="926" y="437"/>
                  </a:lnTo>
                  <a:lnTo>
                    <a:pt x="980" y="438"/>
                  </a:lnTo>
                  <a:lnTo>
                    <a:pt x="1036" y="439"/>
                  </a:lnTo>
                  <a:lnTo>
                    <a:pt x="1092" y="4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6" name="Freeform 46">
              <a:extLst>
                <a:ext uri="{FF2B5EF4-FFF2-40B4-BE49-F238E27FC236}">
                  <a16:creationId xmlns:a16="http://schemas.microsoft.com/office/drawing/2014/main" id="{16E550DB-0F28-4A78-AFA4-67AF09D58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6570" y="1967586"/>
              <a:ext cx="186049" cy="2445861"/>
            </a:xfrm>
            <a:custGeom>
              <a:avLst/>
              <a:gdLst>
                <a:gd name="T0" fmla="*/ 95 w 329"/>
                <a:gd name="T1" fmla="*/ 0 h 4312"/>
                <a:gd name="T2" fmla="*/ 82 w 329"/>
                <a:gd name="T3" fmla="*/ 276 h 4312"/>
                <a:gd name="T4" fmla="*/ 70 w 329"/>
                <a:gd name="T5" fmla="*/ 552 h 4312"/>
                <a:gd name="T6" fmla="*/ 58 w 329"/>
                <a:gd name="T7" fmla="*/ 826 h 4312"/>
                <a:gd name="T8" fmla="*/ 47 w 329"/>
                <a:gd name="T9" fmla="*/ 1099 h 4312"/>
                <a:gd name="T10" fmla="*/ 38 w 329"/>
                <a:gd name="T11" fmla="*/ 1372 h 4312"/>
                <a:gd name="T12" fmla="*/ 29 w 329"/>
                <a:gd name="T13" fmla="*/ 1642 h 4312"/>
                <a:gd name="T14" fmla="*/ 21 w 329"/>
                <a:gd name="T15" fmla="*/ 1912 h 4312"/>
                <a:gd name="T16" fmla="*/ 15 w 329"/>
                <a:gd name="T17" fmla="*/ 2180 h 4312"/>
                <a:gd name="T18" fmla="*/ 9 w 329"/>
                <a:gd name="T19" fmla="*/ 2448 h 4312"/>
                <a:gd name="T20" fmla="*/ 5 w 329"/>
                <a:gd name="T21" fmla="*/ 2714 h 4312"/>
                <a:gd name="T22" fmla="*/ 2 w 329"/>
                <a:gd name="T23" fmla="*/ 2979 h 4312"/>
                <a:gd name="T24" fmla="*/ 1 w 329"/>
                <a:gd name="T25" fmla="*/ 3243 h 4312"/>
                <a:gd name="T26" fmla="*/ 0 w 329"/>
                <a:gd name="T27" fmla="*/ 3506 h 4312"/>
                <a:gd name="T28" fmla="*/ 2 w 329"/>
                <a:gd name="T29" fmla="*/ 3767 h 4312"/>
                <a:gd name="T30" fmla="*/ 4 w 329"/>
                <a:gd name="T31" fmla="*/ 4028 h 4312"/>
                <a:gd name="T32" fmla="*/ 8 w 329"/>
                <a:gd name="T33" fmla="*/ 4287 h 4312"/>
                <a:gd name="T34" fmla="*/ 30 w 329"/>
                <a:gd name="T35" fmla="*/ 4293 h 4312"/>
                <a:gd name="T36" fmla="*/ 51 w 329"/>
                <a:gd name="T37" fmla="*/ 4299 h 4312"/>
                <a:gd name="T38" fmla="*/ 70 w 329"/>
                <a:gd name="T39" fmla="*/ 4303 h 4312"/>
                <a:gd name="T40" fmla="*/ 91 w 329"/>
                <a:gd name="T41" fmla="*/ 4306 h 4312"/>
                <a:gd name="T42" fmla="*/ 110 w 329"/>
                <a:gd name="T43" fmla="*/ 4309 h 4312"/>
                <a:gd name="T44" fmla="*/ 131 w 329"/>
                <a:gd name="T45" fmla="*/ 4311 h 4312"/>
                <a:gd name="T46" fmla="*/ 150 w 329"/>
                <a:gd name="T47" fmla="*/ 4312 h 4312"/>
                <a:gd name="T48" fmla="*/ 169 w 329"/>
                <a:gd name="T49" fmla="*/ 4312 h 4312"/>
                <a:gd name="T50" fmla="*/ 188 w 329"/>
                <a:gd name="T51" fmla="*/ 4311 h 4312"/>
                <a:gd name="T52" fmla="*/ 208 w 329"/>
                <a:gd name="T53" fmla="*/ 4310 h 4312"/>
                <a:gd name="T54" fmla="*/ 226 w 329"/>
                <a:gd name="T55" fmla="*/ 4308 h 4312"/>
                <a:gd name="T56" fmla="*/ 244 w 329"/>
                <a:gd name="T57" fmla="*/ 4304 h 4312"/>
                <a:gd name="T58" fmla="*/ 263 w 329"/>
                <a:gd name="T59" fmla="*/ 4301 h 4312"/>
                <a:gd name="T60" fmla="*/ 281 w 329"/>
                <a:gd name="T61" fmla="*/ 4297 h 4312"/>
                <a:gd name="T62" fmla="*/ 300 w 329"/>
                <a:gd name="T63" fmla="*/ 4292 h 4312"/>
                <a:gd name="T64" fmla="*/ 317 w 329"/>
                <a:gd name="T65" fmla="*/ 4287 h 4312"/>
                <a:gd name="T66" fmla="*/ 322 w 329"/>
                <a:gd name="T67" fmla="*/ 4022 h 4312"/>
                <a:gd name="T68" fmla="*/ 327 w 329"/>
                <a:gd name="T69" fmla="*/ 3755 h 4312"/>
                <a:gd name="T70" fmla="*/ 329 w 329"/>
                <a:gd name="T71" fmla="*/ 3489 h 4312"/>
                <a:gd name="T72" fmla="*/ 329 w 329"/>
                <a:gd name="T73" fmla="*/ 3223 h 4312"/>
                <a:gd name="T74" fmla="*/ 327 w 329"/>
                <a:gd name="T75" fmla="*/ 2956 h 4312"/>
                <a:gd name="T76" fmla="*/ 323 w 329"/>
                <a:gd name="T77" fmla="*/ 2690 h 4312"/>
                <a:gd name="T78" fmla="*/ 318 w 329"/>
                <a:gd name="T79" fmla="*/ 2423 h 4312"/>
                <a:gd name="T80" fmla="*/ 310 w 329"/>
                <a:gd name="T81" fmla="*/ 2155 h 4312"/>
                <a:gd name="T82" fmla="*/ 303 w 329"/>
                <a:gd name="T83" fmla="*/ 1888 h 4312"/>
                <a:gd name="T84" fmla="*/ 293 w 329"/>
                <a:gd name="T85" fmla="*/ 1620 h 4312"/>
                <a:gd name="T86" fmla="*/ 281 w 329"/>
                <a:gd name="T87" fmla="*/ 1351 h 4312"/>
                <a:gd name="T88" fmla="*/ 269 w 329"/>
                <a:gd name="T89" fmla="*/ 1083 h 4312"/>
                <a:gd name="T90" fmla="*/ 255 w 329"/>
                <a:gd name="T91" fmla="*/ 813 h 4312"/>
                <a:gd name="T92" fmla="*/ 240 w 329"/>
                <a:gd name="T93" fmla="*/ 542 h 4312"/>
                <a:gd name="T94" fmla="*/ 224 w 329"/>
                <a:gd name="T95" fmla="*/ 272 h 4312"/>
                <a:gd name="T96" fmla="*/ 206 w 329"/>
                <a:gd name="T97" fmla="*/ 0 h 4312"/>
                <a:gd name="T98" fmla="*/ 178 w 329"/>
                <a:gd name="T99" fmla="*/ 0 h 4312"/>
                <a:gd name="T100" fmla="*/ 150 w 329"/>
                <a:gd name="T101" fmla="*/ 0 h 4312"/>
                <a:gd name="T102" fmla="*/ 123 w 329"/>
                <a:gd name="T103" fmla="*/ 0 h 4312"/>
                <a:gd name="T104" fmla="*/ 95 w 329"/>
                <a:gd name="T105" fmla="*/ 0 h 4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9" h="4312">
                  <a:moveTo>
                    <a:pt x="95" y="0"/>
                  </a:moveTo>
                  <a:lnTo>
                    <a:pt x="82" y="276"/>
                  </a:lnTo>
                  <a:lnTo>
                    <a:pt x="70" y="552"/>
                  </a:lnTo>
                  <a:lnTo>
                    <a:pt x="58" y="826"/>
                  </a:lnTo>
                  <a:lnTo>
                    <a:pt x="47" y="1099"/>
                  </a:lnTo>
                  <a:lnTo>
                    <a:pt x="38" y="1372"/>
                  </a:lnTo>
                  <a:lnTo>
                    <a:pt x="29" y="1642"/>
                  </a:lnTo>
                  <a:lnTo>
                    <a:pt x="21" y="1912"/>
                  </a:lnTo>
                  <a:lnTo>
                    <a:pt x="15" y="2180"/>
                  </a:lnTo>
                  <a:lnTo>
                    <a:pt x="9" y="2448"/>
                  </a:lnTo>
                  <a:lnTo>
                    <a:pt x="5" y="2714"/>
                  </a:lnTo>
                  <a:lnTo>
                    <a:pt x="2" y="2979"/>
                  </a:lnTo>
                  <a:lnTo>
                    <a:pt x="1" y="3243"/>
                  </a:lnTo>
                  <a:lnTo>
                    <a:pt x="0" y="3506"/>
                  </a:lnTo>
                  <a:lnTo>
                    <a:pt x="2" y="3767"/>
                  </a:lnTo>
                  <a:lnTo>
                    <a:pt x="4" y="4028"/>
                  </a:lnTo>
                  <a:lnTo>
                    <a:pt x="8" y="4287"/>
                  </a:lnTo>
                  <a:lnTo>
                    <a:pt x="30" y="4293"/>
                  </a:lnTo>
                  <a:lnTo>
                    <a:pt x="51" y="4299"/>
                  </a:lnTo>
                  <a:lnTo>
                    <a:pt x="70" y="4303"/>
                  </a:lnTo>
                  <a:lnTo>
                    <a:pt x="91" y="4306"/>
                  </a:lnTo>
                  <a:lnTo>
                    <a:pt x="110" y="4309"/>
                  </a:lnTo>
                  <a:lnTo>
                    <a:pt x="131" y="4311"/>
                  </a:lnTo>
                  <a:lnTo>
                    <a:pt x="150" y="4312"/>
                  </a:lnTo>
                  <a:lnTo>
                    <a:pt x="169" y="4312"/>
                  </a:lnTo>
                  <a:lnTo>
                    <a:pt x="188" y="4311"/>
                  </a:lnTo>
                  <a:lnTo>
                    <a:pt x="208" y="4310"/>
                  </a:lnTo>
                  <a:lnTo>
                    <a:pt x="226" y="4308"/>
                  </a:lnTo>
                  <a:lnTo>
                    <a:pt x="244" y="4304"/>
                  </a:lnTo>
                  <a:lnTo>
                    <a:pt x="263" y="4301"/>
                  </a:lnTo>
                  <a:lnTo>
                    <a:pt x="281" y="4297"/>
                  </a:lnTo>
                  <a:lnTo>
                    <a:pt x="300" y="4292"/>
                  </a:lnTo>
                  <a:lnTo>
                    <a:pt x="317" y="4287"/>
                  </a:lnTo>
                  <a:lnTo>
                    <a:pt x="322" y="4022"/>
                  </a:lnTo>
                  <a:lnTo>
                    <a:pt x="327" y="3755"/>
                  </a:lnTo>
                  <a:lnTo>
                    <a:pt x="329" y="3489"/>
                  </a:lnTo>
                  <a:lnTo>
                    <a:pt x="329" y="3223"/>
                  </a:lnTo>
                  <a:lnTo>
                    <a:pt x="327" y="2956"/>
                  </a:lnTo>
                  <a:lnTo>
                    <a:pt x="323" y="2690"/>
                  </a:lnTo>
                  <a:lnTo>
                    <a:pt x="318" y="2423"/>
                  </a:lnTo>
                  <a:lnTo>
                    <a:pt x="310" y="2155"/>
                  </a:lnTo>
                  <a:lnTo>
                    <a:pt x="303" y="1888"/>
                  </a:lnTo>
                  <a:lnTo>
                    <a:pt x="293" y="1620"/>
                  </a:lnTo>
                  <a:lnTo>
                    <a:pt x="281" y="1351"/>
                  </a:lnTo>
                  <a:lnTo>
                    <a:pt x="269" y="1083"/>
                  </a:lnTo>
                  <a:lnTo>
                    <a:pt x="255" y="813"/>
                  </a:lnTo>
                  <a:lnTo>
                    <a:pt x="240" y="542"/>
                  </a:lnTo>
                  <a:lnTo>
                    <a:pt x="224" y="272"/>
                  </a:lnTo>
                  <a:lnTo>
                    <a:pt x="206" y="0"/>
                  </a:lnTo>
                  <a:lnTo>
                    <a:pt x="178" y="0"/>
                  </a:lnTo>
                  <a:lnTo>
                    <a:pt x="150" y="0"/>
                  </a:lnTo>
                  <a:lnTo>
                    <a:pt x="123" y="0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grpSp>
          <p:nvGrpSpPr>
            <p:cNvPr id="17" name="Group 14">
              <a:extLst>
                <a:ext uri="{FF2B5EF4-FFF2-40B4-BE49-F238E27FC236}">
                  <a16:creationId xmlns:a16="http://schemas.microsoft.com/office/drawing/2014/main" id="{8B7C80CC-3A59-45FE-A95D-F656E7DC42F6}"/>
                </a:ext>
              </a:extLst>
            </p:cNvPr>
            <p:cNvGrpSpPr/>
            <p:nvPr/>
          </p:nvGrpSpPr>
          <p:grpSpPr>
            <a:xfrm>
              <a:off x="4970212" y="1838446"/>
              <a:ext cx="2234720" cy="2590885"/>
              <a:chOff x="1409440" y="2436383"/>
              <a:chExt cx="2234720" cy="2590885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8" name="Freeform 43">
                <a:extLst>
                  <a:ext uri="{FF2B5EF4-FFF2-40B4-BE49-F238E27FC236}">
                    <a16:creationId xmlns:a16="http://schemas.microsoft.com/office/drawing/2014/main" id="{73E658F1-8F5A-439F-A0A9-A968D1B393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1932" y="4959201"/>
                <a:ext cx="453778" cy="68067"/>
              </a:xfrm>
              <a:custGeom>
                <a:avLst/>
                <a:gdLst>
                  <a:gd name="T0" fmla="*/ 441 w 802"/>
                  <a:gd name="T1" fmla="*/ 0 h 122"/>
                  <a:gd name="T2" fmla="*/ 520 w 802"/>
                  <a:gd name="T3" fmla="*/ 2 h 122"/>
                  <a:gd name="T4" fmla="*/ 592 w 802"/>
                  <a:gd name="T5" fmla="*/ 6 h 122"/>
                  <a:gd name="T6" fmla="*/ 656 w 802"/>
                  <a:gd name="T7" fmla="*/ 14 h 122"/>
                  <a:gd name="T8" fmla="*/ 710 w 802"/>
                  <a:gd name="T9" fmla="*/ 21 h 122"/>
                  <a:gd name="T10" fmla="*/ 753 w 802"/>
                  <a:gd name="T11" fmla="*/ 31 h 122"/>
                  <a:gd name="T12" fmla="*/ 783 w 802"/>
                  <a:gd name="T13" fmla="*/ 43 h 122"/>
                  <a:gd name="T14" fmla="*/ 798 w 802"/>
                  <a:gd name="T15" fmla="*/ 52 h 122"/>
                  <a:gd name="T16" fmla="*/ 801 w 802"/>
                  <a:gd name="T17" fmla="*/ 58 h 122"/>
                  <a:gd name="T18" fmla="*/ 801 w 802"/>
                  <a:gd name="T19" fmla="*/ 63 h 122"/>
                  <a:gd name="T20" fmla="*/ 798 w 802"/>
                  <a:gd name="T21" fmla="*/ 70 h 122"/>
                  <a:gd name="T22" fmla="*/ 783 w 802"/>
                  <a:gd name="T23" fmla="*/ 79 h 122"/>
                  <a:gd name="T24" fmla="*/ 753 w 802"/>
                  <a:gd name="T25" fmla="*/ 91 h 122"/>
                  <a:gd name="T26" fmla="*/ 710 w 802"/>
                  <a:gd name="T27" fmla="*/ 100 h 122"/>
                  <a:gd name="T28" fmla="*/ 656 w 802"/>
                  <a:gd name="T29" fmla="*/ 108 h 122"/>
                  <a:gd name="T30" fmla="*/ 592 w 802"/>
                  <a:gd name="T31" fmla="*/ 115 h 122"/>
                  <a:gd name="T32" fmla="*/ 520 w 802"/>
                  <a:gd name="T33" fmla="*/ 120 h 122"/>
                  <a:gd name="T34" fmla="*/ 441 w 802"/>
                  <a:gd name="T35" fmla="*/ 122 h 122"/>
                  <a:gd name="T36" fmla="*/ 360 w 802"/>
                  <a:gd name="T37" fmla="*/ 122 h 122"/>
                  <a:gd name="T38" fmla="*/ 281 w 802"/>
                  <a:gd name="T39" fmla="*/ 120 h 122"/>
                  <a:gd name="T40" fmla="*/ 210 w 802"/>
                  <a:gd name="T41" fmla="*/ 115 h 122"/>
                  <a:gd name="T42" fmla="*/ 146 w 802"/>
                  <a:gd name="T43" fmla="*/ 108 h 122"/>
                  <a:gd name="T44" fmla="*/ 92 w 802"/>
                  <a:gd name="T45" fmla="*/ 100 h 122"/>
                  <a:gd name="T46" fmla="*/ 48 w 802"/>
                  <a:gd name="T47" fmla="*/ 91 h 122"/>
                  <a:gd name="T48" fmla="*/ 18 w 802"/>
                  <a:gd name="T49" fmla="*/ 79 h 122"/>
                  <a:gd name="T50" fmla="*/ 4 w 802"/>
                  <a:gd name="T51" fmla="*/ 70 h 122"/>
                  <a:gd name="T52" fmla="*/ 1 w 802"/>
                  <a:gd name="T53" fmla="*/ 63 h 122"/>
                  <a:gd name="T54" fmla="*/ 1 w 802"/>
                  <a:gd name="T55" fmla="*/ 58 h 122"/>
                  <a:gd name="T56" fmla="*/ 4 w 802"/>
                  <a:gd name="T57" fmla="*/ 52 h 122"/>
                  <a:gd name="T58" fmla="*/ 18 w 802"/>
                  <a:gd name="T59" fmla="*/ 43 h 122"/>
                  <a:gd name="T60" fmla="*/ 48 w 802"/>
                  <a:gd name="T61" fmla="*/ 31 h 122"/>
                  <a:gd name="T62" fmla="*/ 92 w 802"/>
                  <a:gd name="T63" fmla="*/ 21 h 122"/>
                  <a:gd name="T64" fmla="*/ 146 w 802"/>
                  <a:gd name="T65" fmla="*/ 14 h 122"/>
                  <a:gd name="T66" fmla="*/ 210 w 802"/>
                  <a:gd name="T67" fmla="*/ 6 h 122"/>
                  <a:gd name="T68" fmla="*/ 281 w 802"/>
                  <a:gd name="T69" fmla="*/ 2 h 122"/>
                  <a:gd name="T70" fmla="*/ 360 w 802"/>
                  <a:gd name="T71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02" h="122">
                    <a:moveTo>
                      <a:pt x="401" y="0"/>
                    </a:moveTo>
                    <a:lnTo>
                      <a:pt x="441" y="0"/>
                    </a:lnTo>
                    <a:lnTo>
                      <a:pt x="481" y="1"/>
                    </a:lnTo>
                    <a:lnTo>
                      <a:pt x="520" y="2"/>
                    </a:lnTo>
                    <a:lnTo>
                      <a:pt x="557" y="4"/>
                    </a:lnTo>
                    <a:lnTo>
                      <a:pt x="592" y="6"/>
                    </a:lnTo>
                    <a:lnTo>
                      <a:pt x="625" y="9"/>
                    </a:lnTo>
                    <a:lnTo>
                      <a:pt x="656" y="14"/>
                    </a:lnTo>
                    <a:lnTo>
                      <a:pt x="684" y="17"/>
                    </a:lnTo>
                    <a:lnTo>
                      <a:pt x="710" y="21"/>
                    </a:lnTo>
                    <a:lnTo>
                      <a:pt x="734" y="27"/>
                    </a:lnTo>
                    <a:lnTo>
                      <a:pt x="753" y="31"/>
                    </a:lnTo>
                    <a:lnTo>
                      <a:pt x="771" y="36"/>
                    </a:lnTo>
                    <a:lnTo>
                      <a:pt x="783" y="43"/>
                    </a:lnTo>
                    <a:lnTo>
                      <a:pt x="793" y="48"/>
                    </a:lnTo>
                    <a:lnTo>
                      <a:pt x="798" y="52"/>
                    </a:lnTo>
                    <a:lnTo>
                      <a:pt x="800" y="55"/>
                    </a:lnTo>
                    <a:lnTo>
                      <a:pt x="801" y="58"/>
                    </a:lnTo>
                    <a:lnTo>
                      <a:pt x="802" y="61"/>
                    </a:lnTo>
                    <a:lnTo>
                      <a:pt x="801" y="63"/>
                    </a:lnTo>
                    <a:lnTo>
                      <a:pt x="800" y="67"/>
                    </a:lnTo>
                    <a:lnTo>
                      <a:pt x="798" y="70"/>
                    </a:lnTo>
                    <a:lnTo>
                      <a:pt x="793" y="73"/>
                    </a:lnTo>
                    <a:lnTo>
                      <a:pt x="783" y="79"/>
                    </a:lnTo>
                    <a:lnTo>
                      <a:pt x="771" y="85"/>
                    </a:lnTo>
                    <a:lnTo>
                      <a:pt x="753" y="91"/>
                    </a:lnTo>
                    <a:lnTo>
                      <a:pt x="734" y="95"/>
                    </a:lnTo>
                    <a:lnTo>
                      <a:pt x="710" y="100"/>
                    </a:lnTo>
                    <a:lnTo>
                      <a:pt x="684" y="105"/>
                    </a:lnTo>
                    <a:lnTo>
                      <a:pt x="656" y="108"/>
                    </a:lnTo>
                    <a:lnTo>
                      <a:pt x="625" y="112"/>
                    </a:lnTo>
                    <a:lnTo>
                      <a:pt x="592" y="115"/>
                    </a:lnTo>
                    <a:lnTo>
                      <a:pt x="557" y="118"/>
                    </a:lnTo>
                    <a:lnTo>
                      <a:pt x="520" y="120"/>
                    </a:lnTo>
                    <a:lnTo>
                      <a:pt x="481" y="121"/>
                    </a:lnTo>
                    <a:lnTo>
                      <a:pt x="441" y="122"/>
                    </a:lnTo>
                    <a:lnTo>
                      <a:pt x="401" y="122"/>
                    </a:lnTo>
                    <a:lnTo>
                      <a:pt x="360" y="122"/>
                    </a:lnTo>
                    <a:lnTo>
                      <a:pt x="320" y="121"/>
                    </a:lnTo>
                    <a:lnTo>
                      <a:pt x="281" y="120"/>
                    </a:lnTo>
                    <a:lnTo>
                      <a:pt x="244" y="118"/>
                    </a:lnTo>
                    <a:lnTo>
                      <a:pt x="210" y="115"/>
                    </a:lnTo>
                    <a:lnTo>
                      <a:pt x="176" y="112"/>
                    </a:lnTo>
                    <a:lnTo>
                      <a:pt x="146" y="108"/>
                    </a:lnTo>
                    <a:lnTo>
                      <a:pt x="118" y="105"/>
                    </a:lnTo>
                    <a:lnTo>
                      <a:pt x="92" y="100"/>
                    </a:lnTo>
                    <a:lnTo>
                      <a:pt x="68" y="95"/>
                    </a:lnTo>
                    <a:lnTo>
                      <a:pt x="48" y="91"/>
                    </a:lnTo>
                    <a:lnTo>
                      <a:pt x="31" y="85"/>
                    </a:lnTo>
                    <a:lnTo>
                      <a:pt x="18" y="79"/>
                    </a:lnTo>
                    <a:lnTo>
                      <a:pt x="8" y="73"/>
                    </a:lnTo>
                    <a:lnTo>
                      <a:pt x="4" y="70"/>
                    </a:lnTo>
                    <a:lnTo>
                      <a:pt x="2" y="67"/>
                    </a:lnTo>
                    <a:lnTo>
                      <a:pt x="1" y="63"/>
                    </a:lnTo>
                    <a:lnTo>
                      <a:pt x="0" y="61"/>
                    </a:lnTo>
                    <a:lnTo>
                      <a:pt x="1" y="58"/>
                    </a:lnTo>
                    <a:lnTo>
                      <a:pt x="2" y="55"/>
                    </a:lnTo>
                    <a:lnTo>
                      <a:pt x="4" y="52"/>
                    </a:lnTo>
                    <a:lnTo>
                      <a:pt x="8" y="48"/>
                    </a:lnTo>
                    <a:lnTo>
                      <a:pt x="18" y="43"/>
                    </a:lnTo>
                    <a:lnTo>
                      <a:pt x="31" y="36"/>
                    </a:lnTo>
                    <a:lnTo>
                      <a:pt x="48" y="31"/>
                    </a:lnTo>
                    <a:lnTo>
                      <a:pt x="68" y="27"/>
                    </a:lnTo>
                    <a:lnTo>
                      <a:pt x="92" y="21"/>
                    </a:lnTo>
                    <a:lnTo>
                      <a:pt x="118" y="17"/>
                    </a:lnTo>
                    <a:lnTo>
                      <a:pt x="146" y="14"/>
                    </a:lnTo>
                    <a:lnTo>
                      <a:pt x="176" y="9"/>
                    </a:lnTo>
                    <a:lnTo>
                      <a:pt x="210" y="6"/>
                    </a:lnTo>
                    <a:lnTo>
                      <a:pt x="244" y="4"/>
                    </a:lnTo>
                    <a:lnTo>
                      <a:pt x="281" y="2"/>
                    </a:lnTo>
                    <a:lnTo>
                      <a:pt x="320" y="1"/>
                    </a:lnTo>
                    <a:lnTo>
                      <a:pt x="360" y="0"/>
                    </a:lnTo>
                    <a:lnTo>
                      <a:pt x="40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19" name="Freeform 47">
                <a:extLst>
                  <a:ext uri="{FF2B5EF4-FFF2-40B4-BE49-F238E27FC236}">
                    <a16:creationId xmlns:a16="http://schemas.microsoft.com/office/drawing/2014/main" id="{71306D44-128B-4874-85A6-711789239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048" y="2436383"/>
                <a:ext cx="222856" cy="221286"/>
              </a:xfrm>
              <a:custGeom>
                <a:avLst/>
                <a:gdLst>
                  <a:gd name="T0" fmla="*/ 312 w 567"/>
                  <a:gd name="T1" fmla="*/ 1 h 567"/>
                  <a:gd name="T2" fmla="*/ 354 w 567"/>
                  <a:gd name="T3" fmla="*/ 8 h 567"/>
                  <a:gd name="T4" fmla="*/ 394 w 567"/>
                  <a:gd name="T5" fmla="*/ 22 h 567"/>
                  <a:gd name="T6" fmla="*/ 431 w 567"/>
                  <a:gd name="T7" fmla="*/ 41 h 567"/>
                  <a:gd name="T8" fmla="*/ 463 w 567"/>
                  <a:gd name="T9" fmla="*/ 65 h 567"/>
                  <a:gd name="T10" fmla="*/ 494 w 567"/>
                  <a:gd name="T11" fmla="*/ 93 h 567"/>
                  <a:gd name="T12" fmla="*/ 519 w 567"/>
                  <a:gd name="T13" fmla="*/ 125 h 567"/>
                  <a:gd name="T14" fmla="*/ 539 w 567"/>
                  <a:gd name="T15" fmla="*/ 161 h 567"/>
                  <a:gd name="T16" fmla="*/ 554 w 567"/>
                  <a:gd name="T17" fmla="*/ 199 h 567"/>
                  <a:gd name="T18" fmla="*/ 564 w 567"/>
                  <a:gd name="T19" fmla="*/ 240 h 567"/>
                  <a:gd name="T20" fmla="*/ 567 w 567"/>
                  <a:gd name="T21" fmla="*/ 283 h 567"/>
                  <a:gd name="T22" fmla="*/ 564 w 567"/>
                  <a:gd name="T23" fmla="*/ 327 h 567"/>
                  <a:gd name="T24" fmla="*/ 554 w 567"/>
                  <a:gd name="T25" fmla="*/ 368 h 567"/>
                  <a:gd name="T26" fmla="*/ 539 w 567"/>
                  <a:gd name="T27" fmla="*/ 407 h 567"/>
                  <a:gd name="T28" fmla="*/ 519 w 567"/>
                  <a:gd name="T29" fmla="*/ 442 h 567"/>
                  <a:gd name="T30" fmla="*/ 494 w 567"/>
                  <a:gd name="T31" fmla="*/ 474 h 567"/>
                  <a:gd name="T32" fmla="*/ 463 w 567"/>
                  <a:gd name="T33" fmla="*/ 502 h 567"/>
                  <a:gd name="T34" fmla="*/ 431 w 567"/>
                  <a:gd name="T35" fmla="*/ 526 h 567"/>
                  <a:gd name="T36" fmla="*/ 394 w 567"/>
                  <a:gd name="T37" fmla="*/ 545 h 567"/>
                  <a:gd name="T38" fmla="*/ 354 w 567"/>
                  <a:gd name="T39" fmla="*/ 558 h 567"/>
                  <a:gd name="T40" fmla="*/ 312 w 567"/>
                  <a:gd name="T41" fmla="*/ 566 h 567"/>
                  <a:gd name="T42" fmla="*/ 269 w 567"/>
                  <a:gd name="T43" fmla="*/ 567 h 567"/>
                  <a:gd name="T44" fmla="*/ 226 w 567"/>
                  <a:gd name="T45" fmla="*/ 561 h 567"/>
                  <a:gd name="T46" fmla="*/ 186 w 567"/>
                  <a:gd name="T47" fmla="*/ 550 h 567"/>
                  <a:gd name="T48" fmla="*/ 148 w 567"/>
                  <a:gd name="T49" fmla="*/ 533 h 567"/>
                  <a:gd name="T50" fmla="*/ 114 w 567"/>
                  <a:gd name="T51" fmla="*/ 511 h 567"/>
                  <a:gd name="T52" fmla="*/ 82 w 567"/>
                  <a:gd name="T53" fmla="*/ 485 h 567"/>
                  <a:gd name="T54" fmla="*/ 56 w 567"/>
                  <a:gd name="T55" fmla="*/ 453 h 567"/>
                  <a:gd name="T56" fmla="*/ 34 w 567"/>
                  <a:gd name="T57" fmla="*/ 419 h 567"/>
                  <a:gd name="T58" fmla="*/ 16 w 567"/>
                  <a:gd name="T59" fmla="*/ 381 h 567"/>
                  <a:gd name="T60" fmla="*/ 6 w 567"/>
                  <a:gd name="T61" fmla="*/ 341 h 567"/>
                  <a:gd name="T62" fmla="*/ 0 w 567"/>
                  <a:gd name="T63" fmla="*/ 298 h 567"/>
                  <a:gd name="T64" fmla="*/ 1 w 567"/>
                  <a:gd name="T65" fmla="*/ 254 h 567"/>
                  <a:gd name="T66" fmla="*/ 9 w 567"/>
                  <a:gd name="T67" fmla="*/ 213 h 567"/>
                  <a:gd name="T68" fmla="*/ 22 w 567"/>
                  <a:gd name="T69" fmla="*/ 173 h 567"/>
                  <a:gd name="T70" fmla="*/ 40 w 567"/>
                  <a:gd name="T71" fmla="*/ 136 h 567"/>
                  <a:gd name="T72" fmla="*/ 64 w 567"/>
                  <a:gd name="T73" fmla="*/ 102 h 567"/>
                  <a:gd name="T74" fmla="*/ 92 w 567"/>
                  <a:gd name="T75" fmla="*/ 73 h 567"/>
                  <a:gd name="T76" fmla="*/ 125 w 567"/>
                  <a:gd name="T77" fmla="*/ 48 h 567"/>
                  <a:gd name="T78" fmla="*/ 160 w 567"/>
                  <a:gd name="T79" fmla="*/ 28 h 567"/>
                  <a:gd name="T80" fmla="*/ 199 w 567"/>
                  <a:gd name="T81" fmla="*/ 13 h 567"/>
                  <a:gd name="T82" fmla="*/ 240 w 567"/>
                  <a:gd name="T83" fmla="*/ 3 h 567"/>
                  <a:gd name="T84" fmla="*/ 284 w 567"/>
                  <a:gd name="T85" fmla="*/ 0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67" h="567">
                    <a:moveTo>
                      <a:pt x="284" y="0"/>
                    </a:moveTo>
                    <a:lnTo>
                      <a:pt x="298" y="0"/>
                    </a:lnTo>
                    <a:lnTo>
                      <a:pt x="312" y="1"/>
                    </a:lnTo>
                    <a:lnTo>
                      <a:pt x="327" y="3"/>
                    </a:lnTo>
                    <a:lnTo>
                      <a:pt x="340" y="5"/>
                    </a:lnTo>
                    <a:lnTo>
                      <a:pt x="354" y="8"/>
                    </a:lnTo>
                    <a:lnTo>
                      <a:pt x="368" y="13"/>
                    </a:lnTo>
                    <a:lnTo>
                      <a:pt x="381" y="17"/>
                    </a:lnTo>
                    <a:lnTo>
                      <a:pt x="394" y="22"/>
                    </a:lnTo>
                    <a:lnTo>
                      <a:pt x="406" y="28"/>
                    </a:lnTo>
                    <a:lnTo>
                      <a:pt x="419" y="34"/>
                    </a:lnTo>
                    <a:lnTo>
                      <a:pt x="431" y="41"/>
                    </a:lnTo>
                    <a:lnTo>
                      <a:pt x="442" y="48"/>
                    </a:lnTo>
                    <a:lnTo>
                      <a:pt x="453" y="56"/>
                    </a:lnTo>
                    <a:lnTo>
                      <a:pt x="463" y="65"/>
                    </a:lnTo>
                    <a:lnTo>
                      <a:pt x="474" y="73"/>
                    </a:lnTo>
                    <a:lnTo>
                      <a:pt x="484" y="83"/>
                    </a:lnTo>
                    <a:lnTo>
                      <a:pt x="494" y="93"/>
                    </a:lnTo>
                    <a:lnTo>
                      <a:pt x="502" y="102"/>
                    </a:lnTo>
                    <a:lnTo>
                      <a:pt x="511" y="113"/>
                    </a:lnTo>
                    <a:lnTo>
                      <a:pt x="519" y="125"/>
                    </a:lnTo>
                    <a:lnTo>
                      <a:pt x="526" y="136"/>
                    </a:lnTo>
                    <a:lnTo>
                      <a:pt x="533" y="148"/>
                    </a:lnTo>
                    <a:lnTo>
                      <a:pt x="539" y="161"/>
                    </a:lnTo>
                    <a:lnTo>
                      <a:pt x="545" y="173"/>
                    </a:lnTo>
                    <a:lnTo>
                      <a:pt x="550" y="186"/>
                    </a:lnTo>
                    <a:lnTo>
                      <a:pt x="554" y="199"/>
                    </a:lnTo>
                    <a:lnTo>
                      <a:pt x="558" y="213"/>
                    </a:lnTo>
                    <a:lnTo>
                      <a:pt x="561" y="226"/>
                    </a:lnTo>
                    <a:lnTo>
                      <a:pt x="564" y="240"/>
                    </a:lnTo>
                    <a:lnTo>
                      <a:pt x="565" y="254"/>
                    </a:lnTo>
                    <a:lnTo>
                      <a:pt x="566" y="269"/>
                    </a:lnTo>
                    <a:lnTo>
                      <a:pt x="567" y="283"/>
                    </a:lnTo>
                    <a:lnTo>
                      <a:pt x="566" y="298"/>
                    </a:lnTo>
                    <a:lnTo>
                      <a:pt x="565" y="312"/>
                    </a:lnTo>
                    <a:lnTo>
                      <a:pt x="564" y="327"/>
                    </a:lnTo>
                    <a:lnTo>
                      <a:pt x="561" y="341"/>
                    </a:lnTo>
                    <a:lnTo>
                      <a:pt x="558" y="355"/>
                    </a:lnTo>
                    <a:lnTo>
                      <a:pt x="554" y="368"/>
                    </a:lnTo>
                    <a:lnTo>
                      <a:pt x="550" y="381"/>
                    </a:lnTo>
                    <a:lnTo>
                      <a:pt x="545" y="394"/>
                    </a:lnTo>
                    <a:lnTo>
                      <a:pt x="539" y="407"/>
                    </a:lnTo>
                    <a:lnTo>
                      <a:pt x="533" y="419"/>
                    </a:lnTo>
                    <a:lnTo>
                      <a:pt x="526" y="430"/>
                    </a:lnTo>
                    <a:lnTo>
                      <a:pt x="519" y="442"/>
                    </a:lnTo>
                    <a:lnTo>
                      <a:pt x="511" y="453"/>
                    </a:lnTo>
                    <a:lnTo>
                      <a:pt x="502" y="464"/>
                    </a:lnTo>
                    <a:lnTo>
                      <a:pt x="494" y="474"/>
                    </a:lnTo>
                    <a:lnTo>
                      <a:pt x="484" y="485"/>
                    </a:lnTo>
                    <a:lnTo>
                      <a:pt x="474" y="493"/>
                    </a:lnTo>
                    <a:lnTo>
                      <a:pt x="463" y="502"/>
                    </a:lnTo>
                    <a:lnTo>
                      <a:pt x="453" y="511"/>
                    </a:lnTo>
                    <a:lnTo>
                      <a:pt x="442" y="519"/>
                    </a:lnTo>
                    <a:lnTo>
                      <a:pt x="431" y="526"/>
                    </a:lnTo>
                    <a:lnTo>
                      <a:pt x="419" y="533"/>
                    </a:lnTo>
                    <a:lnTo>
                      <a:pt x="406" y="539"/>
                    </a:lnTo>
                    <a:lnTo>
                      <a:pt x="394" y="545"/>
                    </a:lnTo>
                    <a:lnTo>
                      <a:pt x="381" y="550"/>
                    </a:lnTo>
                    <a:lnTo>
                      <a:pt x="368" y="555"/>
                    </a:lnTo>
                    <a:lnTo>
                      <a:pt x="354" y="558"/>
                    </a:lnTo>
                    <a:lnTo>
                      <a:pt x="340" y="561"/>
                    </a:lnTo>
                    <a:lnTo>
                      <a:pt x="327" y="564"/>
                    </a:lnTo>
                    <a:lnTo>
                      <a:pt x="312" y="566"/>
                    </a:lnTo>
                    <a:lnTo>
                      <a:pt x="298" y="567"/>
                    </a:lnTo>
                    <a:lnTo>
                      <a:pt x="284" y="567"/>
                    </a:lnTo>
                    <a:lnTo>
                      <a:pt x="269" y="567"/>
                    </a:lnTo>
                    <a:lnTo>
                      <a:pt x="254" y="566"/>
                    </a:lnTo>
                    <a:lnTo>
                      <a:pt x="240" y="564"/>
                    </a:lnTo>
                    <a:lnTo>
                      <a:pt x="226" y="561"/>
                    </a:lnTo>
                    <a:lnTo>
                      <a:pt x="212" y="558"/>
                    </a:lnTo>
                    <a:lnTo>
                      <a:pt x="199" y="555"/>
                    </a:lnTo>
                    <a:lnTo>
                      <a:pt x="186" y="550"/>
                    </a:lnTo>
                    <a:lnTo>
                      <a:pt x="173" y="545"/>
                    </a:lnTo>
                    <a:lnTo>
                      <a:pt x="160" y="539"/>
                    </a:lnTo>
                    <a:lnTo>
                      <a:pt x="148" y="533"/>
                    </a:lnTo>
                    <a:lnTo>
                      <a:pt x="136" y="526"/>
                    </a:lnTo>
                    <a:lnTo>
                      <a:pt x="125" y="519"/>
                    </a:lnTo>
                    <a:lnTo>
                      <a:pt x="114" y="511"/>
                    </a:lnTo>
                    <a:lnTo>
                      <a:pt x="103" y="502"/>
                    </a:lnTo>
                    <a:lnTo>
                      <a:pt x="92" y="493"/>
                    </a:lnTo>
                    <a:lnTo>
                      <a:pt x="82" y="485"/>
                    </a:lnTo>
                    <a:lnTo>
                      <a:pt x="74" y="474"/>
                    </a:lnTo>
                    <a:lnTo>
                      <a:pt x="64" y="464"/>
                    </a:lnTo>
                    <a:lnTo>
                      <a:pt x="56" y="453"/>
                    </a:lnTo>
                    <a:lnTo>
                      <a:pt x="48" y="442"/>
                    </a:lnTo>
                    <a:lnTo>
                      <a:pt x="40" y="430"/>
                    </a:lnTo>
                    <a:lnTo>
                      <a:pt x="34" y="419"/>
                    </a:lnTo>
                    <a:lnTo>
                      <a:pt x="27" y="407"/>
                    </a:lnTo>
                    <a:lnTo>
                      <a:pt x="22" y="394"/>
                    </a:lnTo>
                    <a:lnTo>
                      <a:pt x="16" y="381"/>
                    </a:lnTo>
                    <a:lnTo>
                      <a:pt x="12" y="368"/>
                    </a:lnTo>
                    <a:lnTo>
                      <a:pt x="9" y="355"/>
                    </a:lnTo>
                    <a:lnTo>
                      <a:pt x="6" y="341"/>
                    </a:lnTo>
                    <a:lnTo>
                      <a:pt x="3" y="327"/>
                    </a:lnTo>
                    <a:lnTo>
                      <a:pt x="1" y="312"/>
                    </a:lnTo>
                    <a:lnTo>
                      <a:pt x="0" y="298"/>
                    </a:lnTo>
                    <a:lnTo>
                      <a:pt x="0" y="283"/>
                    </a:lnTo>
                    <a:lnTo>
                      <a:pt x="0" y="269"/>
                    </a:lnTo>
                    <a:lnTo>
                      <a:pt x="1" y="254"/>
                    </a:lnTo>
                    <a:lnTo>
                      <a:pt x="3" y="240"/>
                    </a:lnTo>
                    <a:lnTo>
                      <a:pt x="6" y="226"/>
                    </a:lnTo>
                    <a:lnTo>
                      <a:pt x="9" y="213"/>
                    </a:lnTo>
                    <a:lnTo>
                      <a:pt x="12" y="199"/>
                    </a:lnTo>
                    <a:lnTo>
                      <a:pt x="16" y="186"/>
                    </a:lnTo>
                    <a:lnTo>
                      <a:pt x="22" y="173"/>
                    </a:lnTo>
                    <a:lnTo>
                      <a:pt x="27" y="161"/>
                    </a:lnTo>
                    <a:lnTo>
                      <a:pt x="34" y="148"/>
                    </a:lnTo>
                    <a:lnTo>
                      <a:pt x="40" y="136"/>
                    </a:lnTo>
                    <a:lnTo>
                      <a:pt x="48" y="125"/>
                    </a:lnTo>
                    <a:lnTo>
                      <a:pt x="56" y="113"/>
                    </a:lnTo>
                    <a:lnTo>
                      <a:pt x="64" y="102"/>
                    </a:lnTo>
                    <a:lnTo>
                      <a:pt x="74" y="93"/>
                    </a:lnTo>
                    <a:lnTo>
                      <a:pt x="82" y="83"/>
                    </a:lnTo>
                    <a:lnTo>
                      <a:pt x="92" y="73"/>
                    </a:lnTo>
                    <a:lnTo>
                      <a:pt x="103" y="65"/>
                    </a:lnTo>
                    <a:lnTo>
                      <a:pt x="114" y="56"/>
                    </a:lnTo>
                    <a:lnTo>
                      <a:pt x="125" y="48"/>
                    </a:lnTo>
                    <a:lnTo>
                      <a:pt x="136" y="41"/>
                    </a:lnTo>
                    <a:lnTo>
                      <a:pt x="148" y="34"/>
                    </a:lnTo>
                    <a:lnTo>
                      <a:pt x="160" y="28"/>
                    </a:lnTo>
                    <a:lnTo>
                      <a:pt x="173" y="22"/>
                    </a:lnTo>
                    <a:lnTo>
                      <a:pt x="186" y="17"/>
                    </a:lnTo>
                    <a:lnTo>
                      <a:pt x="199" y="13"/>
                    </a:lnTo>
                    <a:lnTo>
                      <a:pt x="212" y="8"/>
                    </a:lnTo>
                    <a:lnTo>
                      <a:pt x="226" y="5"/>
                    </a:lnTo>
                    <a:lnTo>
                      <a:pt x="240" y="3"/>
                    </a:lnTo>
                    <a:lnTo>
                      <a:pt x="254" y="1"/>
                    </a:lnTo>
                    <a:lnTo>
                      <a:pt x="269" y="0"/>
                    </a:lnTo>
                    <a:lnTo>
                      <a:pt x="28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0" name="Rectangle 44">
                <a:extLst>
                  <a:ext uri="{FF2B5EF4-FFF2-40B4-BE49-F238E27FC236}">
                    <a16:creationId xmlns:a16="http://schemas.microsoft.com/office/drawing/2014/main" id="{CC3F02E2-DEA4-4E0D-9D97-8D8E00991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660000">
                <a:off x="1409440" y="2762042"/>
                <a:ext cx="2234720" cy="5795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A7865B72-47C9-433C-90D2-A061655E60FF}"/>
              </a:ext>
            </a:extLst>
          </p:cNvPr>
          <p:cNvGrpSpPr/>
          <p:nvPr/>
        </p:nvGrpSpPr>
        <p:grpSpPr>
          <a:xfrm>
            <a:off x="4327386" y="1914540"/>
            <a:ext cx="1256699" cy="1466431"/>
            <a:chOff x="4327386" y="1914540"/>
            <a:chExt cx="1256699" cy="1466431"/>
          </a:xfrm>
        </p:grpSpPr>
        <p:grpSp>
          <p:nvGrpSpPr>
            <p:cNvPr id="22" name="Group 132">
              <a:extLst>
                <a:ext uri="{FF2B5EF4-FFF2-40B4-BE49-F238E27FC236}">
                  <a16:creationId xmlns:a16="http://schemas.microsoft.com/office/drawing/2014/main" id="{A427C541-3057-43C2-99A0-7EBD6DA292B2}"/>
                </a:ext>
              </a:extLst>
            </p:cNvPr>
            <p:cNvGrpSpPr/>
            <p:nvPr/>
          </p:nvGrpSpPr>
          <p:grpSpPr>
            <a:xfrm>
              <a:off x="4836362" y="2469546"/>
              <a:ext cx="314557" cy="494171"/>
              <a:chOff x="6213998" y="1573577"/>
              <a:chExt cx="653827" cy="1027166"/>
            </a:xfrm>
            <a:solidFill>
              <a:schemeClr val="accent1"/>
            </a:solidFill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AEF79E52-5A3E-4D39-90D1-28007A8E40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998" y="1573577"/>
                <a:ext cx="653827" cy="798893"/>
              </a:xfrm>
              <a:custGeom>
                <a:avLst/>
                <a:gdLst>
                  <a:gd name="T0" fmla="*/ 436 w 3200"/>
                  <a:gd name="T1" fmla="*/ 2571 h 3910"/>
                  <a:gd name="T2" fmla="*/ 543 w 3200"/>
                  <a:gd name="T3" fmla="*/ 2771 h 3910"/>
                  <a:gd name="T4" fmla="*/ 616 w 3200"/>
                  <a:gd name="T5" fmla="*/ 2954 h 3910"/>
                  <a:gd name="T6" fmla="*/ 659 w 3200"/>
                  <a:gd name="T7" fmla="*/ 3122 h 3910"/>
                  <a:gd name="T8" fmla="*/ 684 w 3200"/>
                  <a:gd name="T9" fmla="*/ 3275 h 3910"/>
                  <a:gd name="T10" fmla="*/ 699 w 3200"/>
                  <a:gd name="T11" fmla="*/ 3455 h 3910"/>
                  <a:gd name="T12" fmla="*/ 708 w 3200"/>
                  <a:gd name="T13" fmla="*/ 3612 h 3910"/>
                  <a:gd name="T14" fmla="*/ 723 w 3200"/>
                  <a:gd name="T15" fmla="*/ 3714 h 3910"/>
                  <a:gd name="T16" fmla="*/ 754 w 3200"/>
                  <a:gd name="T17" fmla="*/ 3806 h 3910"/>
                  <a:gd name="T18" fmla="*/ 806 w 3200"/>
                  <a:gd name="T19" fmla="*/ 3886 h 3910"/>
                  <a:gd name="T20" fmla="*/ 2263 w 3200"/>
                  <a:gd name="T21" fmla="*/ 3910 h 3910"/>
                  <a:gd name="T22" fmla="*/ 2394 w 3200"/>
                  <a:gd name="T23" fmla="*/ 3886 h 3910"/>
                  <a:gd name="T24" fmla="*/ 2447 w 3200"/>
                  <a:gd name="T25" fmla="*/ 3806 h 3910"/>
                  <a:gd name="T26" fmla="*/ 2477 w 3200"/>
                  <a:gd name="T27" fmla="*/ 3714 h 3910"/>
                  <a:gd name="T28" fmla="*/ 2492 w 3200"/>
                  <a:gd name="T29" fmla="*/ 3611 h 3910"/>
                  <a:gd name="T30" fmla="*/ 2502 w 3200"/>
                  <a:gd name="T31" fmla="*/ 3455 h 3910"/>
                  <a:gd name="T32" fmla="*/ 2517 w 3200"/>
                  <a:gd name="T33" fmla="*/ 3273 h 3910"/>
                  <a:gd name="T34" fmla="*/ 2541 w 3200"/>
                  <a:gd name="T35" fmla="*/ 3121 h 3910"/>
                  <a:gd name="T36" fmla="*/ 2586 w 3200"/>
                  <a:gd name="T37" fmla="*/ 2953 h 3910"/>
                  <a:gd name="T38" fmla="*/ 2658 w 3200"/>
                  <a:gd name="T39" fmla="*/ 2769 h 3910"/>
                  <a:gd name="T40" fmla="*/ 2766 w 3200"/>
                  <a:gd name="T41" fmla="*/ 2568 h 3910"/>
                  <a:gd name="T42" fmla="*/ 2882 w 3200"/>
                  <a:gd name="T43" fmla="*/ 2395 h 3910"/>
                  <a:gd name="T44" fmla="*/ 2951 w 3200"/>
                  <a:gd name="T45" fmla="*/ 2305 h 3910"/>
                  <a:gd name="T46" fmla="*/ 3032 w 3200"/>
                  <a:gd name="T47" fmla="*/ 2170 h 3910"/>
                  <a:gd name="T48" fmla="*/ 3099 w 3200"/>
                  <a:gd name="T49" fmla="*/ 2026 h 3910"/>
                  <a:gd name="T50" fmla="*/ 3150 w 3200"/>
                  <a:gd name="T51" fmla="*/ 1875 h 3910"/>
                  <a:gd name="T52" fmla="*/ 3183 w 3200"/>
                  <a:gd name="T53" fmla="*/ 1719 h 3910"/>
                  <a:gd name="T54" fmla="*/ 3199 w 3200"/>
                  <a:gd name="T55" fmla="*/ 1556 h 3910"/>
                  <a:gd name="T56" fmla="*/ 3192 w 3200"/>
                  <a:gd name="T57" fmla="*/ 1347 h 3910"/>
                  <a:gd name="T58" fmla="*/ 3150 w 3200"/>
                  <a:gd name="T59" fmla="*/ 1125 h 3910"/>
                  <a:gd name="T60" fmla="*/ 3075 w 3200"/>
                  <a:gd name="T61" fmla="*/ 917 h 3910"/>
                  <a:gd name="T62" fmla="*/ 2968 w 3200"/>
                  <a:gd name="T63" fmla="*/ 722 h 3910"/>
                  <a:gd name="T64" fmla="*/ 2835 w 3200"/>
                  <a:gd name="T65" fmla="*/ 546 h 3910"/>
                  <a:gd name="T66" fmla="*/ 2676 w 3200"/>
                  <a:gd name="T67" fmla="*/ 390 h 3910"/>
                  <a:gd name="T68" fmla="*/ 2495 w 3200"/>
                  <a:gd name="T69" fmla="*/ 256 h 3910"/>
                  <a:gd name="T70" fmla="*/ 2294 w 3200"/>
                  <a:gd name="T71" fmla="*/ 148 h 3910"/>
                  <a:gd name="T72" fmla="*/ 2076 w 3200"/>
                  <a:gd name="T73" fmla="*/ 67 h 3910"/>
                  <a:gd name="T74" fmla="*/ 1844 w 3200"/>
                  <a:gd name="T75" fmla="*/ 17 h 3910"/>
                  <a:gd name="T76" fmla="*/ 1601 w 3200"/>
                  <a:gd name="T77" fmla="*/ 0 h 3910"/>
                  <a:gd name="T78" fmla="*/ 1357 w 3200"/>
                  <a:gd name="T79" fmla="*/ 17 h 3910"/>
                  <a:gd name="T80" fmla="*/ 1125 w 3200"/>
                  <a:gd name="T81" fmla="*/ 67 h 3910"/>
                  <a:gd name="T82" fmla="*/ 906 w 3200"/>
                  <a:gd name="T83" fmla="*/ 148 h 3910"/>
                  <a:gd name="T84" fmla="*/ 705 w 3200"/>
                  <a:gd name="T85" fmla="*/ 256 h 3910"/>
                  <a:gd name="T86" fmla="*/ 524 w 3200"/>
                  <a:gd name="T87" fmla="*/ 390 h 3910"/>
                  <a:gd name="T88" fmla="*/ 365 w 3200"/>
                  <a:gd name="T89" fmla="*/ 546 h 3910"/>
                  <a:gd name="T90" fmla="*/ 232 w 3200"/>
                  <a:gd name="T91" fmla="*/ 722 h 3910"/>
                  <a:gd name="T92" fmla="*/ 126 w 3200"/>
                  <a:gd name="T93" fmla="*/ 917 h 3910"/>
                  <a:gd name="T94" fmla="*/ 50 w 3200"/>
                  <a:gd name="T95" fmla="*/ 1125 h 3910"/>
                  <a:gd name="T96" fmla="*/ 9 w 3200"/>
                  <a:gd name="T97" fmla="*/ 1347 h 3910"/>
                  <a:gd name="T98" fmla="*/ 1 w 3200"/>
                  <a:gd name="T99" fmla="*/ 1556 h 3910"/>
                  <a:gd name="T100" fmla="*/ 17 w 3200"/>
                  <a:gd name="T101" fmla="*/ 1718 h 3910"/>
                  <a:gd name="T102" fmla="*/ 50 w 3200"/>
                  <a:gd name="T103" fmla="*/ 1874 h 3910"/>
                  <a:gd name="T104" fmla="*/ 100 w 3200"/>
                  <a:gd name="T105" fmla="*/ 2025 h 3910"/>
                  <a:gd name="T106" fmla="*/ 167 w 3200"/>
                  <a:gd name="T107" fmla="*/ 2168 h 3910"/>
                  <a:gd name="T108" fmla="*/ 248 w 3200"/>
                  <a:gd name="T109" fmla="*/ 2303 h 3910"/>
                  <a:gd name="T110" fmla="*/ 320 w 3200"/>
                  <a:gd name="T111" fmla="*/ 2397 h 3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200" h="3910">
                    <a:moveTo>
                      <a:pt x="342" y="2427"/>
                    </a:moveTo>
                    <a:lnTo>
                      <a:pt x="391" y="2499"/>
                    </a:lnTo>
                    <a:lnTo>
                      <a:pt x="436" y="2571"/>
                    </a:lnTo>
                    <a:lnTo>
                      <a:pt x="476" y="2639"/>
                    </a:lnTo>
                    <a:lnTo>
                      <a:pt x="511" y="2706"/>
                    </a:lnTo>
                    <a:lnTo>
                      <a:pt x="543" y="2771"/>
                    </a:lnTo>
                    <a:lnTo>
                      <a:pt x="571" y="2834"/>
                    </a:lnTo>
                    <a:lnTo>
                      <a:pt x="594" y="2894"/>
                    </a:lnTo>
                    <a:lnTo>
                      <a:pt x="616" y="2954"/>
                    </a:lnTo>
                    <a:lnTo>
                      <a:pt x="633" y="3011"/>
                    </a:lnTo>
                    <a:lnTo>
                      <a:pt x="648" y="3068"/>
                    </a:lnTo>
                    <a:lnTo>
                      <a:pt x="659" y="3122"/>
                    </a:lnTo>
                    <a:lnTo>
                      <a:pt x="670" y="3174"/>
                    </a:lnTo>
                    <a:lnTo>
                      <a:pt x="677" y="3226"/>
                    </a:lnTo>
                    <a:lnTo>
                      <a:pt x="684" y="3275"/>
                    </a:lnTo>
                    <a:lnTo>
                      <a:pt x="689" y="3321"/>
                    </a:lnTo>
                    <a:lnTo>
                      <a:pt x="693" y="3367"/>
                    </a:lnTo>
                    <a:lnTo>
                      <a:pt x="699" y="3455"/>
                    </a:lnTo>
                    <a:lnTo>
                      <a:pt x="703" y="3537"/>
                    </a:lnTo>
                    <a:lnTo>
                      <a:pt x="705" y="3575"/>
                    </a:lnTo>
                    <a:lnTo>
                      <a:pt x="708" y="3612"/>
                    </a:lnTo>
                    <a:lnTo>
                      <a:pt x="712" y="3647"/>
                    </a:lnTo>
                    <a:lnTo>
                      <a:pt x="718" y="3681"/>
                    </a:lnTo>
                    <a:lnTo>
                      <a:pt x="723" y="3714"/>
                    </a:lnTo>
                    <a:lnTo>
                      <a:pt x="732" y="3746"/>
                    </a:lnTo>
                    <a:lnTo>
                      <a:pt x="741" y="3777"/>
                    </a:lnTo>
                    <a:lnTo>
                      <a:pt x="754" y="3806"/>
                    </a:lnTo>
                    <a:lnTo>
                      <a:pt x="768" y="3834"/>
                    </a:lnTo>
                    <a:lnTo>
                      <a:pt x="786" y="3860"/>
                    </a:lnTo>
                    <a:lnTo>
                      <a:pt x="806" y="3886"/>
                    </a:lnTo>
                    <a:lnTo>
                      <a:pt x="830" y="3910"/>
                    </a:lnTo>
                    <a:lnTo>
                      <a:pt x="937" y="3910"/>
                    </a:lnTo>
                    <a:lnTo>
                      <a:pt x="2263" y="3910"/>
                    </a:lnTo>
                    <a:lnTo>
                      <a:pt x="2362" y="3910"/>
                    </a:lnTo>
                    <a:lnTo>
                      <a:pt x="2371" y="3910"/>
                    </a:lnTo>
                    <a:lnTo>
                      <a:pt x="2394" y="3886"/>
                    </a:lnTo>
                    <a:lnTo>
                      <a:pt x="2415" y="3860"/>
                    </a:lnTo>
                    <a:lnTo>
                      <a:pt x="2432" y="3834"/>
                    </a:lnTo>
                    <a:lnTo>
                      <a:pt x="2447" y="3806"/>
                    </a:lnTo>
                    <a:lnTo>
                      <a:pt x="2459" y="3776"/>
                    </a:lnTo>
                    <a:lnTo>
                      <a:pt x="2469" y="3746"/>
                    </a:lnTo>
                    <a:lnTo>
                      <a:pt x="2477" y="3714"/>
                    </a:lnTo>
                    <a:lnTo>
                      <a:pt x="2484" y="3681"/>
                    </a:lnTo>
                    <a:lnTo>
                      <a:pt x="2488" y="3647"/>
                    </a:lnTo>
                    <a:lnTo>
                      <a:pt x="2492" y="3611"/>
                    </a:lnTo>
                    <a:lnTo>
                      <a:pt x="2495" y="3574"/>
                    </a:lnTo>
                    <a:lnTo>
                      <a:pt x="2497" y="3535"/>
                    </a:lnTo>
                    <a:lnTo>
                      <a:pt x="2502" y="3455"/>
                    </a:lnTo>
                    <a:lnTo>
                      <a:pt x="2508" y="3367"/>
                    </a:lnTo>
                    <a:lnTo>
                      <a:pt x="2511" y="3321"/>
                    </a:lnTo>
                    <a:lnTo>
                      <a:pt x="2517" y="3273"/>
                    </a:lnTo>
                    <a:lnTo>
                      <a:pt x="2523" y="3224"/>
                    </a:lnTo>
                    <a:lnTo>
                      <a:pt x="2532" y="3173"/>
                    </a:lnTo>
                    <a:lnTo>
                      <a:pt x="2541" y="3121"/>
                    </a:lnTo>
                    <a:lnTo>
                      <a:pt x="2554" y="3067"/>
                    </a:lnTo>
                    <a:lnTo>
                      <a:pt x="2569" y="3010"/>
                    </a:lnTo>
                    <a:lnTo>
                      <a:pt x="2586" y="2953"/>
                    </a:lnTo>
                    <a:lnTo>
                      <a:pt x="2607" y="2893"/>
                    </a:lnTo>
                    <a:lnTo>
                      <a:pt x="2631" y="2832"/>
                    </a:lnTo>
                    <a:lnTo>
                      <a:pt x="2658" y="2769"/>
                    </a:lnTo>
                    <a:lnTo>
                      <a:pt x="2690" y="2704"/>
                    </a:lnTo>
                    <a:lnTo>
                      <a:pt x="2725" y="2637"/>
                    </a:lnTo>
                    <a:lnTo>
                      <a:pt x="2766" y="2568"/>
                    </a:lnTo>
                    <a:lnTo>
                      <a:pt x="2811" y="2497"/>
                    </a:lnTo>
                    <a:lnTo>
                      <a:pt x="2861" y="2425"/>
                    </a:lnTo>
                    <a:lnTo>
                      <a:pt x="2882" y="2395"/>
                    </a:lnTo>
                    <a:lnTo>
                      <a:pt x="2904" y="2366"/>
                    </a:lnTo>
                    <a:lnTo>
                      <a:pt x="2927" y="2336"/>
                    </a:lnTo>
                    <a:lnTo>
                      <a:pt x="2951" y="2305"/>
                    </a:lnTo>
                    <a:lnTo>
                      <a:pt x="2980" y="2262"/>
                    </a:lnTo>
                    <a:lnTo>
                      <a:pt x="3006" y="2216"/>
                    </a:lnTo>
                    <a:lnTo>
                      <a:pt x="3032" y="2170"/>
                    </a:lnTo>
                    <a:lnTo>
                      <a:pt x="3057" y="2123"/>
                    </a:lnTo>
                    <a:lnTo>
                      <a:pt x="3079" y="2075"/>
                    </a:lnTo>
                    <a:lnTo>
                      <a:pt x="3099" y="2026"/>
                    </a:lnTo>
                    <a:lnTo>
                      <a:pt x="3118" y="1977"/>
                    </a:lnTo>
                    <a:lnTo>
                      <a:pt x="3134" y="1926"/>
                    </a:lnTo>
                    <a:lnTo>
                      <a:pt x="3150" y="1875"/>
                    </a:lnTo>
                    <a:lnTo>
                      <a:pt x="3163" y="1824"/>
                    </a:lnTo>
                    <a:lnTo>
                      <a:pt x="3175" y="1772"/>
                    </a:lnTo>
                    <a:lnTo>
                      <a:pt x="3183" y="1719"/>
                    </a:lnTo>
                    <a:lnTo>
                      <a:pt x="3191" y="1664"/>
                    </a:lnTo>
                    <a:lnTo>
                      <a:pt x="3196" y="1610"/>
                    </a:lnTo>
                    <a:lnTo>
                      <a:pt x="3199" y="1556"/>
                    </a:lnTo>
                    <a:lnTo>
                      <a:pt x="3200" y="1500"/>
                    </a:lnTo>
                    <a:lnTo>
                      <a:pt x="3198" y="1423"/>
                    </a:lnTo>
                    <a:lnTo>
                      <a:pt x="3192" y="1347"/>
                    </a:lnTo>
                    <a:lnTo>
                      <a:pt x="3182" y="1271"/>
                    </a:lnTo>
                    <a:lnTo>
                      <a:pt x="3167" y="1198"/>
                    </a:lnTo>
                    <a:lnTo>
                      <a:pt x="3150" y="1125"/>
                    </a:lnTo>
                    <a:lnTo>
                      <a:pt x="3128" y="1054"/>
                    </a:lnTo>
                    <a:lnTo>
                      <a:pt x="3103" y="985"/>
                    </a:lnTo>
                    <a:lnTo>
                      <a:pt x="3075" y="917"/>
                    </a:lnTo>
                    <a:lnTo>
                      <a:pt x="3043" y="850"/>
                    </a:lnTo>
                    <a:lnTo>
                      <a:pt x="3008" y="785"/>
                    </a:lnTo>
                    <a:lnTo>
                      <a:pt x="2968" y="722"/>
                    </a:lnTo>
                    <a:lnTo>
                      <a:pt x="2927" y="661"/>
                    </a:lnTo>
                    <a:lnTo>
                      <a:pt x="2883" y="603"/>
                    </a:lnTo>
                    <a:lnTo>
                      <a:pt x="2835" y="546"/>
                    </a:lnTo>
                    <a:lnTo>
                      <a:pt x="2785" y="492"/>
                    </a:lnTo>
                    <a:lnTo>
                      <a:pt x="2732" y="440"/>
                    </a:lnTo>
                    <a:lnTo>
                      <a:pt x="2676" y="390"/>
                    </a:lnTo>
                    <a:lnTo>
                      <a:pt x="2618" y="343"/>
                    </a:lnTo>
                    <a:lnTo>
                      <a:pt x="2557" y="298"/>
                    </a:lnTo>
                    <a:lnTo>
                      <a:pt x="2495" y="256"/>
                    </a:lnTo>
                    <a:lnTo>
                      <a:pt x="2430" y="217"/>
                    </a:lnTo>
                    <a:lnTo>
                      <a:pt x="2363" y="181"/>
                    </a:lnTo>
                    <a:lnTo>
                      <a:pt x="2294" y="148"/>
                    </a:lnTo>
                    <a:lnTo>
                      <a:pt x="2223" y="118"/>
                    </a:lnTo>
                    <a:lnTo>
                      <a:pt x="2150" y="90"/>
                    </a:lnTo>
                    <a:lnTo>
                      <a:pt x="2076" y="67"/>
                    </a:lnTo>
                    <a:lnTo>
                      <a:pt x="2000" y="47"/>
                    </a:lnTo>
                    <a:lnTo>
                      <a:pt x="1922" y="31"/>
                    </a:lnTo>
                    <a:lnTo>
                      <a:pt x="1844" y="17"/>
                    </a:lnTo>
                    <a:lnTo>
                      <a:pt x="1764" y="7"/>
                    </a:lnTo>
                    <a:lnTo>
                      <a:pt x="1683" y="2"/>
                    </a:lnTo>
                    <a:lnTo>
                      <a:pt x="1601" y="0"/>
                    </a:lnTo>
                    <a:lnTo>
                      <a:pt x="1518" y="2"/>
                    </a:lnTo>
                    <a:lnTo>
                      <a:pt x="1437" y="7"/>
                    </a:lnTo>
                    <a:lnTo>
                      <a:pt x="1357" y="17"/>
                    </a:lnTo>
                    <a:lnTo>
                      <a:pt x="1278" y="31"/>
                    </a:lnTo>
                    <a:lnTo>
                      <a:pt x="1200" y="47"/>
                    </a:lnTo>
                    <a:lnTo>
                      <a:pt x="1125" y="67"/>
                    </a:lnTo>
                    <a:lnTo>
                      <a:pt x="1050" y="90"/>
                    </a:lnTo>
                    <a:lnTo>
                      <a:pt x="978" y="118"/>
                    </a:lnTo>
                    <a:lnTo>
                      <a:pt x="906" y="148"/>
                    </a:lnTo>
                    <a:lnTo>
                      <a:pt x="837" y="181"/>
                    </a:lnTo>
                    <a:lnTo>
                      <a:pt x="770" y="217"/>
                    </a:lnTo>
                    <a:lnTo>
                      <a:pt x="705" y="256"/>
                    </a:lnTo>
                    <a:lnTo>
                      <a:pt x="643" y="298"/>
                    </a:lnTo>
                    <a:lnTo>
                      <a:pt x="583" y="343"/>
                    </a:lnTo>
                    <a:lnTo>
                      <a:pt x="524" y="390"/>
                    </a:lnTo>
                    <a:lnTo>
                      <a:pt x="469" y="440"/>
                    </a:lnTo>
                    <a:lnTo>
                      <a:pt x="415" y="492"/>
                    </a:lnTo>
                    <a:lnTo>
                      <a:pt x="365" y="546"/>
                    </a:lnTo>
                    <a:lnTo>
                      <a:pt x="317" y="603"/>
                    </a:lnTo>
                    <a:lnTo>
                      <a:pt x="274" y="661"/>
                    </a:lnTo>
                    <a:lnTo>
                      <a:pt x="232" y="722"/>
                    </a:lnTo>
                    <a:lnTo>
                      <a:pt x="193" y="785"/>
                    </a:lnTo>
                    <a:lnTo>
                      <a:pt x="158" y="850"/>
                    </a:lnTo>
                    <a:lnTo>
                      <a:pt x="126" y="917"/>
                    </a:lnTo>
                    <a:lnTo>
                      <a:pt x="97" y="985"/>
                    </a:lnTo>
                    <a:lnTo>
                      <a:pt x="72" y="1054"/>
                    </a:lnTo>
                    <a:lnTo>
                      <a:pt x="50" y="1125"/>
                    </a:lnTo>
                    <a:lnTo>
                      <a:pt x="33" y="1198"/>
                    </a:lnTo>
                    <a:lnTo>
                      <a:pt x="18" y="1271"/>
                    </a:lnTo>
                    <a:lnTo>
                      <a:pt x="9" y="1347"/>
                    </a:lnTo>
                    <a:lnTo>
                      <a:pt x="2" y="1423"/>
                    </a:lnTo>
                    <a:lnTo>
                      <a:pt x="0" y="1500"/>
                    </a:lnTo>
                    <a:lnTo>
                      <a:pt x="1" y="1556"/>
                    </a:lnTo>
                    <a:lnTo>
                      <a:pt x="4" y="1610"/>
                    </a:lnTo>
                    <a:lnTo>
                      <a:pt x="10" y="1664"/>
                    </a:lnTo>
                    <a:lnTo>
                      <a:pt x="17" y="1718"/>
                    </a:lnTo>
                    <a:lnTo>
                      <a:pt x="26" y="1771"/>
                    </a:lnTo>
                    <a:lnTo>
                      <a:pt x="37" y="1823"/>
                    </a:lnTo>
                    <a:lnTo>
                      <a:pt x="50" y="1874"/>
                    </a:lnTo>
                    <a:lnTo>
                      <a:pt x="65" y="1925"/>
                    </a:lnTo>
                    <a:lnTo>
                      <a:pt x="82" y="1975"/>
                    </a:lnTo>
                    <a:lnTo>
                      <a:pt x="100" y="2025"/>
                    </a:lnTo>
                    <a:lnTo>
                      <a:pt x="121" y="2073"/>
                    </a:lnTo>
                    <a:lnTo>
                      <a:pt x="143" y="2121"/>
                    </a:lnTo>
                    <a:lnTo>
                      <a:pt x="167" y="2168"/>
                    </a:lnTo>
                    <a:lnTo>
                      <a:pt x="193" y="2214"/>
                    </a:lnTo>
                    <a:lnTo>
                      <a:pt x="219" y="2259"/>
                    </a:lnTo>
                    <a:lnTo>
                      <a:pt x="248" y="2303"/>
                    </a:lnTo>
                    <a:lnTo>
                      <a:pt x="273" y="2334"/>
                    </a:lnTo>
                    <a:lnTo>
                      <a:pt x="297" y="2366"/>
                    </a:lnTo>
                    <a:lnTo>
                      <a:pt x="320" y="2397"/>
                    </a:lnTo>
                    <a:lnTo>
                      <a:pt x="342" y="24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0" name="Freeform 22">
                <a:extLst>
                  <a:ext uri="{FF2B5EF4-FFF2-40B4-BE49-F238E27FC236}">
                    <a16:creationId xmlns:a16="http://schemas.microsoft.com/office/drawing/2014/main" id="{FD7C01F5-DEC1-4B0F-B1CD-79EB09A0F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080" y="2549611"/>
                <a:ext cx="255662" cy="51132"/>
              </a:xfrm>
              <a:custGeom>
                <a:avLst/>
                <a:gdLst>
                  <a:gd name="T0" fmla="*/ 1225 w 1225"/>
                  <a:gd name="T1" fmla="*/ 0 h 960"/>
                  <a:gd name="T2" fmla="*/ 0 w 1225"/>
                  <a:gd name="T3" fmla="*/ 0 h 960"/>
                  <a:gd name="T4" fmla="*/ 18 w 1225"/>
                  <a:gd name="T5" fmla="*/ 38 h 960"/>
                  <a:gd name="T6" fmla="*/ 33 w 1225"/>
                  <a:gd name="T7" fmla="*/ 75 h 960"/>
                  <a:gd name="T8" fmla="*/ 46 w 1225"/>
                  <a:gd name="T9" fmla="*/ 114 h 960"/>
                  <a:gd name="T10" fmla="*/ 56 w 1225"/>
                  <a:gd name="T11" fmla="*/ 154 h 960"/>
                  <a:gd name="T12" fmla="*/ 65 w 1225"/>
                  <a:gd name="T13" fmla="*/ 193 h 960"/>
                  <a:gd name="T14" fmla="*/ 72 w 1225"/>
                  <a:gd name="T15" fmla="*/ 234 h 960"/>
                  <a:gd name="T16" fmla="*/ 79 w 1225"/>
                  <a:gd name="T17" fmla="*/ 274 h 960"/>
                  <a:gd name="T18" fmla="*/ 83 w 1225"/>
                  <a:gd name="T19" fmla="*/ 314 h 960"/>
                  <a:gd name="T20" fmla="*/ 90 w 1225"/>
                  <a:gd name="T21" fmla="*/ 395 h 960"/>
                  <a:gd name="T22" fmla="*/ 98 w 1225"/>
                  <a:gd name="T23" fmla="*/ 475 h 960"/>
                  <a:gd name="T24" fmla="*/ 102 w 1225"/>
                  <a:gd name="T25" fmla="*/ 514 h 960"/>
                  <a:gd name="T26" fmla="*/ 106 w 1225"/>
                  <a:gd name="T27" fmla="*/ 552 h 960"/>
                  <a:gd name="T28" fmla="*/ 112 w 1225"/>
                  <a:gd name="T29" fmla="*/ 589 h 960"/>
                  <a:gd name="T30" fmla="*/ 119 w 1225"/>
                  <a:gd name="T31" fmla="*/ 625 h 960"/>
                  <a:gd name="T32" fmla="*/ 127 w 1225"/>
                  <a:gd name="T33" fmla="*/ 661 h 960"/>
                  <a:gd name="T34" fmla="*/ 137 w 1225"/>
                  <a:gd name="T35" fmla="*/ 695 h 960"/>
                  <a:gd name="T36" fmla="*/ 149 w 1225"/>
                  <a:gd name="T37" fmla="*/ 728 h 960"/>
                  <a:gd name="T38" fmla="*/ 163 w 1225"/>
                  <a:gd name="T39" fmla="*/ 759 h 960"/>
                  <a:gd name="T40" fmla="*/ 180 w 1225"/>
                  <a:gd name="T41" fmla="*/ 787 h 960"/>
                  <a:gd name="T42" fmla="*/ 200 w 1225"/>
                  <a:gd name="T43" fmla="*/ 815 h 960"/>
                  <a:gd name="T44" fmla="*/ 222 w 1225"/>
                  <a:gd name="T45" fmla="*/ 841 h 960"/>
                  <a:gd name="T46" fmla="*/ 248 w 1225"/>
                  <a:gd name="T47" fmla="*/ 864 h 960"/>
                  <a:gd name="T48" fmla="*/ 278 w 1225"/>
                  <a:gd name="T49" fmla="*/ 885 h 960"/>
                  <a:gd name="T50" fmla="*/ 312 w 1225"/>
                  <a:gd name="T51" fmla="*/ 903 h 960"/>
                  <a:gd name="T52" fmla="*/ 350 w 1225"/>
                  <a:gd name="T53" fmla="*/ 920 h 960"/>
                  <a:gd name="T54" fmla="*/ 392 w 1225"/>
                  <a:gd name="T55" fmla="*/ 934 h 960"/>
                  <a:gd name="T56" fmla="*/ 440 w 1225"/>
                  <a:gd name="T57" fmla="*/ 945 h 960"/>
                  <a:gd name="T58" fmla="*/ 492 w 1225"/>
                  <a:gd name="T59" fmla="*/ 952 h 960"/>
                  <a:gd name="T60" fmla="*/ 549 w 1225"/>
                  <a:gd name="T61" fmla="*/ 958 h 960"/>
                  <a:gd name="T62" fmla="*/ 612 w 1225"/>
                  <a:gd name="T63" fmla="*/ 960 h 960"/>
                  <a:gd name="T64" fmla="*/ 678 w 1225"/>
                  <a:gd name="T65" fmla="*/ 958 h 960"/>
                  <a:gd name="T66" fmla="*/ 739 w 1225"/>
                  <a:gd name="T67" fmla="*/ 953 h 960"/>
                  <a:gd name="T68" fmla="*/ 793 w 1225"/>
                  <a:gd name="T69" fmla="*/ 945 h 960"/>
                  <a:gd name="T70" fmla="*/ 842 w 1225"/>
                  <a:gd name="T71" fmla="*/ 934 h 960"/>
                  <a:gd name="T72" fmla="*/ 886 w 1225"/>
                  <a:gd name="T73" fmla="*/ 920 h 960"/>
                  <a:gd name="T74" fmla="*/ 925 w 1225"/>
                  <a:gd name="T75" fmla="*/ 904 h 960"/>
                  <a:gd name="T76" fmla="*/ 960 w 1225"/>
                  <a:gd name="T77" fmla="*/ 885 h 960"/>
                  <a:gd name="T78" fmla="*/ 990 w 1225"/>
                  <a:gd name="T79" fmla="*/ 864 h 960"/>
                  <a:gd name="T80" fmla="*/ 1017 w 1225"/>
                  <a:gd name="T81" fmla="*/ 841 h 960"/>
                  <a:gd name="T82" fmla="*/ 1040 w 1225"/>
                  <a:gd name="T83" fmla="*/ 815 h 960"/>
                  <a:gd name="T84" fmla="*/ 1060 w 1225"/>
                  <a:gd name="T85" fmla="*/ 788 h 960"/>
                  <a:gd name="T86" fmla="*/ 1077 w 1225"/>
                  <a:gd name="T87" fmla="*/ 759 h 960"/>
                  <a:gd name="T88" fmla="*/ 1090 w 1225"/>
                  <a:gd name="T89" fmla="*/ 728 h 960"/>
                  <a:gd name="T90" fmla="*/ 1102 w 1225"/>
                  <a:gd name="T91" fmla="*/ 696 h 960"/>
                  <a:gd name="T92" fmla="*/ 1112 w 1225"/>
                  <a:gd name="T93" fmla="*/ 662 h 960"/>
                  <a:gd name="T94" fmla="*/ 1119 w 1225"/>
                  <a:gd name="T95" fmla="*/ 627 h 960"/>
                  <a:gd name="T96" fmla="*/ 1124 w 1225"/>
                  <a:gd name="T97" fmla="*/ 590 h 960"/>
                  <a:gd name="T98" fmla="*/ 1129 w 1225"/>
                  <a:gd name="T99" fmla="*/ 552 h 960"/>
                  <a:gd name="T100" fmla="*/ 1133 w 1225"/>
                  <a:gd name="T101" fmla="*/ 515 h 960"/>
                  <a:gd name="T102" fmla="*/ 1135 w 1225"/>
                  <a:gd name="T103" fmla="*/ 475 h 960"/>
                  <a:gd name="T104" fmla="*/ 1140 w 1225"/>
                  <a:gd name="T105" fmla="*/ 395 h 960"/>
                  <a:gd name="T106" fmla="*/ 1147 w 1225"/>
                  <a:gd name="T107" fmla="*/ 314 h 960"/>
                  <a:gd name="T108" fmla="*/ 1150 w 1225"/>
                  <a:gd name="T109" fmla="*/ 274 h 960"/>
                  <a:gd name="T110" fmla="*/ 1155 w 1225"/>
                  <a:gd name="T111" fmla="*/ 234 h 960"/>
                  <a:gd name="T112" fmla="*/ 1162 w 1225"/>
                  <a:gd name="T113" fmla="*/ 193 h 960"/>
                  <a:gd name="T114" fmla="*/ 1169 w 1225"/>
                  <a:gd name="T115" fmla="*/ 154 h 960"/>
                  <a:gd name="T116" fmla="*/ 1180 w 1225"/>
                  <a:gd name="T117" fmla="*/ 114 h 960"/>
                  <a:gd name="T118" fmla="*/ 1192 w 1225"/>
                  <a:gd name="T119" fmla="*/ 75 h 960"/>
                  <a:gd name="T120" fmla="*/ 1206 w 1225"/>
                  <a:gd name="T121" fmla="*/ 38 h 960"/>
                  <a:gd name="T122" fmla="*/ 1225 w 1225"/>
                  <a:gd name="T123" fmla="*/ 0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25" h="960">
                    <a:moveTo>
                      <a:pt x="1225" y="0"/>
                    </a:moveTo>
                    <a:lnTo>
                      <a:pt x="0" y="0"/>
                    </a:lnTo>
                    <a:lnTo>
                      <a:pt x="18" y="38"/>
                    </a:lnTo>
                    <a:lnTo>
                      <a:pt x="33" y="75"/>
                    </a:lnTo>
                    <a:lnTo>
                      <a:pt x="46" y="114"/>
                    </a:lnTo>
                    <a:lnTo>
                      <a:pt x="56" y="154"/>
                    </a:lnTo>
                    <a:lnTo>
                      <a:pt x="65" y="193"/>
                    </a:lnTo>
                    <a:lnTo>
                      <a:pt x="72" y="234"/>
                    </a:lnTo>
                    <a:lnTo>
                      <a:pt x="79" y="274"/>
                    </a:lnTo>
                    <a:lnTo>
                      <a:pt x="83" y="314"/>
                    </a:lnTo>
                    <a:lnTo>
                      <a:pt x="90" y="395"/>
                    </a:lnTo>
                    <a:lnTo>
                      <a:pt x="98" y="475"/>
                    </a:lnTo>
                    <a:lnTo>
                      <a:pt x="102" y="514"/>
                    </a:lnTo>
                    <a:lnTo>
                      <a:pt x="106" y="552"/>
                    </a:lnTo>
                    <a:lnTo>
                      <a:pt x="112" y="589"/>
                    </a:lnTo>
                    <a:lnTo>
                      <a:pt x="119" y="625"/>
                    </a:lnTo>
                    <a:lnTo>
                      <a:pt x="127" y="661"/>
                    </a:lnTo>
                    <a:lnTo>
                      <a:pt x="137" y="695"/>
                    </a:lnTo>
                    <a:lnTo>
                      <a:pt x="149" y="728"/>
                    </a:lnTo>
                    <a:lnTo>
                      <a:pt x="163" y="759"/>
                    </a:lnTo>
                    <a:lnTo>
                      <a:pt x="180" y="787"/>
                    </a:lnTo>
                    <a:lnTo>
                      <a:pt x="200" y="815"/>
                    </a:lnTo>
                    <a:lnTo>
                      <a:pt x="222" y="841"/>
                    </a:lnTo>
                    <a:lnTo>
                      <a:pt x="248" y="864"/>
                    </a:lnTo>
                    <a:lnTo>
                      <a:pt x="278" y="885"/>
                    </a:lnTo>
                    <a:lnTo>
                      <a:pt x="312" y="903"/>
                    </a:lnTo>
                    <a:lnTo>
                      <a:pt x="350" y="920"/>
                    </a:lnTo>
                    <a:lnTo>
                      <a:pt x="392" y="934"/>
                    </a:lnTo>
                    <a:lnTo>
                      <a:pt x="440" y="945"/>
                    </a:lnTo>
                    <a:lnTo>
                      <a:pt x="492" y="952"/>
                    </a:lnTo>
                    <a:lnTo>
                      <a:pt x="549" y="958"/>
                    </a:lnTo>
                    <a:lnTo>
                      <a:pt x="612" y="960"/>
                    </a:lnTo>
                    <a:lnTo>
                      <a:pt x="678" y="958"/>
                    </a:lnTo>
                    <a:lnTo>
                      <a:pt x="739" y="953"/>
                    </a:lnTo>
                    <a:lnTo>
                      <a:pt x="793" y="945"/>
                    </a:lnTo>
                    <a:lnTo>
                      <a:pt x="842" y="934"/>
                    </a:lnTo>
                    <a:lnTo>
                      <a:pt x="886" y="920"/>
                    </a:lnTo>
                    <a:lnTo>
                      <a:pt x="925" y="904"/>
                    </a:lnTo>
                    <a:lnTo>
                      <a:pt x="960" y="885"/>
                    </a:lnTo>
                    <a:lnTo>
                      <a:pt x="990" y="864"/>
                    </a:lnTo>
                    <a:lnTo>
                      <a:pt x="1017" y="841"/>
                    </a:lnTo>
                    <a:lnTo>
                      <a:pt x="1040" y="815"/>
                    </a:lnTo>
                    <a:lnTo>
                      <a:pt x="1060" y="788"/>
                    </a:lnTo>
                    <a:lnTo>
                      <a:pt x="1077" y="759"/>
                    </a:lnTo>
                    <a:lnTo>
                      <a:pt x="1090" y="728"/>
                    </a:lnTo>
                    <a:lnTo>
                      <a:pt x="1102" y="696"/>
                    </a:lnTo>
                    <a:lnTo>
                      <a:pt x="1112" y="662"/>
                    </a:lnTo>
                    <a:lnTo>
                      <a:pt x="1119" y="627"/>
                    </a:lnTo>
                    <a:lnTo>
                      <a:pt x="1124" y="590"/>
                    </a:lnTo>
                    <a:lnTo>
                      <a:pt x="1129" y="552"/>
                    </a:lnTo>
                    <a:lnTo>
                      <a:pt x="1133" y="515"/>
                    </a:lnTo>
                    <a:lnTo>
                      <a:pt x="1135" y="475"/>
                    </a:lnTo>
                    <a:lnTo>
                      <a:pt x="1140" y="395"/>
                    </a:lnTo>
                    <a:lnTo>
                      <a:pt x="1147" y="314"/>
                    </a:lnTo>
                    <a:lnTo>
                      <a:pt x="1150" y="274"/>
                    </a:lnTo>
                    <a:lnTo>
                      <a:pt x="1155" y="234"/>
                    </a:lnTo>
                    <a:lnTo>
                      <a:pt x="1162" y="193"/>
                    </a:lnTo>
                    <a:lnTo>
                      <a:pt x="1169" y="154"/>
                    </a:lnTo>
                    <a:lnTo>
                      <a:pt x="1180" y="114"/>
                    </a:lnTo>
                    <a:lnTo>
                      <a:pt x="1192" y="75"/>
                    </a:lnTo>
                    <a:lnTo>
                      <a:pt x="1206" y="38"/>
                    </a:lnTo>
                    <a:lnTo>
                      <a:pt x="122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31" name="Rounded Rectangle 135">
                <a:extLst>
                  <a:ext uri="{FF2B5EF4-FFF2-40B4-BE49-F238E27FC236}">
                    <a16:creationId xmlns:a16="http://schemas.microsoft.com/office/drawing/2014/main" id="{9A874BFC-4DA5-4CE6-9D1A-EEEF01AFAD59}"/>
                  </a:ext>
                </a:extLst>
              </p:cNvPr>
              <p:cNvSpPr/>
              <p:nvPr/>
            </p:nvSpPr>
            <p:spPr bwMode="auto">
              <a:xfrm>
                <a:off x="6372713" y="2371381"/>
                <a:ext cx="336398" cy="415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cs typeface="+mn-ea"/>
                  <a:sym typeface="+mn-lt"/>
                </a:endParaRPr>
              </a:p>
            </p:txBody>
          </p:sp>
          <p:sp>
            <p:nvSpPr>
              <p:cNvPr id="32" name="Rounded Rectangle 136">
                <a:extLst>
                  <a:ext uri="{FF2B5EF4-FFF2-40B4-BE49-F238E27FC236}">
                    <a16:creationId xmlns:a16="http://schemas.microsoft.com/office/drawing/2014/main" id="{EBD0E99C-60E4-416F-A043-73148CEE7748}"/>
                  </a:ext>
                </a:extLst>
              </p:cNvPr>
              <p:cNvSpPr/>
              <p:nvPr/>
            </p:nvSpPr>
            <p:spPr bwMode="auto">
              <a:xfrm>
                <a:off x="6382606" y="2419484"/>
                <a:ext cx="316610" cy="38752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cs typeface="+mn-ea"/>
                  <a:sym typeface="+mn-lt"/>
                </a:endParaRPr>
              </a:p>
            </p:txBody>
          </p:sp>
          <p:sp>
            <p:nvSpPr>
              <p:cNvPr id="33" name="Rounded Rectangle 137">
                <a:extLst>
                  <a:ext uri="{FF2B5EF4-FFF2-40B4-BE49-F238E27FC236}">
                    <a16:creationId xmlns:a16="http://schemas.microsoft.com/office/drawing/2014/main" id="{C8669470-CF7C-4BB7-A475-5F67D1CCDBAB}"/>
                  </a:ext>
                </a:extLst>
              </p:cNvPr>
              <p:cNvSpPr/>
              <p:nvPr/>
            </p:nvSpPr>
            <p:spPr bwMode="auto">
              <a:xfrm>
                <a:off x="6382606" y="2465234"/>
                <a:ext cx="316610" cy="38752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cs typeface="+mn-ea"/>
                  <a:sym typeface="+mn-lt"/>
                </a:endParaRPr>
              </a:p>
            </p:txBody>
          </p:sp>
          <p:sp>
            <p:nvSpPr>
              <p:cNvPr id="34" name="Rounded Rectangle 138">
                <a:extLst>
                  <a:ext uri="{FF2B5EF4-FFF2-40B4-BE49-F238E27FC236}">
                    <a16:creationId xmlns:a16="http://schemas.microsoft.com/office/drawing/2014/main" id="{AADD383E-CB74-42DA-9549-358BD1066E60}"/>
                  </a:ext>
                </a:extLst>
              </p:cNvPr>
              <p:cNvSpPr/>
              <p:nvPr/>
            </p:nvSpPr>
            <p:spPr bwMode="auto">
              <a:xfrm>
                <a:off x="6382606" y="2510984"/>
                <a:ext cx="316610" cy="38752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3" name="Group 11">
              <a:extLst>
                <a:ext uri="{FF2B5EF4-FFF2-40B4-BE49-F238E27FC236}">
                  <a16:creationId xmlns:a16="http://schemas.microsoft.com/office/drawing/2014/main" id="{44DD409A-B04F-440D-9CBC-AA05241B571E}"/>
                </a:ext>
              </a:extLst>
            </p:cNvPr>
            <p:cNvGrpSpPr/>
            <p:nvPr/>
          </p:nvGrpSpPr>
          <p:grpSpPr>
            <a:xfrm rot="172774">
              <a:off x="4327386" y="1914540"/>
              <a:ext cx="1256699" cy="1466431"/>
              <a:chOff x="407890" y="2222460"/>
              <a:chExt cx="1491036" cy="1739877"/>
            </a:xfrm>
            <a:solidFill>
              <a:schemeClr val="accent1"/>
            </a:solidFill>
          </p:grpSpPr>
          <p:grpSp>
            <p:nvGrpSpPr>
              <p:cNvPr id="24" name="Group 10">
                <a:extLst>
                  <a:ext uri="{FF2B5EF4-FFF2-40B4-BE49-F238E27FC236}">
                    <a16:creationId xmlns:a16="http://schemas.microsoft.com/office/drawing/2014/main" id="{A5282570-4FBF-487D-900C-0D4780F7DB16}"/>
                  </a:ext>
                </a:extLst>
              </p:cNvPr>
              <p:cNvGrpSpPr/>
              <p:nvPr/>
            </p:nvGrpSpPr>
            <p:grpSpPr>
              <a:xfrm rot="20700000">
                <a:off x="407890" y="2400551"/>
                <a:ext cx="1491036" cy="1561786"/>
                <a:chOff x="661400" y="2329802"/>
                <a:chExt cx="1491036" cy="1561786"/>
              </a:xfrm>
              <a:grpFill/>
            </p:grpSpPr>
            <p:sp>
              <p:nvSpPr>
                <p:cNvPr id="26" name="Freeform 45">
                  <a:extLst>
                    <a:ext uri="{FF2B5EF4-FFF2-40B4-BE49-F238E27FC236}">
                      <a16:creationId xmlns:a16="http://schemas.microsoft.com/office/drawing/2014/main" id="{A1491F5F-0F84-4814-AF1D-E40D9730EE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660000">
                  <a:off x="831943" y="2329802"/>
                  <a:ext cx="1320493" cy="1272847"/>
                </a:xfrm>
                <a:custGeom>
                  <a:avLst/>
                  <a:gdLst>
                    <a:gd name="T0" fmla="*/ 0 w 2326"/>
                    <a:gd name="T1" fmla="*/ 2223 h 2244"/>
                    <a:gd name="T2" fmla="*/ 1036 w 2326"/>
                    <a:gd name="T3" fmla="*/ 14 h 2244"/>
                    <a:gd name="T4" fmla="*/ 1042 w 2326"/>
                    <a:gd name="T5" fmla="*/ 0 h 2244"/>
                    <a:gd name="T6" fmla="*/ 1059 w 2326"/>
                    <a:gd name="T7" fmla="*/ 0 h 2244"/>
                    <a:gd name="T8" fmla="*/ 1305 w 2326"/>
                    <a:gd name="T9" fmla="*/ 13 h 2244"/>
                    <a:gd name="T10" fmla="*/ 1320 w 2326"/>
                    <a:gd name="T11" fmla="*/ 13 h 2244"/>
                    <a:gd name="T12" fmla="*/ 1327 w 2326"/>
                    <a:gd name="T13" fmla="*/ 27 h 2244"/>
                    <a:gd name="T14" fmla="*/ 2326 w 2326"/>
                    <a:gd name="T15" fmla="*/ 2211 h 2244"/>
                    <a:gd name="T16" fmla="*/ 2282 w 2326"/>
                    <a:gd name="T17" fmla="*/ 2231 h 2244"/>
                    <a:gd name="T18" fmla="*/ 1288 w 2326"/>
                    <a:gd name="T19" fmla="*/ 61 h 2244"/>
                    <a:gd name="T20" fmla="*/ 1074 w 2326"/>
                    <a:gd name="T21" fmla="*/ 50 h 2244"/>
                    <a:gd name="T22" fmla="*/ 44 w 2326"/>
                    <a:gd name="T23" fmla="*/ 2244 h 2244"/>
                    <a:gd name="T24" fmla="*/ 0 w 2326"/>
                    <a:gd name="T25" fmla="*/ 2223 h 2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326" h="2244">
                      <a:moveTo>
                        <a:pt x="0" y="2223"/>
                      </a:moveTo>
                      <a:lnTo>
                        <a:pt x="1036" y="14"/>
                      </a:lnTo>
                      <a:lnTo>
                        <a:pt x="1042" y="0"/>
                      </a:lnTo>
                      <a:lnTo>
                        <a:pt x="1059" y="0"/>
                      </a:lnTo>
                      <a:lnTo>
                        <a:pt x="1305" y="13"/>
                      </a:lnTo>
                      <a:lnTo>
                        <a:pt x="1320" y="13"/>
                      </a:lnTo>
                      <a:lnTo>
                        <a:pt x="1327" y="27"/>
                      </a:lnTo>
                      <a:lnTo>
                        <a:pt x="2326" y="2211"/>
                      </a:lnTo>
                      <a:lnTo>
                        <a:pt x="2282" y="2231"/>
                      </a:lnTo>
                      <a:lnTo>
                        <a:pt x="1288" y="61"/>
                      </a:lnTo>
                      <a:lnTo>
                        <a:pt x="1074" y="50"/>
                      </a:lnTo>
                      <a:lnTo>
                        <a:pt x="44" y="2244"/>
                      </a:lnTo>
                      <a:lnTo>
                        <a:pt x="0" y="22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Freeform 50">
                  <a:extLst>
                    <a:ext uri="{FF2B5EF4-FFF2-40B4-BE49-F238E27FC236}">
                      <a16:creationId xmlns:a16="http://schemas.microsoft.com/office/drawing/2014/main" id="{53063449-D04D-4C77-91C0-1D70DD5544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660000">
                  <a:off x="674317" y="3589825"/>
                  <a:ext cx="1304612" cy="301763"/>
                </a:xfrm>
                <a:custGeom>
                  <a:avLst/>
                  <a:gdLst>
                    <a:gd name="T0" fmla="*/ 144 w 2300"/>
                    <a:gd name="T1" fmla="*/ 0 h 530"/>
                    <a:gd name="T2" fmla="*/ 430 w 2300"/>
                    <a:gd name="T3" fmla="*/ 0 h 530"/>
                    <a:gd name="T4" fmla="*/ 718 w 2300"/>
                    <a:gd name="T5" fmla="*/ 0 h 530"/>
                    <a:gd name="T6" fmla="*/ 1006 w 2300"/>
                    <a:gd name="T7" fmla="*/ 0 h 530"/>
                    <a:gd name="T8" fmla="*/ 1294 w 2300"/>
                    <a:gd name="T9" fmla="*/ 0 h 530"/>
                    <a:gd name="T10" fmla="*/ 1581 w 2300"/>
                    <a:gd name="T11" fmla="*/ 0 h 530"/>
                    <a:gd name="T12" fmla="*/ 1869 w 2300"/>
                    <a:gd name="T13" fmla="*/ 0 h 530"/>
                    <a:gd name="T14" fmla="*/ 2157 w 2300"/>
                    <a:gd name="T15" fmla="*/ 0 h 530"/>
                    <a:gd name="T16" fmla="*/ 2300 w 2300"/>
                    <a:gd name="T17" fmla="*/ 17 h 530"/>
                    <a:gd name="T18" fmla="*/ 2292 w 2300"/>
                    <a:gd name="T19" fmla="*/ 55 h 530"/>
                    <a:gd name="T20" fmla="*/ 2274 w 2300"/>
                    <a:gd name="T21" fmla="*/ 96 h 530"/>
                    <a:gd name="T22" fmla="*/ 2246 w 2300"/>
                    <a:gd name="T23" fmla="*/ 140 h 530"/>
                    <a:gd name="T24" fmla="*/ 2207 w 2300"/>
                    <a:gd name="T25" fmla="*/ 184 h 530"/>
                    <a:gd name="T26" fmla="*/ 2158 w 2300"/>
                    <a:gd name="T27" fmla="*/ 229 h 530"/>
                    <a:gd name="T28" fmla="*/ 2099 w 2300"/>
                    <a:gd name="T29" fmla="*/ 274 h 530"/>
                    <a:gd name="T30" fmla="*/ 2028 w 2300"/>
                    <a:gd name="T31" fmla="*/ 317 h 530"/>
                    <a:gd name="T32" fmla="*/ 1948 w 2300"/>
                    <a:gd name="T33" fmla="*/ 359 h 530"/>
                    <a:gd name="T34" fmla="*/ 1858 w 2300"/>
                    <a:gd name="T35" fmla="*/ 398 h 530"/>
                    <a:gd name="T36" fmla="*/ 1759 w 2300"/>
                    <a:gd name="T37" fmla="*/ 433 h 530"/>
                    <a:gd name="T38" fmla="*/ 1648 w 2300"/>
                    <a:gd name="T39" fmla="*/ 464 h 530"/>
                    <a:gd name="T40" fmla="*/ 1528 w 2300"/>
                    <a:gd name="T41" fmla="*/ 490 h 530"/>
                    <a:gd name="T42" fmla="*/ 1398 w 2300"/>
                    <a:gd name="T43" fmla="*/ 511 h 530"/>
                    <a:gd name="T44" fmla="*/ 1258 w 2300"/>
                    <a:gd name="T45" fmla="*/ 525 h 530"/>
                    <a:gd name="T46" fmla="*/ 1108 w 2300"/>
                    <a:gd name="T47" fmla="*/ 530 h 530"/>
                    <a:gd name="T48" fmla="*/ 952 w 2300"/>
                    <a:gd name="T49" fmla="*/ 528 h 530"/>
                    <a:gd name="T50" fmla="*/ 807 w 2300"/>
                    <a:gd name="T51" fmla="*/ 518 h 530"/>
                    <a:gd name="T52" fmla="*/ 677 w 2300"/>
                    <a:gd name="T53" fmla="*/ 502 h 530"/>
                    <a:gd name="T54" fmla="*/ 561 w 2300"/>
                    <a:gd name="T55" fmla="*/ 481 h 530"/>
                    <a:gd name="T56" fmla="*/ 459 w 2300"/>
                    <a:gd name="T57" fmla="*/ 454 h 530"/>
                    <a:gd name="T58" fmla="*/ 368 w 2300"/>
                    <a:gd name="T59" fmla="*/ 421 h 530"/>
                    <a:gd name="T60" fmla="*/ 290 w 2300"/>
                    <a:gd name="T61" fmla="*/ 385 h 530"/>
                    <a:gd name="T62" fmla="*/ 221 w 2300"/>
                    <a:gd name="T63" fmla="*/ 347 h 530"/>
                    <a:gd name="T64" fmla="*/ 165 w 2300"/>
                    <a:gd name="T65" fmla="*/ 306 h 530"/>
                    <a:gd name="T66" fmla="*/ 118 w 2300"/>
                    <a:gd name="T67" fmla="*/ 264 h 530"/>
                    <a:gd name="T68" fmla="*/ 80 w 2300"/>
                    <a:gd name="T69" fmla="*/ 221 h 530"/>
                    <a:gd name="T70" fmla="*/ 49 w 2300"/>
                    <a:gd name="T71" fmla="*/ 177 h 530"/>
                    <a:gd name="T72" fmla="*/ 27 w 2300"/>
                    <a:gd name="T73" fmla="*/ 134 h 530"/>
                    <a:gd name="T74" fmla="*/ 11 w 2300"/>
                    <a:gd name="T75" fmla="*/ 93 h 530"/>
                    <a:gd name="T76" fmla="*/ 3 w 2300"/>
                    <a:gd name="T77" fmla="*/ 54 h 530"/>
                    <a:gd name="T78" fmla="*/ 0 w 2300"/>
                    <a:gd name="T79" fmla="*/ 17 h 5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300" h="530">
                      <a:moveTo>
                        <a:pt x="0" y="0"/>
                      </a:moveTo>
                      <a:lnTo>
                        <a:pt x="144" y="0"/>
                      </a:lnTo>
                      <a:lnTo>
                        <a:pt x="287" y="0"/>
                      </a:lnTo>
                      <a:lnTo>
                        <a:pt x="430" y="0"/>
                      </a:lnTo>
                      <a:lnTo>
                        <a:pt x="574" y="0"/>
                      </a:lnTo>
                      <a:lnTo>
                        <a:pt x="718" y="0"/>
                      </a:lnTo>
                      <a:lnTo>
                        <a:pt x="862" y="0"/>
                      </a:lnTo>
                      <a:lnTo>
                        <a:pt x="1006" y="0"/>
                      </a:lnTo>
                      <a:lnTo>
                        <a:pt x="1150" y="0"/>
                      </a:lnTo>
                      <a:lnTo>
                        <a:pt x="1294" y="0"/>
                      </a:lnTo>
                      <a:lnTo>
                        <a:pt x="1437" y="0"/>
                      </a:lnTo>
                      <a:lnTo>
                        <a:pt x="1581" y="0"/>
                      </a:lnTo>
                      <a:lnTo>
                        <a:pt x="1725" y="0"/>
                      </a:lnTo>
                      <a:lnTo>
                        <a:pt x="1869" y="0"/>
                      </a:lnTo>
                      <a:lnTo>
                        <a:pt x="2013" y="0"/>
                      </a:lnTo>
                      <a:lnTo>
                        <a:pt x="2157" y="0"/>
                      </a:lnTo>
                      <a:lnTo>
                        <a:pt x="2300" y="0"/>
                      </a:lnTo>
                      <a:lnTo>
                        <a:pt x="2300" y="17"/>
                      </a:lnTo>
                      <a:lnTo>
                        <a:pt x="2298" y="36"/>
                      </a:lnTo>
                      <a:lnTo>
                        <a:pt x="2292" y="55"/>
                      </a:lnTo>
                      <a:lnTo>
                        <a:pt x="2285" y="76"/>
                      </a:lnTo>
                      <a:lnTo>
                        <a:pt x="2274" y="96"/>
                      </a:lnTo>
                      <a:lnTo>
                        <a:pt x="2261" y="118"/>
                      </a:lnTo>
                      <a:lnTo>
                        <a:pt x="2246" y="140"/>
                      </a:lnTo>
                      <a:lnTo>
                        <a:pt x="2227" y="161"/>
                      </a:lnTo>
                      <a:lnTo>
                        <a:pt x="2207" y="184"/>
                      </a:lnTo>
                      <a:lnTo>
                        <a:pt x="2184" y="207"/>
                      </a:lnTo>
                      <a:lnTo>
                        <a:pt x="2158" y="229"/>
                      </a:lnTo>
                      <a:lnTo>
                        <a:pt x="2129" y="251"/>
                      </a:lnTo>
                      <a:lnTo>
                        <a:pt x="2099" y="274"/>
                      </a:lnTo>
                      <a:lnTo>
                        <a:pt x="2065" y="295"/>
                      </a:lnTo>
                      <a:lnTo>
                        <a:pt x="2028" y="317"/>
                      </a:lnTo>
                      <a:lnTo>
                        <a:pt x="1990" y="339"/>
                      </a:lnTo>
                      <a:lnTo>
                        <a:pt x="1948" y="359"/>
                      </a:lnTo>
                      <a:lnTo>
                        <a:pt x="1905" y="379"/>
                      </a:lnTo>
                      <a:lnTo>
                        <a:pt x="1858" y="398"/>
                      </a:lnTo>
                      <a:lnTo>
                        <a:pt x="1809" y="417"/>
                      </a:lnTo>
                      <a:lnTo>
                        <a:pt x="1759" y="433"/>
                      </a:lnTo>
                      <a:lnTo>
                        <a:pt x="1704" y="449"/>
                      </a:lnTo>
                      <a:lnTo>
                        <a:pt x="1648" y="464"/>
                      </a:lnTo>
                      <a:lnTo>
                        <a:pt x="1590" y="478"/>
                      </a:lnTo>
                      <a:lnTo>
                        <a:pt x="1528" y="490"/>
                      </a:lnTo>
                      <a:lnTo>
                        <a:pt x="1464" y="501"/>
                      </a:lnTo>
                      <a:lnTo>
                        <a:pt x="1398" y="511"/>
                      </a:lnTo>
                      <a:lnTo>
                        <a:pt x="1329" y="518"/>
                      </a:lnTo>
                      <a:lnTo>
                        <a:pt x="1258" y="525"/>
                      </a:lnTo>
                      <a:lnTo>
                        <a:pt x="1185" y="528"/>
                      </a:lnTo>
                      <a:lnTo>
                        <a:pt x="1108" y="530"/>
                      </a:lnTo>
                      <a:lnTo>
                        <a:pt x="1030" y="530"/>
                      </a:lnTo>
                      <a:lnTo>
                        <a:pt x="952" y="528"/>
                      </a:lnTo>
                      <a:lnTo>
                        <a:pt x="877" y="524"/>
                      </a:lnTo>
                      <a:lnTo>
                        <a:pt x="807" y="518"/>
                      </a:lnTo>
                      <a:lnTo>
                        <a:pt x="740" y="511"/>
                      </a:lnTo>
                      <a:lnTo>
                        <a:pt x="677" y="502"/>
                      </a:lnTo>
                      <a:lnTo>
                        <a:pt x="618" y="493"/>
                      </a:lnTo>
                      <a:lnTo>
                        <a:pt x="561" y="481"/>
                      </a:lnTo>
                      <a:lnTo>
                        <a:pt x="508" y="468"/>
                      </a:lnTo>
                      <a:lnTo>
                        <a:pt x="459" y="454"/>
                      </a:lnTo>
                      <a:lnTo>
                        <a:pt x="412" y="437"/>
                      </a:lnTo>
                      <a:lnTo>
                        <a:pt x="368" y="421"/>
                      </a:lnTo>
                      <a:lnTo>
                        <a:pt x="328" y="404"/>
                      </a:lnTo>
                      <a:lnTo>
                        <a:pt x="290" y="385"/>
                      </a:lnTo>
                      <a:lnTo>
                        <a:pt x="254" y="367"/>
                      </a:lnTo>
                      <a:lnTo>
                        <a:pt x="221" y="347"/>
                      </a:lnTo>
                      <a:lnTo>
                        <a:pt x="192" y="327"/>
                      </a:lnTo>
                      <a:lnTo>
                        <a:pt x="165" y="306"/>
                      </a:lnTo>
                      <a:lnTo>
                        <a:pt x="140" y="286"/>
                      </a:lnTo>
                      <a:lnTo>
                        <a:pt x="118" y="264"/>
                      </a:lnTo>
                      <a:lnTo>
                        <a:pt x="97" y="242"/>
                      </a:lnTo>
                      <a:lnTo>
                        <a:pt x="80" y="221"/>
                      </a:lnTo>
                      <a:lnTo>
                        <a:pt x="63" y="199"/>
                      </a:lnTo>
                      <a:lnTo>
                        <a:pt x="49" y="177"/>
                      </a:lnTo>
                      <a:lnTo>
                        <a:pt x="37" y="156"/>
                      </a:lnTo>
                      <a:lnTo>
                        <a:pt x="27" y="134"/>
                      </a:lnTo>
                      <a:lnTo>
                        <a:pt x="19" y="114"/>
                      </a:lnTo>
                      <a:lnTo>
                        <a:pt x="11" y="93"/>
                      </a:lnTo>
                      <a:lnTo>
                        <a:pt x="6" y="74"/>
                      </a:lnTo>
                      <a:lnTo>
                        <a:pt x="3" y="54"/>
                      </a:lnTo>
                      <a:lnTo>
                        <a:pt x="1" y="35"/>
                      </a:lnTo>
                      <a:lnTo>
                        <a:pt x="0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Freeform 51">
                  <a:extLst>
                    <a:ext uri="{FF2B5EF4-FFF2-40B4-BE49-F238E27FC236}">
                      <a16:creationId xmlns:a16="http://schemas.microsoft.com/office/drawing/2014/main" id="{D5140406-4114-4247-9739-0A7D706518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660000">
                  <a:off x="661400" y="3564413"/>
                  <a:ext cx="1379485" cy="40840"/>
                </a:xfrm>
                <a:custGeom>
                  <a:avLst/>
                  <a:gdLst>
                    <a:gd name="T0" fmla="*/ 37 w 2430"/>
                    <a:gd name="T1" fmla="*/ 0 h 75"/>
                    <a:gd name="T2" fmla="*/ 2392 w 2430"/>
                    <a:gd name="T3" fmla="*/ 0 h 75"/>
                    <a:gd name="T4" fmla="*/ 2400 w 2430"/>
                    <a:gd name="T5" fmla="*/ 1 h 75"/>
                    <a:gd name="T6" fmla="*/ 2407 w 2430"/>
                    <a:gd name="T7" fmla="*/ 3 h 75"/>
                    <a:gd name="T8" fmla="*/ 2414 w 2430"/>
                    <a:gd name="T9" fmla="*/ 7 h 75"/>
                    <a:gd name="T10" fmla="*/ 2419 w 2430"/>
                    <a:gd name="T11" fmla="*/ 11 h 75"/>
                    <a:gd name="T12" fmla="*/ 2424 w 2430"/>
                    <a:gd name="T13" fmla="*/ 17 h 75"/>
                    <a:gd name="T14" fmla="*/ 2427 w 2430"/>
                    <a:gd name="T15" fmla="*/ 23 h 75"/>
                    <a:gd name="T16" fmla="*/ 2429 w 2430"/>
                    <a:gd name="T17" fmla="*/ 30 h 75"/>
                    <a:gd name="T18" fmla="*/ 2430 w 2430"/>
                    <a:gd name="T19" fmla="*/ 38 h 75"/>
                    <a:gd name="T20" fmla="*/ 2430 w 2430"/>
                    <a:gd name="T21" fmla="*/ 38 h 75"/>
                    <a:gd name="T22" fmla="*/ 2429 w 2430"/>
                    <a:gd name="T23" fmla="*/ 45 h 75"/>
                    <a:gd name="T24" fmla="*/ 2427 w 2430"/>
                    <a:gd name="T25" fmla="*/ 52 h 75"/>
                    <a:gd name="T26" fmla="*/ 2424 w 2430"/>
                    <a:gd name="T27" fmla="*/ 59 h 75"/>
                    <a:gd name="T28" fmla="*/ 2419 w 2430"/>
                    <a:gd name="T29" fmla="*/ 64 h 75"/>
                    <a:gd name="T30" fmla="*/ 2414 w 2430"/>
                    <a:gd name="T31" fmla="*/ 68 h 75"/>
                    <a:gd name="T32" fmla="*/ 2407 w 2430"/>
                    <a:gd name="T33" fmla="*/ 72 h 75"/>
                    <a:gd name="T34" fmla="*/ 2400 w 2430"/>
                    <a:gd name="T35" fmla="*/ 74 h 75"/>
                    <a:gd name="T36" fmla="*/ 2392 w 2430"/>
                    <a:gd name="T37" fmla="*/ 75 h 75"/>
                    <a:gd name="T38" fmla="*/ 37 w 2430"/>
                    <a:gd name="T39" fmla="*/ 75 h 75"/>
                    <a:gd name="T40" fmla="*/ 29 w 2430"/>
                    <a:gd name="T41" fmla="*/ 74 h 75"/>
                    <a:gd name="T42" fmla="*/ 22 w 2430"/>
                    <a:gd name="T43" fmla="*/ 72 h 75"/>
                    <a:gd name="T44" fmla="*/ 16 w 2430"/>
                    <a:gd name="T45" fmla="*/ 68 h 75"/>
                    <a:gd name="T46" fmla="*/ 11 w 2430"/>
                    <a:gd name="T47" fmla="*/ 64 h 75"/>
                    <a:gd name="T48" fmla="*/ 5 w 2430"/>
                    <a:gd name="T49" fmla="*/ 59 h 75"/>
                    <a:gd name="T50" fmla="*/ 2 w 2430"/>
                    <a:gd name="T51" fmla="*/ 52 h 75"/>
                    <a:gd name="T52" fmla="*/ 0 w 2430"/>
                    <a:gd name="T53" fmla="*/ 45 h 75"/>
                    <a:gd name="T54" fmla="*/ 0 w 2430"/>
                    <a:gd name="T55" fmla="*/ 38 h 75"/>
                    <a:gd name="T56" fmla="*/ 0 w 2430"/>
                    <a:gd name="T57" fmla="*/ 38 h 75"/>
                    <a:gd name="T58" fmla="*/ 0 w 2430"/>
                    <a:gd name="T59" fmla="*/ 30 h 75"/>
                    <a:gd name="T60" fmla="*/ 2 w 2430"/>
                    <a:gd name="T61" fmla="*/ 23 h 75"/>
                    <a:gd name="T62" fmla="*/ 5 w 2430"/>
                    <a:gd name="T63" fmla="*/ 17 h 75"/>
                    <a:gd name="T64" fmla="*/ 11 w 2430"/>
                    <a:gd name="T65" fmla="*/ 11 h 75"/>
                    <a:gd name="T66" fmla="*/ 16 w 2430"/>
                    <a:gd name="T67" fmla="*/ 7 h 75"/>
                    <a:gd name="T68" fmla="*/ 22 w 2430"/>
                    <a:gd name="T69" fmla="*/ 3 h 75"/>
                    <a:gd name="T70" fmla="*/ 29 w 2430"/>
                    <a:gd name="T71" fmla="*/ 1 h 75"/>
                    <a:gd name="T72" fmla="*/ 37 w 2430"/>
                    <a:gd name="T73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430" h="75">
                      <a:moveTo>
                        <a:pt x="37" y="0"/>
                      </a:moveTo>
                      <a:lnTo>
                        <a:pt x="2392" y="0"/>
                      </a:lnTo>
                      <a:lnTo>
                        <a:pt x="2400" y="1"/>
                      </a:lnTo>
                      <a:lnTo>
                        <a:pt x="2407" y="3"/>
                      </a:lnTo>
                      <a:lnTo>
                        <a:pt x="2414" y="7"/>
                      </a:lnTo>
                      <a:lnTo>
                        <a:pt x="2419" y="11"/>
                      </a:lnTo>
                      <a:lnTo>
                        <a:pt x="2424" y="17"/>
                      </a:lnTo>
                      <a:lnTo>
                        <a:pt x="2427" y="23"/>
                      </a:lnTo>
                      <a:lnTo>
                        <a:pt x="2429" y="30"/>
                      </a:lnTo>
                      <a:lnTo>
                        <a:pt x="2430" y="38"/>
                      </a:lnTo>
                      <a:lnTo>
                        <a:pt x="2430" y="38"/>
                      </a:lnTo>
                      <a:lnTo>
                        <a:pt x="2429" y="45"/>
                      </a:lnTo>
                      <a:lnTo>
                        <a:pt x="2427" y="52"/>
                      </a:lnTo>
                      <a:lnTo>
                        <a:pt x="2424" y="59"/>
                      </a:lnTo>
                      <a:lnTo>
                        <a:pt x="2419" y="64"/>
                      </a:lnTo>
                      <a:lnTo>
                        <a:pt x="2414" y="68"/>
                      </a:lnTo>
                      <a:lnTo>
                        <a:pt x="2407" y="72"/>
                      </a:lnTo>
                      <a:lnTo>
                        <a:pt x="2400" y="74"/>
                      </a:lnTo>
                      <a:lnTo>
                        <a:pt x="2392" y="75"/>
                      </a:lnTo>
                      <a:lnTo>
                        <a:pt x="37" y="75"/>
                      </a:lnTo>
                      <a:lnTo>
                        <a:pt x="29" y="74"/>
                      </a:lnTo>
                      <a:lnTo>
                        <a:pt x="22" y="72"/>
                      </a:lnTo>
                      <a:lnTo>
                        <a:pt x="16" y="68"/>
                      </a:lnTo>
                      <a:lnTo>
                        <a:pt x="11" y="64"/>
                      </a:lnTo>
                      <a:lnTo>
                        <a:pt x="5" y="59"/>
                      </a:lnTo>
                      <a:lnTo>
                        <a:pt x="2" y="52"/>
                      </a:lnTo>
                      <a:lnTo>
                        <a:pt x="0" y="45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0"/>
                      </a:lnTo>
                      <a:lnTo>
                        <a:pt x="2" y="23"/>
                      </a:lnTo>
                      <a:lnTo>
                        <a:pt x="5" y="17"/>
                      </a:lnTo>
                      <a:lnTo>
                        <a:pt x="11" y="11"/>
                      </a:lnTo>
                      <a:lnTo>
                        <a:pt x="16" y="7"/>
                      </a:lnTo>
                      <a:lnTo>
                        <a:pt x="22" y="3"/>
                      </a:lnTo>
                      <a:lnTo>
                        <a:pt x="29" y="1"/>
                      </a:lnTo>
                      <a:lnTo>
                        <a:pt x="3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25" name="Freeform 47">
                <a:extLst>
                  <a:ext uri="{FF2B5EF4-FFF2-40B4-BE49-F238E27FC236}">
                    <a16:creationId xmlns:a16="http://schemas.microsoft.com/office/drawing/2014/main" id="{4A9298D0-5879-4EB6-B2EE-068DBB0B9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4221" y="2222460"/>
                <a:ext cx="138376" cy="137401"/>
              </a:xfrm>
              <a:custGeom>
                <a:avLst/>
                <a:gdLst>
                  <a:gd name="T0" fmla="*/ 312 w 567"/>
                  <a:gd name="T1" fmla="*/ 1 h 567"/>
                  <a:gd name="T2" fmla="*/ 354 w 567"/>
                  <a:gd name="T3" fmla="*/ 8 h 567"/>
                  <a:gd name="T4" fmla="*/ 394 w 567"/>
                  <a:gd name="T5" fmla="*/ 22 h 567"/>
                  <a:gd name="T6" fmla="*/ 431 w 567"/>
                  <a:gd name="T7" fmla="*/ 41 h 567"/>
                  <a:gd name="T8" fmla="*/ 463 w 567"/>
                  <a:gd name="T9" fmla="*/ 65 h 567"/>
                  <a:gd name="T10" fmla="*/ 494 w 567"/>
                  <a:gd name="T11" fmla="*/ 93 h 567"/>
                  <a:gd name="T12" fmla="*/ 519 w 567"/>
                  <a:gd name="T13" fmla="*/ 125 h 567"/>
                  <a:gd name="T14" fmla="*/ 539 w 567"/>
                  <a:gd name="T15" fmla="*/ 161 h 567"/>
                  <a:gd name="T16" fmla="*/ 554 w 567"/>
                  <a:gd name="T17" fmla="*/ 199 h 567"/>
                  <a:gd name="T18" fmla="*/ 564 w 567"/>
                  <a:gd name="T19" fmla="*/ 240 h 567"/>
                  <a:gd name="T20" fmla="*/ 567 w 567"/>
                  <a:gd name="T21" fmla="*/ 283 h 567"/>
                  <a:gd name="T22" fmla="*/ 564 w 567"/>
                  <a:gd name="T23" fmla="*/ 327 h 567"/>
                  <a:gd name="T24" fmla="*/ 554 w 567"/>
                  <a:gd name="T25" fmla="*/ 368 h 567"/>
                  <a:gd name="T26" fmla="*/ 539 w 567"/>
                  <a:gd name="T27" fmla="*/ 407 h 567"/>
                  <a:gd name="T28" fmla="*/ 519 w 567"/>
                  <a:gd name="T29" fmla="*/ 442 h 567"/>
                  <a:gd name="T30" fmla="*/ 494 w 567"/>
                  <a:gd name="T31" fmla="*/ 474 h 567"/>
                  <a:gd name="T32" fmla="*/ 463 w 567"/>
                  <a:gd name="T33" fmla="*/ 502 h 567"/>
                  <a:gd name="T34" fmla="*/ 431 w 567"/>
                  <a:gd name="T35" fmla="*/ 526 h 567"/>
                  <a:gd name="T36" fmla="*/ 394 w 567"/>
                  <a:gd name="T37" fmla="*/ 545 h 567"/>
                  <a:gd name="T38" fmla="*/ 354 w 567"/>
                  <a:gd name="T39" fmla="*/ 558 h 567"/>
                  <a:gd name="T40" fmla="*/ 312 w 567"/>
                  <a:gd name="T41" fmla="*/ 566 h 567"/>
                  <a:gd name="T42" fmla="*/ 269 w 567"/>
                  <a:gd name="T43" fmla="*/ 567 h 567"/>
                  <a:gd name="T44" fmla="*/ 226 w 567"/>
                  <a:gd name="T45" fmla="*/ 561 h 567"/>
                  <a:gd name="T46" fmla="*/ 186 w 567"/>
                  <a:gd name="T47" fmla="*/ 550 h 567"/>
                  <a:gd name="T48" fmla="*/ 148 w 567"/>
                  <a:gd name="T49" fmla="*/ 533 h 567"/>
                  <a:gd name="T50" fmla="*/ 114 w 567"/>
                  <a:gd name="T51" fmla="*/ 511 h 567"/>
                  <a:gd name="T52" fmla="*/ 82 w 567"/>
                  <a:gd name="T53" fmla="*/ 485 h 567"/>
                  <a:gd name="T54" fmla="*/ 56 w 567"/>
                  <a:gd name="T55" fmla="*/ 453 h 567"/>
                  <a:gd name="T56" fmla="*/ 34 w 567"/>
                  <a:gd name="T57" fmla="*/ 419 h 567"/>
                  <a:gd name="T58" fmla="*/ 16 w 567"/>
                  <a:gd name="T59" fmla="*/ 381 h 567"/>
                  <a:gd name="T60" fmla="*/ 6 w 567"/>
                  <a:gd name="T61" fmla="*/ 341 h 567"/>
                  <a:gd name="T62" fmla="*/ 0 w 567"/>
                  <a:gd name="T63" fmla="*/ 298 h 567"/>
                  <a:gd name="T64" fmla="*/ 1 w 567"/>
                  <a:gd name="T65" fmla="*/ 254 h 567"/>
                  <a:gd name="T66" fmla="*/ 9 w 567"/>
                  <a:gd name="T67" fmla="*/ 213 h 567"/>
                  <a:gd name="T68" fmla="*/ 22 w 567"/>
                  <a:gd name="T69" fmla="*/ 173 h 567"/>
                  <a:gd name="T70" fmla="*/ 40 w 567"/>
                  <a:gd name="T71" fmla="*/ 136 h 567"/>
                  <a:gd name="T72" fmla="*/ 64 w 567"/>
                  <a:gd name="T73" fmla="*/ 102 h 567"/>
                  <a:gd name="T74" fmla="*/ 92 w 567"/>
                  <a:gd name="T75" fmla="*/ 73 h 567"/>
                  <a:gd name="T76" fmla="*/ 125 w 567"/>
                  <a:gd name="T77" fmla="*/ 48 h 567"/>
                  <a:gd name="T78" fmla="*/ 160 w 567"/>
                  <a:gd name="T79" fmla="*/ 28 h 567"/>
                  <a:gd name="T80" fmla="*/ 199 w 567"/>
                  <a:gd name="T81" fmla="*/ 13 h 567"/>
                  <a:gd name="T82" fmla="*/ 240 w 567"/>
                  <a:gd name="T83" fmla="*/ 3 h 567"/>
                  <a:gd name="T84" fmla="*/ 284 w 567"/>
                  <a:gd name="T85" fmla="*/ 0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67" h="567">
                    <a:moveTo>
                      <a:pt x="284" y="0"/>
                    </a:moveTo>
                    <a:lnTo>
                      <a:pt x="298" y="0"/>
                    </a:lnTo>
                    <a:lnTo>
                      <a:pt x="312" y="1"/>
                    </a:lnTo>
                    <a:lnTo>
                      <a:pt x="327" y="3"/>
                    </a:lnTo>
                    <a:lnTo>
                      <a:pt x="340" y="5"/>
                    </a:lnTo>
                    <a:lnTo>
                      <a:pt x="354" y="8"/>
                    </a:lnTo>
                    <a:lnTo>
                      <a:pt x="368" y="13"/>
                    </a:lnTo>
                    <a:lnTo>
                      <a:pt x="381" y="17"/>
                    </a:lnTo>
                    <a:lnTo>
                      <a:pt x="394" y="22"/>
                    </a:lnTo>
                    <a:lnTo>
                      <a:pt x="406" y="28"/>
                    </a:lnTo>
                    <a:lnTo>
                      <a:pt x="419" y="34"/>
                    </a:lnTo>
                    <a:lnTo>
                      <a:pt x="431" y="41"/>
                    </a:lnTo>
                    <a:lnTo>
                      <a:pt x="442" y="48"/>
                    </a:lnTo>
                    <a:lnTo>
                      <a:pt x="453" y="56"/>
                    </a:lnTo>
                    <a:lnTo>
                      <a:pt x="463" y="65"/>
                    </a:lnTo>
                    <a:lnTo>
                      <a:pt x="474" y="73"/>
                    </a:lnTo>
                    <a:lnTo>
                      <a:pt x="484" y="83"/>
                    </a:lnTo>
                    <a:lnTo>
                      <a:pt x="494" y="93"/>
                    </a:lnTo>
                    <a:lnTo>
                      <a:pt x="502" y="102"/>
                    </a:lnTo>
                    <a:lnTo>
                      <a:pt x="511" y="113"/>
                    </a:lnTo>
                    <a:lnTo>
                      <a:pt x="519" y="125"/>
                    </a:lnTo>
                    <a:lnTo>
                      <a:pt x="526" y="136"/>
                    </a:lnTo>
                    <a:lnTo>
                      <a:pt x="533" y="148"/>
                    </a:lnTo>
                    <a:lnTo>
                      <a:pt x="539" y="161"/>
                    </a:lnTo>
                    <a:lnTo>
                      <a:pt x="545" y="173"/>
                    </a:lnTo>
                    <a:lnTo>
                      <a:pt x="550" y="186"/>
                    </a:lnTo>
                    <a:lnTo>
                      <a:pt x="554" y="199"/>
                    </a:lnTo>
                    <a:lnTo>
                      <a:pt x="558" y="213"/>
                    </a:lnTo>
                    <a:lnTo>
                      <a:pt x="561" y="226"/>
                    </a:lnTo>
                    <a:lnTo>
                      <a:pt x="564" y="240"/>
                    </a:lnTo>
                    <a:lnTo>
                      <a:pt x="565" y="254"/>
                    </a:lnTo>
                    <a:lnTo>
                      <a:pt x="566" y="269"/>
                    </a:lnTo>
                    <a:lnTo>
                      <a:pt x="567" y="283"/>
                    </a:lnTo>
                    <a:lnTo>
                      <a:pt x="566" y="298"/>
                    </a:lnTo>
                    <a:lnTo>
                      <a:pt x="565" y="312"/>
                    </a:lnTo>
                    <a:lnTo>
                      <a:pt x="564" y="327"/>
                    </a:lnTo>
                    <a:lnTo>
                      <a:pt x="561" y="341"/>
                    </a:lnTo>
                    <a:lnTo>
                      <a:pt x="558" y="355"/>
                    </a:lnTo>
                    <a:lnTo>
                      <a:pt x="554" y="368"/>
                    </a:lnTo>
                    <a:lnTo>
                      <a:pt x="550" y="381"/>
                    </a:lnTo>
                    <a:lnTo>
                      <a:pt x="545" y="394"/>
                    </a:lnTo>
                    <a:lnTo>
                      <a:pt x="539" y="407"/>
                    </a:lnTo>
                    <a:lnTo>
                      <a:pt x="533" y="419"/>
                    </a:lnTo>
                    <a:lnTo>
                      <a:pt x="526" y="430"/>
                    </a:lnTo>
                    <a:lnTo>
                      <a:pt x="519" y="442"/>
                    </a:lnTo>
                    <a:lnTo>
                      <a:pt x="511" y="453"/>
                    </a:lnTo>
                    <a:lnTo>
                      <a:pt x="502" y="464"/>
                    </a:lnTo>
                    <a:lnTo>
                      <a:pt x="494" y="474"/>
                    </a:lnTo>
                    <a:lnTo>
                      <a:pt x="484" y="485"/>
                    </a:lnTo>
                    <a:lnTo>
                      <a:pt x="474" y="493"/>
                    </a:lnTo>
                    <a:lnTo>
                      <a:pt x="463" y="502"/>
                    </a:lnTo>
                    <a:lnTo>
                      <a:pt x="453" y="511"/>
                    </a:lnTo>
                    <a:lnTo>
                      <a:pt x="442" y="519"/>
                    </a:lnTo>
                    <a:lnTo>
                      <a:pt x="431" y="526"/>
                    </a:lnTo>
                    <a:lnTo>
                      <a:pt x="419" y="533"/>
                    </a:lnTo>
                    <a:lnTo>
                      <a:pt x="406" y="539"/>
                    </a:lnTo>
                    <a:lnTo>
                      <a:pt x="394" y="545"/>
                    </a:lnTo>
                    <a:lnTo>
                      <a:pt x="381" y="550"/>
                    </a:lnTo>
                    <a:lnTo>
                      <a:pt x="368" y="555"/>
                    </a:lnTo>
                    <a:lnTo>
                      <a:pt x="354" y="558"/>
                    </a:lnTo>
                    <a:lnTo>
                      <a:pt x="340" y="561"/>
                    </a:lnTo>
                    <a:lnTo>
                      <a:pt x="327" y="564"/>
                    </a:lnTo>
                    <a:lnTo>
                      <a:pt x="312" y="566"/>
                    </a:lnTo>
                    <a:lnTo>
                      <a:pt x="298" y="567"/>
                    </a:lnTo>
                    <a:lnTo>
                      <a:pt x="284" y="567"/>
                    </a:lnTo>
                    <a:lnTo>
                      <a:pt x="269" y="567"/>
                    </a:lnTo>
                    <a:lnTo>
                      <a:pt x="254" y="566"/>
                    </a:lnTo>
                    <a:lnTo>
                      <a:pt x="240" y="564"/>
                    </a:lnTo>
                    <a:lnTo>
                      <a:pt x="226" y="561"/>
                    </a:lnTo>
                    <a:lnTo>
                      <a:pt x="212" y="558"/>
                    </a:lnTo>
                    <a:lnTo>
                      <a:pt x="199" y="555"/>
                    </a:lnTo>
                    <a:lnTo>
                      <a:pt x="186" y="550"/>
                    </a:lnTo>
                    <a:lnTo>
                      <a:pt x="173" y="545"/>
                    </a:lnTo>
                    <a:lnTo>
                      <a:pt x="160" y="539"/>
                    </a:lnTo>
                    <a:lnTo>
                      <a:pt x="148" y="533"/>
                    </a:lnTo>
                    <a:lnTo>
                      <a:pt x="136" y="526"/>
                    </a:lnTo>
                    <a:lnTo>
                      <a:pt x="125" y="519"/>
                    </a:lnTo>
                    <a:lnTo>
                      <a:pt x="114" y="511"/>
                    </a:lnTo>
                    <a:lnTo>
                      <a:pt x="103" y="502"/>
                    </a:lnTo>
                    <a:lnTo>
                      <a:pt x="92" y="493"/>
                    </a:lnTo>
                    <a:lnTo>
                      <a:pt x="82" y="485"/>
                    </a:lnTo>
                    <a:lnTo>
                      <a:pt x="74" y="474"/>
                    </a:lnTo>
                    <a:lnTo>
                      <a:pt x="64" y="464"/>
                    </a:lnTo>
                    <a:lnTo>
                      <a:pt x="56" y="453"/>
                    </a:lnTo>
                    <a:lnTo>
                      <a:pt x="48" y="442"/>
                    </a:lnTo>
                    <a:lnTo>
                      <a:pt x="40" y="430"/>
                    </a:lnTo>
                    <a:lnTo>
                      <a:pt x="34" y="419"/>
                    </a:lnTo>
                    <a:lnTo>
                      <a:pt x="27" y="407"/>
                    </a:lnTo>
                    <a:lnTo>
                      <a:pt x="22" y="394"/>
                    </a:lnTo>
                    <a:lnTo>
                      <a:pt x="16" y="381"/>
                    </a:lnTo>
                    <a:lnTo>
                      <a:pt x="12" y="368"/>
                    </a:lnTo>
                    <a:lnTo>
                      <a:pt x="9" y="355"/>
                    </a:lnTo>
                    <a:lnTo>
                      <a:pt x="6" y="341"/>
                    </a:lnTo>
                    <a:lnTo>
                      <a:pt x="3" y="327"/>
                    </a:lnTo>
                    <a:lnTo>
                      <a:pt x="1" y="312"/>
                    </a:lnTo>
                    <a:lnTo>
                      <a:pt x="0" y="298"/>
                    </a:lnTo>
                    <a:lnTo>
                      <a:pt x="0" y="283"/>
                    </a:lnTo>
                    <a:lnTo>
                      <a:pt x="0" y="269"/>
                    </a:lnTo>
                    <a:lnTo>
                      <a:pt x="1" y="254"/>
                    </a:lnTo>
                    <a:lnTo>
                      <a:pt x="3" y="240"/>
                    </a:lnTo>
                    <a:lnTo>
                      <a:pt x="6" y="226"/>
                    </a:lnTo>
                    <a:lnTo>
                      <a:pt x="9" y="213"/>
                    </a:lnTo>
                    <a:lnTo>
                      <a:pt x="12" y="199"/>
                    </a:lnTo>
                    <a:lnTo>
                      <a:pt x="16" y="186"/>
                    </a:lnTo>
                    <a:lnTo>
                      <a:pt x="22" y="173"/>
                    </a:lnTo>
                    <a:lnTo>
                      <a:pt x="27" y="161"/>
                    </a:lnTo>
                    <a:lnTo>
                      <a:pt x="34" y="148"/>
                    </a:lnTo>
                    <a:lnTo>
                      <a:pt x="40" y="136"/>
                    </a:lnTo>
                    <a:lnTo>
                      <a:pt x="48" y="125"/>
                    </a:lnTo>
                    <a:lnTo>
                      <a:pt x="56" y="113"/>
                    </a:lnTo>
                    <a:lnTo>
                      <a:pt x="64" y="102"/>
                    </a:lnTo>
                    <a:lnTo>
                      <a:pt x="74" y="93"/>
                    </a:lnTo>
                    <a:lnTo>
                      <a:pt x="82" y="83"/>
                    </a:lnTo>
                    <a:lnTo>
                      <a:pt x="92" y="73"/>
                    </a:lnTo>
                    <a:lnTo>
                      <a:pt x="103" y="65"/>
                    </a:lnTo>
                    <a:lnTo>
                      <a:pt x="114" y="56"/>
                    </a:lnTo>
                    <a:lnTo>
                      <a:pt x="125" y="48"/>
                    </a:lnTo>
                    <a:lnTo>
                      <a:pt x="136" y="41"/>
                    </a:lnTo>
                    <a:lnTo>
                      <a:pt x="148" y="34"/>
                    </a:lnTo>
                    <a:lnTo>
                      <a:pt x="160" y="28"/>
                    </a:lnTo>
                    <a:lnTo>
                      <a:pt x="173" y="22"/>
                    </a:lnTo>
                    <a:lnTo>
                      <a:pt x="186" y="17"/>
                    </a:lnTo>
                    <a:lnTo>
                      <a:pt x="199" y="13"/>
                    </a:lnTo>
                    <a:lnTo>
                      <a:pt x="212" y="8"/>
                    </a:lnTo>
                    <a:lnTo>
                      <a:pt x="226" y="5"/>
                    </a:lnTo>
                    <a:lnTo>
                      <a:pt x="240" y="3"/>
                    </a:lnTo>
                    <a:lnTo>
                      <a:pt x="254" y="1"/>
                    </a:lnTo>
                    <a:lnTo>
                      <a:pt x="269" y="0"/>
                    </a:lnTo>
                    <a:lnTo>
                      <a:pt x="28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6B4914D1-4878-455F-B104-861ACAD70492}"/>
              </a:ext>
            </a:extLst>
          </p:cNvPr>
          <p:cNvGrpSpPr/>
          <p:nvPr/>
        </p:nvGrpSpPr>
        <p:grpSpPr>
          <a:xfrm>
            <a:off x="6561583" y="2339767"/>
            <a:ext cx="1256699" cy="1466431"/>
            <a:chOff x="6561583" y="2339767"/>
            <a:chExt cx="1256699" cy="1466431"/>
          </a:xfrm>
          <a:solidFill>
            <a:schemeClr val="accent4"/>
          </a:solidFill>
        </p:grpSpPr>
        <p:sp>
          <p:nvSpPr>
            <p:cNvPr id="36" name="Freeform 131">
              <a:extLst>
                <a:ext uri="{FF2B5EF4-FFF2-40B4-BE49-F238E27FC236}">
                  <a16:creationId xmlns:a16="http://schemas.microsoft.com/office/drawing/2014/main" id="{AA63EBA8-EDF0-40A3-90B3-2581AAF9AE42}"/>
                </a:ext>
              </a:extLst>
            </p:cNvPr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7064909" y="2955755"/>
              <a:ext cx="327802" cy="496189"/>
            </a:xfrm>
            <a:custGeom>
              <a:avLst/>
              <a:gdLst>
                <a:gd name="T0" fmla="*/ 5 w 913"/>
                <a:gd name="T1" fmla="*/ 402 h 1382"/>
                <a:gd name="T2" fmla="*/ 46 w 913"/>
                <a:gd name="T3" fmla="*/ 264 h 1382"/>
                <a:gd name="T4" fmla="*/ 90 w 913"/>
                <a:gd name="T5" fmla="*/ 187 h 1382"/>
                <a:gd name="T6" fmla="*/ 145 w 913"/>
                <a:gd name="T7" fmla="*/ 122 h 1382"/>
                <a:gd name="T8" fmla="*/ 246 w 913"/>
                <a:gd name="T9" fmla="*/ 49 h 1382"/>
                <a:gd name="T10" fmla="*/ 306 w 913"/>
                <a:gd name="T11" fmla="*/ 25 h 1382"/>
                <a:gd name="T12" fmla="*/ 370 w 913"/>
                <a:gd name="T13" fmla="*/ 9 h 1382"/>
                <a:gd name="T14" fmla="*/ 460 w 913"/>
                <a:gd name="T15" fmla="*/ 0 h 1382"/>
                <a:gd name="T16" fmla="*/ 602 w 913"/>
                <a:gd name="T17" fmla="*/ 16 h 1382"/>
                <a:gd name="T18" fmla="*/ 685 w 913"/>
                <a:gd name="T19" fmla="*/ 46 h 1382"/>
                <a:gd name="T20" fmla="*/ 787 w 913"/>
                <a:gd name="T21" fmla="*/ 110 h 1382"/>
                <a:gd name="T22" fmla="*/ 841 w 913"/>
                <a:gd name="T23" fmla="*/ 166 h 1382"/>
                <a:gd name="T24" fmla="*/ 881 w 913"/>
                <a:gd name="T25" fmla="*/ 233 h 1382"/>
                <a:gd name="T26" fmla="*/ 901 w 913"/>
                <a:gd name="T27" fmla="*/ 288 h 1382"/>
                <a:gd name="T28" fmla="*/ 911 w 913"/>
                <a:gd name="T29" fmla="*/ 348 h 1382"/>
                <a:gd name="T30" fmla="*/ 913 w 913"/>
                <a:gd name="T31" fmla="*/ 414 h 1382"/>
                <a:gd name="T32" fmla="*/ 902 w 913"/>
                <a:gd name="T33" fmla="*/ 481 h 1382"/>
                <a:gd name="T34" fmla="*/ 879 w 913"/>
                <a:gd name="T35" fmla="*/ 547 h 1382"/>
                <a:gd name="T36" fmla="*/ 858 w 913"/>
                <a:gd name="T37" fmla="*/ 586 h 1382"/>
                <a:gd name="T38" fmla="*/ 810 w 913"/>
                <a:gd name="T39" fmla="*/ 651 h 1382"/>
                <a:gd name="T40" fmla="*/ 741 w 913"/>
                <a:gd name="T41" fmla="*/ 718 h 1382"/>
                <a:gd name="T42" fmla="*/ 669 w 913"/>
                <a:gd name="T43" fmla="*/ 780 h 1382"/>
                <a:gd name="T44" fmla="*/ 619 w 913"/>
                <a:gd name="T45" fmla="*/ 830 h 1382"/>
                <a:gd name="T46" fmla="*/ 593 w 913"/>
                <a:gd name="T47" fmla="*/ 869 h 1382"/>
                <a:gd name="T48" fmla="*/ 584 w 913"/>
                <a:gd name="T49" fmla="*/ 899 h 1382"/>
                <a:gd name="T50" fmla="*/ 573 w 913"/>
                <a:gd name="T51" fmla="*/ 998 h 1382"/>
                <a:gd name="T52" fmla="*/ 334 w 913"/>
                <a:gd name="T53" fmla="*/ 1067 h 1382"/>
                <a:gd name="T54" fmla="*/ 342 w 913"/>
                <a:gd name="T55" fmla="*/ 927 h 1382"/>
                <a:gd name="T56" fmla="*/ 350 w 913"/>
                <a:gd name="T57" fmla="*/ 855 h 1382"/>
                <a:gd name="T58" fmla="*/ 377 w 913"/>
                <a:gd name="T59" fmla="*/ 773 h 1382"/>
                <a:gd name="T60" fmla="*/ 402 w 913"/>
                <a:gd name="T61" fmla="*/ 731 h 1382"/>
                <a:gd name="T62" fmla="*/ 455 w 913"/>
                <a:gd name="T63" fmla="*/ 665 h 1382"/>
                <a:gd name="T64" fmla="*/ 526 w 913"/>
                <a:gd name="T65" fmla="*/ 598 h 1382"/>
                <a:gd name="T66" fmla="*/ 600 w 913"/>
                <a:gd name="T67" fmla="*/ 531 h 1382"/>
                <a:gd name="T68" fmla="*/ 641 w 913"/>
                <a:gd name="T69" fmla="*/ 481 h 1382"/>
                <a:gd name="T70" fmla="*/ 655 w 913"/>
                <a:gd name="T71" fmla="*/ 451 h 1382"/>
                <a:gd name="T72" fmla="*/ 660 w 913"/>
                <a:gd name="T73" fmla="*/ 421 h 1382"/>
                <a:gd name="T74" fmla="*/ 660 w 913"/>
                <a:gd name="T75" fmla="*/ 380 h 1382"/>
                <a:gd name="T76" fmla="*/ 646 w 913"/>
                <a:gd name="T77" fmla="*/ 324 h 1382"/>
                <a:gd name="T78" fmla="*/ 628 w 913"/>
                <a:gd name="T79" fmla="*/ 292 h 1382"/>
                <a:gd name="T80" fmla="*/ 605 w 913"/>
                <a:gd name="T81" fmla="*/ 264 h 1382"/>
                <a:gd name="T82" fmla="*/ 561 w 913"/>
                <a:gd name="T83" fmla="*/ 232 h 1382"/>
                <a:gd name="T84" fmla="*/ 524 w 913"/>
                <a:gd name="T85" fmla="*/ 218 h 1382"/>
                <a:gd name="T86" fmla="*/ 462 w 913"/>
                <a:gd name="T87" fmla="*/ 210 h 1382"/>
                <a:gd name="T88" fmla="*/ 421 w 913"/>
                <a:gd name="T89" fmla="*/ 214 h 1382"/>
                <a:gd name="T90" fmla="*/ 368 w 913"/>
                <a:gd name="T91" fmla="*/ 233 h 1382"/>
                <a:gd name="T92" fmla="*/ 324 w 913"/>
                <a:gd name="T93" fmla="*/ 271 h 1382"/>
                <a:gd name="T94" fmla="*/ 288 w 913"/>
                <a:gd name="T95" fmla="*/ 324 h 1382"/>
                <a:gd name="T96" fmla="*/ 264 w 913"/>
                <a:gd name="T97" fmla="*/ 394 h 1382"/>
                <a:gd name="T98" fmla="*/ 0 w 913"/>
                <a:gd name="T99" fmla="*/ 451 h 1382"/>
                <a:gd name="T100" fmla="*/ 327 w 913"/>
                <a:gd name="T101" fmla="*/ 1122 h 1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13" h="1382">
                  <a:moveTo>
                    <a:pt x="0" y="451"/>
                  </a:moveTo>
                  <a:lnTo>
                    <a:pt x="0" y="451"/>
                  </a:lnTo>
                  <a:lnTo>
                    <a:pt x="5" y="402"/>
                  </a:lnTo>
                  <a:lnTo>
                    <a:pt x="16" y="352"/>
                  </a:lnTo>
                  <a:lnTo>
                    <a:pt x="28" y="308"/>
                  </a:lnTo>
                  <a:lnTo>
                    <a:pt x="46" y="264"/>
                  </a:lnTo>
                  <a:lnTo>
                    <a:pt x="46" y="264"/>
                  </a:lnTo>
                  <a:lnTo>
                    <a:pt x="67" y="225"/>
                  </a:lnTo>
                  <a:lnTo>
                    <a:pt x="90" y="187"/>
                  </a:lnTo>
                  <a:lnTo>
                    <a:pt x="115" y="154"/>
                  </a:lnTo>
                  <a:lnTo>
                    <a:pt x="145" y="122"/>
                  </a:lnTo>
                  <a:lnTo>
                    <a:pt x="145" y="122"/>
                  </a:lnTo>
                  <a:lnTo>
                    <a:pt x="175" y="95"/>
                  </a:lnTo>
                  <a:lnTo>
                    <a:pt x="211" y="71"/>
                  </a:lnTo>
                  <a:lnTo>
                    <a:pt x="246" y="49"/>
                  </a:lnTo>
                  <a:lnTo>
                    <a:pt x="285" y="32"/>
                  </a:lnTo>
                  <a:lnTo>
                    <a:pt x="285" y="32"/>
                  </a:lnTo>
                  <a:lnTo>
                    <a:pt x="306" y="25"/>
                  </a:lnTo>
                  <a:lnTo>
                    <a:pt x="326" y="18"/>
                  </a:lnTo>
                  <a:lnTo>
                    <a:pt x="347" y="12"/>
                  </a:lnTo>
                  <a:lnTo>
                    <a:pt x="370" y="9"/>
                  </a:lnTo>
                  <a:lnTo>
                    <a:pt x="414" y="2"/>
                  </a:lnTo>
                  <a:lnTo>
                    <a:pt x="460" y="0"/>
                  </a:lnTo>
                  <a:lnTo>
                    <a:pt x="460" y="0"/>
                  </a:lnTo>
                  <a:lnTo>
                    <a:pt x="510" y="2"/>
                  </a:lnTo>
                  <a:lnTo>
                    <a:pt x="557" y="7"/>
                  </a:lnTo>
                  <a:lnTo>
                    <a:pt x="602" y="16"/>
                  </a:lnTo>
                  <a:lnTo>
                    <a:pt x="644" y="30"/>
                  </a:lnTo>
                  <a:lnTo>
                    <a:pt x="644" y="30"/>
                  </a:lnTo>
                  <a:lnTo>
                    <a:pt x="685" y="46"/>
                  </a:lnTo>
                  <a:lnTo>
                    <a:pt x="722" y="64"/>
                  </a:lnTo>
                  <a:lnTo>
                    <a:pt x="757" y="85"/>
                  </a:lnTo>
                  <a:lnTo>
                    <a:pt x="787" y="110"/>
                  </a:lnTo>
                  <a:lnTo>
                    <a:pt x="787" y="110"/>
                  </a:lnTo>
                  <a:lnTo>
                    <a:pt x="816" y="138"/>
                  </a:lnTo>
                  <a:lnTo>
                    <a:pt x="841" y="166"/>
                  </a:lnTo>
                  <a:lnTo>
                    <a:pt x="862" y="198"/>
                  </a:lnTo>
                  <a:lnTo>
                    <a:pt x="881" y="233"/>
                  </a:lnTo>
                  <a:lnTo>
                    <a:pt x="881" y="233"/>
                  </a:lnTo>
                  <a:lnTo>
                    <a:pt x="888" y="251"/>
                  </a:lnTo>
                  <a:lnTo>
                    <a:pt x="895" y="271"/>
                  </a:lnTo>
                  <a:lnTo>
                    <a:pt x="901" y="288"/>
                  </a:lnTo>
                  <a:lnTo>
                    <a:pt x="906" y="308"/>
                  </a:lnTo>
                  <a:lnTo>
                    <a:pt x="910" y="327"/>
                  </a:lnTo>
                  <a:lnTo>
                    <a:pt x="911" y="348"/>
                  </a:lnTo>
                  <a:lnTo>
                    <a:pt x="913" y="389"/>
                  </a:lnTo>
                  <a:lnTo>
                    <a:pt x="913" y="389"/>
                  </a:lnTo>
                  <a:lnTo>
                    <a:pt x="913" y="414"/>
                  </a:lnTo>
                  <a:lnTo>
                    <a:pt x="911" y="437"/>
                  </a:lnTo>
                  <a:lnTo>
                    <a:pt x="908" y="460"/>
                  </a:lnTo>
                  <a:lnTo>
                    <a:pt x="902" y="481"/>
                  </a:lnTo>
                  <a:lnTo>
                    <a:pt x="897" y="504"/>
                  </a:lnTo>
                  <a:lnTo>
                    <a:pt x="888" y="525"/>
                  </a:lnTo>
                  <a:lnTo>
                    <a:pt x="879" y="547"/>
                  </a:lnTo>
                  <a:lnTo>
                    <a:pt x="869" y="566"/>
                  </a:lnTo>
                  <a:lnTo>
                    <a:pt x="869" y="566"/>
                  </a:lnTo>
                  <a:lnTo>
                    <a:pt x="858" y="586"/>
                  </a:lnTo>
                  <a:lnTo>
                    <a:pt x="844" y="607"/>
                  </a:lnTo>
                  <a:lnTo>
                    <a:pt x="828" y="628"/>
                  </a:lnTo>
                  <a:lnTo>
                    <a:pt x="810" y="651"/>
                  </a:lnTo>
                  <a:lnTo>
                    <a:pt x="789" y="672"/>
                  </a:lnTo>
                  <a:lnTo>
                    <a:pt x="766" y="695"/>
                  </a:lnTo>
                  <a:lnTo>
                    <a:pt x="741" y="718"/>
                  </a:lnTo>
                  <a:lnTo>
                    <a:pt x="713" y="741"/>
                  </a:lnTo>
                  <a:lnTo>
                    <a:pt x="713" y="741"/>
                  </a:lnTo>
                  <a:lnTo>
                    <a:pt x="669" y="780"/>
                  </a:lnTo>
                  <a:lnTo>
                    <a:pt x="634" y="814"/>
                  </a:lnTo>
                  <a:lnTo>
                    <a:pt x="634" y="814"/>
                  </a:lnTo>
                  <a:lnTo>
                    <a:pt x="619" y="830"/>
                  </a:lnTo>
                  <a:lnTo>
                    <a:pt x="609" y="844"/>
                  </a:lnTo>
                  <a:lnTo>
                    <a:pt x="600" y="856"/>
                  </a:lnTo>
                  <a:lnTo>
                    <a:pt x="593" y="869"/>
                  </a:lnTo>
                  <a:lnTo>
                    <a:pt x="593" y="869"/>
                  </a:lnTo>
                  <a:lnTo>
                    <a:pt x="589" y="881"/>
                  </a:lnTo>
                  <a:lnTo>
                    <a:pt x="584" y="899"/>
                  </a:lnTo>
                  <a:lnTo>
                    <a:pt x="580" y="918"/>
                  </a:lnTo>
                  <a:lnTo>
                    <a:pt x="579" y="941"/>
                  </a:lnTo>
                  <a:lnTo>
                    <a:pt x="573" y="998"/>
                  </a:lnTo>
                  <a:lnTo>
                    <a:pt x="573" y="1067"/>
                  </a:lnTo>
                  <a:lnTo>
                    <a:pt x="334" y="1067"/>
                  </a:lnTo>
                  <a:lnTo>
                    <a:pt x="334" y="1067"/>
                  </a:lnTo>
                  <a:lnTo>
                    <a:pt x="336" y="1017"/>
                  </a:lnTo>
                  <a:lnTo>
                    <a:pt x="338" y="970"/>
                  </a:lnTo>
                  <a:lnTo>
                    <a:pt x="342" y="927"/>
                  </a:lnTo>
                  <a:lnTo>
                    <a:pt x="345" y="888"/>
                  </a:lnTo>
                  <a:lnTo>
                    <a:pt x="345" y="888"/>
                  </a:lnTo>
                  <a:lnTo>
                    <a:pt x="350" y="855"/>
                  </a:lnTo>
                  <a:lnTo>
                    <a:pt x="357" y="823"/>
                  </a:lnTo>
                  <a:lnTo>
                    <a:pt x="366" y="796"/>
                  </a:lnTo>
                  <a:lnTo>
                    <a:pt x="377" y="773"/>
                  </a:lnTo>
                  <a:lnTo>
                    <a:pt x="377" y="773"/>
                  </a:lnTo>
                  <a:lnTo>
                    <a:pt x="388" y="752"/>
                  </a:lnTo>
                  <a:lnTo>
                    <a:pt x="402" y="731"/>
                  </a:lnTo>
                  <a:lnTo>
                    <a:pt x="416" y="708"/>
                  </a:lnTo>
                  <a:lnTo>
                    <a:pt x="434" y="686"/>
                  </a:lnTo>
                  <a:lnTo>
                    <a:pt x="455" y="665"/>
                  </a:lnTo>
                  <a:lnTo>
                    <a:pt x="476" y="642"/>
                  </a:lnTo>
                  <a:lnTo>
                    <a:pt x="499" y="621"/>
                  </a:lnTo>
                  <a:lnTo>
                    <a:pt x="526" y="598"/>
                  </a:lnTo>
                  <a:lnTo>
                    <a:pt x="526" y="598"/>
                  </a:lnTo>
                  <a:lnTo>
                    <a:pt x="568" y="561"/>
                  </a:lnTo>
                  <a:lnTo>
                    <a:pt x="600" y="531"/>
                  </a:lnTo>
                  <a:lnTo>
                    <a:pt x="600" y="531"/>
                  </a:lnTo>
                  <a:lnTo>
                    <a:pt x="623" y="504"/>
                  </a:lnTo>
                  <a:lnTo>
                    <a:pt x="641" y="481"/>
                  </a:lnTo>
                  <a:lnTo>
                    <a:pt x="641" y="481"/>
                  </a:lnTo>
                  <a:lnTo>
                    <a:pt x="651" y="460"/>
                  </a:lnTo>
                  <a:lnTo>
                    <a:pt x="655" y="451"/>
                  </a:lnTo>
                  <a:lnTo>
                    <a:pt x="657" y="441"/>
                  </a:lnTo>
                  <a:lnTo>
                    <a:pt x="657" y="441"/>
                  </a:lnTo>
                  <a:lnTo>
                    <a:pt x="660" y="421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380"/>
                  </a:lnTo>
                  <a:lnTo>
                    <a:pt x="657" y="361"/>
                  </a:lnTo>
                  <a:lnTo>
                    <a:pt x="653" y="341"/>
                  </a:lnTo>
                  <a:lnTo>
                    <a:pt x="646" y="324"/>
                  </a:lnTo>
                  <a:lnTo>
                    <a:pt x="646" y="324"/>
                  </a:lnTo>
                  <a:lnTo>
                    <a:pt x="637" y="308"/>
                  </a:lnTo>
                  <a:lnTo>
                    <a:pt x="628" y="292"/>
                  </a:lnTo>
                  <a:lnTo>
                    <a:pt x="618" y="278"/>
                  </a:lnTo>
                  <a:lnTo>
                    <a:pt x="605" y="264"/>
                  </a:lnTo>
                  <a:lnTo>
                    <a:pt x="605" y="264"/>
                  </a:lnTo>
                  <a:lnTo>
                    <a:pt x="591" y="253"/>
                  </a:lnTo>
                  <a:lnTo>
                    <a:pt x="577" y="242"/>
                  </a:lnTo>
                  <a:lnTo>
                    <a:pt x="561" y="232"/>
                  </a:lnTo>
                  <a:lnTo>
                    <a:pt x="543" y="225"/>
                  </a:lnTo>
                  <a:lnTo>
                    <a:pt x="543" y="225"/>
                  </a:lnTo>
                  <a:lnTo>
                    <a:pt x="524" y="218"/>
                  </a:lnTo>
                  <a:lnTo>
                    <a:pt x="504" y="214"/>
                  </a:lnTo>
                  <a:lnTo>
                    <a:pt x="485" y="210"/>
                  </a:lnTo>
                  <a:lnTo>
                    <a:pt x="462" y="210"/>
                  </a:lnTo>
                  <a:lnTo>
                    <a:pt x="462" y="210"/>
                  </a:lnTo>
                  <a:lnTo>
                    <a:pt x="441" y="210"/>
                  </a:lnTo>
                  <a:lnTo>
                    <a:pt x="421" y="214"/>
                  </a:lnTo>
                  <a:lnTo>
                    <a:pt x="402" y="219"/>
                  </a:lnTo>
                  <a:lnTo>
                    <a:pt x="384" y="225"/>
                  </a:lnTo>
                  <a:lnTo>
                    <a:pt x="368" y="233"/>
                  </a:lnTo>
                  <a:lnTo>
                    <a:pt x="352" y="244"/>
                  </a:lnTo>
                  <a:lnTo>
                    <a:pt x="336" y="256"/>
                  </a:lnTo>
                  <a:lnTo>
                    <a:pt x="324" y="271"/>
                  </a:lnTo>
                  <a:lnTo>
                    <a:pt x="311" y="287"/>
                  </a:lnTo>
                  <a:lnTo>
                    <a:pt x="299" y="304"/>
                  </a:lnTo>
                  <a:lnTo>
                    <a:pt x="288" y="324"/>
                  </a:lnTo>
                  <a:lnTo>
                    <a:pt x="280" y="347"/>
                  </a:lnTo>
                  <a:lnTo>
                    <a:pt x="271" y="370"/>
                  </a:lnTo>
                  <a:lnTo>
                    <a:pt x="264" y="394"/>
                  </a:lnTo>
                  <a:lnTo>
                    <a:pt x="258" y="423"/>
                  </a:lnTo>
                  <a:lnTo>
                    <a:pt x="253" y="451"/>
                  </a:lnTo>
                  <a:lnTo>
                    <a:pt x="0" y="451"/>
                  </a:lnTo>
                  <a:close/>
                  <a:moveTo>
                    <a:pt x="591" y="1382"/>
                  </a:moveTo>
                  <a:lnTo>
                    <a:pt x="327" y="1382"/>
                  </a:lnTo>
                  <a:lnTo>
                    <a:pt x="327" y="1122"/>
                  </a:lnTo>
                  <a:lnTo>
                    <a:pt x="591" y="1122"/>
                  </a:lnTo>
                  <a:lnTo>
                    <a:pt x="591" y="13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grpSp>
          <p:nvGrpSpPr>
            <p:cNvPr id="37" name="Group 125">
              <a:extLst>
                <a:ext uri="{FF2B5EF4-FFF2-40B4-BE49-F238E27FC236}">
                  <a16:creationId xmlns:a16="http://schemas.microsoft.com/office/drawing/2014/main" id="{796828A1-E0E6-4BB7-8CCC-E284C5796A93}"/>
                </a:ext>
              </a:extLst>
            </p:cNvPr>
            <p:cNvGrpSpPr/>
            <p:nvPr/>
          </p:nvGrpSpPr>
          <p:grpSpPr>
            <a:xfrm rot="172774">
              <a:off x="6561583" y="2339767"/>
              <a:ext cx="1256699" cy="1466431"/>
              <a:chOff x="407890" y="2222460"/>
              <a:chExt cx="1491036" cy="1739877"/>
            </a:xfrm>
            <a:grpFill/>
          </p:grpSpPr>
          <p:grpSp>
            <p:nvGrpSpPr>
              <p:cNvPr id="38" name="Group 126">
                <a:extLst>
                  <a:ext uri="{FF2B5EF4-FFF2-40B4-BE49-F238E27FC236}">
                    <a16:creationId xmlns:a16="http://schemas.microsoft.com/office/drawing/2014/main" id="{BF1E6DFF-D367-4793-ABC1-77C36E9DE96C}"/>
                  </a:ext>
                </a:extLst>
              </p:cNvPr>
              <p:cNvGrpSpPr/>
              <p:nvPr/>
            </p:nvGrpSpPr>
            <p:grpSpPr>
              <a:xfrm rot="20700000">
                <a:off x="407890" y="2400551"/>
                <a:ext cx="1491036" cy="1561786"/>
                <a:chOff x="661400" y="2329802"/>
                <a:chExt cx="1491036" cy="1561786"/>
              </a:xfrm>
              <a:grpFill/>
            </p:grpSpPr>
            <p:sp>
              <p:nvSpPr>
                <p:cNvPr id="40" name="Freeform 45">
                  <a:extLst>
                    <a:ext uri="{FF2B5EF4-FFF2-40B4-BE49-F238E27FC236}">
                      <a16:creationId xmlns:a16="http://schemas.microsoft.com/office/drawing/2014/main" id="{3073C9B3-06BF-46F0-B6E7-C53CD0A6B8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660000">
                  <a:off x="831943" y="2329802"/>
                  <a:ext cx="1320493" cy="1272847"/>
                </a:xfrm>
                <a:custGeom>
                  <a:avLst/>
                  <a:gdLst>
                    <a:gd name="T0" fmla="*/ 0 w 2326"/>
                    <a:gd name="T1" fmla="*/ 2223 h 2244"/>
                    <a:gd name="T2" fmla="*/ 1036 w 2326"/>
                    <a:gd name="T3" fmla="*/ 14 h 2244"/>
                    <a:gd name="T4" fmla="*/ 1042 w 2326"/>
                    <a:gd name="T5" fmla="*/ 0 h 2244"/>
                    <a:gd name="T6" fmla="*/ 1059 w 2326"/>
                    <a:gd name="T7" fmla="*/ 0 h 2244"/>
                    <a:gd name="T8" fmla="*/ 1305 w 2326"/>
                    <a:gd name="T9" fmla="*/ 13 h 2244"/>
                    <a:gd name="T10" fmla="*/ 1320 w 2326"/>
                    <a:gd name="T11" fmla="*/ 13 h 2244"/>
                    <a:gd name="T12" fmla="*/ 1327 w 2326"/>
                    <a:gd name="T13" fmla="*/ 27 h 2244"/>
                    <a:gd name="T14" fmla="*/ 2326 w 2326"/>
                    <a:gd name="T15" fmla="*/ 2211 h 2244"/>
                    <a:gd name="T16" fmla="*/ 2282 w 2326"/>
                    <a:gd name="T17" fmla="*/ 2231 h 2244"/>
                    <a:gd name="T18" fmla="*/ 1288 w 2326"/>
                    <a:gd name="T19" fmla="*/ 61 h 2244"/>
                    <a:gd name="T20" fmla="*/ 1074 w 2326"/>
                    <a:gd name="T21" fmla="*/ 50 h 2244"/>
                    <a:gd name="T22" fmla="*/ 44 w 2326"/>
                    <a:gd name="T23" fmla="*/ 2244 h 2244"/>
                    <a:gd name="T24" fmla="*/ 0 w 2326"/>
                    <a:gd name="T25" fmla="*/ 2223 h 2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326" h="2244">
                      <a:moveTo>
                        <a:pt x="0" y="2223"/>
                      </a:moveTo>
                      <a:lnTo>
                        <a:pt x="1036" y="14"/>
                      </a:lnTo>
                      <a:lnTo>
                        <a:pt x="1042" y="0"/>
                      </a:lnTo>
                      <a:lnTo>
                        <a:pt x="1059" y="0"/>
                      </a:lnTo>
                      <a:lnTo>
                        <a:pt x="1305" y="13"/>
                      </a:lnTo>
                      <a:lnTo>
                        <a:pt x="1320" y="13"/>
                      </a:lnTo>
                      <a:lnTo>
                        <a:pt x="1327" y="27"/>
                      </a:lnTo>
                      <a:lnTo>
                        <a:pt x="2326" y="2211"/>
                      </a:lnTo>
                      <a:lnTo>
                        <a:pt x="2282" y="2231"/>
                      </a:lnTo>
                      <a:lnTo>
                        <a:pt x="1288" y="61"/>
                      </a:lnTo>
                      <a:lnTo>
                        <a:pt x="1074" y="50"/>
                      </a:lnTo>
                      <a:lnTo>
                        <a:pt x="44" y="2244"/>
                      </a:lnTo>
                      <a:lnTo>
                        <a:pt x="0" y="22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Freeform 50">
                  <a:extLst>
                    <a:ext uri="{FF2B5EF4-FFF2-40B4-BE49-F238E27FC236}">
                      <a16:creationId xmlns:a16="http://schemas.microsoft.com/office/drawing/2014/main" id="{8E73988D-E045-4378-BEA7-B8799806B4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660000">
                  <a:off x="674317" y="3589825"/>
                  <a:ext cx="1304612" cy="301763"/>
                </a:xfrm>
                <a:custGeom>
                  <a:avLst/>
                  <a:gdLst>
                    <a:gd name="T0" fmla="*/ 144 w 2300"/>
                    <a:gd name="T1" fmla="*/ 0 h 530"/>
                    <a:gd name="T2" fmla="*/ 430 w 2300"/>
                    <a:gd name="T3" fmla="*/ 0 h 530"/>
                    <a:gd name="T4" fmla="*/ 718 w 2300"/>
                    <a:gd name="T5" fmla="*/ 0 h 530"/>
                    <a:gd name="T6" fmla="*/ 1006 w 2300"/>
                    <a:gd name="T7" fmla="*/ 0 h 530"/>
                    <a:gd name="T8" fmla="*/ 1294 w 2300"/>
                    <a:gd name="T9" fmla="*/ 0 h 530"/>
                    <a:gd name="T10" fmla="*/ 1581 w 2300"/>
                    <a:gd name="T11" fmla="*/ 0 h 530"/>
                    <a:gd name="T12" fmla="*/ 1869 w 2300"/>
                    <a:gd name="T13" fmla="*/ 0 h 530"/>
                    <a:gd name="T14" fmla="*/ 2157 w 2300"/>
                    <a:gd name="T15" fmla="*/ 0 h 530"/>
                    <a:gd name="T16" fmla="*/ 2300 w 2300"/>
                    <a:gd name="T17" fmla="*/ 17 h 530"/>
                    <a:gd name="T18" fmla="*/ 2292 w 2300"/>
                    <a:gd name="T19" fmla="*/ 55 h 530"/>
                    <a:gd name="T20" fmla="*/ 2274 w 2300"/>
                    <a:gd name="T21" fmla="*/ 96 h 530"/>
                    <a:gd name="T22" fmla="*/ 2246 w 2300"/>
                    <a:gd name="T23" fmla="*/ 140 h 530"/>
                    <a:gd name="T24" fmla="*/ 2207 w 2300"/>
                    <a:gd name="T25" fmla="*/ 184 h 530"/>
                    <a:gd name="T26" fmla="*/ 2158 w 2300"/>
                    <a:gd name="T27" fmla="*/ 229 h 530"/>
                    <a:gd name="T28" fmla="*/ 2099 w 2300"/>
                    <a:gd name="T29" fmla="*/ 274 h 530"/>
                    <a:gd name="T30" fmla="*/ 2028 w 2300"/>
                    <a:gd name="T31" fmla="*/ 317 h 530"/>
                    <a:gd name="T32" fmla="*/ 1948 w 2300"/>
                    <a:gd name="T33" fmla="*/ 359 h 530"/>
                    <a:gd name="T34" fmla="*/ 1858 w 2300"/>
                    <a:gd name="T35" fmla="*/ 398 h 530"/>
                    <a:gd name="T36" fmla="*/ 1759 w 2300"/>
                    <a:gd name="T37" fmla="*/ 433 h 530"/>
                    <a:gd name="T38" fmla="*/ 1648 w 2300"/>
                    <a:gd name="T39" fmla="*/ 464 h 530"/>
                    <a:gd name="T40" fmla="*/ 1528 w 2300"/>
                    <a:gd name="T41" fmla="*/ 490 h 530"/>
                    <a:gd name="T42" fmla="*/ 1398 w 2300"/>
                    <a:gd name="T43" fmla="*/ 511 h 530"/>
                    <a:gd name="T44" fmla="*/ 1258 w 2300"/>
                    <a:gd name="T45" fmla="*/ 525 h 530"/>
                    <a:gd name="T46" fmla="*/ 1108 w 2300"/>
                    <a:gd name="T47" fmla="*/ 530 h 530"/>
                    <a:gd name="T48" fmla="*/ 952 w 2300"/>
                    <a:gd name="T49" fmla="*/ 528 h 530"/>
                    <a:gd name="T50" fmla="*/ 807 w 2300"/>
                    <a:gd name="T51" fmla="*/ 518 h 530"/>
                    <a:gd name="T52" fmla="*/ 677 w 2300"/>
                    <a:gd name="T53" fmla="*/ 502 h 530"/>
                    <a:gd name="T54" fmla="*/ 561 w 2300"/>
                    <a:gd name="T55" fmla="*/ 481 h 530"/>
                    <a:gd name="T56" fmla="*/ 459 w 2300"/>
                    <a:gd name="T57" fmla="*/ 454 h 530"/>
                    <a:gd name="T58" fmla="*/ 368 w 2300"/>
                    <a:gd name="T59" fmla="*/ 421 h 530"/>
                    <a:gd name="T60" fmla="*/ 290 w 2300"/>
                    <a:gd name="T61" fmla="*/ 385 h 530"/>
                    <a:gd name="T62" fmla="*/ 221 w 2300"/>
                    <a:gd name="T63" fmla="*/ 347 h 530"/>
                    <a:gd name="T64" fmla="*/ 165 w 2300"/>
                    <a:gd name="T65" fmla="*/ 306 h 530"/>
                    <a:gd name="T66" fmla="*/ 118 w 2300"/>
                    <a:gd name="T67" fmla="*/ 264 h 530"/>
                    <a:gd name="T68" fmla="*/ 80 w 2300"/>
                    <a:gd name="T69" fmla="*/ 221 h 530"/>
                    <a:gd name="T70" fmla="*/ 49 w 2300"/>
                    <a:gd name="T71" fmla="*/ 177 h 530"/>
                    <a:gd name="T72" fmla="*/ 27 w 2300"/>
                    <a:gd name="T73" fmla="*/ 134 h 530"/>
                    <a:gd name="T74" fmla="*/ 11 w 2300"/>
                    <a:gd name="T75" fmla="*/ 93 h 530"/>
                    <a:gd name="T76" fmla="*/ 3 w 2300"/>
                    <a:gd name="T77" fmla="*/ 54 h 530"/>
                    <a:gd name="T78" fmla="*/ 0 w 2300"/>
                    <a:gd name="T79" fmla="*/ 17 h 5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300" h="530">
                      <a:moveTo>
                        <a:pt x="0" y="0"/>
                      </a:moveTo>
                      <a:lnTo>
                        <a:pt x="144" y="0"/>
                      </a:lnTo>
                      <a:lnTo>
                        <a:pt x="287" y="0"/>
                      </a:lnTo>
                      <a:lnTo>
                        <a:pt x="430" y="0"/>
                      </a:lnTo>
                      <a:lnTo>
                        <a:pt x="574" y="0"/>
                      </a:lnTo>
                      <a:lnTo>
                        <a:pt x="718" y="0"/>
                      </a:lnTo>
                      <a:lnTo>
                        <a:pt x="862" y="0"/>
                      </a:lnTo>
                      <a:lnTo>
                        <a:pt x="1006" y="0"/>
                      </a:lnTo>
                      <a:lnTo>
                        <a:pt x="1150" y="0"/>
                      </a:lnTo>
                      <a:lnTo>
                        <a:pt x="1294" y="0"/>
                      </a:lnTo>
                      <a:lnTo>
                        <a:pt x="1437" y="0"/>
                      </a:lnTo>
                      <a:lnTo>
                        <a:pt x="1581" y="0"/>
                      </a:lnTo>
                      <a:lnTo>
                        <a:pt x="1725" y="0"/>
                      </a:lnTo>
                      <a:lnTo>
                        <a:pt x="1869" y="0"/>
                      </a:lnTo>
                      <a:lnTo>
                        <a:pt x="2013" y="0"/>
                      </a:lnTo>
                      <a:lnTo>
                        <a:pt x="2157" y="0"/>
                      </a:lnTo>
                      <a:lnTo>
                        <a:pt x="2300" y="0"/>
                      </a:lnTo>
                      <a:lnTo>
                        <a:pt x="2300" y="17"/>
                      </a:lnTo>
                      <a:lnTo>
                        <a:pt x="2298" y="36"/>
                      </a:lnTo>
                      <a:lnTo>
                        <a:pt x="2292" y="55"/>
                      </a:lnTo>
                      <a:lnTo>
                        <a:pt x="2285" y="76"/>
                      </a:lnTo>
                      <a:lnTo>
                        <a:pt x="2274" y="96"/>
                      </a:lnTo>
                      <a:lnTo>
                        <a:pt x="2261" y="118"/>
                      </a:lnTo>
                      <a:lnTo>
                        <a:pt x="2246" y="140"/>
                      </a:lnTo>
                      <a:lnTo>
                        <a:pt x="2227" y="161"/>
                      </a:lnTo>
                      <a:lnTo>
                        <a:pt x="2207" y="184"/>
                      </a:lnTo>
                      <a:lnTo>
                        <a:pt x="2184" y="207"/>
                      </a:lnTo>
                      <a:lnTo>
                        <a:pt x="2158" y="229"/>
                      </a:lnTo>
                      <a:lnTo>
                        <a:pt x="2129" y="251"/>
                      </a:lnTo>
                      <a:lnTo>
                        <a:pt x="2099" y="274"/>
                      </a:lnTo>
                      <a:lnTo>
                        <a:pt x="2065" y="295"/>
                      </a:lnTo>
                      <a:lnTo>
                        <a:pt x="2028" y="317"/>
                      </a:lnTo>
                      <a:lnTo>
                        <a:pt x="1990" y="339"/>
                      </a:lnTo>
                      <a:lnTo>
                        <a:pt x="1948" y="359"/>
                      </a:lnTo>
                      <a:lnTo>
                        <a:pt x="1905" y="379"/>
                      </a:lnTo>
                      <a:lnTo>
                        <a:pt x="1858" y="398"/>
                      </a:lnTo>
                      <a:lnTo>
                        <a:pt x="1809" y="417"/>
                      </a:lnTo>
                      <a:lnTo>
                        <a:pt x="1759" y="433"/>
                      </a:lnTo>
                      <a:lnTo>
                        <a:pt x="1704" y="449"/>
                      </a:lnTo>
                      <a:lnTo>
                        <a:pt x="1648" y="464"/>
                      </a:lnTo>
                      <a:lnTo>
                        <a:pt x="1590" y="478"/>
                      </a:lnTo>
                      <a:lnTo>
                        <a:pt x="1528" y="490"/>
                      </a:lnTo>
                      <a:lnTo>
                        <a:pt x="1464" y="501"/>
                      </a:lnTo>
                      <a:lnTo>
                        <a:pt x="1398" y="511"/>
                      </a:lnTo>
                      <a:lnTo>
                        <a:pt x="1329" y="518"/>
                      </a:lnTo>
                      <a:lnTo>
                        <a:pt x="1258" y="525"/>
                      </a:lnTo>
                      <a:lnTo>
                        <a:pt x="1185" y="528"/>
                      </a:lnTo>
                      <a:lnTo>
                        <a:pt x="1108" y="530"/>
                      </a:lnTo>
                      <a:lnTo>
                        <a:pt x="1030" y="530"/>
                      </a:lnTo>
                      <a:lnTo>
                        <a:pt x="952" y="528"/>
                      </a:lnTo>
                      <a:lnTo>
                        <a:pt x="877" y="524"/>
                      </a:lnTo>
                      <a:lnTo>
                        <a:pt x="807" y="518"/>
                      </a:lnTo>
                      <a:lnTo>
                        <a:pt x="740" y="511"/>
                      </a:lnTo>
                      <a:lnTo>
                        <a:pt x="677" y="502"/>
                      </a:lnTo>
                      <a:lnTo>
                        <a:pt x="618" y="493"/>
                      </a:lnTo>
                      <a:lnTo>
                        <a:pt x="561" y="481"/>
                      </a:lnTo>
                      <a:lnTo>
                        <a:pt x="508" y="468"/>
                      </a:lnTo>
                      <a:lnTo>
                        <a:pt x="459" y="454"/>
                      </a:lnTo>
                      <a:lnTo>
                        <a:pt x="412" y="437"/>
                      </a:lnTo>
                      <a:lnTo>
                        <a:pt x="368" y="421"/>
                      </a:lnTo>
                      <a:lnTo>
                        <a:pt x="328" y="404"/>
                      </a:lnTo>
                      <a:lnTo>
                        <a:pt x="290" y="385"/>
                      </a:lnTo>
                      <a:lnTo>
                        <a:pt x="254" y="367"/>
                      </a:lnTo>
                      <a:lnTo>
                        <a:pt x="221" y="347"/>
                      </a:lnTo>
                      <a:lnTo>
                        <a:pt x="192" y="327"/>
                      </a:lnTo>
                      <a:lnTo>
                        <a:pt x="165" y="306"/>
                      </a:lnTo>
                      <a:lnTo>
                        <a:pt x="140" y="286"/>
                      </a:lnTo>
                      <a:lnTo>
                        <a:pt x="118" y="264"/>
                      </a:lnTo>
                      <a:lnTo>
                        <a:pt x="97" y="242"/>
                      </a:lnTo>
                      <a:lnTo>
                        <a:pt x="80" y="221"/>
                      </a:lnTo>
                      <a:lnTo>
                        <a:pt x="63" y="199"/>
                      </a:lnTo>
                      <a:lnTo>
                        <a:pt x="49" y="177"/>
                      </a:lnTo>
                      <a:lnTo>
                        <a:pt x="37" y="156"/>
                      </a:lnTo>
                      <a:lnTo>
                        <a:pt x="27" y="134"/>
                      </a:lnTo>
                      <a:lnTo>
                        <a:pt x="19" y="114"/>
                      </a:lnTo>
                      <a:lnTo>
                        <a:pt x="11" y="93"/>
                      </a:lnTo>
                      <a:lnTo>
                        <a:pt x="6" y="74"/>
                      </a:lnTo>
                      <a:lnTo>
                        <a:pt x="3" y="54"/>
                      </a:lnTo>
                      <a:lnTo>
                        <a:pt x="1" y="35"/>
                      </a:lnTo>
                      <a:lnTo>
                        <a:pt x="0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Freeform 51">
                  <a:extLst>
                    <a:ext uri="{FF2B5EF4-FFF2-40B4-BE49-F238E27FC236}">
                      <a16:creationId xmlns:a16="http://schemas.microsoft.com/office/drawing/2014/main" id="{FFB668FC-7BA5-40A4-A7DA-D7B7C75A15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660000">
                  <a:off x="661400" y="3564413"/>
                  <a:ext cx="1379485" cy="40840"/>
                </a:xfrm>
                <a:custGeom>
                  <a:avLst/>
                  <a:gdLst>
                    <a:gd name="T0" fmla="*/ 37 w 2430"/>
                    <a:gd name="T1" fmla="*/ 0 h 75"/>
                    <a:gd name="T2" fmla="*/ 2392 w 2430"/>
                    <a:gd name="T3" fmla="*/ 0 h 75"/>
                    <a:gd name="T4" fmla="*/ 2400 w 2430"/>
                    <a:gd name="T5" fmla="*/ 1 h 75"/>
                    <a:gd name="T6" fmla="*/ 2407 w 2430"/>
                    <a:gd name="T7" fmla="*/ 3 h 75"/>
                    <a:gd name="T8" fmla="*/ 2414 w 2430"/>
                    <a:gd name="T9" fmla="*/ 7 h 75"/>
                    <a:gd name="T10" fmla="*/ 2419 w 2430"/>
                    <a:gd name="T11" fmla="*/ 11 h 75"/>
                    <a:gd name="T12" fmla="*/ 2424 w 2430"/>
                    <a:gd name="T13" fmla="*/ 17 h 75"/>
                    <a:gd name="T14" fmla="*/ 2427 w 2430"/>
                    <a:gd name="T15" fmla="*/ 23 h 75"/>
                    <a:gd name="T16" fmla="*/ 2429 w 2430"/>
                    <a:gd name="T17" fmla="*/ 30 h 75"/>
                    <a:gd name="T18" fmla="*/ 2430 w 2430"/>
                    <a:gd name="T19" fmla="*/ 38 h 75"/>
                    <a:gd name="T20" fmla="*/ 2430 w 2430"/>
                    <a:gd name="T21" fmla="*/ 38 h 75"/>
                    <a:gd name="T22" fmla="*/ 2429 w 2430"/>
                    <a:gd name="T23" fmla="*/ 45 h 75"/>
                    <a:gd name="T24" fmla="*/ 2427 w 2430"/>
                    <a:gd name="T25" fmla="*/ 52 h 75"/>
                    <a:gd name="T26" fmla="*/ 2424 w 2430"/>
                    <a:gd name="T27" fmla="*/ 59 h 75"/>
                    <a:gd name="T28" fmla="*/ 2419 w 2430"/>
                    <a:gd name="T29" fmla="*/ 64 h 75"/>
                    <a:gd name="T30" fmla="*/ 2414 w 2430"/>
                    <a:gd name="T31" fmla="*/ 68 h 75"/>
                    <a:gd name="T32" fmla="*/ 2407 w 2430"/>
                    <a:gd name="T33" fmla="*/ 72 h 75"/>
                    <a:gd name="T34" fmla="*/ 2400 w 2430"/>
                    <a:gd name="T35" fmla="*/ 74 h 75"/>
                    <a:gd name="T36" fmla="*/ 2392 w 2430"/>
                    <a:gd name="T37" fmla="*/ 75 h 75"/>
                    <a:gd name="T38" fmla="*/ 37 w 2430"/>
                    <a:gd name="T39" fmla="*/ 75 h 75"/>
                    <a:gd name="T40" fmla="*/ 29 w 2430"/>
                    <a:gd name="T41" fmla="*/ 74 h 75"/>
                    <a:gd name="T42" fmla="*/ 22 w 2430"/>
                    <a:gd name="T43" fmla="*/ 72 h 75"/>
                    <a:gd name="T44" fmla="*/ 16 w 2430"/>
                    <a:gd name="T45" fmla="*/ 68 h 75"/>
                    <a:gd name="T46" fmla="*/ 11 w 2430"/>
                    <a:gd name="T47" fmla="*/ 64 h 75"/>
                    <a:gd name="T48" fmla="*/ 5 w 2430"/>
                    <a:gd name="T49" fmla="*/ 59 h 75"/>
                    <a:gd name="T50" fmla="*/ 2 w 2430"/>
                    <a:gd name="T51" fmla="*/ 52 h 75"/>
                    <a:gd name="T52" fmla="*/ 0 w 2430"/>
                    <a:gd name="T53" fmla="*/ 45 h 75"/>
                    <a:gd name="T54" fmla="*/ 0 w 2430"/>
                    <a:gd name="T55" fmla="*/ 38 h 75"/>
                    <a:gd name="T56" fmla="*/ 0 w 2430"/>
                    <a:gd name="T57" fmla="*/ 38 h 75"/>
                    <a:gd name="T58" fmla="*/ 0 w 2430"/>
                    <a:gd name="T59" fmla="*/ 30 h 75"/>
                    <a:gd name="T60" fmla="*/ 2 w 2430"/>
                    <a:gd name="T61" fmla="*/ 23 h 75"/>
                    <a:gd name="T62" fmla="*/ 5 w 2430"/>
                    <a:gd name="T63" fmla="*/ 17 h 75"/>
                    <a:gd name="T64" fmla="*/ 11 w 2430"/>
                    <a:gd name="T65" fmla="*/ 11 h 75"/>
                    <a:gd name="T66" fmla="*/ 16 w 2430"/>
                    <a:gd name="T67" fmla="*/ 7 h 75"/>
                    <a:gd name="T68" fmla="*/ 22 w 2430"/>
                    <a:gd name="T69" fmla="*/ 3 h 75"/>
                    <a:gd name="T70" fmla="*/ 29 w 2430"/>
                    <a:gd name="T71" fmla="*/ 1 h 75"/>
                    <a:gd name="T72" fmla="*/ 37 w 2430"/>
                    <a:gd name="T73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430" h="75">
                      <a:moveTo>
                        <a:pt x="37" y="0"/>
                      </a:moveTo>
                      <a:lnTo>
                        <a:pt x="2392" y="0"/>
                      </a:lnTo>
                      <a:lnTo>
                        <a:pt x="2400" y="1"/>
                      </a:lnTo>
                      <a:lnTo>
                        <a:pt x="2407" y="3"/>
                      </a:lnTo>
                      <a:lnTo>
                        <a:pt x="2414" y="7"/>
                      </a:lnTo>
                      <a:lnTo>
                        <a:pt x="2419" y="11"/>
                      </a:lnTo>
                      <a:lnTo>
                        <a:pt x="2424" y="17"/>
                      </a:lnTo>
                      <a:lnTo>
                        <a:pt x="2427" y="23"/>
                      </a:lnTo>
                      <a:lnTo>
                        <a:pt x="2429" y="30"/>
                      </a:lnTo>
                      <a:lnTo>
                        <a:pt x="2430" y="38"/>
                      </a:lnTo>
                      <a:lnTo>
                        <a:pt x="2430" y="38"/>
                      </a:lnTo>
                      <a:lnTo>
                        <a:pt x="2429" y="45"/>
                      </a:lnTo>
                      <a:lnTo>
                        <a:pt x="2427" y="52"/>
                      </a:lnTo>
                      <a:lnTo>
                        <a:pt x="2424" y="59"/>
                      </a:lnTo>
                      <a:lnTo>
                        <a:pt x="2419" y="64"/>
                      </a:lnTo>
                      <a:lnTo>
                        <a:pt x="2414" y="68"/>
                      </a:lnTo>
                      <a:lnTo>
                        <a:pt x="2407" y="72"/>
                      </a:lnTo>
                      <a:lnTo>
                        <a:pt x="2400" y="74"/>
                      </a:lnTo>
                      <a:lnTo>
                        <a:pt x="2392" y="75"/>
                      </a:lnTo>
                      <a:lnTo>
                        <a:pt x="37" y="75"/>
                      </a:lnTo>
                      <a:lnTo>
                        <a:pt x="29" y="74"/>
                      </a:lnTo>
                      <a:lnTo>
                        <a:pt x="22" y="72"/>
                      </a:lnTo>
                      <a:lnTo>
                        <a:pt x="16" y="68"/>
                      </a:lnTo>
                      <a:lnTo>
                        <a:pt x="11" y="64"/>
                      </a:lnTo>
                      <a:lnTo>
                        <a:pt x="5" y="59"/>
                      </a:lnTo>
                      <a:lnTo>
                        <a:pt x="2" y="52"/>
                      </a:lnTo>
                      <a:lnTo>
                        <a:pt x="0" y="45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0" y="30"/>
                      </a:lnTo>
                      <a:lnTo>
                        <a:pt x="2" y="23"/>
                      </a:lnTo>
                      <a:lnTo>
                        <a:pt x="5" y="17"/>
                      </a:lnTo>
                      <a:lnTo>
                        <a:pt x="11" y="11"/>
                      </a:lnTo>
                      <a:lnTo>
                        <a:pt x="16" y="7"/>
                      </a:lnTo>
                      <a:lnTo>
                        <a:pt x="22" y="3"/>
                      </a:lnTo>
                      <a:lnTo>
                        <a:pt x="29" y="1"/>
                      </a:lnTo>
                      <a:lnTo>
                        <a:pt x="3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9" name="Freeform 47">
                <a:extLst>
                  <a:ext uri="{FF2B5EF4-FFF2-40B4-BE49-F238E27FC236}">
                    <a16:creationId xmlns:a16="http://schemas.microsoft.com/office/drawing/2014/main" id="{A7DF22C5-52ED-470D-AC43-C3C2399FE3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4221" y="2222460"/>
                <a:ext cx="138376" cy="137401"/>
              </a:xfrm>
              <a:custGeom>
                <a:avLst/>
                <a:gdLst>
                  <a:gd name="T0" fmla="*/ 312 w 567"/>
                  <a:gd name="T1" fmla="*/ 1 h 567"/>
                  <a:gd name="T2" fmla="*/ 354 w 567"/>
                  <a:gd name="T3" fmla="*/ 8 h 567"/>
                  <a:gd name="T4" fmla="*/ 394 w 567"/>
                  <a:gd name="T5" fmla="*/ 22 h 567"/>
                  <a:gd name="T6" fmla="*/ 431 w 567"/>
                  <a:gd name="T7" fmla="*/ 41 h 567"/>
                  <a:gd name="T8" fmla="*/ 463 w 567"/>
                  <a:gd name="T9" fmla="*/ 65 h 567"/>
                  <a:gd name="T10" fmla="*/ 494 w 567"/>
                  <a:gd name="T11" fmla="*/ 93 h 567"/>
                  <a:gd name="T12" fmla="*/ 519 w 567"/>
                  <a:gd name="T13" fmla="*/ 125 h 567"/>
                  <a:gd name="T14" fmla="*/ 539 w 567"/>
                  <a:gd name="T15" fmla="*/ 161 h 567"/>
                  <a:gd name="T16" fmla="*/ 554 w 567"/>
                  <a:gd name="T17" fmla="*/ 199 h 567"/>
                  <a:gd name="T18" fmla="*/ 564 w 567"/>
                  <a:gd name="T19" fmla="*/ 240 h 567"/>
                  <a:gd name="T20" fmla="*/ 567 w 567"/>
                  <a:gd name="T21" fmla="*/ 283 h 567"/>
                  <a:gd name="T22" fmla="*/ 564 w 567"/>
                  <a:gd name="T23" fmla="*/ 327 h 567"/>
                  <a:gd name="T24" fmla="*/ 554 w 567"/>
                  <a:gd name="T25" fmla="*/ 368 h 567"/>
                  <a:gd name="T26" fmla="*/ 539 w 567"/>
                  <a:gd name="T27" fmla="*/ 407 h 567"/>
                  <a:gd name="T28" fmla="*/ 519 w 567"/>
                  <a:gd name="T29" fmla="*/ 442 h 567"/>
                  <a:gd name="T30" fmla="*/ 494 w 567"/>
                  <a:gd name="T31" fmla="*/ 474 h 567"/>
                  <a:gd name="T32" fmla="*/ 463 w 567"/>
                  <a:gd name="T33" fmla="*/ 502 h 567"/>
                  <a:gd name="T34" fmla="*/ 431 w 567"/>
                  <a:gd name="T35" fmla="*/ 526 h 567"/>
                  <a:gd name="T36" fmla="*/ 394 w 567"/>
                  <a:gd name="T37" fmla="*/ 545 h 567"/>
                  <a:gd name="T38" fmla="*/ 354 w 567"/>
                  <a:gd name="T39" fmla="*/ 558 h 567"/>
                  <a:gd name="T40" fmla="*/ 312 w 567"/>
                  <a:gd name="T41" fmla="*/ 566 h 567"/>
                  <a:gd name="T42" fmla="*/ 269 w 567"/>
                  <a:gd name="T43" fmla="*/ 567 h 567"/>
                  <a:gd name="T44" fmla="*/ 226 w 567"/>
                  <a:gd name="T45" fmla="*/ 561 h 567"/>
                  <a:gd name="T46" fmla="*/ 186 w 567"/>
                  <a:gd name="T47" fmla="*/ 550 h 567"/>
                  <a:gd name="T48" fmla="*/ 148 w 567"/>
                  <a:gd name="T49" fmla="*/ 533 h 567"/>
                  <a:gd name="T50" fmla="*/ 114 w 567"/>
                  <a:gd name="T51" fmla="*/ 511 h 567"/>
                  <a:gd name="T52" fmla="*/ 82 w 567"/>
                  <a:gd name="T53" fmla="*/ 485 h 567"/>
                  <a:gd name="T54" fmla="*/ 56 w 567"/>
                  <a:gd name="T55" fmla="*/ 453 h 567"/>
                  <a:gd name="T56" fmla="*/ 34 w 567"/>
                  <a:gd name="T57" fmla="*/ 419 h 567"/>
                  <a:gd name="T58" fmla="*/ 16 w 567"/>
                  <a:gd name="T59" fmla="*/ 381 h 567"/>
                  <a:gd name="T60" fmla="*/ 6 w 567"/>
                  <a:gd name="T61" fmla="*/ 341 h 567"/>
                  <a:gd name="T62" fmla="*/ 0 w 567"/>
                  <a:gd name="T63" fmla="*/ 298 h 567"/>
                  <a:gd name="T64" fmla="*/ 1 w 567"/>
                  <a:gd name="T65" fmla="*/ 254 h 567"/>
                  <a:gd name="T66" fmla="*/ 9 w 567"/>
                  <a:gd name="T67" fmla="*/ 213 h 567"/>
                  <a:gd name="T68" fmla="*/ 22 w 567"/>
                  <a:gd name="T69" fmla="*/ 173 h 567"/>
                  <a:gd name="T70" fmla="*/ 40 w 567"/>
                  <a:gd name="T71" fmla="*/ 136 h 567"/>
                  <a:gd name="T72" fmla="*/ 64 w 567"/>
                  <a:gd name="T73" fmla="*/ 102 h 567"/>
                  <a:gd name="T74" fmla="*/ 92 w 567"/>
                  <a:gd name="T75" fmla="*/ 73 h 567"/>
                  <a:gd name="T76" fmla="*/ 125 w 567"/>
                  <a:gd name="T77" fmla="*/ 48 h 567"/>
                  <a:gd name="T78" fmla="*/ 160 w 567"/>
                  <a:gd name="T79" fmla="*/ 28 h 567"/>
                  <a:gd name="T80" fmla="*/ 199 w 567"/>
                  <a:gd name="T81" fmla="*/ 13 h 567"/>
                  <a:gd name="T82" fmla="*/ 240 w 567"/>
                  <a:gd name="T83" fmla="*/ 3 h 567"/>
                  <a:gd name="T84" fmla="*/ 284 w 567"/>
                  <a:gd name="T85" fmla="*/ 0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67" h="567">
                    <a:moveTo>
                      <a:pt x="284" y="0"/>
                    </a:moveTo>
                    <a:lnTo>
                      <a:pt x="298" y="0"/>
                    </a:lnTo>
                    <a:lnTo>
                      <a:pt x="312" y="1"/>
                    </a:lnTo>
                    <a:lnTo>
                      <a:pt x="327" y="3"/>
                    </a:lnTo>
                    <a:lnTo>
                      <a:pt x="340" y="5"/>
                    </a:lnTo>
                    <a:lnTo>
                      <a:pt x="354" y="8"/>
                    </a:lnTo>
                    <a:lnTo>
                      <a:pt x="368" y="13"/>
                    </a:lnTo>
                    <a:lnTo>
                      <a:pt x="381" y="17"/>
                    </a:lnTo>
                    <a:lnTo>
                      <a:pt x="394" y="22"/>
                    </a:lnTo>
                    <a:lnTo>
                      <a:pt x="406" y="28"/>
                    </a:lnTo>
                    <a:lnTo>
                      <a:pt x="419" y="34"/>
                    </a:lnTo>
                    <a:lnTo>
                      <a:pt x="431" y="41"/>
                    </a:lnTo>
                    <a:lnTo>
                      <a:pt x="442" y="48"/>
                    </a:lnTo>
                    <a:lnTo>
                      <a:pt x="453" y="56"/>
                    </a:lnTo>
                    <a:lnTo>
                      <a:pt x="463" y="65"/>
                    </a:lnTo>
                    <a:lnTo>
                      <a:pt x="474" y="73"/>
                    </a:lnTo>
                    <a:lnTo>
                      <a:pt x="484" y="83"/>
                    </a:lnTo>
                    <a:lnTo>
                      <a:pt x="494" y="93"/>
                    </a:lnTo>
                    <a:lnTo>
                      <a:pt x="502" y="102"/>
                    </a:lnTo>
                    <a:lnTo>
                      <a:pt x="511" y="113"/>
                    </a:lnTo>
                    <a:lnTo>
                      <a:pt x="519" y="125"/>
                    </a:lnTo>
                    <a:lnTo>
                      <a:pt x="526" y="136"/>
                    </a:lnTo>
                    <a:lnTo>
                      <a:pt x="533" y="148"/>
                    </a:lnTo>
                    <a:lnTo>
                      <a:pt x="539" y="161"/>
                    </a:lnTo>
                    <a:lnTo>
                      <a:pt x="545" y="173"/>
                    </a:lnTo>
                    <a:lnTo>
                      <a:pt x="550" y="186"/>
                    </a:lnTo>
                    <a:lnTo>
                      <a:pt x="554" y="199"/>
                    </a:lnTo>
                    <a:lnTo>
                      <a:pt x="558" y="213"/>
                    </a:lnTo>
                    <a:lnTo>
                      <a:pt x="561" y="226"/>
                    </a:lnTo>
                    <a:lnTo>
                      <a:pt x="564" y="240"/>
                    </a:lnTo>
                    <a:lnTo>
                      <a:pt x="565" y="254"/>
                    </a:lnTo>
                    <a:lnTo>
                      <a:pt x="566" y="269"/>
                    </a:lnTo>
                    <a:lnTo>
                      <a:pt x="567" y="283"/>
                    </a:lnTo>
                    <a:lnTo>
                      <a:pt x="566" y="298"/>
                    </a:lnTo>
                    <a:lnTo>
                      <a:pt x="565" y="312"/>
                    </a:lnTo>
                    <a:lnTo>
                      <a:pt x="564" y="327"/>
                    </a:lnTo>
                    <a:lnTo>
                      <a:pt x="561" y="341"/>
                    </a:lnTo>
                    <a:lnTo>
                      <a:pt x="558" y="355"/>
                    </a:lnTo>
                    <a:lnTo>
                      <a:pt x="554" y="368"/>
                    </a:lnTo>
                    <a:lnTo>
                      <a:pt x="550" y="381"/>
                    </a:lnTo>
                    <a:lnTo>
                      <a:pt x="545" y="394"/>
                    </a:lnTo>
                    <a:lnTo>
                      <a:pt x="539" y="407"/>
                    </a:lnTo>
                    <a:lnTo>
                      <a:pt x="533" y="419"/>
                    </a:lnTo>
                    <a:lnTo>
                      <a:pt x="526" y="430"/>
                    </a:lnTo>
                    <a:lnTo>
                      <a:pt x="519" y="442"/>
                    </a:lnTo>
                    <a:lnTo>
                      <a:pt x="511" y="453"/>
                    </a:lnTo>
                    <a:lnTo>
                      <a:pt x="502" y="464"/>
                    </a:lnTo>
                    <a:lnTo>
                      <a:pt x="494" y="474"/>
                    </a:lnTo>
                    <a:lnTo>
                      <a:pt x="484" y="485"/>
                    </a:lnTo>
                    <a:lnTo>
                      <a:pt x="474" y="493"/>
                    </a:lnTo>
                    <a:lnTo>
                      <a:pt x="463" y="502"/>
                    </a:lnTo>
                    <a:lnTo>
                      <a:pt x="453" y="511"/>
                    </a:lnTo>
                    <a:lnTo>
                      <a:pt x="442" y="519"/>
                    </a:lnTo>
                    <a:lnTo>
                      <a:pt x="431" y="526"/>
                    </a:lnTo>
                    <a:lnTo>
                      <a:pt x="419" y="533"/>
                    </a:lnTo>
                    <a:lnTo>
                      <a:pt x="406" y="539"/>
                    </a:lnTo>
                    <a:lnTo>
                      <a:pt x="394" y="545"/>
                    </a:lnTo>
                    <a:lnTo>
                      <a:pt x="381" y="550"/>
                    </a:lnTo>
                    <a:lnTo>
                      <a:pt x="368" y="555"/>
                    </a:lnTo>
                    <a:lnTo>
                      <a:pt x="354" y="558"/>
                    </a:lnTo>
                    <a:lnTo>
                      <a:pt x="340" y="561"/>
                    </a:lnTo>
                    <a:lnTo>
                      <a:pt x="327" y="564"/>
                    </a:lnTo>
                    <a:lnTo>
                      <a:pt x="312" y="566"/>
                    </a:lnTo>
                    <a:lnTo>
                      <a:pt x="298" y="567"/>
                    </a:lnTo>
                    <a:lnTo>
                      <a:pt x="284" y="567"/>
                    </a:lnTo>
                    <a:lnTo>
                      <a:pt x="269" y="567"/>
                    </a:lnTo>
                    <a:lnTo>
                      <a:pt x="254" y="566"/>
                    </a:lnTo>
                    <a:lnTo>
                      <a:pt x="240" y="564"/>
                    </a:lnTo>
                    <a:lnTo>
                      <a:pt x="226" y="561"/>
                    </a:lnTo>
                    <a:lnTo>
                      <a:pt x="212" y="558"/>
                    </a:lnTo>
                    <a:lnTo>
                      <a:pt x="199" y="555"/>
                    </a:lnTo>
                    <a:lnTo>
                      <a:pt x="186" y="550"/>
                    </a:lnTo>
                    <a:lnTo>
                      <a:pt x="173" y="545"/>
                    </a:lnTo>
                    <a:lnTo>
                      <a:pt x="160" y="539"/>
                    </a:lnTo>
                    <a:lnTo>
                      <a:pt x="148" y="533"/>
                    </a:lnTo>
                    <a:lnTo>
                      <a:pt x="136" y="526"/>
                    </a:lnTo>
                    <a:lnTo>
                      <a:pt x="125" y="519"/>
                    </a:lnTo>
                    <a:lnTo>
                      <a:pt x="114" y="511"/>
                    </a:lnTo>
                    <a:lnTo>
                      <a:pt x="103" y="502"/>
                    </a:lnTo>
                    <a:lnTo>
                      <a:pt x="92" y="493"/>
                    </a:lnTo>
                    <a:lnTo>
                      <a:pt x="82" y="485"/>
                    </a:lnTo>
                    <a:lnTo>
                      <a:pt x="74" y="474"/>
                    </a:lnTo>
                    <a:lnTo>
                      <a:pt x="64" y="464"/>
                    </a:lnTo>
                    <a:lnTo>
                      <a:pt x="56" y="453"/>
                    </a:lnTo>
                    <a:lnTo>
                      <a:pt x="48" y="442"/>
                    </a:lnTo>
                    <a:lnTo>
                      <a:pt x="40" y="430"/>
                    </a:lnTo>
                    <a:lnTo>
                      <a:pt x="34" y="419"/>
                    </a:lnTo>
                    <a:lnTo>
                      <a:pt x="27" y="407"/>
                    </a:lnTo>
                    <a:lnTo>
                      <a:pt x="22" y="394"/>
                    </a:lnTo>
                    <a:lnTo>
                      <a:pt x="16" y="381"/>
                    </a:lnTo>
                    <a:lnTo>
                      <a:pt x="12" y="368"/>
                    </a:lnTo>
                    <a:lnTo>
                      <a:pt x="9" y="355"/>
                    </a:lnTo>
                    <a:lnTo>
                      <a:pt x="6" y="341"/>
                    </a:lnTo>
                    <a:lnTo>
                      <a:pt x="3" y="327"/>
                    </a:lnTo>
                    <a:lnTo>
                      <a:pt x="1" y="312"/>
                    </a:lnTo>
                    <a:lnTo>
                      <a:pt x="0" y="298"/>
                    </a:lnTo>
                    <a:lnTo>
                      <a:pt x="0" y="283"/>
                    </a:lnTo>
                    <a:lnTo>
                      <a:pt x="0" y="269"/>
                    </a:lnTo>
                    <a:lnTo>
                      <a:pt x="1" y="254"/>
                    </a:lnTo>
                    <a:lnTo>
                      <a:pt x="3" y="240"/>
                    </a:lnTo>
                    <a:lnTo>
                      <a:pt x="6" y="226"/>
                    </a:lnTo>
                    <a:lnTo>
                      <a:pt x="9" y="213"/>
                    </a:lnTo>
                    <a:lnTo>
                      <a:pt x="12" y="199"/>
                    </a:lnTo>
                    <a:lnTo>
                      <a:pt x="16" y="186"/>
                    </a:lnTo>
                    <a:lnTo>
                      <a:pt x="22" y="173"/>
                    </a:lnTo>
                    <a:lnTo>
                      <a:pt x="27" y="161"/>
                    </a:lnTo>
                    <a:lnTo>
                      <a:pt x="34" y="148"/>
                    </a:lnTo>
                    <a:lnTo>
                      <a:pt x="40" y="136"/>
                    </a:lnTo>
                    <a:lnTo>
                      <a:pt x="48" y="125"/>
                    </a:lnTo>
                    <a:lnTo>
                      <a:pt x="56" y="113"/>
                    </a:lnTo>
                    <a:lnTo>
                      <a:pt x="64" y="102"/>
                    </a:lnTo>
                    <a:lnTo>
                      <a:pt x="74" y="93"/>
                    </a:lnTo>
                    <a:lnTo>
                      <a:pt x="82" y="83"/>
                    </a:lnTo>
                    <a:lnTo>
                      <a:pt x="92" y="73"/>
                    </a:lnTo>
                    <a:lnTo>
                      <a:pt x="103" y="65"/>
                    </a:lnTo>
                    <a:lnTo>
                      <a:pt x="114" y="56"/>
                    </a:lnTo>
                    <a:lnTo>
                      <a:pt x="125" y="48"/>
                    </a:lnTo>
                    <a:lnTo>
                      <a:pt x="136" y="41"/>
                    </a:lnTo>
                    <a:lnTo>
                      <a:pt x="148" y="34"/>
                    </a:lnTo>
                    <a:lnTo>
                      <a:pt x="160" y="28"/>
                    </a:lnTo>
                    <a:lnTo>
                      <a:pt x="173" y="22"/>
                    </a:lnTo>
                    <a:lnTo>
                      <a:pt x="186" y="17"/>
                    </a:lnTo>
                    <a:lnTo>
                      <a:pt x="199" y="13"/>
                    </a:lnTo>
                    <a:lnTo>
                      <a:pt x="212" y="8"/>
                    </a:lnTo>
                    <a:lnTo>
                      <a:pt x="226" y="5"/>
                    </a:lnTo>
                    <a:lnTo>
                      <a:pt x="240" y="3"/>
                    </a:lnTo>
                    <a:lnTo>
                      <a:pt x="254" y="1"/>
                    </a:lnTo>
                    <a:lnTo>
                      <a:pt x="269" y="0"/>
                    </a:lnTo>
                    <a:lnTo>
                      <a:pt x="28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6B09A7C1-2288-45E3-812A-1FF8F358153A}"/>
              </a:ext>
            </a:extLst>
          </p:cNvPr>
          <p:cNvGrpSpPr/>
          <p:nvPr/>
        </p:nvGrpSpPr>
        <p:grpSpPr>
          <a:xfrm>
            <a:off x="3501330" y="4896227"/>
            <a:ext cx="5189340" cy="1139708"/>
            <a:chOff x="3577900" y="4896227"/>
            <a:chExt cx="5189340" cy="1139708"/>
          </a:xfrm>
        </p:grpSpPr>
        <p:sp>
          <p:nvSpPr>
            <p:cNvPr id="44" name="Rectangle 146">
              <a:extLst>
                <a:ext uri="{FF2B5EF4-FFF2-40B4-BE49-F238E27FC236}">
                  <a16:creationId xmlns:a16="http://schemas.microsoft.com/office/drawing/2014/main" id="{C69E778C-3832-4B20-8F45-A30A366698E5}"/>
                </a:ext>
              </a:extLst>
            </p:cNvPr>
            <p:cNvSpPr/>
            <p:nvPr/>
          </p:nvSpPr>
          <p:spPr>
            <a:xfrm>
              <a:off x="3577900" y="5250592"/>
              <a:ext cx="5189340" cy="7853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6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Click here to add content, content to match the title. </a:t>
              </a:r>
              <a:endParaRPr lang="zh-CN" altLang="en-US" sz="16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45" name="Rectangle 147">
              <a:extLst>
                <a:ext uri="{FF2B5EF4-FFF2-40B4-BE49-F238E27FC236}">
                  <a16:creationId xmlns:a16="http://schemas.microsoft.com/office/drawing/2014/main" id="{2A549628-96B0-403A-83F3-0BBD79F22858}"/>
                </a:ext>
              </a:extLst>
            </p:cNvPr>
            <p:cNvSpPr/>
            <p:nvPr/>
          </p:nvSpPr>
          <p:spPr>
            <a:xfrm>
              <a:off x="5090819" y="4896227"/>
              <a:ext cx="2163503" cy="42162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2000" b="1" noProof="1">
                  <a:solidFill>
                    <a:schemeClr val="accent1"/>
                  </a:solidFill>
                  <a:cs typeface="+mn-ea"/>
                  <a:sym typeface="+mn-lt"/>
                </a:rPr>
                <a:t>Add title text</a:t>
              </a:r>
              <a:endParaRPr lang="en-US" sz="2000" b="1" noProof="1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685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000">
        <p:fade/>
      </p:transition>
    </mc:Choice>
    <mc:Fallback xmlns="">
      <p:transition spd="med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74545A-610C-47B9-850E-6356311417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grpSp>
        <p:nvGrpSpPr>
          <p:cNvPr id="79" name="Group 25">
            <a:extLst>
              <a:ext uri="{FF2B5EF4-FFF2-40B4-BE49-F238E27FC236}">
                <a16:creationId xmlns:a16="http://schemas.microsoft.com/office/drawing/2014/main" id="{C206F31B-6D6C-4946-97D7-1FBB739A882B}"/>
              </a:ext>
            </a:extLst>
          </p:cNvPr>
          <p:cNvGrpSpPr/>
          <p:nvPr/>
        </p:nvGrpSpPr>
        <p:grpSpPr>
          <a:xfrm>
            <a:off x="6229557" y="1869523"/>
            <a:ext cx="1707935" cy="3180828"/>
            <a:chOff x="6140449" y="1116114"/>
            <a:chExt cx="1927226" cy="3589236"/>
          </a:xfrm>
          <a:solidFill>
            <a:srgbClr val="DDDDDD"/>
          </a:solidFill>
          <a:effectLst/>
        </p:grpSpPr>
        <p:sp>
          <p:nvSpPr>
            <p:cNvPr id="81" name="Rectangle 19">
              <a:extLst>
                <a:ext uri="{FF2B5EF4-FFF2-40B4-BE49-F238E27FC236}">
                  <a16:creationId xmlns:a16="http://schemas.microsoft.com/office/drawing/2014/main" id="{805CE76E-4C40-42AE-9FEB-6FF793F8BB86}"/>
                </a:ext>
              </a:extLst>
            </p:cNvPr>
            <p:cNvSpPr/>
            <p:nvPr userDrawn="1"/>
          </p:nvSpPr>
          <p:spPr>
            <a:xfrm>
              <a:off x="6211887" y="1630479"/>
              <a:ext cx="1784351" cy="25398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cs typeface="+mn-ea"/>
                <a:sym typeface="+mn-lt"/>
              </a:endParaRPr>
            </a:p>
          </p:txBody>
        </p:sp>
        <p:sp>
          <p:nvSpPr>
            <p:cNvPr id="82" name="Freeform 5">
              <a:extLst>
                <a:ext uri="{FF2B5EF4-FFF2-40B4-BE49-F238E27FC236}">
                  <a16:creationId xmlns:a16="http://schemas.microsoft.com/office/drawing/2014/main" id="{37FC0C4A-CC31-4F94-803D-DEAD3ABCC2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40449" y="1116114"/>
              <a:ext cx="1927226" cy="3589236"/>
            </a:xfrm>
            <a:custGeom>
              <a:avLst/>
              <a:gdLst/>
              <a:ahLst/>
              <a:cxnLst>
                <a:cxn ang="0">
                  <a:pos x="440" y="1690"/>
                </a:cxn>
                <a:cxn ang="0">
                  <a:pos x="440" y="1690"/>
                </a:cxn>
                <a:cxn ang="0">
                  <a:pos x="494" y="1636"/>
                </a:cxn>
                <a:cxn ang="0">
                  <a:pos x="547" y="1690"/>
                </a:cxn>
                <a:cxn ang="0">
                  <a:pos x="547" y="1690"/>
                </a:cxn>
                <a:cxn ang="0">
                  <a:pos x="547" y="1690"/>
                </a:cxn>
                <a:cxn ang="0">
                  <a:pos x="494" y="1743"/>
                </a:cxn>
                <a:cxn ang="0">
                  <a:pos x="440" y="1690"/>
                </a:cxn>
                <a:cxn ang="0">
                  <a:pos x="440" y="1690"/>
                </a:cxn>
                <a:cxn ang="0">
                  <a:pos x="65" y="274"/>
                </a:cxn>
                <a:cxn ang="0">
                  <a:pos x="65" y="274"/>
                </a:cxn>
                <a:cxn ang="0">
                  <a:pos x="922" y="274"/>
                </a:cxn>
                <a:cxn ang="0">
                  <a:pos x="922" y="1543"/>
                </a:cxn>
                <a:cxn ang="0">
                  <a:pos x="65" y="1543"/>
                </a:cxn>
                <a:cxn ang="0">
                  <a:pos x="65" y="274"/>
                </a:cxn>
                <a:cxn ang="0">
                  <a:pos x="355" y="143"/>
                </a:cxn>
                <a:cxn ang="0">
                  <a:pos x="355" y="143"/>
                </a:cxn>
                <a:cxn ang="0">
                  <a:pos x="632" y="143"/>
                </a:cxn>
                <a:cxn ang="0">
                  <a:pos x="632" y="163"/>
                </a:cxn>
                <a:cxn ang="0">
                  <a:pos x="355" y="163"/>
                </a:cxn>
                <a:cxn ang="0">
                  <a:pos x="355" y="143"/>
                </a:cxn>
                <a:cxn ang="0">
                  <a:pos x="891" y="0"/>
                </a:cxn>
                <a:cxn ang="0">
                  <a:pos x="96" y="0"/>
                </a:cxn>
                <a:cxn ang="0">
                  <a:pos x="0" y="92"/>
                </a:cxn>
                <a:cxn ang="0">
                  <a:pos x="0" y="1748"/>
                </a:cxn>
                <a:cxn ang="0">
                  <a:pos x="96" y="1840"/>
                </a:cxn>
                <a:cxn ang="0">
                  <a:pos x="891" y="1840"/>
                </a:cxn>
                <a:cxn ang="0">
                  <a:pos x="987" y="1748"/>
                </a:cxn>
                <a:cxn ang="0">
                  <a:pos x="987" y="92"/>
                </a:cxn>
                <a:cxn ang="0">
                  <a:pos x="891" y="0"/>
                </a:cxn>
              </a:cxnLst>
              <a:rect l="0" t="0" r="r" b="b"/>
              <a:pathLst>
                <a:path w="987" h="1840">
                  <a:moveTo>
                    <a:pt x="440" y="1690"/>
                  </a:moveTo>
                  <a:cubicBezTo>
                    <a:pt x="440" y="1690"/>
                    <a:pt x="440" y="1690"/>
                    <a:pt x="440" y="1690"/>
                  </a:cubicBezTo>
                  <a:cubicBezTo>
                    <a:pt x="440" y="1660"/>
                    <a:pt x="464" y="1636"/>
                    <a:pt x="494" y="1636"/>
                  </a:cubicBezTo>
                  <a:cubicBezTo>
                    <a:pt x="523" y="1636"/>
                    <a:pt x="547" y="1660"/>
                    <a:pt x="547" y="1690"/>
                  </a:cubicBezTo>
                  <a:cubicBezTo>
                    <a:pt x="547" y="1690"/>
                    <a:pt x="547" y="1690"/>
                    <a:pt x="547" y="1690"/>
                  </a:cubicBezTo>
                  <a:cubicBezTo>
                    <a:pt x="547" y="1690"/>
                    <a:pt x="547" y="1690"/>
                    <a:pt x="547" y="1690"/>
                  </a:cubicBezTo>
                  <a:cubicBezTo>
                    <a:pt x="547" y="1719"/>
                    <a:pt x="523" y="1743"/>
                    <a:pt x="494" y="1743"/>
                  </a:cubicBezTo>
                  <a:cubicBezTo>
                    <a:pt x="464" y="1743"/>
                    <a:pt x="440" y="1719"/>
                    <a:pt x="440" y="1690"/>
                  </a:cubicBezTo>
                  <a:cubicBezTo>
                    <a:pt x="440" y="1690"/>
                    <a:pt x="440" y="1690"/>
                    <a:pt x="440" y="1690"/>
                  </a:cubicBezTo>
                  <a:moveTo>
                    <a:pt x="65" y="274"/>
                  </a:moveTo>
                  <a:cubicBezTo>
                    <a:pt x="65" y="274"/>
                    <a:pt x="65" y="274"/>
                    <a:pt x="65" y="274"/>
                  </a:cubicBezTo>
                  <a:cubicBezTo>
                    <a:pt x="922" y="274"/>
                    <a:pt x="922" y="274"/>
                    <a:pt x="922" y="274"/>
                  </a:cubicBezTo>
                  <a:cubicBezTo>
                    <a:pt x="922" y="1543"/>
                    <a:pt x="922" y="1543"/>
                    <a:pt x="922" y="1543"/>
                  </a:cubicBezTo>
                  <a:cubicBezTo>
                    <a:pt x="65" y="1543"/>
                    <a:pt x="65" y="1543"/>
                    <a:pt x="65" y="1543"/>
                  </a:cubicBezTo>
                  <a:cubicBezTo>
                    <a:pt x="65" y="274"/>
                    <a:pt x="65" y="274"/>
                    <a:pt x="65" y="274"/>
                  </a:cubicBezTo>
                  <a:moveTo>
                    <a:pt x="355" y="143"/>
                  </a:moveTo>
                  <a:cubicBezTo>
                    <a:pt x="355" y="143"/>
                    <a:pt x="355" y="143"/>
                    <a:pt x="355" y="143"/>
                  </a:cubicBezTo>
                  <a:cubicBezTo>
                    <a:pt x="632" y="143"/>
                    <a:pt x="632" y="143"/>
                    <a:pt x="632" y="143"/>
                  </a:cubicBezTo>
                  <a:cubicBezTo>
                    <a:pt x="632" y="163"/>
                    <a:pt x="632" y="163"/>
                    <a:pt x="632" y="163"/>
                  </a:cubicBezTo>
                  <a:cubicBezTo>
                    <a:pt x="355" y="163"/>
                    <a:pt x="355" y="163"/>
                    <a:pt x="355" y="163"/>
                  </a:cubicBezTo>
                  <a:cubicBezTo>
                    <a:pt x="355" y="143"/>
                    <a:pt x="355" y="143"/>
                    <a:pt x="355" y="143"/>
                  </a:cubicBezTo>
                  <a:moveTo>
                    <a:pt x="891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2"/>
                    <a:pt x="0" y="92"/>
                  </a:cubicBezTo>
                  <a:cubicBezTo>
                    <a:pt x="0" y="1748"/>
                    <a:pt x="0" y="1748"/>
                    <a:pt x="0" y="1748"/>
                  </a:cubicBezTo>
                  <a:cubicBezTo>
                    <a:pt x="0" y="1798"/>
                    <a:pt x="43" y="1840"/>
                    <a:pt x="96" y="1840"/>
                  </a:cubicBezTo>
                  <a:cubicBezTo>
                    <a:pt x="891" y="1840"/>
                    <a:pt x="891" y="1840"/>
                    <a:pt x="891" y="1840"/>
                  </a:cubicBezTo>
                  <a:cubicBezTo>
                    <a:pt x="944" y="1840"/>
                    <a:pt x="987" y="1798"/>
                    <a:pt x="987" y="1748"/>
                  </a:cubicBezTo>
                  <a:cubicBezTo>
                    <a:pt x="987" y="92"/>
                    <a:pt x="987" y="92"/>
                    <a:pt x="987" y="92"/>
                  </a:cubicBezTo>
                  <a:cubicBezTo>
                    <a:pt x="987" y="41"/>
                    <a:pt x="944" y="0"/>
                    <a:pt x="8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3200" dirty="0">
                <a:cs typeface="+mn-ea"/>
                <a:sym typeface="+mn-lt"/>
              </a:endParaRPr>
            </a:p>
          </p:txBody>
        </p:sp>
      </p:grpSp>
      <p:sp>
        <p:nvSpPr>
          <p:cNvPr id="84" name="Freeform 5">
            <a:extLst>
              <a:ext uri="{FF2B5EF4-FFF2-40B4-BE49-F238E27FC236}">
                <a16:creationId xmlns:a16="http://schemas.microsoft.com/office/drawing/2014/main" id="{D61C310D-62C2-4DDC-802C-1D28A9F14376}"/>
              </a:ext>
            </a:extLst>
          </p:cNvPr>
          <p:cNvSpPr>
            <a:spLocks noEditPoints="1"/>
          </p:cNvSpPr>
          <p:nvPr/>
        </p:nvSpPr>
        <p:spPr bwMode="auto">
          <a:xfrm>
            <a:off x="4254508" y="1869523"/>
            <a:ext cx="1707935" cy="3180828"/>
          </a:xfrm>
          <a:custGeom>
            <a:avLst/>
            <a:gdLst/>
            <a:ahLst/>
            <a:cxnLst>
              <a:cxn ang="0">
                <a:pos x="440" y="1690"/>
              </a:cxn>
              <a:cxn ang="0">
                <a:pos x="440" y="1690"/>
              </a:cxn>
              <a:cxn ang="0">
                <a:pos x="494" y="1636"/>
              </a:cxn>
              <a:cxn ang="0">
                <a:pos x="547" y="1690"/>
              </a:cxn>
              <a:cxn ang="0">
                <a:pos x="547" y="1690"/>
              </a:cxn>
              <a:cxn ang="0">
                <a:pos x="547" y="1690"/>
              </a:cxn>
              <a:cxn ang="0">
                <a:pos x="494" y="1743"/>
              </a:cxn>
              <a:cxn ang="0">
                <a:pos x="440" y="1690"/>
              </a:cxn>
              <a:cxn ang="0">
                <a:pos x="440" y="1690"/>
              </a:cxn>
              <a:cxn ang="0">
                <a:pos x="65" y="274"/>
              </a:cxn>
              <a:cxn ang="0">
                <a:pos x="65" y="274"/>
              </a:cxn>
              <a:cxn ang="0">
                <a:pos x="922" y="274"/>
              </a:cxn>
              <a:cxn ang="0">
                <a:pos x="922" y="1543"/>
              </a:cxn>
              <a:cxn ang="0">
                <a:pos x="65" y="1543"/>
              </a:cxn>
              <a:cxn ang="0">
                <a:pos x="65" y="274"/>
              </a:cxn>
              <a:cxn ang="0">
                <a:pos x="355" y="143"/>
              </a:cxn>
              <a:cxn ang="0">
                <a:pos x="355" y="143"/>
              </a:cxn>
              <a:cxn ang="0">
                <a:pos x="632" y="143"/>
              </a:cxn>
              <a:cxn ang="0">
                <a:pos x="632" y="163"/>
              </a:cxn>
              <a:cxn ang="0">
                <a:pos x="355" y="163"/>
              </a:cxn>
              <a:cxn ang="0">
                <a:pos x="355" y="143"/>
              </a:cxn>
              <a:cxn ang="0">
                <a:pos x="891" y="0"/>
              </a:cxn>
              <a:cxn ang="0">
                <a:pos x="96" y="0"/>
              </a:cxn>
              <a:cxn ang="0">
                <a:pos x="0" y="92"/>
              </a:cxn>
              <a:cxn ang="0">
                <a:pos x="0" y="1748"/>
              </a:cxn>
              <a:cxn ang="0">
                <a:pos x="96" y="1840"/>
              </a:cxn>
              <a:cxn ang="0">
                <a:pos x="891" y="1840"/>
              </a:cxn>
              <a:cxn ang="0">
                <a:pos x="987" y="1748"/>
              </a:cxn>
              <a:cxn ang="0">
                <a:pos x="987" y="92"/>
              </a:cxn>
              <a:cxn ang="0">
                <a:pos x="891" y="0"/>
              </a:cxn>
            </a:cxnLst>
            <a:rect l="0" t="0" r="r" b="b"/>
            <a:pathLst>
              <a:path w="987" h="1840">
                <a:moveTo>
                  <a:pt x="440" y="1690"/>
                </a:moveTo>
                <a:cubicBezTo>
                  <a:pt x="440" y="1690"/>
                  <a:pt x="440" y="1690"/>
                  <a:pt x="440" y="1690"/>
                </a:cubicBezTo>
                <a:cubicBezTo>
                  <a:pt x="440" y="1660"/>
                  <a:pt x="464" y="1636"/>
                  <a:pt x="494" y="1636"/>
                </a:cubicBezTo>
                <a:cubicBezTo>
                  <a:pt x="523" y="1636"/>
                  <a:pt x="547" y="1660"/>
                  <a:pt x="547" y="1690"/>
                </a:cubicBezTo>
                <a:cubicBezTo>
                  <a:pt x="547" y="1690"/>
                  <a:pt x="547" y="1690"/>
                  <a:pt x="547" y="1690"/>
                </a:cubicBezTo>
                <a:cubicBezTo>
                  <a:pt x="547" y="1690"/>
                  <a:pt x="547" y="1690"/>
                  <a:pt x="547" y="1690"/>
                </a:cubicBezTo>
                <a:cubicBezTo>
                  <a:pt x="547" y="1719"/>
                  <a:pt x="523" y="1743"/>
                  <a:pt x="494" y="1743"/>
                </a:cubicBezTo>
                <a:cubicBezTo>
                  <a:pt x="464" y="1743"/>
                  <a:pt x="440" y="1719"/>
                  <a:pt x="440" y="1690"/>
                </a:cubicBezTo>
                <a:cubicBezTo>
                  <a:pt x="440" y="1690"/>
                  <a:pt x="440" y="1690"/>
                  <a:pt x="440" y="1690"/>
                </a:cubicBezTo>
                <a:moveTo>
                  <a:pt x="65" y="274"/>
                </a:moveTo>
                <a:cubicBezTo>
                  <a:pt x="65" y="274"/>
                  <a:pt x="65" y="274"/>
                  <a:pt x="65" y="274"/>
                </a:cubicBezTo>
                <a:cubicBezTo>
                  <a:pt x="922" y="274"/>
                  <a:pt x="922" y="274"/>
                  <a:pt x="922" y="274"/>
                </a:cubicBezTo>
                <a:cubicBezTo>
                  <a:pt x="922" y="1543"/>
                  <a:pt x="922" y="1543"/>
                  <a:pt x="922" y="1543"/>
                </a:cubicBezTo>
                <a:cubicBezTo>
                  <a:pt x="65" y="1543"/>
                  <a:pt x="65" y="1543"/>
                  <a:pt x="65" y="1543"/>
                </a:cubicBezTo>
                <a:cubicBezTo>
                  <a:pt x="65" y="274"/>
                  <a:pt x="65" y="274"/>
                  <a:pt x="65" y="274"/>
                </a:cubicBezTo>
                <a:moveTo>
                  <a:pt x="355" y="143"/>
                </a:moveTo>
                <a:cubicBezTo>
                  <a:pt x="355" y="143"/>
                  <a:pt x="355" y="143"/>
                  <a:pt x="355" y="143"/>
                </a:cubicBezTo>
                <a:cubicBezTo>
                  <a:pt x="632" y="143"/>
                  <a:pt x="632" y="143"/>
                  <a:pt x="632" y="143"/>
                </a:cubicBezTo>
                <a:cubicBezTo>
                  <a:pt x="632" y="163"/>
                  <a:pt x="632" y="163"/>
                  <a:pt x="632" y="163"/>
                </a:cubicBezTo>
                <a:cubicBezTo>
                  <a:pt x="355" y="163"/>
                  <a:pt x="355" y="163"/>
                  <a:pt x="355" y="163"/>
                </a:cubicBezTo>
                <a:cubicBezTo>
                  <a:pt x="355" y="143"/>
                  <a:pt x="355" y="143"/>
                  <a:pt x="355" y="143"/>
                </a:cubicBezTo>
                <a:moveTo>
                  <a:pt x="891" y="0"/>
                </a:moveTo>
                <a:cubicBezTo>
                  <a:pt x="96" y="0"/>
                  <a:pt x="96" y="0"/>
                  <a:pt x="96" y="0"/>
                </a:cubicBezTo>
                <a:cubicBezTo>
                  <a:pt x="43" y="0"/>
                  <a:pt x="0" y="42"/>
                  <a:pt x="0" y="92"/>
                </a:cubicBezTo>
                <a:cubicBezTo>
                  <a:pt x="0" y="1748"/>
                  <a:pt x="0" y="1748"/>
                  <a:pt x="0" y="1748"/>
                </a:cubicBezTo>
                <a:cubicBezTo>
                  <a:pt x="0" y="1798"/>
                  <a:pt x="43" y="1840"/>
                  <a:pt x="96" y="1840"/>
                </a:cubicBezTo>
                <a:cubicBezTo>
                  <a:pt x="891" y="1840"/>
                  <a:pt x="891" y="1840"/>
                  <a:pt x="891" y="1840"/>
                </a:cubicBezTo>
                <a:cubicBezTo>
                  <a:pt x="944" y="1840"/>
                  <a:pt x="987" y="1798"/>
                  <a:pt x="987" y="1748"/>
                </a:cubicBezTo>
                <a:cubicBezTo>
                  <a:pt x="987" y="92"/>
                  <a:pt x="987" y="92"/>
                  <a:pt x="987" y="92"/>
                </a:cubicBezTo>
                <a:cubicBezTo>
                  <a:pt x="987" y="41"/>
                  <a:pt x="944" y="0"/>
                  <a:pt x="891" y="0"/>
                </a:cubicBezTo>
              </a:path>
            </a:pathLst>
          </a:custGeom>
          <a:solidFill>
            <a:srgbClr val="DDDDDD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sz="3200" dirty="0">
              <a:cs typeface="+mn-ea"/>
              <a:sym typeface="+mn-lt"/>
            </a:endParaRPr>
          </a:p>
        </p:txBody>
      </p: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34BCD617-C9B1-4E07-8E08-866BCFE70C20}"/>
              </a:ext>
            </a:extLst>
          </p:cNvPr>
          <p:cNvGrpSpPr/>
          <p:nvPr/>
        </p:nvGrpSpPr>
        <p:grpSpPr>
          <a:xfrm>
            <a:off x="580060" y="2169094"/>
            <a:ext cx="745331" cy="744538"/>
            <a:chOff x="853282" y="1896269"/>
            <a:chExt cx="745331" cy="744538"/>
          </a:xfrm>
        </p:grpSpPr>
        <p:sp>
          <p:nvSpPr>
            <p:cNvPr id="87" name="Oval 70">
              <a:extLst>
                <a:ext uri="{FF2B5EF4-FFF2-40B4-BE49-F238E27FC236}">
                  <a16:creationId xmlns:a16="http://schemas.microsoft.com/office/drawing/2014/main" id="{11225724-3BAB-453B-9914-9174A531A8DB}"/>
                </a:ext>
              </a:extLst>
            </p:cNvPr>
            <p:cNvSpPr/>
            <p:nvPr/>
          </p:nvSpPr>
          <p:spPr>
            <a:xfrm>
              <a:off x="853282" y="1896269"/>
              <a:ext cx="745331" cy="74453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cs typeface="+mn-ea"/>
                <a:sym typeface="+mn-lt"/>
              </a:endParaRPr>
            </a:p>
          </p:txBody>
        </p:sp>
        <p:grpSp>
          <p:nvGrpSpPr>
            <p:cNvPr id="88" name="Group 79">
              <a:extLst>
                <a:ext uri="{FF2B5EF4-FFF2-40B4-BE49-F238E27FC236}">
                  <a16:creationId xmlns:a16="http://schemas.microsoft.com/office/drawing/2014/main" id="{6B5E8775-302B-4C95-B05F-4A946E25DCA3}"/>
                </a:ext>
              </a:extLst>
            </p:cNvPr>
            <p:cNvGrpSpPr/>
            <p:nvPr/>
          </p:nvGrpSpPr>
          <p:grpSpPr>
            <a:xfrm>
              <a:off x="1004141" y="2169053"/>
              <a:ext cx="435759" cy="220173"/>
              <a:chOff x="-1097909" y="3829137"/>
              <a:chExt cx="380233" cy="192118"/>
            </a:xfrm>
            <a:solidFill>
              <a:schemeClr val="bg1"/>
            </a:solidFill>
          </p:grpSpPr>
          <p:sp>
            <p:nvSpPr>
              <p:cNvPr id="89" name="Freeform 22">
                <a:extLst>
                  <a:ext uri="{FF2B5EF4-FFF2-40B4-BE49-F238E27FC236}">
                    <a16:creationId xmlns:a16="http://schemas.microsoft.com/office/drawing/2014/main" id="{1DB8FC98-E051-4EAB-922B-F373BE171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1875" y="3829137"/>
                <a:ext cx="240148" cy="192118"/>
              </a:xfrm>
              <a:custGeom>
                <a:avLst/>
                <a:gdLst>
                  <a:gd name="T0" fmla="*/ 0 w 120"/>
                  <a:gd name="T1" fmla="*/ 62 h 96"/>
                  <a:gd name="T2" fmla="*/ 18 w 120"/>
                  <a:gd name="T3" fmla="*/ 64 h 96"/>
                  <a:gd name="T4" fmla="*/ 60 w 120"/>
                  <a:gd name="T5" fmla="*/ 94 h 96"/>
                  <a:gd name="T6" fmla="*/ 66 w 120"/>
                  <a:gd name="T7" fmla="*/ 96 h 96"/>
                  <a:gd name="T8" fmla="*/ 70 w 120"/>
                  <a:gd name="T9" fmla="*/ 94 h 96"/>
                  <a:gd name="T10" fmla="*/ 70 w 120"/>
                  <a:gd name="T11" fmla="*/ 92 h 96"/>
                  <a:gd name="T12" fmla="*/ 72 w 120"/>
                  <a:gd name="T13" fmla="*/ 88 h 96"/>
                  <a:gd name="T14" fmla="*/ 72 w 120"/>
                  <a:gd name="T15" fmla="*/ 88 h 96"/>
                  <a:gd name="T16" fmla="*/ 82 w 120"/>
                  <a:gd name="T17" fmla="*/ 92 h 96"/>
                  <a:gd name="T18" fmla="*/ 84 w 120"/>
                  <a:gd name="T19" fmla="*/ 92 h 96"/>
                  <a:gd name="T20" fmla="*/ 84 w 120"/>
                  <a:gd name="T21" fmla="*/ 92 h 96"/>
                  <a:gd name="T22" fmla="*/ 88 w 120"/>
                  <a:gd name="T23" fmla="*/ 90 h 96"/>
                  <a:gd name="T24" fmla="*/ 88 w 120"/>
                  <a:gd name="T25" fmla="*/ 86 h 96"/>
                  <a:gd name="T26" fmla="*/ 90 w 120"/>
                  <a:gd name="T27" fmla="*/ 84 h 96"/>
                  <a:gd name="T28" fmla="*/ 94 w 120"/>
                  <a:gd name="T29" fmla="*/ 86 h 96"/>
                  <a:gd name="T30" fmla="*/ 96 w 120"/>
                  <a:gd name="T31" fmla="*/ 88 h 96"/>
                  <a:gd name="T32" fmla="*/ 100 w 120"/>
                  <a:gd name="T33" fmla="*/ 88 h 96"/>
                  <a:gd name="T34" fmla="*/ 104 w 120"/>
                  <a:gd name="T35" fmla="*/ 84 h 96"/>
                  <a:gd name="T36" fmla="*/ 104 w 120"/>
                  <a:gd name="T37" fmla="*/ 82 h 96"/>
                  <a:gd name="T38" fmla="*/ 106 w 120"/>
                  <a:gd name="T39" fmla="*/ 80 h 96"/>
                  <a:gd name="T40" fmla="*/ 110 w 120"/>
                  <a:gd name="T41" fmla="*/ 82 h 96"/>
                  <a:gd name="T42" fmla="*/ 116 w 120"/>
                  <a:gd name="T43" fmla="*/ 82 h 96"/>
                  <a:gd name="T44" fmla="*/ 116 w 120"/>
                  <a:gd name="T45" fmla="*/ 82 h 96"/>
                  <a:gd name="T46" fmla="*/ 120 w 120"/>
                  <a:gd name="T47" fmla="*/ 80 h 96"/>
                  <a:gd name="T48" fmla="*/ 118 w 120"/>
                  <a:gd name="T49" fmla="*/ 68 h 96"/>
                  <a:gd name="T50" fmla="*/ 102 w 120"/>
                  <a:gd name="T51" fmla="*/ 46 h 96"/>
                  <a:gd name="T52" fmla="*/ 88 w 120"/>
                  <a:gd name="T53" fmla="*/ 30 h 96"/>
                  <a:gd name="T54" fmla="*/ 70 w 120"/>
                  <a:gd name="T55" fmla="*/ 22 h 96"/>
                  <a:gd name="T56" fmla="*/ 44 w 120"/>
                  <a:gd name="T57" fmla="*/ 26 h 96"/>
                  <a:gd name="T58" fmla="*/ 34 w 120"/>
                  <a:gd name="T59" fmla="*/ 28 h 96"/>
                  <a:gd name="T60" fmla="*/ 28 w 120"/>
                  <a:gd name="T61" fmla="*/ 22 h 96"/>
                  <a:gd name="T62" fmla="*/ 52 w 120"/>
                  <a:gd name="T63" fmla="*/ 0 h 96"/>
                  <a:gd name="T64" fmla="*/ 46 w 120"/>
                  <a:gd name="T65" fmla="*/ 0 h 96"/>
                  <a:gd name="T66" fmla="*/ 30 w 120"/>
                  <a:gd name="T67" fmla="*/ 8 h 96"/>
                  <a:gd name="T68" fmla="*/ 10 w 120"/>
                  <a:gd name="T69" fmla="*/ 16 h 96"/>
                  <a:gd name="T70" fmla="*/ 0 w 120"/>
                  <a:gd name="T71" fmla="*/ 5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0" h="96">
                    <a:moveTo>
                      <a:pt x="0" y="56"/>
                    </a:moveTo>
                    <a:lnTo>
                      <a:pt x="0" y="62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6" y="96"/>
                    </a:lnTo>
                    <a:lnTo>
                      <a:pt x="66" y="96"/>
                    </a:lnTo>
                    <a:lnTo>
                      <a:pt x="70" y="94"/>
                    </a:lnTo>
                    <a:lnTo>
                      <a:pt x="70" y="94"/>
                    </a:lnTo>
                    <a:lnTo>
                      <a:pt x="70" y="92"/>
                    </a:lnTo>
                    <a:lnTo>
                      <a:pt x="58" y="66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6" y="90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8" y="90"/>
                    </a:lnTo>
                    <a:lnTo>
                      <a:pt x="88" y="90"/>
                    </a:lnTo>
                    <a:lnTo>
                      <a:pt x="88" y="86"/>
                    </a:lnTo>
                    <a:lnTo>
                      <a:pt x="88" y="86"/>
                    </a:lnTo>
                    <a:lnTo>
                      <a:pt x="76" y="62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4" y="86"/>
                    </a:lnTo>
                    <a:lnTo>
                      <a:pt x="96" y="88"/>
                    </a:lnTo>
                    <a:lnTo>
                      <a:pt x="96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4" y="84"/>
                    </a:lnTo>
                    <a:lnTo>
                      <a:pt x="104" y="84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92" y="56"/>
                    </a:lnTo>
                    <a:lnTo>
                      <a:pt x="106" y="80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6" y="82"/>
                    </a:lnTo>
                    <a:lnTo>
                      <a:pt x="116" y="82"/>
                    </a:lnTo>
                    <a:lnTo>
                      <a:pt x="116" y="82"/>
                    </a:lnTo>
                    <a:lnTo>
                      <a:pt x="116" y="82"/>
                    </a:lnTo>
                    <a:lnTo>
                      <a:pt x="120" y="80"/>
                    </a:lnTo>
                    <a:lnTo>
                      <a:pt x="120" y="80"/>
                    </a:lnTo>
                    <a:lnTo>
                      <a:pt x="120" y="72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02" y="46"/>
                    </a:lnTo>
                    <a:lnTo>
                      <a:pt x="96" y="36"/>
                    </a:lnTo>
                    <a:lnTo>
                      <a:pt x="88" y="30"/>
                    </a:lnTo>
                    <a:lnTo>
                      <a:pt x="80" y="24"/>
                    </a:lnTo>
                    <a:lnTo>
                      <a:pt x="70" y="22"/>
                    </a:lnTo>
                    <a:lnTo>
                      <a:pt x="58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4" y="28"/>
                    </a:lnTo>
                    <a:lnTo>
                      <a:pt x="30" y="26"/>
                    </a:lnTo>
                    <a:lnTo>
                      <a:pt x="28" y="22"/>
                    </a:lnTo>
                    <a:lnTo>
                      <a:pt x="28" y="2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6" y="0"/>
                    </a:lnTo>
                    <a:lnTo>
                      <a:pt x="40" y="2"/>
                    </a:lnTo>
                    <a:lnTo>
                      <a:pt x="30" y="8"/>
                    </a:lnTo>
                    <a:lnTo>
                      <a:pt x="18" y="14"/>
                    </a:lnTo>
                    <a:lnTo>
                      <a:pt x="10" y="16"/>
                    </a:lnTo>
                    <a:lnTo>
                      <a:pt x="0" y="16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90" name="Freeform 23">
                <a:extLst>
                  <a:ext uri="{FF2B5EF4-FFF2-40B4-BE49-F238E27FC236}">
                    <a16:creationId xmlns:a16="http://schemas.microsoft.com/office/drawing/2014/main" id="{9B9A70DD-27CF-4100-839D-0C257FA2A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7836" y="3829137"/>
                <a:ext cx="204125" cy="140086"/>
              </a:xfrm>
              <a:custGeom>
                <a:avLst/>
                <a:gdLst>
                  <a:gd name="T0" fmla="*/ 2 w 102"/>
                  <a:gd name="T1" fmla="*/ 24 h 70"/>
                  <a:gd name="T2" fmla="*/ 2 w 102"/>
                  <a:gd name="T3" fmla="*/ 24 h 70"/>
                  <a:gd name="T4" fmla="*/ 6 w 102"/>
                  <a:gd name="T5" fmla="*/ 24 h 70"/>
                  <a:gd name="T6" fmla="*/ 12 w 102"/>
                  <a:gd name="T7" fmla="*/ 24 h 70"/>
                  <a:gd name="T8" fmla="*/ 28 w 102"/>
                  <a:gd name="T9" fmla="*/ 18 h 70"/>
                  <a:gd name="T10" fmla="*/ 36 w 102"/>
                  <a:gd name="T11" fmla="*/ 18 h 70"/>
                  <a:gd name="T12" fmla="*/ 44 w 102"/>
                  <a:gd name="T13" fmla="*/ 18 h 70"/>
                  <a:gd name="T14" fmla="*/ 54 w 102"/>
                  <a:gd name="T15" fmla="*/ 22 h 70"/>
                  <a:gd name="T16" fmla="*/ 64 w 102"/>
                  <a:gd name="T17" fmla="*/ 30 h 70"/>
                  <a:gd name="T18" fmla="*/ 64 w 102"/>
                  <a:gd name="T19" fmla="*/ 30 h 70"/>
                  <a:gd name="T20" fmla="*/ 80 w 102"/>
                  <a:gd name="T21" fmla="*/ 54 h 70"/>
                  <a:gd name="T22" fmla="*/ 90 w 102"/>
                  <a:gd name="T23" fmla="*/ 70 h 70"/>
                  <a:gd name="T24" fmla="*/ 90 w 102"/>
                  <a:gd name="T25" fmla="*/ 70 h 70"/>
                  <a:gd name="T26" fmla="*/ 100 w 102"/>
                  <a:gd name="T27" fmla="*/ 64 h 70"/>
                  <a:gd name="T28" fmla="*/ 102 w 102"/>
                  <a:gd name="T29" fmla="*/ 18 h 70"/>
                  <a:gd name="T30" fmla="*/ 102 w 102"/>
                  <a:gd name="T31" fmla="*/ 18 h 70"/>
                  <a:gd name="T32" fmla="*/ 92 w 102"/>
                  <a:gd name="T33" fmla="*/ 16 h 70"/>
                  <a:gd name="T34" fmla="*/ 92 w 102"/>
                  <a:gd name="T35" fmla="*/ 16 h 70"/>
                  <a:gd name="T36" fmla="*/ 70 w 102"/>
                  <a:gd name="T37" fmla="*/ 10 h 70"/>
                  <a:gd name="T38" fmla="*/ 52 w 102"/>
                  <a:gd name="T39" fmla="*/ 4 h 70"/>
                  <a:gd name="T40" fmla="*/ 38 w 102"/>
                  <a:gd name="T41" fmla="*/ 2 h 70"/>
                  <a:gd name="T42" fmla="*/ 32 w 102"/>
                  <a:gd name="T43" fmla="*/ 0 h 70"/>
                  <a:gd name="T44" fmla="*/ 26 w 102"/>
                  <a:gd name="T45" fmla="*/ 2 h 70"/>
                  <a:gd name="T46" fmla="*/ 26 w 102"/>
                  <a:gd name="T47" fmla="*/ 2 h 70"/>
                  <a:gd name="T48" fmla="*/ 14 w 102"/>
                  <a:gd name="T49" fmla="*/ 8 h 70"/>
                  <a:gd name="T50" fmla="*/ 0 w 102"/>
                  <a:gd name="T51" fmla="*/ 22 h 70"/>
                  <a:gd name="T52" fmla="*/ 0 w 102"/>
                  <a:gd name="T53" fmla="*/ 22 h 70"/>
                  <a:gd name="T54" fmla="*/ 2 w 102"/>
                  <a:gd name="T55" fmla="*/ 24 h 70"/>
                  <a:gd name="T56" fmla="*/ 2 w 102"/>
                  <a:gd name="T57" fmla="*/ 2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2" h="70">
                    <a:moveTo>
                      <a:pt x="2" y="24"/>
                    </a:moveTo>
                    <a:lnTo>
                      <a:pt x="2" y="24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28" y="18"/>
                    </a:lnTo>
                    <a:lnTo>
                      <a:pt x="36" y="18"/>
                    </a:lnTo>
                    <a:lnTo>
                      <a:pt x="44" y="18"/>
                    </a:lnTo>
                    <a:lnTo>
                      <a:pt x="54" y="22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80" y="54"/>
                    </a:lnTo>
                    <a:lnTo>
                      <a:pt x="90" y="70"/>
                    </a:lnTo>
                    <a:lnTo>
                      <a:pt x="90" y="70"/>
                    </a:lnTo>
                    <a:lnTo>
                      <a:pt x="100" y="64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70" y="10"/>
                    </a:lnTo>
                    <a:lnTo>
                      <a:pt x="52" y="4"/>
                    </a:lnTo>
                    <a:lnTo>
                      <a:pt x="38" y="2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14" y="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2" y="2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91" name="Freeform 24">
                <a:extLst>
                  <a:ext uri="{FF2B5EF4-FFF2-40B4-BE49-F238E27FC236}">
                    <a16:creationId xmlns:a16="http://schemas.microsoft.com/office/drawing/2014/main" id="{C5C4F7EE-55B9-4082-9157-C5181C1E92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9868" y="3961218"/>
                <a:ext cx="32020" cy="20012"/>
              </a:xfrm>
              <a:custGeom>
                <a:avLst/>
                <a:gdLst>
                  <a:gd name="T0" fmla="*/ 12 w 16"/>
                  <a:gd name="T1" fmla="*/ 0 h 10"/>
                  <a:gd name="T2" fmla="*/ 0 w 16"/>
                  <a:gd name="T3" fmla="*/ 0 h 10"/>
                  <a:gd name="T4" fmla="*/ 0 w 16"/>
                  <a:gd name="T5" fmla="*/ 0 h 10"/>
                  <a:gd name="T6" fmla="*/ 0 w 16"/>
                  <a:gd name="T7" fmla="*/ 2 h 10"/>
                  <a:gd name="T8" fmla="*/ 0 w 16"/>
                  <a:gd name="T9" fmla="*/ 6 h 10"/>
                  <a:gd name="T10" fmla="*/ 0 w 16"/>
                  <a:gd name="T11" fmla="*/ 6 h 10"/>
                  <a:gd name="T12" fmla="*/ 2 w 16"/>
                  <a:gd name="T13" fmla="*/ 10 h 10"/>
                  <a:gd name="T14" fmla="*/ 6 w 16"/>
                  <a:gd name="T15" fmla="*/ 10 h 10"/>
                  <a:gd name="T16" fmla="*/ 6 w 16"/>
                  <a:gd name="T17" fmla="*/ 10 h 10"/>
                  <a:gd name="T18" fmla="*/ 10 w 16"/>
                  <a:gd name="T19" fmla="*/ 8 h 10"/>
                  <a:gd name="T20" fmla="*/ 12 w 16"/>
                  <a:gd name="T21" fmla="*/ 6 h 10"/>
                  <a:gd name="T22" fmla="*/ 16 w 16"/>
                  <a:gd name="T23" fmla="*/ 4 h 10"/>
                  <a:gd name="T24" fmla="*/ 12 w 16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0">
                    <a:moveTo>
                      <a:pt x="1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2" y="6"/>
                    </a:lnTo>
                    <a:lnTo>
                      <a:pt x="16" y="4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92" name="Freeform 25">
                <a:extLst>
                  <a:ext uri="{FF2B5EF4-FFF2-40B4-BE49-F238E27FC236}">
                    <a16:creationId xmlns:a16="http://schemas.microsoft.com/office/drawing/2014/main" id="{7134F9E8-CEAA-4FEC-BE26-D52D06C90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01850" y="3969223"/>
                <a:ext cx="56034" cy="44027"/>
              </a:xfrm>
              <a:custGeom>
                <a:avLst/>
                <a:gdLst>
                  <a:gd name="T0" fmla="*/ 2 w 28"/>
                  <a:gd name="T1" fmla="*/ 0 h 22"/>
                  <a:gd name="T2" fmla="*/ 2 w 28"/>
                  <a:gd name="T3" fmla="*/ 0 h 22"/>
                  <a:gd name="T4" fmla="*/ 0 w 28"/>
                  <a:gd name="T5" fmla="*/ 4 h 22"/>
                  <a:gd name="T6" fmla="*/ 0 w 28"/>
                  <a:gd name="T7" fmla="*/ 8 h 22"/>
                  <a:gd name="T8" fmla="*/ 0 w 28"/>
                  <a:gd name="T9" fmla="*/ 12 h 22"/>
                  <a:gd name="T10" fmla="*/ 2 w 28"/>
                  <a:gd name="T11" fmla="*/ 14 h 22"/>
                  <a:gd name="T12" fmla="*/ 6 w 28"/>
                  <a:gd name="T13" fmla="*/ 16 h 22"/>
                  <a:gd name="T14" fmla="*/ 8 w 28"/>
                  <a:gd name="T15" fmla="*/ 16 h 22"/>
                  <a:gd name="T16" fmla="*/ 12 w 28"/>
                  <a:gd name="T17" fmla="*/ 14 h 22"/>
                  <a:gd name="T18" fmla="*/ 16 w 28"/>
                  <a:gd name="T19" fmla="*/ 10 h 22"/>
                  <a:gd name="T20" fmla="*/ 16 w 28"/>
                  <a:gd name="T21" fmla="*/ 10 h 22"/>
                  <a:gd name="T22" fmla="*/ 16 w 28"/>
                  <a:gd name="T23" fmla="*/ 14 h 22"/>
                  <a:gd name="T24" fmla="*/ 16 w 28"/>
                  <a:gd name="T25" fmla="*/ 16 h 22"/>
                  <a:gd name="T26" fmla="*/ 16 w 28"/>
                  <a:gd name="T27" fmla="*/ 16 h 22"/>
                  <a:gd name="T28" fmla="*/ 18 w 28"/>
                  <a:gd name="T29" fmla="*/ 20 h 22"/>
                  <a:gd name="T30" fmla="*/ 22 w 28"/>
                  <a:gd name="T31" fmla="*/ 22 h 22"/>
                  <a:gd name="T32" fmla="*/ 26 w 28"/>
                  <a:gd name="T33" fmla="*/ 22 h 22"/>
                  <a:gd name="T34" fmla="*/ 28 w 28"/>
                  <a:gd name="T35" fmla="*/ 20 h 22"/>
                  <a:gd name="T36" fmla="*/ 2 w 28"/>
                  <a:gd name="T3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8" h="22">
                    <a:moveTo>
                      <a:pt x="2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20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8" y="2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93" name="Freeform 26">
                <a:extLst>
                  <a:ext uri="{FF2B5EF4-FFF2-40B4-BE49-F238E27FC236}">
                    <a16:creationId xmlns:a16="http://schemas.microsoft.com/office/drawing/2014/main" id="{F4A29748-8FEB-44AC-8E59-48A4918822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097909" y="3857154"/>
                <a:ext cx="48030" cy="116071"/>
              </a:xfrm>
              <a:custGeom>
                <a:avLst/>
                <a:gdLst>
                  <a:gd name="T0" fmla="*/ 0 w 24"/>
                  <a:gd name="T1" fmla="*/ 0 h 58"/>
                  <a:gd name="T2" fmla="*/ 24 w 24"/>
                  <a:gd name="T3" fmla="*/ 0 h 58"/>
                  <a:gd name="T4" fmla="*/ 24 w 24"/>
                  <a:gd name="T5" fmla="*/ 58 h 58"/>
                  <a:gd name="T6" fmla="*/ 0 w 24"/>
                  <a:gd name="T7" fmla="*/ 58 h 58"/>
                  <a:gd name="T8" fmla="*/ 0 w 24"/>
                  <a:gd name="T9" fmla="*/ 0 h 58"/>
                  <a:gd name="T10" fmla="*/ 0 w 24"/>
                  <a:gd name="T11" fmla="*/ 0 h 58"/>
                  <a:gd name="T12" fmla="*/ 12 w 24"/>
                  <a:gd name="T13" fmla="*/ 44 h 58"/>
                  <a:gd name="T14" fmla="*/ 12 w 24"/>
                  <a:gd name="T15" fmla="*/ 44 h 58"/>
                  <a:gd name="T16" fmla="*/ 8 w 24"/>
                  <a:gd name="T17" fmla="*/ 46 h 58"/>
                  <a:gd name="T18" fmla="*/ 8 w 24"/>
                  <a:gd name="T19" fmla="*/ 48 h 58"/>
                  <a:gd name="T20" fmla="*/ 8 w 24"/>
                  <a:gd name="T21" fmla="*/ 48 h 58"/>
                  <a:gd name="T22" fmla="*/ 8 w 24"/>
                  <a:gd name="T23" fmla="*/ 52 h 58"/>
                  <a:gd name="T24" fmla="*/ 12 w 24"/>
                  <a:gd name="T25" fmla="*/ 52 h 58"/>
                  <a:gd name="T26" fmla="*/ 12 w 24"/>
                  <a:gd name="T27" fmla="*/ 52 h 58"/>
                  <a:gd name="T28" fmla="*/ 14 w 24"/>
                  <a:gd name="T29" fmla="*/ 52 h 58"/>
                  <a:gd name="T30" fmla="*/ 16 w 24"/>
                  <a:gd name="T31" fmla="*/ 48 h 58"/>
                  <a:gd name="T32" fmla="*/ 16 w 24"/>
                  <a:gd name="T33" fmla="*/ 48 h 58"/>
                  <a:gd name="T34" fmla="*/ 14 w 24"/>
                  <a:gd name="T35" fmla="*/ 46 h 58"/>
                  <a:gd name="T36" fmla="*/ 12 w 24"/>
                  <a:gd name="T37" fmla="*/ 44 h 58"/>
                  <a:gd name="T38" fmla="*/ 12 w 24"/>
                  <a:gd name="T39" fmla="*/ 4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" h="58">
                    <a:moveTo>
                      <a:pt x="0" y="0"/>
                    </a:moveTo>
                    <a:lnTo>
                      <a:pt x="24" y="0"/>
                    </a:lnTo>
                    <a:lnTo>
                      <a:pt x="24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12" y="44"/>
                    </a:moveTo>
                    <a:lnTo>
                      <a:pt x="12" y="44"/>
                    </a:lnTo>
                    <a:lnTo>
                      <a:pt x="8" y="46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4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4" y="46"/>
                    </a:lnTo>
                    <a:lnTo>
                      <a:pt x="12" y="44"/>
                    </a:lnTo>
                    <a:lnTo>
                      <a:pt x="12" y="4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94" name="Freeform 27">
                <a:extLst>
                  <a:ext uri="{FF2B5EF4-FFF2-40B4-BE49-F238E27FC236}">
                    <a16:creationId xmlns:a16="http://schemas.microsoft.com/office/drawing/2014/main" id="{9D59C73B-BECB-4D43-9129-0054361F6C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769708" y="3857154"/>
                <a:ext cx="52032" cy="116071"/>
              </a:xfrm>
              <a:custGeom>
                <a:avLst/>
                <a:gdLst>
                  <a:gd name="T0" fmla="*/ 0 w 26"/>
                  <a:gd name="T1" fmla="*/ 0 h 58"/>
                  <a:gd name="T2" fmla="*/ 26 w 26"/>
                  <a:gd name="T3" fmla="*/ 0 h 58"/>
                  <a:gd name="T4" fmla="*/ 26 w 26"/>
                  <a:gd name="T5" fmla="*/ 58 h 58"/>
                  <a:gd name="T6" fmla="*/ 0 w 26"/>
                  <a:gd name="T7" fmla="*/ 58 h 58"/>
                  <a:gd name="T8" fmla="*/ 0 w 26"/>
                  <a:gd name="T9" fmla="*/ 0 h 58"/>
                  <a:gd name="T10" fmla="*/ 0 w 26"/>
                  <a:gd name="T11" fmla="*/ 0 h 58"/>
                  <a:gd name="T12" fmla="*/ 14 w 26"/>
                  <a:gd name="T13" fmla="*/ 44 h 58"/>
                  <a:gd name="T14" fmla="*/ 14 w 26"/>
                  <a:gd name="T15" fmla="*/ 44 h 58"/>
                  <a:gd name="T16" fmla="*/ 10 w 26"/>
                  <a:gd name="T17" fmla="*/ 46 h 58"/>
                  <a:gd name="T18" fmla="*/ 10 w 26"/>
                  <a:gd name="T19" fmla="*/ 48 h 58"/>
                  <a:gd name="T20" fmla="*/ 10 w 26"/>
                  <a:gd name="T21" fmla="*/ 48 h 58"/>
                  <a:gd name="T22" fmla="*/ 10 w 26"/>
                  <a:gd name="T23" fmla="*/ 52 h 58"/>
                  <a:gd name="T24" fmla="*/ 14 w 26"/>
                  <a:gd name="T25" fmla="*/ 54 h 58"/>
                  <a:gd name="T26" fmla="*/ 14 w 26"/>
                  <a:gd name="T27" fmla="*/ 54 h 58"/>
                  <a:gd name="T28" fmla="*/ 16 w 26"/>
                  <a:gd name="T29" fmla="*/ 52 h 58"/>
                  <a:gd name="T30" fmla="*/ 18 w 26"/>
                  <a:gd name="T31" fmla="*/ 48 h 58"/>
                  <a:gd name="T32" fmla="*/ 18 w 26"/>
                  <a:gd name="T33" fmla="*/ 48 h 58"/>
                  <a:gd name="T34" fmla="*/ 16 w 26"/>
                  <a:gd name="T35" fmla="*/ 46 h 58"/>
                  <a:gd name="T36" fmla="*/ 14 w 26"/>
                  <a:gd name="T37" fmla="*/ 44 h 58"/>
                  <a:gd name="T38" fmla="*/ 14 w 26"/>
                  <a:gd name="T39" fmla="*/ 4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6" h="58">
                    <a:moveTo>
                      <a:pt x="0" y="0"/>
                    </a:moveTo>
                    <a:lnTo>
                      <a:pt x="26" y="0"/>
                    </a:lnTo>
                    <a:lnTo>
                      <a:pt x="26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14" y="44"/>
                    </a:moveTo>
                    <a:lnTo>
                      <a:pt x="14" y="44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6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6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1F4EA579-BAFC-4C5A-BB56-18D31657CAD2}"/>
              </a:ext>
            </a:extLst>
          </p:cNvPr>
          <p:cNvGrpSpPr/>
          <p:nvPr/>
        </p:nvGrpSpPr>
        <p:grpSpPr>
          <a:xfrm>
            <a:off x="1456891" y="1824611"/>
            <a:ext cx="2368772" cy="1237938"/>
            <a:chOff x="1133459" y="1595965"/>
            <a:chExt cx="2368772" cy="1237938"/>
          </a:xfrm>
        </p:grpSpPr>
        <p:sp>
          <p:nvSpPr>
            <p:cNvPr id="96" name="Rectangle 8">
              <a:extLst>
                <a:ext uri="{FF2B5EF4-FFF2-40B4-BE49-F238E27FC236}">
                  <a16:creationId xmlns:a16="http://schemas.microsoft.com/office/drawing/2014/main" id="{A91716CF-4D0A-4D38-8F3B-97F4885C07DF}"/>
                </a:ext>
              </a:extLst>
            </p:cNvPr>
            <p:cNvSpPr/>
            <p:nvPr/>
          </p:nvSpPr>
          <p:spPr>
            <a:xfrm>
              <a:off x="1133460" y="2135186"/>
              <a:ext cx="2368771" cy="6987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97" name="TextBox 9">
              <a:extLst>
                <a:ext uri="{FF2B5EF4-FFF2-40B4-BE49-F238E27FC236}">
                  <a16:creationId xmlns:a16="http://schemas.microsoft.com/office/drawing/2014/main" id="{2DD8DB99-A928-4A70-83E4-5AF6D40311B7}"/>
                </a:ext>
              </a:extLst>
            </p:cNvPr>
            <p:cNvSpPr txBox="1"/>
            <p:nvPr/>
          </p:nvSpPr>
          <p:spPr>
            <a:xfrm>
              <a:off x="1133459" y="1595965"/>
              <a:ext cx="15824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b="1" dirty="0">
                  <a:solidFill>
                    <a:schemeClr val="accent1"/>
                  </a:solidFill>
                  <a:cs typeface="+mn-ea"/>
                  <a:sym typeface="+mn-lt"/>
                </a:rPr>
                <a:t>Add title text</a:t>
              </a:r>
              <a:endParaRPr lang="en-GB" b="1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cxnSp>
          <p:nvCxnSpPr>
            <p:cNvPr id="98" name="直接连接符 97">
              <a:extLst>
                <a:ext uri="{FF2B5EF4-FFF2-40B4-BE49-F238E27FC236}">
                  <a16:creationId xmlns:a16="http://schemas.microsoft.com/office/drawing/2014/main" id="{430A2692-761B-4E17-B109-62CB71A1D9D2}"/>
                </a:ext>
              </a:extLst>
            </p:cNvPr>
            <p:cNvCxnSpPr>
              <a:cxnSpLocks/>
            </p:cNvCxnSpPr>
            <p:nvPr/>
          </p:nvCxnSpPr>
          <p:spPr>
            <a:xfrm>
              <a:off x="1246941" y="2043741"/>
              <a:ext cx="208479" cy="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160E4EE6-94E4-4512-AB84-469723A3C05C}"/>
              </a:ext>
            </a:extLst>
          </p:cNvPr>
          <p:cNvGrpSpPr/>
          <p:nvPr/>
        </p:nvGrpSpPr>
        <p:grpSpPr>
          <a:xfrm>
            <a:off x="580060" y="4006241"/>
            <a:ext cx="745331" cy="744538"/>
            <a:chOff x="853282" y="3008313"/>
            <a:chExt cx="745331" cy="744538"/>
          </a:xfrm>
        </p:grpSpPr>
        <p:sp>
          <p:nvSpPr>
            <p:cNvPr id="100" name="Oval 72">
              <a:extLst>
                <a:ext uri="{FF2B5EF4-FFF2-40B4-BE49-F238E27FC236}">
                  <a16:creationId xmlns:a16="http://schemas.microsoft.com/office/drawing/2014/main" id="{B2816AD8-B80A-4D59-BB3F-541CE32BAC48}"/>
                </a:ext>
              </a:extLst>
            </p:cNvPr>
            <p:cNvSpPr/>
            <p:nvPr/>
          </p:nvSpPr>
          <p:spPr>
            <a:xfrm>
              <a:off x="853282" y="3008313"/>
              <a:ext cx="745331" cy="74453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cs typeface="+mn-ea"/>
                <a:sym typeface="+mn-lt"/>
              </a:endParaRPr>
            </a:p>
          </p:txBody>
        </p:sp>
        <p:sp>
          <p:nvSpPr>
            <p:cNvPr id="101" name="Shape 392">
              <a:extLst>
                <a:ext uri="{FF2B5EF4-FFF2-40B4-BE49-F238E27FC236}">
                  <a16:creationId xmlns:a16="http://schemas.microsoft.com/office/drawing/2014/main" id="{316AF339-D2AA-4F10-81EB-F6E678CD551B}"/>
                </a:ext>
              </a:extLst>
            </p:cNvPr>
            <p:cNvSpPr/>
            <p:nvPr/>
          </p:nvSpPr>
          <p:spPr>
            <a:xfrm>
              <a:off x="980282" y="3221832"/>
              <a:ext cx="487363" cy="2778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67" y="0"/>
                  </a:moveTo>
                  <a:cubicBezTo>
                    <a:pt x="9332" y="0"/>
                    <a:pt x="8087" y="2188"/>
                    <a:pt x="8087" y="4885"/>
                  </a:cubicBezTo>
                  <a:cubicBezTo>
                    <a:pt x="8087" y="7580"/>
                    <a:pt x="10867" y="14648"/>
                    <a:pt x="10867" y="14648"/>
                  </a:cubicBezTo>
                  <a:cubicBezTo>
                    <a:pt x="10867" y="14648"/>
                    <a:pt x="13646" y="7580"/>
                    <a:pt x="13646" y="4885"/>
                  </a:cubicBezTo>
                  <a:cubicBezTo>
                    <a:pt x="13646" y="2188"/>
                    <a:pt x="12401" y="0"/>
                    <a:pt x="10867" y="0"/>
                  </a:cubicBezTo>
                  <a:close/>
                  <a:moveTo>
                    <a:pt x="10867" y="2439"/>
                  </a:moveTo>
                  <a:cubicBezTo>
                    <a:pt x="11634" y="2439"/>
                    <a:pt x="12254" y="3530"/>
                    <a:pt x="12254" y="4885"/>
                  </a:cubicBezTo>
                  <a:cubicBezTo>
                    <a:pt x="12254" y="6232"/>
                    <a:pt x="11634" y="7324"/>
                    <a:pt x="10867" y="7324"/>
                  </a:cubicBezTo>
                  <a:cubicBezTo>
                    <a:pt x="10099" y="7324"/>
                    <a:pt x="9474" y="6232"/>
                    <a:pt x="9474" y="4885"/>
                  </a:cubicBezTo>
                  <a:cubicBezTo>
                    <a:pt x="9474" y="3530"/>
                    <a:pt x="10099" y="2439"/>
                    <a:pt x="10867" y="2439"/>
                  </a:cubicBezTo>
                  <a:close/>
                  <a:moveTo>
                    <a:pt x="15907" y="7235"/>
                  </a:moveTo>
                  <a:cubicBezTo>
                    <a:pt x="15000" y="7235"/>
                    <a:pt x="14262" y="8522"/>
                    <a:pt x="14262" y="10118"/>
                  </a:cubicBezTo>
                  <a:cubicBezTo>
                    <a:pt x="14262" y="11711"/>
                    <a:pt x="15907" y="15883"/>
                    <a:pt x="15907" y="15883"/>
                  </a:cubicBezTo>
                  <a:cubicBezTo>
                    <a:pt x="15907" y="15883"/>
                    <a:pt x="17543" y="11705"/>
                    <a:pt x="17543" y="10118"/>
                  </a:cubicBezTo>
                  <a:cubicBezTo>
                    <a:pt x="17543" y="8522"/>
                    <a:pt x="16811" y="7235"/>
                    <a:pt x="15907" y="7235"/>
                  </a:cubicBezTo>
                  <a:close/>
                  <a:moveTo>
                    <a:pt x="15907" y="8672"/>
                  </a:moveTo>
                  <a:cubicBezTo>
                    <a:pt x="16359" y="8672"/>
                    <a:pt x="16725" y="9322"/>
                    <a:pt x="16725" y="10118"/>
                  </a:cubicBezTo>
                  <a:cubicBezTo>
                    <a:pt x="16725" y="10911"/>
                    <a:pt x="16359" y="11563"/>
                    <a:pt x="15907" y="11563"/>
                  </a:cubicBezTo>
                  <a:cubicBezTo>
                    <a:pt x="15455" y="11563"/>
                    <a:pt x="15085" y="10911"/>
                    <a:pt x="15085" y="10118"/>
                  </a:cubicBezTo>
                  <a:cubicBezTo>
                    <a:pt x="15085" y="9322"/>
                    <a:pt x="15455" y="8672"/>
                    <a:pt x="15907" y="8672"/>
                  </a:cubicBezTo>
                  <a:close/>
                  <a:moveTo>
                    <a:pt x="5482" y="9561"/>
                  </a:moveTo>
                  <a:lnTo>
                    <a:pt x="0" y="21600"/>
                  </a:lnTo>
                  <a:lnTo>
                    <a:pt x="21600" y="21600"/>
                  </a:lnTo>
                  <a:cubicBezTo>
                    <a:pt x="21600" y="21600"/>
                    <a:pt x="17580" y="12774"/>
                    <a:pt x="17580" y="12774"/>
                  </a:cubicBezTo>
                  <a:cubicBezTo>
                    <a:pt x="17420" y="13335"/>
                    <a:pt x="17245" y="13897"/>
                    <a:pt x="17070" y="14405"/>
                  </a:cubicBezTo>
                  <a:lnTo>
                    <a:pt x="19560" y="19872"/>
                  </a:lnTo>
                  <a:lnTo>
                    <a:pt x="6364" y="19872"/>
                  </a:lnTo>
                  <a:lnTo>
                    <a:pt x="6359" y="19888"/>
                  </a:lnTo>
                  <a:lnTo>
                    <a:pt x="6355" y="19872"/>
                  </a:lnTo>
                  <a:lnTo>
                    <a:pt x="2035" y="19872"/>
                  </a:lnTo>
                  <a:lnTo>
                    <a:pt x="4650" y="14147"/>
                  </a:lnTo>
                  <a:cubicBezTo>
                    <a:pt x="4647" y="14109"/>
                    <a:pt x="4636" y="14061"/>
                    <a:pt x="4636" y="14026"/>
                  </a:cubicBezTo>
                  <a:cubicBezTo>
                    <a:pt x="4636" y="12358"/>
                    <a:pt x="5410" y="10998"/>
                    <a:pt x="6359" y="10998"/>
                  </a:cubicBezTo>
                  <a:cubicBezTo>
                    <a:pt x="6613" y="10998"/>
                    <a:pt x="6855" y="11107"/>
                    <a:pt x="7071" y="11280"/>
                  </a:cubicBezTo>
                  <a:lnTo>
                    <a:pt x="8799" y="11280"/>
                  </a:lnTo>
                  <a:cubicBezTo>
                    <a:pt x="8614" y="10722"/>
                    <a:pt x="8435" y="10143"/>
                    <a:pt x="8266" y="9561"/>
                  </a:cubicBezTo>
                  <a:lnTo>
                    <a:pt x="5482" y="9561"/>
                  </a:lnTo>
                  <a:close/>
                  <a:moveTo>
                    <a:pt x="13325" y="9561"/>
                  </a:moveTo>
                  <a:cubicBezTo>
                    <a:pt x="13156" y="10143"/>
                    <a:pt x="12973" y="10722"/>
                    <a:pt x="12792" y="11280"/>
                  </a:cubicBezTo>
                  <a:lnTo>
                    <a:pt x="13826" y="11280"/>
                  </a:lnTo>
                  <a:cubicBezTo>
                    <a:pt x="13740" y="10833"/>
                    <a:pt x="13688" y="10417"/>
                    <a:pt x="13688" y="10077"/>
                  </a:cubicBezTo>
                  <a:cubicBezTo>
                    <a:pt x="13688" y="9902"/>
                    <a:pt x="13703" y="9734"/>
                    <a:pt x="13715" y="9561"/>
                  </a:cubicBezTo>
                  <a:cubicBezTo>
                    <a:pt x="13715" y="9561"/>
                    <a:pt x="13325" y="9561"/>
                    <a:pt x="13325" y="9561"/>
                  </a:cubicBezTo>
                  <a:close/>
                  <a:moveTo>
                    <a:pt x="6433" y="11886"/>
                  </a:moveTo>
                  <a:cubicBezTo>
                    <a:pt x="5723" y="11886"/>
                    <a:pt x="5146" y="12894"/>
                    <a:pt x="5146" y="14147"/>
                  </a:cubicBezTo>
                  <a:cubicBezTo>
                    <a:pt x="5146" y="15395"/>
                    <a:pt x="6433" y="18669"/>
                    <a:pt x="6433" y="18669"/>
                  </a:cubicBezTo>
                  <a:cubicBezTo>
                    <a:pt x="6433" y="18669"/>
                    <a:pt x="7719" y="15395"/>
                    <a:pt x="7719" y="14147"/>
                  </a:cubicBezTo>
                  <a:cubicBezTo>
                    <a:pt x="7719" y="12894"/>
                    <a:pt x="7143" y="11886"/>
                    <a:pt x="6433" y="11886"/>
                  </a:cubicBezTo>
                  <a:close/>
                  <a:moveTo>
                    <a:pt x="6433" y="13017"/>
                  </a:moveTo>
                  <a:cubicBezTo>
                    <a:pt x="6789" y="13017"/>
                    <a:pt x="7076" y="13522"/>
                    <a:pt x="7076" y="14147"/>
                  </a:cubicBezTo>
                  <a:cubicBezTo>
                    <a:pt x="7076" y="14770"/>
                    <a:pt x="6789" y="15277"/>
                    <a:pt x="6433" y="15277"/>
                  </a:cubicBezTo>
                  <a:cubicBezTo>
                    <a:pt x="6079" y="15277"/>
                    <a:pt x="5789" y="14770"/>
                    <a:pt x="5789" y="14147"/>
                  </a:cubicBezTo>
                  <a:cubicBezTo>
                    <a:pt x="5789" y="13522"/>
                    <a:pt x="6079" y="13017"/>
                    <a:pt x="6433" y="13017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txBody>
            <a:bodyPr lIns="19050" tIns="19050" rIns="19050" bIns="1905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cs typeface="+mn-ea"/>
                <a:sym typeface="+mn-lt"/>
              </a:endParaRPr>
            </a:p>
          </p:txBody>
        </p: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F00EED57-23ED-403B-9943-8498AB967BDB}"/>
              </a:ext>
            </a:extLst>
          </p:cNvPr>
          <p:cNvGrpSpPr/>
          <p:nvPr/>
        </p:nvGrpSpPr>
        <p:grpSpPr>
          <a:xfrm>
            <a:off x="1456891" y="3661758"/>
            <a:ext cx="2368772" cy="1237938"/>
            <a:chOff x="1133459" y="1595965"/>
            <a:chExt cx="2368772" cy="1237938"/>
          </a:xfrm>
        </p:grpSpPr>
        <p:sp>
          <p:nvSpPr>
            <p:cNvPr id="103" name="Rectangle 8">
              <a:extLst>
                <a:ext uri="{FF2B5EF4-FFF2-40B4-BE49-F238E27FC236}">
                  <a16:creationId xmlns:a16="http://schemas.microsoft.com/office/drawing/2014/main" id="{A47E6F5C-61DF-46F6-A06B-463A21433F82}"/>
                </a:ext>
              </a:extLst>
            </p:cNvPr>
            <p:cNvSpPr/>
            <p:nvPr/>
          </p:nvSpPr>
          <p:spPr>
            <a:xfrm>
              <a:off x="1133461" y="2135186"/>
              <a:ext cx="2368770" cy="6987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104" name="TextBox 9">
              <a:extLst>
                <a:ext uri="{FF2B5EF4-FFF2-40B4-BE49-F238E27FC236}">
                  <a16:creationId xmlns:a16="http://schemas.microsoft.com/office/drawing/2014/main" id="{9B39EDD0-90AB-4BFB-9908-65CD2056FA17}"/>
                </a:ext>
              </a:extLst>
            </p:cNvPr>
            <p:cNvSpPr txBox="1"/>
            <p:nvPr/>
          </p:nvSpPr>
          <p:spPr>
            <a:xfrm>
              <a:off x="1133459" y="1595965"/>
              <a:ext cx="15824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b="1" dirty="0">
                  <a:solidFill>
                    <a:schemeClr val="accent2"/>
                  </a:solidFill>
                  <a:cs typeface="+mn-ea"/>
                  <a:sym typeface="+mn-lt"/>
                </a:rPr>
                <a:t>Add title text</a:t>
              </a:r>
              <a:endParaRPr lang="en-GB" b="1" dirty="0">
                <a:solidFill>
                  <a:schemeClr val="accent2"/>
                </a:solidFill>
                <a:cs typeface="+mn-ea"/>
                <a:sym typeface="+mn-lt"/>
              </a:endParaRPr>
            </a:p>
          </p:txBody>
        </p:sp>
        <p:cxnSp>
          <p:nvCxnSpPr>
            <p:cNvPr id="105" name="直接连接符 104">
              <a:extLst>
                <a:ext uri="{FF2B5EF4-FFF2-40B4-BE49-F238E27FC236}">
                  <a16:creationId xmlns:a16="http://schemas.microsoft.com/office/drawing/2014/main" id="{1917C475-5016-4848-8CC2-E4626E5FB82F}"/>
                </a:ext>
              </a:extLst>
            </p:cNvPr>
            <p:cNvCxnSpPr>
              <a:cxnSpLocks/>
            </p:cNvCxnSpPr>
            <p:nvPr/>
          </p:nvCxnSpPr>
          <p:spPr>
            <a:xfrm>
              <a:off x="1246941" y="2043741"/>
              <a:ext cx="208479" cy="0"/>
            </a:xfrm>
            <a:prstGeom prst="line">
              <a:avLst/>
            </a:prstGeom>
            <a:ln w="254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" name="组合 105">
            <a:extLst>
              <a:ext uri="{FF2B5EF4-FFF2-40B4-BE49-F238E27FC236}">
                <a16:creationId xmlns:a16="http://schemas.microsoft.com/office/drawing/2014/main" id="{D8438A8A-9CDB-4F0E-9533-1943B413D212}"/>
              </a:ext>
            </a:extLst>
          </p:cNvPr>
          <p:cNvGrpSpPr/>
          <p:nvPr/>
        </p:nvGrpSpPr>
        <p:grpSpPr>
          <a:xfrm>
            <a:off x="8570413" y="2169094"/>
            <a:ext cx="745331" cy="744538"/>
            <a:chOff x="853282" y="4179094"/>
            <a:chExt cx="745331" cy="744538"/>
          </a:xfrm>
        </p:grpSpPr>
        <p:sp>
          <p:nvSpPr>
            <p:cNvPr id="107" name="Oval 74">
              <a:extLst>
                <a:ext uri="{FF2B5EF4-FFF2-40B4-BE49-F238E27FC236}">
                  <a16:creationId xmlns:a16="http://schemas.microsoft.com/office/drawing/2014/main" id="{A85D841A-65CA-458E-8CAC-1519EBF619E3}"/>
                </a:ext>
              </a:extLst>
            </p:cNvPr>
            <p:cNvSpPr/>
            <p:nvPr/>
          </p:nvSpPr>
          <p:spPr>
            <a:xfrm>
              <a:off x="853282" y="4179094"/>
              <a:ext cx="745331" cy="74453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108" name="Shape 412">
              <a:extLst>
                <a:ext uri="{FF2B5EF4-FFF2-40B4-BE49-F238E27FC236}">
                  <a16:creationId xmlns:a16="http://schemas.microsoft.com/office/drawing/2014/main" id="{47B1C27D-21F6-4708-82A2-E30C17AC5B20}"/>
                </a:ext>
              </a:extLst>
            </p:cNvPr>
            <p:cNvSpPr/>
            <p:nvPr/>
          </p:nvSpPr>
          <p:spPr>
            <a:xfrm>
              <a:off x="1066007" y="4355307"/>
              <a:ext cx="346075" cy="3524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40" h="21600" extrusionOk="0">
                  <a:moveTo>
                    <a:pt x="4896" y="0"/>
                  </a:moveTo>
                  <a:cubicBezTo>
                    <a:pt x="4786" y="0"/>
                    <a:pt x="4683" y="49"/>
                    <a:pt x="4612" y="128"/>
                  </a:cubicBezTo>
                  <a:cubicBezTo>
                    <a:pt x="4546" y="210"/>
                    <a:pt x="4519" y="319"/>
                    <a:pt x="4539" y="424"/>
                  </a:cubicBezTo>
                  <a:lnTo>
                    <a:pt x="4749" y="1474"/>
                  </a:lnTo>
                  <a:cubicBezTo>
                    <a:pt x="4749" y="1474"/>
                    <a:pt x="16027" y="1474"/>
                    <a:pt x="16027" y="1474"/>
                  </a:cubicBezTo>
                  <a:lnTo>
                    <a:pt x="16225" y="419"/>
                  </a:lnTo>
                  <a:cubicBezTo>
                    <a:pt x="16244" y="317"/>
                    <a:pt x="16216" y="207"/>
                    <a:pt x="16146" y="128"/>
                  </a:cubicBezTo>
                  <a:cubicBezTo>
                    <a:pt x="16079" y="46"/>
                    <a:pt x="15975" y="0"/>
                    <a:pt x="15868" y="0"/>
                  </a:cubicBezTo>
                  <a:lnTo>
                    <a:pt x="4896" y="0"/>
                  </a:lnTo>
                  <a:close/>
                  <a:moveTo>
                    <a:pt x="3445" y="2322"/>
                  </a:moveTo>
                  <a:cubicBezTo>
                    <a:pt x="3332" y="2322"/>
                    <a:pt x="3233" y="2373"/>
                    <a:pt x="3162" y="2462"/>
                  </a:cubicBezTo>
                  <a:cubicBezTo>
                    <a:pt x="3091" y="2548"/>
                    <a:pt x="3067" y="2660"/>
                    <a:pt x="3094" y="2769"/>
                  </a:cubicBezTo>
                  <a:lnTo>
                    <a:pt x="3349" y="3796"/>
                  </a:lnTo>
                  <a:cubicBezTo>
                    <a:pt x="3349" y="3796"/>
                    <a:pt x="17393" y="3796"/>
                    <a:pt x="17393" y="3796"/>
                  </a:cubicBezTo>
                  <a:lnTo>
                    <a:pt x="17636" y="2758"/>
                  </a:lnTo>
                  <a:cubicBezTo>
                    <a:pt x="17660" y="2653"/>
                    <a:pt x="17639" y="2542"/>
                    <a:pt x="17568" y="2456"/>
                  </a:cubicBezTo>
                  <a:cubicBezTo>
                    <a:pt x="17502" y="2374"/>
                    <a:pt x="17395" y="2322"/>
                    <a:pt x="17285" y="2322"/>
                  </a:cubicBezTo>
                  <a:lnTo>
                    <a:pt x="3445" y="2322"/>
                  </a:lnTo>
                  <a:close/>
                  <a:moveTo>
                    <a:pt x="3043" y="4824"/>
                  </a:moveTo>
                  <a:cubicBezTo>
                    <a:pt x="1465" y="4824"/>
                    <a:pt x="180" y="6083"/>
                    <a:pt x="180" y="7637"/>
                  </a:cubicBezTo>
                  <a:lnTo>
                    <a:pt x="1195" y="14303"/>
                  </a:lnTo>
                  <a:cubicBezTo>
                    <a:pt x="1195" y="14303"/>
                    <a:pt x="2550" y="14303"/>
                    <a:pt x="2550" y="14303"/>
                  </a:cubicBezTo>
                  <a:lnTo>
                    <a:pt x="1529" y="7637"/>
                  </a:lnTo>
                  <a:cubicBezTo>
                    <a:pt x="1529" y="6817"/>
                    <a:pt x="2210" y="6152"/>
                    <a:pt x="3043" y="6152"/>
                  </a:cubicBezTo>
                  <a:lnTo>
                    <a:pt x="18441" y="6152"/>
                  </a:lnTo>
                  <a:cubicBezTo>
                    <a:pt x="19277" y="6152"/>
                    <a:pt x="19949" y="6817"/>
                    <a:pt x="19949" y="7637"/>
                  </a:cubicBezTo>
                  <a:lnTo>
                    <a:pt x="19048" y="14231"/>
                  </a:lnTo>
                  <a:lnTo>
                    <a:pt x="20396" y="14231"/>
                  </a:lnTo>
                  <a:lnTo>
                    <a:pt x="21303" y="7637"/>
                  </a:lnTo>
                  <a:cubicBezTo>
                    <a:pt x="21303" y="6083"/>
                    <a:pt x="20022" y="4824"/>
                    <a:pt x="18441" y="4824"/>
                  </a:cubicBezTo>
                  <a:lnTo>
                    <a:pt x="3043" y="4824"/>
                  </a:lnTo>
                  <a:close/>
                  <a:moveTo>
                    <a:pt x="8211" y="8575"/>
                  </a:moveTo>
                  <a:cubicBezTo>
                    <a:pt x="6304" y="8575"/>
                    <a:pt x="6032" y="10338"/>
                    <a:pt x="6160" y="11651"/>
                  </a:cubicBezTo>
                  <a:cubicBezTo>
                    <a:pt x="6132" y="11648"/>
                    <a:pt x="6101" y="11646"/>
                    <a:pt x="6075" y="11646"/>
                  </a:cubicBezTo>
                  <a:cubicBezTo>
                    <a:pt x="5771" y="11646"/>
                    <a:pt x="5773" y="12023"/>
                    <a:pt x="5831" y="12478"/>
                  </a:cubicBezTo>
                  <a:cubicBezTo>
                    <a:pt x="5884" y="12924"/>
                    <a:pt x="6305" y="13561"/>
                    <a:pt x="6596" y="13561"/>
                  </a:cubicBezTo>
                  <a:cubicBezTo>
                    <a:pt x="6633" y="13561"/>
                    <a:pt x="6670" y="13549"/>
                    <a:pt x="6698" y="13533"/>
                  </a:cubicBezTo>
                  <a:cubicBezTo>
                    <a:pt x="6912" y="13915"/>
                    <a:pt x="7175" y="14253"/>
                    <a:pt x="7469" y="14521"/>
                  </a:cubicBezTo>
                  <a:lnTo>
                    <a:pt x="9668" y="14521"/>
                  </a:lnTo>
                  <a:cubicBezTo>
                    <a:pt x="9936" y="14251"/>
                    <a:pt x="10167" y="13903"/>
                    <a:pt x="10331" y="13516"/>
                  </a:cubicBezTo>
                  <a:cubicBezTo>
                    <a:pt x="10371" y="13543"/>
                    <a:pt x="10406" y="13561"/>
                    <a:pt x="10450" y="13561"/>
                  </a:cubicBezTo>
                  <a:cubicBezTo>
                    <a:pt x="10741" y="13561"/>
                    <a:pt x="11093" y="12924"/>
                    <a:pt x="11096" y="12478"/>
                  </a:cubicBezTo>
                  <a:cubicBezTo>
                    <a:pt x="11099" y="12023"/>
                    <a:pt x="11058" y="11646"/>
                    <a:pt x="10750" y="11646"/>
                  </a:cubicBezTo>
                  <a:cubicBezTo>
                    <a:pt x="10717" y="11646"/>
                    <a:pt x="10677" y="11653"/>
                    <a:pt x="10637" y="11663"/>
                  </a:cubicBezTo>
                  <a:cubicBezTo>
                    <a:pt x="10611" y="10346"/>
                    <a:pt x="10260" y="8575"/>
                    <a:pt x="8211" y="8575"/>
                  </a:cubicBezTo>
                  <a:close/>
                  <a:moveTo>
                    <a:pt x="10881" y="9647"/>
                  </a:moveTo>
                  <a:cubicBezTo>
                    <a:pt x="11058" y="10068"/>
                    <a:pt x="11184" y="10574"/>
                    <a:pt x="11226" y="11182"/>
                  </a:cubicBezTo>
                  <a:cubicBezTo>
                    <a:pt x="11354" y="11261"/>
                    <a:pt x="11444" y="11393"/>
                    <a:pt x="11521" y="11551"/>
                  </a:cubicBezTo>
                  <a:lnTo>
                    <a:pt x="16792" y="11551"/>
                  </a:lnTo>
                  <a:cubicBezTo>
                    <a:pt x="17066" y="11551"/>
                    <a:pt x="17323" y="11324"/>
                    <a:pt x="17370" y="11037"/>
                  </a:cubicBezTo>
                  <a:lnTo>
                    <a:pt x="17500" y="10194"/>
                  </a:lnTo>
                  <a:cubicBezTo>
                    <a:pt x="17547" y="9891"/>
                    <a:pt x="17354" y="9647"/>
                    <a:pt x="17070" y="9647"/>
                  </a:cubicBezTo>
                  <a:lnTo>
                    <a:pt x="10881" y="9647"/>
                  </a:lnTo>
                  <a:close/>
                  <a:moveTo>
                    <a:pt x="11481" y="13042"/>
                  </a:moveTo>
                  <a:cubicBezTo>
                    <a:pt x="11338" y="13539"/>
                    <a:pt x="11012" y="14050"/>
                    <a:pt x="10563" y="14180"/>
                  </a:cubicBezTo>
                  <a:cubicBezTo>
                    <a:pt x="10551" y="14205"/>
                    <a:pt x="10531" y="14226"/>
                    <a:pt x="10518" y="14247"/>
                  </a:cubicBezTo>
                  <a:lnTo>
                    <a:pt x="10524" y="14661"/>
                  </a:lnTo>
                  <a:cubicBezTo>
                    <a:pt x="10524" y="14661"/>
                    <a:pt x="16214" y="14661"/>
                    <a:pt x="16214" y="14661"/>
                  </a:cubicBezTo>
                  <a:cubicBezTo>
                    <a:pt x="16465" y="14661"/>
                    <a:pt x="16701" y="14469"/>
                    <a:pt x="16741" y="14225"/>
                  </a:cubicBezTo>
                  <a:lnTo>
                    <a:pt x="16854" y="13505"/>
                  </a:lnTo>
                  <a:cubicBezTo>
                    <a:pt x="16894" y="13250"/>
                    <a:pt x="16716" y="13042"/>
                    <a:pt x="16452" y="13042"/>
                  </a:cubicBezTo>
                  <a:lnTo>
                    <a:pt x="11481" y="13042"/>
                  </a:lnTo>
                  <a:close/>
                  <a:moveTo>
                    <a:pt x="963" y="15185"/>
                  </a:moveTo>
                  <a:cubicBezTo>
                    <a:pt x="686" y="15185"/>
                    <a:pt x="416" y="15307"/>
                    <a:pt x="232" y="15515"/>
                  </a:cubicBezTo>
                  <a:cubicBezTo>
                    <a:pt x="48" y="15722"/>
                    <a:pt x="-30" y="16000"/>
                    <a:pt x="10" y="16274"/>
                  </a:cubicBezTo>
                  <a:lnTo>
                    <a:pt x="798" y="21600"/>
                  </a:lnTo>
                  <a:lnTo>
                    <a:pt x="20742" y="21600"/>
                  </a:lnTo>
                  <a:lnTo>
                    <a:pt x="21530" y="16274"/>
                  </a:lnTo>
                  <a:cubicBezTo>
                    <a:pt x="21570" y="16000"/>
                    <a:pt x="21487" y="15722"/>
                    <a:pt x="21303" y="15515"/>
                  </a:cubicBezTo>
                  <a:cubicBezTo>
                    <a:pt x="21120" y="15304"/>
                    <a:pt x="20853" y="15185"/>
                    <a:pt x="20572" y="15185"/>
                  </a:cubicBezTo>
                  <a:cubicBezTo>
                    <a:pt x="20572" y="15185"/>
                    <a:pt x="963" y="15185"/>
                    <a:pt x="963" y="15185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txBody>
            <a:bodyPr lIns="19050" tIns="19050" rIns="19050" bIns="1905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cs typeface="+mn-ea"/>
                <a:sym typeface="+mn-lt"/>
              </a:endParaRPr>
            </a:p>
          </p:txBody>
        </p:sp>
      </p:grpSp>
      <p:grpSp>
        <p:nvGrpSpPr>
          <p:cNvPr id="109" name="组合 108">
            <a:extLst>
              <a:ext uri="{FF2B5EF4-FFF2-40B4-BE49-F238E27FC236}">
                <a16:creationId xmlns:a16="http://schemas.microsoft.com/office/drawing/2014/main" id="{4D430F54-449B-48A8-AF8E-A1AFD389361D}"/>
              </a:ext>
            </a:extLst>
          </p:cNvPr>
          <p:cNvGrpSpPr/>
          <p:nvPr/>
        </p:nvGrpSpPr>
        <p:grpSpPr>
          <a:xfrm>
            <a:off x="9439541" y="1824611"/>
            <a:ext cx="2172399" cy="1237938"/>
            <a:chOff x="1133459" y="1595965"/>
            <a:chExt cx="2172399" cy="1237938"/>
          </a:xfrm>
        </p:grpSpPr>
        <p:sp>
          <p:nvSpPr>
            <p:cNvPr id="110" name="Rectangle 8">
              <a:extLst>
                <a:ext uri="{FF2B5EF4-FFF2-40B4-BE49-F238E27FC236}">
                  <a16:creationId xmlns:a16="http://schemas.microsoft.com/office/drawing/2014/main" id="{8850F634-F1BF-4654-9FB8-55FAB0AE3BEE}"/>
                </a:ext>
              </a:extLst>
            </p:cNvPr>
            <p:cNvSpPr/>
            <p:nvPr/>
          </p:nvSpPr>
          <p:spPr>
            <a:xfrm>
              <a:off x="1133461" y="2135186"/>
              <a:ext cx="2172397" cy="6987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111" name="TextBox 9">
              <a:extLst>
                <a:ext uri="{FF2B5EF4-FFF2-40B4-BE49-F238E27FC236}">
                  <a16:creationId xmlns:a16="http://schemas.microsoft.com/office/drawing/2014/main" id="{B5CEB044-9759-44C3-A5B3-540874FBD993}"/>
                </a:ext>
              </a:extLst>
            </p:cNvPr>
            <p:cNvSpPr txBox="1"/>
            <p:nvPr/>
          </p:nvSpPr>
          <p:spPr>
            <a:xfrm>
              <a:off x="1133459" y="1595965"/>
              <a:ext cx="15824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b="1" dirty="0">
                  <a:solidFill>
                    <a:schemeClr val="accent3"/>
                  </a:solidFill>
                  <a:cs typeface="+mn-ea"/>
                  <a:sym typeface="+mn-lt"/>
                </a:rPr>
                <a:t>Add title text</a:t>
              </a:r>
              <a:endParaRPr lang="en-GB" b="1" dirty="0">
                <a:solidFill>
                  <a:schemeClr val="accent3"/>
                </a:solidFill>
                <a:cs typeface="+mn-ea"/>
                <a:sym typeface="+mn-lt"/>
              </a:endParaRPr>
            </a:p>
          </p:txBody>
        </p:sp>
        <p:cxnSp>
          <p:nvCxnSpPr>
            <p:cNvPr id="112" name="直接连接符 111">
              <a:extLst>
                <a:ext uri="{FF2B5EF4-FFF2-40B4-BE49-F238E27FC236}">
                  <a16:creationId xmlns:a16="http://schemas.microsoft.com/office/drawing/2014/main" id="{544A1E16-FE08-4082-9899-78BCA45CE1DD}"/>
                </a:ext>
              </a:extLst>
            </p:cNvPr>
            <p:cNvCxnSpPr>
              <a:cxnSpLocks/>
            </p:cNvCxnSpPr>
            <p:nvPr/>
          </p:nvCxnSpPr>
          <p:spPr>
            <a:xfrm>
              <a:off x="1246941" y="2043741"/>
              <a:ext cx="208479" cy="0"/>
            </a:xfrm>
            <a:prstGeom prst="line">
              <a:avLst/>
            </a:prstGeom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组合 112">
            <a:extLst>
              <a:ext uri="{FF2B5EF4-FFF2-40B4-BE49-F238E27FC236}">
                <a16:creationId xmlns:a16="http://schemas.microsoft.com/office/drawing/2014/main" id="{48AE20EB-38A0-4309-ABB7-D47C83EC81E0}"/>
              </a:ext>
            </a:extLst>
          </p:cNvPr>
          <p:cNvGrpSpPr/>
          <p:nvPr/>
        </p:nvGrpSpPr>
        <p:grpSpPr>
          <a:xfrm>
            <a:off x="8570413" y="4006241"/>
            <a:ext cx="745331" cy="744538"/>
            <a:chOff x="853282" y="5348288"/>
            <a:chExt cx="745331" cy="744538"/>
          </a:xfrm>
        </p:grpSpPr>
        <p:sp>
          <p:nvSpPr>
            <p:cNvPr id="114" name="Oval 76">
              <a:extLst>
                <a:ext uri="{FF2B5EF4-FFF2-40B4-BE49-F238E27FC236}">
                  <a16:creationId xmlns:a16="http://schemas.microsoft.com/office/drawing/2014/main" id="{C4506323-81D7-4DA6-AF01-27127791B37E}"/>
                </a:ext>
              </a:extLst>
            </p:cNvPr>
            <p:cNvSpPr/>
            <p:nvPr/>
          </p:nvSpPr>
          <p:spPr>
            <a:xfrm>
              <a:off x="853282" y="5348288"/>
              <a:ext cx="745331" cy="74453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cs typeface="+mn-ea"/>
                <a:sym typeface="+mn-lt"/>
              </a:endParaRPr>
            </a:p>
          </p:txBody>
        </p:sp>
        <p:sp>
          <p:nvSpPr>
            <p:cNvPr id="115" name="Shape 1098">
              <a:extLst>
                <a:ext uri="{FF2B5EF4-FFF2-40B4-BE49-F238E27FC236}">
                  <a16:creationId xmlns:a16="http://schemas.microsoft.com/office/drawing/2014/main" id="{7525049B-12ED-422C-AF47-317F565E18FF}"/>
                </a:ext>
              </a:extLst>
            </p:cNvPr>
            <p:cNvSpPr/>
            <p:nvPr/>
          </p:nvSpPr>
          <p:spPr>
            <a:xfrm>
              <a:off x="1046163" y="5527675"/>
              <a:ext cx="352425" cy="379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38" y="11186"/>
                  </a:moveTo>
                  <a:lnTo>
                    <a:pt x="16200" y="11186"/>
                  </a:lnTo>
                  <a:lnTo>
                    <a:pt x="16200" y="7714"/>
                  </a:lnTo>
                  <a:lnTo>
                    <a:pt x="19938" y="7714"/>
                  </a:lnTo>
                  <a:cubicBezTo>
                    <a:pt x="19938" y="7714"/>
                    <a:pt x="19938" y="11186"/>
                    <a:pt x="19938" y="11186"/>
                  </a:cubicBezTo>
                  <a:close/>
                  <a:moveTo>
                    <a:pt x="19938" y="15814"/>
                  </a:moveTo>
                  <a:lnTo>
                    <a:pt x="16200" y="15814"/>
                  </a:lnTo>
                  <a:lnTo>
                    <a:pt x="16200" y="11958"/>
                  </a:lnTo>
                  <a:lnTo>
                    <a:pt x="19938" y="11958"/>
                  </a:lnTo>
                  <a:cubicBezTo>
                    <a:pt x="19938" y="11958"/>
                    <a:pt x="19938" y="15814"/>
                    <a:pt x="19938" y="15814"/>
                  </a:cubicBezTo>
                  <a:close/>
                  <a:moveTo>
                    <a:pt x="19938" y="20057"/>
                  </a:moveTo>
                  <a:lnTo>
                    <a:pt x="16200" y="20057"/>
                  </a:lnTo>
                  <a:lnTo>
                    <a:pt x="16200" y="16586"/>
                  </a:lnTo>
                  <a:lnTo>
                    <a:pt x="19938" y="16586"/>
                  </a:lnTo>
                  <a:cubicBezTo>
                    <a:pt x="19938" y="16586"/>
                    <a:pt x="19938" y="20057"/>
                    <a:pt x="19938" y="20057"/>
                  </a:cubicBezTo>
                  <a:close/>
                  <a:moveTo>
                    <a:pt x="15077" y="5672"/>
                  </a:moveTo>
                  <a:cubicBezTo>
                    <a:pt x="14995" y="5595"/>
                    <a:pt x="14955" y="5505"/>
                    <a:pt x="14955" y="5400"/>
                  </a:cubicBezTo>
                  <a:lnTo>
                    <a:pt x="14955" y="1929"/>
                  </a:lnTo>
                  <a:cubicBezTo>
                    <a:pt x="14955" y="1824"/>
                    <a:pt x="14995" y="1734"/>
                    <a:pt x="15077" y="1658"/>
                  </a:cubicBezTo>
                  <a:cubicBezTo>
                    <a:pt x="15159" y="1581"/>
                    <a:pt x="15256" y="1543"/>
                    <a:pt x="15369" y="1543"/>
                  </a:cubicBezTo>
                  <a:lnTo>
                    <a:pt x="16200" y="1543"/>
                  </a:lnTo>
                  <a:cubicBezTo>
                    <a:pt x="16313" y="1543"/>
                    <a:pt x="16410" y="1581"/>
                    <a:pt x="16492" y="1658"/>
                  </a:cubicBezTo>
                  <a:cubicBezTo>
                    <a:pt x="16574" y="1734"/>
                    <a:pt x="16615" y="1824"/>
                    <a:pt x="16615" y="1929"/>
                  </a:cubicBezTo>
                  <a:lnTo>
                    <a:pt x="16615" y="5400"/>
                  </a:lnTo>
                  <a:cubicBezTo>
                    <a:pt x="16615" y="5505"/>
                    <a:pt x="16574" y="5595"/>
                    <a:pt x="16492" y="5672"/>
                  </a:cubicBezTo>
                  <a:cubicBezTo>
                    <a:pt x="16410" y="5748"/>
                    <a:pt x="16313" y="5786"/>
                    <a:pt x="16200" y="5786"/>
                  </a:cubicBezTo>
                  <a:lnTo>
                    <a:pt x="15369" y="5786"/>
                  </a:lnTo>
                  <a:cubicBezTo>
                    <a:pt x="15256" y="5786"/>
                    <a:pt x="15159" y="5748"/>
                    <a:pt x="15077" y="5672"/>
                  </a:cubicBezTo>
                  <a:cubicBezTo>
                    <a:pt x="15077" y="5672"/>
                    <a:pt x="15077" y="5672"/>
                    <a:pt x="15077" y="5672"/>
                  </a:cubicBezTo>
                  <a:close/>
                  <a:moveTo>
                    <a:pt x="15369" y="11186"/>
                  </a:moveTo>
                  <a:lnTo>
                    <a:pt x="11216" y="11186"/>
                  </a:lnTo>
                  <a:lnTo>
                    <a:pt x="11216" y="7714"/>
                  </a:lnTo>
                  <a:lnTo>
                    <a:pt x="15369" y="7714"/>
                  </a:lnTo>
                  <a:cubicBezTo>
                    <a:pt x="15369" y="7714"/>
                    <a:pt x="15369" y="11186"/>
                    <a:pt x="15369" y="11186"/>
                  </a:cubicBezTo>
                  <a:close/>
                  <a:moveTo>
                    <a:pt x="15369" y="15814"/>
                  </a:moveTo>
                  <a:lnTo>
                    <a:pt x="11216" y="15814"/>
                  </a:lnTo>
                  <a:lnTo>
                    <a:pt x="11216" y="11958"/>
                  </a:lnTo>
                  <a:lnTo>
                    <a:pt x="15369" y="11958"/>
                  </a:lnTo>
                  <a:cubicBezTo>
                    <a:pt x="15369" y="11958"/>
                    <a:pt x="15369" y="15814"/>
                    <a:pt x="15369" y="15814"/>
                  </a:cubicBezTo>
                  <a:close/>
                  <a:moveTo>
                    <a:pt x="15369" y="20057"/>
                  </a:moveTo>
                  <a:lnTo>
                    <a:pt x="11216" y="20057"/>
                  </a:lnTo>
                  <a:lnTo>
                    <a:pt x="11216" y="16586"/>
                  </a:lnTo>
                  <a:lnTo>
                    <a:pt x="15369" y="16586"/>
                  </a:lnTo>
                  <a:cubicBezTo>
                    <a:pt x="15369" y="16586"/>
                    <a:pt x="15369" y="20057"/>
                    <a:pt x="15369" y="20057"/>
                  </a:cubicBezTo>
                  <a:close/>
                  <a:moveTo>
                    <a:pt x="10385" y="11186"/>
                  </a:moveTo>
                  <a:lnTo>
                    <a:pt x="6231" y="11186"/>
                  </a:lnTo>
                  <a:lnTo>
                    <a:pt x="6231" y="7714"/>
                  </a:lnTo>
                  <a:lnTo>
                    <a:pt x="10385" y="7714"/>
                  </a:lnTo>
                  <a:cubicBezTo>
                    <a:pt x="10385" y="7714"/>
                    <a:pt x="10385" y="11186"/>
                    <a:pt x="10385" y="11186"/>
                  </a:cubicBezTo>
                  <a:close/>
                  <a:moveTo>
                    <a:pt x="10385" y="15814"/>
                  </a:moveTo>
                  <a:lnTo>
                    <a:pt x="6231" y="15814"/>
                  </a:lnTo>
                  <a:lnTo>
                    <a:pt x="6231" y="11958"/>
                  </a:lnTo>
                  <a:lnTo>
                    <a:pt x="10385" y="11958"/>
                  </a:lnTo>
                  <a:cubicBezTo>
                    <a:pt x="10385" y="11958"/>
                    <a:pt x="10385" y="15814"/>
                    <a:pt x="10385" y="15814"/>
                  </a:cubicBezTo>
                  <a:close/>
                  <a:moveTo>
                    <a:pt x="10385" y="20057"/>
                  </a:moveTo>
                  <a:lnTo>
                    <a:pt x="6231" y="20057"/>
                  </a:lnTo>
                  <a:lnTo>
                    <a:pt x="6231" y="16586"/>
                  </a:lnTo>
                  <a:lnTo>
                    <a:pt x="10385" y="16586"/>
                  </a:lnTo>
                  <a:cubicBezTo>
                    <a:pt x="10385" y="16586"/>
                    <a:pt x="10385" y="20057"/>
                    <a:pt x="10385" y="20057"/>
                  </a:cubicBezTo>
                  <a:close/>
                  <a:moveTo>
                    <a:pt x="5108" y="5672"/>
                  </a:moveTo>
                  <a:cubicBezTo>
                    <a:pt x="5026" y="5595"/>
                    <a:pt x="4985" y="5505"/>
                    <a:pt x="4985" y="5400"/>
                  </a:cubicBezTo>
                  <a:lnTo>
                    <a:pt x="4985" y="1929"/>
                  </a:lnTo>
                  <a:cubicBezTo>
                    <a:pt x="4985" y="1824"/>
                    <a:pt x="5026" y="1734"/>
                    <a:pt x="5108" y="1658"/>
                  </a:cubicBezTo>
                  <a:cubicBezTo>
                    <a:pt x="5191" y="1581"/>
                    <a:pt x="5288" y="1543"/>
                    <a:pt x="5400" y="1543"/>
                  </a:cubicBezTo>
                  <a:lnTo>
                    <a:pt x="6231" y="1543"/>
                  </a:lnTo>
                  <a:cubicBezTo>
                    <a:pt x="6343" y="1543"/>
                    <a:pt x="6441" y="1581"/>
                    <a:pt x="6523" y="1658"/>
                  </a:cubicBezTo>
                  <a:cubicBezTo>
                    <a:pt x="6605" y="1734"/>
                    <a:pt x="6646" y="1824"/>
                    <a:pt x="6646" y="1929"/>
                  </a:cubicBezTo>
                  <a:lnTo>
                    <a:pt x="6646" y="5400"/>
                  </a:lnTo>
                  <a:cubicBezTo>
                    <a:pt x="6646" y="5505"/>
                    <a:pt x="6605" y="5595"/>
                    <a:pt x="6523" y="5672"/>
                  </a:cubicBezTo>
                  <a:cubicBezTo>
                    <a:pt x="6441" y="5748"/>
                    <a:pt x="6343" y="5786"/>
                    <a:pt x="6231" y="5786"/>
                  </a:cubicBezTo>
                  <a:lnTo>
                    <a:pt x="5400" y="5786"/>
                  </a:lnTo>
                  <a:cubicBezTo>
                    <a:pt x="5288" y="5786"/>
                    <a:pt x="5191" y="5748"/>
                    <a:pt x="5108" y="5672"/>
                  </a:cubicBezTo>
                  <a:cubicBezTo>
                    <a:pt x="5108" y="5672"/>
                    <a:pt x="5108" y="5672"/>
                    <a:pt x="5108" y="5672"/>
                  </a:cubicBezTo>
                  <a:close/>
                  <a:moveTo>
                    <a:pt x="5400" y="11186"/>
                  </a:moveTo>
                  <a:lnTo>
                    <a:pt x="1662" y="11186"/>
                  </a:lnTo>
                  <a:lnTo>
                    <a:pt x="1662" y="7714"/>
                  </a:lnTo>
                  <a:lnTo>
                    <a:pt x="5400" y="7714"/>
                  </a:lnTo>
                  <a:cubicBezTo>
                    <a:pt x="5400" y="7714"/>
                    <a:pt x="5400" y="11186"/>
                    <a:pt x="5400" y="11186"/>
                  </a:cubicBezTo>
                  <a:close/>
                  <a:moveTo>
                    <a:pt x="5400" y="15814"/>
                  </a:moveTo>
                  <a:lnTo>
                    <a:pt x="1662" y="15814"/>
                  </a:lnTo>
                  <a:lnTo>
                    <a:pt x="1662" y="11958"/>
                  </a:lnTo>
                  <a:lnTo>
                    <a:pt x="5400" y="11958"/>
                  </a:lnTo>
                  <a:cubicBezTo>
                    <a:pt x="5400" y="11958"/>
                    <a:pt x="5400" y="15814"/>
                    <a:pt x="5400" y="15814"/>
                  </a:cubicBezTo>
                  <a:close/>
                  <a:moveTo>
                    <a:pt x="5400" y="20057"/>
                  </a:moveTo>
                  <a:lnTo>
                    <a:pt x="1662" y="20057"/>
                  </a:lnTo>
                  <a:lnTo>
                    <a:pt x="1662" y="16586"/>
                  </a:lnTo>
                  <a:lnTo>
                    <a:pt x="5400" y="16586"/>
                  </a:lnTo>
                  <a:cubicBezTo>
                    <a:pt x="5400" y="16586"/>
                    <a:pt x="5400" y="20057"/>
                    <a:pt x="5400" y="20057"/>
                  </a:cubicBezTo>
                  <a:close/>
                  <a:moveTo>
                    <a:pt x="21107" y="3544"/>
                  </a:moveTo>
                  <a:cubicBezTo>
                    <a:pt x="20778" y="3239"/>
                    <a:pt x="20389" y="3086"/>
                    <a:pt x="19939" y="3086"/>
                  </a:cubicBezTo>
                  <a:lnTo>
                    <a:pt x="18277" y="3086"/>
                  </a:lnTo>
                  <a:lnTo>
                    <a:pt x="18277" y="1929"/>
                  </a:lnTo>
                  <a:cubicBezTo>
                    <a:pt x="18277" y="1399"/>
                    <a:pt x="18074" y="944"/>
                    <a:pt x="17667" y="567"/>
                  </a:cubicBezTo>
                  <a:cubicBezTo>
                    <a:pt x="17260" y="189"/>
                    <a:pt x="16771" y="0"/>
                    <a:pt x="16200" y="0"/>
                  </a:cubicBezTo>
                  <a:lnTo>
                    <a:pt x="15369" y="0"/>
                  </a:lnTo>
                  <a:cubicBezTo>
                    <a:pt x="14798" y="0"/>
                    <a:pt x="14310" y="189"/>
                    <a:pt x="13903" y="567"/>
                  </a:cubicBezTo>
                  <a:cubicBezTo>
                    <a:pt x="13496" y="944"/>
                    <a:pt x="13292" y="1399"/>
                    <a:pt x="13292" y="1929"/>
                  </a:cubicBezTo>
                  <a:lnTo>
                    <a:pt x="13292" y="3086"/>
                  </a:lnTo>
                  <a:lnTo>
                    <a:pt x="8308" y="3086"/>
                  </a:lnTo>
                  <a:lnTo>
                    <a:pt x="8308" y="1929"/>
                  </a:lnTo>
                  <a:cubicBezTo>
                    <a:pt x="8308" y="1399"/>
                    <a:pt x="8105" y="944"/>
                    <a:pt x="7698" y="567"/>
                  </a:cubicBezTo>
                  <a:cubicBezTo>
                    <a:pt x="7291" y="189"/>
                    <a:pt x="6802" y="0"/>
                    <a:pt x="6231" y="0"/>
                  </a:cubicBezTo>
                  <a:lnTo>
                    <a:pt x="5400" y="0"/>
                  </a:lnTo>
                  <a:cubicBezTo>
                    <a:pt x="4829" y="0"/>
                    <a:pt x="4340" y="189"/>
                    <a:pt x="3933" y="567"/>
                  </a:cubicBezTo>
                  <a:cubicBezTo>
                    <a:pt x="3526" y="944"/>
                    <a:pt x="3323" y="1399"/>
                    <a:pt x="3323" y="1929"/>
                  </a:cubicBezTo>
                  <a:lnTo>
                    <a:pt x="3323" y="3086"/>
                  </a:lnTo>
                  <a:lnTo>
                    <a:pt x="1662" y="3086"/>
                  </a:lnTo>
                  <a:cubicBezTo>
                    <a:pt x="1211" y="3086"/>
                    <a:pt x="822" y="3239"/>
                    <a:pt x="493" y="3544"/>
                  </a:cubicBezTo>
                  <a:cubicBezTo>
                    <a:pt x="164" y="3849"/>
                    <a:pt x="0" y="4211"/>
                    <a:pt x="0" y="4629"/>
                  </a:cubicBezTo>
                  <a:lnTo>
                    <a:pt x="0" y="20058"/>
                  </a:lnTo>
                  <a:cubicBezTo>
                    <a:pt x="0" y="20475"/>
                    <a:pt x="164" y="20836"/>
                    <a:pt x="493" y="21142"/>
                  </a:cubicBezTo>
                  <a:cubicBezTo>
                    <a:pt x="822" y="21448"/>
                    <a:pt x="1211" y="21600"/>
                    <a:pt x="1662" y="21600"/>
                  </a:cubicBezTo>
                  <a:lnTo>
                    <a:pt x="19938" y="21600"/>
                  </a:lnTo>
                  <a:cubicBezTo>
                    <a:pt x="20389" y="21600"/>
                    <a:pt x="20778" y="21448"/>
                    <a:pt x="21107" y="21142"/>
                  </a:cubicBezTo>
                  <a:cubicBezTo>
                    <a:pt x="21436" y="20836"/>
                    <a:pt x="21600" y="20475"/>
                    <a:pt x="21600" y="20058"/>
                  </a:cubicBezTo>
                  <a:lnTo>
                    <a:pt x="21600" y="4629"/>
                  </a:lnTo>
                  <a:cubicBezTo>
                    <a:pt x="21600" y="4211"/>
                    <a:pt x="21436" y="3849"/>
                    <a:pt x="21107" y="3544"/>
                  </a:cubicBezTo>
                  <a:cubicBezTo>
                    <a:pt x="21107" y="3544"/>
                    <a:pt x="21107" y="3544"/>
                    <a:pt x="21107" y="3544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txBody>
            <a:bodyPr lIns="19050" tIns="19050" rIns="19050" bIns="1905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cs typeface="+mn-ea"/>
                <a:sym typeface="+mn-lt"/>
              </a:endParaRPr>
            </a:p>
          </p:txBody>
        </p:sp>
      </p:grpSp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F113F11B-9AE8-487A-A7D9-DF16F645AF85}"/>
              </a:ext>
            </a:extLst>
          </p:cNvPr>
          <p:cNvGrpSpPr/>
          <p:nvPr/>
        </p:nvGrpSpPr>
        <p:grpSpPr>
          <a:xfrm>
            <a:off x="9439541" y="3661758"/>
            <a:ext cx="2172398" cy="1237938"/>
            <a:chOff x="1133459" y="1595965"/>
            <a:chExt cx="2172398" cy="1237938"/>
          </a:xfrm>
        </p:grpSpPr>
        <p:sp>
          <p:nvSpPr>
            <p:cNvPr id="117" name="Rectangle 8">
              <a:extLst>
                <a:ext uri="{FF2B5EF4-FFF2-40B4-BE49-F238E27FC236}">
                  <a16:creationId xmlns:a16="http://schemas.microsoft.com/office/drawing/2014/main" id="{BA6B5105-22ED-4A53-A0D4-B12B462431D5}"/>
                </a:ext>
              </a:extLst>
            </p:cNvPr>
            <p:cNvSpPr/>
            <p:nvPr/>
          </p:nvSpPr>
          <p:spPr>
            <a:xfrm>
              <a:off x="1133460" y="2135186"/>
              <a:ext cx="2172397" cy="6987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  <p:sp>
          <p:nvSpPr>
            <p:cNvPr id="118" name="TextBox 9">
              <a:extLst>
                <a:ext uri="{FF2B5EF4-FFF2-40B4-BE49-F238E27FC236}">
                  <a16:creationId xmlns:a16="http://schemas.microsoft.com/office/drawing/2014/main" id="{77832C92-9CF2-4D14-B770-3AB61413E8FE}"/>
                </a:ext>
              </a:extLst>
            </p:cNvPr>
            <p:cNvSpPr txBox="1"/>
            <p:nvPr/>
          </p:nvSpPr>
          <p:spPr>
            <a:xfrm>
              <a:off x="1133459" y="1595965"/>
              <a:ext cx="15824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b="1" dirty="0">
                  <a:solidFill>
                    <a:schemeClr val="accent4"/>
                  </a:solidFill>
                  <a:cs typeface="+mn-ea"/>
                  <a:sym typeface="+mn-lt"/>
                </a:rPr>
                <a:t>Add title text</a:t>
              </a:r>
              <a:endParaRPr lang="en-GB" b="1" dirty="0">
                <a:solidFill>
                  <a:schemeClr val="accent4"/>
                </a:solidFill>
                <a:cs typeface="+mn-ea"/>
                <a:sym typeface="+mn-lt"/>
              </a:endParaRPr>
            </a:p>
          </p:txBody>
        </p:sp>
        <p:cxnSp>
          <p:nvCxnSpPr>
            <p:cNvPr id="119" name="直接连接符 118">
              <a:extLst>
                <a:ext uri="{FF2B5EF4-FFF2-40B4-BE49-F238E27FC236}">
                  <a16:creationId xmlns:a16="http://schemas.microsoft.com/office/drawing/2014/main" id="{23C89E6D-4403-48FB-BACD-FC890647E613}"/>
                </a:ext>
              </a:extLst>
            </p:cNvPr>
            <p:cNvCxnSpPr>
              <a:cxnSpLocks/>
            </p:cNvCxnSpPr>
            <p:nvPr/>
          </p:nvCxnSpPr>
          <p:spPr>
            <a:xfrm>
              <a:off x="1246941" y="2043741"/>
              <a:ext cx="208479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Shape 1878">
            <a:extLst>
              <a:ext uri="{FF2B5EF4-FFF2-40B4-BE49-F238E27FC236}">
                <a16:creationId xmlns:a16="http://schemas.microsoft.com/office/drawing/2014/main" id="{6164B119-DA89-4957-A78E-440A678312AD}"/>
              </a:ext>
            </a:extLst>
          </p:cNvPr>
          <p:cNvSpPr/>
          <p:nvPr/>
        </p:nvSpPr>
        <p:spPr>
          <a:xfrm>
            <a:off x="1456891" y="5827138"/>
            <a:ext cx="9116344" cy="283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l">
              <a:lnSpc>
                <a:spcPct val="120000"/>
              </a:lnSpc>
              <a:defRPr sz="2000">
                <a:solidFill>
                  <a:srgbClr val="88929B"/>
                </a:solidFill>
                <a:latin typeface="Lato Italic"/>
                <a:ea typeface="Lato Italic"/>
                <a:cs typeface="Lato Italic"/>
                <a:sym typeface="Lato Italic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cxnSp>
        <p:nvCxnSpPr>
          <p:cNvPr id="121" name="直接连接符 120">
            <a:extLst>
              <a:ext uri="{FF2B5EF4-FFF2-40B4-BE49-F238E27FC236}">
                <a16:creationId xmlns:a16="http://schemas.microsoft.com/office/drawing/2014/main" id="{B82E69F0-187B-4C08-B0C9-94C7BBAAC53F}"/>
              </a:ext>
            </a:extLst>
          </p:cNvPr>
          <p:cNvCxnSpPr>
            <a:cxnSpLocks/>
          </p:cNvCxnSpPr>
          <p:nvPr/>
        </p:nvCxnSpPr>
        <p:spPr>
          <a:xfrm>
            <a:off x="1618766" y="5650518"/>
            <a:ext cx="8954468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>
            <a:extLst>
              <a:ext uri="{FF2B5EF4-FFF2-40B4-BE49-F238E27FC236}">
                <a16:creationId xmlns:a16="http://schemas.microsoft.com/office/drawing/2014/main" id="{01C95FC8-76F7-4ED6-99F0-EDAF9E7745E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7453" y="2308170"/>
            <a:ext cx="1519947" cy="2268024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D1BA8E6-37C8-4F18-A253-72EF70C4118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1920" y="2334298"/>
            <a:ext cx="1279071" cy="2189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32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 advTm="2000">
        <p14:pan dir="u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1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74545A-610C-47B9-850E-6356311417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375B5A1A-D84A-40B6-808A-2C753C554D3B}"/>
              </a:ext>
            </a:extLst>
          </p:cNvPr>
          <p:cNvGrpSpPr/>
          <p:nvPr/>
        </p:nvGrpSpPr>
        <p:grpSpPr>
          <a:xfrm>
            <a:off x="3278990" y="1375510"/>
            <a:ext cx="5634021" cy="5088565"/>
            <a:chOff x="3189394" y="1235810"/>
            <a:chExt cx="5634021" cy="5088565"/>
          </a:xfrm>
        </p:grpSpPr>
        <p:sp>
          <p:nvSpPr>
            <p:cNvPr id="45" name="Oval 42">
              <a:extLst>
                <a:ext uri="{FF2B5EF4-FFF2-40B4-BE49-F238E27FC236}">
                  <a16:creationId xmlns:a16="http://schemas.microsoft.com/office/drawing/2014/main" id="{AC991316-7060-4532-A342-A13D682F0A78}"/>
                </a:ext>
              </a:extLst>
            </p:cNvPr>
            <p:cNvSpPr/>
            <p:nvPr/>
          </p:nvSpPr>
          <p:spPr>
            <a:xfrm>
              <a:off x="4351600" y="2075903"/>
              <a:ext cx="3408379" cy="3408379"/>
            </a:xfrm>
            <a:prstGeom prst="ellipse">
              <a:avLst/>
            </a:prstGeom>
            <a:solidFill>
              <a:schemeClr val="bg1">
                <a:lumMod val="90000"/>
                <a:alpha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46" name="Straight Connector 43">
              <a:extLst>
                <a:ext uri="{FF2B5EF4-FFF2-40B4-BE49-F238E27FC236}">
                  <a16:creationId xmlns:a16="http://schemas.microsoft.com/office/drawing/2014/main" id="{E8C4F76C-B0A6-47D7-A02C-512EF8489174}"/>
                </a:ext>
              </a:extLst>
            </p:cNvPr>
            <p:cNvCxnSpPr/>
            <p:nvPr/>
          </p:nvCxnSpPr>
          <p:spPr>
            <a:xfrm>
              <a:off x="6055789" y="2075903"/>
              <a:ext cx="0" cy="3408379"/>
            </a:xfrm>
            <a:prstGeom prst="line">
              <a:avLst/>
            </a:prstGeom>
            <a:ln w="12700">
              <a:solidFill>
                <a:schemeClr val="tx1">
                  <a:lumMod val="40000"/>
                  <a:lumOff val="60000"/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4">
              <a:extLst>
                <a:ext uri="{FF2B5EF4-FFF2-40B4-BE49-F238E27FC236}">
                  <a16:creationId xmlns:a16="http://schemas.microsoft.com/office/drawing/2014/main" id="{61D2E9E1-3975-47CC-BEB7-FF07892E4956}"/>
                </a:ext>
              </a:extLst>
            </p:cNvPr>
            <p:cNvCxnSpPr/>
            <p:nvPr/>
          </p:nvCxnSpPr>
          <p:spPr>
            <a:xfrm flipH="1">
              <a:off x="4351600" y="3780092"/>
              <a:ext cx="3408379" cy="0"/>
            </a:xfrm>
            <a:prstGeom prst="line">
              <a:avLst/>
            </a:prstGeom>
            <a:ln w="12700">
              <a:solidFill>
                <a:schemeClr val="tx1">
                  <a:lumMod val="40000"/>
                  <a:lumOff val="60000"/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5">
              <a:extLst>
                <a:ext uri="{FF2B5EF4-FFF2-40B4-BE49-F238E27FC236}">
                  <a16:creationId xmlns:a16="http://schemas.microsoft.com/office/drawing/2014/main" id="{A106BAB7-E998-4A6C-82EC-1D1254C553E7}"/>
                </a:ext>
              </a:extLst>
            </p:cNvPr>
            <p:cNvCxnSpPr/>
            <p:nvPr/>
          </p:nvCxnSpPr>
          <p:spPr>
            <a:xfrm rot="1800000">
              <a:off x="6055789" y="1782586"/>
              <a:ext cx="0" cy="3995013"/>
            </a:xfrm>
            <a:prstGeom prst="line">
              <a:avLst/>
            </a:prstGeom>
            <a:ln w="12700">
              <a:solidFill>
                <a:schemeClr val="tx1">
                  <a:lumMod val="40000"/>
                  <a:lumOff val="60000"/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6">
              <a:extLst>
                <a:ext uri="{FF2B5EF4-FFF2-40B4-BE49-F238E27FC236}">
                  <a16:creationId xmlns:a16="http://schemas.microsoft.com/office/drawing/2014/main" id="{5D0E3E83-D182-494C-9B06-E350C8F7BDFA}"/>
                </a:ext>
              </a:extLst>
            </p:cNvPr>
            <p:cNvCxnSpPr/>
            <p:nvPr/>
          </p:nvCxnSpPr>
          <p:spPr>
            <a:xfrm rot="1800000" flipH="1">
              <a:off x="4058283" y="3780092"/>
              <a:ext cx="3995013" cy="0"/>
            </a:xfrm>
            <a:prstGeom prst="line">
              <a:avLst/>
            </a:prstGeom>
            <a:ln w="12700">
              <a:solidFill>
                <a:schemeClr val="tx1">
                  <a:lumMod val="40000"/>
                  <a:lumOff val="60000"/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7">
              <a:extLst>
                <a:ext uri="{FF2B5EF4-FFF2-40B4-BE49-F238E27FC236}">
                  <a16:creationId xmlns:a16="http://schemas.microsoft.com/office/drawing/2014/main" id="{51C2876C-1139-4A18-B0D1-D1D183B872FF}"/>
                </a:ext>
              </a:extLst>
            </p:cNvPr>
            <p:cNvCxnSpPr/>
            <p:nvPr/>
          </p:nvCxnSpPr>
          <p:spPr>
            <a:xfrm rot="3600000">
              <a:off x="6055789" y="1782586"/>
              <a:ext cx="0" cy="3995013"/>
            </a:xfrm>
            <a:prstGeom prst="line">
              <a:avLst/>
            </a:prstGeom>
            <a:ln w="12700">
              <a:solidFill>
                <a:schemeClr val="tx1">
                  <a:lumMod val="40000"/>
                  <a:lumOff val="60000"/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48">
              <a:extLst>
                <a:ext uri="{FF2B5EF4-FFF2-40B4-BE49-F238E27FC236}">
                  <a16:creationId xmlns:a16="http://schemas.microsoft.com/office/drawing/2014/main" id="{3952EEC0-2E7F-44EC-9771-25DD25E62E22}"/>
                </a:ext>
              </a:extLst>
            </p:cNvPr>
            <p:cNvCxnSpPr/>
            <p:nvPr/>
          </p:nvCxnSpPr>
          <p:spPr>
            <a:xfrm rot="3600000" flipH="1">
              <a:off x="4058283" y="3780092"/>
              <a:ext cx="3995013" cy="0"/>
            </a:xfrm>
            <a:prstGeom prst="line">
              <a:avLst/>
            </a:prstGeom>
            <a:ln w="12700">
              <a:solidFill>
                <a:schemeClr val="tx1">
                  <a:lumMod val="40000"/>
                  <a:lumOff val="60000"/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Pie 49">
              <a:extLst>
                <a:ext uri="{FF2B5EF4-FFF2-40B4-BE49-F238E27FC236}">
                  <a16:creationId xmlns:a16="http://schemas.microsoft.com/office/drawing/2014/main" id="{9228598B-69E2-4A97-B8B2-88DAF626BEDF}"/>
                </a:ext>
              </a:extLst>
            </p:cNvPr>
            <p:cNvSpPr/>
            <p:nvPr/>
          </p:nvSpPr>
          <p:spPr>
            <a:xfrm>
              <a:off x="3823541" y="1547844"/>
              <a:ext cx="4464496" cy="4464496"/>
            </a:xfrm>
            <a:prstGeom prst="pie">
              <a:avLst>
                <a:gd name="adj1" fmla="val 12147609"/>
                <a:gd name="adj2" fmla="val 14284542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3" name="Pie 50">
              <a:extLst>
                <a:ext uri="{FF2B5EF4-FFF2-40B4-BE49-F238E27FC236}">
                  <a16:creationId xmlns:a16="http://schemas.microsoft.com/office/drawing/2014/main" id="{A2FB35A8-35C0-4175-84D8-04E74AA8B108}"/>
                </a:ext>
              </a:extLst>
            </p:cNvPr>
            <p:cNvSpPr/>
            <p:nvPr/>
          </p:nvSpPr>
          <p:spPr>
            <a:xfrm>
              <a:off x="3823541" y="1547844"/>
              <a:ext cx="4464496" cy="4464496"/>
            </a:xfrm>
            <a:prstGeom prst="pie">
              <a:avLst>
                <a:gd name="adj1" fmla="val 6199411"/>
                <a:gd name="adj2" fmla="val 10253042"/>
              </a:avLst>
            </a:prstGeom>
            <a:solidFill>
              <a:schemeClr val="accent5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4" name="Pie 51">
              <a:extLst>
                <a:ext uri="{FF2B5EF4-FFF2-40B4-BE49-F238E27FC236}">
                  <a16:creationId xmlns:a16="http://schemas.microsoft.com/office/drawing/2014/main" id="{1714686E-B701-4AD8-999F-D95CABA760F9}"/>
                </a:ext>
              </a:extLst>
            </p:cNvPr>
            <p:cNvSpPr/>
            <p:nvPr/>
          </p:nvSpPr>
          <p:spPr>
            <a:xfrm>
              <a:off x="3511507" y="1235810"/>
              <a:ext cx="5088565" cy="5088565"/>
            </a:xfrm>
            <a:prstGeom prst="pie">
              <a:avLst>
                <a:gd name="adj1" fmla="val 20379763"/>
                <a:gd name="adj2" fmla="val 2003783"/>
              </a:avLst>
            </a:prstGeom>
            <a:solidFill>
              <a:schemeClr val="accent3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5" name="Pie 52">
              <a:extLst>
                <a:ext uri="{FF2B5EF4-FFF2-40B4-BE49-F238E27FC236}">
                  <a16:creationId xmlns:a16="http://schemas.microsoft.com/office/drawing/2014/main" id="{748783C4-1B05-44EA-8680-769F934FCE25}"/>
                </a:ext>
              </a:extLst>
            </p:cNvPr>
            <p:cNvSpPr/>
            <p:nvPr/>
          </p:nvSpPr>
          <p:spPr>
            <a:xfrm>
              <a:off x="3823541" y="1547844"/>
              <a:ext cx="4464496" cy="4464496"/>
            </a:xfrm>
            <a:prstGeom prst="pie">
              <a:avLst>
                <a:gd name="adj1" fmla="val 18316965"/>
                <a:gd name="adj2" fmla="val 21079154"/>
              </a:avLst>
            </a:prstGeom>
            <a:solidFill>
              <a:schemeClr val="accent2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6" name="Pie 54">
              <a:extLst>
                <a:ext uri="{FF2B5EF4-FFF2-40B4-BE49-F238E27FC236}">
                  <a16:creationId xmlns:a16="http://schemas.microsoft.com/office/drawing/2014/main" id="{01087485-F03A-49AF-9782-E4A474AB60F5}"/>
                </a:ext>
              </a:extLst>
            </p:cNvPr>
            <p:cNvSpPr/>
            <p:nvPr/>
          </p:nvSpPr>
          <p:spPr>
            <a:xfrm>
              <a:off x="4089560" y="1813863"/>
              <a:ext cx="3932459" cy="3932459"/>
            </a:xfrm>
            <a:prstGeom prst="pie">
              <a:avLst>
                <a:gd name="adj1" fmla="val 1652294"/>
                <a:gd name="adj2" fmla="val 4142044"/>
              </a:avLst>
            </a:prstGeom>
            <a:solidFill>
              <a:schemeClr val="accent4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7" name="Oval 55">
              <a:extLst>
                <a:ext uri="{FF2B5EF4-FFF2-40B4-BE49-F238E27FC236}">
                  <a16:creationId xmlns:a16="http://schemas.microsoft.com/office/drawing/2014/main" id="{4958A80A-07BF-41D6-B660-3252F3DC51C9}"/>
                </a:ext>
              </a:extLst>
            </p:cNvPr>
            <p:cNvSpPr/>
            <p:nvPr/>
          </p:nvSpPr>
          <p:spPr>
            <a:xfrm>
              <a:off x="5146152" y="2870455"/>
              <a:ext cx="1819275" cy="1819275"/>
            </a:xfrm>
            <a:prstGeom prst="ellipse">
              <a:avLst/>
            </a:prstGeom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8" name="Freeform 56">
              <a:extLst>
                <a:ext uri="{FF2B5EF4-FFF2-40B4-BE49-F238E27FC236}">
                  <a16:creationId xmlns:a16="http://schemas.microsoft.com/office/drawing/2014/main" id="{8EB7B7D9-E067-4676-BE78-E2DEB0B52B58}"/>
                </a:ext>
              </a:extLst>
            </p:cNvPr>
            <p:cNvSpPr/>
            <p:nvPr/>
          </p:nvSpPr>
          <p:spPr>
            <a:xfrm>
              <a:off x="7712075" y="2060684"/>
              <a:ext cx="567267" cy="190500"/>
            </a:xfrm>
            <a:custGeom>
              <a:avLst/>
              <a:gdLst>
                <a:gd name="connsiteX0" fmla="*/ 0 w 425450"/>
                <a:gd name="connsiteY0" fmla="*/ 142875 h 142875"/>
                <a:gd name="connsiteX1" fmla="*/ 168275 w 425450"/>
                <a:gd name="connsiteY1" fmla="*/ 0 h 142875"/>
                <a:gd name="connsiteX2" fmla="*/ 425450 w 425450"/>
                <a:gd name="connsiteY2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450" h="142875">
                  <a:moveTo>
                    <a:pt x="0" y="142875"/>
                  </a:moveTo>
                  <a:lnTo>
                    <a:pt x="168275" y="0"/>
                  </a:lnTo>
                  <a:lnTo>
                    <a:pt x="425450" y="0"/>
                  </a:lnTo>
                </a:path>
              </a:pathLst>
            </a:custGeom>
            <a:noFill/>
            <a:ln w="12700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9" name="Freeform 57">
              <a:extLst>
                <a:ext uri="{FF2B5EF4-FFF2-40B4-BE49-F238E27FC236}">
                  <a16:creationId xmlns:a16="http://schemas.microsoft.com/office/drawing/2014/main" id="{701E4554-118D-4DC6-8AFB-3851864D5BE2}"/>
                </a:ext>
              </a:extLst>
            </p:cNvPr>
            <p:cNvSpPr/>
            <p:nvPr/>
          </p:nvSpPr>
          <p:spPr>
            <a:xfrm flipV="1">
              <a:off x="7306044" y="5320221"/>
              <a:ext cx="973297" cy="335133"/>
            </a:xfrm>
            <a:custGeom>
              <a:avLst/>
              <a:gdLst>
                <a:gd name="connsiteX0" fmla="*/ 0 w 425450"/>
                <a:gd name="connsiteY0" fmla="*/ 142875 h 142875"/>
                <a:gd name="connsiteX1" fmla="*/ 168275 w 425450"/>
                <a:gd name="connsiteY1" fmla="*/ 0 h 142875"/>
                <a:gd name="connsiteX2" fmla="*/ 425450 w 425450"/>
                <a:gd name="connsiteY2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450" h="142875">
                  <a:moveTo>
                    <a:pt x="0" y="142875"/>
                  </a:moveTo>
                  <a:lnTo>
                    <a:pt x="168275" y="0"/>
                  </a:lnTo>
                  <a:lnTo>
                    <a:pt x="425450" y="0"/>
                  </a:lnTo>
                </a:path>
              </a:pathLst>
            </a:custGeom>
            <a:noFill/>
            <a:ln w="12700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60" name="Straight Connector 58">
              <a:extLst>
                <a:ext uri="{FF2B5EF4-FFF2-40B4-BE49-F238E27FC236}">
                  <a16:creationId xmlns:a16="http://schemas.microsoft.com/office/drawing/2014/main" id="{BA9EB616-93B7-4BF1-B789-3B8CB36F237E}"/>
                </a:ext>
              </a:extLst>
            </p:cNvPr>
            <p:cNvCxnSpPr/>
            <p:nvPr/>
          </p:nvCxnSpPr>
          <p:spPr>
            <a:xfrm>
              <a:off x="8582419" y="3779499"/>
              <a:ext cx="240996" cy="0"/>
            </a:xfrm>
            <a:prstGeom prst="line">
              <a:avLst/>
            </a:prstGeom>
            <a:noFill/>
            <a:ln w="12700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sp>
          <p:nvSpPr>
            <p:cNvPr id="61" name="Freeform 59">
              <a:extLst>
                <a:ext uri="{FF2B5EF4-FFF2-40B4-BE49-F238E27FC236}">
                  <a16:creationId xmlns:a16="http://schemas.microsoft.com/office/drawing/2014/main" id="{60133E7B-7248-4F64-BD5F-79F2E4EF4C35}"/>
                </a:ext>
              </a:extLst>
            </p:cNvPr>
            <p:cNvSpPr/>
            <p:nvPr/>
          </p:nvSpPr>
          <p:spPr>
            <a:xfrm flipH="1">
              <a:off x="3890847" y="2060684"/>
              <a:ext cx="567267" cy="190500"/>
            </a:xfrm>
            <a:custGeom>
              <a:avLst/>
              <a:gdLst>
                <a:gd name="connsiteX0" fmla="*/ 0 w 425450"/>
                <a:gd name="connsiteY0" fmla="*/ 142875 h 142875"/>
                <a:gd name="connsiteX1" fmla="*/ 168275 w 425450"/>
                <a:gd name="connsiteY1" fmla="*/ 0 h 142875"/>
                <a:gd name="connsiteX2" fmla="*/ 425450 w 425450"/>
                <a:gd name="connsiteY2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5450" h="142875">
                  <a:moveTo>
                    <a:pt x="0" y="142875"/>
                  </a:moveTo>
                  <a:lnTo>
                    <a:pt x="168275" y="0"/>
                  </a:lnTo>
                  <a:lnTo>
                    <a:pt x="425450" y="0"/>
                  </a:lnTo>
                </a:path>
              </a:pathLst>
            </a:custGeom>
            <a:noFill/>
            <a:ln w="12700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62" name="Freeform 60">
              <a:extLst>
                <a:ext uri="{FF2B5EF4-FFF2-40B4-BE49-F238E27FC236}">
                  <a16:creationId xmlns:a16="http://schemas.microsoft.com/office/drawing/2014/main" id="{CC830FA9-2F61-4655-AAA6-B5695596EFCE}"/>
                </a:ext>
              </a:extLst>
            </p:cNvPr>
            <p:cNvSpPr/>
            <p:nvPr/>
          </p:nvSpPr>
          <p:spPr>
            <a:xfrm flipH="1" flipV="1">
              <a:off x="3891082" y="5291072"/>
              <a:ext cx="558896" cy="364283"/>
            </a:xfrm>
            <a:custGeom>
              <a:avLst/>
              <a:gdLst>
                <a:gd name="connsiteX0" fmla="*/ 0 w 425450"/>
                <a:gd name="connsiteY0" fmla="*/ 142875 h 142875"/>
                <a:gd name="connsiteX1" fmla="*/ 168275 w 425450"/>
                <a:gd name="connsiteY1" fmla="*/ 0 h 142875"/>
                <a:gd name="connsiteX2" fmla="*/ 425450 w 425450"/>
                <a:gd name="connsiteY2" fmla="*/ 0 h 142875"/>
                <a:gd name="connsiteX0" fmla="*/ 0 w 241564"/>
                <a:gd name="connsiteY0" fmla="*/ 142875 h 142875"/>
                <a:gd name="connsiteX1" fmla="*/ 168275 w 241564"/>
                <a:gd name="connsiteY1" fmla="*/ 0 h 142875"/>
                <a:gd name="connsiteX2" fmla="*/ 241564 w 241564"/>
                <a:gd name="connsiteY2" fmla="*/ 1245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1564" h="142875">
                  <a:moveTo>
                    <a:pt x="0" y="142875"/>
                  </a:moveTo>
                  <a:lnTo>
                    <a:pt x="168275" y="0"/>
                  </a:lnTo>
                  <a:lnTo>
                    <a:pt x="241564" y="1245"/>
                  </a:lnTo>
                </a:path>
              </a:pathLst>
            </a:custGeom>
            <a:noFill/>
            <a:ln w="12700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63" name="Straight Connector 61">
              <a:extLst>
                <a:ext uri="{FF2B5EF4-FFF2-40B4-BE49-F238E27FC236}">
                  <a16:creationId xmlns:a16="http://schemas.microsoft.com/office/drawing/2014/main" id="{91F161E5-A801-448D-B069-B5FD2E8E2B59}"/>
                </a:ext>
              </a:extLst>
            </p:cNvPr>
            <p:cNvCxnSpPr/>
            <p:nvPr/>
          </p:nvCxnSpPr>
          <p:spPr>
            <a:xfrm>
              <a:off x="3189394" y="3779499"/>
              <a:ext cx="240996" cy="0"/>
            </a:xfrm>
            <a:prstGeom prst="line">
              <a:avLst/>
            </a:prstGeom>
            <a:noFill/>
            <a:ln w="12700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sp>
          <p:nvSpPr>
            <p:cNvPr id="64" name="Freeform 350">
              <a:extLst>
                <a:ext uri="{FF2B5EF4-FFF2-40B4-BE49-F238E27FC236}">
                  <a16:creationId xmlns:a16="http://schemas.microsoft.com/office/drawing/2014/main" id="{64479591-FCC9-415A-B0FB-CAA9691049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5282" y="3666530"/>
              <a:ext cx="481013" cy="360363"/>
            </a:xfrm>
            <a:custGeom>
              <a:avLst/>
              <a:gdLst>
                <a:gd name="T0" fmla="*/ 105 w 128"/>
                <a:gd name="T1" fmla="*/ 2 h 96"/>
                <a:gd name="T2" fmla="*/ 28 w 128"/>
                <a:gd name="T3" fmla="*/ 0 h 96"/>
                <a:gd name="T4" fmla="*/ 2 w 128"/>
                <a:gd name="T5" fmla="*/ 23 h 96"/>
                <a:gd name="T6" fmla="*/ 2 w 128"/>
                <a:gd name="T7" fmla="*/ 34 h 96"/>
                <a:gd name="T8" fmla="*/ 64 w 128"/>
                <a:gd name="T9" fmla="*/ 96 h 96"/>
                <a:gd name="T10" fmla="*/ 126 w 128"/>
                <a:gd name="T11" fmla="*/ 34 h 96"/>
                <a:gd name="T12" fmla="*/ 126 w 128"/>
                <a:gd name="T13" fmla="*/ 23 h 96"/>
                <a:gd name="T14" fmla="*/ 55 w 128"/>
                <a:gd name="T15" fmla="*/ 28 h 96"/>
                <a:gd name="T16" fmla="*/ 73 w 128"/>
                <a:gd name="T17" fmla="*/ 28 h 96"/>
                <a:gd name="T18" fmla="*/ 78 w 128"/>
                <a:gd name="T19" fmla="*/ 9 h 96"/>
                <a:gd name="T20" fmla="*/ 76 w 128"/>
                <a:gd name="T21" fmla="*/ 25 h 96"/>
                <a:gd name="T22" fmla="*/ 52 w 128"/>
                <a:gd name="T23" fmla="*/ 25 h 96"/>
                <a:gd name="T24" fmla="*/ 50 w 128"/>
                <a:gd name="T25" fmla="*/ 9 h 96"/>
                <a:gd name="T26" fmla="*/ 52 w 128"/>
                <a:gd name="T27" fmla="*/ 25 h 96"/>
                <a:gd name="T28" fmla="*/ 64 w 128"/>
                <a:gd name="T29" fmla="*/ 82 h 96"/>
                <a:gd name="T30" fmla="*/ 74 w 128"/>
                <a:gd name="T31" fmla="*/ 32 h 96"/>
                <a:gd name="T32" fmla="*/ 98 w 128"/>
                <a:gd name="T33" fmla="*/ 32 h 96"/>
                <a:gd name="T34" fmla="*/ 78 w 128"/>
                <a:gd name="T35" fmla="*/ 32 h 96"/>
                <a:gd name="T36" fmla="*/ 89 w 128"/>
                <a:gd name="T37" fmla="*/ 20 h 96"/>
                <a:gd name="T38" fmla="*/ 79 w 128"/>
                <a:gd name="T39" fmla="*/ 28 h 96"/>
                <a:gd name="T40" fmla="*/ 97 w 128"/>
                <a:gd name="T41" fmla="*/ 8 h 96"/>
                <a:gd name="T42" fmla="*/ 83 w 128"/>
                <a:gd name="T43" fmla="*/ 8 h 96"/>
                <a:gd name="T44" fmla="*/ 55 w 128"/>
                <a:gd name="T45" fmla="*/ 8 h 96"/>
                <a:gd name="T46" fmla="*/ 64 w 128"/>
                <a:gd name="T47" fmla="*/ 15 h 96"/>
                <a:gd name="T48" fmla="*/ 31 w 128"/>
                <a:gd name="T49" fmla="*/ 8 h 96"/>
                <a:gd name="T50" fmla="*/ 39 w 128"/>
                <a:gd name="T51" fmla="*/ 14 h 96"/>
                <a:gd name="T52" fmla="*/ 49 w 128"/>
                <a:gd name="T53" fmla="*/ 28 h 96"/>
                <a:gd name="T54" fmla="*/ 39 w 128"/>
                <a:gd name="T55" fmla="*/ 20 h 96"/>
                <a:gd name="T56" fmla="*/ 60 w 128"/>
                <a:gd name="T57" fmla="*/ 81 h 96"/>
                <a:gd name="T58" fmla="*/ 50 w 128"/>
                <a:gd name="T59" fmla="*/ 32 h 96"/>
                <a:gd name="T60" fmla="*/ 11 w 128"/>
                <a:gd name="T61" fmla="*/ 32 h 96"/>
                <a:gd name="T62" fmla="*/ 51 w 128"/>
                <a:gd name="T63" fmla="*/ 74 h 96"/>
                <a:gd name="T64" fmla="*/ 117 w 128"/>
                <a:gd name="T65" fmla="*/ 32 h 96"/>
                <a:gd name="T66" fmla="*/ 102 w 128"/>
                <a:gd name="T67" fmla="*/ 32 h 96"/>
                <a:gd name="T68" fmla="*/ 92 w 128"/>
                <a:gd name="T69" fmla="*/ 17 h 96"/>
                <a:gd name="T70" fmla="*/ 120 w 128"/>
                <a:gd name="T71" fmla="*/ 28 h 96"/>
                <a:gd name="T72" fmla="*/ 27 w 128"/>
                <a:gd name="T73" fmla="*/ 10 h 96"/>
                <a:gd name="T74" fmla="*/ 25 w 128"/>
                <a:gd name="T75" fmla="*/ 28 h 96"/>
                <a:gd name="T76" fmla="*/ 27 w 128"/>
                <a:gd name="T77" fmla="*/ 1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8" h="96">
                  <a:moveTo>
                    <a:pt x="126" y="23"/>
                  </a:moveTo>
                  <a:cubicBezTo>
                    <a:pt x="105" y="2"/>
                    <a:pt x="105" y="2"/>
                    <a:pt x="105" y="2"/>
                  </a:cubicBezTo>
                  <a:cubicBezTo>
                    <a:pt x="104" y="1"/>
                    <a:pt x="102" y="0"/>
                    <a:pt x="10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4" y="1"/>
                    <a:pt x="23" y="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1" y="24"/>
                    <a:pt x="0" y="26"/>
                    <a:pt x="0" y="28"/>
                  </a:cubicBezTo>
                  <a:cubicBezTo>
                    <a:pt x="0" y="30"/>
                    <a:pt x="1" y="32"/>
                    <a:pt x="2" y="34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60" y="95"/>
                    <a:pt x="62" y="96"/>
                    <a:pt x="64" y="96"/>
                  </a:cubicBezTo>
                  <a:cubicBezTo>
                    <a:pt x="66" y="96"/>
                    <a:pt x="68" y="95"/>
                    <a:pt x="70" y="93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7" y="32"/>
                    <a:pt x="128" y="30"/>
                    <a:pt x="128" y="28"/>
                  </a:cubicBezTo>
                  <a:cubicBezTo>
                    <a:pt x="128" y="26"/>
                    <a:pt x="127" y="24"/>
                    <a:pt x="126" y="23"/>
                  </a:cubicBezTo>
                  <a:close/>
                  <a:moveTo>
                    <a:pt x="73" y="28"/>
                  </a:moveTo>
                  <a:cubicBezTo>
                    <a:pt x="55" y="28"/>
                    <a:pt x="55" y="28"/>
                    <a:pt x="55" y="28"/>
                  </a:cubicBezTo>
                  <a:cubicBezTo>
                    <a:pt x="64" y="21"/>
                    <a:pt x="64" y="21"/>
                    <a:pt x="64" y="21"/>
                  </a:cubicBezTo>
                  <a:lnTo>
                    <a:pt x="73" y="28"/>
                  </a:lnTo>
                  <a:close/>
                  <a:moveTo>
                    <a:pt x="67" y="18"/>
                  </a:moveTo>
                  <a:cubicBezTo>
                    <a:pt x="78" y="9"/>
                    <a:pt x="78" y="9"/>
                    <a:pt x="78" y="9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76" y="25"/>
                    <a:pt x="76" y="25"/>
                    <a:pt x="76" y="25"/>
                  </a:cubicBezTo>
                  <a:lnTo>
                    <a:pt x="67" y="18"/>
                  </a:lnTo>
                  <a:close/>
                  <a:moveTo>
                    <a:pt x="52" y="25"/>
                  </a:moveTo>
                  <a:cubicBezTo>
                    <a:pt x="42" y="17"/>
                    <a:pt x="42" y="17"/>
                    <a:pt x="42" y="17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61" y="18"/>
                    <a:pt x="61" y="18"/>
                    <a:pt x="61" y="18"/>
                  </a:cubicBezTo>
                  <a:lnTo>
                    <a:pt x="52" y="25"/>
                  </a:lnTo>
                  <a:close/>
                  <a:moveTo>
                    <a:pt x="74" y="32"/>
                  </a:moveTo>
                  <a:cubicBezTo>
                    <a:pt x="64" y="82"/>
                    <a:pt x="64" y="82"/>
                    <a:pt x="64" y="82"/>
                  </a:cubicBezTo>
                  <a:cubicBezTo>
                    <a:pt x="54" y="32"/>
                    <a:pt x="54" y="32"/>
                    <a:pt x="54" y="32"/>
                  </a:cubicBezTo>
                  <a:lnTo>
                    <a:pt x="74" y="32"/>
                  </a:lnTo>
                  <a:close/>
                  <a:moveTo>
                    <a:pt x="78" y="32"/>
                  </a:moveTo>
                  <a:cubicBezTo>
                    <a:pt x="98" y="32"/>
                    <a:pt x="98" y="32"/>
                    <a:pt x="98" y="32"/>
                  </a:cubicBezTo>
                  <a:cubicBezTo>
                    <a:pt x="68" y="81"/>
                    <a:pt x="68" y="81"/>
                    <a:pt x="68" y="81"/>
                  </a:cubicBezTo>
                  <a:lnTo>
                    <a:pt x="78" y="32"/>
                  </a:lnTo>
                  <a:close/>
                  <a:moveTo>
                    <a:pt x="79" y="28"/>
                  </a:moveTo>
                  <a:cubicBezTo>
                    <a:pt x="89" y="20"/>
                    <a:pt x="89" y="20"/>
                    <a:pt x="89" y="20"/>
                  </a:cubicBezTo>
                  <a:cubicBezTo>
                    <a:pt x="97" y="28"/>
                    <a:pt x="97" y="28"/>
                    <a:pt x="97" y="28"/>
                  </a:cubicBezTo>
                  <a:lnTo>
                    <a:pt x="79" y="28"/>
                  </a:lnTo>
                  <a:close/>
                  <a:moveTo>
                    <a:pt x="83" y="8"/>
                  </a:moveTo>
                  <a:cubicBezTo>
                    <a:pt x="97" y="8"/>
                    <a:pt x="97" y="8"/>
                    <a:pt x="97" y="8"/>
                  </a:cubicBezTo>
                  <a:cubicBezTo>
                    <a:pt x="89" y="14"/>
                    <a:pt x="89" y="14"/>
                    <a:pt x="89" y="14"/>
                  </a:cubicBezTo>
                  <a:lnTo>
                    <a:pt x="83" y="8"/>
                  </a:lnTo>
                  <a:close/>
                  <a:moveTo>
                    <a:pt x="64" y="15"/>
                  </a:moveTo>
                  <a:cubicBezTo>
                    <a:pt x="55" y="8"/>
                    <a:pt x="55" y="8"/>
                    <a:pt x="55" y="8"/>
                  </a:cubicBezTo>
                  <a:cubicBezTo>
                    <a:pt x="73" y="8"/>
                    <a:pt x="73" y="8"/>
                    <a:pt x="73" y="8"/>
                  </a:cubicBezTo>
                  <a:lnTo>
                    <a:pt x="64" y="15"/>
                  </a:lnTo>
                  <a:close/>
                  <a:moveTo>
                    <a:pt x="39" y="14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45" y="8"/>
                    <a:pt x="45" y="8"/>
                    <a:pt x="45" y="8"/>
                  </a:cubicBezTo>
                  <a:lnTo>
                    <a:pt x="39" y="14"/>
                  </a:lnTo>
                  <a:close/>
                  <a:moveTo>
                    <a:pt x="39" y="20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31" y="28"/>
                    <a:pt x="31" y="28"/>
                    <a:pt x="31" y="28"/>
                  </a:cubicBezTo>
                  <a:lnTo>
                    <a:pt x="39" y="20"/>
                  </a:lnTo>
                  <a:close/>
                  <a:moveTo>
                    <a:pt x="50" y="32"/>
                  </a:moveTo>
                  <a:cubicBezTo>
                    <a:pt x="60" y="81"/>
                    <a:pt x="60" y="81"/>
                    <a:pt x="60" y="81"/>
                  </a:cubicBezTo>
                  <a:cubicBezTo>
                    <a:pt x="30" y="32"/>
                    <a:pt x="30" y="32"/>
                    <a:pt x="30" y="32"/>
                  </a:cubicBezTo>
                  <a:lnTo>
                    <a:pt x="50" y="32"/>
                  </a:lnTo>
                  <a:close/>
                  <a:moveTo>
                    <a:pt x="51" y="74"/>
                  </a:moveTo>
                  <a:cubicBezTo>
                    <a:pt x="11" y="32"/>
                    <a:pt x="11" y="32"/>
                    <a:pt x="11" y="32"/>
                  </a:cubicBezTo>
                  <a:cubicBezTo>
                    <a:pt x="26" y="32"/>
                    <a:pt x="26" y="32"/>
                    <a:pt x="26" y="32"/>
                  </a:cubicBezTo>
                  <a:lnTo>
                    <a:pt x="51" y="74"/>
                  </a:lnTo>
                  <a:close/>
                  <a:moveTo>
                    <a:pt x="102" y="32"/>
                  </a:moveTo>
                  <a:cubicBezTo>
                    <a:pt x="117" y="32"/>
                    <a:pt x="117" y="32"/>
                    <a:pt x="117" y="32"/>
                  </a:cubicBezTo>
                  <a:cubicBezTo>
                    <a:pt x="77" y="74"/>
                    <a:pt x="77" y="74"/>
                    <a:pt x="77" y="74"/>
                  </a:cubicBezTo>
                  <a:lnTo>
                    <a:pt x="102" y="32"/>
                  </a:lnTo>
                  <a:close/>
                  <a:moveTo>
                    <a:pt x="103" y="28"/>
                  </a:moveTo>
                  <a:cubicBezTo>
                    <a:pt x="92" y="17"/>
                    <a:pt x="92" y="17"/>
                    <a:pt x="92" y="17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20" y="28"/>
                    <a:pt x="120" y="28"/>
                    <a:pt x="120" y="28"/>
                  </a:cubicBezTo>
                  <a:lnTo>
                    <a:pt x="103" y="28"/>
                  </a:lnTo>
                  <a:close/>
                  <a:moveTo>
                    <a:pt x="27" y="10"/>
                  </a:moveTo>
                  <a:cubicBezTo>
                    <a:pt x="36" y="17"/>
                    <a:pt x="36" y="17"/>
                    <a:pt x="36" y="1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27" y="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grpSp>
          <p:nvGrpSpPr>
            <p:cNvPr id="65" name="Group 75">
              <a:extLst>
                <a:ext uri="{FF2B5EF4-FFF2-40B4-BE49-F238E27FC236}">
                  <a16:creationId xmlns:a16="http://schemas.microsoft.com/office/drawing/2014/main" id="{D57A3920-AAE9-4668-A5D0-0DB14D91BFAD}"/>
                </a:ext>
              </a:extLst>
            </p:cNvPr>
            <p:cNvGrpSpPr/>
            <p:nvPr/>
          </p:nvGrpSpPr>
          <p:grpSpPr>
            <a:xfrm>
              <a:off x="4791017" y="4641658"/>
              <a:ext cx="394671" cy="394671"/>
              <a:chOff x="128589" y="4298950"/>
              <a:chExt cx="298450" cy="298450"/>
            </a:xfrm>
            <a:solidFill>
              <a:schemeClr val="bg1"/>
            </a:solidFill>
          </p:grpSpPr>
          <p:sp>
            <p:nvSpPr>
              <p:cNvPr id="77" name="Freeform 178">
                <a:extLst>
                  <a:ext uri="{FF2B5EF4-FFF2-40B4-BE49-F238E27FC236}">
                    <a16:creationId xmlns:a16="http://schemas.microsoft.com/office/drawing/2014/main" id="{C7D5B262-97F0-40CB-B4B8-E413855FBA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8589" y="4298950"/>
                <a:ext cx="298450" cy="298450"/>
              </a:xfrm>
              <a:custGeom>
                <a:avLst/>
                <a:gdLst>
                  <a:gd name="T0" fmla="*/ 86 w 112"/>
                  <a:gd name="T1" fmla="*/ 0 h 112"/>
                  <a:gd name="T2" fmla="*/ 26 w 112"/>
                  <a:gd name="T3" fmla="*/ 0 h 112"/>
                  <a:gd name="T4" fmla="*/ 0 w 112"/>
                  <a:gd name="T5" fmla="*/ 26 h 112"/>
                  <a:gd name="T6" fmla="*/ 0 w 112"/>
                  <a:gd name="T7" fmla="*/ 86 h 112"/>
                  <a:gd name="T8" fmla="*/ 26 w 112"/>
                  <a:gd name="T9" fmla="*/ 112 h 112"/>
                  <a:gd name="T10" fmla="*/ 86 w 112"/>
                  <a:gd name="T11" fmla="*/ 112 h 112"/>
                  <a:gd name="T12" fmla="*/ 112 w 112"/>
                  <a:gd name="T13" fmla="*/ 86 h 112"/>
                  <a:gd name="T14" fmla="*/ 112 w 112"/>
                  <a:gd name="T15" fmla="*/ 26 h 112"/>
                  <a:gd name="T16" fmla="*/ 86 w 112"/>
                  <a:gd name="T17" fmla="*/ 0 h 112"/>
                  <a:gd name="T18" fmla="*/ 104 w 112"/>
                  <a:gd name="T19" fmla="*/ 86 h 112"/>
                  <a:gd name="T20" fmla="*/ 86 w 112"/>
                  <a:gd name="T21" fmla="*/ 104 h 112"/>
                  <a:gd name="T22" fmla="*/ 26 w 112"/>
                  <a:gd name="T23" fmla="*/ 104 h 112"/>
                  <a:gd name="T24" fmla="*/ 8 w 112"/>
                  <a:gd name="T25" fmla="*/ 86 h 112"/>
                  <a:gd name="T26" fmla="*/ 8 w 112"/>
                  <a:gd name="T27" fmla="*/ 26 h 112"/>
                  <a:gd name="T28" fmla="*/ 26 w 112"/>
                  <a:gd name="T29" fmla="*/ 8 h 112"/>
                  <a:gd name="T30" fmla="*/ 86 w 112"/>
                  <a:gd name="T31" fmla="*/ 8 h 112"/>
                  <a:gd name="T32" fmla="*/ 104 w 112"/>
                  <a:gd name="T33" fmla="*/ 26 h 112"/>
                  <a:gd name="T34" fmla="*/ 104 w 112"/>
                  <a:gd name="T35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112">
                    <a:moveTo>
                      <a:pt x="86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12" y="0"/>
                      <a:pt x="0" y="12"/>
                      <a:pt x="0" y="26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100"/>
                      <a:pt x="12" y="112"/>
                      <a:pt x="26" y="112"/>
                    </a:cubicBezTo>
                    <a:cubicBezTo>
                      <a:pt x="86" y="112"/>
                      <a:pt x="86" y="112"/>
                      <a:pt x="86" y="112"/>
                    </a:cubicBezTo>
                    <a:cubicBezTo>
                      <a:pt x="100" y="112"/>
                      <a:pt x="112" y="100"/>
                      <a:pt x="112" y="86"/>
                    </a:cubicBezTo>
                    <a:cubicBezTo>
                      <a:pt x="112" y="26"/>
                      <a:pt x="112" y="26"/>
                      <a:pt x="112" y="26"/>
                    </a:cubicBezTo>
                    <a:cubicBezTo>
                      <a:pt x="112" y="12"/>
                      <a:pt x="100" y="0"/>
                      <a:pt x="86" y="0"/>
                    </a:cubicBezTo>
                    <a:close/>
                    <a:moveTo>
                      <a:pt x="104" y="86"/>
                    </a:moveTo>
                    <a:cubicBezTo>
                      <a:pt x="104" y="96"/>
                      <a:pt x="96" y="104"/>
                      <a:pt x="86" y="104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16" y="104"/>
                      <a:pt x="8" y="96"/>
                      <a:pt x="8" y="86"/>
                    </a:cubicBezTo>
                    <a:cubicBezTo>
                      <a:pt x="8" y="26"/>
                      <a:pt x="8" y="26"/>
                      <a:pt x="8" y="26"/>
                    </a:cubicBezTo>
                    <a:cubicBezTo>
                      <a:pt x="8" y="16"/>
                      <a:pt x="16" y="8"/>
                      <a:pt x="26" y="8"/>
                    </a:cubicBezTo>
                    <a:cubicBezTo>
                      <a:pt x="86" y="8"/>
                      <a:pt x="86" y="8"/>
                      <a:pt x="86" y="8"/>
                    </a:cubicBezTo>
                    <a:cubicBezTo>
                      <a:pt x="96" y="8"/>
                      <a:pt x="104" y="16"/>
                      <a:pt x="104" y="26"/>
                    </a:cubicBezTo>
                    <a:lnTo>
                      <a:pt x="104" y="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78" name="Freeform 179">
                <a:extLst>
                  <a:ext uri="{FF2B5EF4-FFF2-40B4-BE49-F238E27FC236}">
                    <a16:creationId xmlns:a16="http://schemas.microsoft.com/office/drawing/2014/main" id="{4A8BD936-E996-41F5-BC8D-9D4B3E65FE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0976" y="4351338"/>
                <a:ext cx="65088" cy="65088"/>
              </a:xfrm>
              <a:custGeom>
                <a:avLst/>
                <a:gdLst>
                  <a:gd name="T0" fmla="*/ 12 w 24"/>
                  <a:gd name="T1" fmla="*/ 4 h 24"/>
                  <a:gd name="T2" fmla="*/ 20 w 24"/>
                  <a:gd name="T3" fmla="*/ 12 h 24"/>
                  <a:gd name="T4" fmla="*/ 12 w 24"/>
                  <a:gd name="T5" fmla="*/ 20 h 24"/>
                  <a:gd name="T6" fmla="*/ 4 w 24"/>
                  <a:gd name="T7" fmla="*/ 12 h 24"/>
                  <a:gd name="T8" fmla="*/ 12 w 24"/>
                  <a:gd name="T9" fmla="*/ 4 h 24"/>
                  <a:gd name="T10" fmla="*/ 12 w 24"/>
                  <a:gd name="T11" fmla="*/ 0 h 24"/>
                  <a:gd name="T12" fmla="*/ 0 w 24"/>
                  <a:gd name="T13" fmla="*/ 12 h 24"/>
                  <a:gd name="T14" fmla="*/ 12 w 24"/>
                  <a:gd name="T15" fmla="*/ 24 h 24"/>
                  <a:gd name="T16" fmla="*/ 24 w 24"/>
                  <a:gd name="T17" fmla="*/ 12 h 24"/>
                  <a:gd name="T18" fmla="*/ 12 w 24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4"/>
                    </a:moveTo>
                    <a:cubicBezTo>
                      <a:pt x="16" y="4"/>
                      <a:pt x="20" y="8"/>
                      <a:pt x="20" y="12"/>
                    </a:cubicBezTo>
                    <a:cubicBezTo>
                      <a:pt x="20" y="16"/>
                      <a:pt x="16" y="20"/>
                      <a:pt x="12" y="20"/>
                    </a:cubicBezTo>
                    <a:cubicBezTo>
                      <a:pt x="8" y="20"/>
                      <a:pt x="4" y="16"/>
                      <a:pt x="4" y="12"/>
                    </a:cubicBezTo>
                    <a:cubicBezTo>
                      <a:pt x="4" y="8"/>
                      <a:pt x="8" y="4"/>
                      <a:pt x="12" y="4"/>
                    </a:cubicBezTo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79" name="Freeform 180">
                <a:extLst>
                  <a:ext uri="{FF2B5EF4-FFF2-40B4-BE49-F238E27FC236}">
                    <a16:creationId xmlns:a16="http://schemas.microsoft.com/office/drawing/2014/main" id="{88511BCC-FAB1-4DC3-B7E9-8B47F35376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064" y="4416425"/>
                <a:ext cx="63500" cy="63500"/>
              </a:xfrm>
              <a:custGeom>
                <a:avLst/>
                <a:gdLst>
                  <a:gd name="T0" fmla="*/ 12 w 24"/>
                  <a:gd name="T1" fmla="*/ 4 h 24"/>
                  <a:gd name="T2" fmla="*/ 20 w 24"/>
                  <a:gd name="T3" fmla="*/ 12 h 24"/>
                  <a:gd name="T4" fmla="*/ 12 w 24"/>
                  <a:gd name="T5" fmla="*/ 20 h 24"/>
                  <a:gd name="T6" fmla="*/ 4 w 24"/>
                  <a:gd name="T7" fmla="*/ 12 h 24"/>
                  <a:gd name="T8" fmla="*/ 12 w 24"/>
                  <a:gd name="T9" fmla="*/ 4 h 24"/>
                  <a:gd name="T10" fmla="*/ 12 w 24"/>
                  <a:gd name="T11" fmla="*/ 0 h 24"/>
                  <a:gd name="T12" fmla="*/ 0 w 24"/>
                  <a:gd name="T13" fmla="*/ 12 h 24"/>
                  <a:gd name="T14" fmla="*/ 12 w 24"/>
                  <a:gd name="T15" fmla="*/ 24 h 24"/>
                  <a:gd name="T16" fmla="*/ 24 w 24"/>
                  <a:gd name="T17" fmla="*/ 12 h 24"/>
                  <a:gd name="T18" fmla="*/ 12 w 24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4"/>
                    </a:moveTo>
                    <a:cubicBezTo>
                      <a:pt x="16" y="4"/>
                      <a:pt x="20" y="8"/>
                      <a:pt x="20" y="12"/>
                    </a:cubicBezTo>
                    <a:cubicBezTo>
                      <a:pt x="20" y="16"/>
                      <a:pt x="16" y="20"/>
                      <a:pt x="12" y="20"/>
                    </a:cubicBezTo>
                    <a:cubicBezTo>
                      <a:pt x="8" y="20"/>
                      <a:pt x="4" y="16"/>
                      <a:pt x="4" y="12"/>
                    </a:cubicBezTo>
                    <a:cubicBezTo>
                      <a:pt x="4" y="8"/>
                      <a:pt x="8" y="4"/>
                      <a:pt x="12" y="4"/>
                    </a:cubicBezTo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80" name="Freeform 181">
                <a:extLst>
                  <a:ext uri="{FF2B5EF4-FFF2-40B4-BE49-F238E27FC236}">
                    <a16:creationId xmlns:a16="http://schemas.microsoft.com/office/drawing/2014/main" id="{7840887D-84BA-4D76-8C6E-C323A404E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9564" y="4351338"/>
                <a:ext cx="63500" cy="65088"/>
              </a:xfrm>
              <a:custGeom>
                <a:avLst/>
                <a:gdLst>
                  <a:gd name="T0" fmla="*/ 12 w 24"/>
                  <a:gd name="T1" fmla="*/ 4 h 24"/>
                  <a:gd name="T2" fmla="*/ 20 w 24"/>
                  <a:gd name="T3" fmla="*/ 12 h 24"/>
                  <a:gd name="T4" fmla="*/ 12 w 24"/>
                  <a:gd name="T5" fmla="*/ 20 h 24"/>
                  <a:gd name="T6" fmla="*/ 4 w 24"/>
                  <a:gd name="T7" fmla="*/ 12 h 24"/>
                  <a:gd name="T8" fmla="*/ 12 w 24"/>
                  <a:gd name="T9" fmla="*/ 4 h 24"/>
                  <a:gd name="T10" fmla="*/ 12 w 24"/>
                  <a:gd name="T11" fmla="*/ 0 h 24"/>
                  <a:gd name="T12" fmla="*/ 0 w 24"/>
                  <a:gd name="T13" fmla="*/ 12 h 24"/>
                  <a:gd name="T14" fmla="*/ 12 w 24"/>
                  <a:gd name="T15" fmla="*/ 24 h 24"/>
                  <a:gd name="T16" fmla="*/ 24 w 24"/>
                  <a:gd name="T17" fmla="*/ 12 h 24"/>
                  <a:gd name="T18" fmla="*/ 12 w 24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4"/>
                    </a:moveTo>
                    <a:cubicBezTo>
                      <a:pt x="16" y="4"/>
                      <a:pt x="20" y="8"/>
                      <a:pt x="20" y="12"/>
                    </a:cubicBezTo>
                    <a:cubicBezTo>
                      <a:pt x="20" y="16"/>
                      <a:pt x="16" y="20"/>
                      <a:pt x="12" y="20"/>
                    </a:cubicBezTo>
                    <a:cubicBezTo>
                      <a:pt x="8" y="20"/>
                      <a:pt x="4" y="16"/>
                      <a:pt x="4" y="12"/>
                    </a:cubicBezTo>
                    <a:cubicBezTo>
                      <a:pt x="4" y="8"/>
                      <a:pt x="8" y="4"/>
                      <a:pt x="12" y="4"/>
                    </a:cubicBezTo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81" name="Freeform 182">
                <a:extLst>
                  <a:ext uri="{FF2B5EF4-FFF2-40B4-BE49-F238E27FC236}">
                    <a16:creationId xmlns:a16="http://schemas.microsoft.com/office/drawing/2014/main" id="{7B51BA2A-745C-4110-977D-5C2509B72B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0976" y="4479925"/>
                <a:ext cx="65088" cy="63500"/>
              </a:xfrm>
              <a:custGeom>
                <a:avLst/>
                <a:gdLst>
                  <a:gd name="T0" fmla="*/ 12 w 24"/>
                  <a:gd name="T1" fmla="*/ 4 h 24"/>
                  <a:gd name="T2" fmla="*/ 20 w 24"/>
                  <a:gd name="T3" fmla="*/ 12 h 24"/>
                  <a:gd name="T4" fmla="*/ 12 w 24"/>
                  <a:gd name="T5" fmla="*/ 20 h 24"/>
                  <a:gd name="T6" fmla="*/ 4 w 24"/>
                  <a:gd name="T7" fmla="*/ 12 h 24"/>
                  <a:gd name="T8" fmla="*/ 12 w 24"/>
                  <a:gd name="T9" fmla="*/ 4 h 24"/>
                  <a:gd name="T10" fmla="*/ 12 w 24"/>
                  <a:gd name="T11" fmla="*/ 0 h 24"/>
                  <a:gd name="T12" fmla="*/ 0 w 24"/>
                  <a:gd name="T13" fmla="*/ 12 h 24"/>
                  <a:gd name="T14" fmla="*/ 12 w 24"/>
                  <a:gd name="T15" fmla="*/ 24 h 24"/>
                  <a:gd name="T16" fmla="*/ 24 w 24"/>
                  <a:gd name="T17" fmla="*/ 12 h 24"/>
                  <a:gd name="T18" fmla="*/ 12 w 24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4"/>
                    </a:moveTo>
                    <a:cubicBezTo>
                      <a:pt x="16" y="4"/>
                      <a:pt x="20" y="8"/>
                      <a:pt x="20" y="12"/>
                    </a:cubicBezTo>
                    <a:cubicBezTo>
                      <a:pt x="20" y="16"/>
                      <a:pt x="16" y="20"/>
                      <a:pt x="12" y="20"/>
                    </a:cubicBezTo>
                    <a:cubicBezTo>
                      <a:pt x="8" y="20"/>
                      <a:pt x="4" y="16"/>
                      <a:pt x="4" y="12"/>
                    </a:cubicBezTo>
                    <a:cubicBezTo>
                      <a:pt x="4" y="8"/>
                      <a:pt x="8" y="4"/>
                      <a:pt x="12" y="4"/>
                    </a:cubicBezTo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82" name="Freeform 183">
                <a:extLst>
                  <a:ext uri="{FF2B5EF4-FFF2-40B4-BE49-F238E27FC236}">
                    <a16:creationId xmlns:a16="http://schemas.microsoft.com/office/drawing/2014/main" id="{4A8C4681-6829-4418-82DE-7414A54F25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9564" y="4479925"/>
                <a:ext cx="63500" cy="63500"/>
              </a:xfrm>
              <a:custGeom>
                <a:avLst/>
                <a:gdLst>
                  <a:gd name="T0" fmla="*/ 12 w 24"/>
                  <a:gd name="T1" fmla="*/ 4 h 24"/>
                  <a:gd name="T2" fmla="*/ 20 w 24"/>
                  <a:gd name="T3" fmla="*/ 12 h 24"/>
                  <a:gd name="T4" fmla="*/ 12 w 24"/>
                  <a:gd name="T5" fmla="*/ 20 h 24"/>
                  <a:gd name="T6" fmla="*/ 4 w 24"/>
                  <a:gd name="T7" fmla="*/ 12 h 24"/>
                  <a:gd name="T8" fmla="*/ 12 w 24"/>
                  <a:gd name="T9" fmla="*/ 4 h 24"/>
                  <a:gd name="T10" fmla="*/ 12 w 24"/>
                  <a:gd name="T11" fmla="*/ 0 h 24"/>
                  <a:gd name="T12" fmla="*/ 0 w 24"/>
                  <a:gd name="T13" fmla="*/ 12 h 24"/>
                  <a:gd name="T14" fmla="*/ 12 w 24"/>
                  <a:gd name="T15" fmla="*/ 24 h 24"/>
                  <a:gd name="T16" fmla="*/ 24 w 24"/>
                  <a:gd name="T17" fmla="*/ 12 h 24"/>
                  <a:gd name="T18" fmla="*/ 12 w 24"/>
                  <a:gd name="T1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4"/>
                    </a:moveTo>
                    <a:cubicBezTo>
                      <a:pt x="16" y="4"/>
                      <a:pt x="20" y="8"/>
                      <a:pt x="20" y="12"/>
                    </a:cubicBezTo>
                    <a:cubicBezTo>
                      <a:pt x="20" y="16"/>
                      <a:pt x="16" y="20"/>
                      <a:pt x="12" y="20"/>
                    </a:cubicBezTo>
                    <a:cubicBezTo>
                      <a:pt x="8" y="20"/>
                      <a:pt x="4" y="16"/>
                      <a:pt x="4" y="12"/>
                    </a:cubicBezTo>
                    <a:cubicBezTo>
                      <a:pt x="4" y="8"/>
                      <a:pt x="8" y="4"/>
                      <a:pt x="12" y="4"/>
                    </a:cubicBezTo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</p:grpSp>
        <p:sp>
          <p:nvSpPr>
            <p:cNvPr id="66" name="Freeform 344">
              <a:extLst>
                <a:ext uri="{FF2B5EF4-FFF2-40B4-BE49-F238E27FC236}">
                  <a16:creationId xmlns:a16="http://schemas.microsoft.com/office/drawing/2014/main" id="{2A9911D7-8FC7-4DCC-8185-6689F6171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0591" y="3666530"/>
              <a:ext cx="338951" cy="338951"/>
            </a:xfrm>
            <a:custGeom>
              <a:avLst/>
              <a:gdLst>
                <a:gd name="T0" fmla="*/ 60 w 64"/>
                <a:gd name="T1" fmla="*/ 5 h 64"/>
                <a:gd name="T2" fmla="*/ 32 w 64"/>
                <a:gd name="T3" fmla="*/ 0 h 64"/>
                <a:gd name="T4" fmla="*/ 4 w 64"/>
                <a:gd name="T5" fmla="*/ 5 h 64"/>
                <a:gd name="T6" fmla="*/ 0 w 64"/>
                <a:gd name="T7" fmla="*/ 10 h 64"/>
                <a:gd name="T8" fmla="*/ 0 w 64"/>
                <a:gd name="T9" fmla="*/ 54 h 64"/>
                <a:gd name="T10" fmla="*/ 4 w 64"/>
                <a:gd name="T11" fmla="*/ 59 h 64"/>
                <a:gd name="T12" fmla="*/ 32 w 64"/>
                <a:gd name="T13" fmla="*/ 64 h 64"/>
                <a:gd name="T14" fmla="*/ 60 w 64"/>
                <a:gd name="T15" fmla="*/ 59 h 64"/>
                <a:gd name="T16" fmla="*/ 64 w 64"/>
                <a:gd name="T17" fmla="*/ 54 h 64"/>
                <a:gd name="T18" fmla="*/ 64 w 64"/>
                <a:gd name="T19" fmla="*/ 10 h 64"/>
                <a:gd name="T20" fmla="*/ 60 w 64"/>
                <a:gd name="T21" fmla="*/ 5 h 64"/>
                <a:gd name="T22" fmla="*/ 32 w 64"/>
                <a:gd name="T23" fmla="*/ 4 h 64"/>
                <a:gd name="T24" fmla="*/ 60 w 64"/>
                <a:gd name="T25" fmla="*/ 10 h 64"/>
                <a:gd name="T26" fmla="*/ 32 w 64"/>
                <a:gd name="T27" fmla="*/ 16 h 64"/>
                <a:gd name="T28" fmla="*/ 4 w 64"/>
                <a:gd name="T29" fmla="*/ 10 h 64"/>
                <a:gd name="T30" fmla="*/ 32 w 64"/>
                <a:gd name="T31" fmla="*/ 4 h 64"/>
                <a:gd name="T32" fmla="*/ 32 w 64"/>
                <a:gd name="T33" fmla="*/ 20 h 64"/>
                <a:gd name="T34" fmla="*/ 60 w 64"/>
                <a:gd name="T35" fmla="*/ 15 h 64"/>
                <a:gd name="T36" fmla="*/ 60 w 64"/>
                <a:gd name="T37" fmla="*/ 24 h 64"/>
                <a:gd name="T38" fmla="*/ 60 w 64"/>
                <a:gd name="T39" fmla="*/ 24 h 64"/>
                <a:gd name="T40" fmla="*/ 32 w 64"/>
                <a:gd name="T41" fmla="*/ 30 h 64"/>
                <a:gd name="T42" fmla="*/ 4 w 64"/>
                <a:gd name="T43" fmla="*/ 24 h 64"/>
                <a:gd name="T44" fmla="*/ 4 w 64"/>
                <a:gd name="T45" fmla="*/ 24 h 64"/>
                <a:gd name="T46" fmla="*/ 4 w 64"/>
                <a:gd name="T47" fmla="*/ 15 h 64"/>
                <a:gd name="T48" fmla="*/ 32 w 64"/>
                <a:gd name="T49" fmla="*/ 20 h 64"/>
                <a:gd name="T50" fmla="*/ 60 w 64"/>
                <a:gd name="T51" fmla="*/ 54 h 64"/>
                <a:gd name="T52" fmla="*/ 60 w 64"/>
                <a:gd name="T53" fmla="*/ 54 h 64"/>
                <a:gd name="T54" fmla="*/ 32 w 64"/>
                <a:gd name="T55" fmla="*/ 60 h 64"/>
                <a:gd name="T56" fmla="*/ 4 w 64"/>
                <a:gd name="T57" fmla="*/ 54 h 64"/>
                <a:gd name="T58" fmla="*/ 4 w 64"/>
                <a:gd name="T59" fmla="*/ 54 h 64"/>
                <a:gd name="T60" fmla="*/ 4 w 64"/>
                <a:gd name="T61" fmla="*/ 43 h 64"/>
                <a:gd name="T62" fmla="*/ 32 w 64"/>
                <a:gd name="T63" fmla="*/ 48 h 64"/>
                <a:gd name="T64" fmla="*/ 60 w 64"/>
                <a:gd name="T65" fmla="*/ 43 h 64"/>
                <a:gd name="T66" fmla="*/ 60 w 64"/>
                <a:gd name="T67" fmla="*/ 54 h 64"/>
                <a:gd name="T68" fmla="*/ 60 w 64"/>
                <a:gd name="T69" fmla="*/ 38 h 64"/>
                <a:gd name="T70" fmla="*/ 60 w 64"/>
                <a:gd name="T71" fmla="*/ 38 h 64"/>
                <a:gd name="T72" fmla="*/ 32 w 64"/>
                <a:gd name="T73" fmla="*/ 44 h 64"/>
                <a:gd name="T74" fmla="*/ 4 w 64"/>
                <a:gd name="T75" fmla="*/ 38 h 64"/>
                <a:gd name="T76" fmla="*/ 4 w 64"/>
                <a:gd name="T77" fmla="*/ 38 h 64"/>
                <a:gd name="T78" fmla="*/ 4 w 64"/>
                <a:gd name="T79" fmla="*/ 29 h 64"/>
                <a:gd name="T80" fmla="*/ 32 w 64"/>
                <a:gd name="T81" fmla="*/ 34 h 64"/>
                <a:gd name="T82" fmla="*/ 60 w 64"/>
                <a:gd name="T83" fmla="*/ 29 h 64"/>
                <a:gd name="T84" fmla="*/ 60 w 64"/>
                <a:gd name="T85" fmla="*/ 3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" h="64">
                  <a:moveTo>
                    <a:pt x="60" y="5"/>
                  </a:moveTo>
                  <a:cubicBezTo>
                    <a:pt x="55" y="2"/>
                    <a:pt x="44" y="0"/>
                    <a:pt x="32" y="0"/>
                  </a:cubicBezTo>
                  <a:cubicBezTo>
                    <a:pt x="20" y="0"/>
                    <a:pt x="9" y="2"/>
                    <a:pt x="4" y="5"/>
                  </a:cubicBezTo>
                  <a:cubicBezTo>
                    <a:pt x="1" y="7"/>
                    <a:pt x="0" y="8"/>
                    <a:pt x="0" y="1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6"/>
                    <a:pt x="1" y="57"/>
                    <a:pt x="4" y="59"/>
                  </a:cubicBezTo>
                  <a:cubicBezTo>
                    <a:pt x="9" y="62"/>
                    <a:pt x="20" y="64"/>
                    <a:pt x="32" y="64"/>
                  </a:cubicBezTo>
                  <a:cubicBezTo>
                    <a:pt x="44" y="64"/>
                    <a:pt x="55" y="62"/>
                    <a:pt x="60" y="59"/>
                  </a:cubicBezTo>
                  <a:cubicBezTo>
                    <a:pt x="63" y="57"/>
                    <a:pt x="64" y="56"/>
                    <a:pt x="64" y="54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8"/>
                    <a:pt x="63" y="7"/>
                    <a:pt x="60" y="5"/>
                  </a:cubicBezTo>
                  <a:close/>
                  <a:moveTo>
                    <a:pt x="32" y="4"/>
                  </a:moveTo>
                  <a:cubicBezTo>
                    <a:pt x="49" y="4"/>
                    <a:pt x="58" y="8"/>
                    <a:pt x="60" y="10"/>
                  </a:cubicBezTo>
                  <a:cubicBezTo>
                    <a:pt x="58" y="12"/>
                    <a:pt x="49" y="16"/>
                    <a:pt x="32" y="16"/>
                  </a:cubicBezTo>
                  <a:cubicBezTo>
                    <a:pt x="15" y="16"/>
                    <a:pt x="6" y="12"/>
                    <a:pt x="4" y="10"/>
                  </a:cubicBezTo>
                  <a:cubicBezTo>
                    <a:pt x="6" y="8"/>
                    <a:pt x="15" y="4"/>
                    <a:pt x="32" y="4"/>
                  </a:cubicBezTo>
                  <a:close/>
                  <a:moveTo>
                    <a:pt x="32" y="20"/>
                  </a:moveTo>
                  <a:cubicBezTo>
                    <a:pt x="44" y="20"/>
                    <a:pt x="55" y="18"/>
                    <a:pt x="60" y="15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58" y="26"/>
                    <a:pt x="49" y="30"/>
                    <a:pt x="32" y="30"/>
                  </a:cubicBezTo>
                  <a:cubicBezTo>
                    <a:pt x="15" y="30"/>
                    <a:pt x="6" y="26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9" y="18"/>
                    <a:pt x="20" y="20"/>
                    <a:pt x="32" y="20"/>
                  </a:cubicBezTo>
                  <a:close/>
                  <a:moveTo>
                    <a:pt x="60" y="54"/>
                  </a:moveTo>
                  <a:cubicBezTo>
                    <a:pt x="60" y="54"/>
                    <a:pt x="60" y="54"/>
                    <a:pt x="60" y="54"/>
                  </a:cubicBezTo>
                  <a:cubicBezTo>
                    <a:pt x="58" y="56"/>
                    <a:pt x="49" y="60"/>
                    <a:pt x="32" y="60"/>
                  </a:cubicBezTo>
                  <a:cubicBezTo>
                    <a:pt x="15" y="60"/>
                    <a:pt x="6" y="56"/>
                    <a:pt x="4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9" y="46"/>
                    <a:pt x="20" y="48"/>
                    <a:pt x="32" y="48"/>
                  </a:cubicBezTo>
                  <a:cubicBezTo>
                    <a:pt x="44" y="48"/>
                    <a:pt x="55" y="46"/>
                    <a:pt x="60" y="43"/>
                  </a:cubicBezTo>
                  <a:lnTo>
                    <a:pt x="60" y="54"/>
                  </a:lnTo>
                  <a:close/>
                  <a:moveTo>
                    <a:pt x="60" y="38"/>
                  </a:moveTo>
                  <a:cubicBezTo>
                    <a:pt x="60" y="38"/>
                    <a:pt x="60" y="38"/>
                    <a:pt x="60" y="38"/>
                  </a:cubicBezTo>
                  <a:cubicBezTo>
                    <a:pt x="58" y="40"/>
                    <a:pt x="49" y="44"/>
                    <a:pt x="32" y="44"/>
                  </a:cubicBezTo>
                  <a:cubicBezTo>
                    <a:pt x="15" y="44"/>
                    <a:pt x="6" y="40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9" y="32"/>
                    <a:pt x="20" y="34"/>
                    <a:pt x="32" y="34"/>
                  </a:cubicBezTo>
                  <a:cubicBezTo>
                    <a:pt x="44" y="34"/>
                    <a:pt x="55" y="32"/>
                    <a:pt x="60" y="29"/>
                  </a:cubicBezTo>
                  <a:lnTo>
                    <a:pt x="60" y="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67" name="Freeform 25">
              <a:extLst>
                <a:ext uri="{FF2B5EF4-FFF2-40B4-BE49-F238E27FC236}">
                  <a16:creationId xmlns:a16="http://schemas.microsoft.com/office/drawing/2014/main" id="{2A54A639-5C76-4FB6-B21E-5561BCB1ECBA}"/>
                </a:ext>
              </a:extLst>
            </p:cNvPr>
            <p:cNvSpPr>
              <a:spLocks noEditPoints="1"/>
            </p:cNvSpPr>
            <p:nvPr/>
          </p:nvSpPr>
          <p:spPr bwMode="auto">
            <a:xfrm rot="2700000">
              <a:off x="6848319" y="4640241"/>
              <a:ext cx="273233" cy="404995"/>
            </a:xfrm>
            <a:custGeom>
              <a:avLst/>
              <a:gdLst>
                <a:gd name="T0" fmla="*/ 163 w 164"/>
                <a:gd name="T1" fmla="*/ 109 h 244"/>
                <a:gd name="T2" fmla="*/ 125 w 164"/>
                <a:gd name="T3" fmla="*/ 46 h 244"/>
                <a:gd name="T4" fmla="*/ 143 w 164"/>
                <a:gd name="T5" fmla="*/ 9 h 244"/>
                <a:gd name="T6" fmla="*/ 143 w 164"/>
                <a:gd name="T7" fmla="*/ 3 h 244"/>
                <a:gd name="T8" fmla="*/ 138 w 164"/>
                <a:gd name="T9" fmla="*/ 0 h 244"/>
                <a:gd name="T10" fmla="*/ 22 w 164"/>
                <a:gd name="T11" fmla="*/ 0 h 244"/>
                <a:gd name="T12" fmla="*/ 17 w 164"/>
                <a:gd name="T13" fmla="*/ 3 h 244"/>
                <a:gd name="T14" fmla="*/ 17 w 164"/>
                <a:gd name="T15" fmla="*/ 9 h 244"/>
                <a:gd name="T16" fmla="*/ 39 w 164"/>
                <a:gd name="T17" fmla="*/ 46 h 244"/>
                <a:gd name="T18" fmla="*/ 2 w 164"/>
                <a:gd name="T19" fmla="*/ 109 h 244"/>
                <a:gd name="T20" fmla="*/ 1 w 164"/>
                <a:gd name="T21" fmla="*/ 114 h 244"/>
                <a:gd name="T22" fmla="*/ 61 w 164"/>
                <a:gd name="T23" fmla="*/ 241 h 244"/>
                <a:gd name="T24" fmla="*/ 66 w 164"/>
                <a:gd name="T25" fmla="*/ 244 h 244"/>
                <a:gd name="T26" fmla="*/ 98 w 164"/>
                <a:gd name="T27" fmla="*/ 244 h 244"/>
                <a:gd name="T28" fmla="*/ 103 w 164"/>
                <a:gd name="T29" fmla="*/ 241 h 244"/>
                <a:gd name="T30" fmla="*/ 163 w 164"/>
                <a:gd name="T31" fmla="*/ 114 h 244"/>
                <a:gd name="T32" fmla="*/ 163 w 164"/>
                <a:gd name="T33" fmla="*/ 109 h 244"/>
                <a:gd name="T34" fmla="*/ 128 w 164"/>
                <a:gd name="T35" fmla="*/ 12 h 244"/>
                <a:gd name="T36" fmla="*/ 114 w 164"/>
                <a:gd name="T37" fmla="*/ 40 h 244"/>
                <a:gd name="T38" fmla="*/ 49 w 164"/>
                <a:gd name="T39" fmla="*/ 40 h 244"/>
                <a:gd name="T40" fmla="*/ 33 w 164"/>
                <a:gd name="T41" fmla="*/ 12 h 244"/>
                <a:gd name="T42" fmla="*/ 128 w 164"/>
                <a:gd name="T43" fmla="*/ 12 h 244"/>
                <a:gd name="T44" fmla="*/ 82 w 164"/>
                <a:gd name="T45" fmla="*/ 120 h 244"/>
                <a:gd name="T46" fmla="*/ 68 w 164"/>
                <a:gd name="T47" fmla="*/ 106 h 244"/>
                <a:gd name="T48" fmla="*/ 82 w 164"/>
                <a:gd name="T49" fmla="*/ 92 h 244"/>
                <a:gd name="T50" fmla="*/ 96 w 164"/>
                <a:gd name="T51" fmla="*/ 106 h 244"/>
                <a:gd name="T52" fmla="*/ 82 w 164"/>
                <a:gd name="T53" fmla="*/ 120 h 244"/>
                <a:gd name="T54" fmla="*/ 94 w 164"/>
                <a:gd name="T55" fmla="*/ 232 h 244"/>
                <a:gd name="T56" fmla="*/ 88 w 164"/>
                <a:gd name="T57" fmla="*/ 232 h 244"/>
                <a:gd name="T58" fmla="*/ 88 w 164"/>
                <a:gd name="T59" fmla="*/ 131 h 244"/>
                <a:gd name="T60" fmla="*/ 108 w 164"/>
                <a:gd name="T61" fmla="*/ 106 h 244"/>
                <a:gd name="T62" fmla="*/ 82 w 164"/>
                <a:gd name="T63" fmla="*/ 80 h 244"/>
                <a:gd name="T64" fmla="*/ 56 w 164"/>
                <a:gd name="T65" fmla="*/ 106 h 244"/>
                <a:gd name="T66" fmla="*/ 76 w 164"/>
                <a:gd name="T67" fmla="*/ 131 h 244"/>
                <a:gd name="T68" fmla="*/ 76 w 164"/>
                <a:gd name="T69" fmla="*/ 232 h 244"/>
                <a:gd name="T70" fmla="*/ 70 w 164"/>
                <a:gd name="T71" fmla="*/ 232 h 244"/>
                <a:gd name="T72" fmla="*/ 13 w 164"/>
                <a:gd name="T73" fmla="*/ 112 h 244"/>
                <a:gd name="T74" fmla="*/ 49 w 164"/>
                <a:gd name="T75" fmla="*/ 52 h 244"/>
                <a:gd name="T76" fmla="*/ 115 w 164"/>
                <a:gd name="T77" fmla="*/ 52 h 244"/>
                <a:gd name="T78" fmla="*/ 151 w 164"/>
                <a:gd name="T79" fmla="*/ 112 h 244"/>
                <a:gd name="T80" fmla="*/ 94 w 164"/>
                <a:gd name="T81" fmla="*/ 232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4" h="244">
                  <a:moveTo>
                    <a:pt x="163" y="109"/>
                  </a:moveTo>
                  <a:cubicBezTo>
                    <a:pt x="125" y="46"/>
                    <a:pt x="125" y="46"/>
                    <a:pt x="125" y="46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4" y="7"/>
                    <a:pt x="144" y="5"/>
                    <a:pt x="143" y="3"/>
                  </a:cubicBezTo>
                  <a:cubicBezTo>
                    <a:pt x="142" y="1"/>
                    <a:pt x="140" y="0"/>
                    <a:pt x="138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0"/>
                    <a:pt x="18" y="1"/>
                    <a:pt x="17" y="3"/>
                  </a:cubicBezTo>
                  <a:cubicBezTo>
                    <a:pt x="16" y="5"/>
                    <a:pt x="16" y="7"/>
                    <a:pt x="17" y="9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1" y="111"/>
                    <a:pt x="0" y="113"/>
                    <a:pt x="1" y="114"/>
                  </a:cubicBezTo>
                  <a:cubicBezTo>
                    <a:pt x="61" y="241"/>
                    <a:pt x="61" y="241"/>
                    <a:pt x="61" y="241"/>
                  </a:cubicBezTo>
                  <a:cubicBezTo>
                    <a:pt x="62" y="243"/>
                    <a:pt x="64" y="244"/>
                    <a:pt x="66" y="244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100" y="244"/>
                    <a:pt x="102" y="243"/>
                    <a:pt x="103" y="241"/>
                  </a:cubicBezTo>
                  <a:cubicBezTo>
                    <a:pt x="163" y="114"/>
                    <a:pt x="163" y="114"/>
                    <a:pt x="163" y="114"/>
                  </a:cubicBezTo>
                  <a:cubicBezTo>
                    <a:pt x="164" y="113"/>
                    <a:pt x="164" y="111"/>
                    <a:pt x="163" y="109"/>
                  </a:cubicBezTo>
                  <a:close/>
                  <a:moveTo>
                    <a:pt x="128" y="12"/>
                  </a:moveTo>
                  <a:cubicBezTo>
                    <a:pt x="114" y="40"/>
                    <a:pt x="114" y="40"/>
                    <a:pt x="114" y="40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33" y="12"/>
                    <a:pt x="33" y="12"/>
                    <a:pt x="33" y="12"/>
                  </a:cubicBezTo>
                  <a:lnTo>
                    <a:pt x="128" y="12"/>
                  </a:lnTo>
                  <a:close/>
                  <a:moveTo>
                    <a:pt x="82" y="120"/>
                  </a:moveTo>
                  <a:cubicBezTo>
                    <a:pt x="74" y="120"/>
                    <a:pt x="68" y="114"/>
                    <a:pt x="68" y="106"/>
                  </a:cubicBezTo>
                  <a:cubicBezTo>
                    <a:pt x="68" y="98"/>
                    <a:pt x="74" y="92"/>
                    <a:pt x="82" y="92"/>
                  </a:cubicBezTo>
                  <a:cubicBezTo>
                    <a:pt x="90" y="92"/>
                    <a:pt x="96" y="98"/>
                    <a:pt x="96" y="106"/>
                  </a:cubicBezTo>
                  <a:cubicBezTo>
                    <a:pt x="96" y="114"/>
                    <a:pt x="90" y="120"/>
                    <a:pt x="82" y="120"/>
                  </a:cubicBezTo>
                  <a:close/>
                  <a:moveTo>
                    <a:pt x="94" y="232"/>
                  </a:moveTo>
                  <a:cubicBezTo>
                    <a:pt x="88" y="232"/>
                    <a:pt x="88" y="232"/>
                    <a:pt x="88" y="232"/>
                  </a:cubicBezTo>
                  <a:cubicBezTo>
                    <a:pt x="88" y="131"/>
                    <a:pt x="88" y="131"/>
                    <a:pt x="88" y="131"/>
                  </a:cubicBezTo>
                  <a:cubicBezTo>
                    <a:pt x="99" y="129"/>
                    <a:pt x="108" y="118"/>
                    <a:pt x="108" y="106"/>
                  </a:cubicBezTo>
                  <a:cubicBezTo>
                    <a:pt x="108" y="92"/>
                    <a:pt x="96" y="80"/>
                    <a:pt x="82" y="80"/>
                  </a:cubicBezTo>
                  <a:cubicBezTo>
                    <a:pt x="68" y="80"/>
                    <a:pt x="56" y="92"/>
                    <a:pt x="56" y="106"/>
                  </a:cubicBezTo>
                  <a:cubicBezTo>
                    <a:pt x="56" y="118"/>
                    <a:pt x="65" y="129"/>
                    <a:pt x="76" y="131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70" y="232"/>
                    <a:pt x="70" y="232"/>
                    <a:pt x="70" y="23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51" y="112"/>
                    <a:pt x="151" y="112"/>
                    <a:pt x="151" y="112"/>
                  </a:cubicBezTo>
                  <a:lnTo>
                    <a:pt x="94" y="2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grpSp>
          <p:nvGrpSpPr>
            <p:cNvPr id="68" name="Group 84">
              <a:extLst>
                <a:ext uri="{FF2B5EF4-FFF2-40B4-BE49-F238E27FC236}">
                  <a16:creationId xmlns:a16="http://schemas.microsoft.com/office/drawing/2014/main" id="{D59FF6C0-800C-4CB7-905D-9F81CEB2F8F0}"/>
                </a:ext>
              </a:extLst>
            </p:cNvPr>
            <p:cNvGrpSpPr/>
            <p:nvPr/>
          </p:nvGrpSpPr>
          <p:grpSpPr>
            <a:xfrm>
              <a:off x="7113602" y="2700606"/>
              <a:ext cx="432364" cy="330459"/>
              <a:chOff x="5516563" y="84138"/>
              <a:chExt cx="1414463" cy="1081087"/>
            </a:xfrm>
            <a:solidFill>
              <a:schemeClr val="bg1"/>
            </a:solidFill>
          </p:grpSpPr>
          <p:sp>
            <p:nvSpPr>
              <p:cNvPr id="70" name="Freeform 13">
                <a:extLst>
                  <a:ext uri="{FF2B5EF4-FFF2-40B4-BE49-F238E27FC236}">
                    <a16:creationId xmlns:a16="http://schemas.microsoft.com/office/drawing/2014/main" id="{9B91BAC5-6FB0-40F1-B385-401FFDA17B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88013" y="249238"/>
                <a:ext cx="896938" cy="698500"/>
              </a:xfrm>
              <a:custGeom>
                <a:avLst/>
                <a:gdLst>
                  <a:gd name="T0" fmla="*/ 214 w 239"/>
                  <a:gd name="T1" fmla="*/ 9 h 186"/>
                  <a:gd name="T2" fmla="*/ 120 w 239"/>
                  <a:gd name="T3" fmla="*/ 0 h 186"/>
                  <a:gd name="T4" fmla="*/ 26 w 239"/>
                  <a:gd name="T5" fmla="*/ 9 h 186"/>
                  <a:gd name="T6" fmla="*/ 17 w 239"/>
                  <a:gd name="T7" fmla="*/ 17 h 186"/>
                  <a:gd name="T8" fmla="*/ 17 w 239"/>
                  <a:gd name="T9" fmla="*/ 169 h 186"/>
                  <a:gd name="T10" fmla="*/ 26 w 239"/>
                  <a:gd name="T11" fmla="*/ 177 h 186"/>
                  <a:gd name="T12" fmla="*/ 120 w 239"/>
                  <a:gd name="T13" fmla="*/ 186 h 186"/>
                  <a:gd name="T14" fmla="*/ 214 w 239"/>
                  <a:gd name="T15" fmla="*/ 177 h 186"/>
                  <a:gd name="T16" fmla="*/ 222 w 239"/>
                  <a:gd name="T17" fmla="*/ 169 h 186"/>
                  <a:gd name="T18" fmla="*/ 222 w 239"/>
                  <a:gd name="T19" fmla="*/ 17 h 186"/>
                  <a:gd name="T20" fmla="*/ 214 w 239"/>
                  <a:gd name="T21" fmla="*/ 9 h 186"/>
                  <a:gd name="T22" fmla="*/ 211 w 239"/>
                  <a:gd name="T23" fmla="*/ 165 h 186"/>
                  <a:gd name="T24" fmla="*/ 28 w 239"/>
                  <a:gd name="T25" fmla="*/ 165 h 186"/>
                  <a:gd name="T26" fmla="*/ 28 w 239"/>
                  <a:gd name="T27" fmla="*/ 21 h 186"/>
                  <a:gd name="T28" fmla="*/ 211 w 239"/>
                  <a:gd name="T29" fmla="*/ 21 h 186"/>
                  <a:gd name="T30" fmla="*/ 211 w 239"/>
                  <a:gd name="T31" fmla="*/ 16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9" h="186">
                    <a:moveTo>
                      <a:pt x="214" y="9"/>
                    </a:moveTo>
                    <a:cubicBezTo>
                      <a:pt x="182" y="3"/>
                      <a:pt x="151" y="0"/>
                      <a:pt x="120" y="0"/>
                    </a:cubicBezTo>
                    <a:cubicBezTo>
                      <a:pt x="88" y="0"/>
                      <a:pt x="57" y="3"/>
                      <a:pt x="26" y="9"/>
                    </a:cubicBezTo>
                    <a:cubicBezTo>
                      <a:pt x="22" y="10"/>
                      <a:pt x="18" y="13"/>
                      <a:pt x="17" y="17"/>
                    </a:cubicBezTo>
                    <a:cubicBezTo>
                      <a:pt x="0" y="67"/>
                      <a:pt x="0" y="118"/>
                      <a:pt x="17" y="169"/>
                    </a:cubicBezTo>
                    <a:cubicBezTo>
                      <a:pt x="18" y="173"/>
                      <a:pt x="22" y="176"/>
                      <a:pt x="26" y="177"/>
                    </a:cubicBezTo>
                    <a:cubicBezTo>
                      <a:pt x="57" y="183"/>
                      <a:pt x="88" y="186"/>
                      <a:pt x="120" y="186"/>
                    </a:cubicBezTo>
                    <a:cubicBezTo>
                      <a:pt x="151" y="186"/>
                      <a:pt x="182" y="183"/>
                      <a:pt x="214" y="177"/>
                    </a:cubicBezTo>
                    <a:cubicBezTo>
                      <a:pt x="218" y="176"/>
                      <a:pt x="221" y="173"/>
                      <a:pt x="222" y="169"/>
                    </a:cubicBezTo>
                    <a:cubicBezTo>
                      <a:pt x="239" y="118"/>
                      <a:pt x="239" y="67"/>
                      <a:pt x="222" y="17"/>
                    </a:cubicBezTo>
                    <a:cubicBezTo>
                      <a:pt x="221" y="13"/>
                      <a:pt x="218" y="10"/>
                      <a:pt x="214" y="9"/>
                    </a:cubicBezTo>
                    <a:close/>
                    <a:moveTo>
                      <a:pt x="211" y="165"/>
                    </a:moveTo>
                    <a:cubicBezTo>
                      <a:pt x="150" y="178"/>
                      <a:pt x="89" y="178"/>
                      <a:pt x="28" y="165"/>
                    </a:cubicBezTo>
                    <a:cubicBezTo>
                      <a:pt x="12" y="117"/>
                      <a:pt x="12" y="69"/>
                      <a:pt x="28" y="21"/>
                    </a:cubicBezTo>
                    <a:cubicBezTo>
                      <a:pt x="89" y="8"/>
                      <a:pt x="150" y="8"/>
                      <a:pt x="211" y="21"/>
                    </a:cubicBezTo>
                    <a:cubicBezTo>
                      <a:pt x="227" y="69"/>
                      <a:pt x="227" y="117"/>
                      <a:pt x="211" y="1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71" name="Freeform 14">
                <a:extLst>
                  <a:ext uri="{FF2B5EF4-FFF2-40B4-BE49-F238E27FC236}">
                    <a16:creationId xmlns:a16="http://schemas.microsoft.com/office/drawing/2014/main" id="{2191AE11-A5DD-4EED-BED8-EC4DEAD2C7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6563" y="84138"/>
                <a:ext cx="1414463" cy="1081087"/>
              </a:xfrm>
              <a:custGeom>
                <a:avLst/>
                <a:gdLst>
                  <a:gd name="T0" fmla="*/ 359 w 377"/>
                  <a:gd name="T1" fmla="*/ 27 h 288"/>
                  <a:gd name="T2" fmla="*/ 340 w 377"/>
                  <a:gd name="T3" fmla="*/ 9 h 288"/>
                  <a:gd name="T4" fmla="*/ 189 w 377"/>
                  <a:gd name="T5" fmla="*/ 0 h 288"/>
                  <a:gd name="T6" fmla="*/ 37 w 377"/>
                  <a:gd name="T7" fmla="*/ 9 h 288"/>
                  <a:gd name="T8" fmla="*/ 18 w 377"/>
                  <a:gd name="T9" fmla="*/ 27 h 288"/>
                  <a:gd name="T10" fmla="*/ 18 w 377"/>
                  <a:gd name="T11" fmla="*/ 250 h 288"/>
                  <a:gd name="T12" fmla="*/ 37 w 377"/>
                  <a:gd name="T13" fmla="*/ 267 h 288"/>
                  <a:gd name="T14" fmla="*/ 110 w 377"/>
                  <a:gd name="T15" fmla="*/ 274 h 288"/>
                  <a:gd name="T16" fmla="*/ 108 w 377"/>
                  <a:gd name="T17" fmla="*/ 276 h 288"/>
                  <a:gd name="T18" fmla="*/ 189 w 377"/>
                  <a:gd name="T19" fmla="*/ 288 h 288"/>
                  <a:gd name="T20" fmla="*/ 269 w 377"/>
                  <a:gd name="T21" fmla="*/ 276 h 288"/>
                  <a:gd name="T22" fmla="*/ 267 w 377"/>
                  <a:gd name="T23" fmla="*/ 274 h 288"/>
                  <a:gd name="T24" fmla="*/ 340 w 377"/>
                  <a:gd name="T25" fmla="*/ 267 h 288"/>
                  <a:gd name="T26" fmla="*/ 359 w 377"/>
                  <a:gd name="T27" fmla="*/ 250 h 288"/>
                  <a:gd name="T28" fmla="*/ 359 w 377"/>
                  <a:gd name="T29" fmla="*/ 27 h 288"/>
                  <a:gd name="T30" fmla="*/ 337 w 377"/>
                  <a:gd name="T31" fmla="*/ 244 h 288"/>
                  <a:gd name="T32" fmla="*/ 40 w 377"/>
                  <a:gd name="T33" fmla="*/ 244 h 288"/>
                  <a:gd name="T34" fmla="*/ 40 w 377"/>
                  <a:gd name="T35" fmla="*/ 32 h 288"/>
                  <a:gd name="T36" fmla="*/ 337 w 377"/>
                  <a:gd name="T37" fmla="*/ 32 h 288"/>
                  <a:gd name="T38" fmla="*/ 337 w 377"/>
                  <a:gd name="T39" fmla="*/ 244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7" h="288">
                    <a:moveTo>
                      <a:pt x="359" y="27"/>
                    </a:moveTo>
                    <a:cubicBezTo>
                      <a:pt x="357" y="17"/>
                      <a:pt x="349" y="10"/>
                      <a:pt x="340" y="9"/>
                    </a:cubicBezTo>
                    <a:cubicBezTo>
                      <a:pt x="290" y="3"/>
                      <a:pt x="239" y="0"/>
                      <a:pt x="189" y="0"/>
                    </a:cubicBezTo>
                    <a:cubicBezTo>
                      <a:pt x="138" y="0"/>
                      <a:pt x="87" y="3"/>
                      <a:pt x="37" y="9"/>
                    </a:cubicBezTo>
                    <a:cubicBezTo>
                      <a:pt x="28" y="10"/>
                      <a:pt x="20" y="17"/>
                      <a:pt x="18" y="27"/>
                    </a:cubicBezTo>
                    <a:cubicBezTo>
                      <a:pt x="0" y="101"/>
                      <a:pt x="0" y="176"/>
                      <a:pt x="18" y="250"/>
                    </a:cubicBezTo>
                    <a:cubicBezTo>
                      <a:pt x="20" y="259"/>
                      <a:pt x="28" y="266"/>
                      <a:pt x="37" y="267"/>
                    </a:cubicBezTo>
                    <a:cubicBezTo>
                      <a:pt x="61" y="270"/>
                      <a:pt x="86" y="272"/>
                      <a:pt x="110" y="274"/>
                    </a:cubicBezTo>
                    <a:cubicBezTo>
                      <a:pt x="109" y="275"/>
                      <a:pt x="108" y="275"/>
                      <a:pt x="108" y="276"/>
                    </a:cubicBezTo>
                    <a:cubicBezTo>
                      <a:pt x="108" y="283"/>
                      <a:pt x="144" y="288"/>
                      <a:pt x="189" y="288"/>
                    </a:cubicBezTo>
                    <a:cubicBezTo>
                      <a:pt x="233" y="288"/>
                      <a:pt x="269" y="283"/>
                      <a:pt x="269" y="276"/>
                    </a:cubicBezTo>
                    <a:cubicBezTo>
                      <a:pt x="269" y="275"/>
                      <a:pt x="268" y="275"/>
                      <a:pt x="267" y="274"/>
                    </a:cubicBezTo>
                    <a:cubicBezTo>
                      <a:pt x="291" y="272"/>
                      <a:pt x="316" y="270"/>
                      <a:pt x="340" y="267"/>
                    </a:cubicBezTo>
                    <a:cubicBezTo>
                      <a:pt x="349" y="266"/>
                      <a:pt x="357" y="259"/>
                      <a:pt x="359" y="250"/>
                    </a:cubicBezTo>
                    <a:cubicBezTo>
                      <a:pt x="377" y="176"/>
                      <a:pt x="377" y="101"/>
                      <a:pt x="359" y="27"/>
                    </a:cubicBezTo>
                    <a:close/>
                    <a:moveTo>
                      <a:pt x="337" y="244"/>
                    </a:moveTo>
                    <a:cubicBezTo>
                      <a:pt x="238" y="256"/>
                      <a:pt x="139" y="256"/>
                      <a:pt x="40" y="244"/>
                    </a:cubicBezTo>
                    <a:cubicBezTo>
                      <a:pt x="23" y="174"/>
                      <a:pt x="23" y="103"/>
                      <a:pt x="40" y="32"/>
                    </a:cubicBezTo>
                    <a:cubicBezTo>
                      <a:pt x="139" y="20"/>
                      <a:pt x="238" y="20"/>
                      <a:pt x="337" y="32"/>
                    </a:cubicBezTo>
                    <a:cubicBezTo>
                      <a:pt x="354" y="103"/>
                      <a:pt x="354" y="174"/>
                      <a:pt x="337" y="2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72" name="Freeform 15">
                <a:extLst>
                  <a:ext uri="{FF2B5EF4-FFF2-40B4-BE49-F238E27FC236}">
                    <a16:creationId xmlns:a16="http://schemas.microsoft.com/office/drawing/2014/main" id="{03EADA15-9232-4B0D-88CE-D812F3494C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11938" y="301625"/>
                <a:ext cx="131763" cy="128587"/>
              </a:xfrm>
              <a:custGeom>
                <a:avLst/>
                <a:gdLst>
                  <a:gd name="T0" fmla="*/ 17 w 35"/>
                  <a:gd name="T1" fmla="*/ 34 h 34"/>
                  <a:gd name="T2" fmla="*/ 35 w 35"/>
                  <a:gd name="T3" fmla="*/ 17 h 34"/>
                  <a:gd name="T4" fmla="*/ 17 w 35"/>
                  <a:gd name="T5" fmla="*/ 0 h 34"/>
                  <a:gd name="T6" fmla="*/ 0 w 35"/>
                  <a:gd name="T7" fmla="*/ 17 h 34"/>
                  <a:gd name="T8" fmla="*/ 17 w 35"/>
                  <a:gd name="T9" fmla="*/ 34 h 34"/>
                  <a:gd name="T10" fmla="*/ 17 w 35"/>
                  <a:gd name="T11" fmla="*/ 11 h 34"/>
                  <a:gd name="T12" fmla="*/ 23 w 35"/>
                  <a:gd name="T13" fmla="*/ 17 h 34"/>
                  <a:gd name="T14" fmla="*/ 17 w 35"/>
                  <a:gd name="T15" fmla="*/ 23 h 34"/>
                  <a:gd name="T16" fmla="*/ 12 w 35"/>
                  <a:gd name="T17" fmla="*/ 17 h 34"/>
                  <a:gd name="T18" fmla="*/ 17 w 35"/>
                  <a:gd name="T19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34">
                    <a:moveTo>
                      <a:pt x="17" y="34"/>
                    </a:moveTo>
                    <a:cubicBezTo>
                      <a:pt x="27" y="34"/>
                      <a:pt x="35" y="26"/>
                      <a:pt x="35" y="17"/>
                    </a:cubicBezTo>
                    <a:cubicBezTo>
                      <a:pt x="35" y="7"/>
                      <a:pt x="27" y="0"/>
                      <a:pt x="17" y="0"/>
                    </a:cubicBezTo>
                    <a:cubicBezTo>
                      <a:pt x="8" y="0"/>
                      <a:pt x="0" y="7"/>
                      <a:pt x="0" y="17"/>
                    </a:cubicBezTo>
                    <a:cubicBezTo>
                      <a:pt x="0" y="26"/>
                      <a:pt x="8" y="34"/>
                      <a:pt x="17" y="34"/>
                    </a:cubicBezTo>
                    <a:close/>
                    <a:moveTo>
                      <a:pt x="17" y="11"/>
                    </a:moveTo>
                    <a:cubicBezTo>
                      <a:pt x="21" y="11"/>
                      <a:pt x="23" y="14"/>
                      <a:pt x="23" y="17"/>
                    </a:cubicBezTo>
                    <a:cubicBezTo>
                      <a:pt x="23" y="20"/>
                      <a:pt x="21" y="23"/>
                      <a:pt x="17" y="23"/>
                    </a:cubicBezTo>
                    <a:cubicBezTo>
                      <a:pt x="14" y="23"/>
                      <a:pt x="12" y="20"/>
                      <a:pt x="12" y="17"/>
                    </a:cubicBezTo>
                    <a:cubicBezTo>
                      <a:pt x="12" y="14"/>
                      <a:pt x="14" y="11"/>
                      <a:pt x="1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73" name="Freeform 16">
                <a:extLst>
                  <a:ext uri="{FF2B5EF4-FFF2-40B4-BE49-F238E27FC236}">
                    <a16:creationId xmlns:a16="http://schemas.microsoft.com/office/drawing/2014/main" id="{B3918547-250C-4908-B7F6-2FC70A81E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0663" y="860425"/>
                <a:ext cx="173038" cy="46037"/>
              </a:xfrm>
              <a:custGeom>
                <a:avLst/>
                <a:gdLst>
                  <a:gd name="T0" fmla="*/ 40 w 46"/>
                  <a:gd name="T1" fmla="*/ 0 h 12"/>
                  <a:gd name="T2" fmla="*/ 5 w 46"/>
                  <a:gd name="T3" fmla="*/ 0 h 12"/>
                  <a:gd name="T4" fmla="*/ 0 w 46"/>
                  <a:gd name="T5" fmla="*/ 6 h 12"/>
                  <a:gd name="T6" fmla="*/ 5 w 46"/>
                  <a:gd name="T7" fmla="*/ 12 h 12"/>
                  <a:gd name="T8" fmla="*/ 40 w 46"/>
                  <a:gd name="T9" fmla="*/ 12 h 12"/>
                  <a:gd name="T10" fmla="*/ 46 w 46"/>
                  <a:gd name="T11" fmla="*/ 6 h 12"/>
                  <a:gd name="T12" fmla="*/ 40 w 46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12">
                    <a:moveTo>
                      <a:pt x="40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5" y="12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3" y="12"/>
                      <a:pt x="46" y="9"/>
                      <a:pt x="46" y="6"/>
                    </a:cubicBezTo>
                    <a:cubicBezTo>
                      <a:pt x="46" y="3"/>
                      <a:pt x="43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74" name="Freeform 17">
                <a:extLst>
                  <a:ext uri="{FF2B5EF4-FFF2-40B4-BE49-F238E27FC236}">
                    <a16:creationId xmlns:a16="http://schemas.microsoft.com/office/drawing/2014/main" id="{BEF2B517-AB3C-4373-B0CF-3FDA15B069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1938" y="733425"/>
                <a:ext cx="173038" cy="41275"/>
              </a:xfrm>
              <a:custGeom>
                <a:avLst/>
                <a:gdLst>
                  <a:gd name="T0" fmla="*/ 40 w 46"/>
                  <a:gd name="T1" fmla="*/ 0 h 11"/>
                  <a:gd name="T2" fmla="*/ 6 w 46"/>
                  <a:gd name="T3" fmla="*/ 0 h 11"/>
                  <a:gd name="T4" fmla="*/ 0 w 46"/>
                  <a:gd name="T5" fmla="*/ 5 h 11"/>
                  <a:gd name="T6" fmla="*/ 6 w 46"/>
                  <a:gd name="T7" fmla="*/ 11 h 11"/>
                  <a:gd name="T8" fmla="*/ 40 w 46"/>
                  <a:gd name="T9" fmla="*/ 11 h 11"/>
                  <a:gd name="T10" fmla="*/ 46 w 46"/>
                  <a:gd name="T11" fmla="*/ 5 h 11"/>
                  <a:gd name="T12" fmla="*/ 40 w 46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11">
                    <a:moveTo>
                      <a:pt x="40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9"/>
                      <a:pt x="3" y="11"/>
                      <a:pt x="6" y="11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4" y="11"/>
                      <a:pt x="46" y="9"/>
                      <a:pt x="46" y="5"/>
                    </a:cubicBezTo>
                    <a:cubicBezTo>
                      <a:pt x="46" y="2"/>
                      <a:pt x="44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75" name="Freeform 18">
                <a:extLst>
                  <a:ext uri="{FF2B5EF4-FFF2-40B4-BE49-F238E27FC236}">
                    <a16:creationId xmlns:a16="http://schemas.microsoft.com/office/drawing/2014/main" id="{9C7EE076-542E-49EF-908B-03B106185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1938" y="601663"/>
                <a:ext cx="173038" cy="46037"/>
              </a:xfrm>
              <a:custGeom>
                <a:avLst/>
                <a:gdLst>
                  <a:gd name="T0" fmla="*/ 40 w 46"/>
                  <a:gd name="T1" fmla="*/ 0 h 12"/>
                  <a:gd name="T2" fmla="*/ 6 w 46"/>
                  <a:gd name="T3" fmla="*/ 0 h 12"/>
                  <a:gd name="T4" fmla="*/ 0 w 46"/>
                  <a:gd name="T5" fmla="*/ 6 h 12"/>
                  <a:gd name="T6" fmla="*/ 6 w 46"/>
                  <a:gd name="T7" fmla="*/ 12 h 12"/>
                  <a:gd name="T8" fmla="*/ 40 w 46"/>
                  <a:gd name="T9" fmla="*/ 12 h 12"/>
                  <a:gd name="T10" fmla="*/ 46 w 46"/>
                  <a:gd name="T11" fmla="*/ 6 h 12"/>
                  <a:gd name="T12" fmla="*/ 40 w 46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12">
                    <a:moveTo>
                      <a:pt x="40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4" y="12"/>
                      <a:pt x="46" y="9"/>
                      <a:pt x="46" y="6"/>
                    </a:cubicBezTo>
                    <a:cubicBezTo>
                      <a:pt x="46" y="3"/>
                      <a:pt x="44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76" name="Freeform 19">
                <a:extLst>
                  <a:ext uri="{FF2B5EF4-FFF2-40B4-BE49-F238E27FC236}">
                    <a16:creationId xmlns:a16="http://schemas.microsoft.com/office/drawing/2014/main" id="{C65BB05B-6433-459A-8094-D4BC900E3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0100" y="422275"/>
                <a:ext cx="258763" cy="179387"/>
              </a:xfrm>
              <a:custGeom>
                <a:avLst/>
                <a:gdLst>
                  <a:gd name="T0" fmla="*/ 63 w 69"/>
                  <a:gd name="T1" fmla="*/ 0 h 48"/>
                  <a:gd name="T2" fmla="*/ 10 w 69"/>
                  <a:gd name="T3" fmla="*/ 4 h 48"/>
                  <a:gd name="T4" fmla="*/ 3 w 69"/>
                  <a:gd name="T5" fmla="*/ 10 h 48"/>
                  <a:gd name="T6" fmla="*/ 0 w 69"/>
                  <a:gd name="T7" fmla="*/ 42 h 48"/>
                  <a:gd name="T8" fmla="*/ 5 w 69"/>
                  <a:gd name="T9" fmla="*/ 48 h 48"/>
                  <a:gd name="T10" fmla="*/ 11 w 69"/>
                  <a:gd name="T11" fmla="*/ 42 h 48"/>
                  <a:gd name="T12" fmla="*/ 13 w 69"/>
                  <a:gd name="T13" fmla="*/ 21 h 48"/>
                  <a:gd name="T14" fmla="*/ 20 w 69"/>
                  <a:gd name="T15" fmla="*/ 14 h 48"/>
                  <a:gd name="T16" fmla="*/ 63 w 69"/>
                  <a:gd name="T17" fmla="*/ 11 h 48"/>
                  <a:gd name="T18" fmla="*/ 69 w 69"/>
                  <a:gd name="T19" fmla="*/ 5 h 48"/>
                  <a:gd name="T20" fmla="*/ 63 w 69"/>
                  <a:gd name="T2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" h="48">
                    <a:moveTo>
                      <a:pt x="63" y="0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7" y="4"/>
                      <a:pt x="4" y="7"/>
                      <a:pt x="3" y="1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6"/>
                      <a:pt x="2" y="48"/>
                      <a:pt x="5" y="48"/>
                    </a:cubicBezTo>
                    <a:cubicBezTo>
                      <a:pt x="8" y="48"/>
                      <a:pt x="11" y="46"/>
                      <a:pt x="11" y="42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4" y="17"/>
                      <a:pt x="16" y="15"/>
                      <a:pt x="20" y="14"/>
                    </a:cubicBezTo>
                    <a:cubicBezTo>
                      <a:pt x="63" y="11"/>
                      <a:pt x="63" y="11"/>
                      <a:pt x="63" y="11"/>
                    </a:cubicBezTo>
                    <a:cubicBezTo>
                      <a:pt x="66" y="11"/>
                      <a:pt x="69" y="9"/>
                      <a:pt x="69" y="5"/>
                    </a:cubicBezTo>
                    <a:cubicBezTo>
                      <a:pt x="69" y="2"/>
                      <a:pt x="66" y="0"/>
                      <a:pt x="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cs typeface="+mn-ea"/>
                  <a:sym typeface="+mn-lt"/>
                </a:endParaRPr>
              </a:p>
            </p:txBody>
          </p:sp>
        </p:grpSp>
        <p:sp>
          <p:nvSpPr>
            <p:cNvPr id="69" name="Freeform 10">
              <a:extLst>
                <a:ext uri="{FF2B5EF4-FFF2-40B4-BE49-F238E27FC236}">
                  <a16:creationId xmlns:a16="http://schemas.microsoft.com/office/drawing/2014/main" id="{B66BA138-8454-41AE-97C7-DB5DA25A78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4638" y="2561005"/>
              <a:ext cx="403346" cy="389261"/>
            </a:xfrm>
            <a:custGeom>
              <a:avLst/>
              <a:gdLst>
                <a:gd name="T0" fmla="*/ 94 w 132"/>
                <a:gd name="T1" fmla="*/ 0 h 128"/>
                <a:gd name="T2" fmla="*/ 56 w 132"/>
                <a:gd name="T3" fmla="*/ 27 h 128"/>
                <a:gd name="T4" fmla="*/ 55 w 132"/>
                <a:gd name="T5" fmla="*/ 27 h 128"/>
                <a:gd name="T6" fmla="*/ 14 w 132"/>
                <a:gd name="T7" fmla="*/ 69 h 128"/>
                <a:gd name="T8" fmla="*/ 1 w 132"/>
                <a:gd name="T9" fmla="*/ 110 h 128"/>
                <a:gd name="T10" fmla="*/ 14 w 132"/>
                <a:gd name="T11" fmla="*/ 128 h 128"/>
                <a:gd name="T12" fmla="*/ 53 w 132"/>
                <a:gd name="T13" fmla="*/ 118 h 128"/>
                <a:gd name="T14" fmla="*/ 120 w 132"/>
                <a:gd name="T15" fmla="*/ 53 h 128"/>
                <a:gd name="T16" fmla="*/ 64 w 132"/>
                <a:gd name="T17" fmla="*/ 95 h 128"/>
                <a:gd name="T18" fmla="*/ 99 w 132"/>
                <a:gd name="T19" fmla="*/ 47 h 128"/>
                <a:gd name="T20" fmla="*/ 95 w 132"/>
                <a:gd name="T21" fmla="*/ 67 h 128"/>
                <a:gd name="T22" fmla="*/ 64 w 132"/>
                <a:gd name="T23" fmla="*/ 98 h 128"/>
                <a:gd name="T24" fmla="*/ 59 w 132"/>
                <a:gd name="T25" fmla="*/ 81 h 128"/>
                <a:gd name="T26" fmla="*/ 46 w 132"/>
                <a:gd name="T27" fmla="*/ 68 h 128"/>
                <a:gd name="T28" fmla="*/ 92 w 132"/>
                <a:gd name="T29" fmla="*/ 36 h 128"/>
                <a:gd name="T30" fmla="*/ 59 w 132"/>
                <a:gd name="T31" fmla="*/ 81 h 128"/>
                <a:gd name="T32" fmla="*/ 30 w 132"/>
                <a:gd name="T33" fmla="*/ 64 h 128"/>
                <a:gd name="T34" fmla="*/ 80 w 132"/>
                <a:gd name="T35" fmla="*/ 29 h 128"/>
                <a:gd name="T36" fmla="*/ 17 w 132"/>
                <a:gd name="T37" fmla="*/ 119 h 128"/>
                <a:gd name="T38" fmla="*/ 8 w 132"/>
                <a:gd name="T39" fmla="*/ 114 h 128"/>
                <a:gd name="T40" fmla="*/ 13 w 132"/>
                <a:gd name="T41" fmla="*/ 96 h 128"/>
                <a:gd name="T42" fmla="*/ 32 w 132"/>
                <a:gd name="T43" fmla="*/ 116 h 128"/>
                <a:gd name="T44" fmla="*/ 35 w 132"/>
                <a:gd name="T45" fmla="*/ 115 h 128"/>
                <a:gd name="T46" fmla="*/ 14 w 132"/>
                <a:gd name="T47" fmla="*/ 92 h 128"/>
                <a:gd name="T48" fmla="*/ 19 w 132"/>
                <a:gd name="T49" fmla="*/ 75 h 128"/>
                <a:gd name="T50" fmla="*/ 52 w 132"/>
                <a:gd name="T51" fmla="*/ 110 h 128"/>
                <a:gd name="T52" fmla="*/ 35 w 132"/>
                <a:gd name="T53" fmla="*/ 115 h 128"/>
                <a:gd name="T54" fmla="*/ 108 w 132"/>
                <a:gd name="T55" fmla="*/ 54 h 128"/>
                <a:gd name="T56" fmla="*/ 98 w 132"/>
                <a:gd name="T57" fmla="*/ 30 h 128"/>
                <a:gd name="T58" fmla="*/ 81 w 132"/>
                <a:gd name="T59" fmla="*/ 13 h 128"/>
                <a:gd name="T60" fmla="*/ 112 w 132"/>
                <a:gd name="T61" fmla="*/ 16 h 128"/>
                <a:gd name="T62" fmla="*/ 115 w 132"/>
                <a:gd name="T63" fmla="*/ 4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2" h="128">
                  <a:moveTo>
                    <a:pt x="118" y="10"/>
                  </a:moveTo>
                  <a:cubicBezTo>
                    <a:pt x="111" y="4"/>
                    <a:pt x="102" y="0"/>
                    <a:pt x="94" y="0"/>
                  </a:cubicBezTo>
                  <a:cubicBezTo>
                    <a:pt x="87" y="0"/>
                    <a:pt x="80" y="3"/>
                    <a:pt x="75" y="8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2" y="71"/>
                    <a:pt x="11" y="73"/>
                    <a:pt x="10" y="76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0" y="113"/>
                    <a:pt x="0" y="114"/>
                  </a:cubicBezTo>
                  <a:cubicBezTo>
                    <a:pt x="0" y="122"/>
                    <a:pt x="6" y="128"/>
                    <a:pt x="14" y="128"/>
                  </a:cubicBezTo>
                  <a:cubicBezTo>
                    <a:pt x="16" y="128"/>
                    <a:pt x="19" y="127"/>
                    <a:pt x="19" y="127"/>
                  </a:cubicBezTo>
                  <a:cubicBezTo>
                    <a:pt x="53" y="118"/>
                    <a:pt x="53" y="118"/>
                    <a:pt x="53" y="118"/>
                  </a:cubicBezTo>
                  <a:cubicBezTo>
                    <a:pt x="55" y="118"/>
                    <a:pt x="57" y="116"/>
                    <a:pt x="59" y="11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32" y="42"/>
                    <a:pt x="130" y="23"/>
                    <a:pt x="118" y="10"/>
                  </a:cubicBezTo>
                  <a:close/>
                  <a:moveTo>
                    <a:pt x="64" y="95"/>
                  </a:moveTo>
                  <a:cubicBezTo>
                    <a:pt x="64" y="92"/>
                    <a:pt x="63" y="88"/>
                    <a:pt x="61" y="85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101" y="54"/>
                    <a:pt x="100" y="62"/>
                    <a:pt x="95" y="67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7"/>
                    <a:pt x="64" y="96"/>
                    <a:pt x="64" y="95"/>
                  </a:cubicBezTo>
                  <a:close/>
                  <a:moveTo>
                    <a:pt x="59" y="81"/>
                  </a:moveTo>
                  <a:cubicBezTo>
                    <a:pt x="58" y="79"/>
                    <a:pt x="56" y="76"/>
                    <a:pt x="54" y="74"/>
                  </a:cubicBezTo>
                  <a:cubicBezTo>
                    <a:pt x="51" y="72"/>
                    <a:pt x="49" y="70"/>
                    <a:pt x="46" y="68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7" y="31"/>
                    <a:pt x="90" y="33"/>
                    <a:pt x="92" y="36"/>
                  </a:cubicBezTo>
                  <a:cubicBezTo>
                    <a:pt x="94" y="38"/>
                    <a:pt x="96" y="40"/>
                    <a:pt x="97" y="43"/>
                  </a:cubicBezTo>
                  <a:lnTo>
                    <a:pt x="59" y="81"/>
                  </a:lnTo>
                  <a:close/>
                  <a:moveTo>
                    <a:pt x="42" y="66"/>
                  </a:moveTo>
                  <a:cubicBezTo>
                    <a:pt x="38" y="65"/>
                    <a:pt x="34" y="64"/>
                    <a:pt x="30" y="6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6" y="28"/>
                    <a:pt x="73" y="27"/>
                    <a:pt x="80" y="29"/>
                  </a:cubicBezTo>
                  <a:lnTo>
                    <a:pt x="42" y="66"/>
                  </a:lnTo>
                  <a:close/>
                  <a:moveTo>
                    <a:pt x="17" y="119"/>
                  </a:moveTo>
                  <a:cubicBezTo>
                    <a:pt x="16" y="120"/>
                    <a:pt x="15" y="120"/>
                    <a:pt x="14" y="120"/>
                  </a:cubicBezTo>
                  <a:cubicBezTo>
                    <a:pt x="11" y="120"/>
                    <a:pt x="8" y="117"/>
                    <a:pt x="8" y="114"/>
                  </a:cubicBezTo>
                  <a:cubicBezTo>
                    <a:pt x="8" y="113"/>
                    <a:pt x="8" y="112"/>
                    <a:pt x="8" y="112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7" y="96"/>
                    <a:pt x="22" y="98"/>
                    <a:pt x="26" y="102"/>
                  </a:cubicBezTo>
                  <a:cubicBezTo>
                    <a:pt x="30" y="106"/>
                    <a:pt x="32" y="111"/>
                    <a:pt x="32" y="116"/>
                  </a:cubicBezTo>
                  <a:lnTo>
                    <a:pt x="17" y="119"/>
                  </a:lnTo>
                  <a:close/>
                  <a:moveTo>
                    <a:pt x="35" y="115"/>
                  </a:moveTo>
                  <a:cubicBezTo>
                    <a:pt x="35" y="109"/>
                    <a:pt x="33" y="104"/>
                    <a:pt x="29" y="99"/>
                  </a:cubicBezTo>
                  <a:cubicBezTo>
                    <a:pt x="25" y="95"/>
                    <a:pt x="19" y="93"/>
                    <a:pt x="14" y="92"/>
                  </a:cubicBezTo>
                  <a:cubicBezTo>
                    <a:pt x="18" y="78"/>
                    <a:pt x="18" y="78"/>
                    <a:pt x="18" y="78"/>
                  </a:cubicBezTo>
                  <a:cubicBezTo>
                    <a:pt x="18" y="77"/>
                    <a:pt x="19" y="76"/>
                    <a:pt x="19" y="75"/>
                  </a:cubicBezTo>
                  <a:cubicBezTo>
                    <a:pt x="27" y="69"/>
                    <a:pt x="40" y="71"/>
                    <a:pt x="48" y="80"/>
                  </a:cubicBezTo>
                  <a:cubicBezTo>
                    <a:pt x="57" y="89"/>
                    <a:pt x="59" y="102"/>
                    <a:pt x="52" y="110"/>
                  </a:cubicBezTo>
                  <a:cubicBezTo>
                    <a:pt x="51" y="110"/>
                    <a:pt x="51" y="111"/>
                    <a:pt x="50" y="111"/>
                  </a:cubicBezTo>
                  <a:lnTo>
                    <a:pt x="35" y="115"/>
                  </a:lnTo>
                  <a:close/>
                  <a:moveTo>
                    <a:pt x="115" y="47"/>
                  </a:moveTo>
                  <a:cubicBezTo>
                    <a:pt x="108" y="54"/>
                    <a:pt x="108" y="54"/>
                    <a:pt x="108" y="54"/>
                  </a:cubicBezTo>
                  <a:cubicBezTo>
                    <a:pt x="108" y="53"/>
                    <a:pt x="108" y="52"/>
                    <a:pt x="108" y="51"/>
                  </a:cubicBezTo>
                  <a:cubicBezTo>
                    <a:pt x="107" y="43"/>
                    <a:pt x="104" y="36"/>
                    <a:pt x="98" y="30"/>
                  </a:cubicBezTo>
                  <a:cubicBezTo>
                    <a:pt x="91" y="24"/>
                    <a:pt x="83" y="20"/>
                    <a:pt x="74" y="20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4" y="10"/>
                    <a:pt x="89" y="8"/>
                    <a:pt x="94" y="8"/>
                  </a:cubicBezTo>
                  <a:cubicBezTo>
                    <a:pt x="100" y="8"/>
                    <a:pt x="107" y="11"/>
                    <a:pt x="112" y="16"/>
                  </a:cubicBezTo>
                  <a:cubicBezTo>
                    <a:pt x="117" y="21"/>
                    <a:pt x="120" y="27"/>
                    <a:pt x="120" y="33"/>
                  </a:cubicBezTo>
                  <a:cubicBezTo>
                    <a:pt x="120" y="38"/>
                    <a:pt x="118" y="43"/>
                    <a:pt x="115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</p:grpSp>
      <p:sp>
        <p:nvSpPr>
          <p:cNvPr id="83" name="添加标题">
            <a:extLst>
              <a:ext uri="{FF2B5EF4-FFF2-40B4-BE49-F238E27FC236}">
                <a16:creationId xmlns:a16="http://schemas.microsoft.com/office/drawing/2014/main" id="{E74813A7-6553-4237-B9E1-5ED08E22FDC5}"/>
              </a:ext>
            </a:extLst>
          </p:cNvPr>
          <p:cNvSpPr txBox="1"/>
          <p:nvPr/>
        </p:nvSpPr>
        <p:spPr>
          <a:xfrm>
            <a:off x="8524177" y="1699211"/>
            <a:ext cx="3057031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4" name="添加标题">
            <a:extLst>
              <a:ext uri="{FF2B5EF4-FFF2-40B4-BE49-F238E27FC236}">
                <a16:creationId xmlns:a16="http://schemas.microsoft.com/office/drawing/2014/main" id="{B99C12FC-BD22-44A8-8826-D9611CF7C474}"/>
              </a:ext>
            </a:extLst>
          </p:cNvPr>
          <p:cNvSpPr txBox="1"/>
          <p:nvPr/>
        </p:nvSpPr>
        <p:spPr>
          <a:xfrm>
            <a:off x="8524177" y="5278662"/>
            <a:ext cx="3057031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5" name="添加标题">
            <a:extLst>
              <a:ext uri="{FF2B5EF4-FFF2-40B4-BE49-F238E27FC236}">
                <a16:creationId xmlns:a16="http://schemas.microsoft.com/office/drawing/2014/main" id="{D7E93F72-AC24-4EAA-A379-F5BAC0475B73}"/>
              </a:ext>
            </a:extLst>
          </p:cNvPr>
          <p:cNvSpPr txBox="1"/>
          <p:nvPr/>
        </p:nvSpPr>
        <p:spPr>
          <a:xfrm>
            <a:off x="610793" y="1699211"/>
            <a:ext cx="3057031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6" name="添加标题">
            <a:extLst>
              <a:ext uri="{FF2B5EF4-FFF2-40B4-BE49-F238E27FC236}">
                <a16:creationId xmlns:a16="http://schemas.microsoft.com/office/drawing/2014/main" id="{8B018011-0B54-4F10-AAC2-2AA828494C33}"/>
              </a:ext>
            </a:extLst>
          </p:cNvPr>
          <p:cNvSpPr txBox="1"/>
          <p:nvPr/>
        </p:nvSpPr>
        <p:spPr>
          <a:xfrm>
            <a:off x="610793" y="5278662"/>
            <a:ext cx="3057031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7" name="添加标题">
            <a:extLst>
              <a:ext uri="{FF2B5EF4-FFF2-40B4-BE49-F238E27FC236}">
                <a16:creationId xmlns:a16="http://schemas.microsoft.com/office/drawing/2014/main" id="{A9C4A15E-586E-4E6A-B034-3F4F22CC9410}"/>
              </a:ext>
            </a:extLst>
          </p:cNvPr>
          <p:cNvSpPr txBox="1"/>
          <p:nvPr/>
        </p:nvSpPr>
        <p:spPr>
          <a:xfrm>
            <a:off x="748862" y="3350437"/>
            <a:ext cx="2195807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8" name="添加标题">
            <a:extLst>
              <a:ext uri="{FF2B5EF4-FFF2-40B4-BE49-F238E27FC236}">
                <a16:creationId xmlns:a16="http://schemas.microsoft.com/office/drawing/2014/main" id="{A24967BA-B7CC-40AE-8CEF-C4084C627081}"/>
              </a:ext>
            </a:extLst>
          </p:cNvPr>
          <p:cNvSpPr txBox="1"/>
          <p:nvPr/>
        </p:nvSpPr>
        <p:spPr>
          <a:xfrm>
            <a:off x="9247331" y="3350437"/>
            <a:ext cx="2195807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511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 advTm="2000">
        <p14:pan dir="u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250"/>
                            </p:stCondLst>
                            <p:childTnLst>
                              <p:par>
                                <p:cTn id="2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50"/>
                            </p:stCondLst>
                            <p:childTnLst>
                              <p:par>
                                <p:cTn id="2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250"/>
                            </p:stCondLst>
                            <p:childTnLst>
                              <p:par>
                                <p:cTn id="3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/>
      <p:bldP spid="84" grpId="0"/>
      <p:bldP spid="85" grpId="0"/>
      <p:bldP spid="86" grpId="0"/>
      <p:bldP spid="87" grpId="0"/>
      <p:bldP spid="88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279020-E852-44B0-B00A-B5DACAFD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sp>
        <p:nvSpPr>
          <p:cNvPr id="3" name="Freeform 42">
            <a:extLst>
              <a:ext uri="{FF2B5EF4-FFF2-40B4-BE49-F238E27FC236}">
                <a16:creationId xmlns:a16="http://schemas.microsoft.com/office/drawing/2014/main" id="{14D79E51-BF7A-492E-8ECE-90F54F6CEFED}"/>
              </a:ext>
            </a:extLst>
          </p:cNvPr>
          <p:cNvSpPr>
            <a:spLocks noEditPoints="1"/>
          </p:cNvSpPr>
          <p:nvPr/>
        </p:nvSpPr>
        <p:spPr bwMode="auto">
          <a:xfrm>
            <a:off x="7422906" y="4095009"/>
            <a:ext cx="700910" cy="2214773"/>
          </a:xfrm>
          <a:custGeom>
            <a:avLst/>
            <a:gdLst>
              <a:gd name="T0" fmla="*/ 412 w 463"/>
              <a:gd name="T1" fmla="*/ 379 h 1470"/>
              <a:gd name="T2" fmla="*/ 323 w 463"/>
              <a:gd name="T3" fmla="*/ 262 h 1470"/>
              <a:gd name="T4" fmla="*/ 285 w 463"/>
              <a:gd name="T5" fmla="*/ 285 h 1470"/>
              <a:gd name="T6" fmla="*/ 267 w 463"/>
              <a:gd name="T7" fmla="*/ 261 h 1470"/>
              <a:gd name="T8" fmla="*/ 184 w 463"/>
              <a:gd name="T9" fmla="*/ 204 h 1470"/>
              <a:gd name="T10" fmla="*/ 217 w 463"/>
              <a:gd name="T11" fmla="*/ 229 h 1470"/>
              <a:gd name="T12" fmla="*/ 275 w 463"/>
              <a:gd name="T13" fmla="*/ 231 h 1470"/>
              <a:gd name="T14" fmla="*/ 275 w 463"/>
              <a:gd name="T15" fmla="*/ 231 h 1470"/>
              <a:gd name="T16" fmla="*/ 280 w 463"/>
              <a:gd name="T17" fmla="*/ 213 h 1470"/>
              <a:gd name="T18" fmla="*/ 313 w 463"/>
              <a:gd name="T19" fmla="*/ 121 h 1470"/>
              <a:gd name="T20" fmla="*/ 312 w 463"/>
              <a:gd name="T21" fmla="*/ 65 h 1470"/>
              <a:gd name="T22" fmla="*/ 194 w 463"/>
              <a:gd name="T23" fmla="*/ 42 h 1470"/>
              <a:gd name="T24" fmla="*/ 186 w 463"/>
              <a:gd name="T25" fmla="*/ 51 h 1470"/>
              <a:gd name="T26" fmla="*/ 175 w 463"/>
              <a:gd name="T27" fmla="*/ 119 h 1470"/>
              <a:gd name="T28" fmla="*/ 178 w 463"/>
              <a:gd name="T29" fmla="*/ 165 h 1470"/>
              <a:gd name="T30" fmla="*/ 181 w 463"/>
              <a:gd name="T31" fmla="*/ 201 h 1470"/>
              <a:gd name="T32" fmla="*/ 175 w 463"/>
              <a:gd name="T33" fmla="*/ 217 h 1470"/>
              <a:gd name="T34" fmla="*/ 79 w 463"/>
              <a:gd name="T35" fmla="*/ 333 h 1470"/>
              <a:gd name="T36" fmla="*/ 104 w 463"/>
              <a:gd name="T37" fmla="*/ 477 h 1470"/>
              <a:gd name="T38" fmla="*/ 99 w 463"/>
              <a:gd name="T39" fmla="*/ 610 h 1470"/>
              <a:gd name="T40" fmla="*/ 85 w 463"/>
              <a:gd name="T41" fmla="*/ 763 h 1470"/>
              <a:gd name="T42" fmla="*/ 69 w 463"/>
              <a:gd name="T43" fmla="*/ 975 h 1470"/>
              <a:gd name="T44" fmla="*/ 8 w 463"/>
              <a:gd name="T45" fmla="*/ 1383 h 1470"/>
              <a:gd name="T46" fmla="*/ 11 w 463"/>
              <a:gd name="T47" fmla="*/ 1423 h 1470"/>
              <a:gd name="T48" fmla="*/ 108 w 463"/>
              <a:gd name="T49" fmla="*/ 1468 h 1470"/>
              <a:gd name="T50" fmla="*/ 96 w 463"/>
              <a:gd name="T51" fmla="*/ 1398 h 1470"/>
              <a:gd name="T52" fmla="*/ 153 w 463"/>
              <a:gd name="T53" fmla="*/ 1231 h 1470"/>
              <a:gd name="T54" fmla="*/ 220 w 463"/>
              <a:gd name="T55" fmla="*/ 1100 h 1470"/>
              <a:gd name="T56" fmla="*/ 215 w 463"/>
              <a:gd name="T57" fmla="*/ 1363 h 1470"/>
              <a:gd name="T58" fmla="*/ 242 w 463"/>
              <a:gd name="T59" fmla="*/ 1391 h 1470"/>
              <a:gd name="T60" fmla="*/ 297 w 463"/>
              <a:gd name="T61" fmla="*/ 1388 h 1470"/>
              <a:gd name="T62" fmla="*/ 429 w 463"/>
              <a:gd name="T63" fmla="*/ 1397 h 1470"/>
              <a:gd name="T64" fmla="*/ 342 w 463"/>
              <a:gd name="T65" fmla="*/ 1344 h 1470"/>
              <a:gd name="T66" fmla="*/ 316 w 463"/>
              <a:gd name="T67" fmla="*/ 1300 h 1470"/>
              <a:gd name="T68" fmla="*/ 337 w 463"/>
              <a:gd name="T69" fmla="*/ 1080 h 1470"/>
              <a:gd name="T70" fmla="*/ 376 w 463"/>
              <a:gd name="T71" fmla="*/ 792 h 1470"/>
              <a:gd name="T72" fmla="*/ 388 w 463"/>
              <a:gd name="T73" fmla="*/ 747 h 1470"/>
              <a:gd name="T74" fmla="*/ 359 w 463"/>
              <a:gd name="T75" fmla="*/ 534 h 1470"/>
              <a:gd name="T76" fmla="*/ 385 w 463"/>
              <a:gd name="T77" fmla="*/ 500 h 1470"/>
              <a:gd name="T78" fmla="*/ 454 w 463"/>
              <a:gd name="T79" fmla="*/ 422 h 1470"/>
              <a:gd name="T80" fmla="*/ 330 w 463"/>
              <a:gd name="T81" fmla="*/ 437 h 1470"/>
              <a:gd name="T82" fmla="*/ 327 w 463"/>
              <a:gd name="T83" fmla="*/ 411 h 1470"/>
              <a:gd name="T84" fmla="*/ 311 w 463"/>
              <a:gd name="T85" fmla="*/ 458 h 1470"/>
              <a:gd name="T86" fmla="*/ 353 w 463"/>
              <a:gd name="T87" fmla="*/ 483 h 1470"/>
              <a:gd name="T88" fmla="*/ 350 w 463"/>
              <a:gd name="T89" fmla="*/ 540 h 1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63" h="1470">
                <a:moveTo>
                  <a:pt x="454" y="422"/>
                </a:moveTo>
                <a:cubicBezTo>
                  <a:pt x="448" y="394"/>
                  <a:pt x="430" y="395"/>
                  <a:pt x="412" y="379"/>
                </a:cubicBezTo>
                <a:cubicBezTo>
                  <a:pt x="395" y="363"/>
                  <a:pt x="381" y="350"/>
                  <a:pt x="379" y="321"/>
                </a:cubicBezTo>
                <a:cubicBezTo>
                  <a:pt x="376" y="291"/>
                  <a:pt x="344" y="267"/>
                  <a:pt x="323" y="262"/>
                </a:cubicBezTo>
                <a:cubicBezTo>
                  <a:pt x="304" y="258"/>
                  <a:pt x="286" y="248"/>
                  <a:pt x="281" y="246"/>
                </a:cubicBezTo>
                <a:cubicBezTo>
                  <a:pt x="280" y="254"/>
                  <a:pt x="283" y="272"/>
                  <a:pt x="285" y="285"/>
                </a:cubicBezTo>
                <a:cubicBezTo>
                  <a:pt x="284" y="286"/>
                  <a:pt x="282" y="284"/>
                  <a:pt x="281" y="281"/>
                </a:cubicBezTo>
                <a:cubicBezTo>
                  <a:pt x="274" y="266"/>
                  <a:pt x="272" y="258"/>
                  <a:pt x="267" y="261"/>
                </a:cubicBezTo>
                <a:cubicBezTo>
                  <a:pt x="263" y="263"/>
                  <a:pt x="260" y="273"/>
                  <a:pt x="257" y="282"/>
                </a:cubicBezTo>
                <a:cubicBezTo>
                  <a:pt x="241" y="262"/>
                  <a:pt x="203" y="221"/>
                  <a:pt x="184" y="204"/>
                </a:cubicBezTo>
                <a:cubicBezTo>
                  <a:pt x="185" y="202"/>
                  <a:pt x="187" y="200"/>
                  <a:pt x="189" y="199"/>
                </a:cubicBezTo>
                <a:cubicBezTo>
                  <a:pt x="194" y="208"/>
                  <a:pt x="205" y="223"/>
                  <a:pt x="217" y="229"/>
                </a:cubicBezTo>
                <a:cubicBezTo>
                  <a:pt x="232" y="237"/>
                  <a:pt x="266" y="257"/>
                  <a:pt x="266" y="257"/>
                </a:cubicBezTo>
                <a:cubicBezTo>
                  <a:pt x="266" y="257"/>
                  <a:pt x="273" y="241"/>
                  <a:pt x="275" y="231"/>
                </a:cubicBezTo>
                <a:cubicBezTo>
                  <a:pt x="275" y="230"/>
                  <a:pt x="275" y="230"/>
                  <a:pt x="275" y="230"/>
                </a:cubicBezTo>
                <a:cubicBezTo>
                  <a:pt x="275" y="231"/>
                  <a:pt x="275" y="231"/>
                  <a:pt x="275" y="231"/>
                </a:cubicBezTo>
                <a:cubicBezTo>
                  <a:pt x="275" y="230"/>
                  <a:pt x="275" y="228"/>
                  <a:pt x="275" y="227"/>
                </a:cubicBezTo>
                <a:cubicBezTo>
                  <a:pt x="275" y="220"/>
                  <a:pt x="273" y="215"/>
                  <a:pt x="280" y="213"/>
                </a:cubicBezTo>
                <a:cubicBezTo>
                  <a:pt x="288" y="211"/>
                  <a:pt x="299" y="185"/>
                  <a:pt x="302" y="169"/>
                </a:cubicBezTo>
                <a:cubicBezTo>
                  <a:pt x="306" y="153"/>
                  <a:pt x="306" y="139"/>
                  <a:pt x="313" y="121"/>
                </a:cubicBezTo>
                <a:cubicBezTo>
                  <a:pt x="321" y="104"/>
                  <a:pt x="320" y="87"/>
                  <a:pt x="312" y="65"/>
                </a:cubicBezTo>
                <a:cubicBezTo>
                  <a:pt x="312" y="65"/>
                  <a:pt x="312" y="65"/>
                  <a:pt x="312" y="65"/>
                </a:cubicBezTo>
                <a:cubicBezTo>
                  <a:pt x="300" y="14"/>
                  <a:pt x="277" y="28"/>
                  <a:pt x="277" y="28"/>
                </a:cubicBezTo>
                <a:cubicBezTo>
                  <a:pt x="246" y="0"/>
                  <a:pt x="210" y="26"/>
                  <a:pt x="194" y="42"/>
                </a:cubicBezTo>
                <a:cubicBezTo>
                  <a:pt x="194" y="42"/>
                  <a:pt x="194" y="42"/>
                  <a:pt x="193" y="42"/>
                </a:cubicBezTo>
                <a:cubicBezTo>
                  <a:pt x="190" y="44"/>
                  <a:pt x="188" y="47"/>
                  <a:pt x="186" y="51"/>
                </a:cubicBezTo>
                <a:cubicBezTo>
                  <a:pt x="186" y="51"/>
                  <a:pt x="186" y="51"/>
                  <a:pt x="186" y="51"/>
                </a:cubicBezTo>
                <a:cubicBezTo>
                  <a:pt x="171" y="73"/>
                  <a:pt x="175" y="119"/>
                  <a:pt x="175" y="119"/>
                </a:cubicBezTo>
                <a:cubicBezTo>
                  <a:pt x="175" y="119"/>
                  <a:pt x="173" y="120"/>
                  <a:pt x="171" y="131"/>
                </a:cubicBezTo>
                <a:cubicBezTo>
                  <a:pt x="170" y="142"/>
                  <a:pt x="175" y="159"/>
                  <a:pt x="178" y="165"/>
                </a:cubicBezTo>
                <a:cubicBezTo>
                  <a:pt x="180" y="171"/>
                  <a:pt x="185" y="172"/>
                  <a:pt x="186" y="177"/>
                </a:cubicBezTo>
                <a:cubicBezTo>
                  <a:pt x="186" y="177"/>
                  <a:pt x="184" y="189"/>
                  <a:pt x="181" y="201"/>
                </a:cubicBezTo>
                <a:cubicBezTo>
                  <a:pt x="181" y="201"/>
                  <a:pt x="181" y="201"/>
                  <a:pt x="180" y="201"/>
                </a:cubicBezTo>
                <a:cubicBezTo>
                  <a:pt x="179" y="203"/>
                  <a:pt x="181" y="206"/>
                  <a:pt x="175" y="217"/>
                </a:cubicBezTo>
                <a:cubicBezTo>
                  <a:pt x="166" y="231"/>
                  <a:pt x="153" y="236"/>
                  <a:pt x="121" y="253"/>
                </a:cubicBezTo>
                <a:cubicBezTo>
                  <a:pt x="90" y="269"/>
                  <a:pt x="82" y="302"/>
                  <a:pt x="79" y="333"/>
                </a:cubicBezTo>
                <a:cubicBezTo>
                  <a:pt x="76" y="365"/>
                  <a:pt x="71" y="389"/>
                  <a:pt x="76" y="396"/>
                </a:cubicBezTo>
                <a:cubicBezTo>
                  <a:pt x="81" y="403"/>
                  <a:pt x="93" y="443"/>
                  <a:pt x="104" y="477"/>
                </a:cubicBezTo>
                <a:cubicBezTo>
                  <a:pt x="116" y="510"/>
                  <a:pt x="111" y="549"/>
                  <a:pt x="109" y="564"/>
                </a:cubicBezTo>
                <a:cubicBezTo>
                  <a:pt x="107" y="578"/>
                  <a:pt x="98" y="591"/>
                  <a:pt x="99" y="610"/>
                </a:cubicBezTo>
                <a:cubicBezTo>
                  <a:pt x="100" y="629"/>
                  <a:pt x="98" y="648"/>
                  <a:pt x="95" y="677"/>
                </a:cubicBezTo>
                <a:cubicBezTo>
                  <a:pt x="93" y="705"/>
                  <a:pt x="76" y="759"/>
                  <a:pt x="85" y="763"/>
                </a:cubicBezTo>
                <a:cubicBezTo>
                  <a:pt x="93" y="768"/>
                  <a:pt x="96" y="767"/>
                  <a:pt x="96" y="780"/>
                </a:cubicBezTo>
                <a:cubicBezTo>
                  <a:pt x="96" y="793"/>
                  <a:pt x="90" y="876"/>
                  <a:pt x="69" y="975"/>
                </a:cubicBezTo>
                <a:cubicBezTo>
                  <a:pt x="48" y="1075"/>
                  <a:pt x="16" y="1296"/>
                  <a:pt x="9" y="1338"/>
                </a:cubicBezTo>
                <a:cubicBezTo>
                  <a:pt x="2" y="1379"/>
                  <a:pt x="8" y="1383"/>
                  <a:pt x="8" y="1383"/>
                </a:cubicBezTo>
                <a:cubicBezTo>
                  <a:pt x="8" y="1383"/>
                  <a:pt x="8" y="1386"/>
                  <a:pt x="4" y="1398"/>
                </a:cubicBezTo>
                <a:cubicBezTo>
                  <a:pt x="0" y="1410"/>
                  <a:pt x="4" y="1418"/>
                  <a:pt x="11" y="1423"/>
                </a:cubicBezTo>
                <a:cubicBezTo>
                  <a:pt x="18" y="1428"/>
                  <a:pt x="19" y="1438"/>
                  <a:pt x="34" y="1449"/>
                </a:cubicBezTo>
                <a:cubicBezTo>
                  <a:pt x="48" y="1460"/>
                  <a:pt x="90" y="1470"/>
                  <a:pt x="108" y="1468"/>
                </a:cubicBezTo>
                <a:cubicBezTo>
                  <a:pt x="126" y="1466"/>
                  <a:pt x="121" y="1460"/>
                  <a:pt x="120" y="1442"/>
                </a:cubicBezTo>
                <a:cubicBezTo>
                  <a:pt x="119" y="1424"/>
                  <a:pt x="96" y="1398"/>
                  <a:pt x="96" y="1398"/>
                </a:cubicBezTo>
                <a:cubicBezTo>
                  <a:pt x="96" y="1398"/>
                  <a:pt x="95" y="1393"/>
                  <a:pt x="101" y="1390"/>
                </a:cubicBezTo>
                <a:cubicBezTo>
                  <a:pt x="107" y="1386"/>
                  <a:pt x="132" y="1306"/>
                  <a:pt x="153" y="1231"/>
                </a:cubicBezTo>
                <a:cubicBezTo>
                  <a:pt x="175" y="1157"/>
                  <a:pt x="214" y="1022"/>
                  <a:pt x="214" y="1022"/>
                </a:cubicBezTo>
                <a:cubicBezTo>
                  <a:pt x="214" y="1022"/>
                  <a:pt x="217" y="1061"/>
                  <a:pt x="220" y="1100"/>
                </a:cubicBezTo>
                <a:cubicBezTo>
                  <a:pt x="222" y="1139"/>
                  <a:pt x="224" y="1267"/>
                  <a:pt x="220" y="1300"/>
                </a:cubicBezTo>
                <a:cubicBezTo>
                  <a:pt x="215" y="1333"/>
                  <a:pt x="215" y="1363"/>
                  <a:pt x="215" y="1363"/>
                </a:cubicBezTo>
                <a:cubicBezTo>
                  <a:pt x="215" y="1363"/>
                  <a:pt x="215" y="1367"/>
                  <a:pt x="215" y="1378"/>
                </a:cubicBezTo>
                <a:cubicBezTo>
                  <a:pt x="215" y="1389"/>
                  <a:pt x="223" y="1389"/>
                  <a:pt x="242" y="1391"/>
                </a:cubicBezTo>
                <a:cubicBezTo>
                  <a:pt x="261" y="1393"/>
                  <a:pt x="287" y="1392"/>
                  <a:pt x="287" y="1392"/>
                </a:cubicBezTo>
                <a:cubicBezTo>
                  <a:pt x="287" y="1392"/>
                  <a:pt x="286" y="1383"/>
                  <a:pt x="297" y="1388"/>
                </a:cubicBezTo>
                <a:cubicBezTo>
                  <a:pt x="307" y="1392"/>
                  <a:pt x="329" y="1403"/>
                  <a:pt x="349" y="1403"/>
                </a:cubicBezTo>
                <a:cubicBezTo>
                  <a:pt x="369" y="1403"/>
                  <a:pt x="429" y="1412"/>
                  <a:pt x="429" y="1397"/>
                </a:cubicBezTo>
                <a:cubicBezTo>
                  <a:pt x="429" y="1382"/>
                  <a:pt x="406" y="1376"/>
                  <a:pt x="385" y="1376"/>
                </a:cubicBezTo>
                <a:cubicBezTo>
                  <a:pt x="365" y="1376"/>
                  <a:pt x="342" y="1344"/>
                  <a:pt x="342" y="1344"/>
                </a:cubicBezTo>
                <a:cubicBezTo>
                  <a:pt x="342" y="1344"/>
                  <a:pt x="342" y="1344"/>
                  <a:pt x="348" y="1340"/>
                </a:cubicBezTo>
                <a:cubicBezTo>
                  <a:pt x="353" y="1337"/>
                  <a:pt x="320" y="1312"/>
                  <a:pt x="316" y="1300"/>
                </a:cubicBezTo>
                <a:cubicBezTo>
                  <a:pt x="311" y="1288"/>
                  <a:pt x="312" y="1286"/>
                  <a:pt x="316" y="1257"/>
                </a:cubicBezTo>
                <a:cubicBezTo>
                  <a:pt x="319" y="1229"/>
                  <a:pt x="327" y="1136"/>
                  <a:pt x="337" y="1080"/>
                </a:cubicBezTo>
                <a:cubicBezTo>
                  <a:pt x="346" y="1023"/>
                  <a:pt x="358" y="968"/>
                  <a:pt x="365" y="920"/>
                </a:cubicBezTo>
                <a:cubicBezTo>
                  <a:pt x="372" y="871"/>
                  <a:pt x="376" y="792"/>
                  <a:pt x="376" y="792"/>
                </a:cubicBezTo>
                <a:cubicBezTo>
                  <a:pt x="376" y="792"/>
                  <a:pt x="380" y="791"/>
                  <a:pt x="387" y="785"/>
                </a:cubicBezTo>
                <a:cubicBezTo>
                  <a:pt x="394" y="779"/>
                  <a:pt x="392" y="764"/>
                  <a:pt x="388" y="747"/>
                </a:cubicBezTo>
                <a:cubicBezTo>
                  <a:pt x="385" y="729"/>
                  <a:pt x="380" y="656"/>
                  <a:pt x="377" y="621"/>
                </a:cubicBezTo>
                <a:cubicBezTo>
                  <a:pt x="373" y="586"/>
                  <a:pt x="359" y="534"/>
                  <a:pt x="359" y="534"/>
                </a:cubicBezTo>
                <a:cubicBezTo>
                  <a:pt x="359" y="534"/>
                  <a:pt x="370" y="529"/>
                  <a:pt x="377" y="522"/>
                </a:cubicBezTo>
                <a:cubicBezTo>
                  <a:pt x="384" y="516"/>
                  <a:pt x="385" y="500"/>
                  <a:pt x="385" y="500"/>
                </a:cubicBezTo>
                <a:cubicBezTo>
                  <a:pt x="385" y="500"/>
                  <a:pt x="428" y="504"/>
                  <a:pt x="446" y="496"/>
                </a:cubicBezTo>
                <a:cubicBezTo>
                  <a:pt x="463" y="489"/>
                  <a:pt x="460" y="450"/>
                  <a:pt x="454" y="422"/>
                </a:cubicBezTo>
                <a:close/>
                <a:moveTo>
                  <a:pt x="311" y="458"/>
                </a:moveTo>
                <a:cubicBezTo>
                  <a:pt x="311" y="458"/>
                  <a:pt x="330" y="452"/>
                  <a:pt x="330" y="437"/>
                </a:cubicBezTo>
                <a:cubicBezTo>
                  <a:pt x="330" y="421"/>
                  <a:pt x="315" y="411"/>
                  <a:pt x="308" y="410"/>
                </a:cubicBezTo>
                <a:cubicBezTo>
                  <a:pt x="301" y="410"/>
                  <a:pt x="313" y="399"/>
                  <a:pt x="327" y="411"/>
                </a:cubicBezTo>
                <a:cubicBezTo>
                  <a:pt x="342" y="423"/>
                  <a:pt x="353" y="475"/>
                  <a:pt x="353" y="475"/>
                </a:cubicBezTo>
                <a:cubicBezTo>
                  <a:pt x="353" y="475"/>
                  <a:pt x="323" y="463"/>
                  <a:pt x="311" y="458"/>
                </a:cubicBezTo>
                <a:close/>
                <a:moveTo>
                  <a:pt x="350" y="540"/>
                </a:moveTo>
                <a:cubicBezTo>
                  <a:pt x="350" y="540"/>
                  <a:pt x="352" y="500"/>
                  <a:pt x="353" y="483"/>
                </a:cubicBezTo>
                <a:cubicBezTo>
                  <a:pt x="362" y="531"/>
                  <a:pt x="362" y="531"/>
                  <a:pt x="362" y="531"/>
                </a:cubicBezTo>
                <a:lnTo>
                  <a:pt x="350" y="54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id-ID"/>
            </a:defPPr>
            <a:lvl1pPr marL="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3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cs typeface="+mn-ea"/>
              <a:sym typeface="+mn-lt"/>
            </a:endParaRPr>
          </a:p>
        </p:txBody>
      </p:sp>
      <p:sp>
        <p:nvSpPr>
          <p:cNvPr id="4" name="Freeform 51">
            <a:extLst>
              <a:ext uri="{FF2B5EF4-FFF2-40B4-BE49-F238E27FC236}">
                <a16:creationId xmlns:a16="http://schemas.microsoft.com/office/drawing/2014/main" id="{E33DE015-D24B-4386-A303-A17E9B90CA50}"/>
              </a:ext>
            </a:extLst>
          </p:cNvPr>
          <p:cNvSpPr>
            <a:spLocks noEditPoints="1"/>
          </p:cNvSpPr>
          <p:nvPr/>
        </p:nvSpPr>
        <p:spPr bwMode="auto">
          <a:xfrm>
            <a:off x="4184332" y="4054664"/>
            <a:ext cx="538068" cy="2161714"/>
          </a:xfrm>
          <a:custGeom>
            <a:avLst/>
            <a:gdLst>
              <a:gd name="T0" fmla="*/ 280 w 287"/>
              <a:gd name="T1" fmla="*/ 271 h 1160"/>
              <a:gd name="T2" fmla="*/ 247 w 287"/>
              <a:gd name="T3" fmla="*/ 188 h 1160"/>
              <a:gd name="T4" fmla="*/ 213 w 287"/>
              <a:gd name="T5" fmla="*/ 135 h 1160"/>
              <a:gd name="T6" fmla="*/ 181 w 287"/>
              <a:gd name="T7" fmla="*/ 23 h 1160"/>
              <a:gd name="T8" fmla="*/ 82 w 287"/>
              <a:gd name="T9" fmla="*/ 57 h 1160"/>
              <a:gd name="T10" fmla="*/ 76 w 287"/>
              <a:gd name="T11" fmla="*/ 189 h 1160"/>
              <a:gd name="T12" fmla="*/ 40 w 287"/>
              <a:gd name="T13" fmla="*/ 237 h 1160"/>
              <a:gd name="T14" fmla="*/ 4 w 287"/>
              <a:gd name="T15" fmla="*/ 366 h 1160"/>
              <a:gd name="T16" fmla="*/ 7 w 287"/>
              <a:gd name="T17" fmla="*/ 412 h 1160"/>
              <a:gd name="T18" fmla="*/ 40 w 287"/>
              <a:gd name="T19" fmla="*/ 467 h 1160"/>
              <a:gd name="T20" fmla="*/ 35 w 287"/>
              <a:gd name="T21" fmla="*/ 546 h 1160"/>
              <a:gd name="T22" fmla="*/ 27 w 287"/>
              <a:gd name="T23" fmla="*/ 759 h 1160"/>
              <a:gd name="T24" fmla="*/ 47 w 287"/>
              <a:gd name="T25" fmla="*/ 843 h 1160"/>
              <a:gd name="T26" fmla="*/ 75 w 287"/>
              <a:gd name="T27" fmla="*/ 1036 h 1160"/>
              <a:gd name="T28" fmla="*/ 44 w 287"/>
              <a:gd name="T29" fmla="*/ 1127 h 1160"/>
              <a:gd name="T30" fmla="*/ 70 w 287"/>
              <a:gd name="T31" fmla="*/ 1155 h 1160"/>
              <a:gd name="T32" fmla="*/ 108 w 287"/>
              <a:gd name="T33" fmla="*/ 1107 h 1160"/>
              <a:gd name="T34" fmla="*/ 107 w 287"/>
              <a:gd name="T35" fmla="*/ 1141 h 1160"/>
              <a:gd name="T36" fmla="*/ 119 w 287"/>
              <a:gd name="T37" fmla="*/ 1132 h 1160"/>
              <a:gd name="T38" fmla="*/ 117 w 287"/>
              <a:gd name="T39" fmla="*/ 1050 h 1160"/>
              <a:gd name="T40" fmla="*/ 115 w 287"/>
              <a:gd name="T41" fmla="*/ 885 h 1160"/>
              <a:gd name="T42" fmla="*/ 167 w 287"/>
              <a:gd name="T43" fmla="*/ 851 h 1160"/>
              <a:gd name="T44" fmla="*/ 169 w 287"/>
              <a:gd name="T45" fmla="*/ 977 h 1160"/>
              <a:gd name="T46" fmla="*/ 154 w 287"/>
              <a:gd name="T47" fmla="*/ 1096 h 1160"/>
              <a:gd name="T48" fmla="*/ 148 w 287"/>
              <a:gd name="T49" fmla="*/ 1159 h 1160"/>
              <a:gd name="T50" fmla="*/ 205 w 287"/>
              <a:gd name="T51" fmla="*/ 1104 h 1160"/>
              <a:gd name="T52" fmla="*/ 202 w 287"/>
              <a:gd name="T53" fmla="*/ 1043 h 1160"/>
              <a:gd name="T54" fmla="*/ 234 w 287"/>
              <a:gd name="T55" fmla="*/ 852 h 1160"/>
              <a:gd name="T56" fmla="*/ 251 w 287"/>
              <a:gd name="T57" fmla="*/ 721 h 1160"/>
              <a:gd name="T58" fmla="*/ 265 w 287"/>
              <a:gd name="T59" fmla="*/ 535 h 1160"/>
              <a:gd name="T60" fmla="*/ 258 w 287"/>
              <a:gd name="T61" fmla="*/ 449 h 1160"/>
              <a:gd name="T62" fmla="*/ 244 w 287"/>
              <a:gd name="T63" fmla="*/ 388 h 1160"/>
              <a:gd name="T64" fmla="*/ 102 w 287"/>
              <a:gd name="T65" fmla="*/ 452 h 1160"/>
              <a:gd name="T66" fmla="*/ 114 w 287"/>
              <a:gd name="T67" fmla="*/ 452 h 1160"/>
              <a:gd name="T68" fmla="*/ 168 w 287"/>
              <a:gd name="T69" fmla="*/ 213 h 1160"/>
              <a:gd name="T70" fmla="*/ 117 w 287"/>
              <a:gd name="T71" fmla="*/ 344 h 1160"/>
              <a:gd name="T72" fmla="*/ 114 w 287"/>
              <a:gd name="T73" fmla="*/ 257 h 1160"/>
              <a:gd name="T74" fmla="*/ 102 w 287"/>
              <a:gd name="T75" fmla="*/ 205 h 1160"/>
              <a:gd name="T76" fmla="*/ 134 w 287"/>
              <a:gd name="T77" fmla="*/ 223 h 1160"/>
              <a:gd name="T78" fmla="*/ 152 w 287"/>
              <a:gd name="T79" fmla="*/ 222 h 1160"/>
              <a:gd name="T80" fmla="*/ 159 w 287"/>
              <a:gd name="T81" fmla="*/ 184 h 1160"/>
              <a:gd name="T82" fmla="*/ 189 w 287"/>
              <a:gd name="T83" fmla="*/ 176 h 1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87" h="1160">
                <a:moveTo>
                  <a:pt x="257" y="366"/>
                </a:moveTo>
                <a:cubicBezTo>
                  <a:pt x="258" y="353"/>
                  <a:pt x="279" y="285"/>
                  <a:pt x="280" y="271"/>
                </a:cubicBezTo>
                <a:cubicBezTo>
                  <a:pt x="281" y="257"/>
                  <a:pt x="287" y="214"/>
                  <a:pt x="282" y="199"/>
                </a:cubicBezTo>
                <a:cubicBezTo>
                  <a:pt x="277" y="183"/>
                  <a:pt x="247" y="188"/>
                  <a:pt x="247" y="188"/>
                </a:cubicBezTo>
                <a:cubicBezTo>
                  <a:pt x="247" y="188"/>
                  <a:pt x="240" y="172"/>
                  <a:pt x="226" y="168"/>
                </a:cubicBezTo>
                <a:cubicBezTo>
                  <a:pt x="211" y="164"/>
                  <a:pt x="229" y="145"/>
                  <a:pt x="213" y="135"/>
                </a:cubicBezTo>
                <a:cubicBezTo>
                  <a:pt x="203" y="128"/>
                  <a:pt x="206" y="92"/>
                  <a:pt x="202" y="78"/>
                </a:cubicBezTo>
                <a:cubicBezTo>
                  <a:pt x="199" y="64"/>
                  <a:pt x="190" y="35"/>
                  <a:pt x="181" y="23"/>
                </a:cubicBezTo>
                <a:cubicBezTo>
                  <a:pt x="171" y="10"/>
                  <a:pt x="152" y="17"/>
                  <a:pt x="152" y="17"/>
                </a:cubicBezTo>
                <a:cubicBezTo>
                  <a:pt x="108" y="0"/>
                  <a:pt x="86" y="37"/>
                  <a:pt x="82" y="57"/>
                </a:cubicBezTo>
                <a:cubicBezTo>
                  <a:pt x="79" y="77"/>
                  <a:pt x="89" y="114"/>
                  <a:pt x="77" y="140"/>
                </a:cubicBezTo>
                <a:cubicBezTo>
                  <a:pt x="66" y="165"/>
                  <a:pt x="91" y="174"/>
                  <a:pt x="76" y="189"/>
                </a:cubicBezTo>
                <a:cubicBezTo>
                  <a:pt x="60" y="203"/>
                  <a:pt x="74" y="208"/>
                  <a:pt x="59" y="215"/>
                </a:cubicBezTo>
                <a:cubicBezTo>
                  <a:pt x="45" y="221"/>
                  <a:pt x="40" y="224"/>
                  <a:pt x="40" y="237"/>
                </a:cubicBezTo>
                <a:cubicBezTo>
                  <a:pt x="40" y="250"/>
                  <a:pt x="28" y="284"/>
                  <a:pt x="22" y="314"/>
                </a:cubicBezTo>
                <a:cubicBezTo>
                  <a:pt x="15" y="344"/>
                  <a:pt x="8" y="355"/>
                  <a:pt x="4" y="366"/>
                </a:cubicBezTo>
                <a:cubicBezTo>
                  <a:pt x="0" y="378"/>
                  <a:pt x="2" y="382"/>
                  <a:pt x="4" y="388"/>
                </a:cubicBezTo>
                <a:cubicBezTo>
                  <a:pt x="6" y="393"/>
                  <a:pt x="7" y="394"/>
                  <a:pt x="7" y="412"/>
                </a:cubicBezTo>
                <a:cubicBezTo>
                  <a:pt x="7" y="431"/>
                  <a:pt x="38" y="434"/>
                  <a:pt x="38" y="434"/>
                </a:cubicBezTo>
                <a:cubicBezTo>
                  <a:pt x="38" y="434"/>
                  <a:pt x="40" y="451"/>
                  <a:pt x="40" y="467"/>
                </a:cubicBezTo>
                <a:cubicBezTo>
                  <a:pt x="40" y="482"/>
                  <a:pt x="30" y="526"/>
                  <a:pt x="28" y="538"/>
                </a:cubicBezTo>
                <a:cubicBezTo>
                  <a:pt x="26" y="550"/>
                  <a:pt x="35" y="546"/>
                  <a:pt x="35" y="546"/>
                </a:cubicBezTo>
                <a:cubicBezTo>
                  <a:pt x="35" y="546"/>
                  <a:pt x="35" y="559"/>
                  <a:pt x="33" y="578"/>
                </a:cubicBezTo>
                <a:cubicBezTo>
                  <a:pt x="30" y="597"/>
                  <a:pt x="27" y="724"/>
                  <a:pt x="27" y="759"/>
                </a:cubicBezTo>
                <a:cubicBezTo>
                  <a:pt x="27" y="794"/>
                  <a:pt x="23" y="842"/>
                  <a:pt x="27" y="842"/>
                </a:cubicBezTo>
                <a:cubicBezTo>
                  <a:pt x="32" y="842"/>
                  <a:pt x="47" y="843"/>
                  <a:pt x="47" y="843"/>
                </a:cubicBezTo>
                <a:cubicBezTo>
                  <a:pt x="47" y="843"/>
                  <a:pt x="45" y="866"/>
                  <a:pt x="46" y="895"/>
                </a:cubicBezTo>
                <a:cubicBezTo>
                  <a:pt x="47" y="923"/>
                  <a:pt x="70" y="1014"/>
                  <a:pt x="75" y="1036"/>
                </a:cubicBezTo>
                <a:cubicBezTo>
                  <a:pt x="79" y="1059"/>
                  <a:pt x="78" y="1079"/>
                  <a:pt x="70" y="1091"/>
                </a:cubicBezTo>
                <a:cubicBezTo>
                  <a:pt x="63" y="1103"/>
                  <a:pt x="57" y="1118"/>
                  <a:pt x="44" y="1127"/>
                </a:cubicBezTo>
                <a:cubicBezTo>
                  <a:pt x="31" y="1137"/>
                  <a:pt x="26" y="1141"/>
                  <a:pt x="28" y="1150"/>
                </a:cubicBezTo>
                <a:cubicBezTo>
                  <a:pt x="30" y="1158"/>
                  <a:pt x="46" y="1156"/>
                  <a:pt x="70" y="1155"/>
                </a:cubicBezTo>
                <a:cubicBezTo>
                  <a:pt x="94" y="1154"/>
                  <a:pt x="91" y="1139"/>
                  <a:pt x="94" y="1132"/>
                </a:cubicBezTo>
                <a:cubicBezTo>
                  <a:pt x="97" y="1125"/>
                  <a:pt x="108" y="1107"/>
                  <a:pt x="108" y="1107"/>
                </a:cubicBezTo>
                <a:cubicBezTo>
                  <a:pt x="108" y="1107"/>
                  <a:pt x="111" y="1110"/>
                  <a:pt x="111" y="1118"/>
                </a:cubicBezTo>
                <a:cubicBezTo>
                  <a:pt x="111" y="1127"/>
                  <a:pt x="107" y="1141"/>
                  <a:pt x="107" y="1141"/>
                </a:cubicBezTo>
                <a:cubicBezTo>
                  <a:pt x="117" y="1141"/>
                  <a:pt x="117" y="1141"/>
                  <a:pt x="117" y="1141"/>
                </a:cubicBezTo>
                <a:cubicBezTo>
                  <a:pt x="117" y="1141"/>
                  <a:pt x="120" y="1140"/>
                  <a:pt x="119" y="1132"/>
                </a:cubicBezTo>
                <a:cubicBezTo>
                  <a:pt x="118" y="1124"/>
                  <a:pt x="123" y="1106"/>
                  <a:pt x="127" y="1091"/>
                </a:cubicBezTo>
                <a:cubicBezTo>
                  <a:pt x="132" y="1075"/>
                  <a:pt x="123" y="1057"/>
                  <a:pt x="117" y="1050"/>
                </a:cubicBezTo>
                <a:cubicBezTo>
                  <a:pt x="112" y="1044"/>
                  <a:pt x="114" y="1009"/>
                  <a:pt x="115" y="974"/>
                </a:cubicBezTo>
                <a:cubicBezTo>
                  <a:pt x="117" y="939"/>
                  <a:pt x="119" y="901"/>
                  <a:pt x="115" y="885"/>
                </a:cubicBezTo>
                <a:cubicBezTo>
                  <a:pt x="112" y="868"/>
                  <a:pt x="107" y="846"/>
                  <a:pt x="107" y="846"/>
                </a:cubicBezTo>
                <a:cubicBezTo>
                  <a:pt x="167" y="851"/>
                  <a:pt x="167" y="851"/>
                  <a:pt x="167" y="851"/>
                </a:cubicBezTo>
                <a:cubicBezTo>
                  <a:pt x="167" y="851"/>
                  <a:pt x="169" y="863"/>
                  <a:pt x="169" y="889"/>
                </a:cubicBezTo>
                <a:cubicBezTo>
                  <a:pt x="169" y="916"/>
                  <a:pt x="169" y="934"/>
                  <a:pt x="169" y="977"/>
                </a:cubicBezTo>
                <a:cubicBezTo>
                  <a:pt x="169" y="1019"/>
                  <a:pt x="165" y="1035"/>
                  <a:pt x="160" y="1051"/>
                </a:cubicBezTo>
                <a:cubicBezTo>
                  <a:pt x="156" y="1068"/>
                  <a:pt x="159" y="1080"/>
                  <a:pt x="154" y="1096"/>
                </a:cubicBezTo>
                <a:cubicBezTo>
                  <a:pt x="149" y="1113"/>
                  <a:pt x="140" y="1125"/>
                  <a:pt x="135" y="1134"/>
                </a:cubicBezTo>
                <a:cubicBezTo>
                  <a:pt x="129" y="1143"/>
                  <a:pt x="127" y="1158"/>
                  <a:pt x="148" y="1159"/>
                </a:cubicBezTo>
                <a:cubicBezTo>
                  <a:pt x="170" y="1160"/>
                  <a:pt x="196" y="1150"/>
                  <a:pt x="196" y="1140"/>
                </a:cubicBezTo>
                <a:cubicBezTo>
                  <a:pt x="196" y="1131"/>
                  <a:pt x="198" y="1119"/>
                  <a:pt x="205" y="1104"/>
                </a:cubicBezTo>
                <a:cubicBezTo>
                  <a:pt x="213" y="1088"/>
                  <a:pt x="206" y="1075"/>
                  <a:pt x="204" y="1069"/>
                </a:cubicBezTo>
                <a:cubicBezTo>
                  <a:pt x="201" y="1062"/>
                  <a:pt x="202" y="1055"/>
                  <a:pt x="202" y="1043"/>
                </a:cubicBezTo>
                <a:cubicBezTo>
                  <a:pt x="202" y="1031"/>
                  <a:pt x="213" y="991"/>
                  <a:pt x="225" y="947"/>
                </a:cubicBezTo>
                <a:cubicBezTo>
                  <a:pt x="237" y="903"/>
                  <a:pt x="234" y="852"/>
                  <a:pt x="234" y="852"/>
                </a:cubicBezTo>
                <a:cubicBezTo>
                  <a:pt x="243" y="852"/>
                  <a:pt x="243" y="852"/>
                  <a:pt x="243" y="852"/>
                </a:cubicBezTo>
                <a:cubicBezTo>
                  <a:pt x="243" y="852"/>
                  <a:pt x="244" y="787"/>
                  <a:pt x="251" y="721"/>
                </a:cubicBezTo>
                <a:cubicBezTo>
                  <a:pt x="258" y="654"/>
                  <a:pt x="248" y="585"/>
                  <a:pt x="248" y="566"/>
                </a:cubicBezTo>
                <a:cubicBezTo>
                  <a:pt x="248" y="547"/>
                  <a:pt x="255" y="539"/>
                  <a:pt x="265" y="535"/>
                </a:cubicBezTo>
                <a:cubicBezTo>
                  <a:pt x="276" y="530"/>
                  <a:pt x="277" y="528"/>
                  <a:pt x="272" y="510"/>
                </a:cubicBezTo>
                <a:cubicBezTo>
                  <a:pt x="266" y="492"/>
                  <a:pt x="258" y="449"/>
                  <a:pt x="258" y="449"/>
                </a:cubicBezTo>
                <a:cubicBezTo>
                  <a:pt x="258" y="449"/>
                  <a:pt x="257" y="443"/>
                  <a:pt x="251" y="424"/>
                </a:cubicBezTo>
                <a:cubicBezTo>
                  <a:pt x="244" y="406"/>
                  <a:pt x="244" y="388"/>
                  <a:pt x="244" y="388"/>
                </a:cubicBezTo>
                <a:cubicBezTo>
                  <a:pt x="244" y="388"/>
                  <a:pt x="256" y="378"/>
                  <a:pt x="257" y="366"/>
                </a:cubicBezTo>
                <a:close/>
                <a:moveTo>
                  <a:pt x="102" y="452"/>
                </a:moveTo>
                <a:cubicBezTo>
                  <a:pt x="110" y="434"/>
                  <a:pt x="110" y="434"/>
                  <a:pt x="110" y="434"/>
                </a:cubicBezTo>
                <a:cubicBezTo>
                  <a:pt x="114" y="452"/>
                  <a:pt x="114" y="452"/>
                  <a:pt x="114" y="452"/>
                </a:cubicBezTo>
                <a:lnTo>
                  <a:pt x="102" y="452"/>
                </a:lnTo>
                <a:close/>
                <a:moveTo>
                  <a:pt x="168" y="213"/>
                </a:moveTo>
                <a:cubicBezTo>
                  <a:pt x="158" y="230"/>
                  <a:pt x="141" y="260"/>
                  <a:pt x="135" y="285"/>
                </a:cubicBezTo>
                <a:cubicBezTo>
                  <a:pt x="128" y="309"/>
                  <a:pt x="117" y="344"/>
                  <a:pt x="117" y="344"/>
                </a:cubicBezTo>
                <a:cubicBezTo>
                  <a:pt x="117" y="344"/>
                  <a:pt x="116" y="338"/>
                  <a:pt x="115" y="329"/>
                </a:cubicBezTo>
                <a:cubicBezTo>
                  <a:pt x="114" y="320"/>
                  <a:pt x="114" y="277"/>
                  <a:pt x="114" y="257"/>
                </a:cubicBezTo>
                <a:cubicBezTo>
                  <a:pt x="114" y="237"/>
                  <a:pt x="115" y="220"/>
                  <a:pt x="112" y="219"/>
                </a:cubicBezTo>
                <a:cubicBezTo>
                  <a:pt x="108" y="217"/>
                  <a:pt x="102" y="205"/>
                  <a:pt x="102" y="205"/>
                </a:cubicBezTo>
                <a:cubicBezTo>
                  <a:pt x="124" y="175"/>
                  <a:pt x="124" y="175"/>
                  <a:pt x="124" y="175"/>
                </a:cubicBezTo>
                <a:cubicBezTo>
                  <a:pt x="117" y="218"/>
                  <a:pt x="129" y="210"/>
                  <a:pt x="134" y="223"/>
                </a:cubicBezTo>
                <a:cubicBezTo>
                  <a:pt x="138" y="236"/>
                  <a:pt x="133" y="269"/>
                  <a:pt x="136" y="253"/>
                </a:cubicBezTo>
                <a:cubicBezTo>
                  <a:pt x="138" y="238"/>
                  <a:pt x="146" y="237"/>
                  <a:pt x="152" y="222"/>
                </a:cubicBezTo>
                <a:cubicBezTo>
                  <a:pt x="159" y="207"/>
                  <a:pt x="139" y="196"/>
                  <a:pt x="139" y="196"/>
                </a:cubicBezTo>
                <a:cubicBezTo>
                  <a:pt x="139" y="196"/>
                  <a:pt x="150" y="192"/>
                  <a:pt x="159" y="184"/>
                </a:cubicBezTo>
                <a:cubicBezTo>
                  <a:pt x="169" y="175"/>
                  <a:pt x="182" y="164"/>
                  <a:pt x="182" y="164"/>
                </a:cubicBezTo>
                <a:cubicBezTo>
                  <a:pt x="189" y="176"/>
                  <a:pt x="189" y="176"/>
                  <a:pt x="189" y="176"/>
                </a:cubicBezTo>
                <a:cubicBezTo>
                  <a:pt x="189" y="176"/>
                  <a:pt x="178" y="196"/>
                  <a:pt x="168" y="21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id-ID"/>
            </a:defPPr>
            <a:lvl1pPr marL="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3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cs typeface="+mn-ea"/>
              <a:sym typeface="+mn-lt"/>
            </a:endParaRPr>
          </a:p>
        </p:txBody>
      </p:sp>
      <p:sp>
        <p:nvSpPr>
          <p:cNvPr id="5" name="Freeform 52">
            <a:extLst>
              <a:ext uri="{FF2B5EF4-FFF2-40B4-BE49-F238E27FC236}">
                <a16:creationId xmlns:a16="http://schemas.microsoft.com/office/drawing/2014/main" id="{E2824A0A-1359-4336-A875-8D4CC1978C44}"/>
              </a:ext>
            </a:extLst>
          </p:cNvPr>
          <p:cNvSpPr>
            <a:spLocks noEditPoints="1"/>
          </p:cNvSpPr>
          <p:nvPr/>
        </p:nvSpPr>
        <p:spPr bwMode="auto">
          <a:xfrm>
            <a:off x="4800047" y="4242654"/>
            <a:ext cx="734785" cy="2290704"/>
          </a:xfrm>
          <a:custGeom>
            <a:avLst/>
            <a:gdLst>
              <a:gd name="T0" fmla="*/ 379 w 386"/>
              <a:gd name="T1" fmla="*/ 464 h 1210"/>
              <a:gd name="T2" fmla="*/ 364 w 386"/>
              <a:gd name="T3" fmla="*/ 267 h 1210"/>
              <a:gd name="T4" fmla="*/ 269 w 386"/>
              <a:gd name="T5" fmla="*/ 191 h 1210"/>
              <a:gd name="T6" fmla="*/ 251 w 386"/>
              <a:gd name="T7" fmla="*/ 145 h 1210"/>
              <a:gd name="T8" fmla="*/ 266 w 386"/>
              <a:gd name="T9" fmla="*/ 116 h 1210"/>
              <a:gd name="T10" fmla="*/ 263 w 386"/>
              <a:gd name="T11" fmla="*/ 82 h 1210"/>
              <a:gd name="T12" fmla="*/ 205 w 386"/>
              <a:gd name="T13" fmla="*/ 0 h 1210"/>
              <a:gd name="T14" fmla="*/ 155 w 386"/>
              <a:gd name="T15" fmla="*/ 90 h 1210"/>
              <a:gd name="T16" fmla="*/ 174 w 386"/>
              <a:gd name="T17" fmla="*/ 126 h 1210"/>
              <a:gd name="T18" fmla="*/ 176 w 386"/>
              <a:gd name="T19" fmla="*/ 167 h 1210"/>
              <a:gd name="T20" fmla="*/ 177 w 386"/>
              <a:gd name="T21" fmla="*/ 167 h 1210"/>
              <a:gd name="T22" fmla="*/ 156 w 386"/>
              <a:gd name="T23" fmla="*/ 186 h 1210"/>
              <a:gd name="T24" fmla="*/ 99 w 386"/>
              <a:gd name="T25" fmla="*/ 207 h 1210"/>
              <a:gd name="T26" fmla="*/ 57 w 386"/>
              <a:gd name="T27" fmla="*/ 370 h 1210"/>
              <a:gd name="T28" fmla="*/ 38 w 386"/>
              <a:gd name="T29" fmla="*/ 604 h 1210"/>
              <a:gd name="T30" fmla="*/ 68 w 386"/>
              <a:gd name="T31" fmla="*/ 598 h 1210"/>
              <a:gd name="T32" fmla="*/ 68 w 386"/>
              <a:gd name="T33" fmla="*/ 607 h 1210"/>
              <a:gd name="T34" fmla="*/ 41 w 386"/>
              <a:gd name="T35" fmla="*/ 619 h 1210"/>
              <a:gd name="T36" fmla="*/ 47 w 386"/>
              <a:gd name="T37" fmla="*/ 662 h 1210"/>
              <a:gd name="T38" fmla="*/ 3 w 386"/>
              <a:gd name="T39" fmla="*/ 849 h 1210"/>
              <a:gd name="T40" fmla="*/ 99 w 386"/>
              <a:gd name="T41" fmla="*/ 898 h 1210"/>
              <a:gd name="T42" fmla="*/ 118 w 386"/>
              <a:gd name="T43" fmla="*/ 899 h 1210"/>
              <a:gd name="T44" fmla="*/ 127 w 386"/>
              <a:gd name="T45" fmla="*/ 1051 h 1210"/>
              <a:gd name="T46" fmla="*/ 118 w 386"/>
              <a:gd name="T47" fmla="*/ 1153 h 1210"/>
              <a:gd name="T48" fmla="*/ 181 w 386"/>
              <a:gd name="T49" fmla="*/ 1159 h 1210"/>
              <a:gd name="T50" fmla="*/ 194 w 386"/>
              <a:gd name="T51" fmla="*/ 1084 h 1210"/>
              <a:gd name="T52" fmla="*/ 192 w 386"/>
              <a:gd name="T53" fmla="*/ 968 h 1210"/>
              <a:gd name="T54" fmla="*/ 222 w 386"/>
              <a:gd name="T55" fmla="*/ 712 h 1210"/>
              <a:gd name="T56" fmla="*/ 252 w 386"/>
              <a:gd name="T57" fmla="*/ 767 h 1210"/>
              <a:gd name="T58" fmla="*/ 285 w 386"/>
              <a:gd name="T59" fmla="*/ 1024 h 1210"/>
              <a:gd name="T60" fmla="*/ 277 w 386"/>
              <a:gd name="T61" fmla="*/ 1067 h 1210"/>
              <a:gd name="T62" fmla="*/ 298 w 386"/>
              <a:gd name="T63" fmla="*/ 1146 h 1210"/>
              <a:gd name="T64" fmla="*/ 355 w 386"/>
              <a:gd name="T65" fmla="*/ 1205 h 1210"/>
              <a:gd name="T66" fmla="*/ 347 w 386"/>
              <a:gd name="T67" fmla="*/ 1105 h 1210"/>
              <a:gd name="T68" fmla="*/ 351 w 386"/>
              <a:gd name="T69" fmla="*/ 1046 h 1210"/>
              <a:gd name="T70" fmla="*/ 356 w 386"/>
              <a:gd name="T71" fmla="*/ 829 h 1210"/>
              <a:gd name="T72" fmla="*/ 354 w 386"/>
              <a:gd name="T73" fmla="*/ 603 h 1210"/>
              <a:gd name="T74" fmla="*/ 367 w 386"/>
              <a:gd name="T75" fmla="*/ 565 h 1210"/>
              <a:gd name="T76" fmla="*/ 109 w 386"/>
              <a:gd name="T77" fmla="*/ 669 h 1210"/>
              <a:gd name="T78" fmla="*/ 91 w 386"/>
              <a:gd name="T79" fmla="*/ 666 h 1210"/>
              <a:gd name="T80" fmla="*/ 90 w 386"/>
              <a:gd name="T81" fmla="*/ 617 h 1210"/>
              <a:gd name="T82" fmla="*/ 101 w 386"/>
              <a:gd name="T83" fmla="*/ 628 h 1210"/>
              <a:gd name="T84" fmla="*/ 108 w 386"/>
              <a:gd name="T85" fmla="*/ 649 h 1210"/>
              <a:gd name="T86" fmla="*/ 223 w 386"/>
              <a:gd name="T87" fmla="*/ 505 h 1210"/>
              <a:gd name="T88" fmla="*/ 221 w 386"/>
              <a:gd name="T89" fmla="*/ 232 h 1210"/>
              <a:gd name="T90" fmla="*/ 215 w 386"/>
              <a:gd name="T91" fmla="*/ 208 h 1210"/>
              <a:gd name="T92" fmla="*/ 205 w 386"/>
              <a:gd name="T93" fmla="*/ 231 h 1210"/>
              <a:gd name="T94" fmla="*/ 199 w 386"/>
              <a:gd name="T95" fmla="*/ 505 h 1210"/>
              <a:gd name="T96" fmla="*/ 190 w 386"/>
              <a:gd name="T97" fmla="*/ 325 h 1210"/>
              <a:gd name="T98" fmla="*/ 173 w 386"/>
              <a:gd name="T99" fmla="*/ 188 h 1210"/>
              <a:gd name="T100" fmla="*/ 182 w 386"/>
              <a:gd name="T101" fmla="*/ 176 h 1210"/>
              <a:gd name="T102" fmla="*/ 248 w 386"/>
              <a:gd name="T103" fmla="*/ 179 h 1210"/>
              <a:gd name="T104" fmla="*/ 259 w 386"/>
              <a:gd name="T105" fmla="*/ 196 h 1210"/>
              <a:gd name="T106" fmla="*/ 258 w 386"/>
              <a:gd name="T107" fmla="*/ 201 h 1210"/>
              <a:gd name="T108" fmla="*/ 260 w 386"/>
              <a:gd name="T109" fmla="*/ 256 h 1210"/>
              <a:gd name="T110" fmla="*/ 301 w 386"/>
              <a:gd name="T111" fmla="*/ 488 h 1210"/>
              <a:gd name="T112" fmla="*/ 360 w 386"/>
              <a:gd name="T113" fmla="*/ 585 h 1210"/>
              <a:gd name="T114" fmla="*/ 328 w 386"/>
              <a:gd name="T115" fmla="*/ 554 h 1210"/>
              <a:gd name="T116" fmla="*/ 360 w 386"/>
              <a:gd name="T117" fmla="*/ 585 h 1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86" h="1210">
                <a:moveTo>
                  <a:pt x="379" y="512"/>
                </a:moveTo>
                <a:cubicBezTo>
                  <a:pt x="385" y="497"/>
                  <a:pt x="386" y="471"/>
                  <a:pt x="379" y="464"/>
                </a:cubicBezTo>
                <a:cubicBezTo>
                  <a:pt x="372" y="456"/>
                  <a:pt x="383" y="413"/>
                  <a:pt x="376" y="380"/>
                </a:cubicBezTo>
                <a:cubicBezTo>
                  <a:pt x="370" y="347"/>
                  <a:pt x="365" y="295"/>
                  <a:pt x="364" y="267"/>
                </a:cubicBezTo>
                <a:cubicBezTo>
                  <a:pt x="364" y="239"/>
                  <a:pt x="362" y="219"/>
                  <a:pt x="326" y="210"/>
                </a:cubicBezTo>
                <a:cubicBezTo>
                  <a:pt x="302" y="204"/>
                  <a:pt x="282" y="197"/>
                  <a:pt x="269" y="191"/>
                </a:cubicBezTo>
                <a:cubicBezTo>
                  <a:pt x="269" y="191"/>
                  <a:pt x="255" y="179"/>
                  <a:pt x="252" y="168"/>
                </a:cubicBezTo>
                <a:cubicBezTo>
                  <a:pt x="251" y="159"/>
                  <a:pt x="251" y="150"/>
                  <a:pt x="251" y="145"/>
                </a:cubicBezTo>
                <a:cubicBezTo>
                  <a:pt x="253" y="136"/>
                  <a:pt x="253" y="129"/>
                  <a:pt x="253" y="124"/>
                </a:cubicBezTo>
                <a:cubicBezTo>
                  <a:pt x="253" y="118"/>
                  <a:pt x="264" y="126"/>
                  <a:pt x="266" y="116"/>
                </a:cubicBezTo>
                <a:cubicBezTo>
                  <a:pt x="269" y="107"/>
                  <a:pt x="271" y="85"/>
                  <a:pt x="269" y="84"/>
                </a:cubicBezTo>
                <a:cubicBezTo>
                  <a:pt x="267" y="82"/>
                  <a:pt x="265" y="82"/>
                  <a:pt x="263" y="82"/>
                </a:cubicBezTo>
                <a:cubicBezTo>
                  <a:pt x="263" y="79"/>
                  <a:pt x="265" y="59"/>
                  <a:pt x="263" y="38"/>
                </a:cubicBezTo>
                <a:cubicBezTo>
                  <a:pt x="262" y="18"/>
                  <a:pt x="242" y="2"/>
                  <a:pt x="205" y="0"/>
                </a:cubicBezTo>
                <a:cubicBezTo>
                  <a:pt x="184" y="0"/>
                  <a:pt x="160" y="16"/>
                  <a:pt x="157" y="38"/>
                </a:cubicBezTo>
                <a:cubicBezTo>
                  <a:pt x="154" y="60"/>
                  <a:pt x="155" y="90"/>
                  <a:pt x="155" y="90"/>
                </a:cubicBezTo>
                <a:cubicBezTo>
                  <a:pt x="155" y="90"/>
                  <a:pt x="148" y="105"/>
                  <a:pt x="154" y="117"/>
                </a:cubicBezTo>
                <a:cubicBezTo>
                  <a:pt x="160" y="129"/>
                  <a:pt x="174" y="126"/>
                  <a:pt x="174" y="126"/>
                </a:cubicBezTo>
                <a:cubicBezTo>
                  <a:pt x="174" y="126"/>
                  <a:pt x="177" y="145"/>
                  <a:pt x="177" y="155"/>
                </a:cubicBezTo>
                <a:cubicBezTo>
                  <a:pt x="177" y="160"/>
                  <a:pt x="177" y="164"/>
                  <a:pt x="176" y="167"/>
                </a:cubicBezTo>
                <a:cubicBezTo>
                  <a:pt x="176" y="167"/>
                  <a:pt x="176" y="167"/>
                  <a:pt x="176" y="167"/>
                </a:cubicBezTo>
                <a:cubicBezTo>
                  <a:pt x="176" y="167"/>
                  <a:pt x="177" y="167"/>
                  <a:pt x="177" y="167"/>
                </a:cubicBezTo>
                <a:cubicBezTo>
                  <a:pt x="176" y="167"/>
                  <a:pt x="176" y="167"/>
                  <a:pt x="176" y="167"/>
                </a:cubicBezTo>
                <a:cubicBezTo>
                  <a:pt x="176" y="167"/>
                  <a:pt x="164" y="182"/>
                  <a:pt x="156" y="186"/>
                </a:cubicBezTo>
                <a:cubicBezTo>
                  <a:pt x="143" y="192"/>
                  <a:pt x="123" y="200"/>
                  <a:pt x="107" y="205"/>
                </a:cubicBezTo>
                <a:cubicBezTo>
                  <a:pt x="104" y="206"/>
                  <a:pt x="102" y="206"/>
                  <a:pt x="99" y="207"/>
                </a:cubicBezTo>
                <a:cubicBezTo>
                  <a:pt x="80" y="213"/>
                  <a:pt x="65" y="218"/>
                  <a:pt x="65" y="244"/>
                </a:cubicBezTo>
                <a:cubicBezTo>
                  <a:pt x="64" y="274"/>
                  <a:pt x="61" y="331"/>
                  <a:pt x="57" y="370"/>
                </a:cubicBezTo>
                <a:cubicBezTo>
                  <a:pt x="53" y="408"/>
                  <a:pt x="41" y="490"/>
                  <a:pt x="41" y="516"/>
                </a:cubicBezTo>
                <a:cubicBezTo>
                  <a:pt x="40" y="542"/>
                  <a:pt x="37" y="598"/>
                  <a:pt x="38" y="604"/>
                </a:cubicBezTo>
                <a:cubicBezTo>
                  <a:pt x="38" y="609"/>
                  <a:pt x="42" y="609"/>
                  <a:pt x="42" y="615"/>
                </a:cubicBezTo>
                <a:cubicBezTo>
                  <a:pt x="43" y="612"/>
                  <a:pt x="48" y="598"/>
                  <a:pt x="68" y="598"/>
                </a:cubicBezTo>
                <a:cubicBezTo>
                  <a:pt x="90" y="598"/>
                  <a:pt x="90" y="614"/>
                  <a:pt x="90" y="614"/>
                </a:cubicBezTo>
                <a:cubicBezTo>
                  <a:pt x="83" y="607"/>
                  <a:pt x="83" y="607"/>
                  <a:pt x="68" y="607"/>
                </a:cubicBezTo>
                <a:cubicBezTo>
                  <a:pt x="54" y="606"/>
                  <a:pt x="43" y="614"/>
                  <a:pt x="42" y="615"/>
                </a:cubicBezTo>
                <a:cubicBezTo>
                  <a:pt x="42" y="616"/>
                  <a:pt x="42" y="618"/>
                  <a:pt x="41" y="619"/>
                </a:cubicBezTo>
                <a:cubicBezTo>
                  <a:pt x="39" y="630"/>
                  <a:pt x="39" y="639"/>
                  <a:pt x="45" y="646"/>
                </a:cubicBezTo>
                <a:cubicBezTo>
                  <a:pt x="50" y="653"/>
                  <a:pt x="47" y="662"/>
                  <a:pt x="47" y="662"/>
                </a:cubicBezTo>
                <a:cubicBezTo>
                  <a:pt x="0" y="660"/>
                  <a:pt x="0" y="660"/>
                  <a:pt x="0" y="660"/>
                </a:cubicBezTo>
                <a:cubicBezTo>
                  <a:pt x="3" y="849"/>
                  <a:pt x="3" y="849"/>
                  <a:pt x="3" y="849"/>
                </a:cubicBezTo>
                <a:cubicBezTo>
                  <a:pt x="78" y="907"/>
                  <a:pt x="78" y="907"/>
                  <a:pt x="78" y="907"/>
                </a:cubicBezTo>
                <a:cubicBezTo>
                  <a:pt x="78" y="907"/>
                  <a:pt x="89" y="899"/>
                  <a:pt x="99" y="898"/>
                </a:cubicBezTo>
                <a:cubicBezTo>
                  <a:pt x="100" y="898"/>
                  <a:pt x="101" y="898"/>
                  <a:pt x="101" y="898"/>
                </a:cubicBezTo>
                <a:cubicBezTo>
                  <a:pt x="112" y="898"/>
                  <a:pt x="118" y="899"/>
                  <a:pt x="118" y="899"/>
                </a:cubicBezTo>
                <a:cubicBezTo>
                  <a:pt x="118" y="899"/>
                  <a:pt x="115" y="955"/>
                  <a:pt x="115" y="977"/>
                </a:cubicBezTo>
                <a:cubicBezTo>
                  <a:pt x="115" y="1000"/>
                  <a:pt x="117" y="1035"/>
                  <a:pt x="127" y="1051"/>
                </a:cubicBezTo>
                <a:cubicBezTo>
                  <a:pt x="136" y="1067"/>
                  <a:pt x="138" y="1073"/>
                  <a:pt x="138" y="1087"/>
                </a:cubicBezTo>
                <a:cubicBezTo>
                  <a:pt x="138" y="1101"/>
                  <a:pt x="117" y="1140"/>
                  <a:pt x="118" y="1153"/>
                </a:cubicBezTo>
                <a:cubicBezTo>
                  <a:pt x="118" y="1166"/>
                  <a:pt x="121" y="1186"/>
                  <a:pt x="143" y="1186"/>
                </a:cubicBezTo>
                <a:cubicBezTo>
                  <a:pt x="165" y="1185"/>
                  <a:pt x="181" y="1176"/>
                  <a:pt x="181" y="1159"/>
                </a:cubicBezTo>
                <a:cubicBezTo>
                  <a:pt x="181" y="1141"/>
                  <a:pt x="178" y="1130"/>
                  <a:pt x="185" y="1124"/>
                </a:cubicBezTo>
                <a:cubicBezTo>
                  <a:pt x="193" y="1117"/>
                  <a:pt x="181" y="1101"/>
                  <a:pt x="194" y="1084"/>
                </a:cubicBezTo>
                <a:cubicBezTo>
                  <a:pt x="206" y="1067"/>
                  <a:pt x="193" y="1066"/>
                  <a:pt x="196" y="1050"/>
                </a:cubicBezTo>
                <a:cubicBezTo>
                  <a:pt x="199" y="1034"/>
                  <a:pt x="193" y="987"/>
                  <a:pt x="192" y="968"/>
                </a:cubicBezTo>
                <a:cubicBezTo>
                  <a:pt x="191" y="949"/>
                  <a:pt x="194" y="926"/>
                  <a:pt x="204" y="846"/>
                </a:cubicBezTo>
                <a:cubicBezTo>
                  <a:pt x="213" y="765"/>
                  <a:pt x="219" y="729"/>
                  <a:pt x="222" y="712"/>
                </a:cubicBezTo>
                <a:cubicBezTo>
                  <a:pt x="225" y="694"/>
                  <a:pt x="229" y="672"/>
                  <a:pt x="229" y="672"/>
                </a:cubicBezTo>
                <a:cubicBezTo>
                  <a:pt x="229" y="672"/>
                  <a:pt x="242" y="748"/>
                  <a:pt x="252" y="767"/>
                </a:cubicBezTo>
                <a:cubicBezTo>
                  <a:pt x="262" y="785"/>
                  <a:pt x="274" y="879"/>
                  <a:pt x="277" y="907"/>
                </a:cubicBezTo>
                <a:cubicBezTo>
                  <a:pt x="280" y="934"/>
                  <a:pt x="278" y="1015"/>
                  <a:pt x="285" y="1024"/>
                </a:cubicBezTo>
                <a:cubicBezTo>
                  <a:pt x="291" y="1032"/>
                  <a:pt x="294" y="1044"/>
                  <a:pt x="294" y="1044"/>
                </a:cubicBezTo>
                <a:cubicBezTo>
                  <a:pt x="294" y="1044"/>
                  <a:pt x="277" y="1054"/>
                  <a:pt x="277" y="1067"/>
                </a:cubicBezTo>
                <a:cubicBezTo>
                  <a:pt x="277" y="1081"/>
                  <a:pt x="290" y="1092"/>
                  <a:pt x="289" y="1110"/>
                </a:cubicBezTo>
                <a:cubicBezTo>
                  <a:pt x="289" y="1128"/>
                  <a:pt x="291" y="1143"/>
                  <a:pt x="298" y="1146"/>
                </a:cubicBezTo>
                <a:cubicBezTo>
                  <a:pt x="305" y="1150"/>
                  <a:pt x="304" y="1180"/>
                  <a:pt x="313" y="1191"/>
                </a:cubicBezTo>
                <a:cubicBezTo>
                  <a:pt x="322" y="1201"/>
                  <a:pt x="337" y="1210"/>
                  <a:pt x="355" y="1205"/>
                </a:cubicBezTo>
                <a:cubicBezTo>
                  <a:pt x="373" y="1199"/>
                  <a:pt x="373" y="1175"/>
                  <a:pt x="364" y="1152"/>
                </a:cubicBezTo>
                <a:cubicBezTo>
                  <a:pt x="355" y="1129"/>
                  <a:pt x="344" y="1114"/>
                  <a:pt x="347" y="1105"/>
                </a:cubicBezTo>
                <a:cubicBezTo>
                  <a:pt x="351" y="1096"/>
                  <a:pt x="354" y="1082"/>
                  <a:pt x="345" y="1073"/>
                </a:cubicBezTo>
                <a:cubicBezTo>
                  <a:pt x="336" y="1064"/>
                  <a:pt x="345" y="1054"/>
                  <a:pt x="351" y="1046"/>
                </a:cubicBezTo>
                <a:cubicBezTo>
                  <a:pt x="357" y="1038"/>
                  <a:pt x="356" y="1002"/>
                  <a:pt x="356" y="982"/>
                </a:cubicBezTo>
                <a:cubicBezTo>
                  <a:pt x="357" y="962"/>
                  <a:pt x="354" y="864"/>
                  <a:pt x="356" y="829"/>
                </a:cubicBezTo>
                <a:cubicBezTo>
                  <a:pt x="357" y="793"/>
                  <a:pt x="360" y="685"/>
                  <a:pt x="355" y="655"/>
                </a:cubicBezTo>
                <a:cubicBezTo>
                  <a:pt x="350" y="625"/>
                  <a:pt x="354" y="603"/>
                  <a:pt x="354" y="603"/>
                </a:cubicBezTo>
                <a:cubicBezTo>
                  <a:pt x="354" y="603"/>
                  <a:pt x="366" y="609"/>
                  <a:pt x="366" y="597"/>
                </a:cubicBezTo>
                <a:cubicBezTo>
                  <a:pt x="366" y="586"/>
                  <a:pt x="362" y="584"/>
                  <a:pt x="367" y="565"/>
                </a:cubicBezTo>
                <a:cubicBezTo>
                  <a:pt x="372" y="545"/>
                  <a:pt x="373" y="527"/>
                  <a:pt x="379" y="512"/>
                </a:cubicBezTo>
                <a:close/>
                <a:moveTo>
                  <a:pt x="109" y="669"/>
                </a:moveTo>
                <a:cubicBezTo>
                  <a:pt x="99" y="668"/>
                  <a:pt x="99" y="668"/>
                  <a:pt x="99" y="668"/>
                </a:cubicBezTo>
                <a:cubicBezTo>
                  <a:pt x="91" y="666"/>
                  <a:pt x="91" y="666"/>
                  <a:pt x="91" y="666"/>
                </a:cubicBezTo>
                <a:cubicBezTo>
                  <a:pt x="91" y="666"/>
                  <a:pt x="93" y="653"/>
                  <a:pt x="90" y="644"/>
                </a:cubicBezTo>
                <a:cubicBezTo>
                  <a:pt x="87" y="635"/>
                  <a:pt x="88" y="627"/>
                  <a:pt x="90" y="617"/>
                </a:cubicBezTo>
                <a:cubicBezTo>
                  <a:pt x="90" y="617"/>
                  <a:pt x="93" y="627"/>
                  <a:pt x="99" y="628"/>
                </a:cubicBezTo>
                <a:cubicBezTo>
                  <a:pt x="100" y="628"/>
                  <a:pt x="100" y="628"/>
                  <a:pt x="101" y="628"/>
                </a:cubicBezTo>
                <a:cubicBezTo>
                  <a:pt x="108" y="628"/>
                  <a:pt x="111" y="629"/>
                  <a:pt x="111" y="629"/>
                </a:cubicBezTo>
                <a:cubicBezTo>
                  <a:pt x="111" y="629"/>
                  <a:pt x="108" y="640"/>
                  <a:pt x="108" y="649"/>
                </a:cubicBezTo>
                <a:cubicBezTo>
                  <a:pt x="108" y="659"/>
                  <a:pt x="109" y="669"/>
                  <a:pt x="109" y="669"/>
                </a:cubicBezTo>
                <a:close/>
                <a:moveTo>
                  <a:pt x="223" y="505"/>
                </a:moveTo>
                <a:cubicBezTo>
                  <a:pt x="225" y="464"/>
                  <a:pt x="224" y="347"/>
                  <a:pt x="223" y="322"/>
                </a:cubicBezTo>
                <a:cubicBezTo>
                  <a:pt x="223" y="296"/>
                  <a:pt x="218" y="239"/>
                  <a:pt x="221" y="232"/>
                </a:cubicBezTo>
                <a:cubicBezTo>
                  <a:pt x="224" y="224"/>
                  <a:pt x="232" y="218"/>
                  <a:pt x="241" y="223"/>
                </a:cubicBezTo>
                <a:cubicBezTo>
                  <a:pt x="241" y="223"/>
                  <a:pt x="231" y="208"/>
                  <a:pt x="215" y="208"/>
                </a:cubicBezTo>
                <a:cubicBezTo>
                  <a:pt x="199" y="208"/>
                  <a:pt x="188" y="223"/>
                  <a:pt x="188" y="223"/>
                </a:cubicBezTo>
                <a:cubicBezTo>
                  <a:pt x="188" y="223"/>
                  <a:pt x="206" y="219"/>
                  <a:pt x="205" y="231"/>
                </a:cubicBezTo>
                <a:cubicBezTo>
                  <a:pt x="205" y="243"/>
                  <a:pt x="199" y="305"/>
                  <a:pt x="199" y="346"/>
                </a:cubicBezTo>
                <a:cubicBezTo>
                  <a:pt x="199" y="383"/>
                  <a:pt x="196" y="472"/>
                  <a:pt x="199" y="505"/>
                </a:cubicBezTo>
                <a:cubicBezTo>
                  <a:pt x="187" y="504"/>
                  <a:pt x="183" y="503"/>
                  <a:pt x="183" y="503"/>
                </a:cubicBezTo>
                <a:cubicBezTo>
                  <a:pt x="183" y="503"/>
                  <a:pt x="194" y="386"/>
                  <a:pt x="190" y="325"/>
                </a:cubicBezTo>
                <a:cubicBezTo>
                  <a:pt x="186" y="279"/>
                  <a:pt x="178" y="220"/>
                  <a:pt x="173" y="188"/>
                </a:cubicBezTo>
                <a:cubicBezTo>
                  <a:pt x="173" y="188"/>
                  <a:pt x="173" y="188"/>
                  <a:pt x="173" y="188"/>
                </a:cubicBezTo>
                <a:cubicBezTo>
                  <a:pt x="173" y="188"/>
                  <a:pt x="178" y="170"/>
                  <a:pt x="182" y="176"/>
                </a:cubicBezTo>
                <a:cubicBezTo>
                  <a:pt x="182" y="176"/>
                  <a:pt x="182" y="176"/>
                  <a:pt x="182" y="176"/>
                </a:cubicBezTo>
                <a:cubicBezTo>
                  <a:pt x="190" y="189"/>
                  <a:pt x="203" y="204"/>
                  <a:pt x="212" y="204"/>
                </a:cubicBezTo>
                <a:cubicBezTo>
                  <a:pt x="222" y="204"/>
                  <a:pt x="238" y="193"/>
                  <a:pt x="248" y="179"/>
                </a:cubicBezTo>
                <a:cubicBezTo>
                  <a:pt x="248" y="179"/>
                  <a:pt x="248" y="179"/>
                  <a:pt x="248" y="179"/>
                </a:cubicBezTo>
                <a:cubicBezTo>
                  <a:pt x="248" y="179"/>
                  <a:pt x="258" y="182"/>
                  <a:pt x="259" y="196"/>
                </a:cubicBezTo>
                <a:cubicBezTo>
                  <a:pt x="259" y="197"/>
                  <a:pt x="258" y="199"/>
                  <a:pt x="258" y="201"/>
                </a:cubicBezTo>
                <a:cubicBezTo>
                  <a:pt x="258" y="201"/>
                  <a:pt x="258" y="201"/>
                  <a:pt x="258" y="201"/>
                </a:cubicBezTo>
                <a:cubicBezTo>
                  <a:pt x="258" y="201"/>
                  <a:pt x="258" y="201"/>
                  <a:pt x="258" y="201"/>
                </a:cubicBezTo>
                <a:cubicBezTo>
                  <a:pt x="258" y="213"/>
                  <a:pt x="258" y="230"/>
                  <a:pt x="260" y="256"/>
                </a:cubicBezTo>
                <a:cubicBezTo>
                  <a:pt x="263" y="335"/>
                  <a:pt x="277" y="429"/>
                  <a:pt x="284" y="450"/>
                </a:cubicBezTo>
                <a:cubicBezTo>
                  <a:pt x="292" y="472"/>
                  <a:pt x="301" y="488"/>
                  <a:pt x="301" y="488"/>
                </a:cubicBezTo>
                <a:cubicBezTo>
                  <a:pt x="301" y="488"/>
                  <a:pt x="251" y="504"/>
                  <a:pt x="223" y="505"/>
                </a:cubicBezTo>
                <a:close/>
                <a:moveTo>
                  <a:pt x="360" y="585"/>
                </a:moveTo>
                <a:cubicBezTo>
                  <a:pt x="358" y="573"/>
                  <a:pt x="361" y="568"/>
                  <a:pt x="352" y="561"/>
                </a:cubicBezTo>
                <a:cubicBezTo>
                  <a:pt x="343" y="554"/>
                  <a:pt x="328" y="554"/>
                  <a:pt x="328" y="554"/>
                </a:cubicBezTo>
                <a:cubicBezTo>
                  <a:pt x="328" y="554"/>
                  <a:pt x="350" y="545"/>
                  <a:pt x="360" y="557"/>
                </a:cubicBezTo>
                <a:cubicBezTo>
                  <a:pt x="369" y="570"/>
                  <a:pt x="360" y="585"/>
                  <a:pt x="360" y="58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id-ID"/>
            </a:defPPr>
            <a:lvl1pPr marL="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3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cs typeface="+mn-ea"/>
              <a:sym typeface="+mn-lt"/>
            </a:endParaRPr>
          </a:p>
        </p:txBody>
      </p:sp>
      <p:sp>
        <p:nvSpPr>
          <p:cNvPr id="6" name="Freeform 53">
            <a:extLst>
              <a:ext uri="{FF2B5EF4-FFF2-40B4-BE49-F238E27FC236}">
                <a16:creationId xmlns:a16="http://schemas.microsoft.com/office/drawing/2014/main" id="{F573D665-1C0B-4CB1-971D-76E19EDF904F}"/>
              </a:ext>
            </a:extLst>
          </p:cNvPr>
          <p:cNvSpPr>
            <a:spLocks noEditPoints="1"/>
          </p:cNvSpPr>
          <p:nvPr/>
        </p:nvSpPr>
        <p:spPr bwMode="auto">
          <a:xfrm>
            <a:off x="6720943" y="4179490"/>
            <a:ext cx="624315" cy="2321210"/>
          </a:xfrm>
          <a:custGeom>
            <a:avLst/>
            <a:gdLst>
              <a:gd name="T0" fmla="*/ 221 w 224"/>
              <a:gd name="T1" fmla="*/ 237 h 906"/>
              <a:gd name="T2" fmla="*/ 178 w 224"/>
              <a:gd name="T3" fmla="*/ 151 h 906"/>
              <a:gd name="T4" fmla="*/ 161 w 224"/>
              <a:gd name="T5" fmla="*/ 98 h 906"/>
              <a:gd name="T6" fmla="*/ 148 w 224"/>
              <a:gd name="T7" fmla="*/ 36 h 906"/>
              <a:gd name="T8" fmla="*/ 107 w 224"/>
              <a:gd name="T9" fmla="*/ 0 h 906"/>
              <a:gd name="T10" fmla="*/ 63 w 224"/>
              <a:gd name="T11" fmla="*/ 101 h 906"/>
              <a:gd name="T12" fmla="*/ 48 w 224"/>
              <a:gd name="T13" fmla="*/ 145 h 906"/>
              <a:gd name="T14" fmla="*/ 7 w 224"/>
              <a:gd name="T15" fmla="*/ 204 h 906"/>
              <a:gd name="T16" fmla="*/ 2 w 224"/>
              <a:gd name="T17" fmla="*/ 302 h 906"/>
              <a:gd name="T18" fmla="*/ 28 w 224"/>
              <a:gd name="T19" fmla="*/ 360 h 906"/>
              <a:gd name="T20" fmla="*/ 31 w 224"/>
              <a:gd name="T21" fmla="*/ 411 h 906"/>
              <a:gd name="T22" fmla="*/ 35 w 224"/>
              <a:gd name="T23" fmla="*/ 565 h 906"/>
              <a:gd name="T24" fmla="*/ 54 w 224"/>
              <a:gd name="T25" fmla="*/ 607 h 906"/>
              <a:gd name="T26" fmla="*/ 81 w 224"/>
              <a:gd name="T27" fmla="*/ 790 h 906"/>
              <a:gd name="T28" fmla="*/ 89 w 224"/>
              <a:gd name="T29" fmla="*/ 869 h 906"/>
              <a:gd name="T30" fmla="*/ 112 w 224"/>
              <a:gd name="T31" fmla="*/ 906 h 906"/>
              <a:gd name="T32" fmla="*/ 122 w 224"/>
              <a:gd name="T33" fmla="*/ 847 h 906"/>
              <a:gd name="T34" fmla="*/ 157 w 224"/>
              <a:gd name="T35" fmla="*/ 853 h 906"/>
              <a:gd name="T36" fmla="*/ 124 w 224"/>
              <a:gd name="T37" fmla="*/ 764 h 906"/>
              <a:gd name="T38" fmla="*/ 156 w 224"/>
              <a:gd name="T39" fmla="*/ 611 h 906"/>
              <a:gd name="T40" fmla="*/ 166 w 224"/>
              <a:gd name="T41" fmla="*/ 582 h 906"/>
              <a:gd name="T42" fmla="*/ 190 w 224"/>
              <a:gd name="T43" fmla="*/ 474 h 906"/>
              <a:gd name="T44" fmla="*/ 206 w 224"/>
              <a:gd name="T45" fmla="*/ 414 h 906"/>
              <a:gd name="T46" fmla="*/ 192 w 224"/>
              <a:gd name="T47" fmla="*/ 313 h 906"/>
              <a:gd name="T48" fmla="*/ 73 w 224"/>
              <a:gd name="T49" fmla="*/ 279 h 906"/>
              <a:gd name="T50" fmla="*/ 63 w 224"/>
              <a:gd name="T51" fmla="*/ 289 h 906"/>
              <a:gd name="T52" fmla="*/ 73 w 224"/>
              <a:gd name="T53" fmla="*/ 269 h 906"/>
              <a:gd name="T54" fmla="*/ 110 w 224"/>
              <a:gd name="T55" fmla="*/ 621 h 906"/>
              <a:gd name="T56" fmla="*/ 107 w 224"/>
              <a:gd name="T57" fmla="*/ 646 h 906"/>
              <a:gd name="T58" fmla="*/ 104 w 224"/>
              <a:gd name="T59" fmla="*/ 612 h 906"/>
              <a:gd name="T60" fmla="*/ 110 w 224"/>
              <a:gd name="T61" fmla="*/ 580 h 906"/>
              <a:gd name="T62" fmla="*/ 116 w 224"/>
              <a:gd name="T63" fmla="*/ 225 h 906"/>
              <a:gd name="T64" fmla="*/ 91 w 224"/>
              <a:gd name="T65" fmla="*/ 130 h 906"/>
              <a:gd name="T66" fmla="*/ 115 w 224"/>
              <a:gd name="T67" fmla="*/ 200 h 906"/>
              <a:gd name="T68" fmla="*/ 128 w 224"/>
              <a:gd name="T69" fmla="*/ 156 h 906"/>
              <a:gd name="T70" fmla="*/ 143 w 224"/>
              <a:gd name="T71" fmla="*/ 147 h 906"/>
              <a:gd name="T72" fmla="*/ 116 w 224"/>
              <a:gd name="T73" fmla="*/ 225 h 906"/>
              <a:gd name="T74" fmla="*/ 138 w 224"/>
              <a:gd name="T75" fmla="*/ 333 h 906"/>
              <a:gd name="T76" fmla="*/ 149 w 224"/>
              <a:gd name="T77" fmla="*/ 315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906">
                <a:moveTo>
                  <a:pt x="215" y="296"/>
                </a:moveTo>
                <a:cubicBezTo>
                  <a:pt x="222" y="281"/>
                  <a:pt x="224" y="258"/>
                  <a:pt x="221" y="237"/>
                </a:cubicBezTo>
                <a:cubicBezTo>
                  <a:pt x="219" y="217"/>
                  <a:pt x="217" y="187"/>
                  <a:pt x="211" y="170"/>
                </a:cubicBezTo>
                <a:cubicBezTo>
                  <a:pt x="204" y="152"/>
                  <a:pt x="178" y="151"/>
                  <a:pt x="178" y="151"/>
                </a:cubicBezTo>
                <a:cubicBezTo>
                  <a:pt x="178" y="151"/>
                  <a:pt x="180" y="142"/>
                  <a:pt x="172" y="133"/>
                </a:cubicBezTo>
                <a:cubicBezTo>
                  <a:pt x="164" y="124"/>
                  <a:pt x="163" y="113"/>
                  <a:pt x="161" y="98"/>
                </a:cubicBezTo>
                <a:cubicBezTo>
                  <a:pt x="159" y="82"/>
                  <a:pt x="155" y="72"/>
                  <a:pt x="155" y="62"/>
                </a:cubicBezTo>
                <a:cubicBezTo>
                  <a:pt x="155" y="52"/>
                  <a:pt x="152" y="53"/>
                  <a:pt x="148" y="36"/>
                </a:cubicBezTo>
                <a:cubicBezTo>
                  <a:pt x="144" y="19"/>
                  <a:pt x="127" y="0"/>
                  <a:pt x="107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75" y="0"/>
                  <a:pt x="67" y="48"/>
                  <a:pt x="64" y="64"/>
                </a:cubicBezTo>
                <a:cubicBezTo>
                  <a:pt x="62" y="79"/>
                  <a:pt x="58" y="89"/>
                  <a:pt x="63" y="101"/>
                </a:cubicBezTo>
                <a:cubicBezTo>
                  <a:pt x="68" y="113"/>
                  <a:pt x="62" y="116"/>
                  <a:pt x="50" y="125"/>
                </a:cubicBezTo>
                <a:cubicBezTo>
                  <a:pt x="39" y="135"/>
                  <a:pt x="48" y="145"/>
                  <a:pt x="48" y="145"/>
                </a:cubicBezTo>
                <a:cubicBezTo>
                  <a:pt x="48" y="145"/>
                  <a:pt x="37" y="152"/>
                  <a:pt x="28" y="154"/>
                </a:cubicBezTo>
                <a:cubicBezTo>
                  <a:pt x="19" y="155"/>
                  <a:pt x="9" y="186"/>
                  <a:pt x="7" y="204"/>
                </a:cubicBezTo>
                <a:cubicBezTo>
                  <a:pt x="5" y="221"/>
                  <a:pt x="4" y="220"/>
                  <a:pt x="2" y="233"/>
                </a:cubicBezTo>
                <a:cubicBezTo>
                  <a:pt x="0" y="247"/>
                  <a:pt x="1" y="279"/>
                  <a:pt x="2" y="302"/>
                </a:cubicBezTo>
                <a:cubicBezTo>
                  <a:pt x="4" y="324"/>
                  <a:pt x="31" y="326"/>
                  <a:pt x="31" y="326"/>
                </a:cubicBezTo>
                <a:cubicBezTo>
                  <a:pt x="31" y="326"/>
                  <a:pt x="31" y="348"/>
                  <a:pt x="28" y="360"/>
                </a:cubicBezTo>
                <a:cubicBezTo>
                  <a:pt x="24" y="373"/>
                  <a:pt x="7" y="405"/>
                  <a:pt x="12" y="407"/>
                </a:cubicBezTo>
                <a:cubicBezTo>
                  <a:pt x="16" y="409"/>
                  <a:pt x="31" y="411"/>
                  <a:pt x="31" y="411"/>
                </a:cubicBezTo>
                <a:cubicBezTo>
                  <a:pt x="31" y="411"/>
                  <a:pt x="28" y="447"/>
                  <a:pt x="30" y="465"/>
                </a:cubicBezTo>
                <a:cubicBezTo>
                  <a:pt x="31" y="483"/>
                  <a:pt x="35" y="544"/>
                  <a:pt x="35" y="565"/>
                </a:cubicBezTo>
                <a:cubicBezTo>
                  <a:pt x="35" y="586"/>
                  <a:pt x="50" y="579"/>
                  <a:pt x="50" y="579"/>
                </a:cubicBezTo>
                <a:cubicBezTo>
                  <a:pt x="50" y="579"/>
                  <a:pt x="52" y="592"/>
                  <a:pt x="54" y="607"/>
                </a:cubicBezTo>
                <a:cubicBezTo>
                  <a:pt x="56" y="622"/>
                  <a:pt x="54" y="641"/>
                  <a:pt x="52" y="663"/>
                </a:cubicBezTo>
                <a:cubicBezTo>
                  <a:pt x="51" y="685"/>
                  <a:pt x="75" y="770"/>
                  <a:pt x="81" y="790"/>
                </a:cubicBezTo>
                <a:cubicBezTo>
                  <a:pt x="88" y="809"/>
                  <a:pt x="92" y="819"/>
                  <a:pt x="88" y="831"/>
                </a:cubicBezTo>
                <a:cubicBezTo>
                  <a:pt x="85" y="844"/>
                  <a:pt x="90" y="848"/>
                  <a:pt x="89" y="869"/>
                </a:cubicBezTo>
                <a:cubicBezTo>
                  <a:pt x="89" y="888"/>
                  <a:pt x="96" y="902"/>
                  <a:pt x="107" y="905"/>
                </a:cubicBezTo>
                <a:cubicBezTo>
                  <a:pt x="109" y="906"/>
                  <a:pt x="111" y="906"/>
                  <a:pt x="112" y="906"/>
                </a:cubicBezTo>
                <a:cubicBezTo>
                  <a:pt x="126" y="906"/>
                  <a:pt x="129" y="872"/>
                  <a:pt x="126" y="865"/>
                </a:cubicBezTo>
                <a:cubicBezTo>
                  <a:pt x="123" y="857"/>
                  <a:pt x="122" y="847"/>
                  <a:pt x="122" y="847"/>
                </a:cubicBezTo>
                <a:cubicBezTo>
                  <a:pt x="122" y="847"/>
                  <a:pt x="127" y="853"/>
                  <a:pt x="134" y="855"/>
                </a:cubicBezTo>
                <a:cubicBezTo>
                  <a:pt x="140" y="857"/>
                  <a:pt x="150" y="857"/>
                  <a:pt x="157" y="853"/>
                </a:cubicBezTo>
                <a:cubicBezTo>
                  <a:pt x="164" y="848"/>
                  <a:pt x="151" y="828"/>
                  <a:pt x="141" y="818"/>
                </a:cubicBezTo>
                <a:cubicBezTo>
                  <a:pt x="132" y="808"/>
                  <a:pt x="124" y="784"/>
                  <a:pt x="124" y="764"/>
                </a:cubicBezTo>
                <a:cubicBezTo>
                  <a:pt x="124" y="745"/>
                  <a:pt x="141" y="698"/>
                  <a:pt x="149" y="670"/>
                </a:cubicBezTo>
                <a:cubicBezTo>
                  <a:pt x="158" y="643"/>
                  <a:pt x="153" y="617"/>
                  <a:pt x="156" y="611"/>
                </a:cubicBezTo>
                <a:cubicBezTo>
                  <a:pt x="158" y="605"/>
                  <a:pt x="158" y="582"/>
                  <a:pt x="158" y="582"/>
                </a:cubicBezTo>
                <a:cubicBezTo>
                  <a:pt x="158" y="582"/>
                  <a:pt x="160" y="582"/>
                  <a:pt x="166" y="582"/>
                </a:cubicBezTo>
                <a:cubicBezTo>
                  <a:pt x="172" y="582"/>
                  <a:pt x="172" y="585"/>
                  <a:pt x="172" y="570"/>
                </a:cubicBezTo>
                <a:cubicBezTo>
                  <a:pt x="172" y="555"/>
                  <a:pt x="184" y="497"/>
                  <a:pt x="190" y="474"/>
                </a:cubicBezTo>
                <a:cubicBezTo>
                  <a:pt x="195" y="452"/>
                  <a:pt x="195" y="416"/>
                  <a:pt x="195" y="416"/>
                </a:cubicBezTo>
                <a:cubicBezTo>
                  <a:pt x="195" y="416"/>
                  <a:pt x="199" y="416"/>
                  <a:pt x="206" y="414"/>
                </a:cubicBezTo>
                <a:cubicBezTo>
                  <a:pt x="214" y="413"/>
                  <a:pt x="208" y="399"/>
                  <a:pt x="199" y="371"/>
                </a:cubicBezTo>
                <a:cubicBezTo>
                  <a:pt x="189" y="344"/>
                  <a:pt x="192" y="313"/>
                  <a:pt x="192" y="313"/>
                </a:cubicBezTo>
                <a:cubicBezTo>
                  <a:pt x="192" y="313"/>
                  <a:pt x="208" y="311"/>
                  <a:pt x="215" y="296"/>
                </a:cubicBezTo>
                <a:close/>
                <a:moveTo>
                  <a:pt x="73" y="279"/>
                </a:moveTo>
                <a:cubicBezTo>
                  <a:pt x="73" y="286"/>
                  <a:pt x="71" y="292"/>
                  <a:pt x="71" y="292"/>
                </a:cubicBezTo>
                <a:cubicBezTo>
                  <a:pt x="71" y="292"/>
                  <a:pt x="67" y="292"/>
                  <a:pt x="63" y="289"/>
                </a:cubicBezTo>
                <a:cubicBezTo>
                  <a:pt x="65" y="285"/>
                  <a:pt x="65" y="271"/>
                  <a:pt x="65" y="271"/>
                </a:cubicBezTo>
                <a:cubicBezTo>
                  <a:pt x="73" y="269"/>
                  <a:pt x="73" y="269"/>
                  <a:pt x="73" y="269"/>
                </a:cubicBezTo>
                <a:cubicBezTo>
                  <a:pt x="73" y="269"/>
                  <a:pt x="73" y="272"/>
                  <a:pt x="73" y="279"/>
                </a:cubicBezTo>
                <a:close/>
                <a:moveTo>
                  <a:pt x="110" y="621"/>
                </a:moveTo>
                <a:cubicBezTo>
                  <a:pt x="109" y="625"/>
                  <a:pt x="108" y="631"/>
                  <a:pt x="107" y="637"/>
                </a:cubicBezTo>
                <a:cubicBezTo>
                  <a:pt x="107" y="642"/>
                  <a:pt x="107" y="646"/>
                  <a:pt x="107" y="646"/>
                </a:cubicBezTo>
                <a:cubicBezTo>
                  <a:pt x="107" y="646"/>
                  <a:pt x="106" y="638"/>
                  <a:pt x="106" y="632"/>
                </a:cubicBezTo>
                <a:cubicBezTo>
                  <a:pt x="106" y="626"/>
                  <a:pt x="102" y="620"/>
                  <a:pt x="104" y="612"/>
                </a:cubicBezTo>
                <a:cubicBezTo>
                  <a:pt x="105" y="608"/>
                  <a:pt x="106" y="602"/>
                  <a:pt x="107" y="596"/>
                </a:cubicBezTo>
                <a:cubicBezTo>
                  <a:pt x="109" y="588"/>
                  <a:pt x="110" y="580"/>
                  <a:pt x="110" y="580"/>
                </a:cubicBezTo>
                <a:cubicBezTo>
                  <a:pt x="110" y="601"/>
                  <a:pt x="112" y="615"/>
                  <a:pt x="110" y="621"/>
                </a:cubicBezTo>
                <a:close/>
                <a:moveTo>
                  <a:pt x="116" y="225"/>
                </a:moveTo>
                <a:cubicBezTo>
                  <a:pt x="115" y="231"/>
                  <a:pt x="108" y="214"/>
                  <a:pt x="103" y="195"/>
                </a:cubicBezTo>
                <a:cubicBezTo>
                  <a:pt x="99" y="176"/>
                  <a:pt x="91" y="148"/>
                  <a:pt x="91" y="130"/>
                </a:cubicBezTo>
                <a:cubicBezTo>
                  <a:pt x="91" y="130"/>
                  <a:pt x="105" y="142"/>
                  <a:pt x="105" y="151"/>
                </a:cubicBezTo>
                <a:cubicBezTo>
                  <a:pt x="105" y="161"/>
                  <a:pt x="112" y="191"/>
                  <a:pt x="115" y="200"/>
                </a:cubicBezTo>
                <a:cubicBezTo>
                  <a:pt x="117" y="209"/>
                  <a:pt x="119" y="189"/>
                  <a:pt x="124" y="180"/>
                </a:cubicBezTo>
                <a:cubicBezTo>
                  <a:pt x="129" y="171"/>
                  <a:pt x="131" y="163"/>
                  <a:pt x="128" y="156"/>
                </a:cubicBezTo>
                <a:cubicBezTo>
                  <a:pt x="125" y="149"/>
                  <a:pt x="136" y="146"/>
                  <a:pt x="143" y="128"/>
                </a:cubicBezTo>
                <a:cubicBezTo>
                  <a:pt x="144" y="135"/>
                  <a:pt x="144" y="140"/>
                  <a:pt x="143" y="147"/>
                </a:cubicBezTo>
                <a:cubicBezTo>
                  <a:pt x="143" y="153"/>
                  <a:pt x="132" y="186"/>
                  <a:pt x="129" y="192"/>
                </a:cubicBezTo>
                <a:cubicBezTo>
                  <a:pt x="125" y="199"/>
                  <a:pt x="117" y="219"/>
                  <a:pt x="116" y="225"/>
                </a:cubicBezTo>
                <a:close/>
                <a:moveTo>
                  <a:pt x="149" y="333"/>
                </a:moveTo>
                <a:cubicBezTo>
                  <a:pt x="149" y="333"/>
                  <a:pt x="138" y="338"/>
                  <a:pt x="138" y="333"/>
                </a:cubicBezTo>
                <a:cubicBezTo>
                  <a:pt x="139" y="329"/>
                  <a:pt x="141" y="315"/>
                  <a:pt x="141" y="315"/>
                </a:cubicBezTo>
                <a:cubicBezTo>
                  <a:pt x="149" y="315"/>
                  <a:pt x="149" y="315"/>
                  <a:pt x="149" y="315"/>
                </a:cubicBezTo>
                <a:lnTo>
                  <a:pt x="149" y="33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id-ID"/>
            </a:defPPr>
            <a:lvl1pPr marL="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3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cs typeface="+mn-ea"/>
              <a:sym typeface="+mn-lt"/>
            </a:endParaRPr>
          </a:p>
        </p:txBody>
      </p:sp>
      <p:sp>
        <p:nvSpPr>
          <p:cNvPr id="7" name="Freeform 54">
            <a:extLst>
              <a:ext uri="{FF2B5EF4-FFF2-40B4-BE49-F238E27FC236}">
                <a16:creationId xmlns:a16="http://schemas.microsoft.com/office/drawing/2014/main" id="{F5EA7000-70A9-4EDC-81B8-8B1CEDC8F0BA}"/>
              </a:ext>
            </a:extLst>
          </p:cNvPr>
          <p:cNvSpPr>
            <a:spLocks noEditPoints="1"/>
          </p:cNvSpPr>
          <p:nvPr/>
        </p:nvSpPr>
        <p:spPr bwMode="auto">
          <a:xfrm>
            <a:off x="5612479" y="4220453"/>
            <a:ext cx="1030817" cy="2435524"/>
          </a:xfrm>
          <a:custGeom>
            <a:avLst/>
            <a:gdLst>
              <a:gd name="T0" fmla="*/ 625 w 693"/>
              <a:gd name="T1" fmla="*/ 1522 h 1641"/>
              <a:gd name="T2" fmla="*/ 520 w 693"/>
              <a:gd name="T3" fmla="*/ 985 h 1641"/>
              <a:gd name="T4" fmla="*/ 498 w 693"/>
              <a:gd name="T5" fmla="*/ 789 h 1641"/>
              <a:gd name="T6" fmla="*/ 532 w 693"/>
              <a:gd name="T7" fmla="*/ 760 h 1641"/>
              <a:gd name="T8" fmla="*/ 571 w 693"/>
              <a:gd name="T9" fmla="*/ 506 h 1641"/>
              <a:gd name="T10" fmla="*/ 505 w 693"/>
              <a:gd name="T11" fmla="*/ 282 h 1641"/>
              <a:gd name="T12" fmla="*/ 394 w 693"/>
              <a:gd name="T13" fmla="*/ 243 h 1641"/>
              <a:gd name="T14" fmla="*/ 344 w 693"/>
              <a:gd name="T15" fmla="*/ 214 h 1641"/>
              <a:gd name="T16" fmla="*/ 341 w 693"/>
              <a:gd name="T17" fmla="*/ 204 h 1641"/>
              <a:gd name="T18" fmla="*/ 354 w 693"/>
              <a:gd name="T19" fmla="*/ 65 h 1641"/>
              <a:gd name="T20" fmla="*/ 313 w 693"/>
              <a:gd name="T21" fmla="*/ 0 h 1641"/>
              <a:gd name="T22" fmla="*/ 228 w 693"/>
              <a:gd name="T23" fmla="*/ 24 h 1641"/>
              <a:gd name="T24" fmla="*/ 214 w 693"/>
              <a:gd name="T25" fmla="*/ 121 h 1641"/>
              <a:gd name="T26" fmla="*/ 240 w 693"/>
              <a:gd name="T27" fmla="*/ 200 h 1641"/>
              <a:gd name="T28" fmla="*/ 240 w 693"/>
              <a:gd name="T29" fmla="*/ 215 h 1641"/>
              <a:gd name="T30" fmla="*/ 147 w 693"/>
              <a:gd name="T31" fmla="*/ 272 h 1641"/>
              <a:gd name="T32" fmla="*/ 22 w 693"/>
              <a:gd name="T33" fmla="*/ 531 h 1641"/>
              <a:gd name="T34" fmla="*/ 113 w 693"/>
              <a:gd name="T35" fmla="*/ 777 h 1641"/>
              <a:gd name="T36" fmla="*/ 143 w 693"/>
              <a:gd name="T37" fmla="*/ 802 h 1641"/>
              <a:gd name="T38" fmla="*/ 220 w 693"/>
              <a:gd name="T39" fmla="*/ 1183 h 1641"/>
              <a:gd name="T40" fmla="*/ 267 w 693"/>
              <a:gd name="T41" fmla="*/ 1470 h 1641"/>
              <a:gd name="T42" fmla="*/ 231 w 693"/>
              <a:gd name="T43" fmla="*/ 1602 h 1641"/>
              <a:gd name="T44" fmla="*/ 343 w 693"/>
              <a:gd name="T45" fmla="*/ 1595 h 1641"/>
              <a:gd name="T46" fmla="*/ 351 w 693"/>
              <a:gd name="T47" fmla="*/ 1504 h 1641"/>
              <a:gd name="T48" fmla="*/ 342 w 693"/>
              <a:gd name="T49" fmla="*/ 1327 h 1641"/>
              <a:gd name="T50" fmla="*/ 334 w 693"/>
              <a:gd name="T51" fmla="*/ 1168 h 1641"/>
              <a:gd name="T52" fmla="*/ 372 w 693"/>
              <a:gd name="T53" fmla="*/ 991 h 1641"/>
              <a:gd name="T54" fmla="*/ 495 w 693"/>
              <a:gd name="T55" fmla="*/ 1455 h 1641"/>
              <a:gd name="T56" fmla="*/ 553 w 693"/>
              <a:gd name="T57" fmla="*/ 1595 h 1641"/>
              <a:gd name="T58" fmla="*/ 693 w 693"/>
              <a:gd name="T59" fmla="*/ 1628 h 1641"/>
              <a:gd name="T60" fmla="*/ 115 w 693"/>
              <a:gd name="T61" fmla="*/ 608 h 1641"/>
              <a:gd name="T62" fmla="*/ 125 w 693"/>
              <a:gd name="T63" fmla="*/ 524 h 1641"/>
              <a:gd name="T64" fmla="*/ 395 w 693"/>
              <a:gd name="T65" fmla="*/ 690 h 1641"/>
              <a:gd name="T66" fmla="*/ 314 w 693"/>
              <a:gd name="T67" fmla="*/ 307 h 1641"/>
              <a:gd name="T68" fmla="*/ 280 w 693"/>
              <a:gd name="T69" fmla="*/ 291 h 1641"/>
              <a:gd name="T70" fmla="*/ 295 w 693"/>
              <a:gd name="T71" fmla="*/ 485 h 1641"/>
              <a:gd name="T72" fmla="*/ 274 w 693"/>
              <a:gd name="T73" fmla="*/ 687 h 1641"/>
              <a:gd name="T74" fmla="*/ 235 w 693"/>
              <a:gd name="T75" fmla="*/ 542 h 1641"/>
              <a:gd name="T76" fmla="*/ 248 w 693"/>
              <a:gd name="T77" fmla="*/ 225 h 1641"/>
              <a:gd name="T78" fmla="*/ 334 w 693"/>
              <a:gd name="T79" fmla="*/ 227 h 1641"/>
              <a:gd name="T80" fmla="*/ 381 w 693"/>
              <a:gd name="T81" fmla="*/ 413 h 1641"/>
              <a:gd name="T82" fmla="*/ 411 w 693"/>
              <a:gd name="T83" fmla="*/ 689 h 1641"/>
              <a:gd name="T84" fmla="*/ 473 w 693"/>
              <a:gd name="T85" fmla="*/ 485 h 1641"/>
              <a:gd name="T86" fmla="*/ 501 w 693"/>
              <a:gd name="T87" fmla="*/ 576 h 1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93" h="1641">
                <a:moveTo>
                  <a:pt x="669" y="1590"/>
                </a:moveTo>
                <a:cubicBezTo>
                  <a:pt x="650" y="1579"/>
                  <a:pt x="636" y="1550"/>
                  <a:pt x="629" y="1542"/>
                </a:cubicBezTo>
                <a:cubicBezTo>
                  <a:pt x="622" y="1535"/>
                  <a:pt x="631" y="1537"/>
                  <a:pt x="625" y="1522"/>
                </a:cubicBezTo>
                <a:cubicBezTo>
                  <a:pt x="619" y="1507"/>
                  <a:pt x="600" y="1419"/>
                  <a:pt x="597" y="1391"/>
                </a:cubicBezTo>
                <a:cubicBezTo>
                  <a:pt x="593" y="1362"/>
                  <a:pt x="595" y="1265"/>
                  <a:pt x="582" y="1219"/>
                </a:cubicBezTo>
                <a:cubicBezTo>
                  <a:pt x="568" y="1173"/>
                  <a:pt x="526" y="1025"/>
                  <a:pt x="520" y="985"/>
                </a:cubicBezTo>
                <a:cubicBezTo>
                  <a:pt x="514" y="944"/>
                  <a:pt x="505" y="903"/>
                  <a:pt x="505" y="881"/>
                </a:cubicBezTo>
                <a:cubicBezTo>
                  <a:pt x="505" y="858"/>
                  <a:pt x="503" y="843"/>
                  <a:pt x="496" y="827"/>
                </a:cubicBezTo>
                <a:cubicBezTo>
                  <a:pt x="490" y="811"/>
                  <a:pt x="498" y="789"/>
                  <a:pt x="498" y="789"/>
                </a:cubicBezTo>
                <a:cubicBezTo>
                  <a:pt x="498" y="789"/>
                  <a:pt x="514" y="801"/>
                  <a:pt x="524" y="810"/>
                </a:cubicBezTo>
                <a:cubicBezTo>
                  <a:pt x="534" y="819"/>
                  <a:pt x="534" y="805"/>
                  <a:pt x="529" y="785"/>
                </a:cubicBezTo>
                <a:cubicBezTo>
                  <a:pt x="524" y="765"/>
                  <a:pt x="527" y="754"/>
                  <a:pt x="532" y="760"/>
                </a:cubicBezTo>
                <a:cubicBezTo>
                  <a:pt x="537" y="767"/>
                  <a:pt x="541" y="728"/>
                  <a:pt x="553" y="705"/>
                </a:cubicBezTo>
                <a:cubicBezTo>
                  <a:pt x="566" y="681"/>
                  <a:pt x="593" y="633"/>
                  <a:pt x="587" y="606"/>
                </a:cubicBezTo>
                <a:cubicBezTo>
                  <a:pt x="581" y="578"/>
                  <a:pt x="578" y="530"/>
                  <a:pt x="571" y="506"/>
                </a:cubicBezTo>
                <a:cubicBezTo>
                  <a:pt x="563" y="483"/>
                  <a:pt x="556" y="441"/>
                  <a:pt x="547" y="415"/>
                </a:cubicBezTo>
                <a:cubicBezTo>
                  <a:pt x="538" y="389"/>
                  <a:pt x="540" y="376"/>
                  <a:pt x="529" y="350"/>
                </a:cubicBezTo>
                <a:cubicBezTo>
                  <a:pt x="517" y="324"/>
                  <a:pt x="505" y="295"/>
                  <a:pt x="505" y="282"/>
                </a:cubicBezTo>
                <a:cubicBezTo>
                  <a:pt x="505" y="275"/>
                  <a:pt x="502" y="269"/>
                  <a:pt x="491" y="265"/>
                </a:cubicBezTo>
                <a:cubicBezTo>
                  <a:pt x="483" y="261"/>
                  <a:pt x="469" y="258"/>
                  <a:pt x="449" y="255"/>
                </a:cubicBezTo>
                <a:cubicBezTo>
                  <a:pt x="428" y="252"/>
                  <a:pt x="409" y="248"/>
                  <a:pt x="394" y="243"/>
                </a:cubicBezTo>
                <a:cubicBezTo>
                  <a:pt x="393" y="243"/>
                  <a:pt x="392" y="242"/>
                  <a:pt x="391" y="242"/>
                </a:cubicBezTo>
                <a:cubicBezTo>
                  <a:pt x="391" y="242"/>
                  <a:pt x="390" y="242"/>
                  <a:pt x="390" y="242"/>
                </a:cubicBezTo>
                <a:cubicBezTo>
                  <a:pt x="370" y="235"/>
                  <a:pt x="344" y="214"/>
                  <a:pt x="344" y="214"/>
                </a:cubicBezTo>
                <a:cubicBezTo>
                  <a:pt x="336" y="225"/>
                  <a:pt x="336" y="225"/>
                  <a:pt x="336" y="225"/>
                </a:cubicBezTo>
                <a:cubicBezTo>
                  <a:pt x="339" y="221"/>
                  <a:pt x="341" y="218"/>
                  <a:pt x="344" y="214"/>
                </a:cubicBezTo>
                <a:cubicBezTo>
                  <a:pt x="341" y="211"/>
                  <a:pt x="336" y="204"/>
                  <a:pt x="341" y="204"/>
                </a:cubicBezTo>
                <a:cubicBezTo>
                  <a:pt x="352" y="203"/>
                  <a:pt x="354" y="159"/>
                  <a:pt x="360" y="146"/>
                </a:cubicBezTo>
                <a:cubicBezTo>
                  <a:pt x="366" y="133"/>
                  <a:pt x="364" y="124"/>
                  <a:pt x="360" y="112"/>
                </a:cubicBezTo>
                <a:cubicBezTo>
                  <a:pt x="356" y="101"/>
                  <a:pt x="364" y="84"/>
                  <a:pt x="354" y="65"/>
                </a:cubicBezTo>
                <a:cubicBezTo>
                  <a:pt x="344" y="47"/>
                  <a:pt x="358" y="24"/>
                  <a:pt x="344" y="22"/>
                </a:cubicBezTo>
                <a:cubicBezTo>
                  <a:pt x="330" y="20"/>
                  <a:pt x="335" y="3"/>
                  <a:pt x="322" y="3"/>
                </a:cubicBezTo>
                <a:cubicBezTo>
                  <a:pt x="318" y="3"/>
                  <a:pt x="315" y="2"/>
                  <a:pt x="313" y="0"/>
                </a:cubicBezTo>
                <a:cubicBezTo>
                  <a:pt x="302" y="21"/>
                  <a:pt x="285" y="14"/>
                  <a:pt x="285" y="14"/>
                </a:cubicBezTo>
                <a:cubicBezTo>
                  <a:pt x="259" y="8"/>
                  <a:pt x="242" y="14"/>
                  <a:pt x="230" y="23"/>
                </a:cubicBezTo>
                <a:cubicBezTo>
                  <a:pt x="230" y="23"/>
                  <a:pt x="229" y="24"/>
                  <a:pt x="228" y="24"/>
                </a:cubicBezTo>
                <a:cubicBezTo>
                  <a:pt x="213" y="38"/>
                  <a:pt x="208" y="57"/>
                  <a:pt x="208" y="58"/>
                </a:cubicBezTo>
                <a:cubicBezTo>
                  <a:pt x="207" y="65"/>
                  <a:pt x="206" y="72"/>
                  <a:pt x="206" y="77"/>
                </a:cubicBezTo>
                <a:cubicBezTo>
                  <a:pt x="208" y="95"/>
                  <a:pt x="213" y="113"/>
                  <a:pt x="214" y="121"/>
                </a:cubicBezTo>
                <a:cubicBezTo>
                  <a:pt x="215" y="128"/>
                  <a:pt x="219" y="158"/>
                  <a:pt x="225" y="158"/>
                </a:cubicBezTo>
                <a:cubicBezTo>
                  <a:pt x="231" y="158"/>
                  <a:pt x="233" y="159"/>
                  <a:pt x="233" y="159"/>
                </a:cubicBezTo>
                <a:cubicBezTo>
                  <a:pt x="233" y="159"/>
                  <a:pt x="240" y="182"/>
                  <a:pt x="240" y="200"/>
                </a:cubicBezTo>
                <a:cubicBezTo>
                  <a:pt x="240" y="208"/>
                  <a:pt x="240" y="212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24" y="238"/>
                  <a:pt x="206" y="246"/>
                </a:cubicBezTo>
                <a:cubicBezTo>
                  <a:pt x="188" y="255"/>
                  <a:pt x="162" y="268"/>
                  <a:pt x="147" y="272"/>
                </a:cubicBezTo>
                <a:cubicBezTo>
                  <a:pt x="136" y="275"/>
                  <a:pt x="124" y="279"/>
                  <a:pt x="115" y="285"/>
                </a:cubicBezTo>
                <a:cubicBezTo>
                  <a:pt x="103" y="293"/>
                  <a:pt x="93" y="305"/>
                  <a:pt x="89" y="326"/>
                </a:cubicBezTo>
                <a:cubicBezTo>
                  <a:pt x="82" y="365"/>
                  <a:pt x="42" y="495"/>
                  <a:pt x="22" y="531"/>
                </a:cubicBezTo>
                <a:cubicBezTo>
                  <a:pt x="3" y="567"/>
                  <a:pt x="0" y="616"/>
                  <a:pt x="20" y="646"/>
                </a:cubicBezTo>
                <a:cubicBezTo>
                  <a:pt x="39" y="676"/>
                  <a:pt x="86" y="750"/>
                  <a:pt x="93" y="760"/>
                </a:cubicBezTo>
                <a:cubicBezTo>
                  <a:pt x="100" y="770"/>
                  <a:pt x="102" y="778"/>
                  <a:pt x="113" y="777"/>
                </a:cubicBezTo>
                <a:cubicBezTo>
                  <a:pt x="113" y="777"/>
                  <a:pt x="114" y="776"/>
                  <a:pt x="115" y="776"/>
                </a:cubicBezTo>
                <a:cubicBezTo>
                  <a:pt x="124" y="776"/>
                  <a:pt x="130" y="777"/>
                  <a:pt x="130" y="777"/>
                </a:cubicBezTo>
                <a:cubicBezTo>
                  <a:pt x="130" y="777"/>
                  <a:pt x="135" y="796"/>
                  <a:pt x="143" y="802"/>
                </a:cubicBezTo>
                <a:cubicBezTo>
                  <a:pt x="151" y="808"/>
                  <a:pt x="161" y="828"/>
                  <a:pt x="163" y="821"/>
                </a:cubicBezTo>
                <a:cubicBezTo>
                  <a:pt x="166" y="814"/>
                  <a:pt x="173" y="872"/>
                  <a:pt x="180" y="903"/>
                </a:cubicBezTo>
                <a:cubicBezTo>
                  <a:pt x="187" y="934"/>
                  <a:pt x="220" y="1152"/>
                  <a:pt x="220" y="1183"/>
                </a:cubicBezTo>
                <a:cubicBezTo>
                  <a:pt x="220" y="1214"/>
                  <a:pt x="232" y="1246"/>
                  <a:pt x="231" y="1268"/>
                </a:cubicBezTo>
                <a:cubicBezTo>
                  <a:pt x="230" y="1291"/>
                  <a:pt x="235" y="1349"/>
                  <a:pt x="236" y="1381"/>
                </a:cubicBezTo>
                <a:cubicBezTo>
                  <a:pt x="237" y="1413"/>
                  <a:pt x="267" y="1447"/>
                  <a:pt x="267" y="1470"/>
                </a:cubicBezTo>
                <a:cubicBezTo>
                  <a:pt x="267" y="1494"/>
                  <a:pt x="260" y="1505"/>
                  <a:pt x="263" y="1519"/>
                </a:cubicBezTo>
                <a:cubicBezTo>
                  <a:pt x="267" y="1532"/>
                  <a:pt x="266" y="1542"/>
                  <a:pt x="251" y="1558"/>
                </a:cubicBezTo>
                <a:cubicBezTo>
                  <a:pt x="236" y="1574"/>
                  <a:pt x="230" y="1589"/>
                  <a:pt x="231" y="1602"/>
                </a:cubicBezTo>
                <a:cubicBezTo>
                  <a:pt x="232" y="1614"/>
                  <a:pt x="236" y="1619"/>
                  <a:pt x="266" y="1620"/>
                </a:cubicBezTo>
                <a:cubicBezTo>
                  <a:pt x="296" y="1621"/>
                  <a:pt x="324" y="1613"/>
                  <a:pt x="324" y="1605"/>
                </a:cubicBezTo>
                <a:cubicBezTo>
                  <a:pt x="324" y="1598"/>
                  <a:pt x="334" y="1595"/>
                  <a:pt x="343" y="1595"/>
                </a:cubicBezTo>
                <a:cubicBezTo>
                  <a:pt x="351" y="1595"/>
                  <a:pt x="350" y="1587"/>
                  <a:pt x="346" y="1569"/>
                </a:cubicBezTo>
                <a:cubicBezTo>
                  <a:pt x="343" y="1552"/>
                  <a:pt x="330" y="1528"/>
                  <a:pt x="338" y="1531"/>
                </a:cubicBezTo>
                <a:cubicBezTo>
                  <a:pt x="345" y="1533"/>
                  <a:pt x="351" y="1528"/>
                  <a:pt x="351" y="1504"/>
                </a:cubicBezTo>
                <a:cubicBezTo>
                  <a:pt x="351" y="1479"/>
                  <a:pt x="355" y="1471"/>
                  <a:pt x="344" y="1457"/>
                </a:cubicBezTo>
                <a:cubicBezTo>
                  <a:pt x="333" y="1442"/>
                  <a:pt x="335" y="1415"/>
                  <a:pt x="338" y="1392"/>
                </a:cubicBezTo>
                <a:cubicBezTo>
                  <a:pt x="340" y="1370"/>
                  <a:pt x="348" y="1354"/>
                  <a:pt x="342" y="1327"/>
                </a:cubicBezTo>
                <a:cubicBezTo>
                  <a:pt x="335" y="1299"/>
                  <a:pt x="334" y="1266"/>
                  <a:pt x="338" y="1252"/>
                </a:cubicBezTo>
                <a:cubicBezTo>
                  <a:pt x="342" y="1239"/>
                  <a:pt x="339" y="1222"/>
                  <a:pt x="329" y="1211"/>
                </a:cubicBezTo>
                <a:cubicBezTo>
                  <a:pt x="319" y="1200"/>
                  <a:pt x="334" y="1180"/>
                  <a:pt x="334" y="1168"/>
                </a:cubicBezTo>
                <a:cubicBezTo>
                  <a:pt x="334" y="1156"/>
                  <a:pt x="330" y="1104"/>
                  <a:pt x="337" y="1052"/>
                </a:cubicBezTo>
                <a:cubicBezTo>
                  <a:pt x="343" y="999"/>
                  <a:pt x="344" y="960"/>
                  <a:pt x="345" y="946"/>
                </a:cubicBezTo>
                <a:cubicBezTo>
                  <a:pt x="346" y="933"/>
                  <a:pt x="354" y="939"/>
                  <a:pt x="372" y="991"/>
                </a:cubicBezTo>
                <a:cubicBezTo>
                  <a:pt x="391" y="1043"/>
                  <a:pt x="438" y="1205"/>
                  <a:pt x="447" y="1241"/>
                </a:cubicBezTo>
                <a:cubicBezTo>
                  <a:pt x="454" y="1272"/>
                  <a:pt x="480" y="1385"/>
                  <a:pt x="491" y="1436"/>
                </a:cubicBezTo>
                <a:cubicBezTo>
                  <a:pt x="493" y="1444"/>
                  <a:pt x="494" y="1451"/>
                  <a:pt x="495" y="1455"/>
                </a:cubicBezTo>
                <a:cubicBezTo>
                  <a:pt x="501" y="1486"/>
                  <a:pt x="509" y="1548"/>
                  <a:pt x="517" y="1548"/>
                </a:cubicBezTo>
                <a:cubicBezTo>
                  <a:pt x="526" y="1548"/>
                  <a:pt x="524" y="1554"/>
                  <a:pt x="525" y="1572"/>
                </a:cubicBezTo>
                <a:cubicBezTo>
                  <a:pt x="526" y="1589"/>
                  <a:pt x="543" y="1592"/>
                  <a:pt x="553" y="1595"/>
                </a:cubicBezTo>
                <a:cubicBezTo>
                  <a:pt x="563" y="1599"/>
                  <a:pt x="566" y="1589"/>
                  <a:pt x="566" y="1589"/>
                </a:cubicBezTo>
                <a:cubicBezTo>
                  <a:pt x="566" y="1589"/>
                  <a:pt x="582" y="1623"/>
                  <a:pt x="610" y="1626"/>
                </a:cubicBezTo>
                <a:cubicBezTo>
                  <a:pt x="639" y="1630"/>
                  <a:pt x="693" y="1641"/>
                  <a:pt x="693" y="1628"/>
                </a:cubicBezTo>
                <a:cubicBezTo>
                  <a:pt x="693" y="1614"/>
                  <a:pt x="687" y="1602"/>
                  <a:pt x="669" y="1590"/>
                </a:cubicBezTo>
                <a:close/>
                <a:moveTo>
                  <a:pt x="128" y="644"/>
                </a:moveTo>
                <a:cubicBezTo>
                  <a:pt x="128" y="632"/>
                  <a:pt x="122" y="619"/>
                  <a:pt x="115" y="608"/>
                </a:cubicBezTo>
                <a:cubicBezTo>
                  <a:pt x="105" y="594"/>
                  <a:pt x="95" y="582"/>
                  <a:pt x="99" y="575"/>
                </a:cubicBezTo>
                <a:cubicBezTo>
                  <a:pt x="105" y="563"/>
                  <a:pt x="110" y="563"/>
                  <a:pt x="115" y="554"/>
                </a:cubicBezTo>
                <a:cubicBezTo>
                  <a:pt x="118" y="549"/>
                  <a:pt x="121" y="541"/>
                  <a:pt x="125" y="524"/>
                </a:cubicBezTo>
                <a:cubicBezTo>
                  <a:pt x="124" y="559"/>
                  <a:pt x="136" y="611"/>
                  <a:pt x="128" y="644"/>
                </a:cubicBezTo>
                <a:close/>
                <a:moveTo>
                  <a:pt x="411" y="689"/>
                </a:moveTo>
                <a:cubicBezTo>
                  <a:pt x="407" y="690"/>
                  <a:pt x="402" y="690"/>
                  <a:pt x="395" y="690"/>
                </a:cubicBezTo>
                <a:cubicBezTo>
                  <a:pt x="395" y="685"/>
                  <a:pt x="395" y="680"/>
                  <a:pt x="393" y="674"/>
                </a:cubicBezTo>
                <a:cubicBezTo>
                  <a:pt x="389" y="655"/>
                  <a:pt x="367" y="523"/>
                  <a:pt x="351" y="448"/>
                </a:cubicBezTo>
                <a:cubicBezTo>
                  <a:pt x="335" y="373"/>
                  <a:pt x="318" y="317"/>
                  <a:pt x="314" y="307"/>
                </a:cubicBezTo>
                <a:cubicBezTo>
                  <a:pt x="310" y="297"/>
                  <a:pt x="323" y="293"/>
                  <a:pt x="323" y="293"/>
                </a:cubicBezTo>
                <a:cubicBezTo>
                  <a:pt x="299" y="269"/>
                  <a:pt x="299" y="269"/>
                  <a:pt x="299" y="269"/>
                </a:cubicBezTo>
                <a:cubicBezTo>
                  <a:pt x="288" y="274"/>
                  <a:pt x="280" y="291"/>
                  <a:pt x="280" y="291"/>
                </a:cubicBezTo>
                <a:cubicBezTo>
                  <a:pt x="280" y="291"/>
                  <a:pt x="292" y="299"/>
                  <a:pt x="294" y="307"/>
                </a:cubicBezTo>
                <a:cubicBezTo>
                  <a:pt x="296" y="315"/>
                  <a:pt x="292" y="325"/>
                  <a:pt x="286" y="343"/>
                </a:cubicBezTo>
                <a:cubicBezTo>
                  <a:pt x="281" y="362"/>
                  <a:pt x="288" y="443"/>
                  <a:pt x="295" y="485"/>
                </a:cubicBezTo>
                <a:cubicBezTo>
                  <a:pt x="302" y="527"/>
                  <a:pt x="315" y="621"/>
                  <a:pt x="323" y="669"/>
                </a:cubicBezTo>
                <a:cubicBezTo>
                  <a:pt x="324" y="677"/>
                  <a:pt x="326" y="683"/>
                  <a:pt x="327" y="689"/>
                </a:cubicBezTo>
                <a:cubicBezTo>
                  <a:pt x="308" y="688"/>
                  <a:pt x="289" y="687"/>
                  <a:pt x="274" y="687"/>
                </a:cubicBezTo>
                <a:cubicBezTo>
                  <a:pt x="232" y="687"/>
                  <a:pt x="191" y="692"/>
                  <a:pt x="191" y="692"/>
                </a:cubicBezTo>
                <a:cubicBezTo>
                  <a:pt x="191" y="692"/>
                  <a:pt x="199" y="672"/>
                  <a:pt x="212" y="643"/>
                </a:cubicBezTo>
                <a:cubicBezTo>
                  <a:pt x="224" y="615"/>
                  <a:pt x="226" y="589"/>
                  <a:pt x="235" y="542"/>
                </a:cubicBezTo>
                <a:cubicBezTo>
                  <a:pt x="245" y="495"/>
                  <a:pt x="237" y="463"/>
                  <a:pt x="237" y="406"/>
                </a:cubicBezTo>
                <a:cubicBezTo>
                  <a:pt x="237" y="361"/>
                  <a:pt x="234" y="300"/>
                  <a:pt x="231" y="263"/>
                </a:cubicBezTo>
                <a:cubicBezTo>
                  <a:pt x="231" y="257"/>
                  <a:pt x="231" y="235"/>
                  <a:pt x="248" y="225"/>
                </a:cubicBezTo>
                <a:cubicBezTo>
                  <a:pt x="257" y="236"/>
                  <a:pt x="268" y="248"/>
                  <a:pt x="281" y="257"/>
                </a:cubicBezTo>
                <a:cubicBezTo>
                  <a:pt x="304" y="273"/>
                  <a:pt x="306" y="261"/>
                  <a:pt x="320" y="244"/>
                </a:cubicBezTo>
                <a:cubicBezTo>
                  <a:pt x="326" y="237"/>
                  <a:pt x="330" y="232"/>
                  <a:pt x="334" y="227"/>
                </a:cubicBezTo>
                <a:cubicBezTo>
                  <a:pt x="334" y="227"/>
                  <a:pt x="334" y="227"/>
                  <a:pt x="334" y="227"/>
                </a:cubicBezTo>
                <a:cubicBezTo>
                  <a:pt x="353" y="218"/>
                  <a:pt x="370" y="255"/>
                  <a:pt x="370" y="255"/>
                </a:cubicBezTo>
                <a:cubicBezTo>
                  <a:pt x="382" y="288"/>
                  <a:pt x="381" y="349"/>
                  <a:pt x="381" y="413"/>
                </a:cubicBezTo>
                <a:cubicBezTo>
                  <a:pt x="381" y="478"/>
                  <a:pt x="393" y="542"/>
                  <a:pt x="406" y="589"/>
                </a:cubicBezTo>
                <a:cubicBezTo>
                  <a:pt x="418" y="636"/>
                  <a:pt x="437" y="678"/>
                  <a:pt x="437" y="678"/>
                </a:cubicBezTo>
                <a:cubicBezTo>
                  <a:pt x="437" y="678"/>
                  <a:pt x="426" y="684"/>
                  <a:pt x="411" y="689"/>
                </a:cubicBezTo>
                <a:close/>
                <a:moveTo>
                  <a:pt x="491" y="631"/>
                </a:moveTo>
                <a:cubicBezTo>
                  <a:pt x="489" y="627"/>
                  <a:pt x="490" y="600"/>
                  <a:pt x="484" y="579"/>
                </a:cubicBezTo>
                <a:cubicBezTo>
                  <a:pt x="477" y="556"/>
                  <a:pt x="474" y="524"/>
                  <a:pt x="473" y="485"/>
                </a:cubicBezTo>
                <a:cubicBezTo>
                  <a:pt x="473" y="485"/>
                  <a:pt x="482" y="518"/>
                  <a:pt x="491" y="538"/>
                </a:cubicBezTo>
                <a:cubicBezTo>
                  <a:pt x="495" y="547"/>
                  <a:pt x="498" y="553"/>
                  <a:pt x="501" y="553"/>
                </a:cubicBezTo>
                <a:cubicBezTo>
                  <a:pt x="511" y="556"/>
                  <a:pt x="512" y="570"/>
                  <a:pt x="501" y="576"/>
                </a:cubicBezTo>
                <a:cubicBezTo>
                  <a:pt x="490" y="582"/>
                  <a:pt x="498" y="624"/>
                  <a:pt x="493" y="630"/>
                </a:cubicBezTo>
                <a:cubicBezTo>
                  <a:pt x="492" y="631"/>
                  <a:pt x="491" y="631"/>
                  <a:pt x="491" y="63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id-ID"/>
            </a:defPPr>
            <a:lvl1pPr marL="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3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7" algn="l" defTabSz="91433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 sz="2400">
              <a:solidFill>
                <a:schemeClr val="bg1">
                  <a:lumMod val="85000"/>
                </a:schemeClr>
              </a:solidFill>
              <a:cs typeface="+mn-ea"/>
              <a:sym typeface="+mn-lt"/>
            </a:endParaRPr>
          </a:p>
        </p:txBody>
      </p:sp>
      <p:cxnSp>
        <p:nvCxnSpPr>
          <p:cNvPr id="8" name="Straight Connector 55">
            <a:extLst>
              <a:ext uri="{FF2B5EF4-FFF2-40B4-BE49-F238E27FC236}">
                <a16:creationId xmlns:a16="http://schemas.microsoft.com/office/drawing/2014/main" id="{7CCFB05D-7D70-453D-B541-A89FCEF423A5}"/>
              </a:ext>
            </a:extLst>
          </p:cNvPr>
          <p:cNvCxnSpPr/>
          <p:nvPr/>
        </p:nvCxnSpPr>
        <p:spPr>
          <a:xfrm flipV="1">
            <a:off x="6015288" y="3348097"/>
            <a:ext cx="673" cy="983795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组合 8">
            <a:extLst>
              <a:ext uri="{FF2B5EF4-FFF2-40B4-BE49-F238E27FC236}">
                <a16:creationId xmlns:a16="http://schemas.microsoft.com/office/drawing/2014/main" id="{A75A8133-5910-4FD4-81C4-CFD6F5C7DDDD}"/>
              </a:ext>
            </a:extLst>
          </p:cNvPr>
          <p:cNvGrpSpPr/>
          <p:nvPr/>
        </p:nvGrpSpPr>
        <p:grpSpPr>
          <a:xfrm>
            <a:off x="7017534" y="3625136"/>
            <a:ext cx="553384" cy="429528"/>
            <a:chOff x="6964560" y="3189199"/>
            <a:chExt cx="553384" cy="429528"/>
          </a:xfrm>
        </p:grpSpPr>
        <p:cxnSp>
          <p:nvCxnSpPr>
            <p:cNvPr id="10" name="Straight Connector 56">
              <a:extLst>
                <a:ext uri="{FF2B5EF4-FFF2-40B4-BE49-F238E27FC236}">
                  <a16:creationId xmlns:a16="http://schemas.microsoft.com/office/drawing/2014/main" id="{AB47ADE3-A79B-418C-BCD8-AB6F4B0E529B}"/>
                </a:ext>
              </a:extLst>
            </p:cNvPr>
            <p:cNvCxnSpPr/>
            <p:nvPr/>
          </p:nvCxnSpPr>
          <p:spPr>
            <a:xfrm flipV="1">
              <a:off x="6964560" y="3205047"/>
              <a:ext cx="0" cy="41368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57">
              <a:extLst>
                <a:ext uri="{FF2B5EF4-FFF2-40B4-BE49-F238E27FC236}">
                  <a16:creationId xmlns:a16="http://schemas.microsoft.com/office/drawing/2014/main" id="{7C01C787-FA6B-407C-9233-30D5299CC788}"/>
                </a:ext>
              </a:extLst>
            </p:cNvPr>
            <p:cNvCxnSpPr/>
            <p:nvPr/>
          </p:nvCxnSpPr>
          <p:spPr>
            <a:xfrm>
              <a:off x="6964560" y="3189199"/>
              <a:ext cx="553384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17E558FE-9062-4473-9F30-FE6C0F7E493B}"/>
              </a:ext>
            </a:extLst>
          </p:cNvPr>
          <p:cNvGrpSpPr/>
          <p:nvPr/>
        </p:nvGrpSpPr>
        <p:grpSpPr>
          <a:xfrm>
            <a:off x="4563373" y="3625136"/>
            <a:ext cx="553384" cy="429528"/>
            <a:chOff x="4510399" y="3189199"/>
            <a:chExt cx="553384" cy="429528"/>
          </a:xfrm>
        </p:grpSpPr>
        <p:cxnSp>
          <p:nvCxnSpPr>
            <p:cNvPr id="13" name="Straight Connector 58">
              <a:extLst>
                <a:ext uri="{FF2B5EF4-FFF2-40B4-BE49-F238E27FC236}">
                  <a16:creationId xmlns:a16="http://schemas.microsoft.com/office/drawing/2014/main" id="{4E3A9919-F9F1-40DD-B240-4CDBF46B8CC5}"/>
                </a:ext>
              </a:extLst>
            </p:cNvPr>
            <p:cNvCxnSpPr/>
            <p:nvPr/>
          </p:nvCxnSpPr>
          <p:spPr>
            <a:xfrm flipH="1" flipV="1">
              <a:off x="5063783" y="3205047"/>
              <a:ext cx="0" cy="41368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59">
              <a:extLst>
                <a:ext uri="{FF2B5EF4-FFF2-40B4-BE49-F238E27FC236}">
                  <a16:creationId xmlns:a16="http://schemas.microsoft.com/office/drawing/2014/main" id="{F449D04B-7E79-40B4-BD5E-6DF69CC7975F}"/>
                </a:ext>
              </a:extLst>
            </p:cNvPr>
            <p:cNvCxnSpPr/>
            <p:nvPr/>
          </p:nvCxnSpPr>
          <p:spPr>
            <a:xfrm flipH="1">
              <a:off x="4510399" y="3189199"/>
              <a:ext cx="553384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prstDash val="sysDot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" name="Straight Connector 60">
            <a:extLst>
              <a:ext uri="{FF2B5EF4-FFF2-40B4-BE49-F238E27FC236}">
                <a16:creationId xmlns:a16="http://schemas.microsoft.com/office/drawing/2014/main" id="{B1138D61-4514-47EE-BE60-5C5CD5A3518C}"/>
              </a:ext>
            </a:extLst>
          </p:cNvPr>
          <p:cNvCxnSpPr/>
          <p:nvPr/>
        </p:nvCxnSpPr>
        <p:spPr>
          <a:xfrm flipH="1">
            <a:off x="3462469" y="5010624"/>
            <a:ext cx="798063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61">
            <a:extLst>
              <a:ext uri="{FF2B5EF4-FFF2-40B4-BE49-F238E27FC236}">
                <a16:creationId xmlns:a16="http://schemas.microsoft.com/office/drawing/2014/main" id="{96381DB0-1D98-4654-8CB5-01BE3AC1CEED}"/>
              </a:ext>
            </a:extLst>
          </p:cNvPr>
          <p:cNvCxnSpPr/>
          <p:nvPr/>
        </p:nvCxnSpPr>
        <p:spPr>
          <a:xfrm flipH="1">
            <a:off x="7926364" y="5088080"/>
            <a:ext cx="798063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5B67A99-E9EC-4A2F-B48F-3638BF3398DB}"/>
              </a:ext>
            </a:extLst>
          </p:cNvPr>
          <p:cNvGrpSpPr/>
          <p:nvPr/>
        </p:nvGrpSpPr>
        <p:grpSpPr>
          <a:xfrm>
            <a:off x="510746" y="4539181"/>
            <a:ext cx="2808902" cy="1068049"/>
            <a:chOff x="510746" y="4103244"/>
            <a:chExt cx="2808902" cy="1068049"/>
          </a:xfrm>
        </p:grpSpPr>
        <p:grpSp>
          <p:nvGrpSpPr>
            <p:cNvPr id="18" name="Группа 291">
              <a:extLst>
                <a:ext uri="{FF2B5EF4-FFF2-40B4-BE49-F238E27FC236}">
                  <a16:creationId xmlns:a16="http://schemas.microsoft.com/office/drawing/2014/main" id="{F37BF04D-CD99-4F78-AB2C-E39A71307A58}"/>
                </a:ext>
              </a:extLst>
            </p:cNvPr>
            <p:cNvGrpSpPr/>
            <p:nvPr/>
          </p:nvGrpSpPr>
          <p:grpSpPr>
            <a:xfrm>
              <a:off x="2935944" y="4323254"/>
              <a:ext cx="383704" cy="502866"/>
              <a:chOff x="5891213" y="3209925"/>
              <a:chExt cx="2044700" cy="2679700"/>
            </a:xfrm>
            <a:solidFill>
              <a:schemeClr val="accent1"/>
            </a:solidFill>
          </p:grpSpPr>
          <p:sp>
            <p:nvSpPr>
              <p:cNvPr id="20" name="Freeform 257">
                <a:extLst>
                  <a:ext uri="{FF2B5EF4-FFF2-40B4-BE49-F238E27FC236}">
                    <a16:creationId xmlns:a16="http://schemas.microsoft.com/office/drawing/2014/main" id="{DA2F489D-D398-4B66-8F30-0853671AD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0963" y="3209925"/>
                <a:ext cx="965200" cy="444500"/>
              </a:xfrm>
              <a:custGeom>
                <a:avLst/>
                <a:gdLst>
                  <a:gd name="T0" fmla="*/ 415 w 1216"/>
                  <a:gd name="T1" fmla="*/ 0 h 560"/>
                  <a:gd name="T2" fmla="*/ 801 w 1216"/>
                  <a:gd name="T3" fmla="*/ 0 h 560"/>
                  <a:gd name="T4" fmla="*/ 827 w 1216"/>
                  <a:gd name="T5" fmla="*/ 2 h 560"/>
                  <a:gd name="T6" fmla="*/ 852 w 1216"/>
                  <a:gd name="T7" fmla="*/ 10 h 560"/>
                  <a:gd name="T8" fmla="*/ 873 w 1216"/>
                  <a:gd name="T9" fmla="*/ 22 h 560"/>
                  <a:gd name="T10" fmla="*/ 892 w 1216"/>
                  <a:gd name="T11" fmla="*/ 38 h 560"/>
                  <a:gd name="T12" fmla="*/ 907 w 1216"/>
                  <a:gd name="T13" fmla="*/ 57 h 560"/>
                  <a:gd name="T14" fmla="*/ 920 w 1216"/>
                  <a:gd name="T15" fmla="*/ 78 h 560"/>
                  <a:gd name="T16" fmla="*/ 928 w 1216"/>
                  <a:gd name="T17" fmla="*/ 103 h 560"/>
                  <a:gd name="T18" fmla="*/ 930 w 1216"/>
                  <a:gd name="T19" fmla="*/ 129 h 560"/>
                  <a:gd name="T20" fmla="*/ 930 w 1216"/>
                  <a:gd name="T21" fmla="*/ 294 h 560"/>
                  <a:gd name="T22" fmla="*/ 1216 w 1216"/>
                  <a:gd name="T23" fmla="*/ 294 h 560"/>
                  <a:gd name="T24" fmla="*/ 1216 w 1216"/>
                  <a:gd name="T25" fmla="*/ 496 h 560"/>
                  <a:gd name="T26" fmla="*/ 1213 w 1216"/>
                  <a:gd name="T27" fmla="*/ 513 h 560"/>
                  <a:gd name="T28" fmla="*/ 1207 w 1216"/>
                  <a:gd name="T29" fmla="*/ 528 h 560"/>
                  <a:gd name="T30" fmla="*/ 1196 w 1216"/>
                  <a:gd name="T31" fmla="*/ 542 h 560"/>
                  <a:gd name="T32" fmla="*/ 1183 w 1216"/>
                  <a:gd name="T33" fmla="*/ 552 h 560"/>
                  <a:gd name="T34" fmla="*/ 1168 w 1216"/>
                  <a:gd name="T35" fmla="*/ 558 h 560"/>
                  <a:gd name="T36" fmla="*/ 1151 w 1216"/>
                  <a:gd name="T37" fmla="*/ 560 h 560"/>
                  <a:gd name="T38" fmla="*/ 65 w 1216"/>
                  <a:gd name="T39" fmla="*/ 560 h 560"/>
                  <a:gd name="T40" fmla="*/ 48 w 1216"/>
                  <a:gd name="T41" fmla="*/ 558 h 560"/>
                  <a:gd name="T42" fmla="*/ 33 w 1216"/>
                  <a:gd name="T43" fmla="*/ 552 h 560"/>
                  <a:gd name="T44" fmla="*/ 20 w 1216"/>
                  <a:gd name="T45" fmla="*/ 542 h 560"/>
                  <a:gd name="T46" fmla="*/ 9 w 1216"/>
                  <a:gd name="T47" fmla="*/ 528 h 560"/>
                  <a:gd name="T48" fmla="*/ 3 w 1216"/>
                  <a:gd name="T49" fmla="*/ 513 h 560"/>
                  <a:gd name="T50" fmla="*/ 0 w 1216"/>
                  <a:gd name="T51" fmla="*/ 496 h 560"/>
                  <a:gd name="T52" fmla="*/ 0 w 1216"/>
                  <a:gd name="T53" fmla="*/ 294 h 560"/>
                  <a:gd name="T54" fmla="*/ 286 w 1216"/>
                  <a:gd name="T55" fmla="*/ 294 h 560"/>
                  <a:gd name="T56" fmla="*/ 286 w 1216"/>
                  <a:gd name="T57" fmla="*/ 129 h 560"/>
                  <a:gd name="T58" fmla="*/ 288 w 1216"/>
                  <a:gd name="T59" fmla="*/ 103 h 560"/>
                  <a:gd name="T60" fmla="*/ 296 w 1216"/>
                  <a:gd name="T61" fmla="*/ 78 h 560"/>
                  <a:gd name="T62" fmla="*/ 307 w 1216"/>
                  <a:gd name="T63" fmla="*/ 57 h 560"/>
                  <a:gd name="T64" fmla="*/ 324 w 1216"/>
                  <a:gd name="T65" fmla="*/ 38 h 560"/>
                  <a:gd name="T66" fmla="*/ 343 w 1216"/>
                  <a:gd name="T67" fmla="*/ 22 h 560"/>
                  <a:gd name="T68" fmla="*/ 364 w 1216"/>
                  <a:gd name="T69" fmla="*/ 10 h 560"/>
                  <a:gd name="T70" fmla="*/ 389 w 1216"/>
                  <a:gd name="T71" fmla="*/ 2 h 560"/>
                  <a:gd name="T72" fmla="*/ 415 w 1216"/>
                  <a:gd name="T73" fmla="*/ 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16" h="560">
                    <a:moveTo>
                      <a:pt x="415" y="0"/>
                    </a:moveTo>
                    <a:lnTo>
                      <a:pt x="801" y="0"/>
                    </a:lnTo>
                    <a:lnTo>
                      <a:pt x="827" y="2"/>
                    </a:lnTo>
                    <a:lnTo>
                      <a:pt x="852" y="10"/>
                    </a:lnTo>
                    <a:lnTo>
                      <a:pt x="873" y="22"/>
                    </a:lnTo>
                    <a:lnTo>
                      <a:pt x="892" y="38"/>
                    </a:lnTo>
                    <a:lnTo>
                      <a:pt x="907" y="57"/>
                    </a:lnTo>
                    <a:lnTo>
                      <a:pt x="920" y="78"/>
                    </a:lnTo>
                    <a:lnTo>
                      <a:pt x="928" y="103"/>
                    </a:lnTo>
                    <a:lnTo>
                      <a:pt x="930" y="129"/>
                    </a:lnTo>
                    <a:lnTo>
                      <a:pt x="930" y="294"/>
                    </a:lnTo>
                    <a:lnTo>
                      <a:pt x="1216" y="294"/>
                    </a:lnTo>
                    <a:lnTo>
                      <a:pt x="1216" y="496"/>
                    </a:lnTo>
                    <a:lnTo>
                      <a:pt x="1213" y="513"/>
                    </a:lnTo>
                    <a:lnTo>
                      <a:pt x="1207" y="528"/>
                    </a:lnTo>
                    <a:lnTo>
                      <a:pt x="1196" y="542"/>
                    </a:lnTo>
                    <a:lnTo>
                      <a:pt x="1183" y="552"/>
                    </a:lnTo>
                    <a:lnTo>
                      <a:pt x="1168" y="558"/>
                    </a:lnTo>
                    <a:lnTo>
                      <a:pt x="1151" y="560"/>
                    </a:lnTo>
                    <a:lnTo>
                      <a:pt x="65" y="560"/>
                    </a:lnTo>
                    <a:lnTo>
                      <a:pt x="48" y="558"/>
                    </a:lnTo>
                    <a:lnTo>
                      <a:pt x="33" y="552"/>
                    </a:lnTo>
                    <a:lnTo>
                      <a:pt x="20" y="542"/>
                    </a:lnTo>
                    <a:lnTo>
                      <a:pt x="9" y="528"/>
                    </a:lnTo>
                    <a:lnTo>
                      <a:pt x="3" y="513"/>
                    </a:lnTo>
                    <a:lnTo>
                      <a:pt x="0" y="496"/>
                    </a:lnTo>
                    <a:lnTo>
                      <a:pt x="0" y="294"/>
                    </a:lnTo>
                    <a:lnTo>
                      <a:pt x="286" y="294"/>
                    </a:lnTo>
                    <a:lnTo>
                      <a:pt x="286" y="129"/>
                    </a:lnTo>
                    <a:lnTo>
                      <a:pt x="288" y="103"/>
                    </a:lnTo>
                    <a:lnTo>
                      <a:pt x="296" y="78"/>
                    </a:lnTo>
                    <a:lnTo>
                      <a:pt x="307" y="57"/>
                    </a:lnTo>
                    <a:lnTo>
                      <a:pt x="324" y="38"/>
                    </a:lnTo>
                    <a:lnTo>
                      <a:pt x="343" y="22"/>
                    </a:lnTo>
                    <a:lnTo>
                      <a:pt x="364" y="10"/>
                    </a:lnTo>
                    <a:lnTo>
                      <a:pt x="389" y="2"/>
                    </a:lnTo>
                    <a:lnTo>
                      <a:pt x="4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  <p:sp>
            <p:nvSpPr>
              <p:cNvPr id="21" name="Freeform 258">
                <a:extLst>
                  <a:ext uri="{FF2B5EF4-FFF2-40B4-BE49-F238E27FC236}">
                    <a16:creationId xmlns:a16="http://schemas.microsoft.com/office/drawing/2014/main" id="{B5AF1508-7AC4-4B77-ADEC-99E5BFBDFC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1213" y="3443288"/>
                <a:ext cx="2044700" cy="2446337"/>
              </a:xfrm>
              <a:custGeom>
                <a:avLst/>
                <a:gdLst>
                  <a:gd name="T0" fmla="*/ 322 w 2576"/>
                  <a:gd name="T1" fmla="*/ 683 h 3082"/>
                  <a:gd name="T2" fmla="*/ 322 w 2576"/>
                  <a:gd name="T3" fmla="*/ 2760 h 3082"/>
                  <a:gd name="T4" fmla="*/ 2254 w 2576"/>
                  <a:gd name="T5" fmla="*/ 2760 h 3082"/>
                  <a:gd name="T6" fmla="*/ 2254 w 2576"/>
                  <a:gd name="T7" fmla="*/ 683 h 3082"/>
                  <a:gd name="T8" fmla="*/ 322 w 2576"/>
                  <a:gd name="T9" fmla="*/ 683 h 3082"/>
                  <a:gd name="T10" fmla="*/ 0 w 2576"/>
                  <a:gd name="T11" fmla="*/ 0 h 3082"/>
                  <a:gd name="T12" fmla="*/ 552 w 2576"/>
                  <a:gd name="T13" fmla="*/ 0 h 3082"/>
                  <a:gd name="T14" fmla="*/ 552 w 2576"/>
                  <a:gd name="T15" fmla="*/ 202 h 3082"/>
                  <a:gd name="T16" fmla="*/ 555 w 2576"/>
                  <a:gd name="T17" fmla="*/ 236 h 3082"/>
                  <a:gd name="T18" fmla="*/ 565 w 2576"/>
                  <a:gd name="T19" fmla="*/ 269 h 3082"/>
                  <a:gd name="T20" fmla="*/ 579 w 2576"/>
                  <a:gd name="T21" fmla="*/ 299 h 3082"/>
                  <a:gd name="T22" fmla="*/ 598 w 2576"/>
                  <a:gd name="T23" fmla="*/ 326 h 3082"/>
                  <a:gd name="T24" fmla="*/ 620 w 2576"/>
                  <a:gd name="T25" fmla="*/ 350 h 3082"/>
                  <a:gd name="T26" fmla="*/ 648 w 2576"/>
                  <a:gd name="T27" fmla="*/ 369 h 3082"/>
                  <a:gd name="T28" fmla="*/ 678 w 2576"/>
                  <a:gd name="T29" fmla="*/ 383 h 3082"/>
                  <a:gd name="T30" fmla="*/ 711 w 2576"/>
                  <a:gd name="T31" fmla="*/ 392 h 3082"/>
                  <a:gd name="T32" fmla="*/ 745 w 2576"/>
                  <a:gd name="T33" fmla="*/ 395 h 3082"/>
                  <a:gd name="T34" fmla="*/ 1831 w 2576"/>
                  <a:gd name="T35" fmla="*/ 395 h 3082"/>
                  <a:gd name="T36" fmla="*/ 1865 w 2576"/>
                  <a:gd name="T37" fmla="*/ 392 h 3082"/>
                  <a:gd name="T38" fmla="*/ 1898 w 2576"/>
                  <a:gd name="T39" fmla="*/ 383 h 3082"/>
                  <a:gd name="T40" fmla="*/ 1928 w 2576"/>
                  <a:gd name="T41" fmla="*/ 369 h 3082"/>
                  <a:gd name="T42" fmla="*/ 1956 w 2576"/>
                  <a:gd name="T43" fmla="*/ 350 h 3082"/>
                  <a:gd name="T44" fmla="*/ 1978 w 2576"/>
                  <a:gd name="T45" fmla="*/ 326 h 3082"/>
                  <a:gd name="T46" fmla="*/ 1997 w 2576"/>
                  <a:gd name="T47" fmla="*/ 299 h 3082"/>
                  <a:gd name="T48" fmla="*/ 2011 w 2576"/>
                  <a:gd name="T49" fmla="*/ 269 h 3082"/>
                  <a:gd name="T50" fmla="*/ 2021 w 2576"/>
                  <a:gd name="T51" fmla="*/ 236 h 3082"/>
                  <a:gd name="T52" fmla="*/ 2024 w 2576"/>
                  <a:gd name="T53" fmla="*/ 202 h 3082"/>
                  <a:gd name="T54" fmla="*/ 2024 w 2576"/>
                  <a:gd name="T55" fmla="*/ 0 h 3082"/>
                  <a:gd name="T56" fmla="*/ 2576 w 2576"/>
                  <a:gd name="T57" fmla="*/ 0 h 3082"/>
                  <a:gd name="T58" fmla="*/ 2576 w 2576"/>
                  <a:gd name="T59" fmla="*/ 2825 h 3082"/>
                  <a:gd name="T60" fmla="*/ 2573 w 2576"/>
                  <a:gd name="T61" fmla="*/ 2866 h 3082"/>
                  <a:gd name="T62" fmla="*/ 2563 w 2576"/>
                  <a:gd name="T63" fmla="*/ 2906 h 3082"/>
                  <a:gd name="T64" fmla="*/ 2547 w 2576"/>
                  <a:gd name="T65" fmla="*/ 2942 h 3082"/>
                  <a:gd name="T66" fmla="*/ 2527 w 2576"/>
                  <a:gd name="T67" fmla="*/ 2977 h 3082"/>
                  <a:gd name="T68" fmla="*/ 2501 w 2576"/>
                  <a:gd name="T69" fmla="*/ 3007 h 3082"/>
                  <a:gd name="T70" fmla="*/ 2471 w 2576"/>
                  <a:gd name="T71" fmla="*/ 3032 h 3082"/>
                  <a:gd name="T72" fmla="*/ 2436 w 2576"/>
                  <a:gd name="T73" fmla="*/ 3053 h 3082"/>
                  <a:gd name="T74" fmla="*/ 2400 w 2576"/>
                  <a:gd name="T75" fmla="*/ 3069 h 3082"/>
                  <a:gd name="T76" fmla="*/ 2360 w 2576"/>
                  <a:gd name="T77" fmla="*/ 3078 h 3082"/>
                  <a:gd name="T78" fmla="*/ 2318 w 2576"/>
                  <a:gd name="T79" fmla="*/ 3082 h 3082"/>
                  <a:gd name="T80" fmla="*/ 258 w 2576"/>
                  <a:gd name="T81" fmla="*/ 3082 h 3082"/>
                  <a:gd name="T82" fmla="*/ 216 w 2576"/>
                  <a:gd name="T83" fmla="*/ 3078 h 3082"/>
                  <a:gd name="T84" fmla="*/ 176 w 2576"/>
                  <a:gd name="T85" fmla="*/ 3069 h 3082"/>
                  <a:gd name="T86" fmla="*/ 140 w 2576"/>
                  <a:gd name="T87" fmla="*/ 3053 h 3082"/>
                  <a:gd name="T88" fmla="*/ 105 w 2576"/>
                  <a:gd name="T89" fmla="*/ 3032 h 3082"/>
                  <a:gd name="T90" fmla="*/ 75 w 2576"/>
                  <a:gd name="T91" fmla="*/ 3007 h 3082"/>
                  <a:gd name="T92" fmla="*/ 49 w 2576"/>
                  <a:gd name="T93" fmla="*/ 2977 h 3082"/>
                  <a:gd name="T94" fmla="*/ 29 w 2576"/>
                  <a:gd name="T95" fmla="*/ 2942 h 3082"/>
                  <a:gd name="T96" fmla="*/ 13 w 2576"/>
                  <a:gd name="T97" fmla="*/ 2906 h 3082"/>
                  <a:gd name="T98" fmla="*/ 3 w 2576"/>
                  <a:gd name="T99" fmla="*/ 2866 h 3082"/>
                  <a:gd name="T100" fmla="*/ 0 w 2576"/>
                  <a:gd name="T101" fmla="*/ 2825 h 3082"/>
                  <a:gd name="T102" fmla="*/ 0 w 2576"/>
                  <a:gd name="T103" fmla="*/ 0 h 3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76" h="3082">
                    <a:moveTo>
                      <a:pt x="322" y="683"/>
                    </a:moveTo>
                    <a:lnTo>
                      <a:pt x="322" y="2760"/>
                    </a:lnTo>
                    <a:lnTo>
                      <a:pt x="2254" y="2760"/>
                    </a:lnTo>
                    <a:lnTo>
                      <a:pt x="2254" y="683"/>
                    </a:lnTo>
                    <a:lnTo>
                      <a:pt x="322" y="683"/>
                    </a:lnTo>
                    <a:close/>
                    <a:moveTo>
                      <a:pt x="0" y="0"/>
                    </a:moveTo>
                    <a:lnTo>
                      <a:pt x="552" y="0"/>
                    </a:lnTo>
                    <a:lnTo>
                      <a:pt x="552" y="202"/>
                    </a:lnTo>
                    <a:lnTo>
                      <a:pt x="555" y="236"/>
                    </a:lnTo>
                    <a:lnTo>
                      <a:pt x="565" y="269"/>
                    </a:lnTo>
                    <a:lnTo>
                      <a:pt x="579" y="299"/>
                    </a:lnTo>
                    <a:lnTo>
                      <a:pt x="598" y="326"/>
                    </a:lnTo>
                    <a:lnTo>
                      <a:pt x="620" y="350"/>
                    </a:lnTo>
                    <a:lnTo>
                      <a:pt x="648" y="369"/>
                    </a:lnTo>
                    <a:lnTo>
                      <a:pt x="678" y="383"/>
                    </a:lnTo>
                    <a:lnTo>
                      <a:pt x="711" y="392"/>
                    </a:lnTo>
                    <a:lnTo>
                      <a:pt x="745" y="395"/>
                    </a:lnTo>
                    <a:lnTo>
                      <a:pt x="1831" y="395"/>
                    </a:lnTo>
                    <a:lnTo>
                      <a:pt x="1865" y="392"/>
                    </a:lnTo>
                    <a:lnTo>
                      <a:pt x="1898" y="383"/>
                    </a:lnTo>
                    <a:lnTo>
                      <a:pt x="1928" y="369"/>
                    </a:lnTo>
                    <a:lnTo>
                      <a:pt x="1956" y="350"/>
                    </a:lnTo>
                    <a:lnTo>
                      <a:pt x="1978" y="326"/>
                    </a:lnTo>
                    <a:lnTo>
                      <a:pt x="1997" y="299"/>
                    </a:lnTo>
                    <a:lnTo>
                      <a:pt x="2011" y="269"/>
                    </a:lnTo>
                    <a:lnTo>
                      <a:pt x="2021" y="236"/>
                    </a:lnTo>
                    <a:lnTo>
                      <a:pt x="2024" y="202"/>
                    </a:lnTo>
                    <a:lnTo>
                      <a:pt x="2024" y="0"/>
                    </a:lnTo>
                    <a:lnTo>
                      <a:pt x="2576" y="0"/>
                    </a:lnTo>
                    <a:lnTo>
                      <a:pt x="2576" y="2825"/>
                    </a:lnTo>
                    <a:lnTo>
                      <a:pt x="2573" y="2866"/>
                    </a:lnTo>
                    <a:lnTo>
                      <a:pt x="2563" y="2906"/>
                    </a:lnTo>
                    <a:lnTo>
                      <a:pt x="2547" y="2942"/>
                    </a:lnTo>
                    <a:lnTo>
                      <a:pt x="2527" y="2977"/>
                    </a:lnTo>
                    <a:lnTo>
                      <a:pt x="2501" y="3007"/>
                    </a:lnTo>
                    <a:lnTo>
                      <a:pt x="2471" y="3032"/>
                    </a:lnTo>
                    <a:lnTo>
                      <a:pt x="2436" y="3053"/>
                    </a:lnTo>
                    <a:lnTo>
                      <a:pt x="2400" y="3069"/>
                    </a:lnTo>
                    <a:lnTo>
                      <a:pt x="2360" y="3078"/>
                    </a:lnTo>
                    <a:lnTo>
                      <a:pt x="2318" y="3082"/>
                    </a:lnTo>
                    <a:lnTo>
                      <a:pt x="258" y="3082"/>
                    </a:lnTo>
                    <a:lnTo>
                      <a:pt x="216" y="3078"/>
                    </a:lnTo>
                    <a:lnTo>
                      <a:pt x="176" y="3069"/>
                    </a:lnTo>
                    <a:lnTo>
                      <a:pt x="140" y="3053"/>
                    </a:lnTo>
                    <a:lnTo>
                      <a:pt x="105" y="3032"/>
                    </a:lnTo>
                    <a:lnTo>
                      <a:pt x="75" y="3007"/>
                    </a:lnTo>
                    <a:lnTo>
                      <a:pt x="49" y="2977"/>
                    </a:lnTo>
                    <a:lnTo>
                      <a:pt x="29" y="2942"/>
                    </a:lnTo>
                    <a:lnTo>
                      <a:pt x="13" y="2906"/>
                    </a:lnTo>
                    <a:lnTo>
                      <a:pt x="3" y="2866"/>
                    </a:lnTo>
                    <a:lnTo>
                      <a:pt x="0" y="282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  <p:sp>
            <p:nvSpPr>
              <p:cNvPr id="22" name="Rectangle 259">
                <a:extLst>
                  <a:ext uri="{FF2B5EF4-FFF2-40B4-BE49-F238E27FC236}">
                    <a16:creationId xmlns:a16="http://schemas.microsoft.com/office/drawing/2014/main" id="{34A9C214-2A10-4A8A-8535-A55E187C13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24613" y="4244975"/>
                <a:ext cx="977900" cy="204787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  <p:sp>
            <p:nvSpPr>
              <p:cNvPr id="23" name="Rectangle 260">
                <a:extLst>
                  <a:ext uri="{FF2B5EF4-FFF2-40B4-BE49-F238E27FC236}">
                    <a16:creationId xmlns:a16="http://schemas.microsoft.com/office/drawing/2014/main" id="{FFD2246A-3ECE-4837-B3C1-D7B5E05F5F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29376" y="4659313"/>
                <a:ext cx="976313" cy="2032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  <p:sp>
            <p:nvSpPr>
              <p:cNvPr id="24" name="Rectangle 261">
                <a:extLst>
                  <a:ext uri="{FF2B5EF4-FFF2-40B4-BE49-F238E27FC236}">
                    <a16:creationId xmlns:a16="http://schemas.microsoft.com/office/drawing/2014/main" id="{2DBBA166-6691-4233-828F-8069F398D1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4138" y="5072063"/>
                <a:ext cx="395288" cy="20320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</p:grpSp>
        <p:sp>
          <p:nvSpPr>
            <p:cNvPr id="19" name="添加标题">
              <a:extLst>
                <a:ext uri="{FF2B5EF4-FFF2-40B4-BE49-F238E27FC236}">
                  <a16:creationId xmlns:a16="http://schemas.microsoft.com/office/drawing/2014/main" id="{62BDAB36-7567-4F65-9540-3A615D4A2B07}"/>
                </a:ext>
              </a:extLst>
            </p:cNvPr>
            <p:cNvSpPr txBox="1"/>
            <p:nvPr/>
          </p:nvSpPr>
          <p:spPr>
            <a:xfrm>
              <a:off x="510746" y="4103244"/>
              <a:ext cx="2250193" cy="1068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CN" sz="1600" b="1" dirty="0">
                  <a:solidFill>
                    <a:schemeClr val="accent1"/>
                  </a:solidFill>
                  <a:cs typeface="+mn-ea"/>
                  <a:sym typeface="+mn-lt"/>
                </a:rPr>
                <a:t>Add title text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6708314B-FBE1-4527-8047-437CA9550EFE}"/>
              </a:ext>
            </a:extLst>
          </p:cNvPr>
          <p:cNvGrpSpPr/>
          <p:nvPr/>
        </p:nvGrpSpPr>
        <p:grpSpPr>
          <a:xfrm>
            <a:off x="2098113" y="2704400"/>
            <a:ext cx="2904953" cy="1068049"/>
            <a:chOff x="2098113" y="2268463"/>
            <a:chExt cx="2904953" cy="1068049"/>
          </a:xfrm>
        </p:grpSpPr>
        <p:grpSp>
          <p:nvGrpSpPr>
            <p:cNvPr id="26" name="Группа 298">
              <a:extLst>
                <a:ext uri="{FF2B5EF4-FFF2-40B4-BE49-F238E27FC236}">
                  <a16:creationId xmlns:a16="http://schemas.microsoft.com/office/drawing/2014/main" id="{50D1890F-3303-46C8-B375-F4441235154B}"/>
                </a:ext>
              </a:extLst>
            </p:cNvPr>
            <p:cNvGrpSpPr/>
            <p:nvPr/>
          </p:nvGrpSpPr>
          <p:grpSpPr>
            <a:xfrm>
              <a:off x="4500243" y="2489864"/>
              <a:ext cx="502823" cy="500085"/>
              <a:chOff x="5848350" y="3192463"/>
              <a:chExt cx="2041525" cy="2030413"/>
            </a:xfrm>
            <a:solidFill>
              <a:schemeClr val="accent2"/>
            </a:solidFill>
          </p:grpSpPr>
          <p:sp>
            <p:nvSpPr>
              <p:cNvPr id="28" name="Freeform 266">
                <a:extLst>
                  <a:ext uri="{FF2B5EF4-FFF2-40B4-BE49-F238E27FC236}">
                    <a16:creationId xmlns:a16="http://schemas.microsoft.com/office/drawing/2014/main" id="{30BC36F2-ED80-4412-A71E-6D99DAE1F9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2900" y="4033838"/>
                <a:ext cx="352425" cy="349250"/>
              </a:xfrm>
              <a:custGeom>
                <a:avLst/>
                <a:gdLst>
                  <a:gd name="T0" fmla="*/ 332 w 665"/>
                  <a:gd name="T1" fmla="*/ 0 h 661"/>
                  <a:gd name="T2" fmla="*/ 381 w 665"/>
                  <a:gd name="T3" fmla="*/ 3 h 661"/>
                  <a:gd name="T4" fmla="*/ 428 w 665"/>
                  <a:gd name="T5" fmla="*/ 14 h 661"/>
                  <a:gd name="T6" fmla="*/ 472 w 665"/>
                  <a:gd name="T7" fmla="*/ 30 h 661"/>
                  <a:gd name="T8" fmla="*/ 512 w 665"/>
                  <a:gd name="T9" fmla="*/ 53 h 661"/>
                  <a:gd name="T10" fmla="*/ 550 w 665"/>
                  <a:gd name="T11" fmla="*/ 80 h 661"/>
                  <a:gd name="T12" fmla="*/ 583 w 665"/>
                  <a:gd name="T13" fmla="*/ 113 h 661"/>
                  <a:gd name="T14" fmla="*/ 610 w 665"/>
                  <a:gd name="T15" fmla="*/ 150 h 661"/>
                  <a:gd name="T16" fmla="*/ 633 w 665"/>
                  <a:gd name="T17" fmla="*/ 191 h 661"/>
                  <a:gd name="T18" fmla="*/ 650 w 665"/>
                  <a:gd name="T19" fmla="*/ 234 h 661"/>
                  <a:gd name="T20" fmla="*/ 661 w 665"/>
                  <a:gd name="T21" fmla="*/ 281 h 661"/>
                  <a:gd name="T22" fmla="*/ 665 w 665"/>
                  <a:gd name="T23" fmla="*/ 330 h 661"/>
                  <a:gd name="T24" fmla="*/ 661 w 665"/>
                  <a:gd name="T25" fmla="*/ 378 h 661"/>
                  <a:gd name="T26" fmla="*/ 650 w 665"/>
                  <a:gd name="T27" fmla="*/ 425 h 661"/>
                  <a:gd name="T28" fmla="*/ 633 w 665"/>
                  <a:gd name="T29" fmla="*/ 470 h 661"/>
                  <a:gd name="T30" fmla="*/ 610 w 665"/>
                  <a:gd name="T31" fmla="*/ 511 h 661"/>
                  <a:gd name="T32" fmla="*/ 583 w 665"/>
                  <a:gd name="T33" fmla="*/ 547 h 661"/>
                  <a:gd name="T34" fmla="*/ 550 w 665"/>
                  <a:gd name="T35" fmla="*/ 580 h 661"/>
                  <a:gd name="T36" fmla="*/ 512 w 665"/>
                  <a:gd name="T37" fmla="*/ 608 h 661"/>
                  <a:gd name="T38" fmla="*/ 472 w 665"/>
                  <a:gd name="T39" fmla="*/ 630 h 661"/>
                  <a:gd name="T40" fmla="*/ 428 w 665"/>
                  <a:gd name="T41" fmla="*/ 646 h 661"/>
                  <a:gd name="T42" fmla="*/ 381 w 665"/>
                  <a:gd name="T43" fmla="*/ 657 h 661"/>
                  <a:gd name="T44" fmla="*/ 332 w 665"/>
                  <a:gd name="T45" fmla="*/ 661 h 661"/>
                  <a:gd name="T46" fmla="*/ 283 w 665"/>
                  <a:gd name="T47" fmla="*/ 657 h 661"/>
                  <a:gd name="T48" fmla="*/ 235 w 665"/>
                  <a:gd name="T49" fmla="*/ 646 h 661"/>
                  <a:gd name="T50" fmla="*/ 192 w 665"/>
                  <a:gd name="T51" fmla="*/ 630 h 661"/>
                  <a:gd name="T52" fmla="*/ 151 w 665"/>
                  <a:gd name="T53" fmla="*/ 608 h 661"/>
                  <a:gd name="T54" fmla="*/ 113 w 665"/>
                  <a:gd name="T55" fmla="*/ 580 h 661"/>
                  <a:gd name="T56" fmla="*/ 81 w 665"/>
                  <a:gd name="T57" fmla="*/ 547 h 661"/>
                  <a:gd name="T58" fmla="*/ 53 w 665"/>
                  <a:gd name="T59" fmla="*/ 511 h 661"/>
                  <a:gd name="T60" fmla="*/ 30 w 665"/>
                  <a:gd name="T61" fmla="*/ 470 h 661"/>
                  <a:gd name="T62" fmla="*/ 13 w 665"/>
                  <a:gd name="T63" fmla="*/ 425 h 661"/>
                  <a:gd name="T64" fmla="*/ 3 w 665"/>
                  <a:gd name="T65" fmla="*/ 378 h 661"/>
                  <a:gd name="T66" fmla="*/ 0 w 665"/>
                  <a:gd name="T67" fmla="*/ 330 h 661"/>
                  <a:gd name="T68" fmla="*/ 3 w 665"/>
                  <a:gd name="T69" fmla="*/ 281 h 661"/>
                  <a:gd name="T70" fmla="*/ 13 w 665"/>
                  <a:gd name="T71" fmla="*/ 234 h 661"/>
                  <a:gd name="T72" fmla="*/ 30 w 665"/>
                  <a:gd name="T73" fmla="*/ 191 h 661"/>
                  <a:gd name="T74" fmla="*/ 53 w 665"/>
                  <a:gd name="T75" fmla="*/ 150 h 661"/>
                  <a:gd name="T76" fmla="*/ 81 w 665"/>
                  <a:gd name="T77" fmla="*/ 113 h 661"/>
                  <a:gd name="T78" fmla="*/ 113 w 665"/>
                  <a:gd name="T79" fmla="*/ 80 h 661"/>
                  <a:gd name="T80" fmla="*/ 151 w 665"/>
                  <a:gd name="T81" fmla="*/ 53 h 661"/>
                  <a:gd name="T82" fmla="*/ 192 w 665"/>
                  <a:gd name="T83" fmla="*/ 30 h 661"/>
                  <a:gd name="T84" fmla="*/ 235 w 665"/>
                  <a:gd name="T85" fmla="*/ 14 h 661"/>
                  <a:gd name="T86" fmla="*/ 283 w 665"/>
                  <a:gd name="T87" fmla="*/ 3 h 661"/>
                  <a:gd name="T88" fmla="*/ 332 w 665"/>
                  <a:gd name="T89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65" h="661">
                    <a:moveTo>
                      <a:pt x="332" y="0"/>
                    </a:moveTo>
                    <a:lnTo>
                      <a:pt x="381" y="3"/>
                    </a:lnTo>
                    <a:lnTo>
                      <a:pt x="428" y="14"/>
                    </a:lnTo>
                    <a:lnTo>
                      <a:pt x="472" y="30"/>
                    </a:lnTo>
                    <a:lnTo>
                      <a:pt x="512" y="53"/>
                    </a:lnTo>
                    <a:lnTo>
                      <a:pt x="550" y="80"/>
                    </a:lnTo>
                    <a:lnTo>
                      <a:pt x="583" y="113"/>
                    </a:lnTo>
                    <a:lnTo>
                      <a:pt x="610" y="150"/>
                    </a:lnTo>
                    <a:lnTo>
                      <a:pt x="633" y="191"/>
                    </a:lnTo>
                    <a:lnTo>
                      <a:pt x="650" y="234"/>
                    </a:lnTo>
                    <a:lnTo>
                      <a:pt x="661" y="281"/>
                    </a:lnTo>
                    <a:lnTo>
                      <a:pt x="665" y="330"/>
                    </a:lnTo>
                    <a:lnTo>
                      <a:pt x="661" y="378"/>
                    </a:lnTo>
                    <a:lnTo>
                      <a:pt x="650" y="425"/>
                    </a:lnTo>
                    <a:lnTo>
                      <a:pt x="633" y="470"/>
                    </a:lnTo>
                    <a:lnTo>
                      <a:pt x="610" y="511"/>
                    </a:lnTo>
                    <a:lnTo>
                      <a:pt x="583" y="547"/>
                    </a:lnTo>
                    <a:lnTo>
                      <a:pt x="550" y="580"/>
                    </a:lnTo>
                    <a:lnTo>
                      <a:pt x="512" y="608"/>
                    </a:lnTo>
                    <a:lnTo>
                      <a:pt x="472" y="630"/>
                    </a:lnTo>
                    <a:lnTo>
                      <a:pt x="428" y="646"/>
                    </a:lnTo>
                    <a:lnTo>
                      <a:pt x="381" y="657"/>
                    </a:lnTo>
                    <a:lnTo>
                      <a:pt x="332" y="661"/>
                    </a:lnTo>
                    <a:lnTo>
                      <a:pt x="283" y="657"/>
                    </a:lnTo>
                    <a:lnTo>
                      <a:pt x="235" y="646"/>
                    </a:lnTo>
                    <a:lnTo>
                      <a:pt x="192" y="630"/>
                    </a:lnTo>
                    <a:lnTo>
                      <a:pt x="151" y="608"/>
                    </a:lnTo>
                    <a:lnTo>
                      <a:pt x="113" y="580"/>
                    </a:lnTo>
                    <a:lnTo>
                      <a:pt x="81" y="547"/>
                    </a:lnTo>
                    <a:lnTo>
                      <a:pt x="53" y="511"/>
                    </a:lnTo>
                    <a:lnTo>
                      <a:pt x="30" y="470"/>
                    </a:lnTo>
                    <a:lnTo>
                      <a:pt x="13" y="425"/>
                    </a:lnTo>
                    <a:lnTo>
                      <a:pt x="3" y="378"/>
                    </a:lnTo>
                    <a:lnTo>
                      <a:pt x="0" y="330"/>
                    </a:lnTo>
                    <a:lnTo>
                      <a:pt x="3" y="281"/>
                    </a:lnTo>
                    <a:lnTo>
                      <a:pt x="13" y="234"/>
                    </a:lnTo>
                    <a:lnTo>
                      <a:pt x="30" y="191"/>
                    </a:lnTo>
                    <a:lnTo>
                      <a:pt x="53" y="150"/>
                    </a:lnTo>
                    <a:lnTo>
                      <a:pt x="81" y="113"/>
                    </a:lnTo>
                    <a:lnTo>
                      <a:pt x="113" y="80"/>
                    </a:lnTo>
                    <a:lnTo>
                      <a:pt x="151" y="53"/>
                    </a:lnTo>
                    <a:lnTo>
                      <a:pt x="192" y="30"/>
                    </a:lnTo>
                    <a:lnTo>
                      <a:pt x="235" y="14"/>
                    </a:lnTo>
                    <a:lnTo>
                      <a:pt x="283" y="3"/>
                    </a:lnTo>
                    <a:lnTo>
                      <a:pt x="33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Freeform 267">
                <a:extLst>
                  <a:ext uri="{FF2B5EF4-FFF2-40B4-BE49-F238E27FC236}">
                    <a16:creationId xmlns:a16="http://schemas.microsoft.com/office/drawing/2014/main" id="{60BD52AB-BA56-46D1-A343-9C3265AE39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48350" y="3192463"/>
                <a:ext cx="2041525" cy="2030413"/>
              </a:xfrm>
              <a:custGeom>
                <a:avLst/>
                <a:gdLst>
                  <a:gd name="T0" fmla="*/ 1704 w 3859"/>
                  <a:gd name="T1" fmla="*/ 1150 h 3835"/>
                  <a:gd name="T2" fmla="*/ 1443 w 3859"/>
                  <a:gd name="T3" fmla="*/ 1281 h 3835"/>
                  <a:gd name="T4" fmla="*/ 1248 w 3859"/>
                  <a:gd name="T5" fmla="*/ 1494 h 3835"/>
                  <a:gd name="T6" fmla="*/ 1139 w 3859"/>
                  <a:gd name="T7" fmla="*/ 1766 h 3835"/>
                  <a:gd name="T8" fmla="*/ 1139 w 3859"/>
                  <a:gd name="T9" fmla="*/ 2070 h 3835"/>
                  <a:gd name="T10" fmla="*/ 1248 w 3859"/>
                  <a:gd name="T11" fmla="*/ 2343 h 3835"/>
                  <a:gd name="T12" fmla="*/ 1443 w 3859"/>
                  <a:gd name="T13" fmla="*/ 2555 h 3835"/>
                  <a:gd name="T14" fmla="*/ 1704 w 3859"/>
                  <a:gd name="T15" fmla="*/ 2686 h 3835"/>
                  <a:gd name="T16" fmla="*/ 2008 w 3859"/>
                  <a:gd name="T17" fmla="*/ 2715 h 3835"/>
                  <a:gd name="T18" fmla="*/ 2293 w 3859"/>
                  <a:gd name="T19" fmla="*/ 2632 h 3835"/>
                  <a:gd name="T20" fmla="*/ 2524 w 3859"/>
                  <a:gd name="T21" fmla="*/ 2458 h 3835"/>
                  <a:gd name="T22" fmla="*/ 2679 w 3859"/>
                  <a:gd name="T23" fmla="*/ 2213 h 3835"/>
                  <a:gd name="T24" fmla="*/ 2734 w 3859"/>
                  <a:gd name="T25" fmla="*/ 1918 h 3835"/>
                  <a:gd name="T26" fmla="*/ 2679 w 3859"/>
                  <a:gd name="T27" fmla="*/ 1624 h 3835"/>
                  <a:gd name="T28" fmla="*/ 2524 w 3859"/>
                  <a:gd name="T29" fmla="*/ 1379 h 3835"/>
                  <a:gd name="T30" fmla="*/ 2293 w 3859"/>
                  <a:gd name="T31" fmla="*/ 1204 h 3835"/>
                  <a:gd name="T32" fmla="*/ 2008 w 3859"/>
                  <a:gd name="T33" fmla="*/ 1122 h 3835"/>
                  <a:gd name="T34" fmla="*/ 2178 w 3859"/>
                  <a:gd name="T35" fmla="*/ 4 h 3835"/>
                  <a:gd name="T36" fmla="*/ 2245 w 3859"/>
                  <a:gd name="T37" fmla="*/ 58 h 3835"/>
                  <a:gd name="T38" fmla="*/ 2480 w 3859"/>
                  <a:gd name="T39" fmla="*/ 588 h 3835"/>
                  <a:gd name="T40" fmla="*/ 3028 w 3859"/>
                  <a:gd name="T41" fmla="*/ 373 h 3835"/>
                  <a:gd name="T42" fmla="*/ 3113 w 3859"/>
                  <a:gd name="T43" fmla="*/ 381 h 3835"/>
                  <a:gd name="T44" fmla="*/ 3484 w 3859"/>
                  <a:gd name="T45" fmla="*/ 761 h 3835"/>
                  <a:gd name="T46" fmla="*/ 3475 w 3859"/>
                  <a:gd name="T47" fmla="*/ 845 h 3835"/>
                  <a:gd name="T48" fmla="*/ 3316 w 3859"/>
                  <a:gd name="T49" fmla="*/ 1504 h 3835"/>
                  <a:gd name="T50" fmla="*/ 3836 w 3859"/>
                  <a:gd name="T51" fmla="*/ 1624 h 3835"/>
                  <a:gd name="T52" fmla="*/ 3859 w 3859"/>
                  <a:gd name="T53" fmla="*/ 2150 h 3835"/>
                  <a:gd name="T54" fmla="*/ 3821 w 3859"/>
                  <a:gd name="T55" fmla="*/ 2226 h 3835"/>
                  <a:gd name="T56" fmla="*/ 3285 w 3859"/>
                  <a:gd name="T57" fmla="*/ 2426 h 3835"/>
                  <a:gd name="T58" fmla="*/ 3480 w 3859"/>
                  <a:gd name="T59" fmla="*/ 3011 h 3835"/>
                  <a:gd name="T60" fmla="*/ 3471 w 3859"/>
                  <a:gd name="T61" fmla="*/ 3095 h 3835"/>
                  <a:gd name="T62" fmla="*/ 3089 w 3859"/>
                  <a:gd name="T63" fmla="*/ 3464 h 3835"/>
                  <a:gd name="T64" fmla="*/ 3004 w 3859"/>
                  <a:gd name="T65" fmla="*/ 3453 h 3835"/>
                  <a:gd name="T66" fmla="*/ 2339 w 3859"/>
                  <a:gd name="T67" fmla="*/ 3298 h 3835"/>
                  <a:gd name="T68" fmla="*/ 2218 w 3859"/>
                  <a:gd name="T69" fmla="*/ 3812 h 3835"/>
                  <a:gd name="T70" fmla="*/ 1688 w 3859"/>
                  <a:gd name="T71" fmla="*/ 3835 h 3835"/>
                  <a:gd name="T72" fmla="*/ 1612 w 3859"/>
                  <a:gd name="T73" fmla="*/ 3797 h 3835"/>
                  <a:gd name="T74" fmla="*/ 1415 w 3859"/>
                  <a:gd name="T75" fmla="*/ 3263 h 3835"/>
                  <a:gd name="T76" fmla="*/ 837 w 3859"/>
                  <a:gd name="T77" fmla="*/ 3458 h 3835"/>
                  <a:gd name="T78" fmla="*/ 751 w 3859"/>
                  <a:gd name="T79" fmla="*/ 3449 h 3835"/>
                  <a:gd name="T80" fmla="*/ 380 w 3859"/>
                  <a:gd name="T81" fmla="*/ 3070 h 3835"/>
                  <a:gd name="T82" fmla="*/ 390 w 3859"/>
                  <a:gd name="T83" fmla="*/ 2986 h 3835"/>
                  <a:gd name="T84" fmla="*/ 543 w 3859"/>
                  <a:gd name="T85" fmla="*/ 2332 h 3835"/>
                  <a:gd name="T86" fmla="*/ 23 w 3859"/>
                  <a:gd name="T87" fmla="*/ 2212 h 3835"/>
                  <a:gd name="T88" fmla="*/ 0 w 3859"/>
                  <a:gd name="T89" fmla="*/ 1684 h 3835"/>
                  <a:gd name="T90" fmla="*/ 38 w 3859"/>
                  <a:gd name="T91" fmla="*/ 1609 h 3835"/>
                  <a:gd name="T92" fmla="*/ 574 w 3859"/>
                  <a:gd name="T93" fmla="*/ 1414 h 3835"/>
                  <a:gd name="T94" fmla="*/ 376 w 3859"/>
                  <a:gd name="T95" fmla="*/ 832 h 3835"/>
                  <a:gd name="T96" fmla="*/ 383 w 3859"/>
                  <a:gd name="T97" fmla="*/ 747 h 3835"/>
                  <a:gd name="T98" fmla="*/ 767 w 3859"/>
                  <a:gd name="T99" fmla="*/ 378 h 3835"/>
                  <a:gd name="T100" fmla="*/ 851 w 3859"/>
                  <a:gd name="T101" fmla="*/ 388 h 3835"/>
                  <a:gd name="T102" fmla="*/ 1506 w 3859"/>
                  <a:gd name="T103" fmla="*/ 542 h 3835"/>
                  <a:gd name="T104" fmla="*/ 1627 w 3859"/>
                  <a:gd name="T105" fmla="*/ 23 h 38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59" h="3835">
                    <a:moveTo>
                      <a:pt x="1930" y="1118"/>
                    </a:moveTo>
                    <a:lnTo>
                      <a:pt x="1853" y="1122"/>
                    </a:lnTo>
                    <a:lnTo>
                      <a:pt x="1777" y="1132"/>
                    </a:lnTo>
                    <a:lnTo>
                      <a:pt x="1704" y="1150"/>
                    </a:lnTo>
                    <a:lnTo>
                      <a:pt x="1634" y="1174"/>
                    </a:lnTo>
                    <a:lnTo>
                      <a:pt x="1566" y="1204"/>
                    </a:lnTo>
                    <a:lnTo>
                      <a:pt x="1503" y="1241"/>
                    </a:lnTo>
                    <a:lnTo>
                      <a:pt x="1443" y="1281"/>
                    </a:lnTo>
                    <a:lnTo>
                      <a:pt x="1387" y="1328"/>
                    </a:lnTo>
                    <a:lnTo>
                      <a:pt x="1335" y="1379"/>
                    </a:lnTo>
                    <a:lnTo>
                      <a:pt x="1289" y="1434"/>
                    </a:lnTo>
                    <a:lnTo>
                      <a:pt x="1248" y="1494"/>
                    </a:lnTo>
                    <a:lnTo>
                      <a:pt x="1212" y="1557"/>
                    </a:lnTo>
                    <a:lnTo>
                      <a:pt x="1181" y="1624"/>
                    </a:lnTo>
                    <a:lnTo>
                      <a:pt x="1157" y="1694"/>
                    </a:lnTo>
                    <a:lnTo>
                      <a:pt x="1139" y="1766"/>
                    </a:lnTo>
                    <a:lnTo>
                      <a:pt x="1128" y="1841"/>
                    </a:lnTo>
                    <a:lnTo>
                      <a:pt x="1125" y="1918"/>
                    </a:lnTo>
                    <a:lnTo>
                      <a:pt x="1128" y="1995"/>
                    </a:lnTo>
                    <a:lnTo>
                      <a:pt x="1139" y="2070"/>
                    </a:lnTo>
                    <a:lnTo>
                      <a:pt x="1157" y="2143"/>
                    </a:lnTo>
                    <a:lnTo>
                      <a:pt x="1181" y="2213"/>
                    </a:lnTo>
                    <a:lnTo>
                      <a:pt x="1212" y="2279"/>
                    </a:lnTo>
                    <a:lnTo>
                      <a:pt x="1248" y="2343"/>
                    </a:lnTo>
                    <a:lnTo>
                      <a:pt x="1289" y="2403"/>
                    </a:lnTo>
                    <a:lnTo>
                      <a:pt x="1335" y="2458"/>
                    </a:lnTo>
                    <a:lnTo>
                      <a:pt x="1387" y="2508"/>
                    </a:lnTo>
                    <a:lnTo>
                      <a:pt x="1443" y="2555"/>
                    </a:lnTo>
                    <a:lnTo>
                      <a:pt x="1503" y="2596"/>
                    </a:lnTo>
                    <a:lnTo>
                      <a:pt x="1566" y="2632"/>
                    </a:lnTo>
                    <a:lnTo>
                      <a:pt x="1634" y="2662"/>
                    </a:lnTo>
                    <a:lnTo>
                      <a:pt x="1704" y="2686"/>
                    </a:lnTo>
                    <a:lnTo>
                      <a:pt x="1777" y="2704"/>
                    </a:lnTo>
                    <a:lnTo>
                      <a:pt x="1853" y="2715"/>
                    </a:lnTo>
                    <a:lnTo>
                      <a:pt x="1930" y="2719"/>
                    </a:lnTo>
                    <a:lnTo>
                      <a:pt x="2008" y="2715"/>
                    </a:lnTo>
                    <a:lnTo>
                      <a:pt x="2083" y="2704"/>
                    </a:lnTo>
                    <a:lnTo>
                      <a:pt x="2156" y="2686"/>
                    </a:lnTo>
                    <a:lnTo>
                      <a:pt x="2227" y="2662"/>
                    </a:lnTo>
                    <a:lnTo>
                      <a:pt x="2293" y="2632"/>
                    </a:lnTo>
                    <a:lnTo>
                      <a:pt x="2357" y="2596"/>
                    </a:lnTo>
                    <a:lnTo>
                      <a:pt x="2416" y="2555"/>
                    </a:lnTo>
                    <a:lnTo>
                      <a:pt x="2473" y="2508"/>
                    </a:lnTo>
                    <a:lnTo>
                      <a:pt x="2524" y="2458"/>
                    </a:lnTo>
                    <a:lnTo>
                      <a:pt x="2571" y="2403"/>
                    </a:lnTo>
                    <a:lnTo>
                      <a:pt x="2612" y="2343"/>
                    </a:lnTo>
                    <a:lnTo>
                      <a:pt x="2649" y="2279"/>
                    </a:lnTo>
                    <a:lnTo>
                      <a:pt x="2679" y="2213"/>
                    </a:lnTo>
                    <a:lnTo>
                      <a:pt x="2703" y="2143"/>
                    </a:lnTo>
                    <a:lnTo>
                      <a:pt x="2720" y="2070"/>
                    </a:lnTo>
                    <a:lnTo>
                      <a:pt x="2731" y="1995"/>
                    </a:lnTo>
                    <a:lnTo>
                      <a:pt x="2734" y="1918"/>
                    </a:lnTo>
                    <a:lnTo>
                      <a:pt x="2731" y="1841"/>
                    </a:lnTo>
                    <a:lnTo>
                      <a:pt x="2720" y="1766"/>
                    </a:lnTo>
                    <a:lnTo>
                      <a:pt x="2703" y="1694"/>
                    </a:lnTo>
                    <a:lnTo>
                      <a:pt x="2679" y="1624"/>
                    </a:lnTo>
                    <a:lnTo>
                      <a:pt x="2649" y="1557"/>
                    </a:lnTo>
                    <a:lnTo>
                      <a:pt x="2612" y="1494"/>
                    </a:lnTo>
                    <a:lnTo>
                      <a:pt x="2571" y="1434"/>
                    </a:lnTo>
                    <a:lnTo>
                      <a:pt x="2524" y="1379"/>
                    </a:lnTo>
                    <a:lnTo>
                      <a:pt x="2473" y="1328"/>
                    </a:lnTo>
                    <a:lnTo>
                      <a:pt x="2418" y="1281"/>
                    </a:lnTo>
                    <a:lnTo>
                      <a:pt x="2357" y="1241"/>
                    </a:lnTo>
                    <a:lnTo>
                      <a:pt x="2293" y="1204"/>
                    </a:lnTo>
                    <a:lnTo>
                      <a:pt x="2227" y="1174"/>
                    </a:lnTo>
                    <a:lnTo>
                      <a:pt x="2156" y="1150"/>
                    </a:lnTo>
                    <a:lnTo>
                      <a:pt x="2083" y="1132"/>
                    </a:lnTo>
                    <a:lnTo>
                      <a:pt x="2008" y="1122"/>
                    </a:lnTo>
                    <a:lnTo>
                      <a:pt x="1930" y="1118"/>
                    </a:lnTo>
                    <a:close/>
                    <a:moveTo>
                      <a:pt x="1687" y="0"/>
                    </a:moveTo>
                    <a:lnTo>
                      <a:pt x="2156" y="0"/>
                    </a:lnTo>
                    <a:lnTo>
                      <a:pt x="2178" y="4"/>
                    </a:lnTo>
                    <a:lnTo>
                      <a:pt x="2199" y="11"/>
                    </a:lnTo>
                    <a:lnTo>
                      <a:pt x="2218" y="23"/>
                    </a:lnTo>
                    <a:lnTo>
                      <a:pt x="2233" y="39"/>
                    </a:lnTo>
                    <a:lnTo>
                      <a:pt x="2245" y="58"/>
                    </a:lnTo>
                    <a:lnTo>
                      <a:pt x="2252" y="78"/>
                    </a:lnTo>
                    <a:lnTo>
                      <a:pt x="2338" y="539"/>
                    </a:lnTo>
                    <a:lnTo>
                      <a:pt x="2410" y="561"/>
                    </a:lnTo>
                    <a:lnTo>
                      <a:pt x="2480" y="588"/>
                    </a:lnTo>
                    <a:lnTo>
                      <a:pt x="2548" y="618"/>
                    </a:lnTo>
                    <a:lnTo>
                      <a:pt x="2615" y="650"/>
                    </a:lnTo>
                    <a:lnTo>
                      <a:pt x="3009" y="384"/>
                    </a:lnTo>
                    <a:lnTo>
                      <a:pt x="3028" y="373"/>
                    </a:lnTo>
                    <a:lnTo>
                      <a:pt x="3050" y="368"/>
                    </a:lnTo>
                    <a:lnTo>
                      <a:pt x="3072" y="368"/>
                    </a:lnTo>
                    <a:lnTo>
                      <a:pt x="3094" y="373"/>
                    </a:lnTo>
                    <a:lnTo>
                      <a:pt x="3113" y="381"/>
                    </a:lnTo>
                    <a:lnTo>
                      <a:pt x="3131" y="394"/>
                    </a:lnTo>
                    <a:lnTo>
                      <a:pt x="3463" y="725"/>
                    </a:lnTo>
                    <a:lnTo>
                      <a:pt x="3476" y="742"/>
                    </a:lnTo>
                    <a:lnTo>
                      <a:pt x="3484" y="761"/>
                    </a:lnTo>
                    <a:lnTo>
                      <a:pt x="3489" y="783"/>
                    </a:lnTo>
                    <a:lnTo>
                      <a:pt x="3489" y="805"/>
                    </a:lnTo>
                    <a:lnTo>
                      <a:pt x="3484" y="826"/>
                    </a:lnTo>
                    <a:lnTo>
                      <a:pt x="3475" y="845"/>
                    </a:lnTo>
                    <a:lnTo>
                      <a:pt x="3205" y="1237"/>
                    </a:lnTo>
                    <a:lnTo>
                      <a:pt x="3249" y="1322"/>
                    </a:lnTo>
                    <a:lnTo>
                      <a:pt x="3285" y="1412"/>
                    </a:lnTo>
                    <a:lnTo>
                      <a:pt x="3316" y="1504"/>
                    </a:lnTo>
                    <a:lnTo>
                      <a:pt x="3782" y="1590"/>
                    </a:lnTo>
                    <a:lnTo>
                      <a:pt x="3802" y="1597"/>
                    </a:lnTo>
                    <a:lnTo>
                      <a:pt x="3821" y="1609"/>
                    </a:lnTo>
                    <a:lnTo>
                      <a:pt x="3836" y="1624"/>
                    </a:lnTo>
                    <a:lnTo>
                      <a:pt x="3848" y="1643"/>
                    </a:lnTo>
                    <a:lnTo>
                      <a:pt x="3857" y="1664"/>
                    </a:lnTo>
                    <a:lnTo>
                      <a:pt x="3859" y="1684"/>
                    </a:lnTo>
                    <a:lnTo>
                      <a:pt x="3859" y="2150"/>
                    </a:lnTo>
                    <a:lnTo>
                      <a:pt x="3857" y="2172"/>
                    </a:lnTo>
                    <a:lnTo>
                      <a:pt x="3848" y="2192"/>
                    </a:lnTo>
                    <a:lnTo>
                      <a:pt x="3836" y="2212"/>
                    </a:lnTo>
                    <a:lnTo>
                      <a:pt x="3821" y="2226"/>
                    </a:lnTo>
                    <a:lnTo>
                      <a:pt x="3802" y="2238"/>
                    </a:lnTo>
                    <a:lnTo>
                      <a:pt x="3782" y="2244"/>
                    </a:lnTo>
                    <a:lnTo>
                      <a:pt x="3316" y="2332"/>
                    </a:lnTo>
                    <a:lnTo>
                      <a:pt x="3285" y="2426"/>
                    </a:lnTo>
                    <a:lnTo>
                      <a:pt x="3247" y="2517"/>
                    </a:lnTo>
                    <a:lnTo>
                      <a:pt x="3204" y="2605"/>
                    </a:lnTo>
                    <a:lnTo>
                      <a:pt x="3470" y="2992"/>
                    </a:lnTo>
                    <a:lnTo>
                      <a:pt x="3480" y="3011"/>
                    </a:lnTo>
                    <a:lnTo>
                      <a:pt x="3484" y="3031"/>
                    </a:lnTo>
                    <a:lnTo>
                      <a:pt x="3484" y="3054"/>
                    </a:lnTo>
                    <a:lnTo>
                      <a:pt x="3481" y="3074"/>
                    </a:lnTo>
                    <a:lnTo>
                      <a:pt x="3471" y="3095"/>
                    </a:lnTo>
                    <a:lnTo>
                      <a:pt x="3458" y="3112"/>
                    </a:lnTo>
                    <a:lnTo>
                      <a:pt x="3126" y="3442"/>
                    </a:lnTo>
                    <a:lnTo>
                      <a:pt x="3109" y="3455"/>
                    </a:lnTo>
                    <a:lnTo>
                      <a:pt x="3089" y="3464"/>
                    </a:lnTo>
                    <a:lnTo>
                      <a:pt x="3067" y="3469"/>
                    </a:lnTo>
                    <a:lnTo>
                      <a:pt x="3045" y="3467"/>
                    </a:lnTo>
                    <a:lnTo>
                      <a:pt x="3024" y="3463"/>
                    </a:lnTo>
                    <a:lnTo>
                      <a:pt x="3004" y="3453"/>
                    </a:lnTo>
                    <a:lnTo>
                      <a:pt x="2612" y="3187"/>
                    </a:lnTo>
                    <a:lnTo>
                      <a:pt x="2524" y="3230"/>
                    </a:lnTo>
                    <a:lnTo>
                      <a:pt x="2433" y="3267"/>
                    </a:lnTo>
                    <a:lnTo>
                      <a:pt x="2339" y="3298"/>
                    </a:lnTo>
                    <a:lnTo>
                      <a:pt x="2252" y="3758"/>
                    </a:lnTo>
                    <a:lnTo>
                      <a:pt x="2245" y="3779"/>
                    </a:lnTo>
                    <a:lnTo>
                      <a:pt x="2233" y="3797"/>
                    </a:lnTo>
                    <a:lnTo>
                      <a:pt x="2218" y="3812"/>
                    </a:lnTo>
                    <a:lnTo>
                      <a:pt x="2199" y="3826"/>
                    </a:lnTo>
                    <a:lnTo>
                      <a:pt x="2178" y="3833"/>
                    </a:lnTo>
                    <a:lnTo>
                      <a:pt x="2156" y="3835"/>
                    </a:lnTo>
                    <a:lnTo>
                      <a:pt x="1688" y="3835"/>
                    </a:lnTo>
                    <a:lnTo>
                      <a:pt x="1666" y="3833"/>
                    </a:lnTo>
                    <a:lnTo>
                      <a:pt x="1646" y="3826"/>
                    </a:lnTo>
                    <a:lnTo>
                      <a:pt x="1627" y="3812"/>
                    </a:lnTo>
                    <a:lnTo>
                      <a:pt x="1612" y="3797"/>
                    </a:lnTo>
                    <a:lnTo>
                      <a:pt x="1600" y="3779"/>
                    </a:lnTo>
                    <a:lnTo>
                      <a:pt x="1593" y="3758"/>
                    </a:lnTo>
                    <a:lnTo>
                      <a:pt x="1506" y="3293"/>
                    </a:lnTo>
                    <a:lnTo>
                      <a:pt x="1415" y="3263"/>
                    </a:lnTo>
                    <a:lnTo>
                      <a:pt x="1327" y="3227"/>
                    </a:lnTo>
                    <a:lnTo>
                      <a:pt x="1242" y="3185"/>
                    </a:lnTo>
                    <a:lnTo>
                      <a:pt x="856" y="3447"/>
                    </a:lnTo>
                    <a:lnTo>
                      <a:pt x="837" y="3458"/>
                    </a:lnTo>
                    <a:lnTo>
                      <a:pt x="815" y="3463"/>
                    </a:lnTo>
                    <a:lnTo>
                      <a:pt x="793" y="3463"/>
                    </a:lnTo>
                    <a:lnTo>
                      <a:pt x="771" y="3458"/>
                    </a:lnTo>
                    <a:lnTo>
                      <a:pt x="751" y="3449"/>
                    </a:lnTo>
                    <a:lnTo>
                      <a:pt x="734" y="3436"/>
                    </a:lnTo>
                    <a:lnTo>
                      <a:pt x="401" y="3107"/>
                    </a:lnTo>
                    <a:lnTo>
                      <a:pt x="388" y="3089"/>
                    </a:lnTo>
                    <a:lnTo>
                      <a:pt x="380" y="3070"/>
                    </a:lnTo>
                    <a:lnTo>
                      <a:pt x="375" y="3048"/>
                    </a:lnTo>
                    <a:lnTo>
                      <a:pt x="376" y="3025"/>
                    </a:lnTo>
                    <a:lnTo>
                      <a:pt x="381" y="3005"/>
                    </a:lnTo>
                    <a:lnTo>
                      <a:pt x="390" y="2986"/>
                    </a:lnTo>
                    <a:lnTo>
                      <a:pt x="655" y="2601"/>
                    </a:lnTo>
                    <a:lnTo>
                      <a:pt x="612" y="2514"/>
                    </a:lnTo>
                    <a:lnTo>
                      <a:pt x="574" y="2424"/>
                    </a:lnTo>
                    <a:lnTo>
                      <a:pt x="543" y="2332"/>
                    </a:lnTo>
                    <a:lnTo>
                      <a:pt x="78" y="2244"/>
                    </a:lnTo>
                    <a:lnTo>
                      <a:pt x="58" y="2238"/>
                    </a:lnTo>
                    <a:lnTo>
                      <a:pt x="38" y="2226"/>
                    </a:lnTo>
                    <a:lnTo>
                      <a:pt x="23" y="2212"/>
                    </a:lnTo>
                    <a:lnTo>
                      <a:pt x="11" y="2192"/>
                    </a:lnTo>
                    <a:lnTo>
                      <a:pt x="3" y="2172"/>
                    </a:lnTo>
                    <a:lnTo>
                      <a:pt x="0" y="2150"/>
                    </a:lnTo>
                    <a:lnTo>
                      <a:pt x="0" y="1684"/>
                    </a:lnTo>
                    <a:lnTo>
                      <a:pt x="3" y="1664"/>
                    </a:lnTo>
                    <a:lnTo>
                      <a:pt x="11" y="1643"/>
                    </a:lnTo>
                    <a:lnTo>
                      <a:pt x="23" y="1624"/>
                    </a:lnTo>
                    <a:lnTo>
                      <a:pt x="38" y="1609"/>
                    </a:lnTo>
                    <a:lnTo>
                      <a:pt x="58" y="1597"/>
                    </a:lnTo>
                    <a:lnTo>
                      <a:pt x="78" y="1590"/>
                    </a:lnTo>
                    <a:lnTo>
                      <a:pt x="543" y="1504"/>
                    </a:lnTo>
                    <a:lnTo>
                      <a:pt x="574" y="1414"/>
                    </a:lnTo>
                    <a:lnTo>
                      <a:pt x="611" y="1325"/>
                    </a:lnTo>
                    <a:lnTo>
                      <a:pt x="653" y="1239"/>
                    </a:lnTo>
                    <a:lnTo>
                      <a:pt x="386" y="851"/>
                    </a:lnTo>
                    <a:lnTo>
                      <a:pt x="376" y="832"/>
                    </a:lnTo>
                    <a:lnTo>
                      <a:pt x="370" y="810"/>
                    </a:lnTo>
                    <a:lnTo>
                      <a:pt x="370" y="789"/>
                    </a:lnTo>
                    <a:lnTo>
                      <a:pt x="375" y="767"/>
                    </a:lnTo>
                    <a:lnTo>
                      <a:pt x="383" y="747"/>
                    </a:lnTo>
                    <a:lnTo>
                      <a:pt x="397" y="730"/>
                    </a:lnTo>
                    <a:lnTo>
                      <a:pt x="729" y="400"/>
                    </a:lnTo>
                    <a:lnTo>
                      <a:pt x="746" y="387"/>
                    </a:lnTo>
                    <a:lnTo>
                      <a:pt x="767" y="378"/>
                    </a:lnTo>
                    <a:lnTo>
                      <a:pt x="787" y="374"/>
                    </a:lnTo>
                    <a:lnTo>
                      <a:pt x="810" y="374"/>
                    </a:lnTo>
                    <a:lnTo>
                      <a:pt x="832" y="379"/>
                    </a:lnTo>
                    <a:lnTo>
                      <a:pt x="851" y="388"/>
                    </a:lnTo>
                    <a:lnTo>
                      <a:pt x="1240" y="653"/>
                    </a:lnTo>
                    <a:lnTo>
                      <a:pt x="1325" y="611"/>
                    </a:lnTo>
                    <a:lnTo>
                      <a:pt x="1414" y="574"/>
                    </a:lnTo>
                    <a:lnTo>
                      <a:pt x="1506" y="542"/>
                    </a:lnTo>
                    <a:lnTo>
                      <a:pt x="1593" y="78"/>
                    </a:lnTo>
                    <a:lnTo>
                      <a:pt x="1600" y="58"/>
                    </a:lnTo>
                    <a:lnTo>
                      <a:pt x="1611" y="39"/>
                    </a:lnTo>
                    <a:lnTo>
                      <a:pt x="1627" y="23"/>
                    </a:lnTo>
                    <a:lnTo>
                      <a:pt x="1645" y="11"/>
                    </a:lnTo>
                    <a:lnTo>
                      <a:pt x="1665" y="4"/>
                    </a:lnTo>
                    <a:lnTo>
                      <a:pt x="16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27" name="添加标题">
              <a:extLst>
                <a:ext uri="{FF2B5EF4-FFF2-40B4-BE49-F238E27FC236}">
                  <a16:creationId xmlns:a16="http://schemas.microsoft.com/office/drawing/2014/main" id="{36AFF8C4-256C-4673-BE44-51FB658AE68D}"/>
                </a:ext>
              </a:extLst>
            </p:cNvPr>
            <p:cNvSpPr txBox="1"/>
            <p:nvPr/>
          </p:nvSpPr>
          <p:spPr>
            <a:xfrm>
              <a:off x="2098113" y="2268463"/>
              <a:ext cx="2250193" cy="1068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altLang="zh-CN" sz="1600" b="1" dirty="0">
                  <a:solidFill>
                    <a:schemeClr val="accent2"/>
                  </a:solidFill>
                  <a:cs typeface="+mn-ea"/>
                  <a:sym typeface="+mn-lt"/>
                </a:rPr>
                <a:t>Add title text</a:t>
              </a:r>
            </a:p>
            <a:p>
              <a:pPr algn="r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1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AB665C46-6D07-4DD0-90E3-84DDD8CAAE4E}"/>
              </a:ext>
            </a:extLst>
          </p:cNvPr>
          <p:cNvGrpSpPr/>
          <p:nvPr/>
        </p:nvGrpSpPr>
        <p:grpSpPr>
          <a:xfrm>
            <a:off x="7709671" y="3099549"/>
            <a:ext cx="2846488" cy="1068049"/>
            <a:chOff x="7709671" y="2663612"/>
            <a:chExt cx="2846488" cy="1068049"/>
          </a:xfrm>
        </p:grpSpPr>
        <p:grpSp>
          <p:nvGrpSpPr>
            <p:cNvPr id="31" name="Группа 398">
              <a:extLst>
                <a:ext uri="{FF2B5EF4-FFF2-40B4-BE49-F238E27FC236}">
                  <a16:creationId xmlns:a16="http://schemas.microsoft.com/office/drawing/2014/main" id="{5BD5E08D-D52C-4439-8411-9618C7E266F9}"/>
                </a:ext>
              </a:extLst>
            </p:cNvPr>
            <p:cNvGrpSpPr/>
            <p:nvPr/>
          </p:nvGrpSpPr>
          <p:grpSpPr>
            <a:xfrm>
              <a:off x="7709671" y="2884804"/>
              <a:ext cx="433291" cy="500502"/>
              <a:chOff x="5886450" y="3211513"/>
              <a:chExt cx="1535113" cy="1773238"/>
            </a:xfrm>
            <a:solidFill>
              <a:schemeClr val="accent4"/>
            </a:solidFill>
          </p:grpSpPr>
          <p:sp>
            <p:nvSpPr>
              <p:cNvPr id="33" name="Freeform 356">
                <a:extLst>
                  <a:ext uri="{FF2B5EF4-FFF2-40B4-BE49-F238E27FC236}">
                    <a16:creationId xmlns:a16="http://schemas.microsoft.com/office/drawing/2014/main" id="{20A5B3B4-662E-48C2-8456-F00E59C229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6450" y="3211513"/>
                <a:ext cx="1531938" cy="773113"/>
              </a:xfrm>
              <a:custGeom>
                <a:avLst/>
                <a:gdLst>
                  <a:gd name="T0" fmla="*/ 628 w 2895"/>
                  <a:gd name="T1" fmla="*/ 277 h 1460"/>
                  <a:gd name="T2" fmla="*/ 483 w 2895"/>
                  <a:gd name="T3" fmla="*/ 336 h 1460"/>
                  <a:gd name="T4" fmla="*/ 369 w 2895"/>
                  <a:gd name="T5" fmla="*/ 438 h 1460"/>
                  <a:gd name="T6" fmla="*/ 293 w 2895"/>
                  <a:gd name="T7" fmla="*/ 573 h 1460"/>
                  <a:gd name="T8" fmla="*/ 266 w 2895"/>
                  <a:gd name="T9" fmla="*/ 730 h 1460"/>
                  <a:gd name="T10" fmla="*/ 293 w 2895"/>
                  <a:gd name="T11" fmla="*/ 888 h 1460"/>
                  <a:gd name="T12" fmla="*/ 369 w 2895"/>
                  <a:gd name="T13" fmla="*/ 1021 h 1460"/>
                  <a:gd name="T14" fmla="*/ 483 w 2895"/>
                  <a:gd name="T15" fmla="*/ 1123 h 1460"/>
                  <a:gd name="T16" fmla="*/ 628 w 2895"/>
                  <a:gd name="T17" fmla="*/ 1184 h 1460"/>
                  <a:gd name="T18" fmla="*/ 789 w 2895"/>
                  <a:gd name="T19" fmla="*/ 1193 h 1460"/>
                  <a:gd name="T20" fmla="*/ 941 w 2895"/>
                  <a:gd name="T21" fmla="*/ 1149 h 1460"/>
                  <a:gd name="T22" fmla="*/ 1066 w 2895"/>
                  <a:gd name="T23" fmla="*/ 1060 h 1460"/>
                  <a:gd name="T24" fmla="*/ 1156 w 2895"/>
                  <a:gd name="T25" fmla="*/ 935 h 1460"/>
                  <a:gd name="T26" fmla="*/ 1201 w 2895"/>
                  <a:gd name="T27" fmla="*/ 785 h 1460"/>
                  <a:gd name="T28" fmla="*/ 1191 w 2895"/>
                  <a:gd name="T29" fmla="*/ 623 h 1460"/>
                  <a:gd name="T30" fmla="*/ 1131 w 2895"/>
                  <a:gd name="T31" fmla="*/ 480 h 1460"/>
                  <a:gd name="T32" fmla="*/ 1028 w 2895"/>
                  <a:gd name="T33" fmla="*/ 366 h 1460"/>
                  <a:gd name="T34" fmla="*/ 893 w 2895"/>
                  <a:gd name="T35" fmla="*/ 291 h 1460"/>
                  <a:gd name="T36" fmla="*/ 734 w 2895"/>
                  <a:gd name="T37" fmla="*/ 264 h 1460"/>
                  <a:gd name="T38" fmla="*/ 2231 w 2895"/>
                  <a:gd name="T39" fmla="*/ 3 h 1460"/>
                  <a:gd name="T40" fmla="*/ 2431 w 2895"/>
                  <a:gd name="T41" fmla="*/ 51 h 1460"/>
                  <a:gd name="T42" fmla="*/ 2605 w 2895"/>
                  <a:gd name="T43" fmla="*/ 149 h 1460"/>
                  <a:gd name="T44" fmla="*/ 2745 w 2895"/>
                  <a:gd name="T45" fmla="*/ 289 h 1460"/>
                  <a:gd name="T46" fmla="*/ 2844 w 2895"/>
                  <a:gd name="T47" fmla="*/ 462 h 1460"/>
                  <a:gd name="T48" fmla="*/ 2892 w 2895"/>
                  <a:gd name="T49" fmla="*/ 659 h 1460"/>
                  <a:gd name="T50" fmla="*/ 2882 w 2895"/>
                  <a:gd name="T51" fmla="*/ 868 h 1460"/>
                  <a:gd name="T52" fmla="*/ 2817 w 2895"/>
                  <a:gd name="T53" fmla="*/ 1060 h 1460"/>
                  <a:gd name="T54" fmla="*/ 2704 w 2895"/>
                  <a:gd name="T55" fmla="*/ 1222 h 1460"/>
                  <a:gd name="T56" fmla="*/ 2551 w 2895"/>
                  <a:gd name="T57" fmla="*/ 1348 h 1460"/>
                  <a:gd name="T58" fmla="*/ 2367 w 2895"/>
                  <a:gd name="T59" fmla="*/ 1431 h 1460"/>
                  <a:gd name="T60" fmla="*/ 2161 w 2895"/>
                  <a:gd name="T61" fmla="*/ 1460 h 1460"/>
                  <a:gd name="T62" fmla="*/ 595 w 2895"/>
                  <a:gd name="T63" fmla="*/ 1447 h 1460"/>
                  <a:gd name="T64" fmla="*/ 403 w 2895"/>
                  <a:gd name="T65" fmla="*/ 1381 h 1460"/>
                  <a:gd name="T66" fmla="*/ 239 w 2895"/>
                  <a:gd name="T67" fmla="*/ 1269 h 1460"/>
                  <a:gd name="T68" fmla="*/ 111 w 2895"/>
                  <a:gd name="T69" fmla="*/ 1117 h 1460"/>
                  <a:gd name="T70" fmla="*/ 29 w 2895"/>
                  <a:gd name="T71" fmla="*/ 935 h 1460"/>
                  <a:gd name="T72" fmla="*/ 0 w 2895"/>
                  <a:gd name="T73" fmla="*/ 730 h 1460"/>
                  <a:gd name="T74" fmla="*/ 29 w 2895"/>
                  <a:gd name="T75" fmla="*/ 525 h 1460"/>
                  <a:gd name="T76" fmla="*/ 111 w 2895"/>
                  <a:gd name="T77" fmla="*/ 343 h 1460"/>
                  <a:gd name="T78" fmla="*/ 239 w 2895"/>
                  <a:gd name="T79" fmla="*/ 191 h 1460"/>
                  <a:gd name="T80" fmla="*/ 403 w 2895"/>
                  <a:gd name="T81" fmla="*/ 78 h 1460"/>
                  <a:gd name="T82" fmla="*/ 595 w 2895"/>
                  <a:gd name="T83" fmla="*/ 14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95" h="1460">
                    <a:moveTo>
                      <a:pt x="734" y="264"/>
                    </a:moveTo>
                    <a:lnTo>
                      <a:pt x="680" y="267"/>
                    </a:lnTo>
                    <a:lnTo>
                      <a:pt x="628" y="277"/>
                    </a:lnTo>
                    <a:lnTo>
                      <a:pt x="576" y="291"/>
                    </a:lnTo>
                    <a:lnTo>
                      <a:pt x="528" y="311"/>
                    </a:lnTo>
                    <a:lnTo>
                      <a:pt x="483" y="336"/>
                    </a:lnTo>
                    <a:lnTo>
                      <a:pt x="442" y="366"/>
                    </a:lnTo>
                    <a:lnTo>
                      <a:pt x="403" y="400"/>
                    </a:lnTo>
                    <a:lnTo>
                      <a:pt x="369" y="438"/>
                    </a:lnTo>
                    <a:lnTo>
                      <a:pt x="339" y="480"/>
                    </a:lnTo>
                    <a:lnTo>
                      <a:pt x="313" y="525"/>
                    </a:lnTo>
                    <a:lnTo>
                      <a:pt x="293" y="573"/>
                    </a:lnTo>
                    <a:lnTo>
                      <a:pt x="278" y="623"/>
                    </a:lnTo>
                    <a:lnTo>
                      <a:pt x="269" y="675"/>
                    </a:lnTo>
                    <a:lnTo>
                      <a:pt x="266" y="730"/>
                    </a:lnTo>
                    <a:lnTo>
                      <a:pt x="269" y="785"/>
                    </a:lnTo>
                    <a:lnTo>
                      <a:pt x="278" y="837"/>
                    </a:lnTo>
                    <a:lnTo>
                      <a:pt x="293" y="888"/>
                    </a:lnTo>
                    <a:lnTo>
                      <a:pt x="313" y="935"/>
                    </a:lnTo>
                    <a:lnTo>
                      <a:pt x="339" y="980"/>
                    </a:lnTo>
                    <a:lnTo>
                      <a:pt x="369" y="1021"/>
                    </a:lnTo>
                    <a:lnTo>
                      <a:pt x="403" y="1060"/>
                    </a:lnTo>
                    <a:lnTo>
                      <a:pt x="442" y="1094"/>
                    </a:lnTo>
                    <a:lnTo>
                      <a:pt x="483" y="1123"/>
                    </a:lnTo>
                    <a:lnTo>
                      <a:pt x="528" y="1149"/>
                    </a:lnTo>
                    <a:lnTo>
                      <a:pt x="576" y="1169"/>
                    </a:lnTo>
                    <a:lnTo>
                      <a:pt x="628" y="1184"/>
                    </a:lnTo>
                    <a:lnTo>
                      <a:pt x="680" y="1193"/>
                    </a:lnTo>
                    <a:lnTo>
                      <a:pt x="734" y="1196"/>
                    </a:lnTo>
                    <a:lnTo>
                      <a:pt x="789" y="1193"/>
                    </a:lnTo>
                    <a:lnTo>
                      <a:pt x="842" y="1184"/>
                    </a:lnTo>
                    <a:lnTo>
                      <a:pt x="893" y="1169"/>
                    </a:lnTo>
                    <a:lnTo>
                      <a:pt x="941" y="1149"/>
                    </a:lnTo>
                    <a:lnTo>
                      <a:pt x="986" y="1123"/>
                    </a:lnTo>
                    <a:lnTo>
                      <a:pt x="1028" y="1094"/>
                    </a:lnTo>
                    <a:lnTo>
                      <a:pt x="1066" y="1060"/>
                    </a:lnTo>
                    <a:lnTo>
                      <a:pt x="1101" y="1021"/>
                    </a:lnTo>
                    <a:lnTo>
                      <a:pt x="1131" y="980"/>
                    </a:lnTo>
                    <a:lnTo>
                      <a:pt x="1156" y="935"/>
                    </a:lnTo>
                    <a:lnTo>
                      <a:pt x="1176" y="888"/>
                    </a:lnTo>
                    <a:lnTo>
                      <a:pt x="1191" y="837"/>
                    </a:lnTo>
                    <a:lnTo>
                      <a:pt x="1201" y="785"/>
                    </a:lnTo>
                    <a:lnTo>
                      <a:pt x="1204" y="730"/>
                    </a:lnTo>
                    <a:lnTo>
                      <a:pt x="1201" y="675"/>
                    </a:lnTo>
                    <a:lnTo>
                      <a:pt x="1191" y="623"/>
                    </a:lnTo>
                    <a:lnTo>
                      <a:pt x="1176" y="573"/>
                    </a:lnTo>
                    <a:lnTo>
                      <a:pt x="1156" y="525"/>
                    </a:lnTo>
                    <a:lnTo>
                      <a:pt x="1131" y="480"/>
                    </a:lnTo>
                    <a:lnTo>
                      <a:pt x="1101" y="438"/>
                    </a:lnTo>
                    <a:lnTo>
                      <a:pt x="1066" y="400"/>
                    </a:lnTo>
                    <a:lnTo>
                      <a:pt x="1028" y="366"/>
                    </a:lnTo>
                    <a:lnTo>
                      <a:pt x="986" y="336"/>
                    </a:lnTo>
                    <a:lnTo>
                      <a:pt x="941" y="311"/>
                    </a:lnTo>
                    <a:lnTo>
                      <a:pt x="893" y="291"/>
                    </a:lnTo>
                    <a:lnTo>
                      <a:pt x="842" y="277"/>
                    </a:lnTo>
                    <a:lnTo>
                      <a:pt x="789" y="267"/>
                    </a:lnTo>
                    <a:lnTo>
                      <a:pt x="734" y="264"/>
                    </a:lnTo>
                    <a:close/>
                    <a:moveTo>
                      <a:pt x="734" y="0"/>
                    </a:moveTo>
                    <a:lnTo>
                      <a:pt x="2161" y="0"/>
                    </a:lnTo>
                    <a:lnTo>
                      <a:pt x="2231" y="3"/>
                    </a:lnTo>
                    <a:lnTo>
                      <a:pt x="2300" y="14"/>
                    </a:lnTo>
                    <a:lnTo>
                      <a:pt x="2367" y="30"/>
                    </a:lnTo>
                    <a:lnTo>
                      <a:pt x="2431" y="51"/>
                    </a:lnTo>
                    <a:lnTo>
                      <a:pt x="2492" y="78"/>
                    </a:lnTo>
                    <a:lnTo>
                      <a:pt x="2551" y="111"/>
                    </a:lnTo>
                    <a:lnTo>
                      <a:pt x="2605" y="149"/>
                    </a:lnTo>
                    <a:lnTo>
                      <a:pt x="2657" y="191"/>
                    </a:lnTo>
                    <a:lnTo>
                      <a:pt x="2703" y="238"/>
                    </a:lnTo>
                    <a:lnTo>
                      <a:pt x="2745" y="289"/>
                    </a:lnTo>
                    <a:lnTo>
                      <a:pt x="2784" y="343"/>
                    </a:lnTo>
                    <a:lnTo>
                      <a:pt x="2817" y="400"/>
                    </a:lnTo>
                    <a:lnTo>
                      <a:pt x="2844" y="462"/>
                    </a:lnTo>
                    <a:lnTo>
                      <a:pt x="2866" y="525"/>
                    </a:lnTo>
                    <a:lnTo>
                      <a:pt x="2882" y="591"/>
                    </a:lnTo>
                    <a:lnTo>
                      <a:pt x="2892" y="659"/>
                    </a:lnTo>
                    <a:lnTo>
                      <a:pt x="2895" y="730"/>
                    </a:lnTo>
                    <a:lnTo>
                      <a:pt x="2892" y="801"/>
                    </a:lnTo>
                    <a:lnTo>
                      <a:pt x="2882" y="868"/>
                    </a:lnTo>
                    <a:lnTo>
                      <a:pt x="2866" y="935"/>
                    </a:lnTo>
                    <a:lnTo>
                      <a:pt x="2844" y="999"/>
                    </a:lnTo>
                    <a:lnTo>
                      <a:pt x="2817" y="1060"/>
                    </a:lnTo>
                    <a:lnTo>
                      <a:pt x="2784" y="1117"/>
                    </a:lnTo>
                    <a:lnTo>
                      <a:pt x="2745" y="1171"/>
                    </a:lnTo>
                    <a:lnTo>
                      <a:pt x="2704" y="1222"/>
                    </a:lnTo>
                    <a:lnTo>
                      <a:pt x="2657" y="1269"/>
                    </a:lnTo>
                    <a:lnTo>
                      <a:pt x="2605" y="1311"/>
                    </a:lnTo>
                    <a:lnTo>
                      <a:pt x="2551" y="1348"/>
                    </a:lnTo>
                    <a:lnTo>
                      <a:pt x="2492" y="1381"/>
                    </a:lnTo>
                    <a:lnTo>
                      <a:pt x="2431" y="1409"/>
                    </a:lnTo>
                    <a:lnTo>
                      <a:pt x="2367" y="1431"/>
                    </a:lnTo>
                    <a:lnTo>
                      <a:pt x="2301" y="1447"/>
                    </a:lnTo>
                    <a:lnTo>
                      <a:pt x="2231" y="1457"/>
                    </a:lnTo>
                    <a:lnTo>
                      <a:pt x="2161" y="1460"/>
                    </a:lnTo>
                    <a:lnTo>
                      <a:pt x="734" y="1460"/>
                    </a:lnTo>
                    <a:lnTo>
                      <a:pt x="664" y="1457"/>
                    </a:lnTo>
                    <a:lnTo>
                      <a:pt x="595" y="1447"/>
                    </a:lnTo>
                    <a:lnTo>
                      <a:pt x="528" y="1431"/>
                    </a:lnTo>
                    <a:lnTo>
                      <a:pt x="464" y="1409"/>
                    </a:lnTo>
                    <a:lnTo>
                      <a:pt x="403" y="1381"/>
                    </a:lnTo>
                    <a:lnTo>
                      <a:pt x="344" y="1348"/>
                    </a:lnTo>
                    <a:lnTo>
                      <a:pt x="290" y="1311"/>
                    </a:lnTo>
                    <a:lnTo>
                      <a:pt x="239" y="1269"/>
                    </a:lnTo>
                    <a:lnTo>
                      <a:pt x="192" y="1222"/>
                    </a:lnTo>
                    <a:lnTo>
                      <a:pt x="150" y="1171"/>
                    </a:lnTo>
                    <a:lnTo>
                      <a:pt x="111" y="1117"/>
                    </a:lnTo>
                    <a:lnTo>
                      <a:pt x="79" y="1060"/>
                    </a:lnTo>
                    <a:lnTo>
                      <a:pt x="51" y="999"/>
                    </a:lnTo>
                    <a:lnTo>
                      <a:pt x="29" y="935"/>
                    </a:lnTo>
                    <a:lnTo>
                      <a:pt x="13" y="868"/>
                    </a:lnTo>
                    <a:lnTo>
                      <a:pt x="3" y="801"/>
                    </a:lnTo>
                    <a:lnTo>
                      <a:pt x="0" y="730"/>
                    </a:lnTo>
                    <a:lnTo>
                      <a:pt x="3" y="659"/>
                    </a:lnTo>
                    <a:lnTo>
                      <a:pt x="13" y="591"/>
                    </a:lnTo>
                    <a:lnTo>
                      <a:pt x="29" y="525"/>
                    </a:lnTo>
                    <a:lnTo>
                      <a:pt x="51" y="462"/>
                    </a:lnTo>
                    <a:lnTo>
                      <a:pt x="79" y="400"/>
                    </a:lnTo>
                    <a:lnTo>
                      <a:pt x="111" y="343"/>
                    </a:lnTo>
                    <a:lnTo>
                      <a:pt x="150" y="289"/>
                    </a:lnTo>
                    <a:lnTo>
                      <a:pt x="192" y="238"/>
                    </a:lnTo>
                    <a:lnTo>
                      <a:pt x="239" y="191"/>
                    </a:lnTo>
                    <a:lnTo>
                      <a:pt x="290" y="149"/>
                    </a:lnTo>
                    <a:lnTo>
                      <a:pt x="344" y="111"/>
                    </a:lnTo>
                    <a:lnTo>
                      <a:pt x="403" y="78"/>
                    </a:lnTo>
                    <a:lnTo>
                      <a:pt x="464" y="51"/>
                    </a:lnTo>
                    <a:lnTo>
                      <a:pt x="528" y="30"/>
                    </a:lnTo>
                    <a:lnTo>
                      <a:pt x="595" y="14"/>
                    </a:lnTo>
                    <a:lnTo>
                      <a:pt x="664" y="3"/>
                    </a:lnTo>
                    <a:lnTo>
                      <a:pt x="7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  <p:sp>
            <p:nvSpPr>
              <p:cNvPr id="34" name="Freeform 357">
                <a:extLst>
                  <a:ext uri="{FF2B5EF4-FFF2-40B4-BE49-F238E27FC236}">
                    <a16:creationId xmlns:a16="http://schemas.microsoft.com/office/drawing/2014/main" id="{427C28BA-786F-4A45-ADCA-F85C1662F3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9625" y="4211638"/>
                <a:ext cx="1531938" cy="773113"/>
              </a:xfrm>
              <a:custGeom>
                <a:avLst/>
                <a:gdLst>
                  <a:gd name="T0" fmla="*/ 2053 w 2895"/>
                  <a:gd name="T1" fmla="*/ 276 h 1460"/>
                  <a:gd name="T2" fmla="*/ 1910 w 2895"/>
                  <a:gd name="T3" fmla="*/ 337 h 1460"/>
                  <a:gd name="T4" fmla="*/ 1795 w 2895"/>
                  <a:gd name="T5" fmla="*/ 438 h 1460"/>
                  <a:gd name="T6" fmla="*/ 1719 w 2895"/>
                  <a:gd name="T7" fmla="*/ 572 h 1460"/>
                  <a:gd name="T8" fmla="*/ 1692 w 2895"/>
                  <a:gd name="T9" fmla="*/ 729 h 1460"/>
                  <a:gd name="T10" fmla="*/ 1719 w 2895"/>
                  <a:gd name="T11" fmla="*/ 887 h 1460"/>
                  <a:gd name="T12" fmla="*/ 1795 w 2895"/>
                  <a:gd name="T13" fmla="*/ 1020 h 1460"/>
                  <a:gd name="T14" fmla="*/ 1910 w 2895"/>
                  <a:gd name="T15" fmla="*/ 1122 h 1460"/>
                  <a:gd name="T16" fmla="*/ 2053 w 2895"/>
                  <a:gd name="T17" fmla="*/ 1183 h 1460"/>
                  <a:gd name="T18" fmla="*/ 2216 w 2895"/>
                  <a:gd name="T19" fmla="*/ 1192 h 1460"/>
                  <a:gd name="T20" fmla="*/ 2367 w 2895"/>
                  <a:gd name="T21" fmla="*/ 1148 h 1460"/>
                  <a:gd name="T22" fmla="*/ 2492 w 2895"/>
                  <a:gd name="T23" fmla="*/ 1059 h 1460"/>
                  <a:gd name="T24" fmla="*/ 2582 w 2895"/>
                  <a:gd name="T25" fmla="*/ 934 h 1460"/>
                  <a:gd name="T26" fmla="*/ 2627 w 2895"/>
                  <a:gd name="T27" fmla="*/ 784 h 1460"/>
                  <a:gd name="T28" fmla="*/ 2617 w 2895"/>
                  <a:gd name="T29" fmla="*/ 622 h 1460"/>
                  <a:gd name="T30" fmla="*/ 2557 w 2895"/>
                  <a:gd name="T31" fmla="*/ 480 h 1460"/>
                  <a:gd name="T32" fmla="*/ 2454 w 2895"/>
                  <a:gd name="T33" fmla="*/ 366 h 1460"/>
                  <a:gd name="T34" fmla="*/ 2319 w 2895"/>
                  <a:gd name="T35" fmla="*/ 291 h 1460"/>
                  <a:gd name="T36" fmla="*/ 2161 w 2895"/>
                  <a:gd name="T37" fmla="*/ 263 h 1460"/>
                  <a:gd name="T38" fmla="*/ 2232 w 2895"/>
                  <a:gd name="T39" fmla="*/ 3 h 1460"/>
                  <a:gd name="T40" fmla="*/ 2431 w 2895"/>
                  <a:gd name="T41" fmla="*/ 51 h 1460"/>
                  <a:gd name="T42" fmla="*/ 2606 w 2895"/>
                  <a:gd name="T43" fmla="*/ 149 h 1460"/>
                  <a:gd name="T44" fmla="*/ 2746 w 2895"/>
                  <a:gd name="T45" fmla="*/ 288 h 1460"/>
                  <a:gd name="T46" fmla="*/ 2844 w 2895"/>
                  <a:gd name="T47" fmla="*/ 461 h 1460"/>
                  <a:gd name="T48" fmla="*/ 2892 w 2895"/>
                  <a:gd name="T49" fmla="*/ 659 h 1460"/>
                  <a:gd name="T50" fmla="*/ 2883 w 2895"/>
                  <a:gd name="T51" fmla="*/ 868 h 1460"/>
                  <a:gd name="T52" fmla="*/ 2817 w 2895"/>
                  <a:gd name="T53" fmla="*/ 1059 h 1460"/>
                  <a:gd name="T54" fmla="*/ 2704 w 2895"/>
                  <a:gd name="T55" fmla="*/ 1222 h 1460"/>
                  <a:gd name="T56" fmla="*/ 2551 w 2895"/>
                  <a:gd name="T57" fmla="*/ 1348 h 1460"/>
                  <a:gd name="T58" fmla="*/ 2367 w 2895"/>
                  <a:gd name="T59" fmla="*/ 1430 h 1460"/>
                  <a:gd name="T60" fmla="*/ 2161 w 2895"/>
                  <a:gd name="T61" fmla="*/ 1460 h 1460"/>
                  <a:gd name="T62" fmla="*/ 596 w 2895"/>
                  <a:gd name="T63" fmla="*/ 1446 h 1460"/>
                  <a:gd name="T64" fmla="*/ 403 w 2895"/>
                  <a:gd name="T65" fmla="*/ 1381 h 1460"/>
                  <a:gd name="T66" fmla="*/ 240 w 2895"/>
                  <a:gd name="T67" fmla="*/ 1269 h 1460"/>
                  <a:gd name="T68" fmla="*/ 113 w 2895"/>
                  <a:gd name="T69" fmla="*/ 1117 h 1460"/>
                  <a:gd name="T70" fmla="*/ 29 w 2895"/>
                  <a:gd name="T71" fmla="*/ 934 h 1460"/>
                  <a:gd name="T72" fmla="*/ 0 w 2895"/>
                  <a:gd name="T73" fmla="*/ 729 h 1460"/>
                  <a:gd name="T74" fmla="*/ 29 w 2895"/>
                  <a:gd name="T75" fmla="*/ 524 h 1460"/>
                  <a:gd name="T76" fmla="*/ 113 w 2895"/>
                  <a:gd name="T77" fmla="*/ 342 h 1460"/>
                  <a:gd name="T78" fmla="*/ 240 w 2895"/>
                  <a:gd name="T79" fmla="*/ 191 h 1460"/>
                  <a:gd name="T80" fmla="*/ 403 w 2895"/>
                  <a:gd name="T81" fmla="*/ 79 h 1460"/>
                  <a:gd name="T82" fmla="*/ 596 w 2895"/>
                  <a:gd name="T83" fmla="*/ 13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95" h="1460">
                    <a:moveTo>
                      <a:pt x="2161" y="263"/>
                    </a:moveTo>
                    <a:lnTo>
                      <a:pt x="2106" y="266"/>
                    </a:lnTo>
                    <a:lnTo>
                      <a:pt x="2053" y="276"/>
                    </a:lnTo>
                    <a:lnTo>
                      <a:pt x="2003" y="291"/>
                    </a:lnTo>
                    <a:lnTo>
                      <a:pt x="1955" y="311"/>
                    </a:lnTo>
                    <a:lnTo>
                      <a:pt x="1910" y="337"/>
                    </a:lnTo>
                    <a:lnTo>
                      <a:pt x="1868" y="366"/>
                    </a:lnTo>
                    <a:lnTo>
                      <a:pt x="1830" y="400"/>
                    </a:lnTo>
                    <a:lnTo>
                      <a:pt x="1795" y="438"/>
                    </a:lnTo>
                    <a:lnTo>
                      <a:pt x="1765" y="480"/>
                    </a:lnTo>
                    <a:lnTo>
                      <a:pt x="1740" y="524"/>
                    </a:lnTo>
                    <a:lnTo>
                      <a:pt x="1719" y="572"/>
                    </a:lnTo>
                    <a:lnTo>
                      <a:pt x="1705" y="622"/>
                    </a:lnTo>
                    <a:lnTo>
                      <a:pt x="1695" y="675"/>
                    </a:lnTo>
                    <a:lnTo>
                      <a:pt x="1692" y="729"/>
                    </a:lnTo>
                    <a:lnTo>
                      <a:pt x="1695" y="784"/>
                    </a:lnTo>
                    <a:lnTo>
                      <a:pt x="1705" y="837"/>
                    </a:lnTo>
                    <a:lnTo>
                      <a:pt x="1719" y="887"/>
                    </a:lnTo>
                    <a:lnTo>
                      <a:pt x="1740" y="934"/>
                    </a:lnTo>
                    <a:lnTo>
                      <a:pt x="1765" y="979"/>
                    </a:lnTo>
                    <a:lnTo>
                      <a:pt x="1795" y="1020"/>
                    </a:lnTo>
                    <a:lnTo>
                      <a:pt x="1830" y="1059"/>
                    </a:lnTo>
                    <a:lnTo>
                      <a:pt x="1868" y="1093"/>
                    </a:lnTo>
                    <a:lnTo>
                      <a:pt x="1910" y="1122"/>
                    </a:lnTo>
                    <a:lnTo>
                      <a:pt x="1955" y="1148"/>
                    </a:lnTo>
                    <a:lnTo>
                      <a:pt x="2003" y="1168"/>
                    </a:lnTo>
                    <a:lnTo>
                      <a:pt x="2053" y="1183"/>
                    </a:lnTo>
                    <a:lnTo>
                      <a:pt x="2106" y="1192"/>
                    </a:lnTo>
                    <a:lnTo>
                      <a:pt x="2161" y="1196"/>
                    </a:lnTo>
                    <a:lnTo>
                      <a:pt x="2216" y="1192"/>
                    </a:lnTo>
                    <a:lnTo>
                      <a:pt x="2269" y="1183"/>
                    </a:lnTo>
                    <a:lnTo>
                      <a:pt x="2319" y="1168"/>
                    </a:lnTo>
                    <a:lnTo>
                      <a:pt x="2367" y="1148"/>
                    </a:lnTo>
                    <a:lnTo>
                      <a:pt x="2412" y="1122"/>
                    </a:lnTo>
                    <a:lnTo>
                      <a:pt x="2454" y="1093"/>
                    </a:lnTo>
                    <a:lnTo>
                      <a:pt x="2492" y="1059"/>
                    </a:lnTo>
                    <a:lnTo>
                      <a:pt x="2527" y="1020"/>
                    </a:lnTo>
                    <a:lnTo>
                      <a:pt x="2557" y="979"/>
                    </a:lnTo>
                    <a:lnTo>
                      <a:pt x="2582" y="934"/>
                    </a:lnTo>
                    <a:lnTo>
                      <a:pt x="2603" y="887"/>
                    </a:lnTo>
                    <a:lnTo>
                      <a:pt x="2617" y="837"/>
                    </a:lnTo>
                    <a:lnTo>
                      <a:pt x="2627" y="784"/>
                    </a:lnTo>
                    <a:lnTo>
                      <a:pt x="2630" y="729"/>
                    </a:lnTo>
                    <a:lnTo>
                      <a:pt x="2627" y="675"/>
                    </a:lnTo>
                    <a:lnTo>
                      <a:pt x="2617" y="622"/>
                    </a:lnTo>
                    <a:lnTo>
                      <a:pt x="2603" y="572"/>
                    </a:lnTo>
                    <a:lnTo>
                      <a:pt x="2582" y="524"/>
                    </a:lnTo>
                    <a:lnTo>
                      <a:pt x="2557" y="480"/>
                    </a:lnTo>
                    <a:lnTo>
                      <a:pt x="2527" y="438"/>
                    </a:lnTo>
                    <a:lnTo>
                      <a:pt x="2492" y="400"/>
                    </a:lnTo>
                    <a:lnTo>
                      <a:pt x="2454" y="366"/>
                    </a:lnTo>
                    <a:lnTo>
                      <a:pt x="2412" y="337"/>
                    </a:lnTo>
                    <a:lnTo>
                      <a:pt x="2367" y="311"/>
                    </a:lnTo>
                    <a:lnTo>
                      <a:pt x="2319" y="291"/>
                    </a:lnTo>
                    <a:lnTo>
                      <a:pt x="2269" y="276"/>
                    </a:lnTo>
                    <a:lnTo>
                      <a:pt x="2216" y="266"/>
                    </a:lnTo>
                    <a:lnTo>
                      <a:pt x="2161" y="263"/>
                    </a:lnTo>
                    <a:close/>
                    <a:moveTo>
                      <a:pt x="735" y="0"/>
                    </a:moveTo>
                    <a:lnTo>
                      <a:pt x="2161" y="0"/>
                    </a:lnTo>
                    <a:lnTo>
                      <a:pt x="2232" y="3"/>
                    </a:lnTo>
                    <a:lnTo>
                      <a:pt x="2301" y="13"/>
                    </a:lnTo>
                    <a:lnTo>
                      <a:pt x="2367" y="29"/>
                    </a:lnTo>
                    <a:lnTo>
                      <a:pt x="2431" y="51"/>
                    </a:lnTo>
                    <a:lnTo>
                      <a:pt x="2492" y="79"/>
                    </a:lnTo>
                    <a:lnTo>
                      <a:pt x="2551" y="110"/>
                    </a:lnTo>
                    <a:lnTo>
                      <a:pt x="2606" y="149"/>
                    </a:lnTo>
                    <a:lnTo>
                      <a:pt x="2657" y="191"/>
                    </a:lnTo>
                    <a:lnTo>
                      <a:pt x="2704" y="237"/>
                    </a:lnTo>
                    <a:lnTo>
                      <a:pt x="2746" y="288"/>
                    </a:lnTo>
                    <a:lnTo>
                      <a:pt x="2784" y="342"/>
                    </a:lnTo>
                    <a:lnTo>
                      <a:pt x="2817" y="400"/>
                    </a:lnTo>
                    <a:lnTo>
                      <a:pt x="2844" y="461"/>
                    </a:lnTo>
                    <a:lnTo>
                      <a:pt x="2867" y="524"/>
                    </a:lnTo>
                    <a:lnTo>
                      <a:pt x="2883" y="590"/>
                    </a:lnTo>
                    <a:lnTo>
                      <a:pt x="2892" y="659"/>
                    </a:lnTo>
                    <a:lnTo>
                      <a:pt x="2895" y="729"/>
                    </a:lnTo>
                    <a:lnTo>
                      <a:pt x="2892" y="799"/>
                    </a:lnTo>
                    <a:lnTo>
                      <a:pt x="2883" y="868"/>
                    </a:lnTo>
                    <a:lnTo>
                      <a:pt x="2867" y="934"/>
                    </a:lnTo>
                    <a:lnTo>
                      <a:pt x="2844" y="998"/>
                    </a:lnTo>
                    <a:lnTo>
                      <a:pt x="2817" y="1059"/>
                    </a:lnTo>
                    <a:lnTo>
                      <a:pt x="2784" y="1117"/>
                    </a:lnTo>
                    <a:lnTo>
                      <a:pt x="2746" y="1171"/>
                    </a:lnTo>
                    <a:lnTo>
                      <a:pt x="2704" y="1222"/>
                    </a:lnTo>
                    <a:lnTo>
                      <a:pt x="2657" y="1269"/>
                    </a:lnTo>
                    <a:lnTo>
                      <a:pt x="2606" y="1310"/>
                    </a:lnTo>
                    <a:lnTo>
                      <a:pt x="2551" y="1348"/>
                    </a:lnTo>
                    <a:lnTo>
                      <a:pt x="2492" y="1381"/>
                    </a:lnTo>
                    <a:lnTo>
                      <a:pt x="2431" y="1408"/>
                    </a:lnTo>
                    <a:lnTo>
                      <a:pt x="2367" y="1430"/>
                    </a:lnTo>
                    <a:lnTo>
                      <a:pt x="2301" y="1446"/>
                    </a:lnTo>
                    <a:lnTo>
                      <a:pt x="2232" y="1456"/>
                    </a:lnTo>
                    <a:lnTo>
                      <a:pt x="2161" y="1460"/>
                    </a:lnTo>
                    <a:lnTo>
                      <a:pt x="735" y="1460"/>
                    </a:lnTo>
                    <a:lnTo>
                      <a:pt x="664" y="1456"/>
                    </a:lnTo>
                    <a:lnTo>
                      <a:pt x="596" y="1446"/>
                    </a:lnTo>
                    <a:lnTo>
                      <a:pt x="529" y="1430"/>
                    </a:lnTo>
                    <a:lnTo>
                      <a:pt x="464" y="1408"/>
                    </a:lnTo>
                    <a:lnTo>
                      <a:pt x="403" y="1381"/>
                    </a:lnTo>
                    <a:lnTo>
                      <a:pt x="346" y="1348"/>
                    </a:lnTo>
                    <a:lnTo>
                      <a:pt x="290" y="1310"/>
                    </a:lnTo>
                    <a:lnTo>
                      <a:pt x="240" y="1269"/>
                    </a:lnTo>
                    <a:lnTo>
                      <a:pt x="193" y="1222"/>
                    </a:lnTo>
                    <a:lnTo>
                      <a:pt x="150" y="1171"/>
                    </a:lnTo>
                    <a:lnTo>
                      <a:pt x="113" y="1117"/>
                    </a:lnTo>
                    <a:lnTo>
                      <a:pt x="80" y="1059"/>
                    </a:lnTo>
                    <a:lnTo>
                      <a:pt x="52" y="998"/>
                    </a:lnTo>
                    <a:lnTo>
                      <a:pt x="29" y="934"/>
                    </a:lnTo>
                    <a:lnTo>
                      <a:pt x="13" y="868"/>
                    </a:lnTo>
                    <a:lnTo>
                      <a:pt x="4" y="799"/>
                    </a:lnTo>
                    <a:lnTo>
                      <a:pt x="0" y="729"/>
                    </a:lnTo>
                    <a:lnTo>
                      <a:pt x="4" y="659"/>
                    </a:lnTo>
                    <a:lnTo>
                      <a:pt x="13" y="590"/>
                    </a:lnTo>
                    <a:lnTo>
                      <a:pt x="29" y="524"/>
                    </a:lnTo>
                    <a:lnTo>
                      <a:pt x="52" y="461"/>
                    </a:lnTo>
                    <a:lnTo>
                      <a:pt x="80" y="400"/>
                    </a:lnTo>
                    <a:lnTo>
                      <a:pt x="113" y="342"/>
                    </a:lnTo>
                    <a:lnTo>
                      <a:pt x="150" y="288"/>
                    </a:lnTo>
                    <a:lnTo>
                      <a:pt x="193" y="237"/>
                    </a:lnTo>
                    <a:lnTo>
                      <a:pt x="240" y="191"/>
                    </a:lnTo>
                    <a:lnTo>
                      <a:pt x="290" y="149"/>
                    </a:lnTo>
                    <a:lnTo>
                      <a:pt x="346" y="110"/>
                    </a:lnTo>
                    <a:lnTo>
                      <a:pt x="403" y="79"/>
                    </a:lnTo>
                    <a:lnTo>
                      <a:pt x="464" y="51"/>
                    </a:lnTo>
                    <a:lnTo>
                      <a:pt x="529" y="29"/>
                    </a:lnTo>
                    <a:lnTo>
                      <a:pt x="596" y="13"/>
                    </a:lnTo>
                    <a:lnTo>
                      <a:pt x="664" y="3"/>
                    </a:lnTo>
                    <a:lnTo>
                      <a:pt x="7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</p:grpSp>
        <p:sp>
          <p:nvSpPr>
            <p:cNvPr id="32" name="添加标题">
              <a:extLst>
                <a:ext uri="{FF2B5EF4-FFF2-40B4-BE49-F238E27FC236}">
                  <a16:creationId xmlns:a16="http://schemas.microsoft.com/office/drawing/2014/main" id="{FF4B5749-0C87-46B3-9057-1C9003C43C45}"/>
                </a:ext>
              </a:extLst>
            </p:cNvPr>
            <p:cNvSpPr txBox="1"/>
            <p:nvPr/>
          </p:nvSpPr>
          <p:spPr>
            <a:xfrm>
              <a:off x="8305966" y="2663612"/>
              <a:ext cx="2250193" cy="1068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600" b="1" dirty="0">
                  <a:solidFill>
                    <a:schemeClr val="accent4"/>
                  </a:solidFill>
                  <a:cs typeface="+mn-ea"/>
                  <a:sym typeface="+mn-lt"/>
                </a:rPr>
                <a:t>Add title text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89745F2C-646A-4CCA-8A8E-12432659CDCA}"/>
              </a:ext>
            </a:extLst>
          </p:cNvPr>
          <p:cNvGrpSpPr/>
          <p:nvPr/>
        </p:nvGrpSpPr>
        <p:grpSpPr>
          <a:xfrm>
            <a:off x="5774684" y="1976682"/>
            <a:ext cx="2903962" cy="1171985"/>
            <a:chOff x="5774684" y="1540745"/>
            <a:chExt cx="2903962" cy="1171985"/>
          </a:xfrm>
        </p:grpSpPr>
        <p:grpSp>
          <p:nvGrpSpPr>
            <p:cNvPr id="36" name="Группа 406">
              <a:extLst>
                <a:ext uri="{FF2B5EF4-FFF2-40B4-BE49-F238E27FC236}">
                  <a16:creationId xmlns:a16="http://schemas.microsoft.com/office/drawing/2014/main" id="{1696E85B-DF6D-4A5F-8221-D76F0D10DDD1}"/>
                </a:ext>
              </a:extLst>
            </p:cNvPr>
            <p:cNvGrpSpPr/>
            <p:nvPr/>
          </p:nvGrpSpPr>
          <p:grpSpPr>
            <a:xfrm>
              <a:off x="5774684" y="2220672"/>
              <a:ext cx="481880" cy="492058"/>
              <a:chOff x="5853113" y="3217863"/>
              <a:chExt cx="2179638" cy="2225675"/>
            </a:xfrm>
            <a:solidFill>
              <a:schemeClr val="accent3"/>
            </a:solidFill>
          </p:grpSpPr>
          <p:sp>
            <p:nvSpPr>
              <p:cNvPr id="38" name="Freeform 362">
                <a:extLst>
                  <a:ext uri="{FF2B5EF4-FFF2-40B4-BE49-F238E27FC236}">
                    <a16:creationId xmlns:a16="http://schemas.microsoft.com/office/drawing/2014/main" id="{E62E0302-8148-47B8-93F0-709BA7B308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4551" y="3779838"/>
                <a:ext cx="2035175" cy="1663700"/>
              </a:xfrm>
              <a:custGeom>
                <a:avLst/>
                <a:gdLst>
                  <a:gd name="T0" fmla="*/ 1378 w 3846"/>
                  <a:gd name="T1" fmla="*/ 963 h 3144"/>
                  <a:gd name="T2" fmla="*/ 1347 w 3846"/>
                  <a:gd name="T3" fmla="*/ 995 h 3144"/>
                  <a:gd name="T4" fmla="*/ 446 w 3846"/>
                  <a:gd name="T5" fmla="*/ 2705 h 3144"/>
                  <a:gd name="T6" fmla="*/ 3400 w 3846"/>
                  <a:gd name="T7" fmla="*/ 1826 h 3144"/>
                  <a:gd name="T8" fmla="*/ 2482 w 3846"/>
                  <a:gd name="T9" fmla="*/ 979 h 3144"/>
                  <a:gd name="T10" fmla="*/ 1378 w 3846"/>
                  <a:gd name="T11" fmla="*/ 963 h 3144"/>
                  <a:gd name="T12" fmla="*/ 1555 w 3846"/>
                  <a:gd name="T13" fmla="*/ 4 h 3144"/>
                  <a:gd name="T14" fmla="*/ 1618 w 3846"/>
                  <a:gd name="T15" fmla="*/ 31 h 3144"/>
                  <a:gd name="T16" fmla="*/ 1667 w 3846"/>
                  <a:gd name="T17" fmla="*/ 79 h 3144"/>
                  <a:gd name="T18" fmla="*/ 1694 w 3846"/>
                  <a:gd name="T19" fmla="*/ 141 h 3144"/>
                  <a:gd name="T20" fmla="*/ 1696 w 3846"/>
                  <a:gd name="T21" fmla="*/ 523 h 3144"/>
                  <a:gd name="T22" fmla="*/ 2150 w 3846"/>
                  <a:gd name="T23" fmla="*/ 177 h 3144"/>
                  <a:gd name="T24" fmla="*/ 2163 w 3846"/>
                  <a:gd name="T25" fmla="*/ 108 h 3144"/>
                  <a:gd name="T26" fmla="*/ 2201 w 3846"/>
                  <a:gd name="T27" fmla="*/ 52 h 3144"/>
                  <a:gd name="T28" fmla="*/ 2258 w 3846"/>
                  <a:gd name="T29" fmla="*/ 15 h 3144"/>
                  <a:gd name="T30" fmla="*/ 2328 w 3846"/>
                  <a:gd name="T31" fmla="*/ 0 h 3144"/>
                  <a:gd name="T32" fmla="*/ 2397 w 3846"/>
                  <a:gd name="T33" fmla="*/ 15 h 3144"/>
                  <a:gd name="T34" fmla="*/ 2453 w 3846"/>
                  <a:gd name="T35" fmla="*/ 52 h 3144"/>
                  <a:gd name="T36" fmla="*/ 2491 w 3846"/>
                  <a:gd name="T37" fmla="*/ 108 h 3144"/>
                  <a:gd name="T38" fmla="*/ 2506 w 3846"/>
                  <a:gd name="T39" fmla="*/ 177 h 3144"/>
                  <a:gd name="T40" fmla="*/ 2581 w 3846"/>
                  <a:gd name="T41" fmla="*/ 523 h 3144"/>
                  <a:gd name="T42" fmla="*/ 2625 w 3846"/>
                  <a:gd name="T43" fmla="*/ 533 h 3144"/>
                  <a:gd name="T44" fmla="*/ 2672 w 3846"/>
                  <a:gd name="T45" fmla="*/ 558 h 3144"/>
                  <a:gd name="T46" fmla="*/ 2715 w 3846"/>
                  <a:gd name="T47" fmla="*/ 590 h 3144"/>
                  <a:gd name="T48" fmla="*/ 2754 w 3846"/>
                  <a:gd name="T49" fmla="*/ 625 h 3144"/>
                  <a:gd name="T50" fmla="*/ 2784 w 3846"/>
                  <a:gd name="T51" fmla="*/ 654 h 3144"/>
                  <a:gd name="T52" fmla="*/ 2801 w 3846"/>
                  <a:gd name="T53" fmla="*/ 671 h 3144"/>
                  <a:gd name="T54" fmla="*/ 3778 w 3846"/>
                  <a:gd name="T55" fmla="*/ 1573 h 3144"/>
                  <a:gd name="T56" fmla="*/ 3812 w 3846"/>
                  <a:gd name="T57" fmla="*/ 1614 h 3144"/>
                  <a:gd name="T58" fmla="*/ 3836 w 3846"/>
                  <a:gd name="T59" fmla="*/ 1665 h 3144"/>
                  <a:gd name="T60" fmla="*/ 3846 w 3846"/>
                  <a:gd name="T61" fmla="*/ 1713 h 3144"/>
                  <a:gd name="T62" fmla="*/ 3842 w 3846"/>
                  <a:gd name="T63" fmla="*/ 2870 h 3144"/>
                  <a:gd name="T64" fmla="*/ 3815 w 3846"/>
                  <a:gd name="T65" fmla="*/ 2958 h 3144"/>
                  <a:gd name="T66" fmla="*/ 3765 w 3846"/>
                  <a:gd name="T67" fmla="*/ 3034 h 3144"/>
                  <a:gd name="T68" fmla="*/ 3696 w 3846"/>
                  <a:gd name="T69" fmla="*/ 3093 h 3144"/>
                  <a:gd name="T70" fmla="*/ 3612 w 3846"/>
                  <a:gd name="T71" fmla="*/ 3131 h 3144"/>
                  <a:gd name="T72" fmla="*/ 3518 w 3846"/>
                  <a:gd name="T73" fmla="*/ 3144 h 3144"/>
                  <a:gd name="T74" fmla="*/ 280 w 3846"/>
                  <a:gd name="T75" fmla="*/ 3142 h 3144"/>
                  <a:gd name="T76" fmla="*/ 191 w 3846"/>
                  <a:gd name="T77" fmla="*/ 3115 h 3144"/>
                  <a:gd name="T78" fmla="*/ 114 w 3846"/>
                  <a:gd name="T79" fmla="*/ 3066 h 3144"/>
                  <a:gd name="T80" fmla="*/ 53 w 3846"/>
                  <a:gd name="T81" fmla="*/ 2998 h 3144"/>
                  <a:gd name="T82" fmla="*/ 15 w 3846"/>
                  <a:gd name="T83" fmla="*/ 2915 h 3144"/>
                  <a:gd name="T84" fmla="*/ 0 w 3846"/>
                  <a:gd name="T85" fmla="*/ 2822 h 3144"/>
                  <a:gd name="T86" fmla="*/ 3 w 3846"/>
                  <a:gd name="T87" fmla="*/ 1690 h 3144"/>
                  <a:gd name="T88" fmla="*/ 21 w 3846"/>
                  <a:gd name="T89" fmla="*/ 1640 h 3144"/>
                  <a:gd name="T90" fmla="*/ 50 w 3846"/>
                  <a:gd name="T91" fmla="*/ 1592 h 3144"/>
                  <a:gd name="T92" fmla="*/ 1043 w 3846"/>
                  <a:gd name="T93" fmla="*/ 674 h 3144"/>
                  <a:gd name="T94" fmla="*/ 1051 w 3846"/>
                  <a:gd name="T95" fmla="*/ 665 h 3144"/>
                  <a:gd name="T96" fmla="*/ 1076 w 3846"/>
                  <a:gd name="T97" fmla="*/ 641 h 3144"/>
                  <a:gd name="T98" fmla="*/ 1109 w 3846"/>
                  <a:gd name="T99" fmla="*/ 607 h 3144"/>
                  <a:gd name="T100" fmla="*/ 1153 w 3846"/>
                  <a:gd name="T101" fmla="*/ 573 h 3144"/>
                  <a:gd name="T102" fmla="*/ 1197 w 3846"/>
                  <a:gd name="T103" fmla="*/ 543 h 3144"/>
                  <a:gd name="T104" fmla="*/ 1243 w 3846"/>
                  <a:gd name="T105" fmla="*/ 526 h 3144"/>
                  <a:gd name="T106" fmla="*/ 1340 w 3846"/>
                  <a:gd name="T107" fmla="*/ 523 h 3144"/>
                  <a:gd name="T108" fmla="*/ 1344 w 3846"/>
                  <a:gd name="T109" fmla="*/ 141 h 3144"/>
                  <a:gd name="T110" fmla="*/ 1371 w 3846"/>
                  <a:gd name="T111" fmla="*/ 79 h 3144"/>
                  <a:gd name="T112" fmla="*/ 1418 w 3846"/>
                  <a:gd name="T113" fmla="*/ 31 h 3144"/>
                  <a:gd name="T114" fmla="*/ 1482 w 3846"/>
                  <a:gd name="T115" fmla="*/ 4 h 3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846" h="3144">
                    <a:moveTo>
                      <a:pt x="1378" y="963"/>
                    </a:moveTo>
                    <a:lnTo>
                      <a:pt x="1378" y="963"/>
                    </a:lnTo>
                    <a:lnTo>
                      <a:pt x="1363" y="982"/>
                    </a:lnTo>
                    <a:lnTo>
                      <a:pt x="1347" y="995"/>
                    </a:lnTo>
                    <a:lnTo>
                      <a:pt x="446" y="1826"/>
                    </a:lnTo>
                    <a:lnTo>
                      <a:pt x="446" y="2705"/>
                    </a:lnTo>
                    <a:lnTo>
                      <a:pt x="3400" y="2705"/>
                    </a:lnTo>
                    <a:lnTo>
                      <a:pt x="3400" y="1826"/>
                    </a:lnTo>
                    <a:lnTo>
                      <a:pt x="2499" y="995"/>
                    </a:lnTo>
                    <a:lnTo>
                      <a:pt x="2482" y="979"/>
                    </a:lnTo>
                    <a:lnTo>
                      <a:pt x="2468" y="963"/>
                    </a:lnTo>
                    <a:lnTo>
                      <a:pt x="1378" y="963"/>
                    </a:lnTo>
                    <a:close/>
                    <a:moveTo>
                      <a:pt x="1518" y="0"/>
                    </a:moveTo>
                    <a:lnTo>
                      <a:pt x="1555" y="4"/>
                    </a:lnTo>
                    <a:lnTo>
                      <a:pt x="1588" y="15"/>
                    </a:lnTo>
                    <a:lnTo>
                      <a:pt x="1618" y="31"/>
                    </a:lnTo>
                    <a:lnTo>
                      <a:pt x="1645" y="52"/>
                    </a:lnTo>
                    <a:lnTo>
                      <a:pt x="1667" y="79"/>
                    </a:lnTo>
                    <a:lnTo>
                      <a:pt x="1683" y="108"/>
                    </a:lnTo>
                    <a:lnTo>
                      <a:pt x="1694" y="141"/>
                    </a:lnTo>
                    <a:lnTo>
                      <a:pt x="1696" y="177"/>
                    </a:lnTo>
                    <a:lnTo>
                      <a:pt x="1696" y="523"/>
                    </a:lnTo>
                    <a:lnTo>
                      <a:pt x="2150" y="523"/>
                    </a:lnTo>
                    <a:lnTo>
                      <a:pt x="2150" y="177"/>
                    </a:lnTo>
                    <a:lnTo>
                      <a:pt x="2152" y="141"/>
                    </a:lnTo>
                    <a:lnTo>
                      <a:pt x="2163" y="108"/>
                    </a:lnTo>
                    <a:lnTo>
                      <a:pt x="2179" y="79"/>
                    </a:lnTo>
                    <a:lnTo>
                      <a:pt x="2201" y="52"/>
                    </a:lnTo>
                    <a:lnTo>
                      <a:pt x="2228" y="31"/>
                    </a:lnTo>
                    <a:lnTo>
                      <a:pt x="2258" y="15"/>
                    </a:lnTo>
                    <a:lnTo>
                      <a:pt x="2291" y="4"/>
                    </a:lnTo>
                    <a:lnTo>
                      <a:pt x="2328" y="0"/>
                    </a:lnTo>
                    <a:lnTo>
                      <a:pt x="2363" y="4"/>
                    </a:lnTo>
                    <a:lnTo>
                      <a:pt x="2397" y="15"/>
                    </a:lnTo>
                    <a:lnTo>
                      <a:pt x="2428" y="31"/>
                    </a:lnTo>
                    <a:lnTo>
                      <a:pt x="2453" y="52"/>
                    </a:lnTo>
                    <a:lnTo>
                      <a:pt x="2475" y="79"/>
                    </a:lnTo>
                    <a:lnTo>
                      <a:pt x="2491" y="108"/>
                    </a:lnTo>
                    <a:lnTo>
                      <a:pt x="2502" y="141"/>
                    </a:lnTo>
                    <a:lnTo>
                      <a:pt x="2506" y="177"/>
                    </a:lnTo>
                    <a:lnTo>
                      <a:pt x="2506" y="523"/>
                    </a:lnTo>
                    <a:lnTo>
                      <a:pt x="2581" y="523"/>
                    </a:lnTo>
                    <a:lnTo>
                      <a:pt x="2603" y="526"/>
                    </a:lnTo>
                    <a:lnTo>
                      <a:pt x="2625" y="533"/>
                    </a:lnTo>
                    <a:lnTo>
                      <a:pt x="2648" y="543"/>
                    </a:lnTo>
                    <a:lnTo>
                      <a:pt x="2672" y="558"/>
                    </a:lnTo>
                    <a:lnTo>
                      <a:pt x="2693" y="573"/>
                    </a:lnTo>
                    <a:lnTo>
                      <a:pt x="2715" y="590"/>
                    </a:lnTo>
                    <a:lnTo>
                      <a:pt x="2737" y="607"/>
                    </a:lnTo>
                    <a:lnTo>
                      <a:pt x="2754" y="625"/>
                    </a:lnTo>
                    <a:lnTo>
                      <a:pt x="2770" y="641"/>
                    </a:lnTo>
                    <a:lnTo>
                      <a:pt x="2784" y="654"/>
                    </a:lnTo>
                    <a:lnTo>
                      <a:pt x="2795" y="665"/>
                    </a:lnTo>
                    <a:lnTo>
                      <a:pt x="2801" y="671"/>
                    </a:lnTo>
                    <a:lnTo>
                      <a:pt x="2803" y="674"/>
                    </a:lnTo>
                    <a:lnTo>
                      <a:pt x="3778" y="1573"/>
                    </a:lnTo>
                    <a:lnTo>
                      <a:pt x="3796" y="1592"/>
                    </a:lnTo>
                    <a:lnTo>
                      <a:pt x="3812" y="1614"/>
                    </a:lnTo>
                    <a:lnTo>
                      <a:pt x="3825" y="1640"/>
                    </a:lnTo>
                    <a:lnTo>
                      <a:pt x="3836" y="1665"/>
                    </a:lnTo>
                    <a:lnTo>
                      <a:pt x="3843" y="1690"/>
                    </a:lnTo>
                    <a:lnTo>
                      <a:pt x="3846" y="1713"/>
                    </a:lnTo>
                    <a:lnTo>
                      <a:pt x="3846" y="2822"/>
                    </a:lnTo>
                    <a:lnTo>
                      <a:pt x="3842" y="2870"/>
                    </a:lnTo>
                    <a:lnTo>
                      <a:pt x="3831" y="2915"/>
                    </a:lnTo>
                    <a:lnTo>
                      <a:pt x="3815" y="2958"/>
                    </a:lnTo>
                    <a:lnTo>
                      <a:pt x="3792" y="2998"/>
                    </a:lnTo>
                    <a:lnTo>
                      <a:pt x="3765" y="3034"/>
                    </a:lnTo>
                    <a:lnTo>
                      <a:pt x="3732" y="3066"/>
                    </a:lnTo>
                    <a:lnTo>
                      <a:pt x="3696" y="3093"/>
                    </a:lnTo>
                    <a:lnTo>
                      <a:pt x="3655" y="3115"/>
                    </a:lnTo>
                    <a:lnTo>
                      <a:pt x="3612" y="3131"/>
                    </a:lnTo>
                    <a:lnTo>
                      <a:pt x="3566" y="3142"/>
                    </a:lnTo>
                    <a:lnTo>
                      <a:pt x="3518" y="3144"/>
                    </a:lnTo>
                    <a:lnTo>
                      <a:pt x="328" y="3144"/>
                    </a:lnTo>
                    <a:lnTo>
                      <a:pt x="280" y="3142"/>
                    </a:lnTo>
                    <a:lnTo>
                      <a:pt x="234" y="3131"/>
                    </a:lnTo>
                    <a:lnTo>
                      <a:pt x="191" y="3115"/>
                    </a:lnTo>
                    <a:lnTo>
                      <a:pt x="150" y="3093"/>
                    </a:lnTo>
                    <a:lnTo>
                      <a:pt x="114" y="3066"/>
                    </a:lnTo>
                    <a:lnTo>
                      <a:pt x="81" y="3034"/>
                    </a:lnTo>
                    <a:lnTo>
                      <a:pt x="53" y="2998"/>
                    </a:lnTo>
                    <a:lnTo>
                      <a:pt x="31" y="2958"/>
                    </a:lnTo>
                    <a:lnTo>
                      <a:pt x="15" y="2915"/>
                    </a:lnTo>
                    <a:lnTo>
                      <a:pt x="4" y="2870"/>
                    </a:lnTo>
                    <a:lnTo>
                      <a:pt x="0" y="2822"/>
                    </a:lnTo>
                    <a:lnTo>
                      <a:pt x="0" y="1713"/>
                    </a:lnTo>
                    <a:lnTo>
                      <a:pt x="3" y="1690"/>
                    </a:lnTo>
                    <a:lnTo>
                      <a:pt x="10" y="1665"/>
                    </a:lnTo>
                    <a:lnTo>
                      <a:pt x="21" y="1640"/>
                    </a:lnTo>
                    <a:lnTo>
                      <a:pt x="34" y="1614"/>
                    </a:lnTo>
                    <a:lnTo>
                      <a:pt x="50" y="1592"/>
                    </a:lnTo>
                    <a:lnTo>
                      <a:pt x="69" y="1573"/>
                    </a:lnTo>
                    <a:lnTo>
                      <a:pt x="1043" y="674"/>
                    </a:lnTo>
                    <a:lnTo>
                      <a:pt x="1046" y="671"/>
                    </a:lnTo>
                    <a:lnTo>
                      <a:pt x="1051" y="665"/>
                    </a:lnTo>
                    <a:lnTo>
                      <a:pt x="1062" y="654"/>
                    </a:lnTo>
                    <a:lnTo>
                      <a:pt x="1076" y="641"/>
                    </a:lnTo>
                    <a:lnTo>
                      <a:pt x="1092" y="625"/>
                    </a:lnTo>
                    <a:lnTo>
                      <a:pt x="1109" y="607"/>
                    </a:lnTo>
                    <a:lnTo>
                      <a:pt x="1131" y="590"/>
                    </a:lnTo>
                    <a:lnTo>
                      <a:pt x="1153" y="573"/>
                    </a:lnTo>
                    <a:lnTo>
                      <a:pt x="1174" y="558"/>
                    </a:lnTo>
                    <a:lnTo>
                      <a:pt x="1197" y="543"/>
                    </a:lnTo>
                    <a:lnTo>
                      <a:pt x="1221" y="533"/>
                    </a:lnTo>
                    <a:lnTo>
                      <a:pt x="1243" y="526"/>
                    </a:lnTo>
                    <a:lnTo>
                      <a:pt x="1265" y="523"/>
                    </a:lnTo>
                    <a:lnTo>
                      <a:pt x="1340" y="523"/>
                    </a:lnTo>
                    <a:lnTo>
                      <a:pt x="1340" y="177"/>
                    </a:lnTo>
                    <a:lnTo>
                      <a:pt x="1344" y="141"/>
                    </a:lnTo>
                    <a:lnTo>
                      <a:pt x="1355" y="108"/>
                    </a:lnTo>
                    <a:lnTo>
                      <a:pt x="1371" y="79"/>
                    </a:lnTo>
                    <a:lnTo>
                      <a:pt x="1393" y="52"/>
                    </a:lnTo>
                    <a:lnTo>
                      <a:pt x="1418" y="31"/>
                    </a:lnTo>
                    <a:lnTo>
                      <a:pt x="1449" y="15"/>
                    </a:lnTo>
                    <a:lnTo>
                      <a:pt x="1482" y="4"/>
                    </a:lnTo>
                    <a:lnTo>
                      <a:pt x="151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  <p:sp>
            <p:nvSpPr>
              <p:cNvPr id="39" name="Freeform 363">
                <a:extLst>
                  <a:ext uri="{FF2B5EF4-FFF2-40B4-BE49-F238E27FC236}">
                    <a16:creationId xmlns:a16="http://schemas.microsoft.com/office/drawing/2014/main" id="{B5D074D0-0E52-4EB5-825B-0C1F7F3C1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3217863"/>
                <a:ext cx="2179638" cy="838200"/>
              </a:xfrm>
              <a:custGeom>
                <a:avLst/>
                <a:gdLst>
                  <a:gd name="T0" fmla="*/ 2783 w 4119"/>
                  <a:gd name="T1" fmla="*/ 0 h 1584"/>
                  <a:gd name="T2" fmla="*/ 2990 w 4119"/>
                  <a:gd name="T3" fmla="*/ 16 h 1584"/>
                  <a:gd name="T4" fmla="*/ 3187 w 4119"/>
                  <a:gd name="T5" fmla="*/ 61 h 1584"/>
                  <a:gd name="T6" fmla="*/ 3372 w 4119"/>
                  <a:gd name="T7" fmla="*/ 134 h 1584"/>
                  <a:gd name="T8" fmla="*/ 3540 w 4119"/>
                  <a:gd name="T9" fmla="*/ 231 h 1584"/>
                  <a:gd name="T10" fmla="*/ 3693 w 4119"/>
                  <a:gd name="T11" fmla="*/ 353 h 1584"/>
                  <a:gd name="T12" fmla="*/ 3826 w 4119"/>
                  <a:gd name="T13" fmla="*/ 494 h 1584"/>
                  <a:gd name="T14" fmla="*/ 3937 w 4119"/>
                  <a:gd name="T15" fmla="*/ 654 h 1584"/>
                  <a:gd name="T16" fmla="*/ 4025 w 4119"/>
                  <a:gd name="T17" fmla="*/ 828 h 1584"/>
                  <a:gd name="T18" fmla="*/ 4084 w 4119"/>
                  <a:gd name="T19" fmla="*/ 1016 h 1584"/>
                  <a:gd name="T20" fmla="*/ 4115 w 4119"/>
                  <a:gd name="T21" fmla="*/ 1216 h 1584"/>
                  <a:gd name="T22" fmla="*/ 4119 w 4119"/>
                  <a:gd name="T23" fmla="*/ 1495 h 1584"/>
                  <a:gd name="T24" fmla="*/ 4107 w 4119"/>
                  <a:gd name="T25" fmla="*/ 1540 h 1584"/>
                  <a:gd name="T26" fmla="*/ 4074 w 4119"/>
                  <a:gd name="T27" fmla="*/ 1572 h 1584"/>
                  <a:gd name="T28" fmla="*/ 4029 w 4119"/>
                  <a:gd name="T29" fmla="*/ 1584 h 1584"/>
                  <a:gd name="T30" fmla="*/ 3168 w 4119"/>
                  <a:gd name="T31" fmla="*/ 1580 h 1584"/>
                  <a:gd name="T32" fmla="*/ 3096 w 4119"/>
                  <a:gd name="T33" fmla="*/ 1554 h 1584"/>
                  <a:gd name="T34" fmla="*/ 3038 w 4119"/>
                  <a:gd name="T35" fmla="*/ 1506 h 1584"/>
                  <a:gd name="T36" fmla="*/ 2999 w 4119"/>
                  <a:gd name="T37" fmla="*/ 1442 h 1584"/>
                  <a:gd name="T38" fmla="*/ 2986 w 4119"/>
                  <a:gd name="T39" fmla="*/ 1365 h 1584"/>
                  <a:gd name="T40" fmla="*/ 2982 w 4119"/>
                  <a:gd name="T41" fmla="*/ 872 h 1584"/>
                  <a:gd name="T42" fmla="*/ 2955 w 4119"/>
                  <a:gd name="T43" fmla="*/ 801 h 1584"/>
                  <a:gd name="T44" fmla="*/ 2906 w 4119"/>
                  <a:gd name="T45" fmla="*/ 744 h 1584"/>
                  <a:gd name="T46" fmla="*/ 2840 w 4119"/>
                  <a:gd name="T47" fmla="*/ 705 h 1584"/>
                  <a:gd name="T48" fmla="*/ 2763 w 4119"/>
                  <a:gd name="T49" fmla="*/ 692 h 1584"/>
                  <a:gd name="T50" fmla="*/ 1317 w 4119"/>
                  <a:gd name="T51" fmla="*/ 696 h 1584"/>
                  <a:gd name="T52" fmla="*/ 1245 w 4119"/>
                  <a:gd name="T53" fmla="*/ 721 h 1584"/>
                  <a:gd name="T54" fmla="*/ 1187 w 4119"/>
                  <a:gd name="T55" fmla="*/ 771 h 1584"/>
                  <a:gd name="T56" fmla="*/ 1148 w 4119"/>
                  <a:gd name="T57" fmla="*/ 835 h 1584"/>
                  <a:gd name="T58" fmla="*/ 1134 w 4119"/>
                  <a:gd name="T59" fmla="*/ 912 h 1584"/>
                  <a:gd name="T60" fmla="*/ 1130 w 4119"/>
                  <a:gd name="T61" fmla="*/ 1405 h 1584"/>
                  <a:gd name="T62" fmla="*/ 1103 w 4119"/>
                  <a:gd name="T63" fmla="*/ 1475 h 1584"/>
                  <a:gd name="T64" fmla="*/ 1055 w 4119"/>
                  <a:gd name="T65" fmla="*/ 1533 h 1584"/>
                  <a:gd name="T66" fmla="*/ 990 w 4119"/>
                  <a:gd name="T67" fmla="*/ 1571 h 1584"/>
                  <a:gd name="T68" fmla="*/ 912 w 4119"/>
                  <a:gd name="T69" fmla="*/ 1584 h 1584"/>
                  <a:gd name="T70" fmla="*/ 67 w 4119"/>
                  <a:gd name="T71" fmla="*/ 1582 h 1584"/>
                  <a:gd name="T72" fmla="*/ 27 w 4119"/>
                  <a:gd name="T73" fmla="*/ 1558 h 1584"/>
                  <a:gd name="T74" fmla="*/ 4 w 4119"/>
                  <a:gd name="T75" fmla="*/ 1519 h 1584"/>
                  <a:gd name="T76" fmla="*/ 0 w 4119"/>
                  <a:gd name="T77" fmla="*/ 1318 h 1584"/>
                  <a:gd name="T78" fmla="*/ 16 w 4119"/>
                  <a:gd name="T79" fmla="*/ 1114 h 1584"/>
                  <a:gd name="T80" fmla="*/ 62 w 4119"/>
                  <a:gd name="T81" fmla="*/ 921 h 1584"/>
                  <a:gd name="T82" fmla="*/ 136 w 4119"/>
                  <a:gd name="T83" fmla="*/ 739 h 1584"/>
                  <a:gd name="T84" fmla="*/ 236 w 4119"/>
                  <a:gd name="T85" fmla="*/ 571 h 1584"/>
                  <a:gd name="T86" fmla="*/ 357 w 4119"/>
                  <a:gd name="T87" fmla="*/ 420 h 1584"/>
                  <a:gd name="T88" fmla="*/ 500 w 4119"/>
                  <a:gd name="T89" fmla="*/ 290 h 1584"/>
                  <a:gd name="T90" fmla="*/ 662 w 4119"/>
                  <a:gd name="T91" fmla="*/ 179 h 1584"/>
                  <a:gd name="T92" fmla="*/ 839 w 4119"/>
                  <a:gd name="T93" fmla="*/ 94 h 1584"/>
                  <a:gd name="T94" fmla="*/ 1031 w 4119"/>
                  <a:gd name="T95" fmla="*/ 34 h 1584"/>
                  <a:gd name="T96" fmla="*/ 1232 w 4119"/>
                  <a:gd name="T97" fmla="*/ 4 h 1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119" h="1584">
                    <a:moveTo>
                      <a:pt x="1337" y="0"/>
                    </a:moveTo>
                    <a:lnTo>
                      <a:pt x="2783" y="0"/>
                    </a:lnTo>
                    <a:lnTo>
                      <a:pt x="2888" y="4"/>
                    </a:lnTo>
                    <a:lnTo>
                      <a:pt x="2990" y="16"/>
                    </a:lnTo>
                    <a:lnTo>
                      <a:pt x="3090" y="34"/>
                    </a:lnTo>
                    <a:lnTo>
                      <a:pt x="3187" y="61"/>
                    </a:lnTo>
                    <a:lnTo>
                      <a:pt x="3281" y="94"/>
                    </a:lnTo>
                    <a:lnTo>
                      <a:pt x="3372" y="134"/>
                    </a:lnTo>
                    <a:lnTo>
                      <a:pt x="3458" y="179"/>
                    </a:lnTo>
                    <a:lnTo>
                      <a:pt x="3540" y="231"/>
                    </a:lnTo>
                    <a:lnTo>
                      <a:pt x="3620" y="290"/>
                    </a:lnTo>
                    <a:lnTo>
                      <a:pt x="3693" y="353"/>
                    </a:lnTo>
                    <a:lnTo>
                      <a:pt x="3763" y="420"/>
                    </a:lnTo>
                    <a:lnTo>
                      <a:pt x="3826" y="494"/>
                    </a:lnTo>
                    <a:lnTo>
                      <a:pt x="3884" y="571"/>
                    </a:lnTo>
                    <a:lnTo>
                      <a:pt x="3937" y="654"/>
                    </a:lnTo>
                    <a:lnTo>
                      <a:pt x="3984" y="739"/>
                    </a:lnTo>
                    <a:lnTo>
                      <a:pt x="4025" y="828"/>
                    </a:lnTo>
                    <a:lnTo>
                      <a:pt x="4057" y="921"/>
                    </a:lnTo>
                    <a:lnTo>
                      <a:pt x="4084" y="1016"/>
                    </a:lnTo>
                    <a:lnTo>
                      <a:pt x="4104" y="1114"/>
                    </a:lnTo>
                    <a:lnTo>
                      <a:pt x="4115" y="1216"/>
                    </a:lnTo>
                    <a:lnTo>
                      <a:pt x="4119" y="1318"/>
                    </a:lnTo>
                    <a:lnTo>
                      <a:pt x="4119" y="1495"/>
                    </a:lnTo>
                    <a:lnTo>
                      <a:pt x="4116" y="1519"/>
                    </a:lnTo>
                    <a:lnTo>
                      <a:pt x="4107" y="1540"/>
                    </a:lnTo>
                    <a:lnTo>
                      <a:pt x="4093" y="1558"/>
                    </a:lnTo>
                    <a:lnTo>
                      <a:pt x="4074" y="1572"/>
                    </a:lnTo>
                    <a:lnTo>
                      <a:pt x="4053" y="1582"/>
                    </a:lnTo>
                    <a:lnTo>
                      <a:pt x="4029" y="1584"/>
                    </a:lnTo>
                    <a:lnTo>
                      <a:pt x="3208" y="1584"/>
                    </a:lnTo>
                    <a:lnTo>
                      <a:pt x="3168" y="1580"/>
                    </a:lnTo>
                    <a:lnTo>
                      <a:pt x="3130" y="1571"/>
                    </a:lnTo>
                    <a:lnTo>
                      <a:pt x="3096" y="1554"/>
                    </a:lnTo>
                    <a:lnTo>
                      <a:pt x="3064" y="1533"/>
                    </a:lnTo>
                    <a:lnTo>
                      <a:pt x="3038" y="1506"/>
                    </a:lnTo>
                    <a:lnTo>
                      <a:pt x="3015" y="1475"/>
                    </a:lnTo>
                    <a:lnTo>
                      <a:pt x="2999" y="1442"/>
                    </a:lnTo>
                    <a:lnTo>
                      <a:pt x="2988" y="1405"/>
                    </a:lnTo>
                    <a:lnTo>
                      <a:pt x="2986" y="1365"/>
                    </a:lnTo>
                    <a:lnTo>
                      <a:pt x="2986" y="912"/>
                    </a:lnTo>
                    <a:lnTo>
                      <a:pt x="2982" y="872"/>
                    </a:lnTo>
                    <a:lnTo>
                      <a:pt x="2972" y="835"/>
                    </a:lnTo>
                    <a:lnTo>
                      <a:pt x="2955" y="801"/>
                    </a:lnTo>
                    <a:lnTo>
                      <a:pt x="2933" y="771"/>
                    </a:lnTo>
                    <a:lnTo>
                      <a:pt x="2906" y="744"/>
                    </a:lnTo>
                    <a:lnTo>
                      <a:pt x="2875" y="721"/>
                    </a:lnTo>
                    <a:lnTo>
                      <a:pt x="2840" y="705"/>
                    </a:lnTo>
                    <a:lnTo>
                      <a:pt x="2803" y="696"/>
                    </a:lnTo>
                    <a:lnTo>
                      <a:pt x="2763" y="692"/>
                    </a:lnTo>
                    <a:lnTo>
                      <a:pt x="1357" y="692"/>
                    </a:lnTo>
                    <a:lnTo>
                      <a:pt x="1317" y="696"/>
                    </a:lnTo>
                    <a:lnTo>
                      <a:pt x="1280" y="705"/>
                    </a:lnTo>
                    <a:lnTo>
                      <a:pt x="1245" y="721"/>
                    </a:lnTo>
                    <a:lnTo>
                      <a:pt x="1214" y="744"/>
                    </a:lnTo>
                    <a:lnTo>
                      <a:pt x="1187" y="771"/>
                    </a:lnTo>
                    <a:lnTo>
                      <a:pt x="1165" y="801"/>
                    </a:lnTo>
                    <a:lnTo>
                      <a:pt x="1148" y="835"/>
                    </a:lnTo>
                    <a:lnTo>
                      <a:pt x="1138" y="872"/>
                    </a:lnTo>
                    <a:lnTo>
                      <a:pt x="1134" y="912"/>
                    </a:lnTo>
                    <a:lnTo>
                      <a:pt x="1134" y="1365"/>
                    </a:lnTo>
                    <a:lnTo>
                      <a:pt x="1130" y="1405"/>
                    </a:lnTo>
                    <a:lnTo>
                      <a:pt x="1121" y="1442"/>
                    </a:lnTo>
                    <a:lnTo>
                      <a:pt x="1103" y="1475"/>
                    </a:lnTo>
                    <a:lnTo>
                      <a:pt x="1082" y="1506"/>
                    </a:lnTo>
                    <a:lnTo>
                      <a:pt x="1055" y="1533"/>
                    </a:lnTo>
                    <a:lnTo>
                      <a:pt x="1024" y="1554"/>
                    </a:lnTo>
                    <a:lnTo>
                      <a:pt x="990" y="1571"/>
                    </a:lnTo>
                    <a:lnTo>
                      <a:pt x="952" y="1580"/>
                    </a:lnTo>
                    <a:lnTo>
                      <a:pt x="912" y="1584"/>
                    </a:lnTo>
                    <a:lnTo>
                      <a:pt x="91" y="1584"/>
                    </a:lnTo>
                    <a:lnTo>
                      <a:pt x="67" y="1582"/>
                    </a:lnTo>
                    <a:lnTo>
                      <a:pt x="46" y="1572"/>
                    </a:lnTo>
                    <a:lnTo>
                      <a:pt x="27" y="1558"/>
                    </a:lnTo>
                    <a:lnTo>
                      <a:pt x="13" y="1540"/>
                    </a:lnTo>
                    <a:lnTo>
                      <a:pt x="4" y="1519"/>
                    </a:lnTo>
                    <a:lnTo>
                      <a:pt x="0" y="1495"/>
                    </a:lnTo>
                    <a:lnTo>
                      <a:pt x="0" y="1318"/>
                    </a:lnTo>
                    <a:lnTo>
                      <a:pt x="4" y="1216"/>
                    </a:lnTo>
                    <a:lnTo>
                      <a:pt x="16" y="1114"/>
                    </a:lnTo>
                    <a:lnTo>
                      <a:pt x="36" y="1016"/>
                    </a:lnTo>
                    <a:lnTo>
                      <a:pt x="62" y="921"/>
                    </a:lnTo>
                    <a:lnTo>
                      <a:pt x="95" y="828"/>
                    </a:lnTo>
                    <a:lnTo>
                      <a:pt x="136" y="739"/>
                    </a:lnTo>
                    <a:lnTo>
                      <a:pt x="183" y="654"/>
                    </a:lnTo>
                    <a:lnTo>
                      <a:pt x="236" y="571"/>
                    </a:lnTo>
                    <a:lnTo>
                      <a:pt x="294" y="494"/>
                    </a:lnTo>
                    <a:lnTo>
                      <a:pt x="357" y="420"/>
                    </a:lnTo>
                    <a:lnTo>
                      <a:pt x="427" y="353"/>
                    </a:lnTo>
                    <a:lnTo>
                      <a:pt x="500" y="290"/>
                    </a:lnTo>
                    <a:lnTo>
                      <a:pt x="580" y="231"/>
                    </a:lnTo>
                    <a:lnTo>
                      <a:pt x="662" y="179"/>
                    </a:lnTo>
                    <a:lnTo>
                      <a:pt x="749" y="134"/>
                    </a:lnTo>
                    <a:lnTo>
                      <a:pt x="839" y="94"/>
                    </a:lnTo>
                    <a:lnTo>
                      <a:pt x="933" y="61"/>
                    </a:lnTo>
                    <a:lnTo>
                      <a:pt x="1031" y="34"/>
                    </a:lnTo>
                    <a:lnTo>
                      <a:pt x="1129" y="16"/>
                    </a:lnTo>
                    <a:lnTo>
                      <a:pt x="1232" y="4"/>
                    </a:lnTo>
                    <a:lnTo>
                      <a:pt x="13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  <p:sp>
            <p:nvSpPr>
              <p:cNvPr id="40" name="Freeform 364">
                <a:extLst>
                  <a:ext uri="{FF2B5EF4-FFF2-40B4-BE49-F238E27FC236}">
                    <a16:creationId xmlns:a16="http://schemas.microsoft.com/office/drawing/2014/main" id="{EE15CDEB-2189-4A88-866E-ABAE0EAC06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83363" y="4408488"/>
                <a:ext cx="719138" cy="709612"/>
              </a:xfrm>
              <a:custGeom>
                <a:avLst/>
                <a:gdLst>
                  <a:gd name="T0" fmla="*/ 646 w 1360"/>
                  <a:gd name="T1" fmla="*/ 510 h 1341"/>
                  <a:gd name="T2" fmla="*/ 587 w 1360"/>
                  <a:gd name="T3" fmla="*/ 534 h 1341"/>
                  <a:gd name="T4" fmla="*/ 542 w 1360"/>
                  <a:gd name="T5" fmla="*/ 578 h 1341"/>
                  <a:gd name="T6" fmla="*/ 517 w 1360"/>
                  <a:gd name="T7" fmla="*/ 636 h 1341"/>
                  <a:gd name="T8" fmla="*/ 517 w 1360"/>
                  <a:gd name="T9" fmla="*/ 703 h 1341"/>
                  <a:gd name="T10" fmla="*/ 542 w 1360"/>
                  <a:gd name="T11" fmla="*/ 761 h 1341"/>
                  <a:gd name="T12" fmla="*/ 587 w 1360"/>
                  <a:gd name="T13" fmla="*/ 805 h 1341"/>
                  <a:gd name="T14" fmla="*/ 646 w 1360"/>
                  <a:gd name="T15" fmla="*/ 831 h 1341"/>
                  <a:gd name="T16" fmla="*/ 714 w 1360"/>
                  <a:gd name="T17" fmla="*/ 831 h 1341"/>
                  <a:gd name="T18" fmla="*/ 773 w 1360"/>
                  <a:gd name="T19" fmla="*/ 805 h 1341"/>
                  <a:gd name="T20" fmla="*/ 818 w 1360"/>
                  <a:gd name="T21" fmla="*/ 761 h 1341"/>
                  <a:gd name="T22" fmla="*/ 842 w 1360"/>
                  <a:gd name="T23" fmla="*/ 703 h 1341"/>
                  <a:gd name="T24" fmla="*/ 842 w 1360"/>
                  <a:gd name="T25" fmla="*/ 636 h 1341"/>
                  <a:gd name="T26" fmla="*/ 818 w 1360"/>
                  <a:gd name="T27" fmla="*/ 578 h 1341"/>
                  <a:gd name="T28" fmla="*/ 773 w 1360"/>
                  <a:gd name="T29" fmla="*/ 534 h 1341"/>
                  <a:gd name="T30" fmla="*/ 714 w 1360"/>
                  <a:gd name="T31" fmla="*/ 510 h 1341"/>
                  <a:gd name="T32" fmla="*/ 680 w 1360"/>
                  <a:gd name="T33" fmla="*/ 0 h 1341"/>
                  <a:gd name="T34" fmla="*/ 826 w 1360"/>
                  <a:gd name="T35" fmla="*/ 14 h 1341"/>
                  <a:gd name="T36" fmla="*/ 961 w 1360"/>
                  <a:gd name="T37" fmla="*/ 58 h 1341"/>
                  <a:gd name="T38" fmla="*/ 1082 w 1360"/>
                  <a:gd name="T39" fmla="*/ 129 h 1341"/>
                  <a:gd name="T40" fmla="*/ 1185 w 1360"/>
                  <a:gd name="T41" fmla="*/ 221 h 1341"/>
                  <a:gd name="T42" fmla="*/ 1267 w 1360"/>
                  <a:gd name="T43" fmla="*/ 331 h 1341"/>
                  <a:gd name="T44" fmla="*/ 1325 w 1360"/>
                  <a:gd name="T45" fmla="*/ 458 h 1341"/>
                  <a:gd name="T46" fmla="*/ 1356 w 1360"/>
                  <a:gd name="T47" fmla="*/ 596 h 1341"/>
                  <a:gd name="T48" fmla="*/ 1356 w 1360"/>
                  <a:gd name="T49" fmla="*/ 743 h 1341"/>
                  <a:gd name="T50" fmla="*/ 1325 w 1360"/>
                  <a:gd name="T51" fmla="*/ 881 h 1341"/>
                  <a:gd name="T52" fmla="*/ 1267 w 1360"/>
                  <a:gd name="T53" fmla="*/ 1008 h 1341"/>
                  <a:gd name="T54" fmla="*/ 1185 w 1360"/>
                  <a:gd name="T55" fmla="*/ 1120 h 1341"/>
                  <a:gd name="T56" fmla="*/ 1082 w 1360"/>
                  <a:gd name="T57" fmla="*/ 1212 h 1341"/>
                  <a:gd name="T58" fmla="*/ 961 w 1360"/>
                  <a:gd name="T59" fmla="*/ 1281 h 1341"/>
                  <a:gd name="T60" fmla="*/ 826 w 1360"/>
                  <a:gd name="T61" fmla="*/ 1325 h 1341"/>
                  <a:gd name="T62" fmla="*/ 680 w 1360"/>
                  <a:gd name="T63" fmla="*/ 1341 h 1341"/>
                  <a:gd name="T64" fmla="*/ 534 w 1360"/>
                  <a:gd name="T65" fmla="*/ 1325 h 1341"/>
                  <a:gd name="T66" fmla="*/ 399 w 1360"/>
                  <a:gd name="T67" fmla="*/ 1281 h 1341"/>
                  <a:gd name="T68" fmla="*/ 279 w 1360"/>
                  <a:gd name="T69" fmla="*/ 1212 h 1341"/>
                  <a:gd name="T70" fmla="*/ 175 w 1360"/>
                  <a:gd name="T71" fmla="*/ 1120 h 1341"/>
                  <a:gd name="T72" fmla="*/ 93 w 1360"/>
                  <a:gd name="T73" fmla="*/ 1008 h 1341"/>
                  <a:gd name="T74" fmla="*/ 35 w 1360"/>
                  <a:gd name="T75" fmla="*/ 881 h 1341"/>
                  <a:gd name="T76" fmla="*/ 4 w 1360"/>
                  <a:gd name="T77" fmla="*/ 743 h 1341"/>
                  <a:gd name="T78" fmla="*/ 4 w 1360"/>
                  <a:gd name="T79" fmla="*/ 596 h 1341"/>
                  <a:gd name="T80" fmla="*/ 35 w 1360"/>
                  <a:gd name="T81" fmla="*/ 458 h 1341"/>
                  <a:gd name="T82" fmla="*/ 93 w 1360"/>
                  <a:gd name="T83" fmla="*/ 331 h 1341"/>
                  <a:gd name="T84" fmla="*/ 175 w 1360"/>
                  <a:gd name="T85" fmla="*/ 221 h 1341"/>
                  <a:gd name="T86" fmla="*/ 279 w 1360"/>
                  <a:gd name="T87" fmla="*/ 129 h 1341"/>
                  <a:gd name="T88" fmla="*/ 399 w 1360"/>
                  <a:gd name="T89" fmla="*/ 58 h 1341"/>
                  <a:gd name="T90" fmla="*/ 534 w 1360"/>
                  <a:gd name="T91" fmla="*/ 14 h 1341"/>
                  <a:gd name="T92" fmla="*/ 680 w 1360"/>
                  <a:gd name="T93" fmla="*/ 0 h 1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360" h="1341">
                    <a:moveTo>
                      <a:pt x="680" y="506"/>
                    </a:moveTo>
                    <a:lnTo>
                      <a:pt x="646" y="510"/>
                    </a:lnTo>
                    <a:lnTo>
                      <a:pt x="615" y="519"/>
                    </a:lnTo>
                    <a:lnTo>
                      <a:pt x="587" y="534"/>
                    </a:lnTo>
                    <a:lnTo>
                      <a:pt x="563" y="554"/>
                    </a:lnTo>
                    <a:lnTo>
                      <a:pt x="542" y="578"/>
                    </a:lnTo>
                    <a:lnTo>
                      <a:pt x="528" y="606"/>
                    </a:lnTo>
                    <a:lnTo>
                      <a:pt x="517" y="636"/>
                    </a:lnTo>
                    <a:lnTo>
                      <a:pt x="514" y="670"/>
                    </a:lnTo>
                    <a:lnTo>
                      <a:pt x="517" y="703"/>
                    </a:lnTo>
                    <a:lnTo>
                      <a:pt x="528" y="734"/>
                    </a:lnTo>
                    <a:lnTo>
                      <a:pt x="542" y="761"/>
                    </a:lnTo>
                    <a:lnTo>
                      <a:pt x="563" y="785"/>
                    </a:lnTo>
                    <a:lnTo>
                      <a:pt x="587" y="805"/>
                    </a:lnTo>
                    <a:lnTo>
                      <a:pt x="615" y="820"/>
                    </a:lnTo>
                    <a:lnTo>
                      <a:pt x="646" y="831"/>
                    </a:lnTo>
                    <a:lnTo>
                      <a:pt x="680" y="833"/>
                    </a:lnTo>
                    <a:lnTo>
                      <a:pt x="714" y="831"/>
                    </a:lnTo>
                    <a:lnTo>
                      <a:pt x="745" y="820"/>
                    </a:lnTo>
                    <a:lnTo>
                      <a:pt x="773" y="805"/>
                    </a:lnTo>
                    <a:lnTo>
                      <a:pt x="797" y="785"/>
                    </a:lnTo>
                    <a:lnTo>
                      <a:pt x="818" y="761"/>
                    </a:lnTo>
                    <a:lnTo>
                      <a:pt x="832" y="734"/>
                    </a:lnTo>
                    <a:lnTo>
                      <a:pt x="842" y="703"/>
                    </a:lnTo>
                    <a:lnTo>
                      <a:pt x="846" y="670"/>
                    </a:lnTo>
                    <a:lnTo>
                      <a:pt x="842" y="636"/>
                    </a:lnTo>
                    <a:lnTo>
                      <a:pt x="832" y="606"/>
                    </a:lnTo>
                    <a:lnTo>
                      <a:pt x="818" y="578"/>
                    </a:lnTo>
                    <a:lnTo>
                      <a:pt x="797" y="554"/>
                    </a:lnTo>
                    <a:lnTo>
                      <a:pt x="773" y="534"/>
                    </a:lnTo>
                    <a:lnTo>
                      <a:pt x="745" y="519"/>
                    </a:lnTo>
                    <a:lnTo>
                      <a:pt x="714" y="510"/>
                    </a:lnTo>
                    <a:lnTo>
                      <a:pt x="680" y="506"/>
                    </a:lnTo>
                    <a:close/>
                    <a:moveTo>
                      <a:pt x="680" y="0"/>
                    </a:moveTo>
                    <a:lnTo>
                      <a:pt x="754" y="2"/>
                    </a:lnTo>
                    <a:lnTo>
                      <a:pt x="826" y="14"/>
                    </a:lnTo>
                    <a:lnTo>
                      <a:pt x="895" y="33"/>
                    </a:lnTo>
                    <a:lnTo>
                      <a:pt x="961" y="58"/>
                    </a:lnTo>
                    <a:lnTo>
                      <a:pt x="1023" y="90"/>
                    </a:lnTo>
                    <a:lnTo>
                      <a:pt x="1082" y="129"/>
                    </a:lnTo>
                    <a:lnTo>
                      <a:pt x="1136" y="171"/>
                    </a:lnTo>
                    <a:lnTo>
                      <a:pt x="1185" y="221"/>
                    </a:lnTo>
                    <a:lnTo>
                      <a:pt x="1229" y="274"/>
                    </a:lnTo>
                    <a:lnTo>
                      <a:pt x="1267" y="331"/>
                    </a:lnTo>
                    <a:lnTo>
                      <a:pt x="1299" y="393"/>
                    </a:lnTo>
                    <a:lnTo>
                      <a:pt x="1325" y="458"/>
                    </a:lnTo>
                    <a:lnTo>
                      <a:pt x="1344" y="526"/>
                    </a:lnTo>
                    <a:lnTo>
                      <a:pt x="1356" y="596"/>
                    </a:lnTo>
                    <a:lnTo>
                      <a:pt x="1360" y="670"/>
                    </a:lnTo>
                    <a:lnTo>
                      <a:pt x="1356" y="743"/>
                    </a:lnTo>
                    <a:lnTo>
                      <a:pt x="1344" y="813"/>
                    </a:lnTo>
                    <a:lnTo>
                      <a:pt x="1325" y="881"/>
                    </a:lnTo>
                    <a:lnTo>
                      <a:pt x="1299" y="947"/>
                    </a:lnTo>
                    <a:lnTo>
                      <a:pt x="1267" y="1008"/>
                    </a:lnTo>
                    <a:lnTo>
                      <a:pt x="1229" y="1066"/>
                    </a:lnTo>
                    <a:lnTo>
                      <a:pt x="1185" y="1120"/>
                    </a:lnTo>
                    <a:lnTo>
                      <a:pt x="1136" y="1168"/>
                    </a:lnTo>
                    <a:lnTo>
                      <a:pt x="1082" y="1212"/>
                    </a:lnTo>
                    <a:lnTo>
                      <a:pt x="1023" y="1249"/>
                    </a:lnTo>
                    <a:lnTo>
                      <a:pt x="961" y="1281"/>
                    </a:lnTo>
                    <a:lnTo>
                      <a:pt x="895" y="1306"/>
                    </a:lnTo>
                    <a:lnTo>
                      <a:pt x="826" y="1325"/>
                    </a:lnTo>
                    <a:lnTo>
                      <a:pt x="754" y="1337"/>
                    </a:lnTo>
                    <a:lnTo>
                      <a:pt x="680" y="1341"/>
                    </a:lnTo>
                    <a:lnTo>
                      <a:pt x="606" y="1337"/>
                    </a:lnTo>
                    <a:lnTo>
                      <a:pt x="534" y="1325"/>
                    </a:lnTo>
                    <a:lnTo>
                      <a:pt x="465" y="1306"/>
                    </a:lnTo>
                    <a:lnTo>
                      <a:pt x="399" y="1281"/>
                    </a:lnTo>
                    <a:lnTo>
                      <a:pt x="337" y="1249"/>
                    </a:lnTo>
                    <a:lnTo>
                      <a:pt x="279" y="1212"/>
                    </a:lnTo>
                    <a:lnTo>
                      <a:pt x="225" y="1168"/>
                    </a:lnTo>
                    <a:lnTo>
                      <a:pt x="175" y="1120"/>
                    </a:lnTo>
                    <a:lnTo>
                      <a:pt x="132" y="1066"/>
                    </a:lnTo>
                    <a:lnTo>
                      <a:pt x="93" y="1008"/>
                    </a:lnTo>
                    <a:lnTo>
                      <a:pt x="61" y="947"/>
                    </a:lnTo>
                    <a:lnTo>
                      <a:pt x="35" y="881"/>
                    </a:lnTo>
                    <a:lnTo>
                      <a:pt x="16" y="813"/>
                    </a:lnTo>
                    <a:lnTo>
                      <a:pt x="4" y="743"/>
                    </a:lnTo>
                    <a:lnTo>
                      <a:pt x="0" y="670"/>
                    </a:lnTo>
                    <a:lnTo>
                      <a:pt x="4" y="596"/>
                    </a:lnTo>
                    <a:lnTo>
                      <a:pt x="16" y="526"/>
                    </a:lnTo>
                    <a:lnTo>
                      <a:pt x="35" y="458"/>
                    </a:lnTo>
                    <a:lnTo>
                      <a:pt x="61" y="393"/>
                    </a:lnTo>
                    <a:lnTo>
                      <a:pt x="93" y="331"/>
                    </a:lnTo>
                    <a:lnTo>
                      <a:pt x="132" y="274"/>
                    </a:lnTo>
                    <a:lnTo>
                      <a:pt x="175" y="221"/>
                    </a:lnTo>
                    <a:lnTo>
                      <a:pt x="225" y="171"/>
                    </a:lnTo>
                    <a:lnTo>
                      <a:pt x="279" y="129"/>
                    </a:lnTo>
                    <a:lnTo>
                      <a:pt x="337" y="90"/>
                    </a:lnTo>
                    <a:lnTo>
                      <a:pt x="399" y="58"/>
                    </a:lnTo>
                    <a:lnTo>
                      <a:pt x="465" y="33"/>
                    </a:lnTo>
                    <a:lnTo>
                      <a:pt x="534" y="14"/>
                    </a:lnTo>
                    <a:lnTo>
                      <a:pt x="606" y="2"/>
                    </a:lnTo>
                    <a:lnTo>
                      <a:pt x="68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cs typeface="+mn-ea"/>
                  <a:sym typeface="+mn-lt"/>
                </a:endParaRPr>
              </a:p>
            </p:txBody>
          </p:sp>
        </p:grpSp>
        <p:sp>
          <p:nvSpPr>
            <p:cNvPr id="37" name="添加标题">
              <a:extLst>
                <a:ext uri="{FF2B5EF4-FFF2-40B4-BE49-F238E27FC236}">
                  <a16:creationId xmlns:a16="http://schemas.microsoft.com/office/drawing/2014/main" id="{090E881A-784E-4825-9268-02FC9746FE57}"/>
                </a:ext>
              </a:extLst>
            </p:cNvPr>
            <p:cNvSpPr txBox="1"/>
            <p:nvPr/>
          </p:nvSpPr>
          <p:spPr>
            <a:xfrm>
              <a:off x="6428453" y="1540745"/>
              <a:ext cx="2250193" cy="1068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600" b="1" dirty="0">
                  <a:solidFill>
                    <a:schemeClr val="accent3"/>
                  </a:solidFill>
                  <a:cs typeface="+mn-ea"/>
                  <a:sym typeface="+mn-lt"/>
                </a:rPr>
                <a:t>Add title text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E2AED22E-0A10-455C-A66E-37238CA41625}"/>
              </a:ext>
            </a:extLst>
          </p:cNvPr>
          <p:cNvGrpSpPr/>
          <p:nvPr/>
        </p:nvGrpSpPr>
        <p:grpSpPr>
          <a:xfrm>
            <a:off x="8830451" y="4616637"/>
            <a:ext cx="2850804" cy="1068049"/>
            <a:chOff x="8830451" y="4180700"/>
            <a:chExt cx="2850804" cy="1068049"/>
          </a:xfrm>
        </p:grpSpPr>
        <p:grpSp>
          <p:nvGrpSpPr>
            <p:cNvPr id="42" name="Группа 414">
              <a:extLst>
                <a:ext uri="{FF2B5EF4-FFF2-40B4-BE49-F238E27FC236}">
                  <a16:creationId xmlns:a16="http://schemas.microsoft.com/office/drawing/2014/main" id="{4A91FE93-A0BB-4BE3-B64E-D5716BD241A8}"/>
                </a:ext>
              </a:extLst>
            </p:cNvPr>
            <p:cNvGrpSpPr/>
            <p:nvPr/>
          </p:nvGrpSpPr>
          <p:grpSpPr>
            <a:xfrm>
              <a:off x="8830451" y="4401443"/>
              <a:ext cx="439718" cy="501400"/>
              <a:chOff x="5880101" y="3230563"/>
              <a:chExt cx="2195512" cy="2503488"/>
            </a:xfrm>
            <a:solidFill>
              <a:schemeClr val="accent5"/>
            </a:solidFill>
          </p:grpSpPr>
          <p:sp>
            <p:nvSpPr>
              <p:cNvPr id="44" name="Freeform 369">
                <a:extLst>
                  <a:ext uri="{FF2B5EF4-FFF2-40B4-BE49-F238E27FC236}">
                    <a16:creationId xmlns:a16="http://schemas.microsoft.com/office/drawing/2014/main" id="{384844F4-BD49-4062-94A2-0B546D699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0525" y="3230563"/>
                <a:ext cx="482600" cy="223838"/>
              </a:xfrm>
              <a:custGeom>
                <a:avLst/>
                <a:gdLst>
                  <a:gd name="T0" fmla="*/ 79 w 610"/>
                  <a:gd name="T1" fmla="*/ 0 h 282"/>
                  <a:gd name="T2" fmla="*/ 531 w 610"/>
                  <a:gd name="T3" fmla="*/ 0 h 282"/>
                  <a:gd name="T4" fmla="*/ 552 w 610"/>
                  <a:gd name="T5" fmla="*/ 3 h 282"/>
                  <a:gd name="T6" fmla="*/ 571 w 610"/>
                  <a:gd name="T7" fmla="*/ 11 h 282"/>
                  <a:gd name="T8" fmla="*/ 587 w 610"/>
                  <a:gd name="T9" fmla="*/ 23 h 282"/>
                  <a:gd name="T10" fmla="*/ 600 w 610"/>
                  <a:gd name="T11" fmla="*/ 40 h 282"/>
                  <a:gd name="T12" fmla="*/ 608 w 610"/>
                  <a:gd name="T13" fmla="*/ 58 h 282"/>
                  <a:gd name="T14" fmla="*/ 610 w 610"/>
                  <a:gd name="T15" fmla="*/ 79 h 282"/>
                  <a:gd name="T16" fmla="*/ 610 w 610"/>
                  <a:gd name="T17" fmla="*/ 203 h 282"/>
                  <a:gd name="T18" fmla="*/ 608 w 610"/>
                  <a:gd name="T19" fmla="*/ 224 h 282"/>
                  <a:gd name="T20" fmla="*/ 600 w 610"/>
                  <a:gd name="T21" fmla="*/ 243 h 282"/>
                  <a:gd name="T22" fmla="*/ 587 w 610"/>
                  <a:gd name="T23" fmla="*/ 259 h 282"/>
                  <a:gd name="T24" fmla="*/ 571 w 610"/>
                  <a:gd name="T25" fmla="*/ 272 h 282"/>
                  <a:gd name="T26" fmla="*/ 552 w 610"/>
                  <a:gd name="T27" fmla="*/ 280 h 282"/>
                  <a:gd name="T28" fmla="*/ 531 w 610"/>
                  <a:gd name="T29" fmla="*/ 282 h 282"/>
                  <a:gd name="T30" fmla="*/ 79 w 610"/>
                  <a:gd name="T31" fmla="*/ 282 h 282"/>
                  <a:gd name="T32" fmla="*/ 58 w 610"/>
                  <a:gd name="T33" fmla="*/ 280 h 282"/>
                  <a:gd name="T34" fmla="*/ 39 w 610"/>
                  <a:gd name="T35" fmla="*/ 272 h 282"/>
                  <a:gd name="T36" fmla="*/ 23 w 610"/>
                  <a:gd name="T37" fmla="*/ 259 h 282"/>
                  <a:gd name="T38" fmla="*/ 11 w 610"/>
                  <a:gd name="T39" fmla="*/ 243 h 282"/>
                  <a:gd name="T40" fmla="*/ 3 w 610"/>
                  <a:gd name="T41" fmla="*/ 224 h 282"/>
                  <a:gd name="T42" fmla="*/ 0 w 610"/>
                  <a:gd name="T43" fmla="*/ 203 h 282"/>
                  <a:gd name="T44" fmla="*/ 0 w 610"/>
                  <a:gd name="T45" fmla="*/ 79 h 282"/>
                  <a:gd name="T46" fmla="*/ 3 w 610"/>
                  <a:gd name="T47" fmla="*/ 58 h 282"/>
                  <a:gd name="T48" fmla="*/ 11 w 610"/>
                  <a:gd name="T49" fmla="*/ 40 h 282"/>
                  <a:gd name="T50" fmla="*/ 23 w 610"/>
                  <a:gd name="T51" fmla="*/ 23 h 282"/>
                  <a:gd name="T52" fmla="*/ 39 w 610"/>
                  <a:gd name="T53" fmla="*/ 11 h 282"/>
                  <a:gd name="T54" fmla="*/ 58 w 610"/>
                  <a:gd name="T55" fmla="*/ 3 h 282"/>
                  <a:gd name="T56" fmla="*/ 79 w 610"/>
                  <a:gd name="T57" fmla="*/ 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10" h="282">
                    <a:moveTo>
                      <a:pt x="79" y="0"/>
                    </a:moveTo>
                    <a:lnTo>
                      <a:pt x="531" y="0"/>
                    </a:lnTo>
                    <a:lnTo>
                      <a:pt x="552" y="3"/>
                    </a:lnTo>
                    <a:lnTo>
                      <a:pt x="571" y="11"/>
                    </a:lnTo>
                    <a:lnTo>
                      <a:pt x="587" y="23"/>
                    </a:lnTo>
                    <a:lnTo>
                      <a:pt x="600" y="40"/>
                    </a:lnTo>
                    <a:lnTo>
                      <a:pt x="608" y="58"/>
                    </a:lnTo>
                    <a:lnTo>
                      <a:pt x="610" y="79"/>
                    </a:lnTo>
                    <a:lnTo>
                      <a:pt x="610" y="203"/>
                    </a:lnTo>
                    <a:lnTo>
                      <a:pt x="608" y="224"/>
                    </a:lnTo>
                    <a:lnTo>
                      <a:pt x="600" y="243"/>
                    </a:lnTo>
                    <a:lnTo>
                      <a:pt x="587" y="259"/>
                    </a:lnTo>
                    <a:lnTo>
                      <a:pt x="571" y="272"/>
                    </a:lnTo>
                    <a:lnTo>
                      <a:pt x="552" y="280"/>
                    </a:lnTo>
                    <a:lnTo>
                      <a:pt x="531" y="282"/>
                    </a:lnTo>
                    <a:lnTo>
                      <a:pt x="79" y="282"/>
                    </a:lnTo>
                    <a:lnTo>
                      <a:pt x="58" y="280"/>
                    </a:lnTo>
                    <a:lnTo>
                      <a:pt x="39" y="272"/>
                    </a:lnTo>
                    <a:lnTo>
                      <a:pt x="23" y="259"/>
                    </a:lnTo>
                    <a:lnTo>
                      <a:pt x="11" y="243"/>
                    </a:lnTo>
                    <a:lnTo>
                      <a:pt x="3" y="224"/>
                    </a:lnTo>
                    <a:lnTo>
                      <a:pt x="0" y="203"/>
                    </a:lnTo>
                    <a:lnTo>
                      <a:pt x="0" y="79"/>
                    </a:lnTo>
                    <a:lnTo>
                      <a:pt x="3" y="58"/>
                    </a:lnTo>
                    <a:lnTo>
                      <a:pt x="11" y="40"/>
                    </a:lnTo>
                    <a:lnTo>
                      <a:pt x="23" y="23"/>
                    </a:lnTo>
                    <a:lnTo>
                      <a:pt x="39" y="11"/>
                    </a:lnTo>
                    <a:lnTo>
                      <a:pt x="58" y="3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5" name="Freeform 370">
                <a:extLst>
                  <a:ext uri="{FF2B5EF4-FFF2-40B4-BE49-F238E27FC236}">
                    <a16:creationId xmlns:a16="http://schemas.microsoft.com/office/drawing/2014/main" id="{D3C5972C-157E-4F91-9431-42965D9EA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0101" y="3535363"/>
                <a:ext cx="2195512" cy="2198688"/>
              </a:xfrm>
              <a:custGeom>
                <a:avLst/>
                <a:gdLst>
                  <a:gd name="T0" fmla="*/ 1571 w 2766"/>
                  <a:gd name="T1" fmla="*/ 13 h 2769"/>
                  <a:gd name="T2" fmla="*/ 1838 w 2766"/>
                  <a:gd name="T3" fmla="*/ 77 h 2769"/>
                  <a:gd name="T4" fmla="*/ 2081 w 2766"/>
                  <a:gd name="T5" fmla="*/ 189 h 2769"/>
                  <a:gd name="T6" fmla="*/ 2296 w 2766"/>
                  <a:gd name="T7" fmla="*/ 345 h 2769"/>
                  <a:gd name="T8" fmla="*/ 2478 w 2766"/>
                  <a:gd name="T9" fmla="*/ 539 h 2769"/>
                  <a:gd name="T10" fmla="*/ 2620 w 2766"/>
                  <a:gd name="T11" fmla="*/ 764 h 2769"/>
                  <a:gd name="T12" fmla="*/ 2717 w 2766"/>
                  <a:gd name="T13" fmla="*/ 1017 h 2769"/>
                  <a:gd name="T14" fmla="*/ 2763 w 2766"/>
                  <a:gd name="T15" fmla="*/ 1290 h 2769"/>
                  <a:gd name="T16" fmla="*/ 2754 w 2766"/>
                  <a:gd name="T17" fmla="*/ 1571 h 2769"/>
                  <a:gd name="T18" fmla="*/ 2690 w 2766"/>
                  <a:gd name="T19" fmla="*/ 1839 h 2769"/>
                  <a:gd name="T20" fmla="*/ 2577 w 2766"/>
                  <a:gd name="T21" fmla="*/ 2082 h 2769"/>
                  <a:gd name="T22" fmla="*/ 2421 w 2766"/>
                  <a:gd name="T23" fmla="*/ 2298 h 2769"/>
                  <a:gd name="T24" fmla="*/ 2228 w 2766"/>
                  <a:gd name="T25" fmla="*/ 2480 h 2769"/>
                  <a:gd name="T26" fmla="*/ 2003 w 2766"/>
                  <a:gd name="T27" fmla="*/ 2622 h 2769"/>
                  <a:gd name="T28" fmla="*/ 1751 w 2766"/>
                  <a:gd name="T29" fmla="*/ 2719 h 2769"/>
                  <a:gd name="T30" fmla="*/ 1479 w 2766"/>
                  <a:gd name="T31" fmla="*/ 2765 h 2769"/>
                  <a:gd name="T32" fmla="*/ 1196 w 2766"/>
                  <a:gd name="T33" fmla="*/ 2756 h 2769"/>
                  <a:gd name="T34" fmla="*/ 929 w 2766"/>
                  <a:gd name="T35" fmla="*/ 2692 h 2769"/>
                  <a:gd name="T36" fmla="*/ 686 w 2766"/>
                  <a:gd name="T37" fmla="*/ 2580 h 2769"/>
                  <a:gd name="T38" fmla="*/ 470 w 2766"/>
                  <a:gd name="T39" fmla="*/ 2423 h 2769"/>
                  <a:gd name="T40" fmla="*/ 289 w 2766"/>
                  <a:gd name="T41" fmla="*/ 2229 h 2769"/>
                  <a:gd name="T42" fmla="*/ 147 w 2766"/>
                  <a:gd name="T43" fmla="*/ 2004 h 2769"/>
                  <a:gd name="T44" fmla="*/ 50 w 2766"/>
                  <a:gd name="T45" fmla="*/ 1752 h 2769"/>
                  <a:gd name="T46" fmla="*/ 4 w 2766"/>
                  <a:gd name="T47" fmla="*/ 1479 h 2769"/>
                  <a:gd name="T48" fmla="*/ 12 w 2766"/>
                  <a:gd name="T49" fmla="*/ 1204 h 2769"/>
                  <a:gd name="T50" fmla="*/ 72 w 2766"/>
                  <a:gd name="T51" fmla="*/ 947 h 2769"/>
                  <a:gd name="T52" fmla="*/ 177 w 2766"/>
                  <a:gd name="T53" fmla="*/ 710 h 2769"/>
                  <a:gd name="T54" fmla="*/ 322 w 2766"/>
                  <a:gd name="T55" fmla="*/ 500 h 2769"/>
                  <a:gd name="T56" fmla="*/ 561 w 2766"/>
                  <a:gd name="T57" fmla="*/ 783 h 2769"/>
                  <a:gd name="T58" fmla="*/ 456 w 2766"/>
                  <a:gd name="T59" fmla="*/ 964 h 2769"/>
                  <a:gd name="T60" fmla="*/ 389 w 2766"/>
                  <a:gd name="T61" fmla="*/ 1166 h 2769"/>
                  <a:gd name="T62" fmla="*/ 365 w 2766"/>
                  <a:gd name="T63" fmla="*/ 1384 h 2769"/>
                  <a:gd name="T64" fmla="*/ 392 w 2766"/>
                  <a:gd name="T65" fmla="*/ 1619 h 2769"/>
                  <a:gd name="T66" fmla="*/ 469 w 2766"/>
                  <a:gd name="T67" fmla="*/ 1834 h 2769"/>
                  <a:gd name="T68" fmla="*/ 590 w 2766"/>
                  <a:gd name="T69" fmla="*/ 2023 h 2769"/>
                  <a:gd name="T70" fmla="*/ 748 w 2766"/>
                  <a:gd name="T71" fmla="*/ 2182 h 2769"/>
                  <a:gd name="T72" fmla="*/ 938 w 2766"/>
                  <a:gd name="T73" fmla="*/ 2302 h 2769"/>
                  <a:gd name="T74" fmla="*/ 1153 w 2766"/>
                  <a:gd name="T75" fmla="*/ 2379 h 2769"/>
                  <a:gd name="T76" fmla="*/ 1387 w 2766"/>
                  <a:gd name="T77" fmla="*/ 2406 h 2769"/>
                  <a:gd name="T78" fmla="*/ 1622 w 2766"/>
                  <a:gd name="T79" fmla="*/ 2379 h 2769"/>
                  <a:gd name="T80" fmla="*/ 1837 w 2766"/>
                  <a:gd name="T81" fmla="*/ 2302 h 2769"/>
                  <a:gd name="T82" fmla="*/ 2026 w 2766"/>
                  <a:gd name="T83" fmla="*/ 2182 h 2769"/>
                  <a:gd name="T84" fmla="*/ 2184 w 2766"/>
                  <a:gd name="T85" fmla="*/ 2023 h 2769"/>
                  <a:gd name="T86" fmla="*/ 2305 w 2766"/>
                  <a:gd name="T87" fmla="*/ 1834 h 2769"/>
                  <a:gd name="T88" fmla="*/ 2382 w 2766"/>
                  <a:gd name="T89" fmla="*/ 1619 h 2769"/>
                  <a:gd name="T90" fmla="*/ 2409 w 2766"/>
                  <a:gd name="T91" fmla="*/ 1384 h 2769"/>
                  <a:gd name="T92" fmla="*/ 2382 w 2766"/>
                  <a:gd name="T93" fmla="*/ 1150 h 2769"/>
                  <a:gd name="T94" fmla="*/ 2305 w 2766"/>
                  <a:gd name="T95" fmla="*/ 935 h 2769"/>
                  <a:gd name="T96" fmla="*/ 2184 w 2766"/>
                  <a:gd name="T97" fmla="*/ 744 h 2769"/>
                  <a:gd name="T98" fmla="*/ 2026 w 2766"/>
                  <a:gd name="T99" fmla="*/ 586 h 2769"/>
                  <a:gd name="T100" fmla="*/ 1837 w 2766"/>
                  <a:gd name="T101" fmla="*/ 465 h 2769"/>
                  <a:gd name="T102" fmla="*/ 1622 w 2766"/>
                  <a:gd name="T103" fmla="*/ 388 h 2769"/>
                  <a:gd name="T104" fmla="*/ 1387 w 2766"/>
                  <a:gd name="T105" fmla="*/ 361 h 2769"/>
                  <a:gd name="T106" fmla="*/ 1158 w 2766"/>
                  <a:gd name="T107" fmla="*/ 388 h 2769"/>
                  <a:gd name="T108" fmla="*/ 947 w 2766"/>
                  <a:gd name="T109" fmla="*/ 462 h 2769"/>
                  <a:gd name="T110" fmla="*/ 760 w 2766"/>
                  <a:gd name="T111" fmla="*/ 579 h 2769"/>
                  <a:gd name="T112" fmla="*/ 463 w 2766"/>
                  <a:gd name="T113" fmla="*/ 352 h 2769"/>
                  <a:gd name="T114" fmla="*/ 660 w 2766"/>
                  <a:gd name="T115" fmla="*/ 205 h 2769"/>
                  <a:gd name="T116" fmla="*/ 882 w 2766"/>
                  <a:gd name="T117" fmla="*/ 94 h 2769"/>
                  <a:gd name="T118" fmla="*/ 1125 w 2766"/>
                  <a:gd name="T119" fmla="*/ 25 h 2769"/>
                  <a:gd name="T120" fmla="*/ 1383 w 2766"/>
                  <a:gd name="T121" fmla="*/ 0 h 2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66" h="2769">
                    <a:moveTo>
                      <a:pt x="1383" y="0"/>
                    </a:moveTo>
                    <a:lnTo>
                      <a:pt x="1479" y="3"/>
                    </a:lnTo>
                    <a:lnTo>
                      <a:pt x="1571" y="13"/>
                    </a:lnTo>
                    <a:lnTo>
                      <a:pt x="1662" y="28"/>
                    </a:lnTo>
                    <a:lnTo>
                      <a:pt x="1751" y="50"/>
                    </a:lnTo>
                    <a:lnTo>
                      <a:pt x="1838" y="77"/>
                    </a:lnTo>
                    <a:lnTo>
                      <a:pt x="1922" y="109"/>
                    </a:lnTo>
                    <a:lnTo>
                      <a:pt x="2003" y="147"/>
                    </a:lnTo>
                    <a:lnTo>
                      <a:pt x="2081" y="189"/>
                    </a:lnTo>
                    <a:lnTo>
                      <a:pt x="2156" y="237"/>
                    </a:lnTo>
                    <a:lnTo>
                      <a:pt x="2228" y="289"/>
                    </a:lnTo>
                    <a:lnTo>
                      <a:pt x="2296" y="345"/>
                    </a:lnTo>
                    <a:lnTo>
                      <a:pt x="2361" y="406"/>
                    </a:lnTo>
                    <a:lnTo>
                      <a:pt x="2421" y="470"/>
                    </a:lnTo>
                    <a:lnTo>
                      <a:pt x="2478" y="539"/>
                    </a:lnTo>
                    <a:lnTo>
                      <a:pt x="2530" y="610"/>
                    </a:lnTo>
                    <a:lnTo>
                      <a:pt x="2577" y="686"/>
                    </a:lnTo>
                    <a:lnTo>
                      <a:pt x="2620" y="764"/>
                    </a:lnTo>
                    <a:lnTo>
                      <a:pt x="2657" y="846"/>
                    </a:lnTo>
                    <a:lnTo>
                      <a:pt x="2690" y="930"/>
                    </a:lnTo>
                    <a:lnTo>
                      <a:pt x="2717" y="1017"/>
                    </a:lnTo>
                    <a:lnTo>
                      <a:pt x="2738" y="1106"/>
                    </a:lnTo>
                    <a:lnTo>
                      <a:pt x="2754" y="1197"/>
                    </a:lnTo>
                    <a:lnTo>
                      <a:pt x="2763" y="1290"/>
                    </a:lnTo>
                    <a:lnTo>
                      <a:pt x="2766" y="1384"/>
                    </a:lnTo>
                    <a:lnTo>
                      <a:pt x="2763" y="1479"/>
                    </a:lnTo>
                    <a:lnTo>
                      <a:pt x="2754" y="1571"/>
                    </a:lnTo>
                    <a:lnTo>
                      <a:pt x="2738" y="1663"/>
                    </a:lnTo>
                    <a:lnTo>
                      <a:pt x="2717" y="1752"/>
                    </a:lnTo>
                    <a:lnTo>
                      <a:pt x="2690" y="1839"/>
                    </a:lnTo>
                    <a:lnTo>
                      <a:pt x="2657" y="1923"/>
                    </a:lnTo>
                    <a:lnTo>
                      <a:pt x="2620" y="2004"/>
                    </a:lnTo>
                    <a:lnTo>
                      <a:pt x="2577" y="2082"/>
                    </a:lnTo>
                    <a:lnTo>
                      <a:pt x="2530" y="2157"/>
                    </a:lnTo>
                    <a:lnTo>
                      <a:pt x="2478" y="2229"/>
                    </a:lnTo>
                    <a:lnTo>
                      <a:pt x="2421" y="2298"/>
                    </a:lnTo>
                    <a:lnTo>
                      <a:pt x="2361" y="2362"/>
                    </a:lnTo>
                    <a:lnTo>
                      <a:pt x="2296" y="2423"/>
                    </a:lnTo>
                    <a:lnTo>
                      <a:pt x="2228" y="2480"/>
                    </a:lnTo>
                    <a:lnTo>
                      <a:pt x="2156" y="2532"/>
                    </a:lnTo>
                    <a:lnTo>
                      <a:pt x="2081" y="2580"/>
                    </a:lnTo>
                    <a:lnTo>
                      <a:pt x="2003" y="2622"/>
                    </a:lnTo>
                    <a:lnTo>
                      <a:pt x="1922" y="2660"/>
                    </a:lnTo>
                    <a:lnTo>
                      <a:pt x="1838" y="2692"/>
                    </a:lnTo>
                    <a:lnTo>
                      <a:pt x="1751" y="2719"/>
                    </a:lnTo>
                    <a:lnTo>
                      <a:pt x="1662" y="2740"/>
                    </a:lnTo>
                    <a:lnTo>
                      <a:pt x="1571" y="2756"/>
                    </a:lnTo>
                    <a:lnTo>
                      <a:pt x="1479" y="2765"/>
                    </a:lnTo>
                    <a:lnTo>
                      <a:pt x="1383" y="2769"/>
                    </a:lnTo>
                    <a:lnTo>
                      <a:pt x="1289" y="2765"/>
                    </a:lnTo>
                    <a:lnTo>
                      <a:pt x="1196" y="2756"/>
                    </a:lnTo>
                    <a:lnTo>
                      <a:pt x="1105" y="2740"/>
                    </a:lnTo>
                    <a:lnTo>
                      <a:pt x="1016" y="2719"/>
                    </a:lnTo>
                    <a:lnTo>
                      <a:pt x="929" y="2692"/>
                    </a:lnTo>
                    <a:lnTo>
                      <a:pt x="845" y="2660"/>
                    </a:lnTo>
                    <a:lnTo>
                      <a:pt x="764" y="2622"/>
                    </a:lnTo>
                    <a:lnTo>
                      <a:pt x="686" y="2580"/>
                    </a:lnTo>
                    <a:lnTo>
                      <a:pt x="611" y="2532"/>
                    </a:lnTo>
                    <a:lnTo>
                      <a:pt x="539" y="2480"/>
                    </a:lnTo>
                    <a:lnTo>
                      <a:pt x="470" y="2423"/>
                    </a:lnTo>
                    <a:lnTo>
                      <a:pt x="406" y="2362"/>
                    </a:lnTo>
                    <a:lnTo>
                      <a:pt x="345" y="2298"/>
                    </a:lnTo>
                    <a:lnTo>
                      <a:pt x="289" y="2229"/>
                    </a:lnTo>
                    <a:lnTo>
                      <a:pt x="237" y="2157"/>
                    </a:lnTo>
                    <a:lnTo>
                      <a:pt x="189" y="2082"/>
                    </a:lnTo>
                    <a:lnTo>
                      <a:pt x="147" y="2004"/>
                    </a:lnTo>
                    <a:lnTo>
                      <a:pt x="109" y="1923"/>
                    </a:lnTo>
                    <a:lnTo>
                      <a:pt x="77" y="1839"/>
                    </a:lnTo>
                    <a:lnTo>
                      <a:pt x="50" y="1752"/>
                    </a:lnTo>
                    <a:lnTo>
                      <a:pt x="29" y="1663"/>
                    </a:lnTo>
                    <a:lnTo>
                      <a:pt x="13" y="1571"/>
                    </a:lnTo>
                    <a:lnTo>
                      <a:pt x="4" y="1479"/>
                    </a:lnTo>
                    <a:lnTo>
                      <a:pt x="0" y="1384"/>
                    </a:lnTo>
                    <a:lnTo>
                      <a:pt x="3" y="1293"/>
                    </a:lnTo>
                    <a:lnTo>
                      <a:pt x="12" y="1204"/>
                    </a:lnTo>
                    <a:lnTo>
                      <a:pt x="27" y="1116"/>
                    </a:lnTo>
                    <a:lnTo>
                      <a:pt x="47" y="1031"/>
                    </a:lnTo>
                    <a:lnTo>
                      <a:pt x="72" y="947"/>
                    </a:lnTo>
                    <a:lnTo>
                      <a:pt x="102" y="866"/>
                    </a:lnTo>
                    <a:lnTo>
                      <a:pt x="137" y="787"/>
                    </a:lnTo>
                    <a:lnTo>
                      <a:pt x="177" y="710"/>
                    </a:lnTo>
                    <a:lnTo>
                      <a:pt x="221" y="637"/>
                    </a:lnTo>
                    <a:lnTo>
                      <a:pt x="269" y="567"/>
                    </a:lnTo>
                    <a:lnTo>
                      <a:pt x="322" y="500"/>
                    </a:lnTo>
                    <a:lnTo>
                      <a:pt x="379" y="436"/>
                    </a:lnTo>
                    <a:lnTo>
                      <a:pt x="604" y="728"/>
                    </a:lnTo>
                    <a:lnTo>
                      <a:pt x="561" y="783"/>
                    </a:lnTo>
                    <a:lnTo>
                      <a:pt x="522" y="841"/>
                    </a:lnTo>
                    <a:lnTo>
                      <a:pt x="487" y="902"/>
                    </a:lnTo>
                    <a:lnTo>
                      <a:pt x="456" y="964"/>
                    </a:lnTo>
                    <a:lnTo>
                      <a:pt x="429" y="1030"/>
                    </a:lnTo>
                    <a:lnTo>
                      <a:pt x="406" y="1097"/>
                    </a:lnTo>
                    <a:lnTo>
                      <a:pt x="389" y="1166"/>
                    </a:lnTo>
                    <a:lnTo>
                      <a:pt x="376" y="1237"/>
                    </a:lnTo>
                    <a:lnTo>
                      <a:pt x="368" y="1310"/>
                    </a:lnTo>
                    <a:lnTo>
                      <a:pt x="365" y="1384"/>
                    </a:lnTo>
                    <a:lnTo>
                      <a:pt x="368" y="1464"/>
                    </a:lnTo>
                    <a:lnTo>
                      <a:pt x="377" y="1542"/>
                    </a:lnTo>
                    <a:lnTo>
                      <a:pt x="392" y="1619"/>
                    </a:lnTo>
                    <a:lnTo>
                      <a:pt x="413" y="1693"/>
                    </a:lnTo>
                    <a:lnTo>
                      <a:pt x="438" y="1765"/>
                    </a:lnTo>
                    <a:lnTo>
                      <a:pt x="469" y="1834"/>
                    </a:lnTo>
                    <a:lnTo>
                      <a:pt x="505" y="1900"/>
                    </a:lnTo>
                    <a:lnTo>
                      <a:pt x="545" y="1963"/>
                    </a:lnTo>
                    <a:lnTo>
                      <a:pt x="590" y="2023"/>
                    </a:lnTo>
                    <a:lnTo>
                      <a:pt x="639" y="2080"/>
                    </a:lnTo>
                    <a:lnTo>
                      <a:pt x="692" y="2133"/>
                    </a:lnTo>
                    <a:lnTo>
                      <a:pt x="748" y="2182"/>
                    </a:lnTo>
                    <a:lnTo>
                      <a:pt x="808" y="2226"/>
                    </a:lnTo>
                    <a:lnTo>
                      <a:pt x="872" y="2267"/>
                    </a:lnTo>
                    <a:lnTo>
                      <a:pt x="938" y="2302"/>
                    </a:lnTo>
                    <a:lnTo>
                      <a:pt x="1007" y="2333"/>
                    </a:lnTo>
                    <a:lnTo>
                      <a:pt x="1079" y="2359"/>
                    </a:lnTo>
                    <a:lnTo>
                      <a:pt x="1153" y="2379"/>
                    </a:lnTo>
                    <a:lnTo>
                      <a:pt x="1229" y="2394"/>
                    </a:lnTo>
                    <a:lnTo>
                      <a:pt x="1307" y="2403"/>
                    </a:lnTo>
                    <a:lnTo>
                      <a:pt x="1387" y="2406"/>
                    </a:lnTo>
                    <a:lnTo>
                      <a:pt x="1468" y="2403"/>
                    </a:lnTo>
                    <a:lnTo>
                      <a:pt x="1546" y="2394"/>
                    </a:lnTo>
                    <a:lnTo>
                      <a:pt x="1622" y="2379"/>
                    </a:lnTo>
                    <a:lnTo>
                      <a:pt x="1696" y="2359"/>
                    </a:lnTo>
                    <a:lnTo>
                      <a:pt x="1767" y="2333"/>
                    </a:lnTo>
                    <a:lnTo>
                      <a:pt x="1837" y="2302"/>
                    </a:lnTo>
                    <a:lnTo>
                      <a:pt x="1903" y="2267"/>
                    </a:lnTo>
                    <a:lnTo>
                      <a:pt x="1966" y="2226"/>
                    </a:lnTo>
                    <a:lnTo>
                      <a:pt x="2026" y="2182"/>
                    </a:lnTo>
                    <a:lnTo>
                      <a:pt x="2083" y="2133"/>
                    </a:lnTo>
                    <a:lnTo>
                      <a:pt x="2136" y="2080"/>
                    </a:lnTo>
                    <a:lnTo>
                      <a:pt x="2184" y="2023"/>
                    </a:lnTo>
                    <a:lnTo>
                      <a:pt x="2229" y="1963"/>
                    </a:lnTo>
                    <a:lnTo>
                      <a:pt x="2270" y="1900"/>
                    </a:lnTo>
                    <a:lnTo>
                      <a:pt x="2305" y="1834"/>
                    </a:lnTo>
                    <a:lnTo>
                      <a:pt x="2336" y="1765"/>
                    </a:lnTo>
                    <a:lnTo>
                      <a:pt x="2362" y="1693"/>
                    </a:lnTo>
                    <a:lnTo>
                      <a:pt x="2382" y="1619"/>
                    </a:lnTo>
                    <a:lnTo>
                      <a:pt x="2397" y="1542"/>
                    </a:lnTo>
                    <a:lnTo>
                      <a:pt x="2406" y="1464"/>
                    </a:lnTo>
                    <a:lnTo>
                      <a:pt x="2409" y="1384"/>
                    </a:lnTo>
                    <a:lnTo>
                      <a:pt x="2406" y="1304"/>
                    </a:lnTo>
                    <a:lnTo>
                      <a:pt x="2397" y="1226"/>
                    </a:lnTo>
                    <a:lnTo>
                      <a:pt x="2382" y="1150"/>
                    </a:lnTo>
                    <a:lnTo>
                      <a:pt x="2362" y="1076"/>
                    </a:lnTo>
                    <a:lnTo>
                      <a:pt x="2336" y="1004"/>
                    </a:lnTo>
                    <a:lnTo>
                      <a:pt x="2305" y="935"/>
                    </a:lnTo>
                    <a:lnTo>
                      <a:pt x="2270" y="869"/>
                    </a:lnTo>
                    <a:lnTo>
                      <a:pt x="2229" y="806"/>
                    </a:lnTo>
                    <a:lnTo>
                      <a:pt x="2184" y="744"/>
                    </a:lnTo>
                    <a:lnTo>
                      <a:pt x="2136" y="688"/>
                    </a:lnTo>
                    <a:lnTo>
                      <a:pt x="2083" y="635"/>
                    </a:lnTo>
                    <a:lnTo>
                      <a:pt x="2026" y="586"/>
                    </a:lnTo>
                    <a:lnTo>
                      <a:pt x="1966" y="541"/>
                    </a:lnTo>
                    <a:lnTo>
                      <a:pt x="1903" y="501"/>
                    </a:lnTo>
                    <a:lnTo>
                      <a:pt x="1837" y="465"/>
                    </a:lnTo>
                    <a:lnTo>
                      <a:pt x="1767" y="435"/>
                    </a:lnTo>
                    <a:lnTo>
                      <a:pt x="1696" y="409"/>
                    </a:lnTo>
                    <a:lnTo>
                      <a:pt x="1622" y="388"/>
                    </a:lnTo>
                    <a:lnTo>
                      <a:pt x="1546" y="374"/>
                    </a:lnTo>
                    <a:lnTo>
                      <a:pt x="1468" y="365"/>
                    </a:lnTo>
                    <a:lnTo>
                      <a:pt x="1387" y="361"/>
                    </a:lnTo>
                    <a:lnTo>
                      <a:pt x="1309" y="364"/>
                    </a:lnTo>
                    <a:lnTo>
                      <a:pt x="1232" y="373"/>
                    </a:lnTo>
                    <a:lnTo>
                      <a:pt x="1158" y="388"/>
                    </a:lnTo>
                    <a:lnTo>
                      <a:pt x="1085" y="407"/>
                    </a:lnTo>
                    <a:lnTo>
                      <a:pt x="1015" y="432"/>
                    </a:lnTo>
                    <a:lnTo>
                      <a:pt x="947" y="462"/>
                    </a:lnTo>
                    <a:lnTo>
                      <a:pt x="881" y="496"/>
                    </a:lnTo>
                    <a:lnTo>
                      <a:pt x="819" y="535"/>
                    </a:lnTo>
                    <a:lnTo>
                      <a:pt x="760" y="579"/>
                    </a:lnTo>
                    <a:lnTo>
                      <a:pt x="704" y="626"/>
                    </a:lnTo>
                    <a:lnTo>
                      <a:pt x="403" y="409"/>
                    </a:lnTo>
                    <a:lnTo>
                      <a:pt x="463" y="352"/>
                    </a:lnTo>
                    <a:lnTo>
                      <a:pt x="525" y="300"/>
                    </a:lnTo>
                    <a:lnTo>
                      <a:pt x="591" y="250"/>
                    </a:lnTo>
                    <a:lnTo>
                      <a:pt x="660" y="205"/>
                    </a:lnTo>
                    <a:lnTo>
                      <a:pt x="731" y="164"/>
                    </a:lnTo>
                    <a:lnTo>
                      <a:pt x="806" y="127"/>
                    </a:lnTo>
                    <a:lnTo>
                      <a:pt x="882" y="94"/>
                    </a:lnTo>
                    <a:lnTo>
                      <a:pt x="961" y="66"/>
                    </a:lnTo>
                    <a:lnTo>
                      <a:pt x="1042" y="43"/>
                    </a:lnTo>
                    <a:lnTo>
                      <a:pt x="1125" y="25"/>
                    </a:lnTo>
                    <a:lnTo>
                      <a:pt x="1209" y="11"/>
                    </a:lnTo>
                    <a:lnTo>
                      <a:pt x="1295" y="3"/>
                    </a:lnTo>
                    <a:lnTo>
                      <a:pt x="138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6" name="Freeform 371">
                <a:extLst>
                  <a:ext uri="{FF2B5EF4-FFF2-40B4-BE49-F238E27FC236}">
                    <a16:creationId xmlns:a16="http://schemas.microsoft.com/office/drawing/2014/main" id="{6D9EAB7C-B7EB-4361-B132-DB7C8AE71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9838" y="3971926"/>
                <a:ext cx="1325562" cy="1327150"/>
              </a:xfrm>
              <a:custGeom>
                <a:avLst/>
                <a:gdLst>
                  <a:gd name="T0" fmla="*/ 908 w 1671"/>
                  <a:gd name="T1" fmla="*/ 3 h 1672"/>
                  <a:gd name="T2" fmla="*/ 1046 w 1671"/>
                  <a:gd name="T3" fmla="*/ 27 h 1672"/>
                  <a:gd name="T4" fmla="*/ 1176 w 1671"/>
                  <a:gd name="T5" fmla="*/ 72 h 1672"/>
                  <a:gd name="T6" fmla="*/ 1295 w 1671"/>
                  <a:gd name="T7" fmla="*/ 138 h 1672"/>
                  <a:gd name="T8" fmla="*/ 1401 w 1671"/>
                  <a:gd name="T9" fmla="*/ 221 h 1672"/>
                  <a:gd name="T10" fmla="*/ 1493 w 1671"/>
                  <a:gd name="T11" fmla="*/ 321 h 1672"/>
                  <a:gd name="T12" fmla="*/ 1568 w 1671"/>
                  <a:gd name="T13" fmla="*/ 434 h 1672"/>
                  <a:gd name="T14" fmla="*/ 1623 w 1671"/>
                  <a:gd name="T15" fmla="*/ 559 h 1672"/>
                  <a:gd name="T16" fmla="*/ 1658 w 1671"/>
                  <a:gd name="T17" fmla="*/ 694 h 1672"/>
                  <a:gd name="T18" fmla="*/ 1671 w 1671"/>
                  <a:gd name="T19" fmla="*/ 836 h 1672"/>
                  <a:gd name="T20" fmla="*/ 1658 w 1671"/>
                  <a:gd name="T21" fmla="*/ 978 h 1672"/>
                  <a:gd name="T22" fmla="*/ 1623 w 1671"/>
                  <a:gd name="T23" fmla="*/ 1113 h 1672"/>
                  <a:gd name="T24" fmla="*/ 1568 w 1671"/>
                  <a:gd name="T25" fmla="*/ 1238 h 1672"/>
                  <a:gd name="T26" fmla="*/ 1493 w 1671"/>
                  <a:gd name="T27" fmla="*/ 1351 h 1672"/>
                  <a:gd name="T28" fmla="*/ 1401 w 1671"/>
                  <a:gd name="T29" fmla="*/ 1450 h 1672"/>
                  <a:gd name="T30" fmla="*/ 1295 w 1671"/>
                  <a:gd name="T31" fmla="*/ 1534 h 1672"/>
                  <a:gd name="T32" fmla="*/ 1176 w 1671"/>
                  <a:gd name="T33" fmla="*/ 1599 h 1672"/>
                  <a:gd name="T34" fmla="*/ 1046 w 1671"/>
                  <a:gd name="T35" fmla="*/ 1645 h 1672"/>
                  <a:gd name="T36" fmla="*/ 908 w 1671"/>
                  <a:gd name="T37" fmla="*/ 1669 h 1672"/>
                  <a:gd name="T38" fmla="*/ 763 w 1671"/>
                  <a:gd name="T39" fmla="*/ 1669 h 1672"/>
                  <a:gd name="T40" fmla="*/ 624 w 1671"/>
                  <a:gd name="T41" fmla="*/ 1645 h 1672"/>
                  <a:gd name="T42" fmla="*/ 494 w 1671"/>
                  <a:gd name="T43" fmla="*/ 1599 h 1672"/>
                  <a:gd name="T44" fmla="*/ 375 w 1671"/>
                  <a:gd name="T45" fmla="*/ 1534 h 1672"/>
                  <a:gd name="T46" fmla="*/ 269 w 1671"/>
                  <a:gd name="T47" fmla="*/ 1450 h 1672"/>
                  <a:gd name="T48" fmla="*/ 177 w 1671"/>
                  <a:gd name="T49" fmla="*/ 1351 h 1672"/>
                  <a:gd name="T50" fmla="*/ 103 w 1671"/>
                  <a:gd name="T51" fmla="*/ 1238 h 1672"/>
                  <a:gd name="T52" fmla="*/ 47 w 1671"/>
                  <a:gd name="T53" fmla="*/ 1113 h 1672"/>
                  <a:gd name="T54" fmla="*/ 12 w 1671"/>
                  <a:gd name="T55" fmla="*/ 978 h 1672"/>
                  <a:gd name="T56" fmla="*/ 0 w 1671"/>
                  <a:gd name="T57" fmla="*/ 836 h 1672"/>
                  <a:gd name="T58" fmla="*/ 11 w 1671"/>
                  <a:gd name="T59" fmla="*/ 697 h 1672"/>
                  <a:gd name="T60" fmla="*/ 45 w 1671"/>
                  <a:gd name="T61" fmla="*/ 566 h 1672"/>
                  <a:gd name="T62" fmla="*/ 98 w 1671"/>
                  <a:gd name="T63" fmla="*/ 444 h 1672"/>
                  <a:gd name="T64" fmla="*/ 170 w 1671"/>
                  <a:gd name="T65" fmla="*/ 333 h 1672"/>
                  <a:gd name="T66" fmla="*/ 670 w 1671"/>
                  <a:gd name="T67" fmla="*/ 979 h 1672"/>
                  <a:gd name="T68" fmla="*/ 716 w 1671"/>
                  <a:gd name="T69" fmla="*/ 1023 h 1672"/>
                  <a:gd name="T70" fmla="*/ 775 w 1671"/>
                  <a:gd name="T71" fmla="*/ 1053 h 1672"/>
                  <a:gd name="T72" fmla="*/ 841 w 1671"/>
                  <a:gd name="T73" fmla="*/ 1063 h 1672"/>
                  <a:gd name="T74" fmla="*/ 911 w 1671"/>
                  <a:gd name="T75" fmla="*/ 1052 h 1672"/>
                  <a:gd name="T76" fmla="*/ 971 w 1671"/>
                  <a:gd name="T77" fmla="*/ 1021 h 1672"/>
                  <a:gd name="T78" fmla="*/ 1019 w 1671"/>
                  <a:gd name="T79" fmla="*/ 974 h 1672"/>
                  <a:gd name="T80" fmla="*/ 1050 w 1671"/>
                  <a:gd name="T81" fmla="*/ 914 h 1672"/>
                  <a:gd name="T82" fmla="*/ 1061 w 1671"/>
                  <a:gd name="T83" fmla="*/ 845 h 1672"/>
                  <a:gd name="T84" fmla="*/ 1051 w 1671"/>
                  <a:gd name="T85" fmla="*/ 780 h 1672"/>
                  <a:gd name="T86" fmla="*/ 1023 w 1671"/>
                  <a:gd name="T87" fmla="*/ 723 h 1672"/>
                  <a:gd name="T88" fmla="*/ 980 w 1671"/>
                  <a:gd name="T89" fmla="*/ 677 h 1672"/>
                  <a:gd name="T90" fmla="*/ 955 w 1671"/>
                  <a:gd name="T91" fmla="*/ 658 h 1672"/>
                  <a:gd name="T92" fmla="*/ 356 w 1671"/>
                  <a:gd name="T93" fmla="*/ 152 h 1672"/>
                  <a:gd name="T94" fmla="*/ 463 w 1671"/>
                  <a:gd name="T95" fmla="*/ 88 h 1672"/>
                  <a:gd name="T96" fmla="*/ 579 w 1671"/>
                  <a:gd name="T97" fmla="*/ 40 h 1672"/>
                  <a:gd name="T98" fmla="*/ 704 w 1671"/>
                  <a:gd name="T99" fmla="*/ 10 h 1672"/>
                  <a:gd name="T100" fmla="*/ 835 w 1671"/>
                  <a:gd name="T101" fmla="*/ 0 h 1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71" h="1672">
                    <a:moveTo>
                      <a:pt x="835" y="0"/>
                    </a:moveTo>
                    <a:lnTo>
                      <a:pt x="908" y="3"/>
                    </a:lnTo>
                    <a:lnTo>
                      <a:pt x="978" y="12"/>
                    </a:lnTo>
                    <a:lnTo>
                      <a:pt x="1046" y="27"/>
                    </a:lnTo>
                    <a:lnTo>
                      <a:pt x="1112" y="47"/>
                    </a:lnTo>
                    <a:lnTo>
                      <a:pt x="1176" y="72"/>
                    </a:lnTo>
                    <a:lnTo>
                      <a:pt x="1237" y="103"/>
                    </a:lnTo>
                    <a:lnTo>
                      <a:pt x="1295" y="138"/>
                    </a:lnTo>
                    <a:lnTo>
                      <a:pt x="1350" y="177"/>
                    </a:lnTo>
                    <a:lnTo>
                      <a:pt x="1401" y="221"/>
                    </a:lnTo>
                    <a:lnTo>
                      <a:pt x="1449" y="270"/>
                    </a:lnTo>
                    <a:lnTo>
                      <a:pt x="1493" y="321"/>
                    </a:lnTo>
                    <a:lnTo>
                      <a:pt x="1533" y="376"/>
                    </a:lnTo>
                    <a:lnTo>
                      <a:pt x="1568" y="434"/>
                    </a:lnTo>
                    <a:lnTo>
                      <a:pt x="1598" y="495"/>
                    </a:lnTo>
                    <a:lnTo>
                      <a:pt x="1623" y="559"/>
                    </a:lnTo>
                    <a:lnTo>
                      <a:pt x="1644" y="625"/>
                    </a:lnTo>
                    <a:lnTo>
                      <a:pt x="1658" y="694"/>
                    </a:lnTo>
                    <a:lnTo>
                      <a:pt x="1667" y="764"/>
                    </a:lnTo>
                    <a:lnTo>
                      <a:pt x="1671" y="836"/>
                    </a:lnTo>
                    <a:lnTo>
                      <a:pt x="1667" y="908"/>
                    </a:lnTo>
                    <a:lnTo>
                      <a:pt x="1658" y="978"/>
                    </a:lnTo>
                    <a:lnTo>
                      <a:pt x="1644" y="1046"/>
                    </a:lnTo>
                    <a:lnTo>
                      <a:pt x="1623" y="1113"/>
                    </a:lnTo>
                    <a:lnTo>
                      <a:pt x="1598" y="1177"/>
                    </a:lnTo>
                    <a:lnTo>
                      <a:pt x="1568" y="1238"/>
                    </a:lnTo>
                    <a:lnTo>
                      <a:pt x="1533" y="1296"/>
                    </a:lnTo>
                    <a:lnTo>
                      <a:pt x="1493" y="1351"/>
                    </a:lnTo>
                    <a:lnTo>
                      <a:pt x="1449" y="1403"/>
                    </a:lnTo>
                    <a:lnTo>
                      <a:pt x="1401" y="1450"/>
                    </a:lnTo>
                    <a:lnTo>
                      <a:pt x="1350" y="1494"/>
                    </a:lnTo>
                    <a:lnTo>
                      <a:pt x="1295" y="1534"/>
                    </a:lnTo>
                    <a:lnTo>
                      <a:pt x="1237" y="1569"/>
                    </a:lnTo>
                    <a:lnTo>
                      <a:pt x="1176" y="1599"/>
                    </a:lnTo>
                    <a:lnTo>
                      <a:pt x="1112" y="1625"/>
                    </a:lnTo>
                    <a:lnTo>
                      <a:pt x="1046" y="1645"/>
                    </a:lnTo>
                    <a:lnTo>
                      <a:pt x="978" y="1660"/>
                    </a:lnTo>
                    <a:lnTo>
                      <a:pt x="908" y="1669"/>
                    </a:lnTo>
                    <a:lnTo>
                      <a:pt x="835" y="1672"/>
                    </a:lnTo>
                    <a:lnTo>
                      <a:pt x="763" y="1669"/>
                    </a:lnTo>
                    <a:lnTo>
                      <a:pt x="692" y="1660"/>
                    </a:lnTo>
                    <a:lnTo>
                      <a:pt x="624" y="1645"/>
                    </a:lnTo>
                    <a:lnTo>
                      <a:pt x="558" y="1625"/>
                    </a:lnTo>
                    <a:lnTo>
                      <a:pt x="494" y="1599"/>
                    </a:lnTo>
                    <a:lnTo>
                      <a:pt x="433" y="1569"/>
                    </a:lnTo>
                    <a:lnTo>
                      <a:pt x="375" y="1534"/>
                    </a:lnTo>
                    <a:lnTo>
                      <a:pt x="320" y="1494"/>
                    </a:lnTo>
                    <a:lnTo>
                      <a:pt x="269" y="1450"/>
                    </a:lnTo>
                    <a:lnTo>
                      <a:pt x="221" y="1403"/>
                    </a:lnTo>
                    <a:lnTo>
                      <a:pt x="177" y="1351"/>
                    </a:lnTo>
                    <a:lnTo>
                      <a:pt x="138" y="1296"/>
                    </a:lnTo>
                    <a:lnTo>
                      <a:pt x="103" y="1238"/>
                    </a:lnTo>
                    <a:lnTo>
                      <a:pt x="72" y="1177"/>
                    </a:lnTo>
                    <a:lnTo>
                      <a:pt x="47" y="1113"/>
                    </a:lnTo>
                    <a:lnTo>
                      <a:pt x="26" y="1046"/>
                    </a:lnTo>
                    <a:lnTo>
                      <a:pt x="12" y="978"/>
                    </a:lnTo>
                    <a:lnTo>
                      <a:pt x="3" y="908"/>
                    </a:lnTo>
                    <a:lnTo>
                      <a:pt x="0" y="836"/>
                    </a:lnTo>
                    <a:lnTo>
                      <a:pt x="3" y="766"/>
                    </a:lnTo>
                    <a:lnTo>
                      <a:pt x="11" y="697"/>
                    </a:lnTo>
                    <a:lnTo>
                      <a:pt x="25" y="631"/>
                    </a:lnTo>
                    <a:lnTo>
                      <a:pt x="45" y="566"/>
                    </a:lnTo>
                    <a:lnTo>
                      <a:pt x="69" y="504"/>
                    </a:lnTo>
                    <a:lnTo>
                      <a:pt x="98" y="444"/>
                    </a:lnTo>
                    <a:lnTo>
                      <a:pt x="132" y="387"/>
                    </a:lnTo>
                    <a:lnTo>
                      <a:pt x="170" y="333"/>
                    </a:lnTo>
                    <a:lnTo>
                      <a:pt x="669" y="979"/>
                    </a:lnTo>
                    <a:lnTo>
                      <a:pt x="670" y="979"/>
                    </a:lnTo>
                    <a:lnTo>
                      <a:pt x="691" y="1003"/>
                    </a:lnTo>
                    <a:lnTo>
                      <a:pt x="716" y="1023"/>
                    </a:lnTo>
                    <a:lnTo>
                      <a:pt x="744" y="1040"/>
                    </a:lnTo>
                    <a:lnTo>
                      <a:pt x="775" y="1053"/>
                    </a:lnTo>
                    <a:lnTo>
                      <a:pt x="807" y="1061"/>
                    </a:lnTo>
                    <a:lnTo>
                      <a:pt x="841" y="1063"/>
                    </a:lnTo>
                    <a:lnTo>
                      <a:pt x="878" y="1060"/>
                    </a:lnTo>
                    <a:lnTo>
                      <a:pt x="911" y="1052"/>
                    </a:lnTo>
                    <a:lnTo>
                      <a:pt x="943" y="1039"/>
                    </a:lnTo>
                    <a:lnTo>
                      <a:pt x="971" y="1021"/>
                    </a:lnTo>
                    <a:lnTo>
                      <a:pt x="997" y="999"/>
                    </a:lnTo>
                    <a:lnTo>
                      <a:pt x="1019" y="974"/>
                    </a:lnTo>
                    <a:lnTo>
                      <a:pt x="1036" y="945"/>
                    </a:lnTo>
                    <a:lnTo>
                      <a:pt x="1050" y="914"/>
                    </a:lnTo>
                    <a:lnTo>
                      <a:pt x="1058" y="880"/>
                    </a:lnTo>
                    <a:lnTo>
                      <a:pt x="1061" y="845"/>
                    </a:lnTo>
                    <a:lnTo>
                      <a:pt x="1058" y="812"/>
                    </a:lnTo>
                    <a:lnTo>
                      <a:pt x="1051" y="780"/>
                    </a:lnTo>
                    <a:lnTo>
                      <a:pt x="1039" y="750"/>
                    </a:lnTo>
                    <a:lnTo>
                      <a:pt x="1023" y="723"/>
                    </a:lnTo>
                    <a:lnTo>
                      <a:pt x="1003" y="698"/>
                    </a:lnTo>
                    <a:lnTo>
                      <a:pt x="980" y="677"/>
                    </a:lnTo>
                    <a:lnTo>
                      <a:pt x="954" y="659"/>
                    </a:lnTo>
                    <a:lnTo>
                      <a:pt x="955" y="658"/>
                    </a:lnTo>
                    <a:lnTo>
                      <a:pt x="306" y="189"/>
                    </a:lnTo>
                    <a:lnTo>
                      <a:pt x="356" y="152"/>
                    </a:lnTo>
                    <a:lnTo>
                      <a:pt x="408" y="118"/>
                    </a:lnTo>
                    <a:lnTo>
                      <a:pt x="463" y="88"/>
                    </a:lnTo>
                    <a:lnTo>
                      <a:pt x="520" y="62"/>
                    </a:lnTo>
                    <a:lnTo>
                      <a:pt x="579" y="40"/>
                    </a:lnTo>
                    <a:lnTo>
                      <a:pt x="640" y="23"/>
                    </a:lnTo>
                    <a:lnTo>
                      <a:pt x="704" y="10"/>
                    </a:lnTo>
                    <a:lnTo>
                      <a:pt x="768" y="2"/>
                    </a:lnTo>
                    <a:lnTo>
                      <a:pt x="8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43" name="添加标题">
              <a:extLst>
                <a:ext uri="{FF2B5EF4-FFF2-40B4-BE49-F238E27FC236}">
                  <a16:creationId xmlns:a16="http://schemas.microsoft.com/office/drawing/2014/main" id="{CA081210-6BC0-469B-9E4C-DF8B6696A652}"/>
                </a:ext>
              </a:extLst>
            </p:cNvPr>
            <p:cNvSpPr txBox="1"/>
            <p:nvPr/>
          </p:nvSpPr>
          <p:spPr>
            <a:xfrm>
              <a:off x="9431062" y="4180700"/>
              <a:ext cx="2250193" cy="1068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600" b="1" dirty="0">
                  <a:solidFill>
                    <a:schemeClr val="accent5"/>
                  </a:solidFill>
                  <a:cs typeface="+mn-ea"/>
                  <a:sym typeface="+mn-lt"/>
                </a:rPr>
                <a:t>Add title text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tx2"/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400" dirty="0">
                <a:solidFill>
                  <a:schemeClr val="tx2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844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2000">
        <p14:gallery dir="l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图片 27">
            <a:extLst>
              <a:ext uri="{FF2B5EF4-FFF2-40B4-BE49-F238E27FC236}">
                <a16:creationId xmlns:a16="http://schemas.microsoft.com/office/drawing/2014/main" id="{97E84BEA-9DB1-49DD-A3E4-3DCB87BF39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20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6858000 h 6858000"/>
              <a:gd name="connsiteX3" fmla="*/ 0 w 12193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29" name="矩形 28">
            <a:extLst>
              <a:ext uri="{FF2B5EF4-FFF2-40B4-BE49-F238E27FC236}">
                <a16:creationId xmlns:a16="http://schemas.microsoft.com/office/drawing/2014/main" id="{A6065F81-4294-4A87-A4EB-7069D5F06EF4}"/>
              </a:ext>
            </a:extLst>
          </p:cNvPr>
          <p:cNvSpPr/>
          <p:nvPr/>
        </p:nvSpPr>
        <p:spPr>
          <a:xfrm>
            <a:off x="-1200" y="0"/>
            <a:ext cx="12193200" cy="6858000"/>
          </a:xfrm>
          <a:prstGeom prst="rect">
            <a:avLst/>
          </a:prstGeom>
          <a:solidFill>
            <a:srgbClr val="000000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0" name="矩形: 圆角 29">
            <a:extLst>
              <a:ext uri="{FF2B5EF4-FFF2-40B4-BE49-F238E27FC236}">
                <a16:creationId xmlns:a16="http://schemas.microsoft.com/office/drawing/2014/main" id="{B8D62442-E920-4520-B2FC-90A3DA7683D2}"/>
              </a:ext>
            </a:extLst>
          </p:cNvPr>
          <p:cNvSpPr/>
          <p:nvPr/>
        </p:nvSpPr>
        <p:spPr>
          <a:xfrm rot="2700000">
            <a:off x="5161283" y="1135525"/>
            <a:ext cx="1869435" cy="1869435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801148D6-4CD1-4415-8F9A-C00F76D5B0B0}"/>
              </a:ext>
            </a:extLst>
          </p:cNvPr>
          <p:cNvSpPr/>
          <p:nvPr/>
        </p:nvSpPr>
        <p:spPr>
          <a:xfrm rot="2700000">
            <a:off x="6288246" y="1135528"/>
            <a:ext cx="1869435" cy="1869435"/>
          </a:xfrm>
          <a:custGeom>
            <a:avLst/>
            <a:gdLst>
              <a:gd name="connsiteX0" fmla="*/ 70718 w 1448656"/>
              <a:gd name="connsiteY0" fmla="*/ 70718 h 1448656"/>
              <a:gd name="connsiteX1" fmla="*/ 241447 w 1448656"/>
              <a:gd name="connsiteY1" fmla="*/ 0 h 1448656"/>
              <a:gd name="connsiteX2" fmla="*/ 1207209 w 1448656"/>
              <a:gd name="connsiteY2" fmla="*/ 0 h 1448656"/>
              <a:gd name="connsiteX3" fmla="*/ 1448656 w 1448656"/>
              <a:gd name="connsiteY3" fmla="*/ 241447 h 1448656"/>
              <a:gd name="connsiteX4" fmla="*/ 1448656 w 1448656"/>
              <a:gd name="connsiteY4" fmla="*/ 1207209 h 1448656"/>
              <a:gd name="connsiteX5" fmla="*/ 1207209 w 1448656"/>
              <a:gd name="connsiteY5" fmla="*/ 1448656 h 1448656"/>
              <a:gd name="connsiteX6" fmla="*/ 983701 w 1448656"/>
              <a:gd name="connsiteY6" fmla="*/ 1448656 h 1448656"/>
              <a:gd name="connsiteX7" fmla="*/ 983701 w 1448656"/>
              <a:gd name="connsiteY7" fmla="*/ 1234976 h 1448656"/>
              <a:gd name="connsiteX8" fmla="*/ 1064757 w 1448656"/>
              <a:gd name="connsiteY8" fmla="*/ 1234976 h 1448656"/>
              <a:gd name="connsiteX9" fmla="*/ 1234976 w 1448656"/>
              <a:gd name="connsiteY9" fmla="*/ 1064757 h 1448656"/>
              <a:gd name="connsiteX10" fmla="*/ 1234976 w 1448656"/>
              <a:gd name="connsiteY10" fmla="*/ 383899 h 1448656"/>
              <a:gd name="connsiteX11" fmla="*/ 1064757 w 1448656"/>
              <a:gd name="connsiteY11" fmla="*/ 213680 h 1448656"/>
              <a:gd name="connsiteX12" fmla="*/ 383899 w 1448656"/>
              <a:gd name="connsiteY12" fmla="*/ 213680 h 1448656"/>
              <a:gd name="connsiteX13" fmla="*/ 213680 w 1448656"/>
              <a:gd name="connsiteY13" fmla="*/ 383899 h 1448656"/>
              <a:gd name="connsiteX14" fmla="*/ 213680 w 1448656"/>
              <a:gd name="connsiteY14" fmla="*/ 464955 h 1448656"/>
              <a:gd name="connsiteX15" fmla="*/ 0 w 1448656"/>
              <a:gd name="connsiteY15" fmla="*/ 464955 h 1448656"/>
              <a:gd name="connsiteX16" fmla="*/ 0 w 1448656"/>
              <a:gd name="connsiteY16" fmla="*/ 241447 h 1448656"/>
              <a:gd name="connsiteX17" fmla="*/ 70718 w 1448656"/>
              <a:gd name="connsiteY17" fmla="*/ 70718 h 1448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448656" h="1448656">
                <a:moveTo>
                  <a:pt x="70718" y="70718"/>
                </a:moveTo>
                <a:cubicBezTo>
                  <a:pt x="114412" y="27025"/>
                  <a:pt x="174773" y="0"/>
                  <a:pt x="241447" y="0"/>
                </a:cubicBezTo>
                <a:lnTo>
                  <a:pt x="1207209" y="0"/>
                </a:lnTo>
                <a:cubicBezTo>
                  <a:pt x="1340556" y="0"/>
                  <a:pt x="1448656" y="108100"/>
                  <a:pt x="1448656" y="241447"/>
                </a:cubicBezTo>
                <a:lnTo>
                  <a:pt x="1448656" y="1207209"/>
                </a:lnTo>
                <a:cubicBezTo>
                  <a:pt x="1448656" y="1340556"/>
                  <a:pt x="1340556" y="1448656"/>
                  <a:pt x="1207209" y="1448656"/>
                </a:cubicBezTo>
                <a:lnTo>
                  <a:pt x="983701" y="1448656"/>
                </a:lnTo>
                <a:lnTo>
                  <a:pt x="983701" y="1234976"/>
                </a:lnTo>
                <a:lnTo>
                  <a:pt x="1064757" y="1234976"/>
                </a:lnTo>
                <a:cubicBezTo>
                  <a:pt x="1158766" y="1234976"/>
                  <a:pt x="1234976" y="1158766"/>
                  <a:pt x="1234976" y="1064757"/>
                </a:cubicBezTo>
                <a:lnTo>
                  <a:pt x="1234976" y="383899"/>
                </a:lnTo>
                <a:cubicBezTo>
                  <a:pt x="1234976" y="289890"/>
                  <a:pt x="1158766" y="213680"/>
                  <a:pt x="1064757" y="213680"/>
                </a:cubicBezTo>
                <a:lnTo>
                  <a:pt x="383899" y="213680"/>
                </a:lnTo>
                <a:cubicBezTo>
                  <a:pt x="289890" y="213680"/>
                  <a:pt x="213680" y="289890"/>
                  <a:pt x="213680" y="383899"/>
                </a:cubicBezTo>
                <a:lnTo>
                  <a:pt x="213680" y="464955"/>
                </a:lnTo>
                <a:lnTo>
                  <a:pt x="0" y="464955"/>
                </a:lnTo>
                <a:lnTo>
                  <a:pt x="0" y="241447"/>
                </a:lnTo>
                <a:cubicBezTo>
                  <a:pt x="0" y="174774"/>
                  <a:pt x="27025" y="114412"/>
                  <a:pt x="70718" y="707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622B2340-B338-4E81-9FE1-2B20219E8379}"/>
              </a:ext>
            </a:extLst>
          </p:cNvPr>
          <p:cNvSpPr/>
          <p:nvPr/>
        </p:nvSpPr>
        <p:spPr>
          <a:xfrm rot="18900000" flipH="1">
            <a:off x="4034319" y="1135530"/>
            <a:ext cx="1869435" cy="1869435"/>
          </a:xfrm>
          <a:custGeom>
            <a:avLst/>
            <a:gdLst>
              <a:gd name="connsiteX0" fmla="*/ 70718 w 1448656"/>
              <a:gd name="connsiteY0" fmla="*/ 70718 h 1448656"/>
              <a:gd name="connsiteX1" fmla="*/ 241447 w 1448656"/>
              <a:gd name="connsiteY1" fmla="*/ 0 h 1448656"/>
              <a:gd name="connsiteX2" fmla="*/ 1207209 w 1448656"/>
              <a:gd name="connsiteY2" fmla="*/ 0 h 1448656"/>
              <a:gd name="connsiteX3" fmla="*/ 1448656 w 1448656"/>
              <a:gd name="connsiteY3" fmla="*/ 241447 h 1448656"/>
              <a:gd name="connsiteX4" fmla="*/ 1448656 w 1448656"/>
              <a:gd name="connsiteY4" fmla="*/ 1207209 h 1448656"/>
              <a:gd name="connsiteX5" fmla="*/ 1207209 w 1448656"/>
              <a:gd name="connsiteY5" fmla="*/ 1448656 h 1448656"/>
              <a:gd name="connsiteX6" fmla="*/ 983701 w 1448656"/>
              <a:gd name="connsiteY6" fmla="*/ 1448656 h 1448656"/>
              <a:gd name="connsiteX7" fmla="*/ 983701 w 1448656"/>
              <a:gd name="connsiteY7" fmla="*/ 1234976 h 1448656"/>
              <a:gd name="connsiteX8" fmla="*/ 1064757 w 1448656"/>
              <a:gd name="connsiteY8" fmla="*/ 1234976 h 1448656"/>
              <a:gd name="connsiteX9" fmla="*/ 1234976 w 1448656"/>
              <a:gd name="connsiteY9" fmla="*/ 1064757 h 1448656"/>
              <a:gd name="connsiteX10" fmla="*/ 1234976 w 1448656"/>
              <a:gd name="connsiteY10" fmla="*/ 383899 h 1448656"/>
              <a:gd name="connsiteX11" fmla="*/ 1064757 w 1448656"/>
              <a:gd name="connsiteY11" fmla="*/ 213680 h 1448656"/>
              <a:gd name="connsiteX12" fmla="*/ 383899 w 1448656"/>
              <a:gd name="connsiteY12" fmla="*/ 213680 h 1448656"/>
              <a:gd name="connsiteX13" fmla="*/ 213680 w 1448656"/>
              <a:gd name="connsiteY13" fmla="*/ 383899 h 1448656"/>
              <a:gd name="connsiteX14" fmla="*/ 213680 w 1448656"/>
              <a:gd name="connsiteY14" fmla="*/ 464955 h 1448656"/>
              <a:gd name="connsiteX15" fmla="*/ 0 w 1448656"/>
              <a:gd name="connsiteY15" fmla="*/ 464955 h 1448656"/>
              <a:gd name="connsiteX16" fmla="*/ 0 w 1448656"/>
              <a:gd name="connsiteY16" fmla="*/ 241447 h 1448656"/>
              <a:gd name="connsiteX17" fmla="*/ 70718 w 1448656"/>
              <a:gd name="connsiteY17" fmla="*/ 70718 h 1448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448656" h="1448656">
                <a:moveTo>
                  <a:pt x="70718" y="70718"/>
                </a:moveTo>
                <a:cubicBezTo>
                  <a:pt x="114412" y="27025"/>
                  <a:pt x="174773" y="0"/>
                  <a:pt x="241447" y="0"/>
                </a:cubicBezTo>
                <a:lnTo>
                  <a:pt x="1207209" y="0"/>
                </a:lnTo>
                <a:cubicBezTo>
                  <a:pt x="1340556" y="0"/>
                  <a:pt x="1448656" y="108100"/>
                  <a:pt x="1448656" y="241447"/>
                </a:cubicBezTo>
                <a:lnTo>
                  <a:pt x="1448656" y="1207209"/>
                </a:lnTo>
                <a:cubicBezTo>
                  <a:pt x="1448656" y="1340556"/>
                  <a:pt x="1340556" y="1448656"/>
                  <a:pt x="1207209" y="1448656"/>
                </a:cubicBezTo>
                <a:lnTo>
                  <a:pt x="983701" y="1448656"/>
                </a:lnTo>
                <a:lnTo>
                  <a:pt x="983701" y="1234976"/>
                </a:lnTo>
                <a:lnTo>
                  <a:pt x="1064757" y="1234976"/>
                </a:lnTo>
                <a:cubicBezTo>
                  <a:pt x="1158766" y="1234976"/>
                  <a:pt x="1234976" y="1158766"/>
                  <a:pt x="1234976" y="1064757"/>
                </a:cubicBezTo>
                <a:lnTo>
                  <a:pt x="1234976" y="383899"/>
                </a:lnTo>
                <a:cubicBezTo>
                  <a:pt x="1234976" y="289890"/>
                  <a:pt x="1158766" y="213680"/>
                  <a:pt x="1064757" y="213680"/>
                </a:cubicBezTo>
                <a:lnTo>
                  <a:pt x="383899" y="213680"/>
                </a:lnTo>
                <a:cubicBezTo>
                  <a:pt x="289890" y="213680"/>
                  <a:pt x="213680" y="289890"/>
                  <a:pt x="213680" y="383899"/>
                </a:cubicBezTo>
                <a:lnTo>
                  <a:pt x="213680" y="464955"/>
                </a:lnTo>
                <a:lnTo>
                  <a:pt x="0" y="464955"/>
                </a:lnTo>
                <a:lnTo>
                  <a:pt x="0" y="241447"/>
                </a:lnTo>
                <a:cubicBezTo>
                  <a:pt x="0" y="174774"/>
                  <a:pt x="27025" y="114412"/>
                  <a:pt x="70718" y="7071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33" name="添加标题">
            <a:extLst>
              <a:ext uri="{FF2B5EF4-FFF2-40B4-BE49-F238E27FC236}">
                <a16:creationId xmlns:a16="http://schemas.microsoft.com/office/drawing/2014/main" id="{D8678FE7-A7E3-4369-B177-915DB67AF4A4}"/>
              </a:ext>
            </a:extLst>
          </p:cNvPr>
          <p:cNvSpPr/>
          <p:nvPr/>
        </p:nvSpPr>
        <p:spPr>
          <a:xfrm>
            <a:off x="4984613" y="1570480"/>
            <a:ext cx="222277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6000" b="1" dirty="0">
                <a:latin typeface="Abadi Extra Light" panose="020B0204020104020204" pitchFamily="34" charset="0"/>
                <a:cs typeface="+mn-ea"/>
                <a:sym typeface="+mn-lt"/>
              </a:rPr>
              <a:t>LOGO</a:t>
            </a:r>
            <a:endParaRPr lang="en-US" sz="6000" b="1" dirty="0">
              <a:latin typeface="Abadi Extra Light" panose="020B0204020104020204" pitchFamily="34" charset="0"/>
              <a:cs typeface="+mn-ea"/>
              <a:sym typeface="+mn-lt"/>
            </a:endParaRPr>
          </a:p>
        </p:txBody>
      </p:sp>
      <p:sp>
        <p:nvSpPr>
          <p:cNvPr id="34" name="添加标题">
            <a:extLst>
              <a:ext uri="{FF2B5EF4-FFF2-40B4-BE49-F238E27FC236}">
                <a16:creationId xmlns:a16="http://schemas.microsoft.com/office/drawing/2014/main" id="{FADE5A27-E6F1-4A73-9081-1556C257E73A}"/>
              </a:ext>
            </a:extLst>
          </p:cNvPr>
          <p:cNvSpPr/>
          <p:nvPr/>
        </p:nvSpPr>
        <p:spPr>
          <a:xfrm>
            <a:off x="3490411" y="3631021"/>
            <a:ext cx="520997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6600" dirty="0">
                <a:latin typeface="方正正黑简体" panose="02000000000000000000" pitchFamily="2" charset="-122"/>
                <a:ea typeface="方正正黑简体" panose="02000000000000000000" pitchFamily="2" charset="-122"/>
                <a:cs typeface="+mn-ea"/>
                <a:sym typeface="+mn-lt"/>
              </a:rPr>
              <a:t>THANK YOU</a:t>
            </a:r>
            <a:endParaRPr lang="zh-CN" altLang="en-US" sz="6600" dirty="0">
              <a:latin typeface="方正正黑简体" panose="02000000000000000000" pitchFamily="2" charset="-122"/>
              <a:ea typeface="方正正黑简体" panose="02000000000000000000" pitchFamily="2" charset="-122"/>
              <a:cs typeface="+mn-ea"/>
              <a:sym typeface="+mn-lt"/>
            </a:endParaRPr>
          </a:p>
        </p:txBody>
      </p:sp>
      <p:sp>
        <p:nvSpPr>
          <p:cNvPr id="35" name="添加标题">
            <a:extLst>
              <a:ext uri="{FF2B5EF4-FFF2-40B4-BE49-F238E27FC236}">
                <a16:creationId xmlns:a16="http://schemas.microsoft.com/office/drawing/2014/main" id="{33FF45B8-F45A-476E-91A1-45CCC9F6A744}"/>
              </a:ext>
            </a:extLst>
          </p:cNvPr>
          <p:cNvSpPr/>
          <p:nvPr/>
        </p:nvSpPr>
        <p:spPr>
          <a:xfrm>
            <a:off x="3162630" y="4674935"/>
            <a:ext cx="5866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dist"/>
            <a:r>
              <a:rPr lang="en-US" altLang="zh-CN" sz="1400" dirty="0">
                <a:solidFill>
                  <a:srgbClr val="FFFFFF"/>
                </a:solidFill>
                <a:cs typeface="+mn-ea"/>
                <a:sym typeface="+mn-lt"/>
              </a:rPr>
              <a:t>THANKS FOR WATCHING!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0D1B4A47-F355-F219-3536-3367A54F77A3}"/>
              </a:ext>
            </a:extLst>
          </p:cNvPr>
          <p:cNvGrpSpPr/>
          <p:nvPr/>
        </p:nvGrpSpPr>
        <p:grpSpPr>
          <a:xfrm>
            <a:off x="3622576" y="5397754"/>
            <a:ext cx="2369742" cy="426468"/>
            <a:chOff x="3861792" y="4925145"/>
            <a:chExt cx="2369742" cy="426468"/>
          </a:xfrm>
        </p:grpSpPr>
        <p:sp>
          <p:nvSpPr>
            <p:cNvPr id="3" name="矩形: 圆角 2">
              <a:extLst>
                <a:ext uri="{FF2B5EF4-FFF2-40B4-BE49-F238E27FC236}">
                  <a16:creationId xmlns:a16="http://schemas.microsoft.com/office/drawing/2014/main" id="{082E614A-5B6B-0CB6-9388-E9A6CEAEDBBF}"/>
                </a:ext>
              </a:extLst>
            </p:cNvPr>
            <p:cNvSpPr/>
            <p:nvPr/>
          </p:nvSpPr>
          <p:spPr>
            <a:xfrm>
              <a:off x="3991475" y="4946388"/>
              <a:ext cx="2110377" cy="405225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4" name="添加标题">
              <a:extLst>
                <a:ext uri="{FF2B5EF4-FFF2-40B4-BE49-F238E27FC236}">
                  <a16:creationId xmlns:a16="http://schemas.microsoft.com/office/drawing/2014/main" id="{E494F6AA-1F80-BE11-CED0-709012494DC8}"/>
                </a:ext>
              </a:extLst>
            </p:cNvPr>
            <p:cNvSpPr/>
            <p:nvPr/>
          </p:nvSpPr>
          <p:spPr>
            <a:xfrm>
              <a:off x="3861792" y="4925145"/>
              <a:ext cx="236974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2000" dirty="0">
                  <a:solidFill>
                    <a:srgbClr val="FFFFFF"/>
                  </a:solidFill>
                  <a:cs typeface="+mn-ea"/>
                  <a:sym typeface="+mn-lt"/>
                  <a:hlinkClick r:id="rId5"/>
                </a:rPr>
                <a:t>freeppt7.com</a:t>
              </a:r>
              <a:endParaRPr lang="en-US" sz="2000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B1F6C53B-9D6E-4FE3-A8CF-BD7DEC464AEF}"/>
              </a:ext>
            </a:extLst>
          </p:cNvPr>
          <p:cNvGrpSpPr/>
          <p:nvPr/>
        </p:nvGrpSpPr>
        <p:grpSpPr>
          <a:xfrm>
            <a:off x="6199683" y="5418997"/>
            <a:ext cx="2369742" cy="405225"/>
            <a:chOff x="5971205" y="4946388"/>
            <a:chExt cx="2369742" cy="405225"/>
          </a:xfrm>
        </p:grpSpPr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17F788C4-E1EB-08D2-2112-8210191741A8}"/>
                </a:ext>
              </a:extLst>
            </p:cNvPr>
            <p:cNvSpPr/>
            <p:nvPr/>
          </p:nvSpPr>
          <p:spPr>
            <a:xfrm>
              <a:off x="6100888" y="4946388"/>
              <a:ext cx="2110377" cy="405225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" name="添加标题">
              <a:extLst>
                <a:ext uri="{FF2B5EF4-FFF2-40B4-BE49-F238E27FC236}">
                  <a16:creationId xmlns:a16="http://schemas.microsoft.com/office/drawing/2014/main" id="{E744E80C-78C2-37EF-3FD9-E0A80DE37793}"/>
                </a:ext>
              </a:extLst>
            </p:cNvPr>
            <p:cNvSpPr/>
            <p:nvPr/>
          </p:nvSpPr>
          <p:spPr>
            <a:xfrm>
              <a:off x="5971205" y="4964334"/>
              <a:ext cx="236974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dirty="0">
                  <a:solidFill>
                    <a:srgbClr val="FFFFFF"/>
                  </a:solidFill>
                  <a:cs typeface="+mn-ea"/>
                  <a:sym typeface="+mn-lt"/>
                </a:rPr>
                <a:t>Time </a:t>
              </a:r>
              <a:r>
                <a:rPr lang="zh-CN" altLang="en-US" dirty="0">
                  <a:solidFill>
                    <a:srgbClr val="FFFFFF"/>
                  </a:solidFill>
                  <a:cs typeface="+mn-ea"/>
                  <a:sym typeface="+mn-lt"/>
                </a:rPr>
                <a:t>：</a:t>
              </a:r>
              <a:r>
                <a:rPr lang="en-US" altLang="zh-CN" dirty="0">
                  <a:solidFill>
                    <a:srgbClr val="FFFFFF"/>
                  </a:solidFill>
                  <a:cs typeface="+mn-ea"/>
                  <a:sym typeface="+mn-lt"/>
                </a:rPr>
                <a:t>20XX</a:t>
              </a:r>
              <a:endParaRPr lang="en-US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078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2000">
        <p14:gallery dir="l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3" grpId="0"/>
      <p:bldP spid="34" grpId="0"/>
      <p:bldP spid="3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0" name="Google Shape;2260;p61"/>
          <p:cNvSpPr txBox="1">
            <a:spLocks noGrp="1"/>
          </p:cNvSpPr>
          <p:nvPr>
            <p:ph type="title" idx="4294967295"/>
          </p:nvPr>
        </p:nvSpPr>
        <p:spPr>
          <a:xfrm>
            <a:off x="1398587" y="733682"/>
            <a:ext cx="9394825" cy="642938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buClr>
                <a:srgbClr val="000000"/>
              </a:buClr>
              <a:buSzPts val="1100"/>
            </a:pPr>
            <a:r>
              <a:rPr lang="en-GB" dirty="0"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Fonts &amp; </a:t>
            </a:r>
            <a:r>
              <a:rPr lang="en-GB" dirty="0" err="1"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colors</a:t>
            </a:r>
            <a:r>
              <a:rPr lang="en-GB" dirty="0"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 used</a:t>
            </a:r>
            <a:endParaRPr dirty="0"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2261" name="Google Shape;2261;p61"/>
          <p:cNvSpPr txBox="1">
            <a:spLocks noGrp="1"/>
          </p:cNvSpPr>
          <p:nvPr>
            <p:ph type="body" idx="4294967295"/>
          </p:nvPr>
        </p:nvSpPr>
        <p:spPr>
          <a:xfrm>
            <a:off x="1258093" y="1574590"/>
            <a:ext cx="9675812" cy="587375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 algn="ctr">
              <a:buNone/>
            </a:pPr>
            <a:r>
              <a:rPr lang="en-GB" dirty="0"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his presentation has been made using the following fonts:</a:t>
            </a:r>
            <a:endParaRPr dirty="0"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indent="0">
              <a:buNone/>
            </a:pPr>
            <a:endParaRPr dirty="0"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2262" name="Google Shape;2262;p61"/>
          <p:cNvSpPr txBox="1">
            <a:spLocks noGrp="1"/>
          </p:cNvSpPr>
          <p:nvPr>
            <p:ph type="body" idx="4294967295"/>
          </p:nvPr>
        </p:nvSpPr>
        <p:spPr>
          <a:xfrm>
            <a:off x="1550987" y="2541588"/>
            <a:ext cx="9242425" cy="1673225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indent="0" algn="ctr">
              <a:buNone/>
            </a:pPr>
            <a:r>
              <a:rPr lang="en-GB" sz="2000" b="1" dirty="0"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Krona One</a:t>
            </a:r>
            <a:endParaRPr sz="2000" b="1" dirty="0"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indent="0" algn="ctr">
              <a:buNone/>
            </a:pPr>
            <a:r>
              <a:rPr lang="en-GB" sz="1800" dirty="0">
                <a:uFill>
                  <a:noFill/>
                </a:u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https://fonts.google.com/specimen/Krona+One)</a:t>
            </a:r>
            <a:endParaRPr sz="1800" dirty="0"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indent="0" algn="ctr">
              <a:buNone/>
            </a:pPr>
            <a:endParaRPr sz="1065" dirty="0"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indent="0" algn="ctr">
              <a:buNone/>
            </a:pPr>
            <a:r>
              <a:rPr lang="en-GB" sz="2000" b="1" dirty="0"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Ubuntu</a:t>
            </a:r>
            <a:endParaRPr sz="2000" b="1" dirty="0"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indent="0" algn="ctr">
              <a:buClr>
                <a:schemeClr val="dk1"/>
              </a:buClr>
              <a:buNone/>
            </a:pPr>
            <a:r>
              <a:rPr lang="en-GB" sz="1800" dirty="0">
                <a:uFill>
                  <a:noFill/>
                </a:u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https://fonts.google.com/specimen/Ubuntu)</a:t>
            </a:r>
            <a:endParaRPr sz="1800" dirty="0"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2263" name="Google Shape;2263;p61"/>
          <p:cNvSpPr/>
          <p:nvPr/>
        </p:nvSpPr>
        <p:spPr>
          <a:xfrm>
            <a:off x="8379440" y="4594436"/>
            <a:ext cx="1055200" cy="1005600"/>
          </a:xfrm>
          <a:prstGeom prst="roundRect">
            <a:avLst>
              <a:gd name="adj" fmla="val 16667"/>
            </a:avLst>
          </a:prstGeom>
          <a:solidFill>
            <a:srgbClr val="336574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2264" name="Google Shape;2264;p61"/>
          <p:cNvSpPr/>
          <p:nvPr/>
        </p:nvSpPr>
        <p:spPr>
          <a:xfrm>
            <a:off x="9795199" y="4594436"/>
            <a:ext cx="1055200" cy="1005600"/>
          </a:xfrm>
          <a:prstGeom prst="roundRect">
            <a:avLst>
              <a:gd name="adj" fmla="val 16667"/>
            </a:avLst>
          </a:prstGeom>
          <a:solidFill>
            <a:srgbClr val="1F424C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2265" name="Google Shape;2265;p61"/>
          <p:cNvSpPr/>
          <p:nvPr/>
        </p:nvSpPr>
        <p:spPr>
          <a:xfrm>
            <a:off x="6963673" y="4594436"/>
            <a:ext cx="1055200" cy="1005600"/>
          </a:xfrm>
          <a:prstGeom prst="roundRect">
            <a:avLst>
              <a:gd name="adj" fmla="val 16667"/>
            </a:avLst>
          </a:prstGeom>
          <a:solidFill>
            <a:srgbClr val="00ABB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2266" name="Google Shape;2266;p61"/>
          <p:cNvSpPr txBox="1"/>
          <p:nvPr/>
        </p:nvSpPr>
        <p:spPr>
          <a:xfrm>
            <a:off x="8379440" y="4803836"/>
            <a:ext cx="1055200" cy="5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33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rPr>
              <a:t>#336574</a:t>
            </a:r>
            <a:endParaRPr kumimoji="0" sz="133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2267" name="Google Shape;2267;p61"/>
          <p:cNvSpPr txBox="1"/>
          <p:nvPr/>
        </p:nvSpPr>
        <p:spPr>
          <a:xfrm>
            <a:off x="9795207" y="4803836"/>
            <a:ext cx="1055200" cy="5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33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rPr>
              <a:t>#1f424c</a:t>
            </a:r>
            <a:endParaRPr kumimoji="0" sz="133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2268" name="Google Shape;2268;p61"/>
          <p:cNvSpPr txBox="1"/>
          <p:nvPr/>
        </p:nvSpPr>
        <p:spPr>
          <a:xfrm>
            <a:off x="6963673" y="4803836"/>
            <a:ext cx="1055200" cy="5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33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rPr>
              <a:t>#00abbf</a:t>
            </a:r>
            <a:endParaRPr kumimoji="0" sz="133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2269" name="Google Shape;2269;p61"/>
          <p:cNvGrpSpPr/>
          <p:nvPr/>
        </p:nvGrpSpPr>
        <p:grpSpPr>
          <a:xfrm>
            <a:off x="1334323" y="4594436"/>
            <a:ext cx="5302500" cy="1005600"/>
            <a:chOff x="2052655" y="3498875"/>
            <a:chExt cx="3976875" cy="754200"/>
          </a:xfrm>
        </p:grpSpPr>
        <p:sp>
          <p:nvSpPr>
            <p:cNvPr id="2270" name="Google Shape;2270;p61"/>
            <p:cNvSpPr/>
            <p:nvPr/>
          </p:nvSpPr>
          <p:spPr>
            <a:xfrm>
              <a:off x="311448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CEB2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271" name="Google Shape;2271;p61"/>
            <p:cNvSpPr/>
            <p:nvPr/>
          </p:nvSpPr>
          <p:spPr>
            <a:xfrm>
              <a:off x="417630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E83D3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272" name="Google Shape;2272;p61"/>
            <p:cNvSpPr/>
            <p:nvPr/>
          </p:nvSpPr>
          <p:spPr>
            <a:xfrm>
              <a:off x="5238120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B2322E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273" name="Google Shape;2273;p61"/>
            <p:cNvSpPr/>
            <p:nvPr/>
          </p:nvSpPr>
          <p:spPr>
            <a:xfrm>
              <a:off x="2052655" y="3498875"/>
              <a:ext cx="791400" cy="754200"/>
            </a:xfrm>
            <a:prstGeom prst="roundRect">
              <a:avLst>
                <a:gd name="adj" fmla="val 16667"/>
              </a:avLst>
            </a:prstGeom>
            <a:solidFill>
              <a:srgbClr val="F4D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274" name="Google Shape;2274;p61"/>
            <p:cNvSpPr txBox="1"/>
            <p:nvPr/>
          </p:nvSpPr>
          <p:spPr>
            <a:xfrm>
              <a:off x="311448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33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rPr>
                <a:t>#ceb200</a:t>
              </a:r>
              <a:endParaRPr kumimoji="0" sz="133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275" name="Google Shape;2275;p61"/>
            <p:cNvSpPr txBox="1"/>
            <p:nvPr/>
          </p:nvSpPr>
          <p:spPr>
            <a:xfrm>
              <a:off x="417630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33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rPr>
                <a:t>#e83d3d</a:t>
              </a:r>
              <a:endParaRPr kumimoji="0" sz="133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276" name="Google Shape;2276;p61"/>
            <p:cNvSpPr txBox="1"/>
            <p:nvPr/>
          </p:nvSpPr>
          <p:spPr>
            <a:xfrm>
              <a:off x="5238130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33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rPr>
                <a:t>#b2322e</a:t>
              </a:r>
              <a:endParaRPr kumimoji="0" sz="133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277" name="Google Shape;2277;p61"/>
            <p:cNvSpPr txBox="1"/>
            <p:nvPr/>
          </p:nvSpPr>
          <p:spPr>
            <a:xfrm>
              <a:off x="2052655" y="3655925"/>
              <a:ext cx="791400" cy="440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33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rPr>
                <a:t>#f4d000</a:t>
              </a:r>
              <a:endParaRPr kumimoji="0" sz="133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Freeform 5"/>
          <p:cNvSpPr>
            <a:spLocks/>
          </p:cNvSpPr>
          <p:nvPr/>
        </p:nvSpPr>
        <p:spPr bwMode="auto">
          <a:xfrm>
            <a:off x="1229785" y="1570567"/>
            <a:ext cx="402167" cy="400051"/>
          </a:xfrm>
          <a:custGeom>
            <a:avLst/>
            <a:gdLst>
              <a:gd name="T0" fmla="*/ 669133150 w 117"/>
              <a:gd name="T1" fmla="*/ 276783773 h 117"/>
              <a:gd name="T2" fmla="*/ 669133150 w 117"/>
              <a:gd name="T3" fmla="*/ 32950327 h 117"/>
              <a:gd name="T4" fmla="*/ 530006685 w 117"/>
              <a:gd name="T5" fmla="*/ 32950327 h 117"/>
              <a:gd name="T6" fmla="*/ 530006685 w 117"/>
              <a:gd name="T7" fmla="*/ 138391886 h 117"/>
              <a:gd name="T8" fmla="*/ 384254782 w 117"/>
              <a:gd name="T9" fmla="*/ 0 h 117"/>
              <a:gd name="T10" fmla="*/ 0 w 117"/>
              <a:gd name="T11" fmla="*/ 382225332 h 117"/>
              <a:gd name="T12" fmla="*/ 66251802 w 117"/>
              <a:gd name="T13" fmla="*/ 382225332 h 117"/>
              <a:gd name="T14" fmla="*/ 66251802 w 117"/>
              <a:gd name="T15" fmla="*/ 771038678 h 117"/>
              <a:gd name="T16" fmla="*/ 278252929 w 117"/>
              <a:gd name="T17" fmla="*/ 771038678 h 117"/>
              <a:gd name="T18" fmla="*/ 278252929 w 117"/>
              <a:gd name="T19" fmla="*/ 454714000 h 117"/>
              <a:gd name="T20" fmla="*/ 490256635 w 117"/>
              <a:gd name="T21" fmla="*/ 454714000 h 117"/>
              <a:gd name="T22" fmla="*/ 490256635 w 117"/>
              <a:gd name="T23" fmla="*/ 771038678 h 117"/>
              <a:gd name="T24" fmla="*/ 702260340 w 117"/>
              <a:gd name="T25" fmla="*/ 771038678 h 117"/>
              <a:gd name="T26" fmla="*/ 702260340 w 117"/>
              <a:gd name="T27" fmla="*/ 382225332 h 117"/>
              <a:gd name="T28" fmla="*/ 775135002 w 117"/>
              <a:gd name="T29" fmla="*/ 382225332 h 117"/>
              <a:gd name="T30" fmla="*/ 669133150 w 117"/>
              <a:gd name="T31" fmla="*/ 276783773 h 11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17" h="117">
                <a:moveTo>
                  <a:pt x="101" y="42"/>
                </a:moveTo>
                <a:lnTo>
                  <a:pt x="101" y="5"/>
                </a:lnTo>
                <a:lnTo>
                  <a:pt x="80" y="5"/>
                </a:lnTo>
                <a:lnTo>
                  <a:pt x="80" y="21"/>
                </a:lnTo>
                <a:lnTo>
                  <a:pt x="58" y="0"/>
                </a:lnTo>
                <a:lnTo>
                  <a:pt x="0" y="58"/>
                </a:lnTo>
                <a:lnTo>
                  <a:pt x="10" y="58"/>
                </a:lnTo>
                <a:lnTo>
                  <a:pt x="10" y="117"/>
                </a:lnTo>
                <a:lnTo>
                  <a:pt x="42" y="117"/>
                </a:lnTo>
                <a:lnTo>
                  <a:pt x="42" y="69"/>
                </a:lnTo>
                <a:lnTo>
                  <a:pt x="74" y="69"/>
                </a:lnTo>
                <a:lnTo>
                  <a:pt x="74" y="117"/>
                </a:lnTo>
                <a:lnTo>
                  <a:pt x="106" y="117"/>
                </a:lnTo>
                <a:lnTo>
                  <a:pt x="106" y="58"/>
                </a:lnTo>
                <a:lnTo>
                  <a:pt x="117" y="58"/>
                </a:lnTo>
                <a:lnTo>
                  <a:pt x="101" y="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299" name="Rectangle 6"/>
          <p:cNvSpPr>
            <a:spLocks noChangeArrowheads="1"/>
          </p:cNvSpPr>
          <p:nvPr/>
        </p:nvSpPr>
        <p:spPr bwMode="auto">
          <a:xfrm>
            <a:off x="1394885" y="1824567"/>
            <a:ext cx="71967" cy="1460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00" name="Rectangle 7"/>
          <p:cNvSpPr>
            <a:spLocks noChangeArrowheads="1"/>
          </p:cNvSpPr>
          <p:nvPr/>
        </p:nvSpPr>
        <p:spPr bwMode="auto">
          <a:xfrm>
            <a:off x="1394885" y="1824567"/>
            <a:ext cx="71967" cy="1460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01" name="Rectangle 8"/>
          <p:cNvSpPr>
            <a:spLocks noChangeArrowheads="1"/>
          </p:cNvSpPr>
          <p:nvPr/>
        </p:nvSpPr>
        <p:spPr bwMode="auto">
          <a:xfrm>
            <a:off x="1394885" y="1824567"/>
            <a:ext cx="71967" cy="1460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02" name="Rectangle 9"/>
          <p:cNvSpPr>
            <a:spLocks noChangeArrowheads="1"/>
          </p:cNvSpPr>
          <p:nvPr/>
        </p:nvSpPr>
        <p:spPr bwMode="auto">
          <a:xfrm>
            <a:off x="1394885" y="1824567"/>
            <a:ext cx="71967" cy="1460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03" name="Freeform 10"/>
          <p:cNvSpPr>
            <a:spLocks/>
          </p:cNvSpPr>
          <p:nvPr/>
        </p:nvSpPr>
        <p:spPr bwMode="auto">
          <a:xfrm>
            <a:off x="2110318" y="5617634"/>
            <a:ext cx="448733" cy="448733"/>
          </a:xfrm>
          <a:custGeom>
            <a:avLst/>
            <a:gdLst>
              <a:gd name="T0" fmla="*/ 752646547 w 131"/>
              <a:gd name="T1" fmla="*/ 316896508 h 131"/>
              <a:gd name="T2" fmla="*/ 752646547 w 131"/>
              <a:gd name="T3" fmla="*/ 39612706 h 131"/>
              <a:gd name="T4" fmla="*/ 594195724 w 131"/>
              <a:gd name="T5" fmla="*/ 39612706 h 131"/>
              <a:gd name="T6" fmla="*/ 594195724 w 131"/>
              <a:gd name="T7" fmla="*/ 158448254 h 131"/>
              <a:gd name="T8" fmla="*/ 435742332 w 131"/>
              <a:gd name="T9" fmla="*/ 0 h 131"/>
              <a:gd name="T10" fmla="*/ 0 w 131"/>
              <a:gd name="T11" fmla="*/ 435734625 h 131"/>
              <a:gd name="T12" fmla="*/ 79225411 w 131"/>
              <a:gd name="T13" fmla="*/ 435734625 h 131"/>
              <a:gd name="T14" fmla="*/ 79225411 w 131"/>
              <a:gd name="T15" fmla="*/ 864866704 h 131"/>
              <a:gd name="T16" fmla="*/ 316904215 w 131"/>
              <a:gd name="T17" fmla="*/ 864866704 h 131"/>
              <a:gd name="T18" fmla="*/ 316904215 w 131"/>
              <a:gd name="T19" fmla="*/ 514960036 h 131"/>
              <a:gd name="T20" fmla="*/ 547980473 w 131"/>
              <a:gd name="T21" fmla="*/ 514960036 h 131"/>
              <a:gd name="T22" fmla="*/ 547980473 w 131"/>
              <a:gd name="T23" fmla="*/ 864866704 h 131"/>
              <a:gd name="T24" fmla="*/ 792261822 w 131"/>
              <a:gd name="T25" fmla="*/ 864866704 h 131"/>
              <a:gd name="T26" fmla="*/ 792261822 w 131"/>
              <a:gd name="T27" fmla="*/ 435734625 h 131"/>
              <a:gd name="T28" fmla="*/ 864884687 w 131"/>
              <a:gd name="T29" fmla="*/ 435734625 h 131"/>
              <a:gd name="T30" fmla="*/ 752646547 w 131"/>
              <a:gd name="T31" fmla="*/ 316896508 h 1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31" h="131">
                <a:moveTo>
                  <a:pt x="114" y="48"/>
                </a:moveTo>
                <a:lnTo>
                  <a:pt x="114" y="6"/>
                </a:lnTo>
                <a:lnTo>
                  <a:pt x="90" y="6"/>
                </a:lnTo>
                <a:lnTo>
                  <a:pt x="90" y="24"/>
                </a:lnTo>
                <a:lnTo>
                  <a:pt x="66" y="0"/>
                </a:lnTo>
                <a:lnTo>
                  <a:pt x="0" y="66"/>
                </a:lnTo>
                <a:lnTo>
                  <a:pt x="12" y="66"/>
                </a:lnTo>
                <a:lnTo>
                  <a:pt x="12" y="131"/>
                </a:lnTo>
                <a:lnTo>
                  <a:pt x="48" y="131"/>
                </a:lnTo>
                <a:lnTo>
                  <a:pt x="48" y="78"/>
                </a:lnTo>
                <a:lnTo>
                  <a:pt x="83" y="78"/>
                </a:lnTo>
                <a:lnTo>
                  <a:pt x="83" y="131"/>
                </a:lnTo>
                <a:lnTo>
                  <a:pt x="120" y="131"/>
                </a:lnTo>
                <a:lnTo>
                  <a:pt x="120" y="66"/>
                </a:lnTo>
                <a:lnTo>
                  <a:pt x="131" y="66"/>
                </a:lnTo>
                <a:lnTo>
                  <a:pt x="114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04" name="Rectangle 11"/>
          <p:cNvSpPr>
            <a:spLocks noChangeArrowheads="1"/>
          </p:cNvSpPr>
          <p:nvPr/>
        </p:nvSpPr>
        <p:spPr bwMode="auto">
          <a:xfrm>
            <a:off x="2292351" y="5905500"/>
            <a:ext cx="82549" cy="160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05" name="Rectangle 12"/>
          <p:cNvSpPr>
            <a:spLocks noChangeArrowheads="1"/>
          </p:cNvSpPr>
          <p:nvPr/>
        </p:nvSpPr>
        <p:spPr bwMode="auto">
          <a:xfrm>
            <a:off x="2292351" y="5905500"/>
            <a:ext cx="82549" cy="160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06" name="Rectangle 13"/>
          <p:cNvSpPr>
            <a:spLocks noChangeArrowheads="1"/>
          </p:cNvSpPr>
          <p:nvPr/>
        </p:nvSpPr>
        <p:spPr bwMode="auto">
          <a:xfrm>
            <a:off x="2292351" y="5905500"/>
            <a:ext cx="82549" cy="160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07" name="Rectangle 14"/>
          <p:cNvSpPr>
            <a:spLocks noChangeArrowheads="1"/>
          </p:cNvSpPr>
          <p:nvPr/>
        </p:nvSpPr>
        <p:spPr bwMode="auto">
          <a:xfrm>
            <a:off x="2292351" y="5905500"/>
            <a:ext cx="82549" cy="160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08" name="Freeform 15"/>
          <p:cNvSpPr>
            <a:spLocks noEditPoints="1"/>
          </p:cNvSpPr>
          <p:nvPr/>
        </p:nvSpPr>
        <p:spPr bwMode="auto">
          <a:xfrm>
            <a:off x="2114552" y="1581152"/>
            <a:ext cx="400049" cy="400049"/>
          </a:xfrm>
          <a:custGeom>
            <a:avLst/>
            <a:gdLst>
              <a:gd name="T0" fmla="*/ 559173502 w 132"/>
              <a:gd name="T1" fmla="*/ 0 h 132"/>
              <a:gd name="T2" fmla="*/ 124260778 w 132"/>
              <a:gd name="T3" fmla="*/ 0 h 132"/>
              <a:gd name="T4" fmla="*/ 0 w 132"/>
              <a:gd name="T5" fmla="*/ 124258505 h 132"/>
              <a:gd name="T6" fmla="*/ 0 w 132"/>
              <a:gd name="T7" fmla="*/ 559159864 h 132"/>
              <a:gd name="T8" fmla="*/ 124260778 w 132"/>
              <a:gd name="T9" fmla="*/ 683418369 h 132"/>
              <a:gd name="T10" fmla="*/ 559173502 w 132"/>
              <a:gd name="T11" fmla="*/ 683418369 h 132"/>
              <a:gd name="T12" fmla="*/ 683434280 w 132"/>
              <a:gd name="T13" fmla="*/ 559159864 h 132"/>
              <a:gd name="T14" fmla="*/ 683434280 w 132"/>
              <a:gd name="T15" fmla="*/ 124258505 h 132"/>
              <a:gd name="T16" fmla="*/ 559173502 w 132"/>
              <a:gd name="T17" fmla="*/ 0 h 132"/>
              <a:gd name="T18" fmla="*/ 559173502 w 132"/>
              <a:gd name="T19" fmla="*/ 403838437 h 132"/>
              <a:gd name="T20" fmla="*/ 403847529 w 132"/>
              <a:gd name="T21" fmla="*/ 403838437 h 132"/>
              <a:gd name="T22" fmla="*/ 403847529 w 132"/>
              <a:gd name="T23" fmla="*/ 559159864 h 132"/>
              <a:gd name="T24" fmla="*/ 279586751 w 132"/>
              <a:gd name="T25" fmla="*/ 559159864 h 132"/>
              <a:gd name="T26" fmla="*/ 279586751 w 132"/>
              <a:gd name="T27" fmla="*/ 403838437 h 132"/>
              <a:gd name="T28" fmla="*/ 124260778 w 132"/>
              <a:gd name="T29" fmla="*/ 403838437 h 132"/>
              <a:gd name="T30" fmla="*/ 124260778 w 132"/>
              <a:gd name="T31" fmla="*/ 279579932 h 132"/>
              <a:gd name="T32" fmla="*/ 279586751 w 132"/>
              <a:gd name="T33" fmla="*/ 279579932 h 132"/>
              <a:gd name="T34" fmla="*/ 279586751 w 132"/>
              <a:gd name="T35" fmla="*/ 124258505 h 132"/>
              <a:gd name="T36" fmla="*/ 403847529 w 132"/>
              <a:gd name="T37" fmla="*/ 124258505 h 132"/>
              <a:gd name="T38" fmla="*/ 403847529 w 132"/>
              <a:gd name="T39" fmla="*/ 279579932 h 132"/>
              <a:gd name="T40" fmla="*/ 559173502 w 132"/>
              <a:gd name="T41" fmla="*/ 279579932 h 132"/>
              <a:gd name="T42" fmla="*/ 559173502 w 132"/>
              <a:gd name="T43" fmla="*/ 403838437 h 132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2" h="132">
                <a:moveTo>
                  <a:pt x="108" y="0"/>
                </a:moveTo>
                <a:cubicBezTo>
                  <a:pt x="24" y="0"/>
                  <a:pt x="24" y="0"/>
                  <a:pt x="24" y="0"/>
                </a:cubicBezTo>
                <a:cubicBezTo>
                  <a:pt x="11" y="0"/>
                  <a:pt x="0" y="11"/>
                  <a:pt x="0" y="24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21"/>
                  <a:pt x="11" y="132"/>
                  <a:pt x="24" y="132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1" y="132"/>
                  <a:pt x="132" y="121"/>
                  <a:pt x="132" y="108"/>
                </a:cubicBezTo>
                <a:cubicBezTo>
                  <a:pt x="132" y="24"/>
                  <a:pt x="132" y="24"/>
                  <a:pt x="132" y="24"/>
                </a:cubicBezTo>
                <a:cubicBezTo>
                  <a:pt x="132" y="11"/>
                  <a:pt x="121" y="0"/>
                  <a:pt x="108" y="0"/>
                </a:cubicBezTo>
                <a:moveTo>
                  <a:pt x="108" y="78"/>
                </a:moveTo>
                <a:cubicBezTo>
                  <a:pt x="78" y="78"/>
                  <a:pt x="78" y="78"/>
                  <a:pt x="78" y="78"/>
                </a:cubicBezTo>
                <a:cubicBezTo>
                  <a:pt x="78" y="108"/>
                  <a:pt x="78" y="108"/>
                  <a:pt x="78" y="108"/>
                </a:cubicBezTo>
                <a:cubicBezTo>
                  <a:pt x="54" y="108"/>
                  <a:pt x="54" y="108"/>
                  <a:pt x="54" y="108"/>
                </a:cubicBezTo>
                <a:cubicBezTo>
                  <a:pt x="54" y="78"/>
                  <a:pt x="54" y="78"/>
                  <a:pt x="54" y="78"/>
                </a:cubicBezTo>
                <a:cubicBezTo>
                  <a:pt x="24" y="78"/>
                  <a:pt x="24" y="78"/>
                  <a:pt x="24" y="78"/>
                </a:cubicBezTo>
                <a:cubicBezTo>
                  <a:pt x="24" y="54"/>
                  <a:pt x="24" y="54"/>
                  <a:pt x="24" y="54"/>
                </a:cubicBezTo>
                <a:cubicBezTo>
                  <a:pt x="54" y="54"/>
                  <a:pt x="54" y="54"/>
                  <a:pt x="54" y="54"/>
                </a:cubicBezTo>
                <a:cubicBezTo>
                  <a:pt x="54" y="24"/>
                  <a:pt x="54" y="24"/>
                  <a:pt x="54" y="24"/>
                </a:cubicBezTo>
                <a:cubicBezTo>
                  <a:pt x="78" y="24"/>
                  <a:pt x="78" y="24"/>
                  <a:pt x="78" y="24"/>
                </a:cubicBezTo>
                <a:cubicBezTo>
                  <a:pt x="78" y="54"/>
                  <a:pt x="78" y="54"/>
                  <a:pt x="78" y="54"/>
                </a:cubicBezTo>
                <a:cubicBezTo>
                  <a:pt x="108" y="54"/>
                  <a:pt x="108" y="54"/>
                  <a:pt x="108" y="54"/>
                </a:cubicBezTo>
                <a:lnTo>
                  <a:pt x="108" y="7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09" name="Freeform 16"/>
          <p:cNvSpPr>
            <a:spLocks noEditPoints="1"/>
          </p:cNvSpPr>
          <p:nvPr/>
        </p:nvSpPr>
        <p:spPr bwMode="auto">
          <a:xfrm>
            <a:off x="2995084" y="1587501"/>
            <a:ext cx="438149" cy="436033"/>
          </a:xfrm>
          <a:custGeom>
            <a:avLst/>
            <a:gdLst>
              <a:gd name="T0" fmla="*/ 719773594 w 145"/>
              <a:gd name="T1" fmla="*/ 638236979 h 144"/>
              <a:gd name="T2" fmla="*/ 544972407 w 145"/>
              <a:gd name="T3" fmla="*/ 458089353 h 144"/>
              <a:gd name="T4" fmla="*/ 539830196 w 145"/>
              <a:gd name="T5" fmla="*/ 452940980 h 144"/>
              <a:gd name="T6" fmla="*/ 586101032 w 145"/>
              <a:gd name="T7" fmla="*/ 293382303 h 144"/>
              <a:gd name="T8" fmla="*/ 293051649 w 145"/>
              <a:gd name="T9" fmla="*/ 0 h 144"/>
              <a:gd name="T10" fmla="*/ 0 w 145"/>
              <a:gd name="T11" fmla="*/ 293382303 h 144"/>
              <a:gd name="T12" fmla="*/ 293051649 w 145"/>
              <a:gd name="T13" fmla="*/ 586764606 h 144"/>
              <a:gd name="T14" fmla="*/ 452428469 w 145"/>
              <a:gd name="T15" fmla="*/ 540440607 h 144"/>
              <a:gd name="T16" fmla="*/ 457570680 w 145"/>
              <a:gd name="T17" fmla="*/ 545588979 h 144"/>
              <a:gd name="T18" fmla="*/ 637514079 w 145"/>
              <a:gd name="T19" fmla="*/ 720588232 h 144"/>
              <a:gd name="T20" fmla="*/ 678644970 w 145"/>
              <a:gd name="T21" fmla="*/ 741177181 h 144"/>
              <a:gd name="T22" fmla="*/ 719773594 w 145"/>
              <a:gd name="T23" fmla="*/ 720588232 h 144"/>
              <a:gd name="T24" fmla="*/ 719773594 w 145"/>
              <a:gd name="T25" fmla="*/ 638236979 h 144"/>
              <a:gd name="T26" fmla="*/ 293051649 w 145"/>
              <a:gd name="T27" fmla="*/ 494118878 h 144"/>
              <a:gd name="T28" fmla="*/ 92541672 w 145"/>
              <a:gd name="T29" fmla="*/ 293382303 h 144"/>
              <a:gd name="T30" fmla="*/ 293051649 w 145"/>
              <a:gd name="T31" fmla="*/ 92647999 h 144"/>
              <a:gd name="T32" fmla="*/ 493559360 w 145"/>
              <a:gd name="T33" fmla="*/ 293382303 h 144"/>
              <a:gd name="T34" fmla="*/ 293051649 w 145"/>
              <a:gd name="T35" fmla="*/ 494118878 h 14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45" h="144">
                <a:moveTo>
                  <a:pt x="140" y="124"/>
                </a:moveTo>
                <a:cubicBezTo>
                  <a:pt x="106" y="89"/>
                  <a:pt x="106" y="89"/>
                  <a:pt x="106" y="89"/>
                </a:cubicBezTo>
                <a:cubicBezTo>
                  <a:pt x="106" y="89"/>
                  <a:pt x="105" y="88"/>
                  <a:pt x="105" y="88"/>
                </a:cubicBezTo>
                <a:cubicBezTo>
                  <a:pt x="111" y="79"/>
                  <a:pt x="114" y="68"/>
                  <a:pt x="114" y="57"/>
                </a:cubicBezTo>
                <a:cubicBezTo>
                  <a:pt x="114" y="26"/>
                  <a:pt x="88" y="0"/>
                  <a:pt x="57" y="0"/>
                </a:cubicBezTo>
                <a:cubicBezTo>
                  <a:pt x="26" y="0"/>
                  <a:pt x="0" y="26"/>
                  <a:pt x="0" y="57"/>
                </a:cubicBezTo>
                <a:cubicBezTo>
                  <a:pt x="0" y="88"/>
                  <a:pt x="26" y="114"/>
                  <a:pt x="57" y="114"/>
                </a:cubicBezTo>
                <a:cubicBezTo>
                  <a:pt x="68" y="114"/>
                  <a:pt x="79" y="111"/>
                  <a:pt x="88" y="105"/>
                </a:cubicBezTo>
                <a:cubicBezTo>
                  <a:pt x="88" y="105"/>
                  <a:pt x="89" y="106"/>
                  <a:pt x="89" y="106"/>
                </a:cubicBezTo>
                <a:cubicBezTo>
                  <a:pt x="124" y="140"/>
                  <a:pt x="124" y="140"/>
                  <a:pt x="124" y="140"/>
                </a:cubicBezTo>
                <a:cubicBezTo>
                  <a:pt x="126" y="143"/>
                  <a:pt x="129" y="144"/>
                  <a:pt x="132" y="144"/>
                </a:cubicBezTo>
                <a:cubicBezTo>
                  <a:pt x="135" y="144"/>
                  <a:pt x="138" y="143"/>
                  <a:pt x="140" y="140"/>
                </a:cubicBezTo>
                <a:cubicBezTo>
                  <a:pt x="145" y="136"/>
                  <a:pt x="145" y="128"/>
                  <a:pt x="140" y="124"/>
                </a:cubicBezTo>
                <a:moveTo>
                  <a:pt x="57" y="96"/>
                </a:moveTo>
                <a:cubicBezTo>
                  <a:pt x="36" y="96"/>
                  <a:pt x="18" y="78"/>
                  <a:pt x="18" y="57"/>
                </a:cubicBezTo>
                <a:cubicBezTo>
                  <a:pt x="18" y="35"/>
                  <a:pt x="36" y="18"/>
                  <a:pt x="57" y="18"/>
                </a:cubicBezTo>
                <a:cubicBezTo>
                  <a:pt x="78" y="18"/>
                  <a:pt x="96" y="35"/>
                  <a:pt x="96" y="57"/>
                </a:cubicBezTo>
                <a:cubicBezTo>
                  <a:pt x="96" y="78"/>
                  <a:pt x="78" y="96"/>
                  <a:pt x="57" y="96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0" name="Freeform 17"/>
          <p:cNvSpPr>
            <a:spLocks noEditPoints="1"/>
          </p:cNvSpPr>
          <p:nvPr/>
        </p:nvSpPr>
        <p:spPr bwMode="auto">
          <a:xfrm>
            <a:off x="3915834" y="1547284"/>
            <a:ext cx="292100" cy="472016"/>
          </a:xfrm>
          <a:custGeom>
            <a:avLst/>
            <a:gdLst>
              <a:gd name="T0" fmla="*/ 498484624 w 96"/>
              <a:gd name="T1" fmla="*/ 247622317 h 156"/>
              <a:gd name="T2" fmla="*/ 249243453 w 96"/>
              <a:gd name="T3" fmla="*/ 0 h 156"/>
              <a:gd name="T4" fmla="*/ 0 w 96"/>
              <a:gd name="T5" fmla="*/ 247622317 h 156"/>
              <a:gd name="T6" fmla="*/ 31154291 w 96"/>
              <a:gd name="T7" fmla="*/ 371433475 h 156"/>
              <a:gd name="T8" fmla="*/ 31154291 w 96"/>
              <a:gd name="T9" fmla="*/ 371433475 h 156"/>
              <a:gd name="T10" fmla="*/ 249243453 w 96"/>
              <a:gd name="T11" fmla="*/ 804771395 h 156"/>
              <a:gd name="T12" fmla="*/ 467330334 w 96"/>
              <a:gd name="T13" fmla="*/ 371433475 h 156"/>
              <a:gd name="T14" fmla="*/ 467330334 w 96"/>
              <a:gd name="T15" fmla="*/ 371433475 h 156"/>
              <a:gd name="T16" fmla="*/ 498484624 w 96"/>
              <a:gd name="T17" fmla="*/ 247622317 h 156"/>
              <a:gd name="T18" fmla="*/ 249243453 w 96"/>
              <a:gd name="T19" fmla="*/ 371433475 h 156"/>
              <a:gd name="T20" fmla="*/ 124621727 w 96"/>
              <a:gd name="T21" fmla="*/ 247622317 h 156"/>
              <a:gd name="T22" fmla="*/ 249243453 w 96"/>
              <a:gd name="T23" fmla="*/ 123811158 h 156"/>
              <a:gd name="T24" fmla="*/ 373862898 w 96"/>
              <a:gd name="T25" fmla="*/ 247622317 h 156"/>
              <a:gd name="T26" fmla="*/ 249243453 w 96"/>
              <a:gd name="T27" fmla="*/ 371433475 h 15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96" h="156">
                <a:moveTo>
                  <a:pt x="96" y="48"/>
                </a:moveTo>
                <a:cubicBezTo>
                  <a:pt x="96" y="21"/>
                  <a:pt x="75" y="0"/>
                  <a:pt x="48" y="0"/>
                </a:cubicBezTo>
                <a:cubicBezTo>
                  <a:pt x="21" y="0"/>
                  <a:pt x="0" y="21"/>
                  <a:pt x="0" y="48"/>
                </a:cubicBezTo>
                <a:cubicBezTo>
                  <a:pt x="0" y="57"/>
                  <a:pt x="2" y="65"/>
                  <a:pt x="6" y="72"/>
                </a:cubicBezTo>
                <a:cubicBezTo>
                  <a:pt x="6" y="72"/>
                  <a:pt x="6" y="72"/>
                  <a:pt x="6" y="72"/>
                </a:cubicBezTo>
                <a:cubicBezTo>
                  <a:pt x="48" y="156"/>
                  <a:pt x="48" y="156"/>
                  <a:pt x="48" y="156"/>
                </a:cubicBezTo>
                <a:cubicBezTo>
                  <a:pt x="90" y="72"/>
                  <a:pt x="90" y="72"/>
                  <a:pt x="90" y="72"/>
                </a:cubicBezTo>
                <a:cubicBezTo>
                  <a:pt x="90" y="72"/>
                  <a:pt x="90" y="72"/>
                  <a:pt x="90" y="72"/>
                </a:cubicBezTo>
                <a:cubicBezTo>
                  <a:pt x="94" y="65"/>
                  <a:pt x="96" y="57"/>
                  <a:pt x="96" y="48"/>
                </a:cubicBezTo>
                <a:moveTo>
                  <a:pt x="48" y="72"/>
                </a:moveTo>
                <a:cubicBezTo>
                  <a:pt x="35" y="72"/>
                  <a:pt x="24" y="61"/>
                  <a:pt x="24" y="48"/>
                </a:cubicBezTo>
                <a:cubicBezTo>
                  <a:pt x="24" y="35"/>
                  <a:pt x="35" y="24"/>
                  <a:pt x="48" y="24"/>
                </a:cubicBezTo>
                <a:cubicBezTo>
                  <a:pt x="61" y="24"/>
                  <a:pt x="72" y="35"/>
                  <a:pt x="72" y="48"/>
                </a:cubicBezTo>
                <a:cubicBezTo>
                  <a:pt x="72" y="61"/>
                  <a:pt x="61" y="72"/>
                  <a:pt x="48" y="7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1" name="Freeform 18"/>
          <p:cNvSpPr>
            <a:spLocks/>
          </p:cNvSpPr>
          <p:nvPr/>
        </p:nvSpPr>
        <p:spPr bwMode="auto">
          <a:xfrm>
            <a:off x="4671485" y="1619252"/>
            <a:ext cx="433916" cy="400049"/>
          </a:xfrm>
          <a:custGeom>
            <a:avLst/>
            <a:gdLst>
              <a:gd name="T0" fmla="*/ 553195440 w 144"/>
              <a:gd name="T1" fmla="*/ 0 h 132"/>
              <a:gd name="T2" fmla="*/ 184398480 w 144"/>
              <a:gd name="T3" fmla="*/ 0 h 132"/>
              <a:gd name="T4" fmla="*/ 0 w 144"/>
              <a:gd name="T5" fmla="*/ 186386621 h 132"/>
              <a:gd name="T6" fmla="*/ 0 w 144"/>
              <a:gd name="T7" fmla="*/ 310645126 h 132"/>
              <a:gd name="T8" fmla="*/ 184398480 w 144"/>
              <a:gd name="T9" fmla="*/ 497031748 h 132"/>
              <a:gd name="T10" fmla="*/ 215131937 w 144"/>
              <a:gd name="T11" fmla="*/ 497031748 h 132"/>
              <a:gd name="T12" fmla="*/ 215131937 w 144"/>
              <a:gd name="T13" fmla="*/ 683418369 h 132"/>
              <a:gd name="T14" fmla="*/ 425140501 w 144"/>
              <a:gd name="T15" fmla="*/ 497031748 h 132"/>
              <a:gd name="T16" fmla="*/ 553195440 w 144"/>
              <a:gd name="T17" fmla="*/ 497031748 h 132"/>
              <a:gd name="T18" fmla="*/ 737593921 w 144"/>
              <a:gd name="T19" fmla="*/ 310645126 h 132"/>
              <a:gd name="T20" fmla="*/ 737593921 w 144"/>
              <a:gd name="T21" fmla="*/ 186386621 h 132"/>
              <a:gd name="T22" fmla="*/ 553195440 w 144"/>
              <a:gd name="T23" fmla="*/ 0 h 13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4" h="132">
                <a:moveTo>
                  <a:pt x="108" y="0"/>
                </a:moveTo>
                <a:cubicBezTo>
                  <a:pt x="36" y="0"/>
                  <a:pt x="3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80"/>
                  <a:pt x="16" y="96"/>
                  <a:pt x="36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132"/>
                  <a:pt x="42" y="132"/>
                  <a:pt x="42" y="132"/>
                </a:cubicBezTo>
                <a:cubicBezTo>
                  <a:pt x="83" y="96"/>
                  <a:pt x="83" y="96"/>
                  <a:pt x="83" y="96"/>
                </a:cubicBezTo>
                <a:cubicBezTo>
                  <a:pt x="108" y="96"/>
                  <a:pt x="108" y="96"/>
                  <a:pt x="108" y="96"/>
                </a:cubicBezTo>
                <a:cubicBezTo>
                  <a:pt x="128" y="96"/>
                  <a:pt x="144" y="80"/>
                  <a:pt x="144" y="60"/>
                </a:cubicBezTo>
                <a:cubicBezTo>
                  <a:pt x="144" y="36"/>
                  <a:pt x="144" y="36"/>
                  <a:pt x="144" y="36"/>
                </a:cubicBezTo>
                <a:cubicBezTo>
                  <a:pt x="144" y="16"/>
                  <a:pt x="128" y="0"/>
                  <a:pt x="108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2" name="Freeform 19"/>
          <p:cNvSpPr>
            <a:spLocks noEditPoints="1"/>
          </p:cNvSpPr>
          <p:nvPr/>
        </p:nvSpPr>
        <p:spPr bwMode="auto">
          <a:xfrm>
            <a:off x="5496985" y="1619252"/>
            <a:ext cx="433916" cy="400049"/>
          </a:xfrm>
          <a:custGeom>
            <a:avLst/>
            <a:gdLst>
              <a:gd name="T0" fmla="*/ 553195440 w 144"/>
              <a:gd name="T1" fmla="*/ 0 h 132"/>
              <a:gd name="T2" fmla="*/ 184398480 w 144"/>
              <a:gd name="T3" fmla="*/ 0 h 132"/>
              <a:gd name="T4" fmla="*/ 0 w 144"/>
              <a:gd name="T5" fmla="*/ 186386621 h 132"/>
              <a:gd name="T6" fmla="*/ 0 w 144"/>
              <a:gd name="T7" fmla="*/ 310645126 h 132"/>
              <a:gd name="T8" fmla="*/ 184398480 w 144"/>
              <a:gd name="T9" fmla="*/ 497031748 h 132"/>
              <a:gd name="T10" fmla="*/ 215131937 w 144"/>
              <a:gd name="T11" fmla="*/ 497031748 h 132"/>
              <a:gd name="T12" fmla="*/ 215131937 w 144"/>
              <a:gd name="T13" fmla="*/ 683418369 h 132"/>
              <a:gd name="T14" fmla="*/ 425140501 w 144"/>
              <a:gd name="T15" fmla="*/ 497031748 h 132"/>
              <a:gd name="T16" fmla="*/ 553195440 w 144"/>
              <a:gd name="T17" fmla="*/ 497031748 h 132"/>
              <a:gd name="T18" fmla="*/ 737593921 w 144"/>
              <a:gd name="T19" fmla="*/ 310645126 h 132"/>
              <a:gd name="T20" fmla="*/ 737593921 w 144"/>
              <a:gd name="T21" fmla="*/ 186386621 h 132"/>
              <a:gd name="T22" fmla="*/ 553195440 w 144"/>
              <a:gd name="T23" fmla="*/ 0 h 132"/>
              <a:gd name="T24" fmla="*/ 184398480 w 144"/>
              <a:gd name="T25" fmla="*/ 310645126 h 132"/>
              <a:gd name="T26" fmla="*/ 122931567 w 144"/>
              <a:gd name="T27" fmla="*/ 248514737 h 132"/>
              <a:gd name="T28" fmla="*/ 184398480 w 144"/>
              <a:gd name="T29" fmla="*/ 186386621 h 132"/>
              <a:gd name="T30" fmla="*/ 245865394 w 144"/>
              <a:gd name="T31" fmla="*/ 248514737 h 132"/>
              <a:gd name="T32" fmla="*/ 184398480 w 144"/>
              <a:gd name="T33" fmla="*/ 310645126 h 132"/>
              <a:gd name="T34" fmla="*/ 368796960 w 144"/>
              <a:gd name="T35" fmla="*/ 310645126 h 132"/>
              <a:gd name="T36" fmla="*/ 307330047 w 144"/>
              <a:gd name="T37" fmla="*/ 248514737 h 132"/>
              <a:gd name="T38" fmla="*/ 368796960 w 144"/>
              <a:gd name="T39" fmla="*/ 186386621 h 132"/>
              <a:gd name="T40" fmla="*/ 430263874 w 144"/>
              <a:gd name="T41" fmla="*/ 248514737 h 132"/>
              <a:gd name="T42" fmla="*/ 368796960 w 144"/>
              <a:gd name="T43" fmla="*/ 310645126 h 132"/>
              <a:gd name="T44" fmla="*/ 553195440 w 144"/>
              <a:gd name="T45" fmla="*/ 310645126 h 132"/>
              <a:gd name="T46" fmla="*/ 491728527 w 144"/>
              <a:gd name="T47" fmla="*/ 248514737 h 132"/>
              <a:gd name="T48" fmla="*/ 553195440 w 144"/>
              <a:gd name="T49" fmla="*/ 186386621 h 132"/>
              <a:gd name="T50" fmla="*/ 614662354 w 144"/>
              <a:gd name="T51" fmla="*/ 248514737 h 132"/>
              <a:gd name="T52" fmla="*/ 553195440 w 144"/>
              <a:gd name="T53" fmla="*/ 310645126 h 13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44" h="132">
                <a:moveTo>
                  <a:pt x="108" y="0"/>
                </a:moveTo>
                <a:cubicBezTo>
                  <a:pt x="36" y="0"/>
                  <a:pt x="3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80"/>
                  <a:pt x="16" y="96"/>
                  <a:pt x="36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132"/>
                  <a:pt x="42" y="132"/>
                  <a:pt x="42" y="132"/>
                </a:cubicBezTo>
                <a:cubicBezTo>
                  <a:pt x="83" y="96"/>
                  <a:pt x="83" y="96"/>
                  <a:pt x="83" y="96"/>
                </a:cubicBezTo>
                <a:cubicBezTo>
                  <a:pt x="108" y="96"/>
                  <a:pt x="108" y="96"/>
                  <a:pt x="108" y="96"/>
                </a:cubicBezTo>
                <a:cubicBezTo>
                  <a:pt x="128" y="96"/>
                  <a:pt x="144" y="80"/>
                  <a:pt x="144" y="60"/>
                </a:cubicBezTo>
                <a:cubicBezTo>
                  <a:pt x="144" y="36"/>
                  <a:pt x="144" y="36"/>
                  <a:pt x="144" y="36"/>
                </a:cubicBezTo>
                <a:cubicBezTo>
                  <a:pt x="144" y="16"/>
                  <a:pt x="128" y="0"/>
                  <a:pt x="108" y="0"/>
                </a:cubicBezTo>
                <a:moveTo>
                  <a:pt x="36" y="60"/>
                </a:moveTo>
                <a:cubicBezTo>
                  <a:pt x="29" y="60"/>
                  <a:pt x="24" y="55"/>
                  <a:pt x="24" y="48"/>
                </a:cubicBezTo>
                <a:cubicBezTo>
                  <a:pt x="24" y="41"/>
                  <a:pt x="29" y="36"/>
                  <a:pt x="36" y="36"/>
                </a:cubicBezTo>
                <a:cubicBezTo>
                  <a:pt x="43" y="36"/>
                  <a:pt x="48" y="41"/>
                  <a:pt x="48" y="48"/>
                </a:cubicBezTo>
                <a:cubicBezTo>
                  <a:pt x="48" y="55"/>
                  <a:pt x="43" y="60"/>
                  <a:pt x="36" y="60"/>
                </a:cubicBezTo>
                <a:moveTo>
                  <a:pt x="72" y="60"/>
                </a:moveTo>
                <a:cubicBezTo>
                  <a:pt x="65" y="60"/>
                  <a:pt x="60" y="55"/>
                  <a:pt x="60" y="48"/>
                </a:cubicBezTo>
                <a:cubicBezTo>
                  <a:pt x="60" y="41"/>
                  <a:pt x="65" y="36"/>
                  <a:pt x="72" y="36"/>
                </a:cubicBezTo>
                <a:cubicBezTo>
                  <a:pt x="79" y="36"/>
                  <a:pt x="84" y="41"/>
                  <a:pt x="84" y="48"/>
                </a:cubicBezTo>
                <a:cubicBezTo>
                  <a:pt x="84" y="55"/>
                  <a:pt x="79" y="60"/>
                  <a:pt x="72" y="60"/>
                </a:cubicBezTo>
                <a:moveTo>
                  <a:pt x="108" y="60"/>
                </a:moveTo>
                <a:cubicBezTo>
                  <a:pt x="101" y="60"/>
                  <a:pt x="96" y="55"/>
                  <a:pt x="96" y="48"/>
                </a:cubicBezTo>
                <a:cubicBezTo>
                  <a:pt x="96" y="41"/>
                  <a:pt x="101" y="36"/>
                  <a:pt x="108" y="36"/>
                </a:cubicBezTo>
                <a:cubicBezTo>
                  <a:pt x="115" y="36"/>
                  <a:pt x="120" y="41"/>
                  <a:pt x="120" y="48"/>
                </a:cubicBezTo>
                <a:cubicBezTo>
                  <a:pt x="120" y="55"/>
                  <a:pt x="115" y="60"/>
                  <a:pt x="108" y="6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3" name="Freeform 20"/>
          <p:cNvSpPr>
            <a:spLocks noEditPoints="1"/>
          </p:cNvSpPr>
          <p:nvPr/>
        </p:nvSpPr>
        <p:spPr bwMode="auto">
          <a:xfrm>
            <a:off x="6538385" y="1509184"/>
            <a:ext cx="188383" cy="150283"/>
          </a:xfrm>
          <a:custGeom>
            <a:avLst/>
            <a:gdLst>
              <a:gd name="T0" fmla="*/ 202607837 w 62"/>
              <a:gd name="T1" fmla="*/ 61173311 h 50"/>
              <a:gd name="T2" fmla="*/ 202607837 w 62"/>
              <a:gd name="T3" fmla="*/ 61173311 h 50"/>
              <a:gd name="T4" fmla="*/ 233777572 w 62"/>
              <a:gd name="T5" fmla="*/ 71369238 h 50"/>
              <a:gd name="T6" fmla="*/ 238973288 w 62"/>
              <a:gd name="T7" fmla="*/ 91761093 h 50"/>
              <a:gd name="T8" fmla="*/ 207801273 w 62"/>
              <a:gd name="T9" fmla="*/ 147837568 h 50"/>
              <a:gd name="T10" fmla="*/ 103900637 w 62"/>
              <a:gd name="T11" fmla="*/ 193718114 h 50"/>
              <a:gd name="T12" fmla="*/ 88315769 w 62"/>
              <a:gd name="T13" fmla="*/ 193718114 h 50"/>
              <a:gd name="T14" fmla="*/ 88315769 w 62"/>
              <a:gd name="T15" fmla="*/ 193718114 h 50"/>
              <a:gd name="T16" fmla="*/ 135070372 w 62"/>
              <a:gd name="T17" fmla="*/ 91761093 h 50"/>
              <a:gd name="T18" fmla="*/ 202607837 w 62"/>
              <a:gd name="T19" fmla="*/ 61173311 h 50"/>
              <a:gd name="T20" fmla="*/ 202607837 w 62"/>
              <a:gd name="T21" fmla="*/ 0 h 50"/>
              <a:gd name="T22" fmla="*/ 88315769 w 62"/>
              <a:gd name="T23" fmla="*/ 45880547 h 50"/>
              <a:gd name="T24" fmla="*/ 41561166 w 62"/>
              <a:gd name="T25" fmla="*/ 239598661 h 50"/>
              <a:gd name="T26" fmla="*/ 103900637 w 62"/>
              <a:gd name="T27" fmla="*/ 254891425 h 50"/>
              <a:gd name="T28" fmla="*/ 254558155 w 62"/>
              <a:gd name="T29" fmla="*/ 193718114 h 50"/>
              <a:gd name="T30" fmla="*/ 275338738 w 62"/>
              <a:gd name="T31" fmla="*/ 25488692 h 50"/>
              <a:gd name="T32" fmla="*/ 202607837 w 62"/>
              <a:gd name="T33" fmla="*/ 0 h 5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62" h="50">
                <a:moveTo>
                  <a:pt x="39" y="12"/>
                </a:moveTo>
                <a:cubicBezTo>
                  <a:pt x="39" y="12"/>
                  <a:pt x="39" y="12"/>
                  <a:pt x="39" y="12"/>
                </a:cubicBezTo>
                <a:cubicBezTo>
                  <a:pt x="41" y="12"/>
                  <a:pt x="43" y="12"/>
                  <a:pt x="45" y="14"/>
                </a:cubicBezTo>
                <a:cubicBezTo>
                  <a:pt x="45" y="14"/>
                  <a:pt x="46" y="15"/>
                  <a:pt x="46" y="18"/>
                </a:cubicBezTo>
                <a:cubicBezTo>
                  <a:pt x="46" y="21"/>
                  <a:pt x="45" y="25"/>
                  <a:pt x="40" y="29"/>
                </a:cubicBezTo>
                <a:cubicBezTo>
                  <a:pt x="35" y="34"/>
                  <a:pt x="26" y="38"/>
                  <a:pt x="20" y="38"/>
                </a:cubicBezTo>
                <a:cubicBezTo>
                  <a:pt x="18" y="38"/>
                  <a:pt x="17" y="38"/>
                  <a:pt x="17" y="38"/>
                </a:cubicBezTo>
                <a:cubicBezTo>
                  <a:pt x="17" y="38"/>
                  <a:pt x="17" y="38"/>
                  <a:pt x="17" y="38"/>
                </a:cubicBezTo>
                <a:cubicBezTo>
                  <a:pt x="16" y="35"/>
                  <a:pt x="18" y="25"/>
                  <a:pt x="26" y="18"/>
                </a:cubicBezTo>
                <a:cubicBezTo>
                  <a:pt x="30" y="14"/>
                  <a:pt x="35" y="12"/>
                  <a:pt x="39" y="12"/>
                </a:cubicBezTo>
                <a:moveTo>
                  <a:pt x="39" y="0"/>
                </a:moveTo>
                <a:cubicBezTo>
                  <a:pt x="32" y="0"/>
                  <a:pt x="24" y="3"/>
                  <a:pt x="17" y="9"/>
                </a:cubicBezTo>
                <a:cubicBezTo>
                  <a:pt x="6" y="19"/>
                  <a:pt x="0" y="38"/>
                  <a:pt x="8" y="47"/>
                </a:cubicBezTo>
                <a:cubicBezTo>
                  <a:pt x="11" y="49"/>
                  <a:pt x="15" y="50"/>
                  <a:pt x="20" y="50"/>
                </a:cubicBezTo>
                <a:cubicBezTo>
                  <a:pt x="29" y="50"/>
                  <a:pt x="41" y="45"/>
                  <a:pt x="49" y="38"/>
                </a:cubicBezTo>
                <a:cubicBezTo>
                  <a:pt x="60" y="28"/>
                  <a:pt x="62" y="13"/>
                  <a:pt x="53" y="5"/>
                </a:cubicBezTo>
                <a:cubicBezTo>
                  <a:pt x="50" y="1"/>
                  <a:pt x="45" y="0"/>
                  <a:pt x="39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4" name="Freeform 21"/>
          <p:cNvSpPr>
            <a:spLocks noEditPoints="1"/>
          </p:cNvSpPr>
          <p:nvPr/>
        </p:nvSpPr>
        <p:spPr bwMode="auto">
          <a:xfrm>
            <a:off x="6396567" y="1509184"/>
            <a:ext cx="188384" cy="150283"/>
          </a:xfrm>
          <a:custGeom>
            <a:avLst/>
            <a:gdLst>
              <a:gd name="T0" fmla="*/ 119486350 w 62"/>
              <a:gd name="T1" fmla="*/ 61173311 h 50"/>
              <a:gd name="T2" fmla="*/ 187024293 w 62"/>
              <a:gd name="T3" fmla="*/ 91761093 h 50"/>
              <a:gd name="T4" fmla="*/ 233779227 w 62"/>
              <a:gd name="T5" fmla="*/ 193718114 h 50"/>
              <a:gd name="T6" fmla="*/ 218194249 w 62"/>
              <a:gd name="T7" fmla="*/ 193718114 h 50"/>
              <a:gd name="T8" fmla="*/ 114292877 w 62"/>
              <a:gd name="T9" fmla="*/ 147837568 h 50"/>
              <a:gd name="T10" fmla="*/ 83120642 w 62"/>
              <a:gd name="T11" fmla="*/ 91761093 h 50"/>
              <a:gd name="T12" fmla="*/ 88316394 w 62"/>
              <a:gd name="T13" fmla="*/ 71369238 h 50"/>
              <a:gd name="T14" fmla="*/ 119486350 w 62"/>
              <a:gd name="T15" fmla="*/ 61173311 h 50"/>
              <a:gd name="T16" fmla="*/ 119486350 w 62"/>
              <a:gd name="T17" fmla="*/ 0 h 50"/>
              <a:gd name="T18" fmla="*/ 46754934 w 62"/>
              <a:gd name="T19" fmla="*/ 25488692 h 50"/>
              <a:gd name="T20" fmla="*/ 67535664 w 62"/>
              <a:gd name="T21" fmla="*/ 193718114 h 50"/>
              <a:gd name="T22" fmla="*/ 218194249 w 62"/>
              <a:gd name="T23" fmla="*/ 254891425 h 50"/>
              <a:gd name="T24" fmla="*/ 280534161 w 62"/>
              <a:gd name="T25" fmla="*/ 239598661 h 50"/>
              <a:gd name="T26" fmla="*/ 233779227 w 62"/>
              <a:gd name="T27" fmla="*/ 45880547 h 50"/>
              <a:gd name="T28" fmla="*/ 119486350 w 62"/>
              <a:gd name="T29" fmla="*/ 0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62" h="50">
                <a:moveTo>
                  <a:pt x="23" y="12"/>
                </a:moveTo>
                <a:cubicBezTo>
                  <a:pt x="27" y="12"/>
                  <a:pt x="32" y="14"/>
                  <a:pt x="36" y="18"/>
                </a:cubicBezTo>
                <a:cubicBezTo>
                  <a:pt x="44" y="25"/>
                  <a:pt x="46" y="35"/>
                  <a:pt x="45" y="38"/>
                </a:cubicBezTo>
                <a:cubicBezTo>
                  <a:pt x="45" y="38"/>
                  <a:pt x="45" y="38"/>
                  <a:pt x="42" y="38"/>
                </a:cubicBezTo>
                <a:cubicBezTo>
                  <a:pt x="36" y="38"/>
                  <a:pt x="27" y="34"/>
                  <a:pt x="22" y="29"/>
                </a:cubicBezTo>
                <a:cubicBezTo>
                  <a:pt x="17" y="25"/>
                  <a:pt x="16" y="21"/>
                  <a:pt x="16" y="18"/>
                </a:cubicBezTo>
                <a:cubicBezTo>
                  <a:pt x="16" y="15"/>
                  <a:pt x="17" y="14"/>
                  <a:pt x="17" y="14"/>
                </a:cubicBezTo>
                <a:cubicBezTo>
                  <a:pt x="19" y="12"/>
                  <a:pt x="21" y="12"/>
                  <a:pt x="23" y="12"/>
                </a:cubicBezTo>
                <a:moveTo>
                  <a:pt x="23" y="0"/>
                </a:moveTo>
                <a:cubicBezTo>
                  <a:pt x="17" y="0"/>
                  <a:pt x="12" y="1"/>
                  <a:pt x="9" y="5"/>
                </a:cubicBezTo>
                <a:cubicBezTo>
                  <a:pt x="0" y="13"/>
                  <a:pt x="2" y="28"/>
                  <a:pt x="13" y="38"/>
                </a:cubicBezTo>
                <a:cubicBezTo>
                  <a:pt x="21" y="45"/>
                  <a:pt x="33" y="50"/>
                  <a:pt x="42" y="50"/>
                </a:cubicBezTo>
                <a:cubicBezTo>
                  <a:pt x="47" y="50"/>
                  <a:pt x="51" y="49"/>
                  <a:pt x="54" y="47"/>
                </a:cubicBezTo>
                <a:cubicBezTo>
                  <a:pt x="62" y="38"/>
                  <a:pt x="56" y="19"/>
                  <a:pt x="45" y="9"/>
                </a:cubicBezTo>
                <a:cubicBezTo>
                  <a:pt x="38" y="3"/>
                  <a:pt x="30" y="0"/>
                  <a:pt x="23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5" name="Freeform 22"/>
          <p:cNvSpPr>
            <a:spLocks/>
          </p:cNvSpPr>
          <p:nvPr/>
        </p:nvSpPr>
        <p:spPr bwMode="auto">
          <a:xfrm>
            <a:off x="6582834" y="1642534"/>
            <a:ext cx="198967" cy="165100"/>
          </a:xfrm>
          <a:custGeom>
            <a:avLst/>
            <a:gdLst>
              <a:gd name="T0" fmla="*/ 337004314 w 66"/>
              <a:gd name="T1" fmla="*/ 282850696 h 54"/>
              <a:gd name="T2" fmla="*/ 337004314 w 66"/>
              <a:gd name="T3" fmla="*/ 62854946 h 54"/>
              <a:gd name="T4" fmla="*/ 275731624 w 66"/>
              <a:gd name="T5" fmla="*/ 0 h 54"/>
              <a:gd name="T6" fmla="*/ 0 w 66"/>
              <a:gd name="T7" fmla="*/ 0 h 54"/>
              <a:gd name="T8" fmla="*/ 0 w 66"/>
              <a:gd name="T9" fmla="*/ 282850696 h 54"/>
              <a:gd name="T10" fmla="*/ 337004314 w 66"/>
              <a:gd name="T11" fmla="*/ 282850696 h 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6" h="54">
                <a:moveTo>
                  <a:pt x="66" y="54"/>
                </a:moveTo>
                <a:cubicBezTo>
                  <a:pt x="66" y="12"/>
                  <a:pt x="66" y="12"/>
                  <a:pt x="66" y="12"/>
                </a:cubicBezTo>
                <a:cubicBezTo>
                  <a:pt x="66" y="6"/>
                  <a:pt x="61" y="0"/>
                  <a:pt x="5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4"/>
                  <a:pt x="0" y="54"/>
                  <a:pt x="0" y="54"/>
                </a:cubicBezTo>
                <a:lnTo>
                  <a:pt x="66" y="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6" name="Freeform 23"/>
          <p:cNvSpPr>
            <a:spLocks/>
          </p:cNvSpPr>
          <p:nvPr/>
        </p:nvSpPr>
        <p:spPr bwMode="auto">
          <a:xfrm>
            <a:off x="6582834" y="1841501"/>
            <a:ext cx="198967" cy="165100"/>
          </a:xfrm>
          <a:custGeom>
            <a:avLst/>
            <a:gdLst>
              <a:gd name="T0" fmla="*/ 0 w 66"/>
              <a:gd name="T1" fmla="*/ 0 h 54"/>
              <a:gd name="T2" fmla="*/ 0 w 66"/>
              <a:gd name="T3" fmla="*/ 282850696 h 54"/>
              <a:gd name="T4" fmla="*/ 275731624 w 66"/>
              <a:gd name="T5" fmla="*/ 282850696 h 54"/>
              <a:gd name="T6" fmla="*/ 337004314 w 66"/>
              <a:gd name="T7" fmla="*/ 219995750 h 54"/>
              <a:gd name="T8" fmla="*/ 337004314 w 66"/>
              <a:gd name="T9" fmla="*/ 0 h 54"/>
              <a:gd name="T10" fmla="*/ 0 w 66"/>
              <a:gd name="T11" fmla="*/ 0 h 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6" h="54">
                <a:moveTo>
                  <a:pt x="0" y="0"/>
                </a:moveTo>
                <a:cubicBezTo>
                  <a:pt x="0" y="54"/>
                  <a:pt x="0" y="54"/>
                  <a:pt x="0" y="54"/>
                </a:cubicBezTo>
                <a:cubicBezTo>
                  <a:pt x="54" y="54"/>
                  <a:pt x="54" y="54"/>
                  <a:pt x="54" y="54"/>
                </a:cubicBezTo>
                <a:cubicBezTo>
                  <a:pt x="61" y="54"/>
                  <a:pt x="66" y="49"/>
                  <a:pt x="66" y="42"/>
                </a:cubicBezTo>
                <a:cubicBezTo>
                  <a:pt x="66" y="0"/>
                  <a:pt x="66" y="0"/>
                  <a:pt x="6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7" name="Freeform 24"/>
          <p:cNvSpPr>
            <a:spLocks/>
          </p:cNvSpPr>
          <p:nvPr/>
        </p:nvSpPr>
        <p:spPr bwMode="auto">
          <a:xfrm>
            <a:off x="6345767" y="1642534"/>
            <a:ext cx="198967" cy="165100"/>
          </a:xfrm>
          <a:custGeom>
            <a:avLst/>
            <a:gdLst>
              <a:gd name="T0" fmla="*/ 337004314 w 66"/>
              <a:gd name="T1" fmla="*/ 282850696 h 54"/>
              <a:gd name="T2" fmla="*/ 337004314 w 66"/>
              <a:gd name="T3" fmla="*/ 0 h 54"/>
              <a:gd name="T4" fmla="*/ 61272689 w 66"/>
              <a:gd name="T5" fmla="*/ 0 h 54"/>
              <a:gd name="T6" fmla="*/ 0 w 66"/>
              <a:gd name="T7" fmla="*/ 62854946 h 54"/>
              <a:gd name="T8" fmla="*/ 0 w 66"/>
              <a:gd name="T9" fmla="*/ 282850696 h 54"/>
              <a:gd name="T10" fmla="*/ 337004314 w 66"/>
              <a:gd name="T11" fmla="*/ 282850696 h 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6" h="54">
                <a:moveTo>
                  <a:pt x="66" y="54"/>
                </a:moveTo>
                <a:cubicBezTo>
                  <a:pt x="66" y="0"/>
                  <a:pt x="66" y="0"/>
                  <a:pt x="66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6"/>
                  <a:pt x="0" y="12"/>
                </a:cubicBezTo>
                <a:cubicBezTo>
                  <a:pt x="0" y="54"/>
                  <a:pt x="0" y="54"/>
                  <a:pt x="0" y="54"/>
                </a:cubicBezTo>
                <a:lnTo>
                  <a:pt x="66" y="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8" name="Freeform 25"/>
          <p:cNvSpPr>
            <a:spLocks/>
          </p:cNvSpPr>
          <p:nvPr/>
        </p:nvSpPr>
        <p:spPr bwMode="auto">
          <a:xfrm>
            <a:off x="6345767" y="1841501"/>
            <a:ext cx="198967" cy="165100"/>
          </a:xfrm>
          <a:custGeom>
            <a:avLst/>
            <a:gdLst>
              <a:gd name="T0" fmla="*/ 0 w 66"/>
              <a:gd name="T1" fmla="*/ 0 h 54"/>
              <a:gd name="T2" fmla="*/ 0 w 66"/>
              <a:gd name="T3" fmla="*/ 219995750 h 54"/>
              <a:gd name="T4" fmla="*/ 61272689 w 66"/>
              <a:gd name="T5" fmla="*/ 282850696 h 54"/>
              <a:gd name="T6" fmla="*/ 337004314 w 66"/>
              <a:gd name="T7" fmla="*/ 282850696 h 54"/>
              <a:gd name="T8" fmla="*/ 337004314 w 66"/>
              <a:gd name="T9" fmla="*/ 0 h 54"/>
              <a:gd name="T10" fmla="*/ 0 w 66"/>
              <a:gd name="T11" fmla="*/ 0 h 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6" h="54">
                <a:moveTo>
                  <a:pt x="0" y="0"/>
                </a:moveTo>
                <a:cubicBezTo>
                  <a:pt x="0" y="42"/>
                  <a:pt x="0" y="42"/>
                  <a:pt x="0" y="42"/>
                </a:cubicBezTo>
                <a:cubicBezTo>
                  <a:pt x="0" y="49"/>
                  <a:pt x="5" y="54"/>
                  <a:pt x="12" y="54"/>
                </a:cubicBezTo>
                <a:cubicBezTo>
                  <a:pt x="66" y="54"/>
                  <a:pt x="66" y="54"/>
                  <a:pt x="66" y="54"/>
                </a:cubicBezTo>
                <a:cubicBezTo>
                  <a:pt x="66" y="0"/>
                  <a:pt x="66" y="0"/>
                  <a:pt x="6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19" name="Freeform 26"/>
          <p:cNvSpPr>
            <a:spLocks/>
          </p:cNvSpPr>
          <p:nvPr/>
        </p:nvSpPr>
        <p:spPr bwMode="auto">
          <a:xfrm>
            <a:off x="7321551" y="1809752"/>
            <a:ext cx="190500" cy="232833"/>
          </a:xfrm>
          <a:custGeom>
            <a:avLst/>
            <a:gdLst>
              <a:gd name="T0" fmla="*/ 0 w 55"/>
              <a:gd name="T1" fmla="*/ 448747730 h 68"/>
              <a:gd name="T2" fmla="*/ 160220025 w 55"/>
              <a:gd name="T3" fmla="*/ 217775351 h 68"/>
              <a:gd name="T4" fmla="*/ 6676159 w 55"/>
              <a:gd name="T5" fmla="*/ 131985684 h 68"/>
              <a:gd name="T6" fmla="*/ 186922064 w 55"/>
              <a:gd name="T7" fmla="*/ 0 h 68"/>
              <a:gd name="T8" fmla="*/ 186922064 w 55"/>
              <a:gd name="T9" fmla="*/ 0 h 68"/>
              <a:gd name="T10" fmla="*/ 293735414 w 55"/>
              <a:gd name="T11" fmla="*/ 98989263 h 68"/>
              <a:gd name="T12" fmla="*/ 213624102 w 55"/>
              <a:gd name="T13" fmla="*/ 131985684 h 68"/>
              <a:gd name="T14" fmla="*/ 367167968 w 55"/>
              <a:gd name="T15" fmla="*/ 217775351 h 68"/>
              <a:gd name="T16" fmla="*/ 0 w 55"/>
              <a:gd name="T17" fmla="*/ 448747730 h 6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5" h="68">
                <a:moveTo>
                  <a:pt x="0" y="68"/>
                </a:moveTo>
                <a:lnTo>
                  <a:pt x="24" y="33"/>
                </a:lnTo>
                <a:lnTo>
                  <a:pt x="1" y="20"/>
                </a:lnTo>
                <a:lnTo>
                  <a:pt x="28" y="0"/>
                </a:lnTo>
                <a:lnTo>
                  <a:pt x="44" y="15"/>
                </a:lnTo>
                <a:lnTo>
                  <a:pt x="32" y="20"/>
                </a:lnTo>
                <a:lnTo>
                  <a:pt x="55" y="33"/>
                </a:lnTo>
                <a:lnTo>
                  <a:pt x="0" y="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0" name="Freeform 27"/>
          <p:cNvSpPr>
            <a:spLocks/>
          </p:cNvSpPr>
          <p:nvPr/>
        </p:nvSpPr>
        <p:spPr bwMode="auto">
          <a:xfrm>
            <a:off x="7205134" y="1570568"/>
            <a:ext cx="436033" cy="283633"/>
          </a:xfrm>
          <a:custGeom>
            <a:avLst/>
            <a:gdLst>
              <a:gd name="T0" fmla="*/ 612513283 w 144"/>
              <a:gd name="T1" fmla="*/ 225938843 h 94"/>
              <a:gd name="T2" fmla="*/ 607367181 w 144"/>
              <a:gd name="T3" fmla="*/ 225938843 h 94"/>
              <a:gd name="T4" fmla="*/ 612513283 w 144"/>
              <a:gd name="T5" fmla="*/ 189995107 h 94"/>
              <a:gd name="T6" fmla="*/ 416920539 w 144"/>
              <a:gd name="T7" fmla="*/ 0 h 94"/>
              <a:gd name="T8" fmla="*/ 231622269 w 144"/>
              <a:gd name="T9" fmla="*/ 138644650 h 94"/>
              <a:gd name="T10" fmla="*/ 175003795 w 144"/>
              <a:gd name="T11" fmla="*/ 128375011 h 94"/>
              <a:gd name="T12" fmla="*/ 0 w 144"/>
              <a:gd name="T13" fmla="*/ 302963398 h 94"/>
              <a:gd name="T14" fmla="*/ 0 w 144"/>
              <a:gd name="T15" fmla="*/ 354313855 h 94"/>
              <a:gd name="T16" fmla="*/ 128679795 w 144"/>
              <a:gd name="T17" fmla="*/ 482688866 h 94"/>
              <a:gd name="T18" fmla="*/ 175003795 w 144"/>
              <a:gd name="T19" fmla="*/ 482688866 h 94"/>
              <a:gd name="T20" fmla="*/ 175003795 w 144"/>
              <a:gd name="T21" fmla="*/ 482688866 h 94"/>
              <a:gd name="T22" fmla="*/ 180152168 w 144"/>
              <a:gd name="T23" fmla="*/ 482688866 h 94"/>
              <a:gd name="T24" fmla="*/ 195592744 w 144"/>
              <a:gd name="T25" fmla="*/ 482688866 h 94"/>
              <a:gd name="T26" fmla="*/ 329418641 w 144"/>
              <a:gd name="T27" fmla="*/ 379990215 h 94"/>
              <a:gd name="T28" fmla="*/ 391185488 w 144"/>
              <a:gd name="T29" fmla="*/ 385125034 h 94"/>
              <a:gd name="T30" fmla="*/ 483833488 w 144"/>
              <a:gd name="T31" fmla="*/ 477554047 h 94"/>
              <a:gd name="T32" fmla="*/ 483833488 w 144"/>
              <a:gd name="T33" fmla="*/ 482688866 h 94"/>
              <a:gd name="T34" fmla="*/ 612513283 w 144"/>
              <a:gd name="T35" fmla="*/ 482688866 h 94"/>
              <a:gd name="T36" fmla="*/ 741193078 w 144"/>
              <a:gd name="T37" fmla="*/ 354313855 h 94"/>
              <a:gd name="T38" fmla="*/ 612513283 w 144"/>
              <a:gd name="T39" fmla="*/ 225938843 h 9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44" h="94">
                <a:moveTo>
                  <a:pt x="119" y="44"/>
                </a:moveTo>
                <a:cubicBezTo>
                  <a:pt x="118" y="44"/>
                  <a:pt x="118" y="44"/>
                  <a:pt x="118" y="44"/>
                </a:cubicBezTo>
                <a:cubicBezTo>
                  <a:pt x="119" y="42"/>
                  <a:pt x="119" y="40"/>
                  <a:pt x="119" y="37"/>
                </a:cubicBezTo>
                <a:cubicBezTo>
                  <a:pt x="119" y="17"/>
                  <a:pt x="102" y="0"/>
                  <a:pt x="81" y="0"/>
                </a:cubicBezTo>
                <a:cubicBezTo>
                  <a:pt x="64" y="0"/>
                  <a:pt x="50" y="11"/>
                  <a:pt x="45" y="27"/>
                </a:cubicBezTo>
                <a:cubicBezTo>
                  <a:pt x="42" y="26"/>
                  <a:pt x="38" y="25"/>
                  <a:pt x="34" y="25"/>
                </a:cubicBezTo>
                <a:cubicBezTo>
                  <a:pt x="15" y="25"/>
                  <a:pt x="0" y="40"/>
                  <a:pt x="0" y="59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82"/>
                  <a:pt x="11" y="94"/>
                  <a:pt x="25" y="94"/>
                </a:cubicBezTo>
                <a:cubicBezTo>
                  <a:pt x="34" y="94"/>
                  <a:pt x="34" y="94"/>
                  <a:pt x="34" y="94"/>
                </a:cubicBezTo>
                <a:cubicBezTo>
                  <a:pt x="34" y="94"/>
                  <a:pt x="34" y="94"/>
                  <a:pt x="34" y="94"/>
                </a:cubicBezTo>
                <a:cubicBezTo>
                  <a:pt x="34" y="94"/>
                  <a:pt x="35" y="94"/>
                  <a:pt x="35" y="94"/>
                </a:cubicBezTo>
                <a:cubicBezTo>
                  <a:pt x="38" y="94"/>
                  <a:pt x="38" y="94"/>
                  <a:pt x="38" y="94"/>
                </a:cubicBezTo>
                <a:cubicBezTo>
                  <a:pt x="64" y="74"/>
                  <a:pt x="64" y="74"/>
                  <a:pt x="64" y="74"/>
                </a:cubicBezTo>
                <a:cubicBezTo>
                  <a:pt x="67" y="71"/>
                  <a:pt x="73" y="72"/>
                  <a:pt x="76" y="75"/>
                </a:cubicBezTo>
                <a:cubicBezTo>
                  <a:pt x="94" y="93"/>
                  <a:pt x="94" y="93"/>
                  <a:pt x="94" y="93"/>
                </a:cubicBezTo>
                <a:cubicBezTo>
                  <a:pt x="94" y="93"/>
                  <a:pt x="94" y="93"/>
                  <a:pt x="94" y="94"/>
                </a:cubicBezTo>
                <a:cubicBezTo>
                  <a:pt x="119" y="94"/>
                  <a:pt x="119" y="94"/>
                  <a:pt x="119" y="94"/>
                </a:cubicBezTo>
                <a:cubicBezTo>
                  <a:pt x="133" y="94"/>
                  <a:pt x="144" y="82"/>
                  <a:pt x="144" y="69"/>
                </a:cubicBezTo>
                <a:cubicBezTo>
                  <a:pt x="144" y="55"/>
                  <a:pt x="133" y="44"/>
                  <a:pt x="119" y="44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1" name="Freeform 28"/>
          <p:cNvSpPr>
            <a:spLocks noEditPoints="1"/>
          </p:cNvSpPr>
          <p:nvPr/>
        </p:nvSpPr>
        <p:spPr bwMode="auto">
          <a:xfrm>
            <a:off x="8066618" y="1564218"/>
            <a:ext cx="438149" cy="433916"/>
          </a:xfrm>
          <a:custGeom>
            <a:avLst/>
            <a:gdLst>
              <a:gd name="T0" fmla="*/ 688102118 w 144"/>
              <a:gd name="T1" fmla="*/ 312446640 h 144"/>
              <a:gd name="T2" fmla="*/ 630759324 w 144"/>
              <a:gd name="T3" fmla="*/ 235614128 h 144"/>
              <a:gd name="T4" fmla="*/ 662036797 w 144"/>
              <a:gd name="T5" fmla="*/ 169028362 h 144"/>
              <a:gd name="T6" fmla="*/ 620335021 w 144"/>
              <a:gd name="T7" fmla="*/ 87074737 h 144"/>
              <a:gd name="T8" fmla="*/ 552567924 w 144"/>
              <a:gd name="T9" fmla="*/ 112684821 h 144"/>
              <a:gd name="T10" fmla="*/ 458735506 w 144"/>
              <a:gd name="T11" fmla="*/ 97319223 h 144"/>
              <a:gd name="T12" fmla="*/ 432670185 w 144"/>
              <a:gd name="T13" fmla="*/ 30733457 h 144"/>
              <a:gd name="T14" fmla="*/ 344052200 w 144"/>
              <a:gd name="T15" fmla="*/ 0 h 144"/>
              <a:gd name="T16" fmla="*/ 317986879 w 144"/>
              <a:gd name="T17" fmla="*/ 61464653 h 144"/>
              <a:gd name="T18" fmla="*/ 239793197 w 144"/>
              <a:gd name="T19" fmla="*/ 117808194 h 144"/>
              <a:gd name="T20" fmla="*/ 172026100 w 144"/>
              <a:gd name="T21" fmla="*/ 87074737 h 144"/>
              <a:gd name="T22" fmla="*/ 88620267 w 144"/>
              <a:gd name="T23" fmla="*/ 128052680 h 144"/>
              <a:gd name="T24" fmla="*/ 114683306 w 144"/>
              <a:gd name="T25" fmla="*/ 194638446 h 144"/>
              <a:gd name="T26" fmla="*/ 99044570 w 144"/>
              <a:gd name="T27" fmla="*/ 286836556 h 144"/>
              <a:gd name="T28" fmla="*/ 31277473 w 144"/>
              <a:gd name="T29" fmla="*/ 312446640 h 144"/>
              <a:gd name="T30" fmla="*/ 0 w 144"/>
              <a:gd name="T31" fmla="*/ 399521377 h 144"/>
              <a:gd name="T32" fmla="*/ 62554945 w 144"/>
              <a:gd name="T33" fmla="*/ 425131461 h 144"/>
              <a:gd name="T34" fmla="*/ 119897739 w 144"/>
              <a:gd name="T35" fmla="*/ 501963973 h 144"/>
              <a:gd name="T36" fmla="*/ 88620267 w 144"/>
              <a:gd name="T37" fmla="*/ 568549739 h 144"/>
              <a:gd name="T38" fmla="*/ 130322042 w 144"/>
              <a:gd name="T39" fmla="*/ 650503363 h 144"/>
              <a:gd name="T40" fmla="*/ 198089139 w 144"/>
              <a:gd name="T41" fmla="*/ 624893280 h 144"/>
              <a:gd name="T42" fmla="*/ 291921557 w 144"/>
              <a:gd name="T43" fmla="*/ 640258878 h 144"/>
              <a:gd name="T44" fmla="*/ 317986879 w 144"/>
              <a:gd name="T45" fmla="*/ 706844644 h 144"/>
              <a:gd name="T46" fmla="*/ 406604863 w 144"/>
              <a:gd name="T47" fmla="*/ 737578101 h 144"/>
              <a:gd name="T48" fmla="*/ 432670185 w 144"/>
              <a:gd name="T49" fmla="*/ 676113447 h 144"/>
              <a:gd name="T50" fmla="*/ 510863866 w 144"/>
              <a:gd name="T51" fmla="*/ 619769907 h 144"/>
              <a:gd name="T52" fmla="*/ 578630963 w 144"/>
              <a:gd name="T53" fmla="*/ 650503363 h 144"/>
              <a:gd name="T54" fmla="*/ 662036797 w 144"/>
              <a:gd name="T55" fmla="*/ 609525421 h 144"/>
              <a:gd name="T56" fmla="*/ 635973757 w 144"/>
              <a:gd name="T57" fmla="*/ 542939655 h 144"/>
              <a:gd name="T58" fmla="*/ 651612494 w 144"/>
              <a:gd name="T59" fmla="*/ 450741545 h 144"/>
              <a:gd name="T60" fmla="*/ 719379591 w 144"/>
              <a:gd name="T61" fmla="*/ 425131461 h 144"/>
              <a:gd name="T62" fmla="*/ 750657063 w 144"/>
              <a:gd name="T63" fmla="*/ 338056724 h 144"/>
              <a:gd name="T64" fmla="*/ 521290451 w 144"/>
              <a:gd name="T65" fmla="*/ 368790180 h 144"/>
              <a:gd name="T66" fmla="*/ 229366612 w 144"/>
              <a:gd name="T67" fmla="*/ 368790180 h 144"/>
              <a:gd name="T68" fmla="*/ 521290451 w 144"/>
              <a:gd name="T69" fmla="*/ 368790180 h 14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44" h="144">
                <a:moveTo>
                  <a:pt x="138" y="61"/>
                </a:moveTo>
                <a:cubicBezTo>
                  <a:pt x="132" y="61"/>
                  <a:pt x="132" y="61"/>
                  <a:pt x="132" y="61"/>
                </a:cubicBezTo>
                <a:cubicBezTo>
                  <a:pt x="129" y="61"/>
                  <a:pt x="126" y="59"/>
                  <a:pt x="125" y="56"/>
                </a:cubicBezTo>
                <a:cubicBezTo>
                  <a:pt x="121" y="46"/>
                  <a:pt x="121" y="46"/>
                  <a:pt x="121" y="46"/>
                </a:cubicBezTo>
                <a:cubicBezTo>
                  <a:pt x="119" y="44"/>
                  <a:pt x="120" y="40"/>
                  <a:pt x="122" y="38"/>
                </a:cubicBezTo>
                <a:cubicBezTo>
                  <a:pt x="127" y="33"/>
                  <a:pt x="127" y="33"/>
                  <a:pt x="127" y="33"/>
                </a:cubicBezTo>
                <a:cubicBezTo>
                  <a:pt x="129" y="31"/>
                  <a:pt x="129" y="27"/>
                  <a:pt x="127" y="25"/>
                </a:cubicBezTo>
                <a:cubicBezTo>
                  <a:pt x="119" y="17"/>
                  <a:pt x="119" y="17"/>
                  <a:pt x="119" y="17"/>
                </a:cubicBezTo>
                <a:cubicBezTo>
                  <a:pt x="117" y="15"/>
                  <a:pt x="113" y="15"/>
                  <a:pt x="111" y="17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04" y="24"/>
                  <a:pt x="100" y="25"/>
                  <a:pt x="98" y="23"/>
                </a:cubicBezTo>
                <a:cubicBezTo>
                  <a:pt x="88" y="19"/>
                  <a:pt x="88" y="19"/>
                  <a:pt x="88" y="19"/>
                </a:cubicBezTo>
                <a:cubicBezTo>
                  <a:pt x="85" y="18"/>
                  <a:pt x="83" y="15"/>
                  <a:pt x="83" y="12"/>
                </a:cubicBezTo>
                <a:cubicBezTo>
                  <a:pt x="83" y="6"/>
                  <a:pt x="83" y="6"/>
                  <a:pt x="83" y="6"/>
                </a:cubicBezTo>
                <a:cubicBezTo>
                  <a:pt x="83" y="2"/>
                  <a:pt x="81" y="0"/>
                  <a:pt x="78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3" y="0"/>
                  <a:pt x="61" y="2"/>
                  <a:pt x="61" y="6"/>
                </a:cubicBezTo>
                <a:cubicBezTo>
                  <a:pt x="61" y="12"/>
                  <a:pt x="61" y="12"/>
                  <a:pt x="61" y="12"/>
                </a:cubicBezTo>
                <a:cubicBezTo>
                  <a:pt x="61" y="15"/>
                  <a:pt x="59" y="18"/>
                  <a:pt x="56" y="19"/>
                </a:cubicBezTo>
                <a:cubicBezTo>
                  <a:pt x="46" y="23"/>
                  <a:pt x="46" y="23"/>
                  <a:pt x="46" y="23"/>
                </a:cubicBezTo>
                <a:cubicBezTo>
                  <a:pt x="44" y="25"/>
                  <a:pt x="40" y="24"/>
                  <a:pt x="38" y="22"/>
                </a:cubicBezTo>
                <a:cubicBezTo>
                  <a:pt x="33" y="17"/>
                  <a:pt x="33" y="17"/>
                  <a:pt x="33" y="17"/>
                </a:cubicBezTo>
                <a:cubicBezTo>
                  <a:pt x="31" y="15"/>
                  <a:pt x="27" y="15"/>
                  <a:pt x="25" y="17"/>
                </a:cubicBezTo>
                <a:cubicBezTo>
                  <a:pt x="17" y="25"/>
                  <a:pt x="17" y="25"/>
                  <a:pt x="17" y="25"/>
                </a:cubicBezTo>
                <a:cubicBezTo>
                  <a:pt x="15" y="27"/>
                  <a:pt x="15" y="31"/>
                  <a:pt x="17" y="33"/>
                </a:cubicBezTo>
                <a:cubicBezTo>
                  <a:pt x="22" y="38"/>
                  <a:pt x="22" y="38"/>
                  <a:pt x="22" y="38"/>
                </a:cubicBezTo>
                <a:cubicBezTo>
                  <a:pt x="24" y="40"/>
                  <a:pt x="25" y="44"/>
                  <a:pt x="23" y="46"/>
                </a:cubicBezTo>
                <a:cubicBezTo>
                  <a:pt x="19" y="56"/>
                  <a:pt x="19" y="56"/>
                  <a:pt x="19" y="56"/>
                </a:cubicBezTo>
                <a:cubicBezTo>
                  <a:pt x="18" y="59"/>
                  <a:pt x="15" y="61"/>
                  <a:pt x="12" y="61"/>
                </a:cubicBezTo>
                <a:cubicBezTo>
                  <a:pt x="6" y="61"/>
                  <a:pt x="6" y="61"/>
                  <a:pt x="6" y="61"/>
                </a:cubicBezTo>
                <a:cubicBezTo>
                  <a:pt x="2" y="61"/>
                  <a:pt x="0" y="63"/>
                  <a:pt x="0" y="66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81"/>
                  <a:pt x="2" y="83"/>
                  <a:pt x="6" y="83"/>
                </a:cubicBezTo>
                <a:cubicBezTo>
                  <a:pt x="12" y="83"/>
                  <a:pt x="12" y="83"/>
                  <a:pt x="12" y="83"/>
                </a:cubicBezTo>
                <a:cubicBezTo>
                  <a:pt x="15" y="83"/>
                  <a:pt x="18" y="85"/>
                  <a:pt x="19" y="88"/>
                </a:cubicBezTo>
                <a:cubicBezTo>
                  <a:pt x="23" y="98"/>
                  <a:pt x="23" y="98"/>
                  <a:pt x="23" y="98"/>
                </a:cubicBezTo>
                <a:cubicBezTo>
                  <a:pt x="25" y="100"/>
                  <a:pt x="24" y="104"/>
                  <a:pt x="22" y="106"/>
                </a:cubicBezTo>
                <a:cubicBezTo>
                  <a:pt x="17" y="111"/>
                  <a:pt x="17" y="111"/>
                  <a:pt x="17" y="111"/>
                </a:cubicBezTo>
                <a:cubicBezTo>
                  <a:pt x="15" y="113"/>
                  <a:pt x="15" y="117"/>
                  <a:pt x="17" y="119"/>
                </a:cubicBezTo>
                <a:cubicBezTo>
                  <a:pt x="25" y="127"/>
                  <a:pt x="25" y="127"/>
                  <a:pt x="25" y="127"/>
                </a:cubicBezTo>
                <a:cubicBezTo>
                  <a:pt x="27" y="129"/>
                  <a:pt x="31" y="129"/>
                  <a:pt x="33" y="127"/>
                </a:cubicBezTo>
                <a:cubicBezTo>
                  <a:pt x="38" y="122"/>
                  <a:pt x="38" y="122"/>
                  <a:pt x="38" y="122"/>
                </a:cubicBezTo>
                <a:cubicBezTo>
                  <a:pt x="40" y="120"/>
                  <a:pt x="44" y="119"/>
                  <a:pt x="46" y="121"/>
                </a:cubicBezTo>
                <a:cubicBezTo>
                  <a:pt x="56" y="125"/>
                  <a:pt x="56" y="125"/>
                  <a:pt x="56" y="125"/>
                </a:cubicBezTo>
                <a:cubicBezTo>
                  <a:pt x="59" y="126"/>
                  <a:pt x="61" y="129"/>
                  <a:pt x="61" y="132"/>
                </a:cubicBezTo>
                <a:cubicBezTo>
                  <a:pt x="61" y="138"/>
                  <a:pt x="61" y="138"/>
                  <a:pt x="61" y="138"/>
                </a:cubicBezTo>
                <a:cubicBezTo>
                  <a:pt x="61" y="142"/>
                  <a:pt x="63" y="144"/>
                  <a:pt x="66" y="144"/>
                </a:cubicBezTo>
                <a:cubicBezTo>
                  <a:pt x="78" y="144"/>
                  <a:pt x="78" y="144"/>
                  <a:pt x="78" y="144"/>
                </a:cubicBezTo>
                <a:cubicBezTo>
                  <a:pt x="81" y="144"/>
                  <a:pt x="83" y="142"/>
                  <a:pt x="83" y="138"/>
                </a:cubicBezTo>
                <a:cubicBezTo>
                  <a:pt x="83" y="132"/>
                  <a:pt x="83" y="132"/>
                  <a:pt x="83" y="132"/>
                </a:cubicBezTo>
                <a:cubicBezTo>
                  <a:pt x="83" y="129"/>
                  <a:pt x="85" y="126"/>
                  <a:pt x="88" y="125"/>
                </a:cubicBezTo>
                <a:cubicBezTo>
                  <a:pt x="98" y="121"/>
                  <a:pt x="98" y="121"/>
                  <a:pt x="98" y="121"/>
                </a:cubicBezTo>
                <a:cubicBezTo>
                  <a:pt x="100" y="119"/>
                  <a:pt x="104" y="120"/>
                  <a:pt x="106" y="122"/>
                </a:cubicBezTo>
                <a:cubicBezTo>
                  <a:pt x="111" y="127"/>
                  <a:pt x="111" y="127"/>
                  <a:pt x="111" y="127"/>
                </a:cubicBezTo>
                <a:cubicBezTo>
                  <a:pt x="113" y="129"/>
                  <a:pt x="117" y="129"/>
                  <a:pt x="119" y="127"/>
                </a:cubicBezTo>
                <a:cubicBezTo>
                  <a:pt x="127" y="119"/>
                  <a:pt x="127" y="119"/>
                  <a:pt x="127" y="119"/>
                </a:cubicBezTo>
                <a:cubicBezTo>
                  <a:pt x="129" y="117"/>
                  <a:pt x="129" y="113"/>
                  <a:pt x="127" y="111"/>
                </a:cubicBezTo>
                <a:cubicBezTo>
                  <a:pt x="122" y="106"/>
                  <a:pt x="122" y="106"/>
                  <a:pt x="122" y="106"/>
                </a:cubicBezTo>
                <a:cubicBezTo>
                  <a:pt x="120" y="104"/>
                  <a:pt x="119" y="100"/>
                  <a:pt x="121" y="98"/>
                </a:cubicBezTo>
                <a:cubicBezTo>
                  <a:pt x="125" y="88"/>
                  <a:pt x="125" y="88"/>
                  <a:pt x="125" y="88"/>
                </a:cubicBezTo>
                <a:cubicBezTo>
                  <a:pt x="126" y="85"/>
                  <a:pt x="129" y="83"/>
                  <a:pt x="132" y="83"/>
                </a:cubicBezTo>
                <a:cubicBezTo>
                  <a:pt x="138" y="83"/>
                  <a:pt x="138" y="83"/>
                  <a:pt x="138" y="83"/>
                </a:cubicBezTo>
                <a:cubicBezTo>
                  <a:pt x="142" y="83"/>
                  <a:pt x="144" y="81"/>
                  <a:pt x="144" y="78"/>
                </a:cubicBezTo>
                <a:cubicBezTo>
                  <a:pt x="144" y="66"/>
                  <a:pt x="144" y="66"/>
                  <a:pt x="144" y="66"/>
                </a:cubicBezTo>
                <a:cubicBezTo>
                  <a:pt x="144" y="63"/>
                  <a:pt x="142" y="61"/>
                  <a:pt x="138" y="61"/>
                </a:cubicBezTo>
                <a:moveTo>
                  <a:pt x="100" y="72"/>
                </a:moveTo>
                <a:cubicBezTo>
                  <a:pt x="100" y="87"/>
                  <a:pt x="87" y="100"/>
                  <a:pt x="72" y="100"/>
                </a:cubicBezTo>
                <a:cubicBezTo>
                  <a:pt x="57" y="100"/>
                  <a:pt x="44" y="87"/>
                  <a:pt x="44" y="72"/>
                </a:cubicBezTo>
                <a:cubicBezTo>
                  <a:pt x="44" y="57"/>
                  <a:pt x="57" y="44"/>
                  <a:pt x="72" y="44"/>
                </a:cubicBezTo>
                <a:cubicBezTo>
                  <a:pt x="87" y="44"/>
                  <a:pt x="100" y="57"/>
                  <a:pt x="100" y="7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2" name="Freeform 29"/>
          <p:cNvSpPr>
            <a:spLocks noEditPoints="1"/>
          </p:cNvSpPr>
          <p:nvPr/>
        </p:nvSpPr>
        <p:spPr bwMode="auto">
          <a:xfrm>
            <a:off x="8936567" y="1538817"/>
            <a:ext cx="364067" cy="364067"/>
          </a:xfrm>
          <a:custGeom>
            <a:avLst/>
            <a:gdLst>
              <a:gd name="T0" fmla="*/ 588843702 w 120"/>
              <a:gd name="T1" fmla="*/ 361561433 h 120"/>
              <a:gd name="T2" fmla="*/ 619834877 w 120"/>
              <a:gd name="T3" fmla="*/ 330570258 h 120"/>
              <a:gd name="T4" fmla="*/ 619834877 w 120"/>
              <a:gd name="T5" fmla="*/ 289250967 h 120"/>
              <a:gd name="T6" fmla="*/ 588843702 w 120"/>
              <a:gd name="T7" fmla="*/ 258259792 h 120"/>
              <a:gd name="T8" fmla="*/ 568182919 w 120"/>
              <a:gd name="T9" fmla="*/ 258259792 h 120"/>
              <a:gd name="T10" fmla="*/ 526859077 w 120"/>
              <a:gd name="T11" fmla="*/ 232433812 h 120"/>
              <a:gd name="T12" fmla="*/ 526859077 w 120"/>
              <a:gd name="T13" fmla="*/ 165286267 h 120"/>
              <a:gd name="T14" fmla="*/ 542354664 w 120"/>
              <a:gd name="T15" fmla="*/ 149790679 h 120"/>
              <a:gd name="T16" fmla="*/ 542354664 w 120"/>
              <a:gd name="T17" fmla="*/ 103303917 h 120"/>
              <a:gd name="T18" fmla="*/ 516528685 w 120"/>
              <a:gd name="T19" fmla="*/ 77477938 h 120"/>
              <a:gd name="T20" fmla="*/ 470041922 w 120"/>
              <a:gd name="T21" fmla="*/ 77477938 h 120"/>
              <a:gd name="T22" fmla="*/ 454546335 w 120"/>
              <a:gd name="T23" fmla="*/ 92973525 h 120"/>
              <a:gd name="T24" fmla="*/ 408057297 w 120"/>
              <a:gd name="T25" fmla="*/ 103303917 h 120"/>
              <a:gd name="T26" fmla="*/ 361570535 w 120"/>
              <a:gd name="T27" fmla="*/ 51651958 h 120"/>
              <a:gd name="T28" fmla="*/ 361570535 w 120"/>
              <a:gd name="T29" fmla="*/ 30991175 h 120"/>
              <a:gd name="T30" fmla="*/ 330579360 w 120"/>
              <a:gd name="T31" fmla="*/ 0 h 120"/>
              <a:gd name="T32" fmla="*/ 289255518 w 120"/>
              <a:gd name="T33" fmla="*/ 0 h 120"/>
              <a:gd name="T34" fmla="*/ 258264342 w 120"/>
              <a:gd name="T35" fmla="*/ 30991175 h 120"/>
              <a:gd name="T36" fmla="*/ 258264342 w 120"/>
              <a:gd name="T37" fmla="*/ 51651958 h 120"/>
              <a:gd name="T38" fmla="*/ 232438363 w 120"/>
              <a:gd name="T39" fmla="*/ 92973525 h 120"/>
              <a:gd name="T40" fmla="*/ 165288542 w 120"/>
              <a:gd name="T41" fmla="*/ 92973525 h 120"/>
              <a:gd name="T42" fmla="*/ 149792955 w 120"/>
              <a:gd name="T43" fmla="*/ 77477938 h 120"/>
              <a:gd name="T44" fmla="*/ 103306192 w 120"/>
              <a:gd name="T45" fmla="*/ 77477938 h 120"/>
              <a:gd name="T46" fmla="*/ 77480213 w 120"/>
              <a:gd name="T47" fmla="*/ 103303917 h 120"/>
              <a:gd name="T48" fmla="*/ 77480213 w 120"/>
              <a:gd name="T49" fmla="*/ 149790679 h 120"/>
              <a:gd name="T50" fmla="*/ 92975800 w 120"/>
              <a:gd name="T51" fmla="*/ 165286267 h 120"/>
              <a:gd name="T52" fmla="*/ 103306192 w 120"/>
              <a:gd name="T53" fmla="*/ 211773029 h 120"/>
              <a:gd name="T54" fmla="*/ 51651958 w 120"/>
              <a:gd name="T55" fmla="*/ 258259792 h 120"/>
              <a:gd name="T56" fmla="*/ 30991175 w 120"/>
              <a:gd name="T57" fmla="*/ 258259792 h 120"/>
              <a:gd name="T58" fmla="*/ 0 w 120"/>
              <a:gd name="T59" fmla="*/ 289250967 h 120"/>
              <a:gd name="T60" fmla="*/ 0 w 120"/>
              <a:gd name="T61" fmla="*/ 330570258 h 120"/>
              <a:gd name="T62" fmla="*/ 30991175 w 120"/>
              <a:gd name="T63" fmla="*/ 361561433 h 120"/>
              <a:gd name="T64" fmla="*/ 51651958 w 120"/>
              <a:gd name="T65" fmla="*/ 361561433 h 120"/>
              <a:gd name="T66" fmla="*/ 92975800 w 120"/>
              <a:gd name="T67" fmla="*/ 387387412 h 120"/>
              <a:gd name="T68" fmla="*/ 92975800 w 120"/>
              <a:gd name="T69" fmla="*/ 454534958 h 120"/>
              <a:gd name="T70" fmla="*/ 77480213 w 120"/>
              <a:gd name="T71" fmla="*/ 470030545 h 120"/>
              <a:gd name="T72" fmla="*/ 77480213 w 120"/>
              <a:gd name="T73" fmla="*/ 516517308 h 120"/>
              <a:gd name="T74" fmla="*/ 103306192 w 120"/>
              <a:gd name="T75" fmla="*/ 542343287 h 120"/>
              <a:gd name="T76" fmla="*/ 149792955 w 120"/>
              <a:gd name="T77" fmla="*/ 542343287 h 120"/>
              <a:gd name="T78" fmla="*/ 165288542 w 120"/>
              <a:gd name="T79" fmla="*/ 526847700 h 120"/>
              <a:gd name="T80" fmla="*/ 211777580 w 120"/>
              <a:gd name="T81" fmla="*/ 516517308 h 120"/>
              <a:gd name="T82" fmla="*/ 258264342 w 120"/>
              <a:gd name="T83" fmla="*/ 568169266 h 120"/>
              <a:gd name="T84" fmla="*/ 258264342 w 120"/>
              <a:gd name="T85" fmla="*/ 588830050 h 120"/>
              <a:gd name="T86" fmla="*/ 289255518 w 120"/>
              <a:gd name="T87" fmla="*/ 619821225 h 120"/>
              <a:gd name="T88" fmla="*/ 330579360 w 120"/>
              <a:gd name="T89" fmla="*/ 619821225 h 120"/>
              <a:gd name="T90" fmla="*/ 361570535 w 120"/>
              <a:gd name="T91" fmla="*/ 588830050 h 120"/>
              <a:gd name="T92" fmla="*/ 361570535 w 120"/>
              <a:gd name="T93" fmla="*/ 568169266 h 120"/>
              <a:gd name="T94" fmla="*/ 387396514 w 120"/>
              <a:gd name="T95" fmla="*/ 526847700 h 120"/>
              <a:gd name="T96" fmla="*/ 454546335 w 120"/>
              <a:gd name="T97" fmla="*/ 526847700 h 120"/>
              <a:gd name="T98" fmla="*/ 470041922 w 120"/>
              <a:gd name="T99" fmla="*/ 542343287 h 120"/>
              <a:gd name="T100" fmla="*/ 516528685 w 120"/>
              <a:gd name="T101" fmla="*/ 542343287 h 120"/>
              <a:gd name="T102" fmla="*/ 542354664 w 120"/>
              <a:gd name="T103" fmla="*/ 516517308 h 120"/>
              <a:gd name="T104" fmla="*/ 542354664 w 120"/>
              <a:gd name="T105" fmla="*/ 470030545 h 120"/>
              <a:gd name="T106" fmla="*/ 526859077 w 120"/>
              <a:gd name="T107" fmla="*/ 454534958 h 120"/>
              <a:gd name="T108" fmla="*/ 516528685 w 120"/>
              <a:gd name="T109" fmla="*/ 408048195 h 120"/>
              <a:gd name="T110" fmla="*/ 568182919 w 120"/>
              <a:gd name="T111" fmla="*/ 361561433 h 120"/>
              <a:gd name="T112" fmla="*/ 588843702 w 120"/>
              <a:gd name="T113" fmla="*/ 361561433 h 120"/>
              <a:gd name="T114" fmla="*/ 309918576 w 120"/>
              <a:gd name="T115" fmla="*/ 444204566 h 120"/>
              <a:gd name="T116" fmla="*/ 175618934 w 120"/>
              <a:gd name="T117" fmla="*/ 309911750 h 120"/>
              <a:gd name="T118" fmla="*/ 309918576 w 120"/>
              <a:gd name="T119" fmla="*/ 175616658 h 120"/>
              <a:gd name="T120" fmla="*/ 444215943 w 120"/>
              <a:gd name="T121" fmla="*/ 309911750 h 120"/>
              <a:gd name="T122" fmla="*/ 309918576 w 120"/>
              <a:gd name="T123" fmla="*/ 444204566 h 1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20" h="120">
                <a:moveTo>
                  <a:pt x="114" y="70"/>
                </a:moveTo>
                <a:cubicBezTo>
                  <a:pt x="117" y="70"/>
                  <a:pt x="120" y="67"/>
                  <a:pt x="120" y="64"/>
                </a:cubicBezTo>
                <a:cubicBezTo>
                  <a:pt x="120" y="56"/>
                  <a:pt x="120" y="56"/>
                  <a:pt x="120" y="56"/>
                </a:cubicBezTo>
                <a:cubicBezTo>
                  <a:pt x="120" y="53"/>
                  <a:pt x="117" y="50"/>
                  <a:pt x="114" y="50"/>
                </a:cubicBezTo>
                <a:cubicBezTo>
                  <a:pt x="110" y="50"/>
                  <a:pt x="110" y="50"/>
                  <a:pt x="110" y="50"/>
                </a:cubicBezTo>
                <a:cubicBezTo>
                  <a:pt x="107" y="50"/>
                  <a:pt x="103" y="48"/>
                  <a:pt x="102" y="45"/>
                </a:cubicBezTo>
                <a:cubicBezTo>
                  <a:pt x="101" y="42"/>
                  <a:pt x="100" y="34"/>
                  <a:pt x="102" y="32"/>
                </a:cubicBezTo>
                <a:cubicBezTo>
                  <a:pt x="105" y="29"/>
                  <a:pt x="105" y="29"/>
                  <a:pt x="105" y="29"/>
                </a:cubicBezTo>
                <a:cubicBezTo>
                  <a:pt x="108" y="27"/>
                  <a:pt x="108" y="23"/>
                  <a:pt x="105" y="20"/>
                </a:cubicBezTo>
                <a:cubicBezTo>
                  <a:pt x="100" y="15"/>
                  <a:pt x="100" y="15"/>
                  <a:pt x="100" y="15"/>
                </a:cubicBezTo>
                <a:cubicBezTo>
                  <a:pt x="97" y="12"/>
                  <a:pt x="93" y="12"/>
                  <a:pt x="91" y="15"/>
                </a:cubicBezTo>
                <a:cubicBezTo>
                  <a:pt x="88" y="18"/>
                  <a:pt x="88" y="18"/>
                  <a:pt x="88" y="18"/>
                </a:cubicBezTo>
                <a:cubicBezTo>
                  <a:pt x="86" y="20"/>
                  <a:pt x="82" y="21"/>
                  <a:pt x="79" y="20"/>
                </a:cubicBezTo>
                <a:cubicBezTo>
                  <a:pt x="77" y="18"/>
                  <a:pt x="70" y="13"/>
                  <a:pt x="70" y="10"/>
                </a:cubicBezTo>
                <a:cubicBezTo>
                  <a:pt x="70" y="6"/>
                  <a:pt x="70" y="6"/>
                  <a:pt x="70" y="6"/>
                </a:cubicBezTo>
                <a:cubicBezTo>
                  <a:pt x="70" y="3"/>
                  <a:pt x="67" y="0"/>
                  <a:pt x="64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3" y="0"/>
                  <a:pt x="50" y="3"/>
                  <a:pt x="50" y="6"/>
                </a:cubicBezTo>
                <a:cubicBezTo>
                  <a:pt x="50" y="10"/>
                  <a:pt x="50" y="10"/>
                  <a:pt x="50" y="10"/>
                </a:cubicBezTo>
                <a:cubicBezTo>
                  <a:pt x="50" y="13"/>
                  <a:pt x="48" y="17"/>
                  <a:pt x="45" y="18"/>
                </a:cubicBezTo>
                <a:cubicBezTo>
                  <a:pt x="42" y="19"/>
                  <a:pt x="34" y="20"/>
                  <a:pt x="32" y="18"/>
                </a:cubicBezTo>
                <a:cubicBezTo>
                  <a:pt x="29" y="15"/>
                  <a:pt x="29" y="15"/>
                  <a:pt x="29" y="15"/>
                </a:cubicBezTo>
                <a:cubicBezTo>
                  <a:pt x="27" y="12"/>
                  <a:pt x="23" y="12"/>
                  <a:pt x="20" y="15"/>
                </a:cubicBezTo>
                <a:cubicBezTo>
                  <a:pt x="15" y="20"/>
                  <a:pt x="15" y="20"/>
                  <a:pt x="15" y="20"/>
                </a:cubicBezTo>
                <a:cubicBezTo>
                  <a:pt x="12" y="23"/>
                  <a:pt x="12" y="27"/>
                  <a:pt x="15" y="29"/>
                </a:cubicBezTo>
                <a:cubicBezTo>
                  <a:pt x="18" y="32"/>
                  <a:pt x="18" y="32"/>
                  <a:pt x="18" y="32"/>
                </a:cubicBezTo>
                <a:cubicBezTo>
                  <a:pt x="20" y="34"/>
                  <a:pt x="21" y="38"/>
                  <a:pt x="20" y="41"/>
                </a:cubicBezTo>
                <a:cubicBezTo>
                  <a:pt x="18" y="43"/>
                  <a:pt x="13" y="50"/>
                  <a:pt x="10" y="50"/>
                </a:cubicBezTo>
                <a:cubicBezTo>
                  <a:pt x="6" y="50"/>
                  <a:pt x="6" y="50"/>
                  <a:pt x="6" y="50"/>
                </a:cubicBezTo>
                <a:cubicBezTo>
                  <a:pt x="3" y="50"/>
                  <a:pt x="0" y="53"/>
                  <a:pt x="0" y="56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7"/>
                  <a:pt x="3" y="70"/>
                  <a:pt x="6" y="70"/>
                </a:cubicBezTo>
                <a:cubicBezTo>
                  <a:pt x="10" y="70"/>
                  <a:pt x="10" y="70"/>
                  <a:pt x="10" y="70"/>
                </a:cubicBezTo>
                <a:cubicBezTo>
                  <a:pt x="13" y="70"/>
                  <a:pt x="17" y="72"/>
                  <a:pt x="18" y="75"/>
                </a:cubicBezTo>
                <a:cubicBezTo>
                  <a:pt x="19" y="78"/>
                  <a:pt x="20" y="86"/>
                  <a:pt x="18" y="88"/>
                </a:cubicBezTo>
                <a:cubicBezTo>
                  <a:pt x="15" y="91"/>
                  <a:pt x="15" y="91"/>
                  <a:pt x="15" y="91"/>
                </a:cubicBezTo>
                <a:cubicBezTo>
                  <a:pt x="12" y="93"/>
                  <a:pt x="12" y="97"/>
                  <a:pt x="15" y="100"/>
                </a:cubicBezTo>
                <a:cubicBezTo>
                  <a:pt x="20" y="105"/>
                  <a:pt x="20" y="105"/>
                  <a:pt x="20" y="105"/>
                </a:cubicBezTo>
                <a:cubicBezTo>
                  <a:pt x="23" y="108"/>
                  <a:pt x="27" y="108"/>
                  <a:pt x="29" y="105"/>
                </a:cubicBezTo>
                <a:cubicBezTo>
                  <a:pt x="32" y="102"/>
                  <a:pt x="32" y="102"/>
                  <a:pt x="32" y="102"/>
                </a:cubicBezTo>
                <a:cubicBezTo>
                  <a:pt x="34" y="100"/>
                  <a:pt x="38" y="99"/>
                  <a:pt x="41" y="100"/>
                </a:cubicBezTo>
                <a:cubicBezTo>
                  <a:pt x="43" y="102"/>
                  <a:pt x="50" y="107"/>
                  <a:pt x="50" y="110"/>
                </a:cubicBezTo>
                <a:cubicBezTo>
                  <a:pt x="50" y="114"/>
                  <a:pt x="50" y="114"/>
                  <a:pt x="50" y="114"/>
                </a:cubicBezTo>
                <a:cubicBezTo>
                  <a:pt x="50" y="117"/>
                  <a:pt x="53" y="120"/>
                  <a:pt x="56" y="120"/>
                </a:cubicBezTo>
                <a:cubicBezTo>
                  <a:pt x="64" y="120"/>
                  <a:pt x="64" y="120"/>
                  <a:pt x="64" y="120"/>
                </a:cubicBezTo>
                <a:cubicBezTo>
                  <a:pt x="67" y="120"/>
                  <a:pt x="70" y="117"/>
                  <a:pt x="70" y="114"/>
                </a:cubicBezTo>
                <a:cubicBezTo>
                  <a:pt x="70" y="110"/>
                  <a:pt x="70" y="110"/>
                  <a:pt x="70" y="110"/>
                </a:cubicBezTo>
                <a:cubicBezTo>
                  <a:pt x="70" y="107"/>
                  <a:pt x="72" y="103"/>
                  <a:pt x="75" y="102"/>
                </a:cubicBezTo>
                <a:cubicBezTo>
                  <a:pt x="78" y="101"/>
                  <a:pt x="86" y="100"/>
                  <a:pt x="88" y="102"/>
                </a:cubicBezTo>
                <a:cubicBezTo>
                  <a:pt x="91" y="105"/>
                  <a:pt x="91" y="105"/>
                  <a:pt x="91" y="105"/>
                </a:cubicBezTo>
                <a:cubicBezTo>
                  <a:pt x="93" y="108"/>
                  <a:pt x="97" y="108"/>
                  <a:pt x="100" y="105"/>
                </a:cubicBezTo>
                <a:cubicBezTo>
                  <a:pt x="105" y="100"/>
                  <a:pt x="105" y="100"/>
                  <a:pt x="105" y="100"/>
                </a:cubicBezTo>
                <a:cubicBezTo>
                  <a:pt x="108" y="97"/>
                  <a:pt x="108" y="93"/>
                  <a:pt x="105" y="91"/>
                </a:cubicBezTo>
                <a:cubicBezTo>
                  <a:pt x="102" y="88"/>
                  <a:pt x="102" y="88"/>
                  <a:pt x="102" y="88"/>
                </a:cubicBezTo>
                <a:cubicBezTo>
                  <a:pt x="100" y="86"/>
                  <a:pt x="99" y="82"/>
                  <a:pt x="100" y="79"/>
                </a:cubicBezTo>
                <a:cubicBezTo>
                  <a:pt x="102" y="77"/>
                  <a:pt x="107" y="70"/>
                  <a:pt x="110" y="70"/>
                </a:cubicBezTo>
                <a:lnTo>
                  <a:pt x="114" y="70"/>
                </a:lnTo>
                <a:close/>
                <a:moveTo>
                  <a:pt x="60" y="86"/>
                </a:moveTo>
                <a:cubicBezTo>
                  <a:pt x="46" y="86"/>
                  <a:pt x="34" y="74"/>
                  <a:pt x="34" y="60"/>
                </a:cubicBezTo>
                <a:cubicBezTo>
                  <a:pt x="34" y="46"/>
                  <a:pt x="46" y="34"/>
                  <a:pt x="60" y="34"/>
                </a:cubicBezTo>
                <a:cubicBezTo>
                  <a:pt x="74" y="34"/>
                  <a:pt x="86" y="46"/>
                  <a:pt x="86" y="60"/>
                </a:cubicBezTo>
                <a:cubicBezTo>
                  <a:pt x="86" y="74"/>
                  <a:pt x="74" y="86"/>
                  <a:pt x="60" y="86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3" name="Freeform 30"/>
          <p:cNvSpPr>
            <a:spLocks noEditPoints="1"/>
          </p:cNvSpPr>
          <p:nvPr/>
        </p:nvSpPr>
        <p:spPr bwMode="auto">
          <a:xfrm>
            <a:off x="9228667" y="1864784"/>
            <a:ext cx="179917" cy="186267"/>
          </a:xfrm>
          <a:custGeom>
            <a:avLst/>
            <a:gdLst>
              <a:gd name="T0" fmla="*/ 290998295 w 60"/>
              <a:gd name="T1" fmla="*/ 188478583 h 60"/>
              <a:gd name="T2" fmla="*/ 306313758 w 60"/>
              <a:gd name="T3" fmla="*/ 172322278 h 60"/>
              <a:gd name="T4" fmla="*/ 306313758 w 60"/>
              <a:gd name="T5" fmla="*/ 150782867 h 60"/>
              <a:gd name="T6" fmla="*/ 290998295 w 60"/>
              <a:gd name="T7" fmla="*/ 134626562 h 60"/>
              <a:gd name="T8" fmla="*/ 280787986 w 60"/>
              <a:gd name="T9" fmla="*/ 134626562 h 60"/>
              <a:gd name="T10" fmla="*/ 260367369 w 60"/>
              <a:gd name="T11" fmla="*/ 123858020 h 60"/>
              <a:gd name="T12" fmla="*/ 260367369 w 60"/>
              <a:gd name="T13" fmla="*/ 86162303 h 60"/>
              <a:gd name="T14" fmla="*/ 270577678 w 60"/>
              <a:gd name="T15" fmla="*/ 75391433 h 60"/>
              <a:gd name="T16" fmla="*/ 270577678 w 60"/>
              <a:gd name="T17" fmla="*/ 53852022 h 60"/>
              <a:gd name="T18" fmla="*/ 255262215 w 60"/>
              <a:gd name="T19" fmla="*/ 37695717 h 60"/>
              <a:gd name="T20" fmla="*/ 234841597 w 60"/>
              <a:gd name="T21" fmla="*/ 37695717 h 60"/>
              <a:gd name="T22" fmla="*/ 224629040 w 60"/>
              <a:gd name="T23" fmla="*/ 48466587 h 60"/>
              <a:gd name="T24" fmla="*/ 204208422 w 60"/>
              <a:gd name="T25" fmla="*/ 53852022 h 60"/>
              <a:gd name="T26" fmla="*/ 178682651 w 60"/>
              <a:gd name="T27" fmla="*/ 26924847 h 60"/>
              <a:gd name="T28" fmla="*/ 178682651 w 60"/>
              <a:gd name="T29" fmla="*/ 16156305 h 60"/>
              <a:gd name="T30" fmla="*/ 163367188 w 60"/>
              <a:gd name="T31" fmla="*/ 0 h 60"/>
              <a:gd name="T32" fmla="*/ 142946570 w 60"/>
              <a:gd name="T33" fmla="*/ 0 h 60"/>
              <a:gd name="T34" fmla="*/ 127631107 w 60"/>
              <a:gd name="T35" fmla="*/ 16156305 h 60"/>
              <a:gd name="T36" fmla="*/ 127631107 w 60"/>
              <a:gd name="T37" fmla="*/ 26924847 h 60"/>
              <a:gd name="T38" fmla="*/ 117420799 w 60"/>
              <a:gd name="T39" fmla="*/ 48466587 h 60"/>
              <a:gd name="T40" fmla="*/ 81684718 w 60"/>
              <a:gd name="T41" fmla="*/ 48466587 h 60"/>
              <a:gd name="T42" fmla="*/ 71472161 w 60"/>
              <a:gd name="T43" fmla="*/ 37695717 h 60"/>
              <a:gd name="T44" fmla="*/ 51051543 w 60"/>
              <a:gd name="T45" fmla="*/ 37695717 h 60"/>
              <a:gd name="T46" fmla="*/ 35736080 w 60"/>
              <a:gd name="T47" fmla="*/ 53852022 h 60"/>
              <a:gd name="T48" fmla="*/ 35736080 w 60"/>
              <a:gd name="T49" fmla="*/ 75391433 h 60"/>
              <a:gd name="T50" fmla="*/ 45946389 w 60"/>
              <a:gd name="T51" fmla="*/ 86162303 h 60"/>
              <a:gd name="T52" fmla="*/ 51051543 w 60"/>
              <a:gd name="T53" fmla="*/ 107701715 h 60"/>
              <a:gd name="T54" fmla="*/ 25525772 w 60"/>
              <a:gd name="T55" fmla="*/ 134626562 h 60"/>
              <a:gd name="T56" fmla="*/ 15315463 w 60"/>
              <a:gd name="T57" fmla="*/ 134626562 h 60"/>
              <a:gd name="T58" fmla="*/ 0 w 60"/>
              <a:gd name="T59" fmla="*/ 150782867 h 60"/>
              <a:gd name="T60" fmla="*/ 0 w 60"/>
              <a:gd name="T61" fmla="*/ 172322278 h 60"/>
              <a:gd name="T62" fmla="*/ 15315463 w 60"/>
              <a:gd name="T63" fmla="*/ 188478583 h 60"/>
              <a:gd name="T64" fmla="*/ 25525772 w 60"/>
              <a:gd name="T65" fmla="*/ 188478583 h 60"/>
              <a:gd name="T66" fmla="*/ 45946389 w 60"/>
              <a:gd name="T67" fmla="*/ 199247125 h 60"/>
              <a:gd name="T68" fmla="*/ 45946389 w 60"/>
              <a:gd name="T69" fmla="*/ 236942842 h 60"/>
              <a:gd name="T70" fmla="*/ 35736080 w 60"/>
              <a:gd name="T71" fmla="*/ 247713712 h 60"/>
              <a:gd name="T72" fmla="*/ 35736080 w 60"/>
              <a:gd name="T73" fmla="*/ 269255452 h 60"/>
              <a:gd name="T74" fmla="*/ 51051543 w 60"/>
              <a:gd name="T75" fmla="*/ 285409428 h 60"/>
              <a:gd name="T76" fmla="*/ 71472161 w 60"/>
              <a:gd name="T77" fmla="*/ 285409428 h 60"/>
              <a:gd name="T78" fmla="*/ 81684718 w 60"/>
              <a:gd name="T79" fmla="*/ 274638558 h 60"/>
              <a:gd name="T80" fmla="*/ 102105336 w 60"/>
              <a:gd name="T81" fmla="*/ 269255452 h 60"/>
              <a:gd name="T82" fmla="*/ 127631107 w 60"/>
              <a:gd name="T83" fmla="*/ 296180298 h 60"/>
              <a:gd name="T84" fmla="*/ 127631107 w 60"/>
              <a:gd name="T85" fmla="*/ 306948840 h 60"/>
              <a:gd name="T86" fmla="*/ 142946570 w 60"/>
              <a:gd name="T87" fmla="*/ 323105145 h 60"/>
              <a:gd name="T88" fmla="*/ 163367188 w 60"/>
              <a:gd name="T89" fmla="*/ 323105145 h 60"/>
              <a:gd name="T90" fmla="*/ 178682651 w 60"/>
              <a:gd name="T91" fmla="*/ 306948840 h 60"/>
              <a:gd name="T92" fmla="*/ 178682651 w 60"/>
              <a:gd name="T93" fmla="*/ 296180298 h 60"/>
              <a:gd name="T94" fmla="*/ 188892959 w 60"/>
              <a:gd name="T95" fmla="*/ 274638558 h 60"/>
              <a:gd name="T96" fmla="*/ 224629040 w 60"/>
              <a:gd name="T97" fmla="*/ 274638558 h 60"/>
              <a:gd name="T98" fmla="*/ 234841597 w 60"/>
              <a:gd name="T99" fmla="*/ 285409428 h 60"/>
              <a:gd name="T100" fmla="*/ 255262215 w 60"/>
              <a:gd name="T101" fmla="*/ 285409428 h 60"/>
              <a:gd name="T102" fmla="*/ 270577678 w 60"/>
              <a:gd name="T103" fmla="*/ 269255452 h 60"/>
              <a:gd name="T104" fmla="*/ 270577678 w 60"/>
              <a:gd name="T105" fmla="*/ 247713712 h 60"/>
              <a:gd name="T106" fmla="*/ 260367369 w 60"/>
              <a:gd name="T107" fmla="*/ 236942842 h 60"/>
              <a:gd name="T108" fmla="*/ 255262215 w 60"/>
              <a:gd name="T109" fmla="*/ 215403430 h 60"/>
              <a:gd name="T110" fmla="*/ 280787986 w 60"/>
              <a:gd name="T111" fmla="*/ 188478583 h 60"/>
              <a:gd name="T112" fmla="*/ 290998295 w 60"/>
              <a:gd name="T113" fmla="*/ 188478583 h 60"/>
              <a:gd name="T114" fmla="*/ 204208422 w 60"/>
              <a:gd name="T115" fmla="*/ 161553737 h 60"/>
              <a:gd name="T116" fmla="*/ 153156879 w 60"/>
              <a:gd name="T117" fmla="*/ 215403430 h 60"/>
              <a:gd name="T118" fmla="*/ 102105336 w 60"/>
              <a:gd name="T119" fmla="*/ 161553737 h 60"/>
              <a:gd name="T120" fmla="*/ 153156879 w 60"/>
              <a:gd name="T121" fmla="*/ 107701715 h 60"/>
              <a:gd name="T122" fmla="*/ 204208422 w 60"/>
              <a:gd name="T123" fmla="*/ 161553737 h 6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0" h="60">
                <a:moveTo>
                  <a:pt x="57" y="35"/>
                </a:moveTo>
                <a:cubicBezTo>
                  <a:pt x="59" y="35"/>
                  <a:pt x="60" y="34"/>
                  <a:pt x="60" y="32"/>
                </a:cubicBezTo>
                <a:cubicBezTo>
                  <a:pt x="60" y="28"/>
                  <a:pt x="60" y="28"/>
                  <a:pt x="60" y="28"/>
                </a:cubicBezTo>
                <a:cubicBezTo>
                  <a:pt x="60" y="26"/>
                  <a:pt x="59" y="25"/>
                  <a:pt x="57" y="25"/>
                </a:cubicBezTo>
                <a:cubicBezTo>
                  <a:pt x="55" y="25"/>
                  <a:pt x="55" y="25"/>
                  <a:pt x="55" y="25"/>
                </a:cubicBezTo>
                <a:cubicBezTo>
                  <a:pt x="53" y="25"/>
                  <a:pt x="52" y="24"/>
                  <a:pt x="51" y="23"/>
                </a:cubicBezTo>
                <a:cubicBezTo>
                  <a:pt x="51" y="21"/>
                  <a:pt x="50" y="17"/>
                  <a:pt x="51" y="16"/>
                </a:cubicBezTo>
                <a:cubicBezTo>
                  <a:pt x="53" y="14"/>
                  <a:pt x="53" y="14"/>
                  <a:pt x="53" y="14"/>
                </a:cubicBezTo>
                <a:cubicBezTo>
                  <a:pt x="54" y="13"/>
                  <a:pt x="54" y="11"/>
                  <a:pt x="53" y="10"/>
                </a:cubicBezTo>
                <a:cubicBezTo>
                  <a:pt x="50" y="7"/>
                  <a:pt x="50" y="7"/>
                  <a:pt x="50" y="7"/>
                </a:cubicBezTo>
                <a:cubicBezTo>
                  <a:pt x="49" y="6"/>
                  <a:pt x="47" y="6"/>
                  <a:pt x="46" y="7"/>
                </a:cubicBezTo>
                <a:cubicBezTo>
                  <a:pt x="44" y="9"/>
                  <a:pt x="44" y="9"/>
                  <a:pt x="44" y="9"/>
                </a:cubicBezTo>
                <a:cubicBezTo>
                  <a:pt x="43" y="10"/>
                  <a:pt x="41" y="10"/>
                  <a:pt x="40" y="10"/>
                </a:cubicBezTo>
                <a:cubicBezTo>
                  <a:pt x="39" y="9"/>
                  <a:pt x="35" y="7"/>
                  <a:pt x="35" y="5"/>
                </a:cubicBezTo>
                <a:cubicBezTo>
                  <a:pt x="35" y="3"/>
                  <a:pt x="35" y="3"/>
                  <a:pt x="35" y="3"/>
                </a:cubicBezTo>
                <a:cubicBezTo>
                  <a:pt x="35" y="1"/>
                  <a:pt x="34" y="0"/>
                  <a:pt x="32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6" y="0"/>
                  <a:pt x="25" y="1"/>
                  <a:pt x="25" y="3"/>
                </a:cubicBezTo>
                <a:cubicBezTo>
                  <a:pt x="25" y="5"/>
                  <a:pt x="25" y="5"/>
                  <a:pt x="25" y="5"/>
                </a:cubicBezTo>
                <a:cubicBezTo>
                  <a:pt x="25" y="7"/>
                  <a:pt x="24" y="8"/>
                  <a:pt x="23" y="9"/>
                </a:cubicBezTo>
                <a:cubicBezTo>
                  <a:pt x="21" y="9"/>
                  <a:pt x="17" y="10"/>
                  <a:pt x="16" y="9"/>
                </a:cubicBezTo>
                <a:cubicBezTo>
                  <a:pt x="14" y="7"/>
                  <a:pt x="14" y="7"/>
                  <a:pt x="14" y="7"/>
                </a:cubicBezTo>
                <a:cubicBezTo>
                  <a:pt x="13" y="6"/>
                  <a:pt x="11" y="6"/>
                  <a:pt x="10" y="7"/>
                </a:cubicBezTo>
                <a:cubicBezTo>
                  <a:pt x="7" y="10"/>
                  <a:pt x="7" y="10"/>
                  <a:pt x="7" y="10"/>
                </a:cubicBezTo>
                <a:cubicBezTo>
                  <a:pt x="6" y="11"/>
                  <a:pt x="6" y="13"/>
                  <a:pt x="7" y="14"/>
                </a:cubicBezTo>
                <a:cubicBezTo>
                  <a:pt x="9" y="16"/>
                  <a:pt x="9" y="16"/>
                  <a:pt x="9" y="16"/>
                </a:cubicBezTo>
                <a:cubicBezTo>
                  <a:pt x="10" y="17"/>
                  <a:pt x="10" y="19"/>
                  <a:pt x="10" y="20"/>
                </a:cubicBezTo>
                <a:cubicBezTo>
                  <a:pt x="9" y="21"/>
                  <a:pt x="7" y="25"/>
                  <a:pt x="5" y="25"/>
                </a:cubicBezTo>
                <a:cubicBezTo>
                  <a:pt x="3" y="25"/>
                  <a:pt x="3" y="25"/>
                  <a:pt x="3" y="25"/>
                </a:cubicBezTo>
                <a:cubicBezTo>
                  <a:pt x="1" y="25"/>
                  <a:pt x="0" y="26"/>
                  <a:pt x="0" y="28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4"/>
                  <a:pt x="1" y="35"/>
                  <a:pt x="3" y="35"/>
                </a:cubicBezTo>
                <a:cubicBezTo>
                  <a:pt x="5" y="35"/>
                  <a:pt x="5" y="35"/>
                  <a:pt x="5" y="35"/>
                </a:cubicBezTo>
                <a:cubicBezTo>
                  <a:pt x="7" y="35"/>
                  <a:pt x="8" y="36"/>
                  <a:pt x="9" y="37"/>
                </a:cubicBezTo>
                <a:cubicBezTo>
                  <a:pt x="9" y="39"/>
                  <a:pt x="10" y="43"/>
                  <a:pt x="9" y="44"/>
                </a:cubicBezTo>
                <a:cubicBezTo>
                  <a:pt x="7" y="46"/>
                  <a:pt x="7" y="46"/>
                  <a:pt x="7" y="46"/>
                </a:cubicBezTo>
                <a:cubicBezTo>
                  <a:pt x="6" y="47"/>
                  <a:pt x="6" y="49"/>
                  <a:pt x="7" y="50"/>
                </a:cubicBezTo>
                <a:cubicBezTo>
                  <a:pt x="10" y="53"/>
                  <a:pt x="10" y="53"/>
                  <a:pt x="10" y="53"/>
                </a:cubicBezTo>
                <a:cubicBezTo>
                  <a:pt x="11" y="54"/>
                  <a:pt x="13" y="54"/>
                  <a:pt x="14" y="53"/>
                </a:cubicBezTo>
                <a:cubicBezTo>
                  <a:pt x="16" y="51"/>
                  <a:pt x="16" y="51"/>
                  <a:pt x="16" y="51"/>
                </a:cubicBezTo>
                <a:cubicBezTo>
                  <a:pt x="17" y="50"/>
                  <a:pt x="19" y="50"/>
                  <a:pt x="20" y="50"/>
                </a:cubicBezTo>
                <a:cubicBezTo>
                  <a:pt x="21" y="51"/>
                  <a:pt x="25" y="53"/>
                  <a:pt x="25" y="55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59"/>
                  <a:pt x="26" y="60"/>
                  <a:pt x="28" y="60"/>
                </a:cubicBezTo>
                <a:cubicBezTo>
                  <a:pt x="32" y="60"/>
                  <a:pt x="32" y="60"/>
                  <a:pt x="32" y="60"/>
                </a:cubicBezTo>
                <a:cubicBezTo>
                  <a:pt x="34" y="60"/>
                  <a:pt x="35" y="59"/>
                  <a:pt x="35" y="57"/>
                </a:cubicBezTo>
                <a:cubicBezTo>
                  <a:pt x="35" y="55"/>
                  <a:pt x="35" y="55"/>
                  <a:pt x="35" y="55"/>
                </a:cubicBezTo>
                <a:cubicBezTo>
                  <a:pt x="35" y="53"/>
                  <a:pt x="36" y="52"/>
                  <a:pt x="37" y="51"/>
                </a:cubicBezTo>
                <a:cubicBezTo>
                  <a:pt x="39" y="51"/>
                  <a:pt x="43" y="50"/>
                  <a:pt x="44" y="51"/>
                </a:cubicBezTo>
                <a:cubicBezTo>
                  <a:pt x="46" y="53"/>
                  <a:pt x="46" y="53"/>
                  <a:pt x="46" y="53"/>
                </a:cubicBezTo>
                <a:cubicBezTo>
                  <a:pt x="47" y="54"/>
                  <a:pt x="49" y="54"/>
                  <a:pt x="50" y="53"/>
                </a:cubicBezTo>
                <a:cubicBezTo>
                  <a:pt x="53" y="50"/>
                  <a:pt x="53" y="50"/>
                  <a:pt x="53" y="50"/>
                </a:cubicBezTo>
                <a:cubicBezTo>
                  <a:pt x="54" y="49"/>
                  <a:pt x="54" y="47"/>
                  <a:pt x="53" y="46"/>
                </a:cubicBezTo>
                <a:cubicBezTo>
                  <a:pt x="51" y="44"/>
                  <a:pt x="51" y="44"/>
                  <a:pt x="51" y="44"/>
                </a:cubicBezTo>
                <a:cubicBezTo>
                  <a:pt x="50" y="43"/>
                  <a:pt x="50" y="41"/>
                  <a:pt x="50" y="40"/>
                </a:cubicBezTo>
                <a:cubicBezTo>
                  <a:pt x="51" y="39"/>
                  <a:pt x="53" y="35"/>
                  <a:pt x="55" y="35"/>
                </a:cubicBezTo>
                <a:lnTo>
                  <a:pt x="57" y="35"/>
                </a:lnTo>
                <a:close/>
                <a:moveTo>
                  <a:pt x="40" y="30"/>
                </a:moveTo>
                <a:cubicBezTo>
                  <a:pt x="40" y="36"/>
                  <a:pt x="36" y="40"/>
                  <a:pt x="30" y="40"/>
                </a:cubicBezTo>
                <a:cubicBezTo>
                  <a:pt x="24" y="40"/>
                  <a:pt x="20" y="36"/>
                  <a:pt x="20" y="30"/>
                </a:cubicBezTo>
                <a:cubicBezTo>
                  <a:pt x="20" y="24"/>
                  <a:pt x="24" y="20"/>
                  <a:pt x="30" y="20"/>
                </a:cubicBezTo>
                <a:cubicBezTo>
                  <a:pt x="36" y="20"/>
                  <a:pt x="40" y="24"/>
                  <a:pt x="40" y="3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4" name="Freeform 31"/>
          <p:cNvSpPr>
            <a:spLocks/>
          </p:cNvSpPr>
          <p:nvPr/>
        </p:nvSpPr>
        <p:spPr bwMode="auto">
          <a:xfrm>
            <a:off x="9838267" y="1559985"/>
            <a:ext cx="438151" cy="436033"/>
          </a:xfrm>
          <a:custGeom>
            <a:avLst/>
            <a:gdLst>
              <a:gd name="T0" fmla="*/ 375330815 w 144"/>
              <a:gd name="T1" fmla="*/ 185293728 h 144"/>
              <a:gd name="T2" fmla="*/ 0 w 144"/>
              <a:gd name="T3" fmla="*/ 313971252 h 144"/>
              <a:gd name="T4" fmla="*/ 218942975 w 144"/>
              <a:gd name="T5" fmla="*/ 617648030 h 144"/>
              <a:gd name="T6" fmla="*/ 375330815 w 144"/>
              <a:gd name="T7" fmla="*/ 741177181 h 144"/>
              <a:gd name="T8" fmla="*/ 531716372 w 144"/>
              <a:gd name="T9" fmla="*/ 617648030 h 144"/>
              <a:gd name="T10" fmla="*/ 750659348 w 144"/>
              <a:gd name="T11" fmla="*/ 308822879 h 144"/>
              <a:gd name="T12" fmla="*/ 375330815 w 144"/>
              <a:gd name="T13" fmla="*/ 185293728 h 14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44" h="144">
                <a:moveTo>
                  <a:pt x="72" y="36"/>
                </a:moveTo>
                <a:cubicBezTo>
                  <a:pt x="48" y="0"/>
                  <a:pt x="0" y="21"/>
                  <a:pt x="0" y="61"/>
                </a:cubicBezTo>
                <a:cubicBezTo>
                  <a:pt x="0" y="87"/>
                  <a:pt x="24" y="106"/>
                  <a:pt x="42" y="120"/>
                </a:cubicBezTo>
                <a:cubicBezTo>
                  <a:pt x="61" y="135"/>
                  <a:pt x="66" y="138"/>
                  <a:pt x="72" y="144"/>
                </a:cubicBezTo>
                <a:cubicBezTo>
                  <a:pt x="78" y="138"/>
                  <a:pt x="83" y="135"/>
                  <a:pt x="102" y="120"/>
                </a:cubicBezTo>
                <a:cubicBezTo>
                  <a:pt x="120" y="106"/>
                  <a:pt x="144" y="87"/>
                  <a:pt x="144" y="60"/>
                </a:cubicBezTo>
                <a:cubicBezTo>
                  <a:pt x="144" y="21"/>
                  <a:pt x="96" y="0"/>
                  <a:pt x="72" y="36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5" name="Freeform 32"/>
          <p:cNvSpPr>
            <a:spLocks noEditPoints="1"/>
          </p:cNvSpPr>
          <p:nvPr/>
        </p:nvSpPr>
        <p:spPr bwMode="auto">
          <a:xfrm>
            <a:off x="10773834" y="1547284"/>
            <a:ext cx="218017" cy="472016"/>
          </a:xfrm>
          <a:custGeom>
            <a:avLst/>
            <a:gdLst>
              <a:gd name="T0" fmla="*/ 373518196 w 72"/>
              <a:gd name="T1" fmla="*/ 557149078 h 156"/>
              <a:gd name="T2" fmla="*/ 373518196 w 72"/>
              <a:gd name="T3" fmla="*/ 495244634 h 156"/>
              <a:gd name="T4" fmla="*/ 280138647 w 72"/>
              <a:gd name="T5" fmla="*/ 495244634 h 156"/>
              <a:gd name="T6" fmla="*/ 249012131 w 72"/>
              <a:gd name="T7" fmla="*/ 526195721 h 156"/>
              <a:gd name="T8" fmla="*/ 186759098 w 72"/>
              <a:gd name="T9" fmla="*/ 526195721 h 156"/>
              <a:gd name="T10" fmla="*/ 186759098 w 72"/>
              <a:gd name="T11" fmla="*/ 268257132 h 156"/>
              <a:gd name="T12" fmla="*/ 280138647 w 72"/>
              <a:gd name="T13" fmla="*/ 139287837 h 156"/>
              <a:gd name="T14" fmla="*/ 140069324 w 72"/>
              <a:gd name="T15" fmla="*/ 0 h 156"/>
              <a:gd name="T16" fmla="*/ 0 w 72"/>
              <a:gd name="T17" fmla="*/ 139287837 h 156"/>
              <a:gd name="T18" fmla="*/ 93379549 w 72"/>
              <a:gd name="T19" fmla="*/ 268257132 h 156"/>
              <a:gd name="T20" fmla="*/ 93379549 w 72"/>
              <a:gd name="T21" fmla="*/ 758341359 h 156"/>
              <a:gd name="T22" fmla="*/ 140069324 w 72"/>
              <a:gd name="T23" fmla="*/ 804771395 h 156"/>
              <a:gd name="T24" fmla="*/ 186759098 w 72"/>
              <a:gd name="T25" fmla="*/ 758341359 h 156"/>
              <a:gd name="T26" fmla="*/ 186759098 w 72"/>
              <a:gd name="T27" fmla="*/ 680960236 h 156"/>
              <a:gd name="T28" fmla="*/ 249012131 w 72"/>
              <a:gd name="T29" fmla="*/ 680960236 h 156"/>
              <a:gd name="T30" fmla="*/ 280138647 w 72"/>
              <a:gd name="T31" fmla="*/ 711913593 h 156"/>
              <a:gd name="T32" fmla="*/ 373518196 w 72"/>
              <a:gd name="T33" fmla="*/ 711913593 h 156"/>
              <a:gd name="T34" fmla="*/ 373518196 w 72"/>
              <a:gd name="T35" fmla="*/ 650006880 h 156"/>
              <a:gd name="T36" fmla="*/ 311265164 w 72"/>
              <a:gd name="T37" fmla="*/ 650006880 h 156"/>
              <a:gd name="T38" fmla="*/ 311265164 w 72"/>
              <a:gd name="T39" fmla="*/ 557149078 h 156"/>
              <a:gd name="T40" fmla="*/ 373518196 w 72"/>
              <a:gd name="T41" fmla="*/ 557149078 h 156"/>
              <a:gd name="T42" fmla="*/ 140069324 w 72"/>
              <a:gd name="T43" fmla="*/ 92857801 h 156"/>
              <a:gd name="T44" fmla="*/ 186759098 w 72"/>
              <a:gd name="T45" fmla="*/ 139287837 h 156"/>
              <a:gd name="T46" fmla="*/ 140069324 w 72"/>
              <a:gd name="T47" fmla="*/ 185715603 h 156"/>
              <a:gd name="T48" fmla="*/ 93379549 w 72"/>
              <a:gd name="T49" fmla="*/ 139287837 h 156"/>
              <a:gd name="T50" fmla="*/ 140069324 w 72"/>
              <a:gd name="T51" fmla="*/ 92857801 h 15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72" h="156">
                <a:moveTo>
                  <a:pt x="72" y="108"/>
                </a:moveTo>
                <a:cubicBezTo>
                  <a:pt x="72" y="96"/>
                  <a:pt x="72" y="96"/>
                  <a:pt x="72" y="96"/>
                </a:cubicBezTo>
                <a:cubicBezTo>
                  <a:pt x="54" y="96"/>
                  <a:pt x="54" y="96"/>
                  <a:pt x="54" y="96"/>
                </a:cubicBezTo>
                <a:cubicBezTo>
                  <a:pt x="48" y="96"/>
                  <a:pt x="48" y="102"/>
                  <a:pt x="48" y="102"/>
                </a:cubicBezTo>
                <a:cubicBezTo>
                  <a:pt x="36" y="102"/>
                  <a:pt x="36" y="102"/>
                  <a:pt x="36" y="102"/>
                </a:cubicBezTo>
                <a:cubicBezTo>
                  <a:pt x="36" y="52"/>
                  <a:pt x="36" y="52"/>
                  <a:pt x="36" y="52"/>
                </a:cubicBezTo>
                <a:cubicBezTo>
                  <a:pt x="46" y="49"/>
                  <a:pt x="54" y="39"/>
                  <a:pt x="54" y="27"/>
                </a:cubicBezTo>
                <a:cubicBezTo>
                  <a:pt x="54" y="12"/>
                  <a:pt x="42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39"/>
                  <a:pt x="8" y="49"/>
                  <a:pt x="18" y="52"/>
                </a:cubicBezTo>
                <a:cubicBezTo>
                  <a:pt x="18" y="147"/>
                  <a:pt x="18" y="147"/>
                  <a:pt x="18" y="147"/>
                </a:cubicBezTo>
                <a:cubicBezTo>
                  <a:pt x="18" y="152"/>
                  <a:pt x="22" y="156"/>
                  <a:pt x="27" y="156"/>
                </a:cubicBezTo>
                <a:cubicBezTo>
                  <a:pt x="32" y="156"/>
                  <a:pt x="36" y="152"/>
                  <a:pt x="36" y="147"/>
                </a:cubicBezTo>
                <a:cubicBezTo>
                  <a:pt x="36" y="132"/>
                  <a:pt x="36" y="132"/>
                  <a:pt x="36" y="132"/>
                </a:cubicBezTo>
                <a:cubicBezTo>
                  <a:pt x="48" y="132"/>
                  <a:pt x="48" y="132"/>
                  <a:pt x="48" y="132"/>
                </a:cubicBezTo>
                <a:cubicBezTo>
                  <a:pt x="48" y="132"/>
                  <a:pt x="48" y="138"/>
                  <a:pt x="54" y="138"/>
                </a:cubicBezTo>
                <a:cubicBezTo>
                  <a:pt x="72" y="138"/>
                  <a:pt x="72" y="138"/>
                  <a:pt x="72" y="138"/>
                </a:cubicBezTo>
                <a:cubicBezTo>
                  <a:pt x="72" y="126"/>
                  <a:pt x="72" y="126"/>
                  <a:pt x="72" y="126"/>
                </a:cubicBezTo>
                <a:cubicBezTo>
                  <a:pt x="60" y="126"/>
                  <a:pt x="60" y="126"/>
                  <a:pt x="60" y="126"/>
                </a:cubicBezTo>
                <a:cubicBezTo>
                  <a:pt x="60" y="108"/>
                  <a:pt x="60" y="108"/>
                  <a:pt x="60" y="108"/>
                </a:cubicBezTo>
                <a:lnTo>
                  <a:pt x="72" y="108"/>
                </a:lnTo>
                <a:close/>
                <a:moveTo>
                  <a:pt x="27" y="18"/>
                </a:moveTo>
                <a:cubicBezTo>
                  <a:pt x="32" y="18"/>
                  <a:pt x="36" y="22"/>
                  <a:pt x="36" y="27"/>
                </a:cubicBezTo>
                <a:cubicBezTo>
                  <a:pt x="36" y="32"/>
                  <a:pt x="32" y="36"/>
                  <a:pt x="27" y="36"/>
                </a:cubicBezTo>
                <a:cubicBezTo>
                  <a:pt x="22" y="36"/>
                  <a:pt x="18" y="32"/>
                  <a:pt x="18" y="27"/>
                </a:cubicBezTo>
                <a:cubicBezTo>
                  <a:pt x="18" y="22"/>
                  <a:pt x="22" y="18"/>
                  <a:pt x="27" y="1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6" name="Freeform 33"/>
          <p:cNvSpPr>
            <a:spLocks noEditPoints="1"/>
          </p:cNvSpPr>
          <p:nvPr/>
        </p:nvSpPr>
        <p:spPr bwMode="auto">
          <a:xfrm>
            <a:off x="1236133" y="2366434"/>
            <a:ext cx="364067" cy="433917"/>
          </a:xfrm>
          <a:custGeom>
            <a:avLst/>
            <a:gdLst>
              <a:gd name="T0" fmla="*/ 526859077 w 120"/>
              <a:gd name="T1" fmla="*/ 307324211 h 144"/>
              <a:gd name="T2" fmla="*/ 526859077 w 120"/>
              <a:gd name="T3" fmla="*/ 215128078 h 144"/>
              <a:gd name="T4" fmla="*/ 309918576 w 120"/>
              <a:gd name="T5" fmla="*/ 0 h 144"/>
              <a:gd name="T6" fmla="*/ 92975800 w 120"/>
              <a:gd name="T7" fmla="*/ 215128078 h 144"/>
              <a:gd name="T8" fmla="*/ 92975800 w 120"/>
              <a:gd name="T9" fmla="*/ 307324211 h 144"/>
              <a:gd name="T10" fmla="*/ 0 w 120"/>
              <a:gd name="T11" fmla="*/ 307324211 h 144"/>
              <a:gd name="T12" fmla="*/ 0 w 120"/>
              <a:gd name="T13" fmla="*/ 737580367 h 144"/>
              <a:gd name="T14" fmla="*/ 619834877 w 120"/>
              <a:gd name="T15" fmla="*/ 737580367 h 144"/>
              <a:gd name="T16" fmla="*/ 619834877 w 120"/>
              <a:gd name="T17" fmla="*/ 307324211 h 144"/>
              <a:gd name="T18" fmla="*/ 526859077 w 120"/>
              <a:gd name="T19" fmla="*/ 307324211 h 144"/>
              <a:gd name="T20" fmla="*/ 340909751 w 120"/>
              <a:gd name="T21" fmla="*/ 542941323 h 144"/>
              <a:gd name="T22" fmla="*/ 340909751 w 120"/>
              <a:gd name="T23" fmla="*/ 645381974 h 144"/>
              <a:gd name="T24" fmla="*/ 278925126 w 120"/>
              <a:gd name="T25" fmla="*/ 645381974 h 144"/>
              <a:gd name="T26" fmla="*/ 278925126 w 120"/>
              <a:gd name="T27" fmla="*/ 542941323 h 144"/>
              <a:gd name="T28" fmla="*/ 247933951 w 120"/>
              <a:gd name="T29" fmla="*/ 491720998 h 144"/>
              <a:gd name="T30" fmla="*/ 309918576 w 120"/>
              <a:gd name="T31" fmla="*/ 430256156 h 144"/>
              <a:gd name="T32" fmla="*/ 371900926 w 120"/>
              <a:gd name="T33" fmla="*/ 491720998 h 144"/>
              <a:gd name="T34" fmla="*/ 340909751 w 120"/>
              <a:gd name="T35" fmla="*/ 542941323 h 144"/>
              <a:gd name="T36" fmla="*/ 464876727 w 120"/>
              <a:gd name="T37" fmla="*/ 307324211 h 144"/>
              <a:gd name="T38" fmla="*/ 154958150 w 120"/>
              <a:gd name="T39" fmla="*/ 307324211 h 144"/>
              <a:gd name="T40" fmla="*/ 154958150 w 120"/>
              <a:gd name="T41" fmla="*/ 215128078 h 144"/>
              <a:gd name="T42" fmla="*/ 309918576 w 120"/>
              <a:gd name="T43" fmla="*/ 61464842 h 144"/>
              <a:gd name="T44" fmla="*/ 464876727 w 120"/>
              <a:gd name="T45" fmla="*/ 215128078 h 144"/>
              <a:gd name="T46" fmla="*/ 464876727 w 120"/>
              <a:gd name="T47" fmla="*/ 307324211 h 14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20" h="144">
                <a:moveTo>
                  <a:pt x="102" y="60"/>
                </a:moveTo>
                <a:cubicBezTo>
                  <a:pt x="102" y="42"/>
                  <a:pt x="102" y="42"/>
                  <a:pt x="102" y="42"/>
                </a:cubicBezTo>
                <a:cubicBezTo>
                  <a:pt x="102" y="42"/>
                  <a:pt x="102" y="0"/>
                  <a:pt x="60" y="0"/>
                </a:cubicBezTo>
                <a:cubicBezTo>
                  <a:pt x="18" y="0"/>
                  <a:pt x="18" y="42"/>
                  <a:pt x="18" y="42"/>
                </a:cubicBezTo>
                <a:cubicBezTo>
                  <a:pt x="18" y="60"/>
                  <a:pt x="18" y="60"/>
                  <a:pt x="18" y="6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144"/>
                  <a:pt x="0" y="144"/>
                  <a:pt x="0" y="144"/>
                </a:cubicBezTo>
                <a:cubicBezTo>
                  <a:pt x="120" y="144"/>
                  <a:pt x="120" y="144"/>
                  <a:pt x="120" y="144"/>
                </a:cubicBezTo>
                <a:cubicBezTo>
                  <a:pt x="120" y="60"/>
                  <a:pt x="120" y="60"/>
                  <a:pt x="120" y="60"/>
                </a:cubicBezTo>
                <a:lnTo>
                  <a:pt x="102" y="60"/>
                </a:lnTo>
                <a:close/>
                <a:moveTo>
                  <a:pt x="66" y="106"/>
                </a:moveTo>
                <a:cubicBezTo>
                  <a:pt x="66" y="126"/>
                  <a:pt x="66" y="126"/>
                  <a:pt x="66" y="126"/>
                </a:cubicBezTo>
                <a:cubicBezTo>
                  <a:pt x="54" y="126"/>
                  <a:pt x="54" y="126"/>
                  <a:pt x="54" y="126"/>
                </a:cubicBezTo>
                <a:cubicBezTo>
                  <a:pt x="54" y="106"/>
                  <a:pt x="54" y="106"/>
                  <a:pt x="54" y="106"/>
                </a:cubicBezTo>
                <a:cubicBezTo>
                  <a:pt x="50" y="104"/>
                  <a:pt x="48" y="100"/>
                  <a:pt x="48" y="96"/>
                </a:cubicBezTo>
                <a:cubicBezTo>
                  <a:pt x="48" y="89"/>
                  <a:pt x="53" y="84"/>
                  <a:pt x="60" y="84"/>
                </a:cubicBezTo>
                <a:cubicBezTo>
                  <a:pt x="67" y="84"/>
                  <a:pt x="72" y="89"/>
                  <a:pt x="72" y="96"/>
                </a:cubicBezTo>
                <a:cubicBezTo>
                  <a:pt x="72" y="100"/>
                  <a:pt x="70" y="104"/>
                  <a:pt x="66" y="106"/>
                </a:cubicBezTo>
                <a:moveTo>
                  <a:pt x="90" y="60"/>
                </a:moveTo>
                <a:cubicBezTo>
                  <a:pt x="30" y="60"/>
                  <a:pt x="30" y="60"/>
                  <a:pt x="30" y="60"/>
                </a:cubicBezTo>
                <a:cubicBezTo>
                  <a:pt x="30" y="42"/>
                  <a:pt x="30" y="42"/>
                  <a:pt x="30" y="42"/>
                </a:cubicBezTo>
                <a:cubicBezTo>
                  <a:pt x="30" y="37"/>
                  <a:pt x="32" y="12"/>
                  <a:pt x="60" y="12"/>
                </a:cubicBezTo>
                <a:cubicBezTo>
                  <a:pt x="88" y="12"/>
                  <a:pt x="90" y="37"/>
                  <a:pt x="90" y="42"/>
                </a:cubicBezTo>
                <a:lnTo>
                  <a:pt x="90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7" name="Freeform 34"/>
          <p:cNvSpPr>
            <a:spLocks/>
          </p:cNvSpPr>
          <p:nvPr/>
        </p:nvSpPr>
        <p:spPr bwMode="auto">
          <a:xfrm>
            <a:off x="2131485" y="2355851"/>
            <a:ext cx="416983" cy="465667"/>
          </a:xfrm>
          <a:custGeom>
            <a:avLst/>
            <a:gdLst>
              <a:gd name="T0" fmla="*/ 664169538 w 138"/>
              <a:gd name="T1" fmla="*/ 391070975 h 153"/>
              <a:gd name="T2" fmla="*/ 617832339 w 138"/>
              <a:gd name="T3" fmla="*/ 437998306 h 153"/>
              <a:gd name="T4" fmla="*/ 355253369 w 138"/>
              <a:gd name="T5" fmla="*/ 703925930 h 153"/>
              <a:gd name="T6" fmla="*/ 92674398 w 138"/>
              <a:gd name="T7" fmla="*/ 437998306 h 153"/>
              <a:gd name="T8" fmla="*/ 355253369 w 138"/>
              <a:gd name="T9" fmla="*/ 172070681 h 153"/>
              <a:gd name="T10" fmla="*/ 355253369 w 138"/>
              <a:gd name="T11" fmla="*/ 172070681 h 153"/>
              <a:gd name="T12" fmla="*/ 355253369 w 138"/>
              <a:gd name="T13" fmla="*/ 250284420 h 153"/>
              <a:gd name="T14" fmla="*/ 540602164 w 138"/>
              <a:gd name="T15" fmla="*/ 125143351 h 153"/>
              <a:gd name="T16" fmla="*/ 355253369 w 138"/>
              <a:gd name="T17" fmla="*/ 0 h 153"/>
              <a:gd name="T18" fmla="*/ 355253369 w 138"/>
              <a:gd name="T19" fmla="*/ 78213739 h 153"/>
              <a:gd name="T20" fmla="*/ 355253369 w 138"/>
              <a:gd name="T21" fmla="*/ 78213739 h 153"/>
              <a:gd name="T22" fmla="*/ 0 w 138"/>
              <a:gd name="T23" fmla="*/ 437998306 h 153"/>
              <a:gd name="T24" fmla="*/ 355253369 w 138"/>
              <a:gd name="T25" fmla="*/ 797782873 h 153"/>
              <a:gd name="T26" fmla="*/ 710506737 w 138"/>
              <a:gd name="T27" fmla="*/ 437998306 h 153"/>
              <a:gd name="T28" fmla="*/ 664169538 w 138"/>
              <a:gd name="T29" fmla="*/ 391070975 h 15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38" h="153">
                <a:moveTo>
                  <a:pt x="129" y="75"/>
                </a:moveTo>
                <a:cubicBezTo>
                  <a:pt x="124" y="75"/>
                  <a:pt x="120" y="80"/>
                  <a:pt x="120" y="84"/>
                </a:cubicBezTo>
                <a:cubicBezTo>
                  <a:pt x="120" y="113"/>
                  <a:pt x="97" y="135"/>
                  <a:pt x="69" y="135"/>
                </a:cubicBezTo>
                <a:cubicBezTo>
                  <a:pt x="41" y="135"/>
                  <a:pt x="18" y="113"/>
                  <a:pt x="18" y="84"/>
                </a:cubicBezTo>
                <a:cubicBezTo>
                  <a:pt x="18" y="56"/>
                  <a:pt x="41" y="33"/>
                  <a:pt x="69" y="33"/>
                </a:cubicBezTo>
                <a:cubicBezTo>
                  <a:pt x="69" y="33"/>
                  <a:pt x="69" y="33"/>
                  <a:pt x="69" y="33"/>
                </a:cubicBezTo>
                <a:cubicBezTo>
                  <a:pt x="69" y="48"/>
                  <a:pt x="69" y="48"/>
                  <a:pt x="69" y="48"/>
                </a:cubicBezTo>
                <a:cubicBezTo>
                  <a:pt x="105" y="24"/>
                  <a:pt x="105" y="24"/>
                  <a:pt x="105" y="24"/>
                </a:cubicBezTo>
                <a:cubicBezTo>
                  <a:pt x="69" y="0"/>
                  <a:pt x="69" y="0"/>
                  <a:pt x="69" y="0"/>
                </a:cubicBezTo>
                <a:cubicBezTo>
                  <a:pt x="69" y="15"/>
                  <a:pt x="69" y="15"/>
                  <a:pt x="69" y="15"/>
                </a:cubicBezTo>
                <a:cubicBezTo>
                  <a:pt x="69" y="15"/>
                  <a:pt x="69" y="15"/>
                  <a:pt x="69" y="15"/>
                </a:cubicBezTo>
                <a:cubicBezTo>
                  <a:pt x="31" y="15"/>
                  <a:pt x="0" y="46"/>
                  <a:pt x="0" y="84"/>
                </a:cubicBezTo>
                <a:cubicBezTo>
                  <a:pt x="0" y="123"/>
                  <a:pt x="31" y="153"/>
                  <a:pt x="69" y="153"/>
                </a:cubicBezTo>
                <a:cubicBezTo>
                  <a:pt x="107" y="153"/>
                  <a:pt x="138" y="123"/>
                  <a:pt x="138" y="84"/>
                </a:cubicBezTo>
                <a:cubicBezTo>
                  <a:pt x="138" y="80"/>
                  <a:pt x="134" y="75"/>
                  <a:pt x="129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8" name="Freeform 35"/>
          <p:cNvSpPr>
            <a:spLocks/>
          </p:cNvSpPr>
          <p:nvPr/>
        </p:nvSpPr>
        <p:spPr bwMode="auto">
          <a:xfrm>
            <a:off x="2929467" y="2491318"/>
            <a:ext cx="419100" cy="336549"/>
          </a:xfrm>
          <a:custGeom>
            <a:avLst/>
            <a:gdLst>
              <a:gd name="T0" fmla="*/ 636494459 w 138"/>
              <a:gd name="T1" fmla="*/ 428222643 h 111"/>
              <a:gd name="T2" fmla="*/ 460552179 w 138"/>
              <a:gd name="T3" fmla="*/ 479814746 h 111"/>
              <a:gd name="T4" fmla="*/ 439852283 w 138"/>
              <a:gd name="T5" fmla="*/ 479814746 h 111"/>
              <a:gd name="T6" fmla="*/ 429504613 w 138"/>
              <a:gd name="T7" fmla="*/ 474655081 h 111"/>
              <a:gd name="T8" fmla="*/ 408804717 w 138"/>
              <a:gd name="T9" fmla="*/ 474655081 h 111"/>
              <a:gd name="T10" fmla="*/ 398454770 w 138"/>
              <a:gd name="T11" fmla="*/ 469495416 h 111"/>
              <a:gd name="T12" fmla="*/ 382929848 w 138"/>
              <a:gd name="T13" fmla="*/ 469495416 h 111"/>
              <a:gd name="T14" fmla="*/ 372582178 w 138"/>
              <a:gd name="T15" fmla="*/ 464335751 h 111"/>
              <a:gd name="T16" fmla="*/ 351882282 w 138"/>
              <a:gd name="T17" fmla="*/ 459178360 h 111"/>
              <a:gd name="T18" fmla="*/ 346707308 w 138"/>
              <a:gd name="T19" fmla="*/ 454018695 h 111"/>
              <a:gd name="T20" fmla="*/ 326009690 w 138"/>
              <a:gd name="T21" fmla="*/ 443699364 h 111"/>
              <a:gd name="T22" fmla="*/ 326009690 w 138"/>
              <a:gd name="T23" fmla="*/ 443699364 h 111"/>
              <a:gd name="T24" fmla="*/ 258737307 w 138"/>
              <a:gd name="T25" fmla="*/ 392107261 h 111"/>
              <a:gd name="T26" fmla="*/ 258737307 w 138"/>
              <a:gd name="T27" fmla="*/ 392107261 h 111"/>
              <a:gd name="T28" fmla="*/ 238037411 w 138"/>
              <a:gd name="T29" fmla="*/ 371468601 h 111"/>
              <a:gd name="T30" fmla="*/ 232862438 w 138"/>
              <a:gd name="T31" fmla="*/ 366308936 h 111"/>
              <a:gd name="T32" fmla="*/ 170767306 w 138"/>
              <a:gd name="T33" fmla="*/ 185734300 h 111"/>
              <a:gd name="T34" fmla="*/ 248387359 w 138"/>
              <a:gd name="T35" fmla="*/ 185734300 h 111"/>
              <a:gd name="T36" fmla="*/ 124194818 w 138"/>
              <a:gd name="T37" fmla="*/ 0 h 111"/>
              <a:gd name="T38" fmla="*/ 0 w 138"/>
              <a:gd name="T39" fmla="*/ 185734300 h 111"/>
              <a:gd name="T40" fmla="*/ 77620053 w 138"/>
              <a:gd name="T41" fmla="*/ 185734300 h 111"/>
              <a:gd name="T42" fmla="*/ 144892436 w 138"/>
              <a:gd name="T43" fmla="*/ 402424317 h 111"/>
              <a:gd name="T44" fmla="*/ 150067410 w 138"/>
              <a:gd name="T45" fmla="*/ 407583982 h 111"/>
              <a:gd name="T46" fmla="*/ 160417358 w 138"/>
              <a:gd name="T47" fmla="*/ 428222643 h 111"/>
              <a:gd name="T48" fmla="*/ 165592332 w 138"/>
              <a:gd name="T49" fmla="*/ 433380034 h 111"/>
              <a:gd name="T50" fmla="*/ 191464924 w 138"/>
              <a:gd name="T51" fmla="*/ 459178360 h 111"/>
              <a:gd name="T52" fmla="*/ 191464924 w 138"/>
              <a:gd name="T53" fmla="*/ 459178360 h 111"/>
              <a:gd name="T54" fmla="*/ 279437203 w 138"/>
              <a:gd name="T55" fmla="*/ 526247184 h 111"/>
              <a:gd name="T56" fmla="*/ 279437203 w 138"/>
              <a:gd name="T57" fmla="*/ 526247184 h 111"/>
              <a:gd name="T58" fmla="*/ 310484768 w 138"/>
              <a:gd name="T59" fmla="*/ 541726180 h 111"/>
              <a:gd name="T60" fmla="*/ 315659742 w 138"/>
              <a:gd name="T61" fmla="*/ 541726180 h 111"/>
              <a:gd name="T62" fmla="*/ 341532334 w 138"/>
              <a:gd name="T63" fmla="*/ 552045510 h 111"/>
              <a:gd name="T64" fmla="*/ 351882282 w 138"/>
              <a:gd name="T65" fmla="*/ 557202901 h 111"/>
              <a:gd name="T66" fmla="*/ 377757152 w 138"/>
              <a:gd name="T67" fmla="*/ 562362566 h 111"/>
              <a:gd name="T68" fmla="*/ 393279796 w 138"/>
              <a:gd name="T69" fmla="*/ 567522231 h 111"/>
              <a:gd name="T70" fmla="*/ 398454770 w 138"/>
              <a:gd name="T71" fmla="*/ 567522231 h 111"/>
              <a:gd name="T72" fmla="*/ 419154665 w 138"/>
              <a:gd name="T73" fmla="*/ 567522231 h 111"/>
              <a:gd name="T74" fmla="*/ 429504613 w 138"/>
              <a:gd name="T75" fmla="*/ 572681896 h 111"/>
              <a:gd name="T76" fmla="*/ 465727153 w 138"/>
              <a:gd name="T77" fmla="*/ 572681896 h 111"/>
              <a:gd name="T78" fmla="*/ 688241920 w 138"/>
              <a:gd name="T79" fmla="*/ 500451133 h 111"/>
              <a:gd name="T80" fmla="*/ 698589590 w 138"/>
              <a:gd name="T81" fmla="*/ 438539699 h 111"/>
              <a:gd name="T82" fmla="*/ 636494459 w 138"/>
              <a:gd name="T83" fmla="*/ 428222643 h 11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38" h="111">
                <a:moveTo>
                  <a:pt x="123" y="83"/>
                </a:moveTo>
                <a:cubicBezTo>
                  <a:pt x="113" y="90"/>
                  <a:pt x="101" y="93"/>
                  <a:pt x="89" y="93"/>
                </a:cubicBezTo>
                <a:cubicBezTo>
                  <a:pt x="88" y="93"/>
                  <a:pt x="86" y="93"/>
                  <a:pt x="85" y="93"/>
                </a:cubicBezTo>
                <a:cubicBezTo>
                  <a:pt x="84" y="93"/>
                  <a:pt x="83" y="93"/>
                  <a:pt x="83" y="92"/>
                </a:cubicBezTo>
                <a:cubicBezTo>
                  <a:pt x="82" y="92"/>
                  <a:pt x="80" y="92"/>
                  <a:pt x="79" y="92"/>
                </a:cubicBezTo>
                <a:cubicBezTo>
                  <a:pt x="78" y="92"/>
                  <a:pt x="78" y="92"/>
                  <a:pt x="77" y="91"/>
                </a:cubicBezTo>
                <a:cubicBezTo>
                  <a:pt x="76" y="91"/>
                  <a:pt x="75" y="91"/>
                  <a:pt x="74" y="91"/>
                </a:cubicBezTo>
                <a:cubicBezTo>
                  <a:pt x="73" y="90"/>
                  <a:pt x="72" y="90"/>
                  <a:pt x="72" y="90"/>
                </a:cubicBezTo>
                <a:cubicBezTo>
                  <a:pt x="71" y="90"/>
                  <a:pt x="69" y="89"/>
                  <a:pt x="68" y="89"/>
                </a:cubicBezTo>
                <a:cubicBezTo>
                  <a:pt x="68" y="88"/>
                  <a:pt x="68" y="88"/>
                  <a:pt x="67" y="88"/>
                </a:cubicBezTo>
                <a:cubicBezTo>
                  <a:pt x="66" y="88"/>
                  <a:pt x="64" y="87"/>
                  <a:pt x="63" y="86"/>
                </a:cubicBezTo>
                <a:cubicBezTo>
                  <a:pt x="63" y="86"/>
                  <a:pt x="63" y="86"/>
                  <a:pt x="63" y="86"/>
                </a:cubicBezTo>
                <a:cubicBezTo>
                  <a:pt x="58" y="83"/>
                  <a:pt x="54" y="80"/>
                  <a:pt x="50" y="76"/>
                </a:cubicBezTo>
                <a:cubicBezTo>
                  <a:pt x="50" y="76"/>
                  <a:pt x="50" y="76"/>
                  <a:pt x="50" y="76"/>
                </a:cubicBezTo>
                <a:cubicBezTo>
                  <a:pt x="48" y="75"/>
                  <a:pt x="47" y="74"/>
                  <a:pt x="46" y="72"/>
                </a:cubicBezTo>
                <a:cubicBezTo>
                  <a:pt x="46" y="72"/>
                  <a:pt x="46" y="72"/>
                  <a:pt x="45" y="71"/>
                </a:cubicBezTo>
                <a:cubicBezTo>
                  <a:pt x="38" y="62"/>
                  <a:pt x="33" y="49"/>
                  <a:pt x="33" y="36"/>
                </a:cubicBezTo>
                <a:cubicBezTo>
                  <a:pt x="48" y="36"/>
                  <a:pt x="48" y="36"/>
                  <a:pt x="48" y="36"/>
                </a:cubicBezTo>
                <a:cubicBezTo>
                  <a:pt x="24" y="0"/>
                  <a:pt x="24" y="0"/>
                  <a:pt x="24" y="0"/>
                </a:cubicBezTo>
                <a:cubicBezTo>
                  <a:pt x="0" y="36"/>
                  <a:pt x="0" y="36"/>
                  <a:pt x="0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5" y="52"/>
                  <a:pt x="20" y="66"/>
                  <a:pt x="28" y="78"/>
                </a:cubicBezTo>
                <a:cubicBezTo>
                  <a:pt x="28" y="79"/>
                  <a:pt x="28" y="79"/>
                  <a:pt x="29" y="79"/>
                </a:cubicBezTo>
                <a:cubicBezTo>
                  <a:pt x="29" y="80"/>
                  <a:pt x="30" y="81"/>
                  <a:pt x="31" y="83"/>
                </a:cubicBezTo>
                <a:cubicBezTo>
                  <a:pt x="32" y="83"/>
                  <a:pt x="32" y="83"/>
                  <a:pt x="32" y="84"/>
                </a:cubicBezTo>
                <a:cubicBezTo>
                  <a:pt x="34" y="86"/>
                  <a:pt x="35" y="87"/>
                  <a:pt x="37" y="89"/>
                </a:cubicBezTo>
                <a:cubicBezTo>
                  <a:pt x="37" y="89"/>
                  <a:pt x="37" y="89"/>
                  <a:pt x="37" y="89"/>
                </a:cubicBezTo>
                <a:cubicBezTo>
                  <a:pt x="42" y="94"/>
                  <a:pt x="48" y="98"/>
                  <a:pt x="54" y="102"/>
                </a:cubicBezTo>
                <a:cubicBezTo>
                  <a:pt x="54" y="102"/>
                  <a:pt x="54" y="102"/>
                  <a:pt x="54" y="102"/>
                </a:cubicBezTo>
                <a:cubicBezTo>
                  <a:pt x="56" y="103"/>
                  <a:pt x="58" y="104"/>
                  <a:pt x="60" y="105"/>
                </a:cubicBezTo>
                <a:cubicBezTo>
                  <a:pt x="60" y="105"/>
                  <a:pt x="61" y="105"/>
                  <a:pt x="61" y="105"/>
                </a:cubicBezTo>
                <a:cubicBezTo>
                  <a:pt x="63" y="106"/>
                  <a:pt x="64" y="106"/>
                  <a:pt x="66" y="107"/>
                </a:cubicBezTo>
                <a:cubicBezTo>
                  <a:pt x="67" y="107"/>
                  <a:pt x="68" y="108"/>
                  <a:pt x="68" y="108"/>
                </a:cubicBezTo>
                <a:cubicBezTo>
                  <a:pt x="70" y="108"/>
                  <a:pt x="71" y="109"/>
                  <a:pt x="73" y="109"/>
                </a:cubicBezTo>
                <a:cubicBezTo>
                  <a:pt x="74" y="109"/>
                  <a:pt x="75" y="109"/>
                  <a:pt x="76" y="110"/>
                </a:cubicBezTo>
                <a:cubicBezTo>
                  <a:pt x="76" y="110"/>
                  <a:pt x="77" y="110"/>
                  <a:pt x="77" y="110"/>
                </a:cubicBezTo>
                <a:cubicBezTo>
                  <a:pt x="78" y="110"/>
                  <a:pt x="80" y="110"/>
                  <a:pt x="81" y="110"/>
                </a:cubicBezTo>
                <a:cubicBezTo>
                  <a:pt x="82" y="110"/>
                  <a:pt x="82" y="111"/>
                  <a:pt x="83" y="111"/>
                </a:cubicBezTo>
                <a:cubicBezTo>
                  <a:pt x="85" y="111"/>
                  <a:pt x="88" y="111"/>
                  <a:pt x="90" y="111"/>
                </a:cubicBezTo>
                <a:cubicBezTo>
                  <a:pt x="105" y="111"/>
                  <a:pt x="120" y="106"/>
                  <a:pt x="133" y="97"/>
                </a:cubicBezTo>
                <a:cubicBezTo>
                  <a:pt x="137" y="95"/>
                  <a:pt x="138" y="89"/>
                  <a:pt x="135" y="85"/>
                </a:cubicBezTo>
                <a:cubicBezTo>
                  <a:pt x="132" y="81"/>
                  <a:pt x="127" y="80"/>
                  <a:pt x="123" y="83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29" name="Freeform 36"/>
          <p:cNvSpPr>
            <a:spLocks/>
          </p:cNvSpPr>
          <p:nvPr/>
        </p:nvSpPr>
        <p:spPr bwMode="auto">
          <a:xfrm>
            <a:off x="3056467" y="2372784"/>
            <a:ext cx="419100" cy="338667"/>
          </a:xfrm>
          <a:custGeom>
            <a:avLst/>
            <a:gdLst>
              <a:gd name="T0" fmla="*/ 636494459 w 138"/>
              <a:gd name="T1" fmla="*/ 393354468 h 111"/>
              <a:gd name="T2" fmla="*/ 569222076 w 138"/>
              <a:gd name="T3" fmla="*/ 173076973 h 111"/>
              <a:gd name="T4" fmla="*/ 564047102 w 138"/>
              <a:gd name="T5" fmla="*/ 167832216 h 111"/>
              <a:gd name="T6" fmla="*/ 548522180 w 138"/>
              <a:gd name="T7" fmla="*/ 146853189 h 111"/>
              <a:gd name="T8" fmla="*/ 548522180 w 138"/>
              <a:gd name="T9" fmla="*/ 141608432 h 111"/>
              <a:gd name="T10" fmla="*/ 403629743 w 138"/>
              <a:gd name="T11" fmla="*/ 31468541 h 111"/>
              <a:gd name="T12" fmla="*/ 398454770 w 138"/>
              <a:gd name="T13" fmla="*/ 31468541 h 111"/>
              <a:gd name="T14" fmla="*/ 372582178 w 138"/>
              <a:gd name="T15" fmla="*/ 20979027 h 111"/>
              <a:gd name="T16" fmla="*/ 362232230 w 138"/>
              <a:gd name="T17" fmla="*/ 15734270 h 111"/>
              <a:gd name="T18" fmla="*/ 336357360 w 138"/>
              <a:gd name="T19" fmla="*/ 10489514 h 111"/>
              <a:gd name="T20" fmla="*/ 320834716 w 138"/>
              <a:gd name="T21" fmla="*/ 5244757 h 111"/>
              <a:gd name="T22" fmla="*/ 315659742 w 138"/>
              <a:gd name="T23" fmla="*/ 5244757 h 111"/>
              <a:gd name="T24" fmla="*/ 294959847 w 138"/>
              <a:gd name="T25" fmla="*/ 5244757 h 111"/>
              <a:gd name="T26" fmla="*/ 284609899 w 138"/>
              <a:gd name="T27" fmla="*/ 0 h 111"/>
              <a:gd name="T28" fmla="*/ 253562333 w 138"/>
              <a:gd name="T29" fmla="*/ 0 h 111"/>
              <a:gd name="T30" fmla="*/ 248387359 w 138"/>
              <a:gd name="T31" fmla="*/ 0 h 111"/>
              <a:gd name="T32" fmla="*/ 248387359 w 138"/>
              <a:gd name="T33" fmla="*/ 0 h 111"/>
              <a:gd name="T34" fmla="*/ 25872592 w 138"/>
              <a:gd name="T35" fmla="*/ 73426595 h 111"/>
              <a:gd name="T36" fmla="*/ 15524922 w 138"/>
              <a:gd name="T37" fmla="*/ 136363676 h 111"/>
              <a:gd name="T38" fmla="*/ 77620053 w 138"/>
              <a:gd name="T39" fmla="*/ 146853189 h 111"/>
              <a:gd name="T40" fmla="*/ 248387359 w 138"/>
              <a:gd name="T41" fmla="*/ 94405622 h 111"/>
              <a:gd name="T42" fmla="*/ 274262229 w 138"/>
              <a:gd name="T43" fmla="*/ 94405622 h 111"/>
              <a:gd name="T44" fmla="*/ 284609899 w 138"/>
              <a:gd name="T45" fmla="*/ 94405622 h 111"/>
              <a:gd name="T46" fmla="*/ 305309795 w 138"/>
              <a:gd name="T47" fmla="*/ 99650378 h 111"/>
              <a:gd name="T48" fmla="*/ 315659742 w 138"/>
              <a:gd name="T49" fmla="*/ 99650378 h 111"/>
              <a:gd name="T50" fmla="*/ 336357360 w 138"/>
              <a:gd name="T51" fmla="*/ 104895135 h 111"/>
              <a:gd name="T52" fmla="*/ 341532334 w 138"/>
              <a:gd name="T53" fmla="*/ 110139892 h 111"/>
              <a:gd name="T54" fmla="*/ 362232230 w 138"/>
              <a:gd name="T55" fmla="*/ 115384649 h 111"/>
              <a:gd name="T56" fmla="*/ 362232230 w 138"/>
              <a:gd name="T57" fmla="*/ 120629405 h 111"/>
              <a:gd name="T58" fmla="*/ 476077101 w 138"/>
              <a:gd name="T59" fmla="*/ 204545514 h 111"/>
              <a:gd name="T60" fmla="*/ 476077101 w 138"/>
              <a:gd name="T61" fmla="*/ 204545514 h 111"/>
              <a:gd name="T62" fmla="*/ 543347206 w 138"/>
              <a:gd name="T63" fmla="*/ 393354468 h 111"/>
              <a:gd name="T64" fmla="*/ 465727153 w 138"/>
              <a:gd name="T65" fmla="*/ 393354468 h 111"/>
              <a:gd name="T66" fmla="*/ 589919693 w 138"/>
              <a:gd name="T67" fmla="*/ 582165712 h 111"/>
              <a:gd name="T68" fmla="*/ 714114512 w 138"/>
              <a:gd name="T69" fmla="*/ 393354468 h 111"/>
              <a:gd name="T70" fmla="*/ 636494459 w 138"/>
              <a:gd name="T71" fmla="*/ 393354468 h 11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38" h="111">
                <a:moveTo>
                  <a:pt x="123" y="75"/>
                </a:moveTo>
                <a:cubicBezTo>
                  <a:pt x="123" y="59"/>
                  <a:pt x="118" y="45"/>
                  <a:pt x="110" y="33"/>
                </a:cubicBezTo>
                <a:cubicBezTo>
                  <a:pt x="110" y="32"/>
                  <a:pt x="110" y="32"/>
                  <a:pt x="109" y="32"/>
                </a:cubicBezTo>
                <a:cubicBezTo>
                  <a:pt x="108" y="30"/>
                  <a:pt x="107" y="29"/>
                  <a:pt x="106" y="28"/>
                </a:cubicBezTo>
                <a:cubicBezTo>
                  <a:pt x="106" y="28"/>
                  <a:pt x="106" y="27"/>
                  <a:pt x="106" y="27"/>
                </a:cubicBezTo>
                <a:cubicBezTo>
                  <a:pt x="98" y="18"/>
                  <a:pt x="89" y="11"/>
                  <a:pt x="78" y="6"/>
                </a:cubicBezTo>
                <a:cubicBezTo>
                  <a:pt x="77" y="6"/>
                  <a:pt x="77" y="6"/>
                  <a:pt x="77" y="6"/>
                </a:cubicBezTo>
                <a:cubicBezTo>
                  <a:pt x="75" y="5"/>
                  <a:pt x="73" y="4"/>
                  <a:pt x="72" y="4"/>
                </a:cubicBezTo>
                <a:cubicBezTo>
                  <a:pt x="71" y="4"/>
                  <a:pt x="70" y="3"/>
                  <a:pt x="70" y="3"/>
                </a:cubicBezTo>
                <a:cubicBezTo>
                  <a:pt x="68" y="3"/>
                  <a:pt x="67" y="2"/>
                  <a:pt x="65" y="2"/>
                </a:cubicBezTo>
                <a:cubicBezTo>
                  <a:pt x="64" y="2"/>
                  <a:pt x="63" y="2"/>
                  <a:pt x="62" y="1"/>
                </a:cubicBezTo>
                <a:cubicBezTo>
                  <a:pt x="62" y="1"/>
                  <a:pt x="61" y="1"/>
                  <a:pt x="61" y="1"/>
                </a:cubicBezTo>
                <a:cubicBezTo>
                  <a:pt x="60" y="1"/>
                  <a:pt x="59" y="1"/>
                  <a:pt x="57" y="1"/>
                </a:cubicBezTo>
                <a:cubicBezTo>
                  <a:pt x="57" y="1"/>
                  <a:pt x="56" y="0"/>
                  <a:pt x="55" y="0"/>
                </a:cubicBezTo>
                <a:cubicBezTo>
                  <a:pt x="53" y="0"/>
                  <a:pt x="51" y="0"/>
                  <a:pt x="49" y="0"/>
                </a:cubicBezTo>
                <a:cubicBezTo>
                  <a:pt x="49" y="0"/>
                  <a:pt x="48" y="0"/>
                  <a:pt x="48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33" y="0"/>
                  <a:pt x="18" y="5"/>
                  <a:pt x="5" y="14"/>
                </a:cubicBezTo>
                <a:cubicBezTo>
                  <a:pt x="1" y="16"/>
                  <a:pt x="0" y="22"/>
                  <a:pt x="3" y="26"/>
                </a:cubicBezTo>
                <a:cubicBezTo>
                  <a:pt x="6" y="30"/>
                  <a:pt x="11" y="31"/>
                  <a:pt x="15" y="28"/>
                </a:cubicBezTo>
                <a:cubicBezTo>
                  <a:pt x="25" y="21"/>
                  <a:pt x="37" y="18"/>
                  <a:pt x="48" y="18"/>
                </a:cubicBezTo>
                <a:cubicBezTo>
                  <a:pt x="50" y="18"/>
                  <a:pt x="52" y="18"/>
                  <a:pt x="53" y="18"/>
                </a:cubicBezTo>
                <a:cubicBezTo>
                  <a:pt x="54" y="18"/>
                  <a:pt x="54" y="18"/>
                  <a:pt x="55" y="18"/>
                </a:cubicBezTo>
                <a:cubicBezTo>
                  <a:pt x="56" y="19"/>
                  <a:pt x="58" y="19"/>
                  <a:pt x="59" y="19"/>
                </a:cubicBezTo>
                <a:cubicBezTo>
                  <a:pt x="60" y="19"/>
                  <a:pt x="60" y="19"/>
                  <a:pt x="61" y="19"/>
                </a:cubicBezTo>
                <a:cubicBezTo>
                  <a:pt x="62" y="20"/>
                  <a:pt x="63" y="20"/>
                  <a:pt x="65" y="20"/>
                </a:cubicBezTo>
                <a:cubicBezTo>
                  <a:pt x="65" y="21"/>
                  <a:pt x="65" y="21"/>
                  <a:pt x="66" y="21"/>
                </a:cubicBezTo>
                <a:cubicBezTo>
                  <a:pt x="67" y="21"/>
                  <a:pt x="69" y="22"/>
                  <a:pt x="70" y="22"/>
                </a:cubicBezTo>
                <a:cubicBezTo>
                  <a:pt x="70" y="22"/>
                  <a:pt x="70" y="23"/>
                  <a:pt x="70" y="23"/>
                </a:cubicBezTo>
                <a:cubicBezTo>
                  <a:pt x="79" y="26"/>
                  <a:pt x="86" y="32"/>
                  <a:pt x="92" y="39"/>
                </a:cubicBezTo>
                <a:cubicBezTo>
                  <a:pt x="92" y="39"/>
                  <a:pt x="92" y="39"/>
                  <a:pt x="92" y="39"/>
                </a:cubicBezTo>
                <a:cubicBezTo>
                  <a:pt x="100" y="49"/>
                  <a:pt x="105" y="61"/>
                  <a:pt x="105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114" y="111"/>
                  <a:pt x="114" y="111"/>
                  <a:pt x="114" y="111"/>
                </a:cubicBezTo>
                <a:cubicBezTo>
                  <a:pt x="138" y="75"/>
                  <a:pt x="138" y="75"/>
                  <a:pt x="138" y="75"/>
                </a:cubicBezTo>
                <a:lnTo>
                  <a:pt x="123" y="7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30" name="Freeform 37"/>
          <p:cNvSpPr>
            <a:spLocks/>
          </p:cNvSpPr>
          <p:nvPr/>
        </p:nvSpPr>
        <p:spPr bwMode="auto">
          <a:xfrm>
            <a:off x="3780367" y="2410885"/>
            <a:ext cx="565151" cy="383116"/>
          </a:xfrm>
          <a:custGeom>
            <a:avLst/>
            <a:gdLst>
              <a:gd name="T0" fmla="*/ 701336026 w 186"/>
              <a:gd name="T1" fmla="*/ 46881540 h 126"/>
              <a:gd name="T2" fmla="*/ 436387468 w 186"/>
              <a:gd name="T3" fmla="*/ 296921741 h 126"/>
              <a:gd name="T4" fmla="*/ 436387468 w 186"/>
              <a:gd name="T5" fmla="*/ 296921741 h 126"/>
              <a:gd name="T6" fmla="*/ 436387468 w 186"/>
              <a:gd name="T7" fmla="*/ 312549682 h 126"/>
              <a:gd name="T8" fmla="*/ 436387468 w 186"/>
              <a:gd name="T9" fmla="*/ 343803281 h 126"/>
              <a:gd name="T10" fmla="*/ 264948558 w 186"/>
              <a:gd name="T11" fmla="*/ 515706062 h 126"/>
              <a:gd name="T12" fmla="*/ 93511926 w 186"/>
              <a:gd name="T13" fmla="*/ 343803281 h 126"/>
              <a:gd name="T14" fmla="*/ 264948558 w 186"/>
              <a:gd name="T15" fmla="*/ 171902781 h 126"/>
              <a:gd name="T16" fmla="*/ 264948558 w 186"/>
              <a:gd name="T17" fmla="*/ 250040201 h 126"/>
              <a:gd name="T18" fmla="*/ 451972409 w 186"/>
              <a:gd name="T19" fmla="*/ 125018960 h 126"/>
              <a:gd name="T20" fmla="*/ 264948558 w 186"/>
              <a:gd name="T21" fmla="*/ 0 h 126"/>
              <a:gd name="T22" fmla="*/ 264948558 w 186"/>
              <a:gd name="T23" fmla="*/ 78137420 h 126"/>
              <a:gd name="T24" fmla="*/ 0 w 186"/>
              <a:gd name="T25" fmla="*/ 343803281 h 126"/>
              <a:gd name="T26" fmla="*/ 264948558 w 186"/>
              <a:gd name="T27" fmla="*/ 609471423 h 126"/>
              <a:gd name="T28" fmla="*/ 529897115 w 186"/>
              <a:gd name="T29" fmla="*/ 359431222 h 126"/>
              <a:gd name="T30" fmla="*/ 529897115 w 186"/>
              <a:gd name="T31" fmla="*/ 359431222 h 126"/>
              <a:gd name="T32" fmla="*/ 529897115 w 186"/>
              <a:gd name="T33" fmla="*/ 343803281 h 126"/>
              <a:gd name="T34" fmla="*/ 529897115 w 186"/>
              <a:gd name="T35" fmla="*/ 312549682 h 126"/>
              <a:gd name="T36" fmla="*/ 701336026 w 186"/>
              <a:gd name="T37" fmla="*/ 140646901 h 126"/>
              <a:gd name="T38" fmla="*/ 872772657 w 186"/>
              <a:gd name="T39" fmla="*/ 312549682 h 126"/>
              <a:gd name="T40" fmla="*/ 701336026 w 186"/>
              <a:gd name="T41" fmla="*/ 484450182 h 126"/>
              <a:gd name="T42" fmla="*/ 701336026 w 186"/>
              <a:gd name="T43" fmla="*/ 406312762 h 126"/>
              <a:gd name="T44" fmla="*/ 514312174 w 186"/>
              <a:gd name="T45" fmla="*/ 531334002 h 126"/>
              <a:gd name="T46" fmla="*/ 701336026 w 186"/>
              <a:gd name="T47" fmla="*/ 656352963 h 126"/>
              <a:gd name="T48" fmla="*/ 701336026 w 186"/>
              <a:gd name="T49" fmla="*/ 578215543 h 126"/>
              <a:gd name="T50" fmla="*/ 966284583 w 186"/>
              <a:gd name="T51" fmla="*/ 312549682 h 126"/>
              <a:gd name="T52" fmla="*/ 701336026 w 186"/>
              <a:gd name="T53" fmla="*/ 46881540 h 12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86" h="126">
                <a:moveTo>
                  <a:pt x="135" y="9"/>
                </a:moveTo>
                <a:cubicBezTo>
                  <a:pt x="108" y="9"/>
                  <a:pt x="86" y="30"/>
                  <a:pt x="84" y="57"/>
                </a:cubicBezTo>
                <a:cubicBezTo>
                  <a:pt x="84" y="57"/>
                  <a:pt x="84" y="57"/>
                  <a:pt x="84" y="57"/>
                </a:cubicBezTo>
                <a:cubicBezTo>
                  <a:pt x="84" y="60"/>
                  <a:pt x="84" y="60"/>
                  <a:pt x="84" y="60"/>
                </a:cubicBezTo>
                <a:cubicBezTo>
                  <a:pt x="84" y="66"/>
                  <a:pt x="84" y="66"/>
                  <a:pt x="84" y="66"/>
                </a:cubicBezTo>
                <a:cubicBezTo>
                  <a:pt x="84" y="84"/>
                  <a:pt x="69" y="99"/>
                  <a:pt x="51" y="99"/>
                </a:cubicBezTo>
                <a:cubicBezTo>
                  <a:pt x="33" y="99"/>
                  <a:pt x="18" y="84"/>
                  <a:pt x="18" y="66"/>
                </a:cubicBezTo>
                <a:cubicBezTo>
                  <a:pt x="18" y="48"/>
                  <a:pt x="33" y="33"/>
                  <a:pt x="51" y="33"/>
                </a:cubicBezTo>
                <a:cubicBezTo>
                  <a:pt x="51" y="48"/>
                  <a:pt x="51" y="48"/>
                  <a:pt x="51" y="48"/>
                </a:cubicBezTo>
                <a:cubicBezTo>
                  <a:pt x="87" y="24"/>
                  <a:pt x="87" y="24"/>
                  <a:pt x="87" y="24"/>
                </a:cubicBezTo>
                <a:cubicBezTo>
                  <a:pt x="51" y="0"/>
                  <a:pt x="51" y="0"/>
                  <a:pt x="51" y="0"/>
                </a:cubicBezTo>
                <a:cubicBezTo>
                  <a:pt x="51" y="15"/>
                  <a:pt x="51" y="15"/>
                  <a:pt x="51" y="15"/>
                </a:cubicBezTo>
                <a:cubicBezTo>
                  <a:pt x="23" y="15"/>
                  <a:pt x="0" y="38"/>
                  <a:pt x="0" y="66"/>
                </a:cubicBezTo>
                <a:cubicBezTo>
                  <a:pt x="0" y="94"/>
                  <a:pt x="23" y="117"/>
                  <a:pt x="51" y="117"/>
                </a:cubicBezTo>
                <a:cubicBezTo>
                  <a:pt x="78" y="117"/>
                  <a:pt x="100" y="96"/>
                  <a:pt x="102" y="69"/>
                </a:cubicBezTo>
                <a:cubicBezTo>
                  <a:pt x="102" y="69"/>
                  <a:pt x="102" y="69"/>
                  <a:pt x="102" y="69"/>
                </a:cubicBezTo>
                <a:cubicBezTo>
                  <a:pt x="102" y="66"/>
                  <a:pt x="102" y="66"/>
                  <a:pt x="102" y="66"/>
                </a:cubicBezTo>
                <a:cubicBezTo>
                  <a:pt x="102" y="60"/>
                  <a:pt x="102" y="60"/>
                  <a:pt x="102" y="60"/>
                </a:cubicBezTo>
                <a:cubicBezTo>
                  <a:pt x="102" y="42"/>
                  <a:pt x="117" y="27"/>
                  <a:pt x="135" y="27"/>
                </a:cubicBezTo>
                <a:cubicBezTo>
                  <a:pt x="153" y="27"/>
                  <a:pt x="168" y="42"/>
                  <a:pt x="168" y="60"/>
                </a:cubicBezTo>
                <a:cubicBezTo>
                  <a:pt x="168" y="78"/>
                  <a:pt x="153" y="93"/>
                  <a:pt x="135" y="93"/>
                </a:cubicBezTo>
                <a:cubicBezTo>
                  <a:pt x="135" y="78"/>
                  <a:pt x="135" y="78"/>
                  <a:pt x="135" y="78"/>
                </a:cubicBezTo>
                <a:cubicBezTo>
                  <a:pt x="99" y="102"/>
                  <a:pt x="99" y="102"/>
                  <a:pt x="99" y="102"/>
                </a:cubicBezTo>
                <a:cubicBezTo>
                  <a:pt x="135" y="126"/>
                  <a:pt x="135" y="126"/>
                  <a:pt x="135" y="126"/>
                </a:cubicBezTo>
                <a:cubicBezTo>
                  <a:pt x="135" y="111"/>
                  <a:pt x="135" y="111"/>
                  <a:pt x="135" y="111"/>
                </a:cubicBezTo>
                <a:cubicBezTo>
                  <a:pt x="163" y="111"/>
                  <a:pt x="186" y="88"/>
                  <a:pt x="186" y="60"/>
                </a:cubicBezTo>
                <a:cubicBezTo>
                  <a:pt x="186" y="32"/>
                  <a:pt x="163" y="9"/>
                  <a:pt x="135" y="9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31" name="Freeform 38"/>
          <p:cNvSpPr>
            <a:spLocks/>
          </p:cNvSpPr>
          <p:nvPr/>
        </p:nvSpPr>
        <p:spPr bwMode="auto">
          <a:xfrm>
            <a:off x="4616451" y="2455333"/>
            <a:ext cx="571500" cy="289984"/>
          </a:xfrm>
          <a:custGeom>
            <a:avLst/>
            <a:gdLst>
              <a:gd name="T0" fmla="*/ 973291714 w 189"/>
              <a:gd name="T1" fmla="*/ 293821757 h 96"/>
              <a:gd name="T2" fmla="*/ 787903464 w 189"/>
              <a:gd name="T3" fmla="*/ 170107333 h 96"/>
              <a:gd name="T4" fmla="*/ 787903464 w 189"/>
              <a:gd name="T5" fmla="*/ 247428848 h 96"/>
              <a:gd name="T6" fmla="*/ 782753161 w 189"/>
              <a:gd name="T7" fmla="*/ 247428848 h 96"/>
              <a:gd name="T8" fmla="*/ 720956321 w 189"/>
              <a:gd name="T9" fmla="*/ 247428848 h 96"/>
              <a:gd name="T10" fmla="*/ 705507679 w 189"/>
              <a:gd name="T11" fmla="*/ 231964545 h 96"/>
              <a:gd name="T12" fmla="*/ 705507679 w 189"/>
              <a:gd name="T13" fmla="*/ 108250121 h 96"/>
              <a:gd name="T14" fmla="*/ 597364911 w 189"/>
              <a:gd name="T15" fmla="*/ 0 h 96"/>
              <a:gd name="T16" fmla="*/ 489219875 w 189"/>
              <a:gd name="T17" fmla="*/ 108250121 h 96"/>
              <a:gd name="T18" fmla="*/ 489219875 w 189"/>
              <a:gd name="T19" fmla="*/ 386607575 h 96"/>
              <a:gd name="T20" fmla="*/ 473771232 w 189"/>
              <a:gd name="T21" fmla="*/ 402071878 h 96"/>
              <a:gd name="T22" fmla="*/ 458322589 w 189"/>
              <a:gd name="T23" fmla="*/ 386607575 h 96"/>
              <a:gd name="T24" fmla="*/ 458322589 w 189"/>
              <a:gd name="T25" fmla="*/ 108250121 h 96"/>
              <a:gd name="T26" fmla="*/ 355327857 w 189"/>
              <a:gd name="T27" fmla="*/ 0 h 96"/>
              <a:gd name="T28" fmla="*/ 247185089 w 189"/>
              <a:gd name="T29" fmla="*/ 108250121 h 96"/>
              <a:gd name="T30" fmla="*/ 247185089 w 189"/>
              <a:gd name="T31" fmla="*/ 386607575 h 96"/>
              <a:gd name="T32" fmla="*/ 231736446 w 189"/>
              <a:gd name="T33" fmla="*/ 402071878 h 96"/>
              <a:gd name="T34" fmla="*/ 216287804 w 189"/>
              <a:gd name="T35" fmla="*/ 386607575 h 96"/>
              <a:gd name="T36" fmla="*/ 216287804 w 189"/>
              <a:gd name="T37" fmla="*/ 231964545 h 96"/>
              <a:gd name="T38" fmla="*/ 102994732 w 189"/>
              <a:gd name="T39" fmla="*/ 123714424 h 96"/>
              <a:gd name="T40" fmla="*/ 46348196 w 189"/>
              <a:gd name="T41" fmla="*/ 123714424 h 96"/>
              <a:gd name="T42" fmla="*/ 0 w 189"/>
              <a:gd name="T43" fmla="*/ 170107333 h 96"/>
              <a:gd name="T44" fmla="*/ 46348196 w 189"/>
              <a:gd name="T45" fmla="*/ 216500242 h 96"/>
              <a:gd name="T46" fmla="*/ 102994732 w 189"/>
              <a:gd name="T47" fmla="*/ 216500242 h 96"/>
              <a:gd name="T48" fmla="*/ 123593679 w 189"/>
              <a:gd name="T49" fmla="*/ 231964545 h 96"/>
              <a:gd name="T50" fmla="*/ 123593679 w 189"/>
              <a:gd name="T51" fmla="*/ 386607575 h 96"/>
              <a:gd name="T52" fmla="*/ 231736446 w 189"/>
              <a:gd name="T53" fmla="*/ 494857696 h 96"/>
              <a:gd name="T54" fmla="*/ 339879214 w 189"/>
              <a:gd name="T55" fmla="*/ 386607575 h 96"/>
              <a:gd name="T56" fmla="*/ 334728911 w 189"/>
              <a:gd name="T57" fmla="*/ 108250121 h 96"/>
              <a:gd name="T58" fmla="*/ 355327857 w 189"/>
              <a:gd name="T59" fmla="*/ 92785818 h 96"/>
              <a:gd name="T60" fmla="*/ 370778768 w 189"/>
              <a:gd name="T61" fmla="*/ 108250121 h 96"/>
              <a:gd name="T62" fmla="*/ 370778768 w 189"/>
              <a:gd name="T63" fmla="*/ 386607575 h 96"/>
              <a:gd name="T64" fmla="*/ 473771232 w 189"/>
              <a:gd name="T65" fmla="*/ 494857696 h 96"/>
              <a:gd name="T66" fmla="*/ 581916268 w 189"/>
              <a:gd name="T67" fmla="*/ 386607575 h 96"/>
              <a:gd name="T68" fmla="*/ 581916268 w 189"/>
              <a:gd name="T69" fmla="*/ 108250121 h 96"/>
              <a:gd name="T70" fmla="*/ 597364911 w 189"/>
              <a:gd name="T71" fmla="*/ 92785818 h 96"/>
              <a:gd name="T72" fmla="*/ 612813554 w 189"/>
              <a:gd name="T73" fmla="*/ 108250121 h 96"/>
              <a:gd name="T74" fmla="*/ 612813554 w 189"/>
              <a:gd name="T75" fmla="*/ 231964545 h 96"/>
              <a:gd name="T76" fmla="*/ 720956321 w 189"/>
              <a:gd name="T77" fmla="*/ 340214666 h 96"/>
              <a:gd name="T78" fmla="*/ 782753161 w 189"/>
              <a:gd name="T79" fmla="*/ 340214666 h 96"/>
              <a:gd name="T80" fmla="*/ 787903464 w 189"/>
              <a:gd name="T81" fmla="*/ 340214666 h 96"/>
              <a:gd name="T82" fmla="*/ 787903464 w 189"/>
              <a:gd name="T83" fmla="*/ 417536181 h 96"/>
              <a:gd name="T84" fmla="*/ 973291714 w 189"/>
              <a:gd name="T85" fmla="*/ 293821757 h 9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89" h="96">
                <a:moveTo>
                  <a:pt x="189" y="57"/>
                </a:moveTo>
                <a:cubicBezTo>
                  <a:pt x="153" y="33"/>
                  <a:pt x="153" y="33"/>
                  <a:pt x="153" y="33"/>
                </a:cubicBezTo>
                <a:cubicBezTo>
                  <a:pt x="153" y="48"/>
                  <a:pt x="153" y="48"/>
                  <a:pt x="153" y="48"/>
                </a:cubicBezTo>
                <a:cubicBezTo>
                  <a:pt x="152" y="48"/>
                  <a:pt x="152" y="48"/>
                  <a:pt x="152" y="48"/>
                </a:cubicBezTo>
                <a:cubicBezTo>
                  <a:pt x="140" y="48"/>
                  <a:pt x="140" y="48"/>
                  <a:pt x="140" y="48"/>
                </a:cubicBezTo>
                <a:cubicBezTo>
                  <a:pt x="139" y="48"/>
                  <a:pt x="138" y="48"/>
                  <a:pt x="137" y="45"/>
                </a:cubicBezTo>
                <a:cubicBezTo>
                  <a:pt x="137" y="21"/>
                  <a:pt x="137" y="21"/>
                  <a:pt x="137" y="21"/>
                </a:cubicBezTo>
                <a:cubicBezTo>
                  <a:pt x="137" y="13"/>
                  <a:pt x="132" y="0"/>
                  <a:pt x="116" y="0"/>
                </a:cubicBezTo>
                <a:cubicBezTo>
                  <a:pt x="101" y="0"/>
                  <a:pt x="95" y="13"/>
                  <a:pt x="95" y="21"/>
                </a:cubicBezTo>
                <a:cubicBezTo>
                  <a:pt x="95" y="75"/>
                  <a:pt x="95" y="75"/>
                  <a:pt x="95" y="75"/>
                </a:cubicBezTo>
                <a:cubicBezTo>
                  <a:pt x="95" y="78"/>
                  <a:pt x="94" y="78"/>
                  <a:pt x="92" y="78"/>
                </a:cubicBezTo>
                <a:cubicBezTo>
                  <a:pt x="91" y="78"/>
                  <a:pt x="90" y="78"/>
                  <a:pt x="89" y="75"/>
                </a:cubicBezTo>
                <a:cubicBezTo>
                  <a:pt x="89" y="21"/>
                  <a:pt x="89" y="21"/>
                  <a:pt x="89" y="21"/>
                </a:cubicBezTo>
                <a:cubicBezTo>
                  <a:pt x="89" y="13"/>
                  <a:pt x="84" y="0"/>
                  <a:pt x="69" y="0"/>
                </a:cubicBezTo>
                <a:cubicBezTo>
                  <a:pt x="53" y="0"/>
                  <a:pt x="48" y="13"/>
                  <a:pt x="48" y="21"/>
                </a:cubicBezTo>
                <a:cubicBezTo>
                  <a:pt x="48" y="75"/>
                  <a:pt x="48" y="75"/>
                  <a:pt x="48" y="75"/>
                </a:cubicBezTo>
                <a:cubicBezTo>
                  <a:pt x="47" y="78"/>
                  <a:pt x="46" y="78"/>
                  <a:pt x="45" y="78"/>
                </a:cubicBezTo>
                <a:cubicBezTo>
                  <a:pt x="43" y="78"/>
                  <a:pt x="42" y="78"/>
                  <a:pt x="42" y="75"/>
                </a:cubicBezTo>
                <a:cubicBezTo>
                  <a:pt x="42" y="45"/>
                  <a:pt x="42" y="45"/>
                  <a:pt x="42" y="45"/>
                </a:cubicBezTo>
                <a:cubicBezTo>
                  <a:pt x="42" y="30"/>
                  <a:pt x="29" y="24"/>
                  <a:pt x="20" y="24"/>
                </a:cubicBezTo>
                <a:cubicBezTo>
                  <a:pt x="9" y="24"/>
                  <a:pt x="9" y="24"/>
                  <a:pt x="9" y="24"/>
                </a:cubicBezTo>
                <a:cubicBezTo>
                  <a:pt x="4" y="24"/>
                  <a:pt x="0" y="28"/>
                  <a:pt x="0" y="33"/>
                </a:cubicBezTo>
                <a:cubicBezTo>
                  <a:pt x="0" y="38"/>
                  <a:pt x="4" y="42"/>
                  <a:pt x="9" y="42"/>
                </a:cubicBezTo>
                <a:cubicBezTo>
                  <a:pt x="20" y="42"/>
                  <a:pt x="20" y="42"/>
                  <a:pt x="20" y="42"/>
                </a:cubicBezTo>
                <a:cubicBezTo>
                  <a:pt x="24" y="42"/>
                  <a:pt x="24" y="44"/>
                  <a:pt x="24" y="45"/>
                </a:cubicBezTo>
                <a:cubicBezTo>
                  <a:pt x="24" y="75"/>
                  <a:pt x="24" y="75"/>
                  <a:pt x="24" y="75"/>
                </a:cubicBezTo>
                <a:cubicBezTo>
                  <a:pt x="24" y="83"/>
                  <a:pt x="29" y="96"/>
                  <a:pt x="45" y="96"/>
                </a:cubicBezTo>
                <a:cubicBezTo>
                  <a:pt x="60" y="96"/>
                  <a:pt x="66" y="83"/>
                  <a:pt x="66" y="75"/>
                </a:cubicBezTo>
                <a:cubicBezTo>
                  <a:pt x="65" y="21"/>
                  <a:pt x="65" y="21"/>
                  <a:pt x="65" y="21"/>
                </a:cubicBezTo>
                <a:cubicBezTo>
                  <a:pt x="66" y="18"/>
                  <a:pt x="67" y="18"/>
                  <a:pt x="69" y="18"/>
                </a:cubicBezTo>
                <a:cubicBezTo>
                  <a:pt x="70" y="18"/>
                  <a:pt x="71" y="18"/>
                  <a:pt x="72" y="21"/>
                </a:cubicBezTo>
                <a:cubicBezTo>
                  <a:pt x="72" y="75"/>
                  <a:pt x="72" y="75"/>
                  <a:pt x="72" y="75"/>
                </a:cubicBezTo>
                <a:cubicBezTo>
                  <a:pt x="72" y="83"/>
                  <a:pt x="77" y="96"/>
                  <a:pt x="92" y="96"/>
                </a:cubicBezTo>
                <a:cubicBezTo>
                  <a:pt x="108" y="96"/>
                  <a:pt x="113" y="83"/>
                  <a:pt x="113" y="75"/>
                </a:cubicBezTo>
                <a:cubicBezTo>
                  <a:pt x="113" y="21"/>
                  <a:pt x="113" y="21"/>
                  <a:pt x="113" y="21"/>
                </a:cubicBezTo>
                <a:cubicBezTo>
                  <a:pt x="114" y="18"/>
                  <a:pt x="115" y="18"/>
                  <a:pt x="116" y="18"/>
                </a:cubicBezTo>
                <a:cubicBezTo>
                  <a:pt x="118" y="18"/>
                  <a:pt x="119" y="18"/>
                  <a:pt x="119" y="21"/>
                </a:cubicBezTo>
                <a:cubicBezTo>
                  <a:pt x="119" y="45"/>
                  <a:pt x="119" y="45"/>
                  <a:pt x="119" y="45"/>
                </a:cubicBezTo>
                <a:cubicBezTo>
                  <a:pt x="119" y="53"/>
                  <a:pt x="125" y="66"/>
                  <a:pt x="140" y="66"/>
                </a:cubicBezTo>
                <a:cubicBezTo>
                  <a:pt x="152" y="66"/>
                  <a:pt x="152" y="66"/>
                  <a:pt x="152" y="66"/>
                </a:cubicBezTo>
                <a:cubicBezTo>
                  <a:pt x="152" y="66"/>
                  <a:pt x="152" y="66"/>
                  <a:pt x="153" y="66"/>
                </a:cubicBezTo>
                <a:cubicBezTo>
                  <a:pt x="153" y="81"/>
                  <a:pt x="153" y="81"/>
                  <a:pt x="153" y="81"/>
                </a:cubicBezTo>
                <a:lnTo>
                  <a:pt x="189" y="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32" name="Freeform 39"/>
          <p:cNvSpPr>
            <a:spLocks/>
          </p:cNvSpPr>
          <p:nvPr/>
        </p:nvSpPr>
        <p:spPr bwMode="auto">
          <a:xfrm>
            <a:off x="5708651" y="2628901"/>
            <a:ext cx="270933" cy="158751"/>
          </a:xfrm>
          <a:custGeom>
            <a:avLst/>
            <a:gdLst>
              <a:gd name="T0" fmla="*/ 458371787 w 90"/>
              <a:gd name="T1" fmla="*/ 145742271 h 52"/>
              <a:gd name="T2" fmla="*/ 275022169 w 90"/>
              <a:gd name="T3" fmla="*/ 20819997 h 52"/>
              <a:gd name="T4" fmla="*/ 275022169 w 90"/>
              <a:gd name="T5" fmla="*/ 98895560 h 52"/>
              <a:gd name="T6" fmla="*/ 269930880 w 90"/>
              <a:gd name="T7" fmla="*/ 98895560 h 52"/>
              <a:gd name="T8" fmla="*/ 142603502 w 90"/>
              <a:gd name="T9" fmla="*/ 98895560 h 52"/>
              <a:gd name="T10" fmla="*/ 61115787 w 90"/>
              <a:gd name="T11" fmla="*/ 0 h 52"/>
              <a:gd name="T12" fmla="*/ 0 w 90"/>
              <a:gd name="T13" fmla="*/ 72871135 h 52"/>
              <a:gd name="T14" fmla="*/ 86581262 w 90"/>
              <a:gd name="T15" fmla="*/ 176973411 h 52"/>
              <a:gd name="T16" fmla="*/ 122231573 w 90"/>
              <a:gd name="T17" fmla="*/ 192588982 h 52"/>
              <a:gd name="T18" fmla="*/ 269930880 w 90"/>
              <a:gd name="T19" fmla="*/ 192588982 h 52"/>
              <a:gd name="T20" fmla="*/ 275022169 w 90"/>
              <a:gd name="T21" fmla="*/ 192588982 h 52"/>
              <a:gd name="T22" fmla="*/ 275022169 w 90"/>
              <a:gd name="T23" fmla="*/ 270664544 h 52"/>
              <a:gd name="T24" fmla="*/ 458371787 w 90"/>
              <a:gd name="T25" fmla="*/ 145742271 h 5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90" h="52">
                <a:moveTo>
                  <a:pt x="90" y="28"/>
                </a:moveTo>
                <a:cubicBezTo>
                  <a:pt x="54" y="4"/>
                  <a:pt x="54" y="4"/>
                  <a:pt x="54" y="4"/>
                </a:cubicBezTo>
                <a:cubicBezTo>
                  <a:pt x="54" y="19"/>
                  <a:pt x="54" y="19"/>
                  <a:pt x="54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28" y="19"/>
                  <a:pt x="28" y="19"/>
                  <a:pt x="28" y="19"/>
                </a:cubicBezTo>
                <a:cubicBezTo>
                  <a:pt x="12" y="0"/>
                  <a:pt x="12" y="0"/>
                  <a:pt x="12" y="0"/>
                </a:cubicBezTo>
                <a:cubicBezTo>
                  <a:pt x="0" y="14"/>
                  <a:pt x="0" y="14"/>
                  <a:pt x="0" y="14"/>
                </a:cubicBezTo>
                <a:cubicBezTo>
                  <a:pt x="17" y="34"/>
                  <a:pt x="17" y="34"/>
                  <a:pt x="17" y="34"/>
                </a:cubicBezTo>
                <a:cubicBezTo>
                  <a:pt x="18" y="36"/>
                  <a:pt x="21" y="37"/>
                  <a:pt x="24" y="37"/>
                </a:cubicBezTo>
                <a:cubicBezTo>
                  <a:pt x="53" y="37"/>
                  <a:pt x="53" y="37"/>
                  <a:pt x="53" y="37"/>
                </a:cubicBezTo>
                <a:cubicBezTo>
                  <a:pt x="54" y="37"/>
                  <a:pt x="54" y="37"/>
                  <a:pt x="54" y="37"/>
                </a:cubicBezTo>
                <a:cubicBezTo>
                  <a:pt x="54" y="52"/>
                  <a:pt x="54" y="52"/>
                  <a:pt x="54" y="52"/>
                </a:cubicBezTo>
                <a:lnTo>
                  <a:pt x="90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33" name="Freeform 40"/>
          <p:cNvSpPr>
            <a:spLocks/>
          </p:cNvSpPr>
          <p:nvPr/>
        </p:nvSpPr>
        <p:spPr bwMode="auto">
          <a:xfrm>
            <a:off x="5499100" y="2484967"/>
            <a:ext cx="186267" cy="114300"/>
          </a:xfrm>
          <a:custGeom>
            <a:avLst/>
            <a:gdLst>
              <a:gd name="T0" fmla="*/ 196690840 w 62"/>
              <a:gd name="T1" fmla="*/ 0 h 37"/>
              <a:gd name="T2" fmla="*/ 45388981 w 62"/>
              <a:gd name="T3" fmla="*/ 0 h 37"/>
              <a:gd name="T4" fmla="*/ 0 w 62"/>
              <a:gd name="T5" fmla="*/ 47792846 h 37"/>
              <a:gd name="T6" fmla="*/ 45388981 w 62"/>
              <a:gd name="T7" fmla="*/ 95585692 h 37"/>
              <a:gd name="T8" fmla="*/ 171472737 w 62"/>
              <a:gd name="T9" fmla="*/ 95585692 h 37"/>
              <a:gd name="T10" fmla="*/ 252167513 w 62"/>
              <a:gd name="T11" fmla="*/ 196481700 h 37"/>
              <a:gd name="T12" fmla="*/ 312686905 w 62"/>
              <a:gd name="T13" fmla="*/ 122137273 h 37"/>
              <a:gd name="T14" fmla="*/ 226949410 w 62"/>
              <a:gd name="T15" fmla="*/ 15930949 h 37"/>
              <a:gd name="T16" fmla="*/ 196690840 w 62"/>
              <a:gd name="T17" fmla="*/ 0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2" h="37">
                <a:moveTo>
                  <a:pt x="39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50" y="37"/>
                  <a:pt x="50" y="37"/>
                  <a:pt x="50" y="37"/>
                </a:cubicBezTo>
                <a:cubicBezTo>
                  <a:pt x="62" y="23"/>
                  <a:pt x="62" y="23"/>
                  <a:pt x="62" y="23"/>
                </a:cubicBezTo>
                <a:cubicBezTo>
                  <a:pt x="45" y="3"/>
                  <a:pt x="45" y="3"/>
                  <a:pt x="45" y="3"/>
                </a:cubicBezTo>
                <a:cubicBezTo>
                  <a:pt x="44" y="1"/>
                  <a:pt x="41" y="0"/>
                  <a:pt x="39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34" name="Freeform 41"/>
          <p:cNvSpPr>
            <a:spLocks/>
          </p:cNvSpPr>
          <p:nvPr/>
        </p:nvSpPr>
        <p:spPr bwMode="auto">
          <a:xfrm>
            <a:off x="5496984" y="2440517"/>
            <a:ext cx="482600" cy="302683"/>
          </a:xfrm>
          <a:custGeom>
            <a:avLst/>
            <a:gdLst>
              <a:gd name="T0" fmla="*/ 819703641 w 160"/>
              <a:gd name="T1" fmla="*/ 125711908 h 99"/>
              <a:gd name="T2" fmla="*/ 635269756 w 160"/>
              <a:gd name="T3" fmla="*/ 0 h 99"/>
              <a:gd name="T4" fmla="*/ 635269756 w 160"/>
              <a:gd name="T5" fmla="*/ 78569083 h 99"/>
              <a:gd name="T6" fmla="*/ 630148163 w 160"/>
              <a:gd name="T7" fmla="*/ 78569083 h 99"/>
              <a:gd name="T8" fmla="*/ 481576737 w 160"/>
              <a:gd name="T9" fmla="*/ 78569083 h 99"/>
              <a:gd name="T10" fmla="*/ 445714279 w 160"/>
              <a:gd name="T11" fmla="*/ 94283358 h 99"/>
              <a:gd name="T12" fmla="*/ 179310030 w 160"/>
              <a:gd name="T13" fmla="*/ 424273963 h 99"/>
              <a:gd name="T14" fmla="*/ 46107906 w 160"/>
              <a:gd name="T15" fmla="*/ 424273963 h 99"/>
              <a:gd name="T16" fmla="*/ 0 w 160"/>
              <a:gd name="T17" fmla="*/ 471416788 h 99"/>
              <a:gd name="T18" fmla="*/ 46107906 w 160"/>
              <a:gd name="T19" fmla="*/ 518557320 h 99"/>
              <a:gd name="T20" fmla="*/ 204927041 w 160"/>
              <a:gd name="T21" fmla="*/ 518557320 h 99"/>
              <a:gd name="T22" fmla="*/ 235665645 w 160"/>
              <a:gd name="T23" fmla="*/ 502843045 h 99"/>
              <a:gd name="T24" fmla="*/ 502067632 w 160"/>
              <a:gd name="T25" fmla="*/ 172852440 h 99"/>
              <a:gd name="T26" fmla="*/ 630148163 w 160"/>
              <a:gd name="T27" fmla="*/ 172852440 h 99"/>
              <a:gd name="T28" fmla="*/ 635269756 w 160"/>
              <a:gd name="T29" fmla="*/ 172852440 h 99"/>
              <a:gd name="T30" fmla="*/ 635269756 w 160"/>
              <a:gd name="T31" fmla="*/ 251421523 h 99"/>
              <a:gd name="T32" fmla="*/ 819703641 w 160"/>
              <a:gd name="T33" fmla="*/ 125711908 h 9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0" h="99">
                <a:moveTo>
                  <a:pt x="160" y="24"/>
                </a:moveTo>
                <a:cubicBezTo>
                  <a:pt x="124" y="0"/>
                  <a:pt x="124" y="0"/>
                  <a:pt x="124" y="0"/>
                </a:cubicBezTo>
                <a:cubicBezTo>
                  <a:pt x="124" y="15"/>
                  <a:pt x="124" y="15"/>
                  <a:pt x="124" y="15"/>
                </a:cubicBezTo>
                <a:cubicBezTo>
                  <a:pt x="123" y="15"/>
                  <a:pt x="123" y="15"/>
                  <a:pt x="123" y="15"/>
                </a:cubicBezTo>
                <a:cubicBezTo>
                  <a:pt x="94" y="15"/>
                  <a:pt x="94" y="15"/>
                  <a:pt x="94" y="15"/>
                </a:cubicBezTo>
                <a:cubicBezTo>
                  <a:pt x="91" y="15"/>
                  <a:pt x="88" y="16"/>
                  <a:pt x="87" y="18"/>
                </a:cubicBezTo>
                <a:cubicBezTo>
                  <a:pt x="35" y="81"/>
                  <a:pt x="35" y="81"/>
                  <a:pt x="35" y="81"/>
                </a:cubicBezTo>
                <a:cubicBezTo>
                  <a:pt x="9" y="81"/>
                  <a:pt x="9" y="81"/>
                  <a:pt x="9" y="81"/>
                </a:cubicBezTo>
                <a:cubicBezTo>
                  <a:pt x="5" y="81"/>
                  <a:pt x="0" y="85"/>
                  <a:pt x="0" y="90"/>
                </a:cubicBezTo>
                <a:cubicBezTo>
                  <a:pt x="0" y="95"/>
                  <a:pt x="5" y="99"/>
                  <a:pt x="9" y="99"/>
                </a:cubicBezTo>
                <a:cubicBezTo>
                  <a:pt x="40" y="99"/>
                  <a:pt x="40" y="99"/>
                  <a:pt x="40" y="99"/>
                </a:cubicBezTo>
                <a:cubicBezTo>
                  <a:pt x="42" y="99"/>
                  <a:pt x="45" y="98"/>
                  <a:pt x="46" y="96"/>
                </a:cubicBezTo>
                <a:cubicBezTo>
                  <a:pt x="98" y="33"/>
                  <a:pt x="98" y="33"/>
                  <a:pt x="98" y="33"/>
                </a:cubicBezTo>
                <a:cubicBezTo>
                  <a:pt x="123" y="33"/>
                  <a:pt x="123" y="33"/>
                  <a:pt x="123" y="33"/>
                </a:cubicBezTo>
                <a:cubicBezTo>
                  <a:pt x="124" y="33"/>
                  <a:pt x="124" y="33"/>
                  <a:pt x="124" y="33"/>
                </a:cubicBezTo>
                <a:cubicBezTo>
                  <a:pt x="124" y="48"/>
                  <a:pt x="124" y="48"/>
                  <a:pt x="124" y="48"/>
                </a:cubicBezTo>
                <a:lnTo>
                  <a:pt x="160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35" name="Freeform 42"/>
          <p:cNvSpPr>
            <a:spLocks noEditPoints="1"/>
          </p:cNvSpPr>
          <p:nvPr/>
        </p:nvSpPr>
        <p:spPr bwMode="auto">
          <a:xfrm>
            <a:off x="6301318" y="2357967"/>
            <a:ext cx="520700" cy="520700"/>
          </a:xfrm>
          <a:custGeom>
            <a:avLst/>
            <a:gdLst>
              <a:gd name="T0" fmla="*/ 443447949 w 172"/>
              <a:gd name="T1" fmla="*/ 108282138 h 172"/>
              <a:gd name="T2" fmla="*/ 778613760 w 172"/>
              <a:gd name="T3" fmla="*/ 443438867 h 172"/>
              <a:gd name="T4" fmla="*/ 443447949 w 172"/>
              <a:gd name="T5" fmla="*/ 778593325 h 172"/>
              <a:gd name="T6" fmla="*/ 108284409 w 172"/>
              <a:gd name="T7" fmla="*/ 443438867 h 172"/>
              <a:gd name="T8" fmla="*/ 443447949 w 172"/>
              <a:gd name="T9" fmla="*/ 108282138 h 172"/>
              <a:gd name="T10" fmla="*/ 443447949 w 172"/>
              <a:gd name="T11" fmla="*/ 0 h 172"/>
              <a:gd name="T12" fmla="*/ 0 w 172"/>
              <a:gd name="T13" fmla="*/ 443438867 h 172"/>
              <a:gd name="T14" fmla="*/ 443447949 w 172"/>
              <a:gd name="T15" fmla="*/ 886875464 h 172"/>
              <a:gd name="T16" fmla="*/ 886898168 w 172"/>
              <a:gd name="T17" fmla="*/ 443438867 h 172"/>
              <a:gd name="T18" fmla="*/ 443447949 w 172"/>
              <a:gd name="T19" fmla="*/ 0 h 17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72" h="172">
                <a:moveTo>
                  <a:pt x="86" y="21"/>
                </a:moveTo>
                <a:cubicBezTo>
                  <a:pt x="122" y="21"/>
                  <a:pt x="151" y="50"/>
                  <a:pt x="151" y="86"/>
                </a:cubicBezTo>
                <a:cubicBezTo>
                  <a:pt x="151" y="122"/>
                  <a:pt x="122" y="151"/>
                  <a:pt x="86" y="151"/>
                </a:cubicBezTo>
                <a:cubicBezTo>
                  <a:pt x="50" y="151"/>
                  <a:pt x="21" y="122"/>
                  <a:pt x="21" y="86"/>
                </a:cubicBezTo>
                <a:cubicBezTo>
                  <a:pt x="21" y="50"/>
                  <a:pt x="50" y="21"/>
                  <a:pt x="86" y="21"/>
                </a:cubicBezTo>
                <a:moveTo>
                  <a:pt x="86" y="0"/>
                </a:moveTo>
                <a:cubicBezTo>
                  <a:pt x="38" y="0"/>
                  <a:pt x="0" y="38"/>
                  <a:pt x="0" y="86"/>
                </a:cubicBezTo>
                <a:cubicBezTo>
                  <a:pt x="0" y="134"/>
                  <a:pt x="38" y="172"/>
                  <a:pt x="86" y="172"/>
                </a:cubicBezTo>
                <a:cubicBezTo>
                  <a:pt x="134" y="172"/>
                  <a:pt x="172" y="134"/>
                  <a:pt x="172" y="86"/>
                </a:cubicBezTo>
                <a:cubicBezTo>
                  <a:pt x="172" y="38"/>
                  <a:pt x="134" y="0"/>
                  <a:pt x="86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36" name="Freeform 43"/>
          <p:cNvSpPr>
            <a:spLocks/>
          </p:cNvSpPr>
          <p:nvPr/>
        </p:nvSpPr>
        <p:spPr bwMode="auto">
          <a:xfrm>
            <a:off x="6532034" y="2455334"/>
            <a:ext cx="129117" cy="260351"/>
          </a:xfrm>
          <a:custGeom>
            <a:avLst/>
            <a:gdLst>
              <a:gd name="T0" fmla="*/ 161193454 w 44"/>
              <a:gd name="T1" fmla="*/ 443440003 h 86"/>
              <a:gd name="T2" fmla="*/ 122114919 w 44"/>
              <a:gd name="T3" fmla="*/ 427971086 h 86"/>
              <a:gd name="T4" fmla="*/ 14653350 w 44"/>
              <a:gd name="T5" fmla="*/ 319688671 h 86"/>
              <a:gd name="T6" fmla="*/ 0 w 44"/>
              <a:gd name="T7" fmla="*/ 278438227 h 86"/>
              <a:gd name="T8" fmla="*/ 0 w 44"/>
              <a:gd name="T9" fmla="*/ 278438227 h 86"/>
              <a:gd name="T10" fmla="*/ 0 w 44"/>
              <a:gd name="T11" fmla="*/ 278438227 h 86"/>
              <a:gd name="T12" fmla="*/ 0 w 44"/>
              <a:gd name="T13" fmla="*/ 56719361 h 86"/>
              <a:gd name="T14" fmla="*/ 53731885 w 44"/>
              <a:gd name="T15" fmla="*/ 0 h 86"/>
              <a:gd name="T16" fmla="*/ 107461569 w 44"/>
              <a:gd name="T17" fmla="*/ 56719361 h 86"/>
              <a:gd name="T18" fmla="*/ 107461569 w 44"/>
              <a:gd name="T19" fmla="*/ 257813005 h 86"/>
              <a:gd name="T20" fmla="*/ 195383870 w 44"/>
              <a:gd name="T21" fmla="*/ 350626504 h 86"/>
              <a:gd name="T22" fmla="*/ 195383870 w 44"/>
              <a:gd name="T23" fmla="*/ 427971086 h 86"/>
              <a:gd name="T24" fmla="*/ 161193454 w 44"/>
              <a:gd name="T25" fmla="*/ 443440003 h 8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4" h="86">
                <a:moveTo>
                  <a:pt x="33" y="86"/>
                </a:moveTo>
                <a:cubicBezTo>
                  <a:pt x="30" y="86"/>
                  <a:pt x="27" y="85"/>
                  <a:pt x="25" y="83"/>
                </a:cubicBezTo>
                <a:cubicBezTo>
                  <a:pt x="3" y="62"/>
                  <a:pt x="3" y="62"/>
                  <a:pt x="3" y="62"/>
                </a:cubicBezTo>
                <a:cubicBezTo>
                  <a:pt x="1" y="60"/>
                  <a:pt x="0" y="57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5" y="0"/>
                  <a:pt x="11" y="0"/>
                </a:cubicBezTo>
                <a:cubicBezTo>
                  <a:pt x="17" y="0"/>
                  <a:pt x="22" y="5"/>
                  <a:pt x="22" y="11"/>
                </a:cubicBezTo>
                <a:cubicBezTo>
                  <a:pt x="22" y="50"/>
                  <a:pt x="22" y="50"/>
                  <a:pt x="22" y="50"/>
                </a:cubicBezTo>
                <a:cubicBezTo>
                  <a:pt x="40" y="68"/>
                  <a:pt x="40" y="68"/>
                  <a:pt x="40" y="68"/>
                </a:cubicBezTo>
                <a:cubicBezTo>
                  <a:pt x="44" y="72"/>
                  <a:pt x="44" y="79"/>
                  <a:pt x="40" y="83"/>
                </a:cubicBezTo>
                <a:cubicBezTo>
                  <a:pt x="38" y="85"/>
                  <a:pt x="35" y="86"/>
                  <a:pt x="33" y="86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37" name="Freeform 44"/>
          <p:cNvSpPr>
            <a:spLocks noEditPoints="1"/>
          </p:cNvSpPr>
          <p:nvPr/>
        </p:nvSpPr>
        <p:spPr bwMode="auto">
          <a:xfrm>
            <a:off x="7158567" y="2351618"/>
            <a:ext cx="510117" cy="510116"/>
          </a:xfrm>
          <a:custGeom>
            <a:avLst/>
            <a:gdLst>
              <a:gd name="T0" fmla="*/ 436002295 w 168"/>
              <a:gd name="T1" fmla="*/ 0 h 168"/>
              <a:gd name="T2" fmla="*/ 0 w 168"/>
              <a:gd name="T3" fmla="*/ 435992046 h 168"/>
              <a:gd name="T4" fmla="*/ 31142208 w 168"/>
              <a:gd name="T5" fmla="*/ 591702678 h 168"/>
              <a:gd name="T6" fmla="*/ 46714450 w 168"/>
              <a:gd name="T7" fmla="*/ 628034779 h 168"/>
              <a:gd name="T8" fmla="*/ 197237778 w 168"/>
              <a:gd name="T9" fmla="*/ 799317612 h 168"/>
              <a:gd name="T10" fmla="*/ 228382263 w 168"/>
              <a:gd name="T11" fmla="*/ 820077512 h 168"/>
              <a:gd name="T12" fmla="*/ 436002295 w 168"/>
              <a:gd name="T13" fmla="*/ 871981815 h 168"/>
              <a:gd name="T14" fmla="*/ 643620050 w 168"/>
              <a:gd name="T15" fmla="*/ 820077512 h 168"/>
              <a:gd name="T16" fmla="*/ 674764535 w 168"/>
              <a:gd name="T17" fmla="*/ 799317612 h 168"/>
              <a:gd name="T18" fmla="*/ 825287862 w 168"/>
              <a:gd name="T19" fmla="*/ 628034779 h 168"/>
              <a:gd name="T20" fmla="*/ 840860105 w 168"/>
              <a:gd name="T21" fmla="*/ 591702678 h 168"/>
              <a:gd name="T22" fmla="*/ 872002312 w 168"/>
              <a:gd name="T23" fmla="*/ 435992046 h 168"/>
              <a:gd name="T24" fmla="*/ 436002295 w 168"/>
              <a:gd name="T25" fmla="*/ 0 h 168"/>
              <a:gd name="T26" fmla="*/ 254334482 w 168"/>
              <a:gd name="T27" fmla="*/ 762983234 h 168"/>
              <a:gd name="T28" fmla="*/ 93428901 w 168"/>
              <a:gd name="T29" fmla="*/ 581320451 h 168"/>
              <a:gd name="T30" fmla="*/ 155715593 w 168"/>
              <a:gd name="T31" fmla="*/ 560560551 h 168"/>
              <a:gd name="T32" fmla="*/ 280286702 w 168"/>
              <a:gd name="T33" fmla="*/ 685129057 h 168"/>
              <a:gd name="T34" fmla="*/ 254334482 w 168"/>
              <a:gd name="T35" fmla="*/ 762983234 h 168"/>
              <a:gd name="T36" fmla="*/ 617667830 w 168"/>
              <a:gd name="T37" fmla="*/ 762983234 h 168"/>
              <a:gd name="T38" fmla="*/ 591715611 w 168"/>
              <a:gd name="T39" fmla="*/ 685129057 h 168"/>
              <a:gd name="T40" fmla="*/ 716286719 w 168"/>
              <a:gd name="T41" fmla="*/ 560560551 h 168"/>
              <a:gd name="T42" fmla="*/ 778573412 w 168"/>
              <a:gd name="T43" fmla="*/ 581320451 h 168"/>
              <a:gd name="T44" fmla="*/ 617667830 w 168"/>
              <a:gd name="T45" fmla="*/ 762983234 h 168"/>
              <a:gd name="T46" fmla="*/ 794145654 w 168"/>
              <a:gd name="T47" fmla="*/ 550178324 h 168"/>
              <a:gd name="T48" fmla="*/ 716286719 w 168"/>
              <a:gd name="T49" fmla="*/ 529418425 h 168"/>
              <a:gd name="T50" fmla="*/ 560573403 w 168"/>
              <a:gd name="T51" fmla="*/ 685129057 h 168"/>
              <a:gd name="T52" fmla="*/ 591715611 w 168"/>
              <a:gd name="T53" fmla="*/ 773365461 h 168"/>
              <a:gd name="T54" fmla="*/ 436002295 w 168"/>
              <a:gd name="T55" fmla="*/ 809697562 h 168"/>
              <a:gd name="T56" fmla="*/ 280286702 w 168"/>
              <a:gd name="T57" fmla="*/ 773365461 h 168"/>
              <a:gd name="T58" fmla="*/ 311428909 w 168"/>
              <a:gd name="T59" fmla="*/ 685129057 h 168"/>
              <a:gd name="T60" fmla="*/ 155715593 w 168"/>
              <a:gd name="T61" fmla="*/ 529418425 h 168"/>
              <a:gd name="T62" fmla="*/ 77856658 w 168"/>
              <a:gd name="T63" fmla="*/ 550178324 h 168"/>
              <a:gd name="T64" fmla="*/ 62286693 w 168"/>
              <a:gd name="T65" fmla="*/ 435992046 h 168"/>
              <a:gd name="T66" fmla="*/ 436002295 w 168"/>
              <a:gd name="T67" fmla="*/ 62284253 h 168"/>
              <a:gd name="T68" fmla="*/ 809715620 w 168"/>
              <a:gd name="T69" fmla="*/ 435992046 h 168"/>
              <a:gd name="T70" fmla="*/ 794145654 w 168"/>
              <a:gd name="T71" fmla="*/ 550178324 h 1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68" h="168">
                <a:moveTo>
                  <a:pt x="84" y="0"/>
                </a:moveTo>
                <a:cubicBezTo>
                  <a:pt x="38" y="0"/>
                  <a:pt x="0" y="38"/>
                  <a:pt x="0" y="84"/>
                </a:cubicBezTo>
                <a:cubicBezTo>
                  <a:pt x="0" y="95"/>
                  <a:pt x="2" y="105"/>
                  <a:pt x="6" y="114"/>
                </a:cubicBezTo>
                <a:cubicBezTo>
                  <a:pt x="7" y="117"/>
                  <a:pt x="8" y="119"/>
                  <a:pt x="9" y="121"/>
                </a:cubicBezTo>
                <a:cubicBezTo>
                  <a:pt x="15" y="135"/>
                  <a:pt x="26" y="146"/>
                  <a:pt x="38" y="154"/>
                </a:cubicBezTo>
                <a:cubicBezTo>
                  <a:pt x="40" y="156"/>
                  <a:pt x="42" y="157"/>
                  <a:pt x="44" y="158"/>
                </a:cubicBezTo>
                <a:cubicBezTo>
                  <a:pt x="56" y="164"/>
                  <a:pt x="70" y="168"/>
                  <a:pt x="84" y="168"/>
                </a:cubicBezTo>
                <a:cubicBezTo>
                  <a:pt x="98" y="168"/>
                  <a:pt x="112" y="164"/>
                  <a:pt x="124" y="158"/>
                </a:cubicBezTo>
                <a:cubicBezTo>
                  <a:pt x="126" y="157"/>
                  <a:pt x="128" y="156"/>
                  <a:pt x="130" y="154"/>
                </a:cubicBezTo>
                <a:cubicBezTo>
                  <a:pt x="142" y="146"/>
                  <a:pt x="153" y="135"/>
                  <a:pt x="159" y="121"/>
                </a:cubicBezTo>
                <a:cubicBezTo>
                  <a:pt x="160" y="119"/>
                  <a:pt x="161" y="117"/>
                  <a:pt x="162" y="114"/>
                </a:cubicBezTo>
                <a:cubicBezTo>
                  <a:pt x="166" y="105"/>
                  <a:pt x="168" y="95"/>
                  <a:pt x="168" y="84"/>
                </a:cubicBezTo>
                <a:cubicBezTo>
                  <a:pt x="168" y="38"/>
                  <a:pt x="130" y="0"/>
                  <a:pt x="84" y="0"/>
                </a:cubicBezTo>
                <a:moveTo>
                  <a:pt x="49" y="147"/>
                </a:moveTo>
                <a:cubicBezTo>
                  <a:pt x="35" y="139"/>
                  <a:pt x="24" y="127"/>
                  <a:pt x="18" y="112"/>
                </a:cubicBezTo>
                <a:cubicBezTo>
                  <a:pt x="21" y="109"/>
                  <a:pt x="25" y="108"/>
                  <a:pt x="30" y="108"/>
                </a:cubicBezTo>
                <a:cubicBezTo>
                  <a:pt x="43" y="108"/>
                  <a:pt x="54" y="119"/>
                  <a:pt x="54" y="132"/>
                </a:cubicBezTo>
                <a:cubicBezTo>
                  <a:pt x="54" y="138"/>
                  <a:pt x="52" y="143"/>
                  <a:pt x="49" y="147"/>
                </a:cubicBezTo>
                <a:moveTo>
                  <a:pt x="119" y="147"/>
                </a:moveTo>
                <a:cubicBezTo>
                  <a:pt x="116" y="143"/>
                  <a:pt x="114" y="138"/>
                  <a:pt x="114" y="132"/>
                </a:cubicBezTo>
                <a:cubicBezTo>
                  <a:pt x="114" y="119"/>
                  <a:pt x="125" y="108"/>
                  <a:pt x="138" y="108"/>
                </a:cubicBezTo>
                <a:cubicBezTo>
                  <a:pt x="143" y="108"/>
                  <a:pt x="147" y="109"/>
                  <a:pt x="150" y="112"/>
                </a:cubicBezTo>
                <a:cubicBezTo>
                  <a:pt x="144" y="127"/>
                  <a:pt x="133" y="139"/>
                  <a:pt x="119" y="147"/>
                </a:cubicBezTo>
                <a:moveTo>
                  <a:pt x="153" y="106"/>
                </a:moveTo>
                <a:cubicBezTo>
                  <a:pt x="148" y="103"/>
                  <a:pt x="143" y="102"/>
                  <a:pt x="138" y="102"/>
                </a:cubicBezTo>
                <a:cubicBezTo>
                  <a:pt x="121" y="102"/>
                  <a:pt x="108" y="115"/>
                  <a:pt x="108" y="132"/>
                </a:cubicBezTo>
                <a:cubicBezTo>
                  <a:pt x="108" y="139"/>
                  <a:pt x="110" y="145"/>
                  <a:pt x="114" y="149"/>
                </a:cubicBezTo>
                <a:cubicBezTo>
                  <a:pt x="105" y="154"/>
                  <a:pt x="95" y="156"/>
                  <a:pt x="84" y="156"/>
                </a:cubicBezTo>
                <a:cubicBezTo>
                  <a:pt x="73" y="156"/>
                  <a:pt x="63" y="154"/>
                  <a:pt x="54" y="149"/>
                </a:cubicBezTo>
                <a:cubicBezTo>
                  <a:pt x="58" y="145"/>
                  <a:pt x="60" y="139"/>
                  <a:pt x="60" y="132"/>
                </a:cubicBezTo>
                <a:cubicBezTo>
                  <a:pt x="60" y="115"/>
                  <a:pt x="47" y="102"/>
                  <a:pt x="30" y="102"/>
                </a:cubicBezTo>
                <a:cubicBezTo>
                  <a:pt x="25" y="102"/>
                  <a:pt x="20" y="103"/>
                  <a:pt x="15" y="106"/>
                </a:cubicBezTo>
                <a:cubicBezTo>
                  <a:pt x="13" y="99"/>
                  <a:pt x="12" y="92"/>
                  <a:pt x="12" y="84"/>
                </a:cubicBezTo>
                <a:cubicBezTo>
                  <a:pt x="12" y="44"/>
                  <a:pt x="44" y="12"/>
                  <a:pt x="84" y="12"/>
                </a:cubicBezTo>
                <a:cubicBezTo>
                  <a:pt x="124" y="12"/>
                  <a:pt x="156" y="44"/>
                  <a:pt x="156" y="84"/>
                </a:cubicBezTo>
                <a:cubicBezTo>
                  <a:pt x="156" y="92"/>
                  <a:pt x="155" y="99"/>
                  <a:pt x="153" y="106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38" name="Oval 45"/>
          <p:cNvSpPr>
            <a:spLocks noChangeArrowheads="1"/>
          </p:cNvSpPr>
          <p:nvPr/>
        </p:nvSpPr>
        <p:spPr bwMode="auto">
          <a:xfrm>
            <a:off x="7393518" y="2423585"/>
            <a:ext cx="35983" cy="381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39" name="Freeform 46"/>
          <p:cNvSpPr>
            <a:spLocks/>
          </p:cNvSpPr>
          <p:nvPr/>
        </p:nvSpPr>
        <p:spPr bwMode="auto">
          <a:xfrm>
            <a:off x="7473951" y="2444751"/>
            <a:ext cx="40216" cy="40216"/>
          </a:xfrm>
          <a:custGeom>
            <a:avLst/>
            <a:gdLst>
              <a:gd name="T0" fmla="*/ 47455598 w 14"/>
              <a:gd name="T1" fmla="*/ 9490258 h 14"/>
              <a:gd name="T2" fmla="*/ 9490258 w 14"/>
              <a:gd name="T3" fmla="*/ 18982670 h 14"/>
              <a:gd name="T4" fmla="*/ 18982670 w 14"/>
              <a:gd name="T5" fmla="*/ 56948010 h 14"/>
              <a:gd name="T6" fmla="*/ 56948010 w 14"/>
              <a:gd name="T7" fmla="*/ 47455598 h 14"/>
              <a:gd name="T8" fmla="*/ 47455598 w 14"/>
              <a:gd name="T9" fmla="*/ 9490258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14">
                <a:moveTo>
                  <a:pt x="10" y="2"/>
                </a:moveTo>
                <a:cubicBezTo>
                  <a:pt x="7" y="0"/>
                  <a:pt x="3" y="1"/>
                  <a:pt x="2" y="4"/>
                </a:cubicBezTo>
                <a:cubicBezTo>
                  <a:pt x="0" y="7"/>
                  <a:pt x="1" y="11"/>
                  <a:pt x="4" y="12"/>
                </a:cubicBezTo>
                <a:cubicBezTo>
                  <a:pt x="7" y="14"/>
                  <a:pt x="11" y="13"/>
                  <a:pt x="12" y="10"/>
                </a:cubicBezTo>
                <a:cubicBezTo>
                  <a:pt x="14" y="7"/>
                  <a:pt x="13" y="4"/>
                  <a:pt x="10" y="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40" name="Freeform 47"/>
          <p:cNvSpPr>
            <a:spLocks/>
          </p:cNvSpPr>
          <p:nvPr/>
        </p:nvSpPr>
        <p:spPr bwMode="auto">
          <a:xfrm>
            <a:off x="7535334" y="2501900"/>
            <a:ext cx="40217" cy="44451"/>
          </a:xfrm>
          <a:custGeom>
            <a:avLst/>
            <a:gdLst>
              <a:gd name="T0" fmla="*/ 18983300 w 14"/>
              <a:gd name="T1" fmla="*/ 11365877 h 14"/>
              <a:gd name="T2" fmla="*/ 9490573 w 14"/>
              <a:gd name="T3" fmla="*/ 56824621 h 14"/>
              <a:gd name="T4" fmla="*/ 47457172 w 14"/>
              <a:gd name="T5" fmla="*/ 68188116 h 14"/>
              <a:gd name="T6" fmla="*/ 56949899 w 14"/>
              <a:gd name="T7" fmla="*/ 22729372 h 14"/>
              <a:gd name="T8" fmla="*/ 18983300 w 14"/>
              <a:gd name="T9" fmla="*/ 11365877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14">
                <a:moveTo>
                  <a:pt x="4" y="2"/>
                </a:moveTo>
                <a:cubicBezTo>
                  <a:pt x="1" y="3"/>
                  <a:pt x="0" y="7"/>
                  <a:pt x="2" y="10"/>
                </a:cubicBezTo>
                <a:cubicBezTo>
                  <a:pt x="3" y="13"/>
                  <a:pt x="7" y="14"/>
                  <a:pt x="10" y="12"/>
                </a:cubicBezTo>
                <a:cubicBezTo>
                  <a:pt x="13" y="11"/>
                  <a:pt x="14" y="7"/>
                  <a:pt x="12" y="4"/>
                </a:cubicBezTo>
                <a:cubicBezTo>
                  <a:pt x="10" y="1"/>
                  <a:pt x="7" y="0"/>
                  <a:pt x="4" y="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41" name="Oval 48"/>
          <p:cNvSpPr>
            <a:spLocks noChangeArrowheads="1"/>
          </p:cNvSpPr>
          <p:nvPr/>
        </p:nvSpPr>
        <p:spPr bwMode="auto">
          <a:xfrm>
            <a:off x="7558617" y="2588685"/>
            <a:ext cx="33867" cy="381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42" name="Freeform 49"/>
          <p:cNvSpPr>
            <a:spLocks/>
          </p:cNvSpPr>
          <p:nvPr/>
        </p:nvSpPr>
        <p:spPr bwMode="auto">
          <a:xfrm>
            <a:off x="7308851" y="2444751"/>
            <a:ext cx="40216" cy="40216"/>
          </a:xfrm>
          <a:custGeom>
            <a:avLst/>
            <a:gdLst>
              <a:gd name="T0" fmla="*/ 56948010 w 14"/>
              <a:gd name="T1" fmla="*/ 18982670 h 14"/>
              <a:gd name="T2" fmla="*/ 18982670 w 14"/>
              <a:gd name="T3" fmla="*/ 9490258 h 14"/>
              <a:gd name="T4" fmla="*/ 9490258 w 14"/>
              <a:gd name="T5" fmla="*/ 47455598 h 14"/>
              <a:gd name="T6" fmla="*/ 47455598 w 14"/>
              <a:gd name="T7" fmla="*/ 56948010 h 14"/>
              <a:gd name="T8" fmla="*/ 56948010 w 14"/>
              <a:gd name="T9" fmla="*/ 18982670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14">
                <a:moveTo>
                  <a:pt x="12" y="4"/>
                </a:moveTo>
                <a:cubicBezTo>
                  <a:pt x="11" y="1"/>
                  <a:pt x="7" y="0"/>
                  <a:pt x="4" y="2"/>
                </a:cubicBezTo>
                <a:cubicBezTo>
                  <a:pt x="1" y="4"/>
                  <a:pt x="0" y="7"/>
                  <a:pt x="2" y="10"/>
                </a:cubicBezTo>
                <a:cubicBezTo>
                  <a:pt x="3" y="13"/>
                  <a:pt x="7" y="14"/>
                  <a:pt x="10" y="12"/>
                </a:cubicBezTo>
                <a:cubicBezTo>
                  <a:pt x="13" y="11"/>
                  <a:pt x="14" y="7"/>
                  <a:pt x="12" y="4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43" name="Freeform 50"/>
          <p:cNvSpPr>
            <a:spLocks/>
          </p:cNvSpPr>
          <p:nvPr/>
        </p:nvSpPr>
        <p:spPr bwMode="auto">
          <a:xfrm>
            <a:off x="7247467" y="2501900"/>
            <a:ext cx="44451" cy="44451"/>
          </a:xfrm>
          <a:custGeom>
            <a:avLst/>
            <a:gdLst>
              <a:gd name="T0" fmla="*/ 56827002 w 14"/>
              <a:gd name="T1" fmla="*/ 11365877 h 14"/>
              <a:gd name="T2" fmla="*/ 11365877 w 14"/>
              <a:gd name="T3" fmla="*/ 22729372 h 14"/>
              <a:gd name="T4" fmla="*/ 22729372 w 14"/>
              <a:gd name="T5" fmla="*/ 68188116 h 14"/>
              <a:gd name="T6" fmla="*/ 68190498 w 14"/>
              <a:gd name="T7" fmla="*/ 56824621 h 14"/>
              <a:gd name="T8" fmla="*/ 56827002 w 14"/>
              <a:gd name="T9" fmla="*/ 11365877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14">
                <a:moveTo>
                  <a:pt x="10" y="2"/>
                </a:moveTo>
                <a:cubicBezTo>
                  <a:pt x="7" y="0"/>
                  <a:pt x="4" y="1"/>
                  <a:pt x="2" y="4"/>
                </a:cubicBezTo>
                <a:cubicBezTo>
                  <a:pt x="0" y="7"/>
                  <a:pt x="1" y="11"/>
                  <a:pt x="4" y="12"/>
                </a:cubicBezTo>
                <a:cubicBezTo>
                  <a:pt x="7" y="14"/>
                  <a:pt x="11" y="13"/>
                  <a:pt x="12" y="10"/>
                </a:cubicBezTo>
                <a:cubicBezTo>
                  <a:pt x="14" y="7"/>
                  <a:pt x="13" y="3"/>
                  <a:pt x="10" y="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44" name="Oval 51"/>
          <p:cNvSpPr>
            <a:spLocks noChangeArrowheads="1"/>
          </p:cNvSpPr>
          <p:nvPr/>
        </p:nvSpPr>
        <p:spPr bwMode="auto">
          <a:xfrm>
            <a:off x="7230534" y="2588685"/>
            <a:ext cx="38100" cy="381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45" name="Freeform 52"/>
          <p:cNvSpPr>
            <a:spLocks/>
          </p:cNvSpPr>
          <p:nvPr/>
        </p:nvSpPr>
        <p:spPr bwMode="auto">
          <a:xfrm>
            <a:off x="7342718" y="2518834"/>
            <a:ext cx="105833" cy="141817"/>
          </a:xfrm>
          <a:custGeom>
            <a:avLst/>
            <a:gdLst>
              <a:gd name="T0" fmla="*/ 123886232 w 35"/>
              <a:gd name="T1" fmla="*/ 116682474 h 47"/>
              <a:gd name="T2" fmla="*/ 0 w 35"/>
              <a:gd name="T3" fmla="*/ 0 h 47"/>
              <a:gd name="T4" fmla="*/ 61944250 w 35"/>
              <a:gd name="T5" fmla="*/ 157265616 h 47"/>
              <a:gd name="T6" fmla="*/ 56782607 w 35"/>
              <a:gd name="T7" fmla="*/ 177558319 h 47"/>
              <a:gd name="T8" fmla="*/ 118724589 w 35"/>
              <a:gd name="T9" fmla="*/ 238436426 h 47"/>
              <a:gd name="T10" fmla="*/ 149696714 w 35"/>
              <a:gd name="T11" fmla="*/ 228291207 h 47"/>
              <a:gd name="T12" fmla="*/ 154858357 w 35"/>
              <a:gd name="T13" fmla="*/ 228291207 h 47"/>
              <a:gd name="T14" fmla="*/ 154858357 w 35"/>
              <a:gd name="T15" fmla="*/ 228291207 h 47"/>
              <a:gd name="T16" fmla="*/ 180668839 w 35"/>
              <a:gd name="T17" fmla="*/ 177558319 h 47"/>
              <a:gd name="T18" fmla="*/ 123886232 w 35"/>
              <a:gd name="T19" fmla="*/ 116682474 h 4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5" h="47">
                <a:moveTo>
                  <a:pt x="24" y="23"/>
                </a:moveTo>
                <a:cubicBezTo>
                  <a:pt x="14" y="11"/>
                  <a:pt x="0" y="0"/>
                  <a:pt x="0" y="0"/>
                </a:cubicBezTo>
                <a:cubicBezTo>
                  <a:pt x="0" y="0"/>
                  <a:pt x="5" y="18"/>
                  <a:pt x="12" y="31"/>
                </a:cubicBezTo>
                <a:cubicBezTo>
                  <a:pt x="11" y="33"/>
                  <a:pt x="11" y="34"/>
                  <a:pt x="11" y="35"/>
                </a:cubicBezTo>
                <a:cubicBezTo>
                  <a:pt x="11" y="42"/>
                  <a:pt x="16" y="47"/>
                  <a:pt x="23" y="47"/>
                </a:cubicBezTo>
                <a:cubicBezTo>
                  <a:pt x="25" y="47"/>
                  <a:pt x="27" y="46"/>
                  <a:pt x="29" y="45"/>
                </a:cubicBezTo>
                <a:cubicBezTo>
                  <a:pt x="29" y="45"/>
                  <a:pt x="30" y="45"/>
                  <a:pt x="30" y="45"/>
                </a:cubicBezTo>
                <a:cubicBezTo>
                  <a:pt x="30" y="45"/>
                  <a:pt x="30" y="45"/>
                  <a:pt x="30" y="45"/>
                </a:cubicBezTo>
                <a:cubicBezTo>
                  <a:pt x="33" y="43"/>
                  <a:pt x="35" y="39"/>
                  <a:pt x="35" y="35"/>
                </a:cubicBezTo>
                <a:cubicBezTo>
                  <a:pt x="35" y="29"/>
                  <a:pt x="30" y="24"/>
                  <a:pt x="24" y="23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46" name="Freeform 53"/>
          <p:cNvSpPr>
            <a:spLocks noEditPoints="1"/>
          </p:cNvSpPr>
          <p:nvPr/>
        </p:nvSpPr>
        <p:spPr bwMode="auto">
          <a:xfrm>
            <a:off x="8011584" y="2330452"/>
            <a:ext cx="550333" cy="552449"/>
          </a:xfrm>
          <a:custGeom>
            <a:avLst/>
            <a:gdLst>
              <a:gd name="T0" fmla="*/ 469160679 w 182"/>
              <a:gd name="T1" fmla="*/ 0 h 182"/>
              <a:gd name="T2" fmla="*/ 0 w 182"/>
              <a:gd name="T3" fmla="*/ 470955468 h 182"/>
              <a:gd name="T4" fmla="*/ 469160679 w 182"/>
              <a:gd name="T5" fmla="*/ 941908660 h 182"/>
              <a:gd name="T6" fmla="*/ 938319089 w 182"/>
              <a:gd name="T7" fmla="*/ 470955468 h 182"/>
              <a:gd name="T8" fmla="*/ 469160679 w 182"/>
              <a:gd name="T9" fmla="*/ 0 h 182"/>
              <a:gd name="T10" fmla="*/ 469160679 w 182"/>
              <a:gd name="T11" fmla="*/ 833227154 h 182"/>
              <a:gd name="T12" fmla="*/ 108267500 w 182"/>
              <a:gd name="T13" fmla="*/ 470955468 h 182"/>
              <a:gd name="T14" fmla="*/ 469160679 w 182"/>
              <a:gd name="T15" fmla="*/ 108681506 h 182"/>
              <a:gd name="T16" fmla="*/ 830051589 w 182"/>
              <a:gd name="T17" fmla="*/ 470955468 h 182"/>
              <a:gd name="T18" fmla="*/ 469160679 w 182"/>
              <a:gd name="T19" fmla="*/ 833227154 h 18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82" h="182">
                <a:moveTo>
                  <a:pt x="91" y="0"/>
                </a:moveTo>
                <a:cubicBezTo>
                  <a:pt x="41" y="0"/>
                  <a:pt x="0" y="41"/>
                  <a:pt x="0" y="91"/>
                </a:cubicBezTo>
                <a:cubicBezTo>
                  <a:pt x="0" y="141"/>
                  <a:pt x="41" y="182"/>
                  <a:pt x="91" y="182"/>
                </a:cubicBezTo>
                <a:cubicBezTo>
                  <a:pt x="141" y="182"/>
                  <a:pt x="182" y="141"/>
                  <a:pt x="182" y="91"/>
                </a:cubicBezTo>
                <a:cubicBezTo>
                  <a:pt x="182" y="41"/>
                  <a:pt x="141" y="0"/>
                  <a:pt x="91" y="0"/>
                </a:cubicBezTo>
                <a:moveTo>
                  <a:pt x="91" y="161"/>
                </a:moveTo>
                <a:cubicBezTo>
                  <a:pt x="52" y="161"/>
                  <a:pt x="21" y="130"/>
                  <a:pt x="21" y="91"/>
                </a:cubicBezTo>
                <a:cubicBezTo>
                  <a:pt x="21" y="52"/>
                  <a:pt x="52" y="21"/>
                  <a:pt x="91" y="21"/>
                </a:cubicBezTo>
                <a:cubicBezTo>
                  <a:pt x="130" y="21"/>
                  <a:pt x="161" y="52"/>
                  <a:pt x="161" y="91"/>
                </a:cubicBezTo>
                <a:cubicBezTo>
                  <a:pt x="161" y="130"/>
                  <a:pt x="130" y="161"/>
                  <a:pt x="91" y="16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47" name="Freeform 54"/>
          <p:cNvSpPr>
            <a:spLocks noEditPoints="1"/>
          </p:cNvSpPr>
          <p:nvPr/>
        </p:nvSpPr>
        <p:spPr bwMode="auto">
          <a:xfrm>
            <a:off x="8166101" y="2484968"/>
            <a:ext cx="243417" cy="243417"/>
          </a:xfrm>
          <a:custGeom>
            <a:avLst/>
            <a:gdLst>
              <a:gd name="T0" fmla="*/ 0 w 71"/>
              <a:gd name="T1" fmla="*/ 469150912 h 71"/>
              <a:gd name="T2" fmla="*/ 317178785 w 71"/>
              <a:gd name="T3" fmla="*/ 323779337 h 71"/>
              <a:gd name="T4" fmla="*/ 469161197 w 71"/>
              <a:gd name="T5" fmla="*/ 0 h 71"/>
              <a:gd name="T6" fmla="*/ 145374146 w 71"/>
              <a:gd name="T7" fmla="*/ 145371574 h 71"/>
              <a:gd name="T8" fmla="*/ 0 w 71"/>
              <a:gd name="T9" fmla="*/ 469150912 h 71"/>
              <a:gd name="T10" fmla="*/ 290748291 w 71"/>
              <a:gd name="T11" fmla="*/ 290740577 h 71"/>
              <a:gd name="T12" fmla="*/ 59471826 w 71"/>
              <a:gd name="T13" fmla="*/ 409681657 h 71"/>
              <a:gd name="T14" fmla="*/ 171804640 w 71"/>
              <a:gd name="T15" fmla="*/ 178410335 h 71"/>
              <a:gd name="T16" fmla="*/ 290748291 w 71"/>
              <a:gd name="T17" fmla="*/ 290740577 h 7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1" h="71">
                <a:moveTo>
                  <a:pt x="0" y="71"/>
                </a:moveTo>
                <a:lnTo>
                  <a:pt x="48" y="49"/>
                </a:lnTo>
                <a:lnTo>
                  <a:pt x="71" y="0"/>
                </a:lnTo>
                <a:lnTo>
                  <a:pt x="22" y="22"/>
                </a:lnTo>
                <a:lnTo>
                  <a:pt x="0" y="71"/>
                </a:lnTo>
                <a:close/>
                <a:moveTo>
                  <a:pt x="44" y="44"/>
                </a:moveTo>
                <a:lnTo>
                  <a:pt x="9" y="62"/>
                </a:lnTo>
                <a:lnTo>
                  <a:pt x="26" y="27"/>
                </a:lnTo>
                <a:lnTo>
                  <a:pt x="44" y="4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48" name="Freeform 55"/>
          <p:cNvSpPr>
            <a:spLocks noEditPoints="1"/>
          </p:cNvSpPr>
          <p:nvPr/>
        </p:nvSpPr>
        <p:spPr bwMode="auto">
          <a:xfrm>
            <a:off x="8917518" y="2400301"/>
            <a:ext cx="436033" cy="438151"/>
          </a:xfrm>
          <a:custGeom>
            <a:avLst/>
            <a:gdLst>
              <a:gd name="T0" fmla="*/ 370596539 w 144"/>
              <a:gd name="T1" fmla="*/ 0 h 144"/>
              <a:gd name="T2" fmla="*/ 0 w 144"/>
              <a:gd name="T3" fmla="*/ 375321687 h 144"/>
              <a:gd name="T4" fmla="*/ 370596539 w 144"/>
              <a:gd name="T5" fmla="*/ 750643373 h 144"/>
              <a:gd name="T6" fmla="*/ 741193078 w 144"/>
              <a:gd name="T7" fmla="*/ 375321687 h 144"/>
              <a:gd name="T8" fmla="*/ 370596539 w 144"/>
              <a:gd name="T9" fmla="*/ 0 h 144"/>
              <a:gd name="T10" fmla="*/ 406626064 w 144"/>
              <a:gd name="T11" fmla="*/ 672451736 h 144"/>
              <a:gd name="T12" fmla="*/ 406626064 w 144"/>
              <a:gd name="T13" fmla="*/ 562982530 h 144"/>
              <a:gd name="T14" fmla="*/ 334567014 w 144"/>
              <a:gd name="T15" fmla="*/ 562982530 h 144"/>
              <a:gd name="T16" fmla="*/ 334567014 w 144"/>
              <a:gd name="T17" fmla="*/ 672451736 h 144"/>
              <a:gd name="T18" fmla="*/ 77207423 w 144"/>
              <a:gd name="T19" fmla="*/ 411811422 h 144"/>
              <a:gd name="T20" fmla="*/ 185298270 w 144"/>
              <a:gd name="T21" fmla="*/ 411811422 h 144"/>
              <a:gd name="T22" fmla="*/ 185298270 w 144"/>
              <a:gd name="T23" fmla="*/ 338831951 h 144"/>
              <a:gd name="T24" fmla="*/ 77207423 w 144"/>
              <a:gd name="T25" fmla="*/ 338831951 h 144"/>
              <a:gd name="T26" fmla="*/ 334567014 w 144"/>
              <a:gd name="T27" fmla="*/ 78191638 h 144"/>
              <a:gd name="T28" fmla="*/ 334567014 w 144"/>
              <a:gd name="T29" fmla="*/ 187660843 h 144"/>
              <a:gd name="T30" fmla="*/ 406626064 w 144"/>
              <a:gd name="T31" fmla="*/ 187660843 h 144"/>
              <a:gd name="T32" fmla="*/ 406626064 w 144"/>
              <a:gd name="T33" fmla="*/ 78191638 h 144"/>
              <a:gd name="T34" fmla="*/ 663985655 w 144"/>
              <a:gd name="T35" fmla="*/ 338831951 h 144"/>
              <a:gd name="T36" fmla="*/ 555894809 w 144"/>
              <a:gd name="T37" fmla="*/ 338831951 h 144"/>
              <a:gd name="T38" fmla="*/ 555894809 w 144"/>
              <a:gd name="T39" fmla="*/ 411811422 h 144"/>
              <a:gd name="T40" fmla="*/ 663985655 w 144"/>
              <a:gd name="T41" fmla="*/ 411811422 h 144"/>
              <a:gd name="T42" fmla="*/ 406626064 w 144"/>
              <a:gd name="T43" fmla="*/ 672451736 h 14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moveTo>
                  <a:pt x="79" y="129"/>
                </a:moveTo>
                <a:cubicBezTo>
                  <a:pt x="79" y="108"/>
                  <a:pt x="79" y="108"/>
                  <a:pt x="79" y="108"/>
                </a:cubicBezTo>
                <a:cubicBezTo>
                  <a:pt x="65" y="108"/>
                  <a:pt x="65" y="108"/>
                  <a:pt x="65" y="108"/>
                </a:cubicBezTo>
                <a:cubicBezTo>
                  <a:pt x="65" y="129"/>
                  <a:pt x="65" y="129"/>
                  <a:pt x="65" y="129"/>
                </a:cubicBezTo>
                <a:cubicBezTo>
                  <a:pt x="39" y="126"/>
                  <a:pt x="18" y="105"/>
                  <a:pt x="15" y="79"/>
                </a:cubicBezTo>
                <a:cubicBezTo>
                  <a:pt x="36" y="79"/>
                  <a:pt x="36" y="79"/>
                  <a:pt x="36" y="79"/>
                </a:cubicBezTo>
                <a:cubicBezTo>
                  <a:pt x="36" y="65"/>
                  <a:pt x="36" y="65"/>
                  <a:pt x="36" y="65"/>
                </a:cubicBezTo>
                <a:cubicBezTo>
                  <a:pt x="15" y="65"/>
                  <a:pt x="15" y="65"/>
                  <a:pt x="15" y="65"/>
                </a:cubicBezTo>
                <a:cubicBezTo>
                  <a:pt x="18" y="39"/>
                  <a:pt x="39" y="18"/>
                  <a:pt x="65" y="15"/>
                </a:cubicBezTo>
                <a:cubicBezTo>
                  <a:pt x="65" y="36"/>
                  <a:pt x="65" y="36"/>
                  <a:pt x="65" y="36"/>
                </a:cubicBezTo>
                <a:cubicBezTo>
                  <a:pt x="79" y="36"/>
                  <a:pt x="79" y="36"/>
                  <a:pt x="79" y="36"/>
                </a:cubicBezTo>
                <a:cubicBezTo>
                  <a:pt x="79" y="15"/>
                  <a:pt x="79" y="15"/>
                  <a:pt x="79" y="15"/>
                </a:cubicBezTo>
                <a:cubicBezTo>
                  <a:pt x="105" y="18"/>
                  <a:pt x="126" y="39"/>
                  <a:pt x="129" y="65"/>
                </a:cubicBezTo>
                <a:cubicBezTo>
                  <a:pt x="108" y="65"/>
                  <a:pt x="108" y="65"/>
                  <a:pt x="108" y="65"/>
                </a:cubicBezTo>
                <a:cubicBezTo>
                  <a:pt x="108" y="79"/>
                  <a:pt x="108" y="79"/>
                  <a:pt x="108" y="79"/>
                </a:cubicBezTo>
                <a:cubicBezTo>
                  <a:pt x="129" y="79"/>
                  <a:pt x="129" y="79"/>
                  <a:pt x="129" y="79"/>
                </a:cubicBezTo>
                <a:cubicBezTo>
                  <a:pt x="126" y="105"/>
                  <a:pt x="105" y="126"/>
                  <a:pt x="79" y="129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49" name="Freeform 56"/>
          <p:cNvSpPr>
            <a:spLocks/>
          </p:cNvSpPr>
          <p:nvPr/>
        </p:nvSpPr>
        <p:spPr bwMode="auto">
          <a:xfrm>
            <a:off x="9931401" y="2518833"/>
            <a:ext cx="82551" cy="196851"/>
          </a:xfrm>
          <a:custGeom>
            <a:avLst/>
            <a:gdLst>
              <a:gd name="T0" fmla="*/ 102282487 w 28"/>
              <a:gd name="T1" fmla="*/ 158674508 h 65"/>
              <a:gd name="T2" fmla="*/ 102282487 w 28"/>
              <a:gd name="T3" fmla="*/ 0 h 65"/>
              <a:gd name="T4" fmla="*/ 34094162 w 28"/>
              <a:gd name="T5" fmla="*/ 0 h 65"/>
              <a:gd name="T6" fmla="*/ 34094162 w 28"/>
              <a:gd name="T7" fmla="*/ 158674508 h 65"/>
              <a:gd name="T8" fmla="*/ 0 w 28"/>
              <a:gd name="T9" fmla="*/ 220096459 h 65"/>
              <a:gd name="T10" fmla="*/ 34094162 w 28"/>
              <a:gd name="T11" fmla="*/ 286635770 h 65"/>
              <a:gd name="T12" fmla="*/ 34094162 w 28"/>
              <a:gd name="T13" fmla="*/ 332703369 h 65"/>
              <a:gd name="T14" fmla="*/ 102282487 w 28"/>
              <a:gd name="T15" fmla="*/ 332703369 h 65"/>
              <a:gd name="T16" fmla="*/ 102282487 w 28"/>
              <a:gd name="T17" fmla="*/ 286635770 h 65"/>
              <a:gd name="T18" fmla="*/ 136376650 w 28"/>
              <a:gd name="T19" fmla="*/ 220096459 h 65"/>
              <a:gd name="T20" fmla="*/ 102282487 w 28"/>
              <a:gd name="T21" fmla="*/ 158674508 h 6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8" h="65">
                <a:moveTo>
                  <a:pt x="21" y="31"/>
                </a:moveTo>
                <a:cubicBezTo>
                  <a:pt x="21" y="0"/>
                  <a:pt x="21" y="0"/>
                  <a:pt x="21" y="0"/>
                </a:cubicBezTo>
                <a:cubicBezTo>
                  <a:pt x="7" y="0"/>
                  <a:pt x="7" y="0"/>
                  <a:pt x="7" y="0"/>
                </a:cubicBezTo>
                <a:cubicBezTo>
                  <a:pt x="7" y="31"/>
                  <a:pt x="7" y="31"/>
                  <a:pt x="7" y="31"/>
                </a:cubicBezTo>
                <a:cubicBezTo>
                  <a:pt x="3" y="33"/>
                  <a:pt x="0" y="38"/>
                  <a:pt x="0" y="43"/>
                </a:cubicBezTo>
                <a:cubicBezTo>
                  <a:pt x="0" y="49"/>
                  <a:pt x="3" y="53"/>
                  <a:pt x="7" y="56"/>
                </a:cubicBezTo>
                <a:cubicBezTo>
                  <a:pt x="7" y="65"/>
                  <a:pt x="7" y="65"/>
                  <a:pt x="7" y="65"/>
                </a:cubicBezTo>
                <a:cubicBezTo>
                  <a:pt x="21" y="65"/>
                  <a:pt x="21" y="65"/>
                  <a:pt x="21" y="65"/>
                </a:cubicBezTo>
                <a:cubicBezTo>
                  <a:pt x="21" y="56"/>
                  <a:pt x="21" y="56"/>
                  <a:pt x="21" y="56"/>
                </a:cubicBezTo>
                <a:cubicBezTo>
                  <a:pt x="25" y="53"/>
                  <a:pt x="28" y="49"/>
                  <a:pt x="28" y="43"/>
                </a:cubicBezTo>
                <a:cubicBezTo>
                  <a:pt x="28" y="38"/>
                  <a:pt x="25" y="33"/>
                  <a:pt x="21" y="3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50" name="Freeform 57"/>
          <p:cNvSpPr>
            <a:spLocks noEditPoints="1"/>
          </p:cNvSpPr>
          <p:nvPr/>
        </p:nvSpPr>
        <p:spPr bwMode="auto">
          <a:xfrm>
            <a:off x="9734551" y="2319868"/>
            <a:ext cx="478367" cy="573617"/>
          </a:xfrm>
          <a:custGeom>
            <a:avLst/>
            <a:gdLst>
              <a:gd name="T0" fmla="*/ 734233038 w 158"/>
              <a:gd name="T1" fmla="*/ 318648243 h 188"/>
              <a:gd name="T2" fmla="*/ 816964736 w 158"/>
              <a:gd name="T3" fmla="*/ 235070214 h 188"/>
              <a:gd name="T4" fmla="*/ 739405756 w 158"/>
              <a:gd name="T5" fmla="*/ 156711950 h 188"/>
              <a:gd name="T6" fmla="*/ 656674057 w 158"/>
              <a:gd name="T7" fmla="*/ 235070214 h 188"/>
              <a:gd name="T8" fmla="*/ 444676634 w 158"/>
              <a:gd name="T9" fmla="*/ 156711950 h 188"/>
              <a:gd name="T10" fmla="*/ 444676634 w 158"/>
              <a:gd name="T11" fmla="*/ 78355975 h 188"/>
              <a:gd name="T12" fmla="*/ 480872036 w 158"/>
              <a:gd name="T13" fmla="*/ 78355975 h 188"/>
              <a:gd name="T14" fmla="*/ 480872036 w 158"/>
              <a:gd name="T15" fmla="*/ 0 h 188"/>
              <a:gd name="T16" fmla="*/ 336092700 w 158"/>
              <a:gd name="T17" fmla="*/ 0 h 188"/>
              <a:gd name="T18" fmla="*/ 336092700 w 158"/>
              <a:gd name="T19" fmla="*/ 78355975 h 188"/>
              <a:gd name="T20" fmla="*/ 372288101 w 158"/>
              <a:gd name="T21" fmla="*/ 78355975 h 188"/>
              <a:gd name="T22" fmla="*/ 372288101 w 158"/>
              <a:gd name="T23" fmla="*/ 156711950 h 188"/>
              <a:gd name="T24" fmla="*/ 0 w 158"/>
              <a:gd name="T25" fmla="*/ 564164852 h 188"/>
              <a:gd name="T26" fmla="*/ 408483503 w 158"/>
              <a:gd name="T27" fmla="*/ 982066437 h 188"/>
              <a:gd name="T28" fmla="*/ 816964736 w 158"/>
              <a:gd name="T29" fmla="*/ 564164852 h 188"/>
              <a:gd name="T30" fmla="*/ 734233038 w 158"/>
              <a:gd name="T31" fmla="*/ 318648243 h 188"/>
              <a:gd name="T32" fmla="*/ 408483503 w 158"/>
              <a:gd name="T33" fmla="*/ 903710462 h 188"/>
              <a:gd name="T34" fmla="*/ 72388533 w 158"/>
              <a:gd name="T35" fmla="*/ 564164852 h 188"/>
              <a:gd name="T36" fmla="*/ 408483503 w 158"/>
              <a:gd name="T37" fmla="*/ 229845872 h 188"/>
              <a:gd name="T38" fmla="*/ 744576203 w 158"/>
              <a:gd name="T39" fmla="*/ 564164852 h 188"/>
              <a:gd name="T40" fmla="*/ 408483503 w 158"/>
              <a:gd name="T41" fmla="*/ 903710462 h 18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58" h="188">
                <a:moveTo>
                  <a:pt x="142" y="61"/>
                </a:moveTo>
                <a:cubicBezTo>
                  <a:pt x="158" y="45"/>
                  <a:pt x="158" y="45"/>
                  <a:pt x="158" y="45"/>
                </a:cubicBezTo>
                <a:cubicBezTo>
                  <a:pt x="143" y="30"/>
                  <a:pt x="143" y="30"/>
                  <a:pt x="143" y="30"/>
                </a:cubicBezTo>
                <a:cubicBezTo>
                  <a:pt x="127" y="45"/>
                  <a:pt x="127" y="45"/>
                  <a:pt x="127" y="45"/>
                </a:cubicBezTo>
                <a:cubicBezTo>
                  <a:pt x="115" y="37"/>
                  <a:pt x="101" y="31"/>
                  <a:pt x="86" y="30"/>
                </a:cubicBezTo>
                <a:cubicBezTo>
                  <a:pt x="86" y="15"/>
                  <a:pt x="86" y="15"/>
                  <a:pt x="86" y="15"/>
                </a:cubicBezTo>
                <a:cubicBezTo>
                  <a:pt x="93" y="15"/>
                  <a:pt x="93" y="15"/>
                  <a:pt x="93" y="15"/>
                </a:cubicBezTo>
                <a:cubicBezTo>
                  <a:pt x="93" y="0"/>
                  <a:pt x="93" y="0"/>
                  <a:pt x="93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5" y="15"/>
                  <a:pt x="65" y="15"/>
                  <a:pt x="65" y="15"/>
                </a:cubicBezTo>
                <a:cubicBezTo>
                  <a:pt x="72" y="15"/>
                  <a:pt x="72" y="15"/>
                  <a:pt x="72" y="15"/>
                </a:cubicBezTo>
                <a:cubicBezTo>
                  <a:pt x="72" y="30"/>
                  <a:pt x="72" y="30"/>
                  <a:pt x="72" y="30"/>
                </a:cubicBezTo>
                <a:cubicBezTo>
                  <a:pt x="31" y="33"/>
                  <a:pt x="0" y="67"/>
                  <a:pt x="0" y="108"/>
                </a:cubicBezTo>
                <a:cubicBezTo>
                  <a:pt x="0" y="152"/>
                  <a:pt x="35" y="188"/>
                  <a:pt x="79" y="188"/>
                </a:cubicBezTo>
                <a:cubicBezTo>
                  <a:pt x="123" y="188"/>
                  <a:pt x="158" y="152"/>
                  <a:pt x="158" y="108"/>
                </a:cubicBezTo>
                <a:cubicBezTo>
                  <a:pt x="158" y="90"/>
                  <a:pt x="152" y="74"/>
                  <a:pt x="142" y="61"/>
                </a:cubicBezTo>
                <a:moveTo>
                  <a:pt x="79" y="173"/>
                </a:moveTo>
                <a:cubicBezTo>
                  <a:pt x="43" y="173"/>
                  <a:pt x="14" y="144"/>
                  <a:pt x="14" y="108"/>
                </a:cubicBezTo>
                <a:cubicBezTo>
                  <a:pt x="14" y="73"/>
                  <a:pt x="43" y="44"/>
                  <a:pt x="79" y="44"/>
                </a:cubicBezTo>
                <a:cubicBezTo>
                  <a:pt x="115" y="44"/>
                  <a:pt x="144" y="73"/>
                  <a:pt x="144" y="108"/>
                </a:cubicBezTo>
                <a:cubicBezTo>
                  <a:pt x="144" y="144"/>
                  <a:pt x="115" y="173"/>
                  <a:pt x="79" y="173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51" name="Freeform 58"/>
          <p:cNvSpPr>
            <a:spLocks/>
          </p:cNvSpPr>
          <p:nvPr/>
        </p:nvSpPr>
        <p:spPr bwMode="auto">
          <a:xfrm>
            <a:off x="1327151" y="3177118"/>
            <a:ext cx="179916" cy="275167"/>
          </a:xfrm>
          <a:custGeom>
            <a:avLst/>
            <a:gdLst>
              <a:gd name="T0" fmla="*/ 242082070 w 53"/>
              <a:gd name="T1" fmla="*/ 318207033 h 80"/>
              <a:gd name="T2" fmla="*/ 242082070 w 53"/>
              <a:gd name="T3" fmla="*/ 0 h 80"/>
              <a:gd name="T4" fmla="*/ 104685652 w 53"/>
              <a:gd name="T5" fmla="*/ 0 h 80"/>
              <a:gd name="T6" fmla="*/ 104685652 w 53"/>
              <a:gd name="T7" fmla="*/ 318207033 h 80"/>
              <a:gd name="T8" fmla="*/ 0 w 53"/>
              <a:gd name="T9" fmla="*/ 318207033 h 80"/>
              <a:gd name="T10" fmla="*/ 176655447 w 53"/>
              <a:gd name="T11" fmla="*/ 530345055 h 80"/>
              <a:gd name="T12" fmla="*/ 346767722 w 53"/>
              <a:gd name="T13" fmla="*/ 318207033 h 80"/>
              <a:gd name="T14" fmla="*/ 242082070 w 53"/>
              <a:gd name="T15" fmla="*/ 318207033 h 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" h="80">
                <a:moveTo>
                  <a:pt x="37" y="48"/>
                </a:moveTo>
                <a:lnTo>
                  <a:pt x="37" y="0"/>
                </a:lnTo>
                <a:lnTo>
                  <a:pt x="16" y="0"/>
                </a:lnTo>
                <a:lnTo>
                  <a:pt x="16" y="48"/>
                </a:lnTo>
                <a:lnTo>
                  <a:pt x="0" y="48"/>
                </a:lnTo>
                <a:lnTo>
                  <a:pt x="27" y="80"/>
                </a:lnTo>
                <a:lnTo>
                  <a:pt x="53" y="48"/>
                </a:lnTo>
                <a:lnTo>
                  <a:pt x="37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52" name="Freeform 59"/>
          <p:cNvSpPr>
            <a:spLocks/>
          </p:cNvSpPr>
          <p:nvPr/>
        </p:nvSpPr>
        <p:spPr bwMode="auto">
          <a:xfrm>
            <a:off x="1200151" y="3215218"/>
            <a:ext cx="433916" cy="400049"/>
          </a:xfrm>
          <a:custGeom>
            <a:avLst/>
            <a:gdLst>
              <a:gd name="T0" fmla="*/ 651939998 w 127"/>
              <a:gd name="T1" fmla="*/ 0 h 117"/>
              <a:gd name="T2" fmla="*/ 559746515 w 127"/>
              <a:gd name="T3" fmla="*/ 0 h 117"/>
              <a:gd name="T4" fmla="*/ 559746515 w 127"/>
              <a:gd name="T5" fmla="*/ 65900434 h 117"/>
              <a:gd name="T6" fmla="*/ 605843257 w 127"/>
              <a:gd name="T7" fmla="*/ 65900434 h 117"/>
              <a:gd name="T8" fmla="*/ 763890326 w 127"/>
              <a:gd name="T9" fmla="*/ 415174275 h 117"/>
              <a:gd name="T10" fmla="*/ 579503360 w 127"/>
              <a:gd name="T11" fmla="*/ 415174275 h 117"/>
              <a:gd name="T12" fmla="*/ 507064158 w 127"/>
              <a:gd name="T13" fmla="*/ 520612919 h 117"/>
              <a:gd name="T14" fmla="*/ 329262807 w 127"/>
              <a:gd name="T15" fmla="*/ 520612919 h 117"/>
              <a:gd name="T16" fmla="*/ 263409220 w 127"/>
              <a:gd name="T17" fmla="*/ 415174275 h 117"/>
              <a:gd name="T18" fmla="*/ 79022254 w 127"/>
              <a:gd name="T19" fmla="*/ 415174275 h 117"/>
              <a:gd name="T20" fmla="*/ 230483708 w 127"/>
              <a:gd name="T21" fmla="*/ 65900434 h 117"/>
              <a:gd name="T22" fmla="*/ 283166065 w 127"/>
              <a:gd name="T23" fmla="*/ 65900434 h 117"/>
              <a:gd name="T24" fmla="*/ 283166065 w 127"/>
              <a:gd name="T25" fmla="*/ 0 h 117"/>
              <a:gd name="T26" fmla="*/ 184386967 w 127"/>
              <a:gd name="T27" fmla="*/ 0 h 117"/>
              <a:gd name="T28" fmla="*/ 0 w 127"/>
              <a:gd name="T29" fmla="*/ 415174275 h 117"/>
              <a:gd name="T30" fmla="*/ 0 w 127"/>
              <a:gd name="T31" fmla="*/ 771036108 h 117"/>
              <a:gd name="T32" fmla="*/ 836326965 w 127"/>
              <a:gd name="T33" fmla="*/ 771036108 h 117"/>
              <a:gd name="T34" fmla="*/ 836326965 w 127"/>
              <a:gd name="T35" fmla="*/ 415174275 h 117"/>
              <a:gd name="T36" fmla="*/ 651939998 w 127"/>
              <a:gd name="T37" fmla="*/ 0 h 11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27" h="117">
                <a:moveTo>
                  <a:pt x="99" y="0"/>
                </a:moveTo>
                <a:lnTo>
                  <a:pt x="85" y="0"/>
                </a:lnTo>
                <a:lnTo>
                  <a:pt x="85" y="10"/>
                </a:lnTo>
                <a:lnTo>
                  <a:pt x="92" y="10"/>
                </a:lnTo>
                <a:lnTo>
                  <a:pt x="116" y="63"/>
                </a:lnTo>
                <a:lnTo>
                  <a:pt x="88" y="63"/>
                </a:lnTo>
                <a:lnTo>
                  <a:pt x="77" y="79"/>
                </a:lnTo>
                <a:lnTo>
                  <a:pt x="50" y="79"/>
                </a:lnTo>
                <a:lnTo>
                  <a:pt x="40" y="63"/>
                </a:lnTo>
                <a:lnTo>
                  <a:pt x="12" y="63"/>
                </a:lnTo>
                <a:lnTo>
                  <a:pt x="35" y="10"/>
                </a:lnTo>
                <a:lnTo>
                  <a:pt x="43" y="10"/>
                </a:lnTo>
                <a:lnTo>
                  <a:pt x="43" y="0"/>
                </a:lnTo>
                <a:lnTo>
                  <a:pt x="28" y="0"/>
                </a:lnTo>
                <a:lnTo>
                  <a:pt x="0" y="63"/>
                </a:lnTo>
                <a:lnTo>
                  <a:pt x="0" y="117"/>
                </a:lnTo>
                <a:lnTo>
                  <a:pt x="127" y="117"/>
                </a:lnTo>
                <a:lnTo>
                  <a:pt x="127" y="63"/>
                </a:lnTo>
                <a:lnTo>
                  <a:pt x="9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53" name="Freeform 60"/>
          <p:cNvSpPr>
            <a:spLocks/>
          </p:cNvSpPr>
          <p:nvPr/>
        </p:nvSpPr>
        <p:spPr bwMode="auto">
          <a:xfrm>
            <a:off x="2125133" y="3263901"/>
            <a:ext cx="406400" cy="167217"/>
          </a:xfrm>
          <a:custGeom>
            <a:avLst/>
            <a:gdLst>
              <a:gd name="T0" fmla="*/ 347806370 w 134"/>
              <a:gd name="T1" fmla="*/ 281997849 h 56"/>
              <a:gd name="T2" fmla="*/ 695610466 w 134"/>
              <a:gd name="T3" fmla="*/ 0 h 56"/>
              <a:gd name="T4" fmla="*/ 690419767 w 134"/>
              <a:gd name="T5" fmla="*/ 0 h 56"/>
              <a:gd name="T6" fmla="*/ 5190699 w 134"/>
              <a:gd name="T7" fmla="*/ 0 h 56"/>
              <a:gd name="T8" fmla="*/ 0 w 134"/>
              <a:gd name="T9" fmla="*/ 0 h 56"/>
              <a:gd name="T10" fmla="*/ 347806370 w 134"/>
              <a:gd name="T11" fmla="*/ 281997849 h 5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4" h="56">
                <a:moveTo>
                  <a:pt x="67" y="56"/>
                </a:moveTo>
                <a:cubicBezTo>
                  <a:pt x="134" y="0"/>
                  <a:pt x="134" y="0"/>
                  <a:pt x="134" y="0"/>
                </a:cubicBezTo>
                <a:cubicBezTo>
                  <a:pt x="134" y="0"/>
                  <a:pt x="133" y="0"/>
                  <a:pt x="133" y="0"/>
                </a:cubicBezTo>
                <a:cubicBezTo>
                  <a:pt x="1" y="0"/>
                  <a:pt x="1" y="0"/>
                  <a:pt x="1" y="0"/>
                </a:cubicBezTo>
                <a:cubicBezTo>
                  <a:pt x="1" y="0"/>
                  <a:pt x="0" y="0"/>
                  <a:pt x="0" y="0"/>
                </a:cubicBezTo>
                <a:lnTo>
                  <a:pt x="67" y="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54" name="Freeform 61"/>
          <p:cNvSpPr>
            <a:spLocks/>
          </p:cNvSpPr>
          <p:nvPr/>
        </p:nvSpPr>
        <p:spPr bwMode="auto">
          <a:xfrm>
            <a:off x="2402418" y="3272367"/>
            <a:ext cx="143933" cy="264584"/>
          </a:xfrm>
          <a:custGeom>
            <a:avLst/>
            <a:gdLst>
              <a:gd name="T0" fmla="*/ 242741318 w 48"/>
              <a:gd name="T1" fmla="*/ 10375798 h 87"/>
              <a:gd name="T2" fmla="*/ 242741318 w 48"/>
              <a:gd name="T3" fmla="*/ 0 h 87"/>
              <a:gd name="T4" fmla="*/ 0 w 48"/>
              <a:gd name="T5" fmla="*/ 207509126 h 87"/>
              <a:gd name="T6" fmla="*/ 242741318 w 48"/>
              <a:gd name="T7" fmla="*/ 451334686 h 87"/>
              <a:gd name="T8" fmla="*/ 242741318 w 48"/>
              <a:gd name="T9" fmla="*/ 446147927 h 87"/>
              <a:gd name="T10" fmla="*/ 242741318 w 48"/>
              <a:gd name="T11" fmla="*/ 10375798 h 8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8" h="87">
                <a:moveTo>
                  <a:pt x="48" y="2"/>
                </a:moveTo>
                <a:cubicBezTo>
                  <a:pt x="48" y="1"/>
                  <a:pt x="48" y="1"/>
                  <a:pt x="48" y="0"/>
                </a:cubicBezTo>
                <a:cubicBezTo>
                  <a:pt x="0" y="40"/>
                  <a:pt x="0" y="40"/>
                  <a:pt x="0" y="40"/>
                </a:cubicBezTo>
                <a:cubicBezTo>
                  <a:pt x="48" y="87"/>
                  <a:pt x="48" y="87"/>
                  <a:pt x="48" y="87"/>
                </a:cubicBezTo>
                <a:cubicBezTo>
                  <a:pt x="48" y="87"/>
                  <a:pt x="48" y="87"/>
                  <a:pt x="48" y="86"/>
                </a:cubicBezTo>
                <a:lnTo>
                  <a:pt x="48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55" name="Freeform 62"/>
          <p:cNvSpPr>
            <a:spLocks/>
          </p:cNvSpPr>
          <p:nvPr/>
        </p:nvSpPr>
        <p:spPr bwMode="auto">
          <a:xfrm>
            <a:off x="2110318" y="3272367"/>
            <a:ext cx="143933" cy="264584"/>
          </a:xfrm>
          <a:custGeom>
            <a:avLst/>
            <a:gdLst>
              <a:gd name="T0" fmla="*/ 0 w 48"/>
              <a:gd name="T1" fmla="*/ 0 h 87"/>
              <a:gd name="T2" fmla="*/ 0 w 48"/>
              <a:gd name="T3" fmla="*/ 10375798 h 87"/>
              <a:gd name="T4" fmla="*/ 0 w 48"/>
              <a:gd name="T5" fmla="*/ 446147927 h 87"/>
              <a:gd name="T6" fmla="*/ 0 w 48"/>
              <a:gd name="T7" fmla="*/ 451334686 h 87"/>
              <a:gd name="T8" fmla="*/ 242741318 w 48"/>
              <a:gd name="T9" fmla="*/ 207509126 h 87"/>
              <a:gd name="T10" fmla="*/ 0 w 48"/>
              <a:gd name="T11" fmla="*/ 0 h 8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8" h="87">
                <a:moveTo>
                  <a:pt x="0" y="0"/>
                </a:moveTo>
                <a:cubicBezTo>
                  <a:pt x="0" y="1"/>
                  <a:pt x="0" y="1"/>
                  <a:pt x="0" y="2"/>
                </a:cubicBezTo>
                <a:cubicBezTo>
                  <a:pt x="0" y="86"/>
                  <a:pt x="0" y="86"/>
                  <a:pt x="0" y="86"/>
                </a:cubicBezTo>
                <a:cubicBezTo>
                  <a:pt x="0" y="87"/>
                  <a:pt x="0" y="87"/>
                  <a:pt x="0" y="87"/>
                </a:cubicBezTo>
                <a:cubicBezTo>
                  <a:pt x="48" y="40"/>
                  <a:pt x="48" y="40"/>
                  <a:pt x="48" y="4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56" name="Freeform 63"/>
          <p:cNvSpPr>
            <a:spLocks/>
          </p:cNvSpPr>
          <p:nvPr/>
        </p:nvSpPr>
        <p:spPr bwMode="auto">
          <a:xfrm>
            <a:off x="2125133" y="3407833"/>
            <a:ext cx="406400" cy="146051"/>
          </a:xfrm>
          <a:custGeom>
            <a:avLst/>
            <a:gdLst>
              <a:gd name="T0" fmla="*/ 446436466 w 134"/>
              <a:gd name="T1" fmla="*/ 0 h 48"/>
              <a:gd name="T2" fmla="*/ 358187767 w 134"/>
              <a:gd name="T3" fmla="*/ 73547921 h 48"/>
              <a:gd name="T4" fmla="*/ 347806370 w 134"/>
              <a:gd name="T5" fmla="*/ 78803463 h 48"/>
              <a:gd name="T6" fmla="*/ 337422699 w 134"/>
              <a:gd name="T7" fmla="*/ 73547921 h 48"/>
              <a:gd name="T8" fmla="*/ 249174000 w 134"/>
              <a:gd name="T9" fmla="*/ 0 h 48"/>
              <a:gd name="T10" fmla="*/ 0 w 134"/>
              <a:gd name="T11" fmla="*/ 252167886 h 48"/>
              <a:gd name="T12" fmla="*/ 5190699 w 134"/>
              <a:gd name="T13" fmla="*/ 252167886 h 48"/>
              <a:gd name="T14" fmla="*/ 690419767 w 134"/>
              <a:gd name="T15" fmla="*/ 252167886 h 48"/>
              <a:gd name="T16" fmla="*/ 695610466 w 134"/>
              <a:gd name="T17" fmla="*/ 252167886 h 48"/>
              <a:gd name="T18" fmla="*/ 446436466 w 134"/>
              <a:gd name="T19" fmla="*/ 0 h 4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34" h="48">
                <a:moveTo>
                  <a:pt x="86" y="0"/>
                </a:moveTo>
                <a:cubicBezTo>
                  <a:pt x="69" y="14"/>
                  <a:pt x="69" y="14"/>
                  <a:pt x="69" y="14"/>
                </a:cubicBezTo>
                <a:cubicBezTo>
                  <a:pt x="68" y="15"/>
                  <a:pt x="68" y="15"/>
                  <a:pt x="67" y="15"/>
                </a:cubicBezTo>
                <a:cubicBezTo>
                  <a:pt x="66" y="15"/>
                  <a:pt x="66" y="15"/>
                  <a:pt x="65" y="14"/>
                </a:cubicBezTo>
                <a:cubicBezTo>
                  <a:pt x="48" y="0"/>
                  <a:pt x="48" y="0"/>
                  <a:pt x="48" y="0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48"/>
                  <a:pt x="0" y="48"/>
                  <a:pt x="1" y="48"/>
                </a:cubicBezTo>
                <a:cubicBezTo>
                  <a:pt x="133" y="48"/>
                  <a:pt x="133" y="48"/>
                  <a:pt x="133" y="48"/>
                </a:cubicBezTo>
                <a:cubicBezTo>
                  <a:pt x="134" y="48"/>
                  <a:pt x="134" y="48"/>
                  <a:pt x="134" y="48"/>
                </a:cubicBezTo>
                <a:lnTo>
                  <a:pt x="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57" name="Freeform 64"/>
          <p:cNvSpPr>
            <a:spLocks noEditPoints="1"/>
          </p:cNvSpPr>
          <p:nvPr/>
        </p:nvSpPr>
        <p:spPr bwMode="auto">
          <a:xfrm>
            <a:off x="3062818" y="3210984"/>
            <a:ext cx="397933" cy="397933"/>
          </a:xfrm>
          <a:custGeom>
            <a:avLst/>
            <a:gdLst>
              <a:gd name="T0" fmla="*/ 637676016 w 131"/>
              <a:gd name="T1" fmla="*/ 373265264 h 131"/>
              <a:gd name="T2" fmla="*/ 264401639 w 131"/>
              <a:gd name="T3" fmla="*/ 0 h 131"/>
              <a:gd name="T4" fmla="*/ 0 w 131"/>
              <a:gd name="T5" fmla="*/ 0 h 131"/>
              <a:gd name="T6" fmla="*/ 0 w 131"/>
              <a:gd name="T7" fmla="*/ 264397083 h 131"/>
              <a:gd name="T8" fmla="*/ 373274377 w 131"/>
              <a:gd name="T9" fmla="*/ 637662347 h 131"/>
              <a:gd name="T10" fmla="*/ 461408256 w 131"/>
              <a:gd name="T11" fmla="*/ 637662347 h 131"/>
              <a:gd name="T12" fmla="*/ 637676016 w 131"/>
              <a:gd name="T13" fmla="*/ 461396865 h 131"/>
              <a:gd name="T14" fmla="*/ 637676016 w 131"/>
              <a:gd name="T15" fmla="*/ 373265264 h 131"/>
              <a:gd name="T16" fmla="*/ 176267760 w 131"/>
              <a:gd name="T17" fmla="*/ 176263203 h 131"/>
              <a:gd name="T18" fmla="*/ 88133880 w 131"/>
              <a:gd name="T19" fmla="*/ 176263203 h 131"/>
              <a:gd name="T20" fmla="*/ 88133880 w 131"/>
              <a:gd name="T21" fmla="*/ 88131602 h 131"/>
              <a:gd name="T22" fmla="*/ 176267760 w 131"/>
              <a:gd name="T23" fmla="*/ 88131602 h 131"/>
              <a:gd name="T24" fmla="*/ 176267760 w 131"/>
              <a:gd name="T25" fmla="*/ 176263203 h 1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31" h="131">
                <a:moveTo>
                  <a:pt x="123" y="72"/>
                </a:moveTo>
                <a:cubicBezTo>
                  <a:pt x="114" y="63"/>
                  <a:pt x="51" y="0"/>
                  <a:pt x="5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1"/>
                  <a:pt x="0" y="51"/>
                  <a:pt x="0" y="51"/>
                </a:cubicBezTo>
                <a:cubicBezTo>
                  <a:pt x="72" y="123"/>
                  <a:pt x="72" y="123"/>
                  <a:pt x="72" y="123"/>
                </a:cubicBezTo>
                <a:cubicBezTo>
                  <a:pt x="72" y="123"/>
                  <a:pt x="80" y="131"/>
                  <a:pt x="89" y="123"/>
                </a:cubicBezTo>
                <a:cubicBezTo>
                  <a:pt x="123" y="89"/>
                  <a:pt x="123" y="89"/>
                  <a:pt x="123" y="89"/>
                </a:cubicBezTo>
                <a:cubicBezTo>
                  <a:pt x="123" y="89"/>
                  <a:pt x="131" y="80"/>
                  <a:pt x="123" y="72"/>
                </a:cubicBezTo>
                <a:moveTo>
                  <a:pt x="34" y="34"/>
                </a:moveTo>
                <a:cubicBezTo>
                  <a:pt x="29" y="38"/>
                  <a:pt x="21" y="38"/>
                  <a:pt x="17" y="34"/>
                </a:cubicBezTo>
                <a:cubicBezTo>
                  <a:pt x="12" y="29"/>
                  <a:pt x="12" y="21"/>
                  <a:pt x="17" y="17"/>
                </a:cubicBezTo>
                <a:cubicBezTo>
                  <a:pt x="21" y="12"/>
                  <a:pt x="29" y="12"/>
                  <a:pt x="34" y="17"/>
                </a:cubicBezTo>
                <a:cubicBezTo>
                  <a:pt x="38" y="21"/>
                  <a:pt x="38" y="29"/>
                  <a:pt x="34" y="34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58" name="Oval 65"/>
          <p:cNvSpPr>
            <a:spLocks noChangeArrowheads="1"/>
          </p:cNvSpPr>
          <p:nvPr/>
        </p:nvSpPr>
        <p:spPr bwMode="auto">
          <a:xfrm>
            <a:off x="4042834" y="3365501"/>
            <a:ext cx="71967" cy="719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59" name="Freeform 66"/>
          <p:cNvSpPr>
            <a:spLocks noEditPoints="1"/>
          </p:cNvSpPr>
          <p:nvPr/>
        </p:nvSpPr>
        <p:spPr bwMode="auto">
          <a:xfrm>
            <a:off x="3862918" y="3255434"/>
            <a:ext cx="433916" cy="292100"/>
          </a:xfrm>
          <a:custGeom>
            <a:avLst/>
            <a:gdLst>
              <a:gd name="T0" fmla="*/ 368796960 w 144"/>
              <a:gd name="T1" fmla="*/ 0 h 96"/>
              <a:gd name="T2" fmla="*/ 0 w 144"/>
              <a:gd name="T3" fmla="*/ 249234325 h 96"/>
              <a:gd name="T4" fmla="*/ 368796960 w 144"/>
              <a:gd name="T5" fmla="*/ 498468650 h 96"/>
              <a:gd name="T6" fmla="*/ 737593921 w 144"/>
              <a:gd name="T7" fmla="*/ 249234325 h 96"/>
              <a:gd name="T8" fmla="*/ 368796960 w 144"/>
              <a:gd name="T9" fmla="*/ 0 h 96"/>
              <a:gd name="T10" fmla="*/ 368796960 w 144"/>
              <a:gd name="T11" fmla="*/ 405005778 h 96"/>
              <a:gd name="T12" fmla="*/ 215131937 w 144"/>
              <a:gd name="T13" fmla="*/ 249234325 h 96"/>
              <a:gd name="T14" fmla="*/ 368796960 w 144"/>
              <a:gd name="T15" fmla="*/ 93462872 h 96"/>
              <a:gd name="T16" fmla="*/ 522461984 w 144"/>
              <a:gd name="T17" fmla="*/ 249234325 h 96"/>
              <a:gd name="T18" fmla="*/ 368796960 w 144"/>
              <a:gd name="T19" fmla="*/ 405005778 h 9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44" h="96">
                <a:moveTo>
                  <a:pt x="72" y="0"/>
                </a:moveTo>
                <a:cubicBezTo>
                  <a:pt x="32" y="0"/>
                  <a:pt x="0" y="48"/>
                  <a:pt x="0" y="48"/>
                </a:cubicBezTo>
                <a:cubicBezTo>
                  <a:pt x="0" y="48"/>
                  <a:pt x="32" y="96"/>
                  <a:pt x="72" y="96"/>
                </a:cubicBezTo>
                <a:cubicBezTo>
                  <a:pt x="112" y="96"/>
                  <a:pt x="144" y="48"/>
                  <a:pt x="144" y="48"/>
                </a:cubicBezTo>
                <a:cubicBezTo>
                  <a:pt x="144" y="48"/>
                  <a:pt x="112" y="0"/>
                  <a:pt x="72" y="0"/>
                </a:cubicBezTo>
                <a:moveTo>
                  <a:pt x="72" y="78"/>
                </a:moveTo>
                <a:cubicBezTo>
                  <a:pt x="55" y="78"/>
                  <a:pt x="42" y="65"/>
                  <a:pt x="42" y="48"/>
                </a:cubicBezTo>
                <a:cubicBezTo>
                  <a:pt x="42" y="31"/>
                  <a:pt x="55" y="18"/>
                  <a:pt x="72" y="18"/>
                </a:cubicBezTo>
                <a:cubicBezTo>
                  <a:pt x="89" y="18"/>
                  <a:pt x="102" y="31"/>
                  <a:pt x="102" y="48"/>
                </a:cubicBezTo>
                <a:cubicBezTo>
                  <a:pt x="102" y="65"/>
                  <a:pt x="89" y="78"/>
                  <a:pt x="72" y="7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60" name="Oval 67"/>
          <p:cNvSpPr>
            <a:spLocks noChangeArrowheads="1"/>
          </p:cNvSpPr>
          <p:nvPr/>
        </p:nvSpPr>
        <p:spPr bwMode="auto">
          <a:xfrm>
            <a:off x="4809067" y="3352801"/>
            <a:ext cx="71967" cy="74084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61" name="Freeform 68"/>
          <p:cNvSpPr>
            <a:spLocks noEditPoints="1"/>
          </p:cNvSpPr>
          <p:nvPr/>
        </p:nvSpPr>
        <p:spPr bwMode="auto">
          <a:xfrm>
            <a:off x="4699001" y="3246967"/>
            <a:ext cx="292100" cy="289984"/>
          </a:xfrm>
          <a:custGeom>
            <a:avLst/>
            <a:gdLst>
              <a:gd name="T0" fmla="*/ 249243453 w 96"/>
              <a:gd name="T1" fmla="*/ 92785818 h 96"/>
              <a:gd name="T2" fmla="*/ 405019470 w 96"/>
              <a:gd name="T3" fmla="*/ 247428848 h 96"/>
              <a:gd name="T4" fmla="*/ 249243453 w 96"/>
              <a:gd name="T5" fmla="*/ 402071878 h 96"/>
              <a:gd name="T6" fmla="*/ 93465154 w 96"/>
              <a:gd name="T7" fmla="*/ 247428848 h 96"/>
              <a:gd name="T8" fmla="*/ 249243453 w 96"/>
              <a:gd name="T9" fmla="*/ 92785818 h 96"/>
              <a:gd name="T10" fmla="*/ 249243453 w 96"/>
              <a:gd name="T11" fmla="*/ 0 h 96"/>
              <a:gd name="T12" fmla="*/ 0 w 96"/>
              <a:gd name="T13" fmla="*/ 247428848 h 96"/>
              <a:gd name="T14" fmla="*/ 249243453 w 96"/>
              <a:gd name="T15" fmla="*/ 494857696 h 96"/>
              <a:gd name="T16" fmla="*/ 498484624 w 96"/>
              <a:gd name="T17" fmla="*/ 247428848 h 96"/>
              <a:gd name="T18" fmla="*/ 249243453 w 96"/>
              <a:gd name="T19" fmla="*/ 0 h 9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96" h="96">
                <a:moveTo>
                  <a:pt x="48" y="18"/>
                </a:moveTo>
                <a:cubicBezTo>
                  <a:pt x="65" y="18"/>
                  <a:pt x="78" y="31"/>
                  <a:pt x="78" y="48"/>
                </a:cubicBezTo>
                <a:cubicBezTo>
                  <a:pt x="78" y="65"/>
                  <a:pt x="65" y="78"/>
                  <a:pt x="48" y="78"/>
                </a:cubicBezTo>
                <a:cubicBezTo>
                  <a:pt x="31" y="78"/>
                  <a:pt x="18" y="65"/>
                  <a:pt x="18" y="48"/>
                </a:cubicBezTo>
                <a:cubicBezTo>
                  <a:pt x="18" y="31"/>
                  <a:pt x="31" y="18"/>
                  <a:pt x="48" y="18"/>
                </a:cubicBezTo>
                <a:moveTo>
                  <a:pt x="48" y="0"/>
                </a:moveTo>
                <a:cubicBezTo>
                  <a:pt x="21" y="0"/>
                  <a:pt x="0" y="21"/>
                  <a:pt x="0" y="48"/>
                </a:cubicBezTo>
                <a:cubicBezTo>
                  <a:pt x="0" y="75"/>
                  <a:pt x="21" y="96"/>
                  <a:pt x="48" y="96"/>
                </a:cubicBezTo>
                <a:cubicBezTo>
                  <a:pt x="75" y="96"/>
                  <a:pt x="96" y="75"/>
                  <a:pt x="96" y="48"/>
                </a:cubicBezTo>
                <a:cubicBezTo>
                  <a:pt x="96" y="21"/>
                  <a:pt x="75" y="0"/>
                  <a:pt x="48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62" name="Freeform 69"/>
          <p:cNvSpPr>
            <a:spLocks noEditPoints="1"/>
          </p:cNvSpPr>
          <p:nvPr/>
        </p:nvSpPr>
        <p:spPr bwMode="auto">
          <a:xfrm>
            <a:off x="4591051" y="3136901"/>
            <a:ext cx="510116" cy="505884"/>
          </a:xfrm>
          <a:custGeom>
            <a:avLst/>
            <a:gdLst>
              <a:gd name="T0" fmla="*/ 436001155 w 168"/>
              <a:gd name="T1" fmla="*/ 92030237 h 168"/>
              <a:gd name="T2" fmla="*/ 778571377 w 168"/>
              <a:gd name="T3" fmla="*/ 429470673 h 168"/>
              <a:gd name="T4" fmla="*/ 436001155 w 168"/>
              <a:gd name="T5" fmla="*/ 766911110 h 168"/>
              <a:gd name="T6" fmla="*/ 93428656 w 168"/>
              <a:gd name="T7" fmla="*/ 429470673 h 168"/>
              <a:gd name="T8" fmla="*/ 436001155 w 168"/>
              <a:gd name="T9" fmla="*/ 92030237 h 168"/>
              <a:gd name="T10" fmla="*/ 436001155 w 168"/>
              <a:gd name="T11" fmla="*/ 0 h 168"/>
              <a:gd name="T12" fmla="*/ 0 w 168"/>
              <a:gd name="T13" fmla="*/ 429470673 h 168"/>
              <a:gd name="T14" fmla="*/ 436001155 w 168"/>
              <a:gd name="T15" fmla="*/ 858941347 h 168"/>
              <a:gd name="T16" fmla="*/ 872000033 w 168"/>
              <a:gd name="T17" fmla="*/ 429470673 h 168"/>
              <a:gd name="T18" fmla="*/ 436001155 w 168"/>
              <a:gd name="T19" fmla="*/ 0 h 16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68" h="168">
                <a:moveTo>
                  <a:pt x="84" y="18"/>
                </a:moveTo>
                <a:cubicBezTo>
                  <a:pt x="120" y="18"/>
                  <a:pt x="150" y="48"/>
                  <a:pt x="150" y="84"/>
                </a:cubicBezTo>
                <a:cubicBezTo>
                  <a:pt x="150" y="120"/>
                  <a:pt x="120" y="150"/>
                  <a:pt x="84" y="150"/>
                </a:cubicBezTo>
                <a:cubicBezTo>
                  <a:pt x="48" y="150"/>
                  <a:pt x="18" y="120"/>
                  <a:pt x="18" y="84"/>
                </a:cubicBezTo>
                <a:cubicBezTo>
                  <a:pt x="18" y="48"/>
                  <a:pt x="48" y="18"/>
                  <a:pt x="84" y="18"/>
                </a:cubicBezTo>
                <a:moveTo>
                  <a:pt x="84" y="0"/>
                </a:moveTo>
                <a:cubicBezTo>
                  <a:pt x="38" y="0"/>
                  <a:pt x="0" y="38"/>
                  <a:pt x="0" y="84"/>
                </a:cubicBezTo>
                <a:cubicBezTo>
                  <a:pt x="0" y="130"/>
                  <a:pt x="38" y="168"/>
                  <a:pt x="84" y="168"/>
                </a:cubicBezTo>
                <a:cubicBezTo>
                  <a:pt x="130" y="168"/>
                  <a:pt x="168" y="130"/>
                  <a:pt x="168" y="84"/>
                </a:cubicBezTo>
                <a:cubicBezTo>
                  <a:pt x="168" y="38"/>
                  <a:pt x="130" y="0"/>
                  <a:pt x="84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63" name="Freeform 70"/>
          <p:cNvSpPr>
            <a:spLocks/>
          </p:cNvSpPr>
          <p:nvPr/>
        </p:nvSpPr>
        <p:spPr bwMode="auto">
          <a:xfrm>
            <a:off x="5494868" y="3166534"/>
            <a:ext cx="472017" cy="448733"/>
          </a:xfrm>
          <a:custGeom>
            <a:avLst/>
            <a:gdLst>
              <a:gd name="T0" fmla="*/ 454883617 w 138"/>
              <a:gd name="T1" fmla="*/ 0 h 131"/>
              <a:gd name="T2" fmla="*/ 566956950 w 138"/>
              <a:gd name="T3" fmla="*/ 316896508 h 131"/>
              <a:gd name="T4" fmla="*/ 909767234 w 138"/>
              <a:gd name="T5" fmla="*/ 323499053 h 131"/>
              <a:gd name="T6" fmla="*/ 632880327 w 138"/>
              <a:gd name="T7" fmla="*/ 534765105 h 131"/>
              <a:gd name="T8" fmla="*/ 731770524 w 138"/>
              <a:gd name="T9" fmla="*/ 864866704 h 131"/>
              <a:gd name="T10" fmla="*/ 454883617 w 138"/>
              <a:gd name="T11" fmla="*/ 666805744 h 131"/>
              <a:gd name="T12" fmla="*/ 171406425 w 138"/>
              <a:gd name="T13" fmla="*/ 864866704 h 131"/>
              <a:gd name="T14" fmla="*/ 270294056 w 138"/>
              <a:gd name="T15" fmla="*/ 534765105 h 131"/>
              <a:gd name="T16" fmla="*/ 0 w 138"/>
              <a:gd name="T17" fmla="*/ 323499053 h 131"/>
              <a:gd name="T18" fmla="*/ 342810284 w 138"/>
              <a:gd name="T19" fmla="*/ 316896508 h 131"/>
              <a:gd name="T20" fmla="*/ 454883617 w 138"/>
              <a:gd name="T21" fmla="*/ 0 h 1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8" h="131">
                <a:moveTo>
                  <a:pt x="69" y="0"/>
                </a:moveTo>
                <a:lnTo>
                  <a:pt x="86" y="48"/>
                </a:lnTo>
                <a:lnTo>
                  <a:pt x="138" y="49"/>
                </a:lnTo>
                <a:lnTo>
                  <a:pt x="96" y="81"/>
                </a:lnTo>
                <a:lnTo>
                  <a:pt x="111" y="131"/>
                </a:lnTo>
                <a:lnTo>
                  <a:pt x="69" y="101"/>
                </a:lnTo>
                <a:lnTo>
                  <a:pt x="26" y="131"/>
                </a:lnTo>
                <a:lnTo>
                  <a:pt x="41" y="81"/>
                </a:lnTo>
                <a:lnTo>
                  <a:pt x="0" y="49"/>
                </a:lnTo>
                <a:lnTo>
                  <a:pt x="52" y="48"/>
                </a:lnTo>
                <a:lnTo>
                  <a:pt x="6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64" name="Oval 71"/>
          <p:cNvSpPr>
            <a:spLocks noChangeArrowheads="1"/>
          </p:cNvSpPr>
          <p:nvPr/>
        </p:nvSpPr>
        <p:spPr bwMode="auto">
          <a:xfrm>
            <a:off x="6532033" y="3469217"/>
            <a:ext cx="86784" cy="846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65" name="Freeform 72"/>
          <p:cNvSpPr>
            <a:spLocks noEditPoints="1"/>
          </p:cNvSpPr>
          <p:nvPr/>
        </p:nvSpPr>
        <p:spPr bwMode="auto">
          <a:xfrm>
            <a:off x="6430433" y="3147485"/>
            <a:ext cx="289984" cy="510116"/>
          </a:xfrm>
          <a:custGeom>
            <a:avLst/>
            <a:gdLst>
              <a:gd name="T0" fmla="*/ 433014077 w 96"/>
              <a:gd name="T1" fmla="*/ 0 h 168"/>
              <a:gd name="T2" fmla="*/ 61859478 w 96"/>
              <a:gd name="T3" fmla="*/ 0 h 168"/>
              <a:gd name="T4" fmla="*/ 0 w 96"/>
              <a:gd name="T5" fmla="*/ 62284253 h 168"/>
              <a:gd name="T6" fmla="*/ 0 w 96"/>
              <a:gd name="T7" fmla="*/ 809697562 h 168"/>
              <a:gd name="T8" fmla="*/ 61859478 w 96"/>
              <a:gd name="T9" fmla="*/ 871981815 h 168"/>
              <a:gd name="T10" fmla="*/ 433014077 w 96"/>
              <a:gd name="T11" fmla="*/ 871981815 h 168"/>
              <a:gd name="T12" fmla="*/ 494873555 w 96"/>
              <a:gd name="T13" fmla="*/ 809697562 h 168"/>
              <a:gd name="T14" fmla="*/ 494873555 w 96"/>
              <a:gd name="T15" fmla="*/ 62284253 h 168"/>
              <a:gd name="T16" fmla="*/ 433014077 w 96"/>
              <a:gd name="T17" fmla="*/ 0 h 168"/>
              <a:gd name="T18" fmla="*/ 247437910 w 96"/>
              <a:gd name="T19" fmla="*/ 809697562 h 168"/>
              <a:gd name="T20" fmla="*/ 61859478 w 96"/>
              <a:gd name="T21" fmla="*/ 622844804 h 168"/>
              <a:gd name="T22" fmla="*/ 247437910 w 96"/>
              <a:gd name="T23" fmla="*/ 435992046 h 168"/>
              <a:gd name="T24" fmla="*/ 433014077 w 96"/>
              <a:gd name="T25" fmla="*/ 622844804 h 168"/>
              <a:gd name="T26" fmla="*/ 247437910 w 96"/>
              <a:gd name="T27" fmla="*/ 809697562 h 168"/>
              <a:gd name="T28" fmla="*/ 433014077 w 96"/>
              <a:gd name="T29" fmla="*/ 332183440 h 168"/>
              <a:gd name="T30" fmla="*/ 391775181 w 96"/>
              <a:gd name="T31" fmla="*/ 373705516 h 168"/>
              <a:gd name="T32" fmla="*/ 103098374 w 96"/>
              <a:gd name="T33" fmla="*/ 373705516 h 168"/>
              <a:gd name="T34" fmla="*/ 61859478 w 96"/>
              <a:gd name="T35" fmla="*/ 332183440 h 168"/>
              <a:gd name="T36" fmla="*/ 61859478 w 96"/>
              <a:gd name="T37" fmla="*/ 103806329 h 168"/>
              <a:gd name="T38" fmla="*/ 103098374 w 96"/>
              <a:gd name="T39" fmla="*/ 62284253 h 168"/>
              <a:gd name="T40" fmla="*/ 391775181 w 96"/>
              <a:gd name="T41" fmla="*/ 62284253 h 168"/>
              <a:gd name="T42" fmla="*/ 433014077 w 96"/>
              <a:gd name="T43" fmla="*/ 103806329 h 168"/>
              <a:gd name="T44" fmla="*/ 433014077 w 96"/>
              <a:gd name="T45" fmla="*/ 332183440 h 16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6" h="168">
                <a:moveTo>
                  <a:pt x="84" y="0"/>
                </a:move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5"/>
                  <a:pt x="0" y="12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63"/>
                  <a:pt x="5" y="168"/>
                  <a:pt x="12" y="168"/>
                </a:cubicBezTo>
                <a:cubicBezTo>
                  <a:pt x="84" y="168"/>
                  <a:pt x="84" y="168"/>
                  <a:pt x="84" y="168"/>
                </a:cubicBezTo>
                <a:cubicBezTo>
                  <a:pt x="91" y="168"/>
                  <a:pt x="96" y="163"/>
                  <a:pt x="96" y="156"/>
                </a:cubicBezTo>
                <a:cubicBezTo>
                  <a:pt x="96" y="12"/>
                  <a:pt x="96" y="12"/>
                  <a:pt x="96" y="12"/>
                </a:cubicBezTo>
                <a:cubicBezTo>
                  <a:pt x="96" y="5"/>
                  <a:pt x="91" y="0"/>
                  <a:pt x="84" y="0"/>
                </a:cubicBezTo>
                <a:moveTo>
                  <a:pt x="48" y="156"/>
                </a:moveTo>
                <a:cubicBezTo>
                  <a:pt x="28" y="156"/>
                  <a:pt x="12" y="140"/>
                  <a:pt x="12" y="120"/>
                </a:cubicBezTo>
                <a:cubicBezTo>
                  <a:pt x="12" y="100"/>
                  <a:pt x="28" y="84"/>
                  <a:pt x="48" y="84"/>
                </a:cubicBezTo>
                <a:cubicBezTo>
                  <a:pt x="68" y="84"/>
                  <a:pt x="84" y="100"/>
                  <a:pt x="84" y="120"/>
                </a:cubicBezTo>
                <a:cubicBezTo>
                  <a:pt x="84" y="140"/>
                  <a:pt x="68" y="156"/>
                  <a:pt x="48" y="156"/>
                </a:cubicBezTo>
                <a:moveTo>
                  <a:pt x="84" y="64"/>
                </a:moveTo>
                <a:cubicBezTo>
                  <a:pt x="84" y="68"/>
                  <a:pt x="80" y="72"/>
                  <a:pt x="76" y="72"/>
                </a:cubicBezTo>
                <a:cubicBezTo>
                  <a:pt x="20" y="72"/>
                  <a:pt x="20" y="72"/>
                  <a:pt x="20" y="72"/>
                </a:cubicBezTo>
                <a:cubicBezTo>
                  <a:pt x="16" y="72"/>
                  <a:pt x="12" y="68"/>
                  <a:pt x="12" y="64"/>
                </a:cubicBezTo>
                <a:cubicBezTo>
                  <a:pt x="12" y="20"/>
                  <a:pt x="12" y="20"/>
                  <a:pt x="12" y="20"/>
                </a:cubicBezTo>
                <a:cubicBezTo>
                  <a:pt x="12" y="16"/>
                  <a:pt x="16" y="12"/>
                  <a:pt x="20" y="12"/>
                </a:cubicBezTo>
                <a:cubicBezTo>
                  <a:pt x="76" y="12"/>
                  <a:pt x="76" y="12"/>
                  <a:pt x="76" y="12"/>
                </a:cubicBezTo>
                <a:cubicBezTo>
                  <a:pt x="80" y="12"/>
                  <a:pt x="84" y="16"/>
                  <a:pt x="84" y="20"/>
                </a:cubicBezTo>
                <a:lnTo>
                  <a:pt x="84" y="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66" name="Freeform 73"/>
          <p:cNvSpPr>
            <a:spLocks noEditPoints="1"/>
          </p:cNvSpPr>
          <p:nvPr/>
        </p:nvSpPr>
        <p:spPr bwMode="auto">
          <a:xfrm>
            <a:off x="7279218" y="3128434"/>
            <a:ext cx="292100" cy="546100"/>
          </a:xfrm>
          <a:custGeom>
            <a:avLst/>
            <a:gdLst>
              <a:gd name="T0" fmla="*/ 420596616 w 96"/>
              <a:gd name="T1" fmla="*/ 0 h 180"/>
              <a:gd name="T2" fmla="*/ 77888009 w 96"/>
              <a:gd name="T3" fmla="*/ 0 h 180"/>
              <a:gd name="T4" fmla="*/ 0 w 96"/>
              <a:gd name="T5" fmla="*/ 77477938 h 180"/>
              <a:gd name="T6" fmla="*/ 0 w 96"/>
              <a:gd name="T7" fmla="*/ 852257313 h 180"/>
              <a:gd name="T8" fmla="*/ 77888009 w 96"/>
              <a:gd name="T9" fmla="*/ 929735250 h 180"/>
              <a:gd name="T10" fmla="*/ 420596616 w 96"/>
              <a:gd name="T11" fmla="*/ 929735250 h 180"/>
              <a:gd name="T12" fmla="*/ 498484624 w 96"/>
              <a:gd name="T13" fmla="*/ 852257313 h 180"/>
              <a:gd name="T14" fmla="*/ 498484624 w 96"/>
              <a:gd name="T15" fmla="*/ 77477938 h 180"/>
              <a:gd name="T16" fmla="*/ 420596616 w 96"/>
              <a:gd name="T17" fmla="*/ 0 h 180"/>
              <a:gd name="T18" fmla="*/ 202509735 w 96"/>
              <a:gd name="T19" fmla="*/ 61982350 h 180"/>
              <a:gd name="T20" fmla="*/ 295974889 w 96"/>
              <a:gd name="T21" fmla="*/ 61982350 h 180"/>
              <a:gd name="T22" fmla="*/ 311552034 w 96"/>
              <a:gd name="T23" fmla="*/ 77477938 h 180"/>
              <a:gd name="T24" fmla="*/ 295974889 w 96"/>
              <a:gd name="T25" fmla="*/ 92973525 h 180"/>
              <a:gd name="T26" fmla="*/ 202509735 w 96"/>
              <a:gd name="T27" fmla="*/ 92973525 h 180"/>
              <a:gd name="T28" fmla="*/ 186932590 w 96"/>
              <a:gd name="T29" fmla="*/ 77477938 h 180"/>
              <a:gd name="T30" fmla="*/ 202509735 w 96"/>
              <a:gd name="T31" fmla="*/ 61982350 h 180"/>
              <a:gd name="T32" fmla="*/ 249243453 w 96"/>
              <a:gd name="T33" fmla="*/ 898744075 h 180"/>
              <a:gd name="T34" fmla="*/ 202509735 w 96"/>
              <a:gd name="T35" fmla="*/ 852257313 h 180"/>
              <a:gd name="T36" fmla="*/ 249243453 w 96"/>
              <a:gd name="T37" fmla="*/ 805770550 h 180"/>
              <a:gd name="T38" fmla="*/ 295974889 w 96"/>
              <a:gd name="T39" fmla="*/ 852257313 h 180"/>
              <a:gd name="T40" fmla="*/ 249243453 w 96"/>
              <a:gd name="T41" fmla="*/ 898744075 h 180"/>
              <a:gd name="T42" fmla="*/ 467330334 w 96"/>
              <a:gd name="T43" fmla="*/ 774779375 h 180"/>
              <a:gd name="T44" fmla="*/ 31154291 w 96"/>
              <a:gd name="T45" fmla="*/ 774779375 h 180"/>
              <a:gd name="T46" fmla="*/ 31154291 w 96"/>
              <a:gd name="T47" fmla="*/ 154955875 h 180"/>
              <a:gd name="T48" fmla="*/ 467330334 w 96"/>
              <a:gd name="T49" fmla="*/ 154955875 h 180"/>
              <a:gd name="T50" fmla="*/ 467330334 w 96"/>
              <a:gd name="T51" fmla="*/ 774779375 h 18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96" h="180">
                <a:moveTo>
                  <a:pt x="81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165"/>
                  <a:pt x="0" y="165"/>
                  <a:pt x="0" y="165"/>
                </a:cubicBezTo>
                <a:cubicBezTo>
                  <a:pt x="0" y="173"/>
                  <a:pt x="7" y="180"/>
                  <a:pt x="15" y="180"/>
                </a:cubicBezTo>
                <a:cubicBezTo>
                  <a:pt x="81" y="180"/>
                  <a:pt x="81" y="180"/>
                  <a:pt x="81" y="180"/>
                </a:cubicBezTo>
                <a:cubicBezTo>
                  <a:pt x="89" y="180"/>
                  <a:pt x="96" y="173"/>
                  <a:pt x="96" y="165"/>
                </a:cubicBezTo>
                <a:cubicBezTo>
                  <a:pt x="96" y="15"/>
                  <a:pt x="96" y="15"/>
                  <a:pt x="96" y="15"/>
                </a:cubicBezTo>
                <a:cubicBezTo>
                  <a:pt x="96" y="7"/>
                  <a:pt x="89" y="0"/>
                  <a:pt x="81" y="0"/>
                </a:cubicBezTo>
                <a:moveTo>
                  <a:pt x="39" y="12"/>
                </a:moveTo>
                <a:cubicBezTo>
                  <a:pt x="57" y="12"/>
                  <a:pt x="57" y="12"/>
                  <a:pt x="57" y="12"/>
                </a:cubicBezTo>
                <a:cubicBezTo>
                  <a:pt x="59" y="12"/>
                  <a:pt x="60" y="13"/>
                  <a:pt x="60" y="15"/>
                </a:cubicBezTo>
                <a:cubicBezTo>
                  <a:pt x="60" y="17"/>
                  <a:pt x="59" y="18"/>
                  <a:pt x="57" y="18"/>
                </a:cubicBezTo>
                <a:cubicBezTo>
                  <a:pt x="39" y="18"/>
                  <a:pt x="39" y="18"/>
                  <a:pt x="39" y="18"/>
                </a:cubicBezTo>
                <a:cubicBezTo>
                  <a:pt x="37" y="18"/>
                  <a:pt x="36" y="17"/>
                  <a:pt x="36" y="15"/>
                </a:cubicBezTo>
                <a:cubicBezTo>
                  <a:pt x="36" y="13"/>
                  <a:pt x="37" y="12"/>
                  <a:pt x="39" y="12"/>
                </a:cubicBezTo>
                <a:moveTo>
                  <a:pt x="48" y="174"/>
                </a:moveTo>
                <a:cubicBezTo>
                  <a:pt x="43" y="174"/>
                  <a:pt x="39" y="170"/>
                  <a:pt x="39" y="165"/>
                </a:cubicBezTo>
                <a:cubicBezTo>
                  <a:pt x="39" y="160"/>
                  <a:pt x="43" y="156"/>
                  <a:pt x="48" y="156"/>
                </a:cubicBezTo>
                <a:cubicBezTo>
                  <a:pt x="53" y="156"/>
                  <a:pt x="57" y="160"/>
                  <a:pt x="57" y="165"/>
                </a:cubicBezTo>
                <a:cubicBezTo>
                  <a:pt x="57" y="170"/>
                  <a:pt x="53" y="174"/>
                  <a:pt x="48" y="174"/>
                </a:cubicBezTo>
                <a:moveTo>
                  <a:pt x="90" y="150"/>
                </a:moveTo>
                <a:cubicBezTo>
                  <a:pt x="6" y="150"/>
                  <a:pt x="6" y="150"/>
                  <a:pt x="6" y="150"/>
                </a:cubicBezTo>
                <a:cubicBezTo>
                  <a:pt x="6" y="30"/>
                  <a:pt x="6" y="30"/>
                  <a:pt x="6" y="30"/>
                </a:cubicBezTo>
                <a:cubicBezTo>
                  <a:pt x="90" y="30"/>
                  <a:pt x="90" y="30"/>
                  <a:pt x="90" y="30"/>
                </a:cubicBezTo>
                <a:lnTo>
                  <a:pt x="90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67" name="Rectangle 74"/>
          <p:cNvSpPr>
            <a:spLocks noChangeArrowheads="1"/>
          </p:cNvSpPr>
          <p:nvPr/>
        </p:nvSpPr>
        <p:spPr bwMode="auto">
          <a:xfrm>
            <a:off x="1263651" y="4112685"/>
            <a:ext cx="330200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68" name="Rectangle 75"/>
          <p:cNvSpPr>
            <a:spLocks noChangeArrowheads="1"/>
          </p:cNvSpPr>
          <p:nvPr/>
        </p:nvSpPr>
        <p:spPr bwMode="auto">
          <a:xfrm>
            <a:off x="1263651" y="4112685"/>
            <a:ext cx="330200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69" name="Rectangle 76"/>
          <p:cNvSpPr>
            <a:spLocks noChangeArrowheads="1"/>
          </p:cNvSpPr>
          <p:nvPr/>
        </p:nvSpPr>
        <p:spPr bwMode="auto">
          <a:xfrm>
            <a:off x="1263651" y="4112685"/>
            <a:ext cx="330200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70" name="Rectangle 77"/>
          <p:cNvSpPr>
            <a:spLocks noChangeArrowheads="1"/>
          </p:cNvSpPr>
          <p:nvPr/>
        </p:nvSpPr>
        <p:spPr bwMode="auto">
          <a:xfrm>
            <a:off x="1263651" y="4112685"/>
            <a:ext cx="330200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71" name="Freeform 78"/>
          <p:cNvSpPr>
            <a:spLocks noEditPoints="1"/>
          </p:cNvSpPr>
          <p:nvPr/>
        </p:nvSpPr>
        <p:spPr bwMode="auto">
          <a:xfrm>
            <a:off x="1212852" y="4057651"/>
            <a:ext cx="436033" cy="364067"/>
          </a:xfrm>
          <a:custGeom>
            <a:avLst/>
            <a:gdLst>
              <a:gd name="T0" fmla="*/ 679426232 w 144"/>
              <a:gd name="T1" fmla="*/ 0 h 120"/>
              <a:gd name="T2" fmla="*/ 61766847 w 144"/>
              <a:gd name="T3" fmla="*/ 0 h 120"/>
              <a:gd name="T4" fmla="*/ 0 w 144"/>
              <a:gd name="T5" fmla="*/ 61982350 h 120"/>
              <a:gd name="T6" fmla="*/ 0 w 144"/>
              <a:gd name="T7" fmla="*/ 402883000 h 120"/>
              <a:gd name="T8" fmla="*/ 61766847 w 144"/>
              <a:gd name="T9" fmla="*/ 464865350 h 120"/>
              <a:gd name="T10" fmla="*/ 308829692 w 144"/>
              <a:gd name="T11" fmla="*/ 464865350 h 120"/>
              <a:gd name="T12" fmla="*/ 308829692 w 144"/>
              <a:gd name="T13" fmla="*/ 588830050 h 120"/>
              <a:gd name="T14" fmla="*/ 277948540 w 144"/>
              <a:gd name="T15" fmla="*/ 588830050 h 120"/>
              <a:gd name="T16" fmla="*/ 247065116 w 144"/>
              <a:gd name="T17" fmla="*/ 619821225 h 120"/>
              <a:gd name="T18" fmla="*/ 494127962 w 144"/>
              <a:gd name="T19" fmla="*/ 619821225 h 120"/>
              <a:gd name="T20" fmla="*/ 463246810 w 144"/>
              <a:gd name="T21" fmla="*/ 588830050 h 120"/>
              <a:gd name="T22" fmla="*/ 432363386 w 144"/>
              <a:gd name="T23" fmla="*/ 588830050 h 120"/>
              <a:gd name="T24" fmla="*/ 432363386 w 144"/>
              <a:gd name="T25" fmla="*/ 464865350 h 120"/>
              <a:gd name="T26" fmla="*/ 679426232 w 144"/>
              <a:gd name="T27" fmla="*/ 464865350 h 120"/>
              <a:gd name="T28" fmla="*/ 741193078 w 144"/>
              <a:gd name="T29" fmla="*/ 402883000 h 120"/>
              <a:gd name="T30" fmla="*/ 741193078 w 144"/>
              <a:gd name="T31" fmla="*/ 61982350 h 120"/>
              <a:gd name="T32" fmla="*/ 679426232 w 144"/>
              <a:gd name="T33" fmla="*/ 0 h 120"/>
              <a:gd name="T34" fmla="*/ 679426232 w 144"/>
              <a:gd name="T35" fmla="*/ 402883000 h 120"/>
              <a:gd name="T36" fmla="*/ 61766847 w 144"/>
              <a:gd name="T37" fmla="*/ 402883000 h 120"/>
              <a:gd name="T38" fmla="*/ 61766847 w 144"/>
              <a:gd name="T39" fmla="*/ 61982350 h 120"/>
              <a:gd name="T40" fmla="*/ 679426232 w 144"/>
              <a:gd name="T41" fmla="*/ 61982350 h 120"/>
              <a:gd name="T42" fmla="*/ 679426232 w 144"/>
              <a:gd name="T43" fmla="*/ 402883000 h 12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44" h="120">
                <a:moveTo>
                  <a:pt x="132" y="0"/>
                </a:move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5"/>
                  <a:pt x="0" y="1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85"/>
                  <a:pt x="5" y="90"/>
                  <a:pt x="12" y="90"/>
                </a:cubicBezTo>
                <a:cubicBezTo>
                  <a:pt x="60" y="90"/>
                  <a:pt x="60" y="90"/>
                  <a:pt x="60" y="90"/>
                </a:cubicBezTo>
                <a:cubicBezTo>
                  <a:pt x="60" y="114"/>
                  <a:pt x="60" y="114"/>
                  <a:pt x="60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48" y="114"/>
                  <a:pt x="48" y="120"/>
                  <a:pt x="48" y="120"/>
                </a:cubicBezTo>
                <a:cubicBezTo>
                  <a:pt x="96" y="120"/>
                  <a:pt x="96" y="120"/>
                  <a:pt x="96" y="120"/>
                </a:cubicBezTo>
                <a:cubicBezTo>
                  <a:pt x="96" y="114"/>
                  <a:pt x="90" y="114"/>
                  <a:pt x="90" y="114"/>
                </a:cubicBezTo>
                <a:cubicBezTo>
                  <a:pt x="84" y="114"/>
                  <a:pt x="84" y="114"/>
                  <a:pt x="84" y="114"/>
                </a:cubicBezTo>
                <a:cubicBezTo>
                  <a:pt x="84" y="90"/>
                  <a:pt x="84" y="90"/>
                  <a:pt x="84" y="90"/>
                </a:cubicBezTo>
                <a:cubicBezTo>
                  <a:pt x="132" y="90"/>
                  <a:pt x="132" y="90"/>
                  <a:pt x="132" y="90"/>
                </a:cubicBezTo>
                <a:cubicBezTo>
                  <a:pt x="139" y="90"/>
                  <a:pt x="144" y="85"/>
                  <a:pt x="144" y="78"/>
                </a:cubicBezTo>
                <a:cubicBezTo>
                  <a:pt x="144" y="12"/>
                  <a:pt x="144" y="12"/>
                  <a:pt x="144" y="12"/>
                </a:cubicBezTo>
                <a:cubicBezTo>
                  <a:pt x="144" y="5"/>
                  <a:pt x="139" y="0"/>
                  <a:pt x="132" y="0"/>
                </a:cubicBezTo>
                <a:moveTo>
                  <a:pt x="132" y="78"/>
                </a:moveTo>
                <a:cubicBezTo>
                  <a:pt x="12" y="78"/>
                  <a:pt x="12" y="78"/>
                  <a:pt x="12" y="78"/>
                </a:cubicBezTo>
                <a:cubicBezTo>
                  <a:pt x="12" y="12"/>
                  <a:pt x="12" y="12"/>
                  <a:pt x="12" y="12"/>
                </a:cubicBezTo>
                <a:cubicBezTo>
                  <a:pt x="132" y="12"/>
                  <a:pt x="132" y="12"/>
                  <a:pt x="132" y="12"/>
                </a:cubicBezTo>
                <a:lnTo>
                  <a:pt x="132" y="7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72" name="Freeform 79"/>
          <p:cNvSpPr>
            <a:spLocks noEditPoints="1"/>
          </p:cNvSpPr>
          <p:nvPr/>
        </p:nvSpPr>
        <p:spPr bwMode="auto">
          <a:xfrm>
            <a:off x="2055285" y="4091518"/>
            <a:ext cx="546100" cy="347133"/>
          </a:xfrm>
          <a:custGeom>
            <a:avLst/>
            <a:gdLst>
              <a:gd name="T0" fmla="*/ 867768828 w 180"/>
              <a:gd name="T1" fmla="*/ 0 h 114"/>
              <a:gd name="T2" fmla="*/ 61984625 w 180"/>
              <a:gd name="T3" fmla="*/ 0 h 114"/>
              <a:gd name="T4" fmla="*/ 0 w 180"/>
              <a:gd name="T5" fmla="*/ 62394933 h 114"/>
              <a:gd name="T6" fmla="*/ 0 w 180"/>
              <a:gd name="T7" fmla="*/ 467963139 h 114"/>
              <a:gd name="T8" fmla="*/ 61984625 w 180"/>
              <a:gd name="T9" fmla="*/ 530358071 h 114"/>
              <a:gd name="T10" fmla="*/ 402892101 w 180"/>
              <a:gd name="T11" fmla="*/ 530358071 h 114"/>
              <a:gd name="T12" fmla="*/ 402892101 w 180"/>
              <a:gd name="T13" fmla="*/ 561554396 h 114"/>
              <a:gd name="T14" fmla="*/ 340909751 w 180"/>
              <a:gd name="T15" fmla="*/ 561554396 h 114"/>
              <a:gd name="T16" fmla="*/ 309918576 w 180"/>
              <a:gd name="T17" fmla="*/ 592753004 h 114"/>
              <a:gd name="T18" fmla="*/ 619834877 w 180"/>
              <a:gd name="T19" fmla="*/ 592753004 h 114"/>
              <a:gd name="T20" fmla="*/ 588843702 w 180"/>
              <a:gd name="T21" fmla="*/ 561554396 h 114"/>
              <a:gd name="T22" fmla="*/ 526861352 w 180"/>
              <a:gd name="T23" fmla="*/ 561554396 h 114"/>
              <a:gd name="T24" fmla="*/ 526861352 w 180"/>
              <a:gd name="T25" fmla="*/ 530358071 h 114"/>
              <a:gd name="T26" fmla="*/ 867768828 w 180"/>
              <a:gd name="T27" fmla="*/ 530358071 h 114"/>
              <a:gd name="T28" fmla="*/ 929753453 w 180"/>
              <a:gd name="T29" fmla="*/ 467963139 h 114"/>
              <a:gd name="T30" fmla="*/ 929753453 w 180"/>
              <a:gd name="T31" fmla="*/ 62394933 h 114"/>
              <a:gd name="T32" fmla="*/ 867768828 w 180"/>
              <a:gd name="T33" fmla="*/ 0 h 114"/>
              <a:gd name="T34" fmla="*/ 898762278 w 180"/>
              <a:gd name="T35" fmla="*/ 467963139 h 114"/>
              <a:gd name="T36" fmla="*/ 867768828 w 180"/>
              <a:gd name="T37" fmla="*/ 499159463 h 114"/>
              <a:gd name="T38" fmla="*/ 61984625 w 180"/>
              <a:gd name="T39" fmla="*/ 499159463 h 114"/>
              <a:gd name="T40" fmla="*/ 30991175 w 180"/>
              <a:gd name="T41" fmla="*/ 467963139 h 114"/>
              <a:gd name="T42" fmla="*/ 30991175 w 180"/>
              <a:gd name="T43" fmla="*/ 62394933 h 114"/>
              <a:gd name="T44" fmla="*/ 61984625 w 180"/>
              <a:gd name="T45" fmla="*/ 31198608 h 114"/>
              <a:gd name="T46" fmla="*/ 867768828 w 180"/>
              <a:gd name="T47" fmla="*/ 31198608 h 114"/>
              <a:gd name="T48" fmla="*/ 898762278 w 180"/>
              <a:gd name="T49" fmla="*/ 62394933 h 114"/>
              <a:gd name="T50" fmla="*/ 898762278 w 180"/>
              <a:gd name="T51" fmla="*/ 467963139 h 11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80" h="114">
                <a:moveTo>
                  <a:pt x="168" y="0"/>
                </a:move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5"/>
                  <a:pt x="0" y="12"/>
                </a:cubicBezTo>
                <a:cubicBezTo>
                  <a:pt x="0" y="90"/>
                  <a:pt x="0" y="90"/>
                  <a:pt x="0" y="90"/>
                </a:cubicBezTo>
                <a:cubicBezTo>
                  <a:pt x="0" y="97"/>
                  <a:pt x="5" y="102"/>
                  <a:pt x="12" y="102"/>
                </a:cubicBezTo>
                <a:cubicBezTo>
                  <a:pt x="78" y="102"/>
                  <a:pt x="78" y="102"/>
                  <a:pt x="78" y="102"/>
                </a:cubicBezTo>
                <a:cubicBezTo>
                  <a:pt x="78" y="108"/>
                  <a:pt x="78" y="108"/>
                  <a:pt x="78" y="108"/>
                </a:cubicBezTo>
                <a:cubicBezTo>
                  <a:pt x="66" y="108"/>
                  <a:pt x="66" y="108"/>
                  <a:pt x="66" y="108"/>
                </a:cubicBezTo>
                <a:cubicBezTo>
                  <a:pt x="60" y="108"/>
                  <a:pt x="60" y="114"/>
                  <a:pt x="60" y="114"/>
                </a:cubicBezTo>
                <a:cubicBezTo>
                  <a:pt x="120" y="114"/>
                  <a:pt x="120" y="114"/>
                  <a:pt x="120" y="114"/>
                </a:cubicBezTo>
                <a:cubicBezTo>
                  <a:pt x="120" y="108"/>
                  <a:pt x="114" y="108"/>
                  <a:pt x="114" y="108"/>
                </a:cubicBezTo>
                <a:cubicBezTo>
                  <a:pt x="102" y="108"/>
                  <a:pt x="102" y="108"/>
                  <a:pt x="102" y="108"/>
                </a:cubicBezTo>
                <a:cubicBezTo>
                  <a:pt x="102" y="102"/>
                  <a:pt x="102" y="102"/>
                  <a:pt x="102" y="102"/>
                </a:cubicBezTo>
                <a:cubicBezTo>
                  <a:pt x="168" y="102"/>
                  <a:pt x="168" y="102"/>
                  <a:pt x="168" y="102"/>
                </a:cubicBezTo>
                <a:cubicBezTo>
                  <a:pt x="175" y="102"/>
                  <a:pt x="180" y="97"/>
                  <a:pt x="180" y="90"/>
                </a:cubicBezTo>
                <a:cubicBezTo>
                  <a:pt x="180" y="12"/>
                  <a:pt x="180" y="12"/>
                  <a:pt x="180" y="12"/>
                </a:cubicBezTo>
                <a:cubicBezTo>
                  <a:pt x="180" y="5"/>
                  <a:pt x="175" y="0"/>
                  <a:pt x="168" y="0"/>
                </a:cubicBezTo>
                <a:moveTo>
                  <a:pt x="174" y="90"/>
                </a:moveTo>
                <a:cubicBezTo>
                  <a:pt x="174" y="93"/>
                  <a:pt x="171" y="96"/>
                  <a:pt x="168" y="96"/>
                </a:cubicBezTo>
                <a:cubicBezTo>
                  <a:pt x="12" y="96"/>
                  <a:pt x="12" y="96"/>
                  <a:pt x="12" y="96"/>
                </a:cubicBezTo>
                <a:cubicBezTo>
                  <a:pt x="9" y="96"/>
                  <a:pt x="6" y="93"/>
                  <a:pt x="6" y="90"/>
                </a:cubicBezTo>
                <a:cubicBezTo>
                  <a:pt x="6" y="12"/>
                  <a:pt x="6" y="12"/>
                  <a:pt x="6" y="12"/>
                </a:cubicBezTo>
                <a:cubicBezTo>
                  <a:pt x="6" y="9"/>
                  <a:pt x="9" y="6"/>
                  <a:pt x="12" y="6"/>
                </a:cubicBezTo>
                <a:cubicBezTo>
                  <a:pt x="168" y="6"/>
                  <a:pt x="168" y="6"/>
                  <a:pt x="168" y="6"/>
                </a:cubicBezTo>
                <a:cubicBezTo>
                  <a:pt x="171" y="6"/>
                  <a:pt x="174" y="9"/>
                  <a:pt x="174" y="12"/>
                </a:cubicBezTo>
                <a:lnTo>
                  <a:pt x="174" y="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73" name="Freeform 80"/>
          <p:cNvSpPr>
            <a:spLocks noEditPoints="1"/>
          </p:cNvSpPr>
          <p:nvPr/>
        </p:nvSpPr>
        <p:spPr bwMode="auto">
          <a:xfrm>
            <a:off x="2984501" y="3985685"/>
            <a:ext cx="436033" cy="436033"/>
          </a:xfrm>
          <a:custGeom>
            <a:avLst/>
            <a:gdLst>
              <a:gd name="T0" fmla="*/ 679426232 w 144"/>
              <a:gd name="T1" fmla="*/ 185293728 h 144"/>
              <a:gd name="T2" fmla="*/ 416920539 w 144"/>
              <a:gd name="T3" fmla="*/ 185293728 h 144"/>
              <a:gd name="T4" fmla="*/ 519865284 w 144"/>
              <a:gd name="T5" fmla="*/ 61764576 h 144"/>
              <a:gd name="T6" fmla="*/ 525011385 w 144"/>
              <a:gd name="T7" fmla="*/ 61764576 h 144"/>
              <a:gd name="T8" fmla="*/ 555894809 w 144"/>
              <a:gd name="T9" fmla="*/ 30883423 h 144"/>
              <a:gd name="T10" fmla="*/ 525011385 w 144"/>
              <a:gd name="T11" fmla="*/ 0 h 144"/>
              <a:gd name="T12" fmla="*/ 494127962 w 144"/>
              <a:gd name="T13" fmla="*/ 30883423 h 144"/>
              <a:gd name="T14" fmla="*/ 494127962 w 144"/>
              <a:gd name="T15" fmla="*/ 41175627 h 144"/>
              <a:gd name="T16" fmla="*/ 375742641 w 144"/>
              <a:gd name="T17" fmla="*/ 185293728 h 144"/>
              <a:gd name="T18" fmla="*/ 365450438 w 144"/>
              <a:gd name="T19" fmla="*/ 185293728 h 144"/>
              <a:gd name="T20" fmla="*/ 247065116 w 144"/>
              <a:gd name="T21" fmla="*/ 41175627 h 144"/>
              <a:gd name="T22" fmla="*/ 247065116 w 144"/>
              <a:gd name="T23" fmla="*/ 30883423 h 144"/>
              <a:gd name="T24" fmla="*/ 216181693 w 144"/>
              <a:gd name="T25" fmla="*/ 0 h 144"/>
              <a:gd name="T26" fmla="*/ 185298270 w 144"/>
              <a:gd name="T27" fmla="*/ 30883423 h 144"/>
              <a:gd name="T28" fmla="*/ 216181693 w 144"/>
              <a:gd name="T29" fmla="*/ 61764576 h 144"/>
              <a:gd name="T30" fmla="*/ 221327795 w 144"/>
              <a:gd name="T31" fmla="*/ 61764576 h 144"/>
              <a:gd name="T32" fmla="*/ 324272540 w 144"/>
              <a:gd name="T33" fmla="*/ 185293728 h 144"/>
              <a:gd name="T34" fmla="*/ 61766847 w 144"/>
              <a:gd name="T35" fmla="*/ 185293728 h 144"/>
              <a:gd name="T36" fmla="*/ 0 w 144"/>
              <a:gd name="T37" fmla="*/ 247058303 h 144"/>
              <a:gd name="T38" fmla="*/ 0 w 144"/>
              <a:gd name="T39" fmla="*/ 679412606 h 144"/>
              <a:gd name="T40" fmla="*/ 61766847 w 144"/>
              <a:gd name="T41" fmla="*/ 741177181 h 144"/>
              <a:gd name="T42" fmla="*/ 679426232 w 144"/>
              <a:gd name="T43" fmla="*/ 741177181 h 144"/>
              <a:gd name="T44" fmla="*/ 741193078 w 144"/>
              <a:gd name="T45" fmla="*/ 679412606 h 144"/>
              <a:gd name="T46" fmla="*/ 741193078 w 144"/>
              <a:gd name="T47" fmla="*/ 247058303 h 144"/>
              <a:gd name="T48" fmla="*/ 679426232 w 144"/>
              <a:gd name="T49" fmla="*/ 185293728 h 144"/>
              <a:gd name="T50" fmla="*/ 555894809 w 144"/>
              <a:gd name="T51" fmla="*/ 617648030 h 144"/>
              <a:gd name="T52" fmla="*/ 494127962 w 144"/>
              <a:gd name="T53" fmla="*/ 679412606 h 144"/>
              <a:gd name="T54" fmla="*/ 123531423 w 144"/>
              <a:gd name="T55" fmla="*/ 679412606 h 144"/>
              <a:gd name="T56" fmla="*/ 61766847 w 144"/>
              <a:gd name="T57" fmla="*/ 617648030 h 144"/>
              <a:gd name="T58" fmla="*/ 61766847 w 144"/>
              <a:gd name="T59" fmla="*/ 308822879 h 144"/>
              <a:gd name="T60" fmla="*/ 123531423 w 144"/>
              <a:gd name="T61" fmla="*/ 247058303 h 144"/>
              <a:gd name="T62" fmla="*/ 494127962 w 144"/>
              <a:gd name="T63" fmla="*/ 247058303 h 144"/>
              <a:gd name="T64" fmla="*/ 555894809 w 144"/>
              <a:gd name="T65" fmla="*/ 308822879 h 144"/>
              <a:gd name="T66" fmla="*/ 555894809 w 144"/>
              <a:gd name="T67" fmla="*/ 617648030 h 144"/>
              <a:gd name="T68" fmla="*/ 648545079 w 144"/>
              <a:gd name="T69" fmla="*/ 525000030 h 144"/>
              <a:gd name="T70" fmla="*/ 586778232 w 144"/>
              <a:gd name="T71" fmla="*/ 463235455 h 144"/>
              <a:gd name="T72" fmla="*/ 648545079 w 144"/>
              <a:gd name="T73" fmla="*/ 401470879 h 144"/>
              <a:gd name="T74" fmla="*/ 710309655 w 144"/>
              <a:gd name="T75" fmla="*/ 463235455 h 144"/>
              <a:gd name="T76" fmla="*/ 648545079 w 144"/>
              <a:gd name="T77" fmla="*/ 525000030 h 144"/>
              <a:gd name="T78" fmla="*/ 648545079 w 144"/>
              <a:gd name="T79" fmla="*/ 370589726 h 144"/>
              <a:gd name="T80" fmla="*/ 586778232 w 144"/>
              <a:gd name="T81" fmla="*/ 308822879 h 144"/>
              <a:gd name="T82" fmla="*/ 648545079 w 144"/>
              <a:gd name="T83" fmla="*/ 247058303 h 144"/>
              <a:gd name="T84" fmla="*/ 710309655 w 144"/>
              <a:gd name="T85" fmla="*/ 308822879 h 144"/>
              <a:gd name="T86" fmla="*/ 648545079 w 144"/>
              <a:gd name="T87" fmla="*/ 370589726 h 14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44" h="144">
                <a:moveTo>
                  <a:pt x="132" y="36"/>
                </a:moveTo>
                <a:cubicBezTo>
                  <a:pt x="81" y="36"/>
                  <a:pt x="81" y="36"/>
                  <a:pt x="81" y="36"/>
                </a:cubicBezTo>
                <a:cubicBezTo>
                  <a:pt x="101" y="12"/>
                  <a:pt x="101" y="12"/>
                  <a:pt x="101" y="12"/>
                </a:cubicBezTo>
                <a:cubicBezTo>
                  <a:pt x="101" y="12"/>
                  <a:pt x="102" y="12"/>
                  <a:pt x="102" y="12"/>
                </a:cubicBezTo>
                <a:cubicBezTo>
                  <a:pt x="105" y="12"/>
                  <a:pt x="108" y="9"/>
                  <a:pt x="108" y="6"/>
                </a:cubicBezTo>
                <a:cubicBezTo>
                  <a:pt x="108" y="3"/>
                  <a:pt x="105" y="0"/>
                  <a:pt x="102" y="0"/>
                </a:cubicBezTo>
                <a:cubicBezTo>
                  <a:pt x="99" y="0"/>
                  <a:pt x="96" y="3"/>
                  <a:pt x="96" y="6"/>
                </a:cubicBezTo>
                <a:cubicBezTo>
                  <a:pt x="96" y="7"/>
                  <a:pt x="96" y="7"/>
                  <a:pt x="96" y="8"/>
                </a:cubicBezTo>
                <a:cubicBezTo>
                  <a:pt x="73" y="36"/>
                  <a:pt x="73" y="36"/>
                  <a:pt x="73" y="36"/>
                </a:cubicBezTo>
                <a:cubicBezTo>
                  <a:pt x="71" y="36"/>
                  <a:pt x="71" y="36"/>
                  <a:pt x="71" y="36"/>
                </a:cubicBezTo>
                <a:cubicBezTo>
                  <a:pt x="48" y="8"/>
                  <a:pt x="48" y="8"/>
                  <a:pt x="48" y="8"/>
                </a:cubicBezTo>
                <a:cubicBezTo>
                  <a:pt x="48" y="7"/>
                  <a:pt x="48" y="7"/>
                  <a:pt x="48" y="6"/>
                </a:cubicBezTo>
                <a:cubicBezTo>
                  <a:pt x="48" y="3"/>
                  <a:pt x="45" y="0"/>
                  <a:pt x="42" y="0"/>
                </a:cubicBezTo>
                <a:cubicBezTo>
                  <a:pt x="39" y="0"/>
                  <a:pt x="36" y="3"/>
                  <a:pt x="36" y="6"/>
                </a:cubicBezTo>
                <a:cubicBezTo>
                  <a:pt x="36" y="9"/>
                  <a:pt x="39" y="12"/>
                  <a:pt x="42" y="12"/>
                </a:cubicBezTo>
                <a:cubicBezTo>
                  <a:pt x="42" y="12"/>
                  <a:pt x="43" y="12"/>
                  <a:pt x="43" y="12"/>
                </a:cubicBezTo>
                <a:cubicBezTo>
                  <a:pt x="63" y="36"/>
                  <a:pt x="63" y="36"/>
                  <a:pt x="63" y="36"/>
                </a:cubicBezTo>
                <a:cubicBezTo>
                  <a:pt x="12" y="36"/>
                  <a:pt x="12" y="36"/>
                  <a:pt x="12" y="36"/>
                </a:cubicBezTo>
                <a:cubicBezTo>
                  <a:pt x="5" y="36"/>
                  <a:pt x="0" y="41"/>
                  <a:pt x="0" y="48"/>
                </a:cubicBezTo>
                <a:cubicBezTo>
                  <a:pt x="0" y="132"/>
                  <a:pt x="0" y="132"/>
                  <a:pt x="0" y="132"/>
                </a:cubicBezTo>
                <a:cubicBezTo>
                  <a:pt x="0" y="139"/>
                  <a:pt x="5" y="144"/>
                  <a:pt x="12" y="144"/>
                </a:cubicBezTo>
                <a:cubicBezTo>
                  <a:pt x="132" y="144"/>
                  <a:pt x="132" y="144"/>
                  <a:pt x="132" y="144"/>
                </a:cubicBezTo>
                <a:cubicBezTo>
                  <a:pt x="139" y="144"/>
                  <a:pt x="144" y="139"/>
                  <a:pt x="144" y="132"/>
                </a:cubicBezTo>
                <a:cubicBezTo>
                  <a:pt x="144" y="48"/>
                  <a:pt x="144" y="48"/>
                  <a:pt x="144" y="48"/>
                </a:cubicBezTo>
                <a:cubicBezTo>
                  <a:pt x="144" y="41"/>
                  <a:pt x="139" y="36"/>
                  <a:pt x="132" y="36"/>
                </a:cubicBezTo>
                <a:moveTo>
                  <a:pt x="108" y="120"/>
                </a:moveTo>
                <a:cubicBezTo>
                  <a:pt x="108" y="127"/>
                  <a:pt x="103" y="132"/>
                  <a:pt x="96" y="132"/>
                </a:cubicBezTo>
                <a:cubicBezTo>
                  <a:pt x="24" y="132"/>
                  <a:pt x="24" y="132"/>
                  <a:pt x="24" y="132"/>
                </a:cubicBezTo>
                <a:cubicBezTo>
                  <a:pt x="17" y="132"/>
                  <a:pt x="12" y="127"/>
                  <a:pt x="12" y="120"/>
                </a:cubicBezTo>
                <a:cubicBezTo>
                  <a:pt x="12" y="60"/>
                  <a:pt x="12" y="60"/>
                  <a:pt x="12" y="60"/>
                </a:cubicBezTo>
                <a:cubicBezTo>
                  <a:pt x="12" y="53"/>
                  <a:pt x="17" y="48"/>
                  <a:pt x="24" y="48"/>
                </a:cubicBezTo>
                <a:cubicBezTo>
                  <a:pt x="96" y="48"/>
                  <a:pt x="96" y="48"/>
                  <a:pt x="96" y="48"/>
                </a:cubicBezTo>
                <a:cubicBezTo>
                  <a:pt x="103" y="48"/>
                  <a:pt x="108" y="53"/>
                  <a:pt x="108" y="60"/>
                </a:cubicBezTo>
                <a:lnTo>
                  <a:pt x="108" y="120"/>
                </a:lnTo>
                <a:close/>
                <a:moveTo>
                  <a:pt x="126" y="102"/>
                </a:moveTo>
                <a:cubicBezTo>
                  <a:pt x="119" y="102"/>
                  <a:pt x="114" y="97"/>
                  <a:pt x="114" y="90"/>
                </a:cubicBezTo>
                <a:cubicBezTo>
                  <a:pt x="114" y="83"/>
                  <a:pt x="119" y="78"/>
                  <a:pt x="126" y="78"/>
                </a:cubicBezTo>
                <a:cubicBezTo>
                  <a:pt x="133" y="78"/>
                  <a:pt x="138" y="83"/>
                  <a:pt x="138" y="90"/>
                </a:cubicBezTo>
                <a:cubicBezTo>
                  <a:pt x="138" y="97"/>
                  <a:pt x="133" y="102"/>
                  <a:pt x="126" y="102"/>
                </a:cubicBezTo>
                <a:moveTo>
                  <a:pt x="126" y="72"/>
                </a:moveTo>
                <a:cubicBezTo>
                  <a:pt x="119" y="72"/>
                  <a:pt x="114" y="67"/>
                  <a:pt x="114" y="60"/>
                </a:cubicBezTo>
                <a:cubicBezTo>
                  <a:pt x="114" y="53"/>
                  <a:pt x="119" y="48"/>
                  <a:pt x="126" y="48"/>
                </a:cubicBezTo>
                <a:cubicBezTo>
                  <a:pt x="133" y="48"/>
                  <a:pt x="138" y="53"/>
                  <a:pt x="138" y="60"/>
                </a:cubicBezTo>
                <a:cubicBezTo>
                  <a:pt x="138" y="67"/>
                  <a:pt x="133" y="72"/>
                  <a:pt x="126" y="7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74" name="Freeform 81"/>
          <p:cNvSpPr>
            <a:spLocks/>
          </p:cNvSpPr>
          <p:nvPr/>
        </p:nvSpPr>
        <p:spPr bwMode="auto">
          <a:xfrm>
            <a:off x="3953934" y="4129618"/>
            <a:ext cx="220133" cy="292100"/>
          </a:xfrm>
          <a:custGeom>
            <a:avLst/>
            <a:gdLst>
              <a:gd name="T0" fmla="*/ 377143433 w 72"/>
              <a:gd name="T1" fmla="*/ 155771453 h 96"/>
              <a:gd name="T2" fmla="*/ 377143433 w 72"/>
              <a:gd name="T3" fmla="*/ 31154291 h 96"/>
              <a:gd name="T4" fmla="*/ 345714814 w 72"/>
              <a:gd name="T5" fmla="*/ 0 h 96"/>
              <a:gd name="T6" fmla="*/ 314286194 w 72"/>
              <a:gd name="T7" fmla="*/ 31154291 h 96"/>
              <a:gd name="T8" fmla="*/ 314286194 w 72"/>
              <a:gd name="T9" fmla="*/ 155771453 h 96"/>
              <a:gd name="T10" fmla="*/ 188571717 w 72"/>
              <a:gd name="T11" fmla="*/ 280388616 h 96"/>
              <a:gd name="T12" fmla="*/ 62857239 w 72"/>
              <a:gd name="T13" fmla="*/ 155771453 h 96"/>
              <a:gd name="T14" fmla="*/ 62857239 w 72"/>
              <a:gd name="T15" fmla="*/ 31154291 h 96"/>
              <a:gd name="T16" fmla="*/ 31428619 w 72"/>
              <a:gd name="T17" fmla="*/ 0 h 96"/>
              <a:gd name="T18" fmla="*/ 0 w 72"/>
              <a:gd name="T19" fmla="*/ 31154291 h 96"/>
              <a:gd name="T20" fmla="*/ 0 w 72"/>
              <a:gd name="T21" fmla="*/ 155771453 h 96"/>
              <a:gd name="T22" fmla="*/ 157143097 w 72"/>
              <a:gd name="T23" fmla="*/ 342697197 h 96"/>
              <a:gd name="T24" fmla="*/ 157143097 w 72"/>
              <a:gd name="T25" fmla="*/ 436160069 h 96"/>
              <a:gd name="T26" fmla="*/ 31428619 w 72"/>
              <a:gd name="T27" fmla="*/ 436160069 h 96"/>
              <a:gd name="T28" fmla="*/ 0 w 72"/>
              <a:gd name="T29" fmla="*/ 467314359 h 96"/>
              <a:gd name="T30" fmla="*/ 31428619 w 72"/>
              <a:gd name="T31" fmla="*/ 498468650 h 96"/>
              <a:gd name="T32" fmla="*/ 345714814 w 72"/>
              <a:gd name="T33" fmla="*/ 498468650 h 96"/>
              <a:gd name="T34" fmla="*/ 377143433 w 72"/>
              <a:gd name="T35" fmla="*/ 467314359 h 96"/>
              <a:gd name="T36" fmla="*/ 345714814 w 72"/>
              <a:gd name="T37" fmla="*/ 436160069 h 96"/>
              <a:gd name="T38" fmla="*/ 220000336 w 72"/>
              <a:gd name="T39" fmla="*/ 436160069 h 96"/>
              <a:gd name="T40" fmla="*/ 220000336 w 72"/>
              <a:gd name="T41" fmla="*/ 342697197 h 96"/>
              <a:gd name="T42" fmla="*/ 377143433 w 72"/>
              <a:gd name="T43" fmla="*/ 155771453 h 9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72" h="96">
                <a:moveTo>
                  <a:pt x="72" y="30"/>
                </a:moveTo>
                <a:cubicBezTo>
                  <a:pt x="72" y="6"/>
                  <a:pt x="72" y="6"/>
                  <a:pt x="72" y="6"/>
                </a:cubicBezTo>
                <a:cubicBezTo>
                  <a:pt x="72" y="3"/>
                  <a:pt x="69" y="0"/>
                  <a:pt x="66" y="0"/>
                </a:cubicBezTo>
                <a:cubicBezTo>
                  <a:pt x="63" y="0"/>
                  <a:pt x="60" y="3"/>
                  <a:pt x="60" y="6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1"/>
                  <a:pt x="60" y="54"/>
                  <a:pt x="36" y="54"/>
                </a:cubicBezTo>
                <a:cubicBezTo>
                  <a:pt x="13" y="54"/>
                  <a:pt x="12" y="32"/>
                  <a:pt x="12" y="30"/>
                </a:cubicBezTo>
                <a:cubicBezTo>
                  <a:pt x="12" y="6"/>
                  <a:pt x="12" y="6"/>
                  <a:pt x="12" y="6"/>
                </a:cubicBezTo>
                <a:cubicBezTo>
                  <a:pt x="12" y="3"/>
                  <a:pt x="9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42"/>
                  <a:pt x="6" y="63"/>
                  <a:pt x="30" y="66"/>
                </a:cubicBezTo>
                <a:cubicBezTo>
                  <a:pt x="30" y="84"/>
                  <a:pt x="30" y="84"/>
                  <a:pt x="30" y="84"/>
                </a:cubicBezTo>
                <a:cubicBezTo>
                  <a:pt x="6" y="84"/>
                  <a:pt x="6" y="84"/>
                  <a:pt x="6" y="84"/>
                </a:cubicBezTo>
                <a:cubicBezTo>
                  <a:pt x="3" y="84"/>
                  <a:pt x="0" y="87"/>
                  <a:pt x="0" y="90"/>
                </a:cubicBezTo>
                <a:cubicBezTo>
                  <a:pt x="0" y="93"/>
                  <a:pt x="3" y="96"/>
                  <a:pt x="6" y="96"/>
                </a:cubicBezTo>
                <a:cubicBezTo>
                  <a:pt x="66" y="96"/>
                  <a:pt x="66" y="96"/>
                  <a:pt x="66" y="96"/>
                </a:cubicBezTo>
                <a:cubicBezTo>
                  <a:pt x="69" y="96"/>
                  <a:pt x="72" y="93"/>
                  <a:pt x="72" y="90"/>
                </a:cubicBezTo>
                <a:cubicBezTo>
                  <a:pt x="72" y="87"/>
                  <a:pt x="69" y="84"/>
                  <a:pt x="66" y="84"/>
                </a:cubicBezTo>
                <a:cubicBezTo>
                  <a:pt x="42" y="84"/>
                  <a:pt x="42" y="84"/>
                  <a:pt x="42" y="84"/>
                </a:cubicBezTo>
                <a:cubicBezTo>
                  <a:pt x="42" y="66"/>
                  <a:pt x="42" y="66"/>
                  <a:pt x="42" y="66"/>
                </a:cubicBezTo>
                <a:cubicBezTo>
                  <a:pt x="66" y="63"/>
                  <a:pt x="72" y="42"/>
                  <a:pt x="72" y="3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75" name="Freeform 82"/>
          <p:cNvSpPr>
            <a:spLocks/>
          </p:cNvSpPr>
          <p:nvPr/>
        </p:nvSpPr>
        <p:spPr bwMode="auto">
          <a:xfrm>
            <a:off x="4008967" y="3985685"/>
            <a:ext cx="110067" cy="292100"/>
          </a:xfrm>
          <a:custGeom>
            <a:avLst/>
            <a:gdLst>
              <a:gd name="T0" fmla="*/ 94285858 w 36"/>
              <a:gd name="T1" fmla="*/ 498468650 h 96"/>
              <a:gd name="T2" fmla="*/ 188569424 w 36"/>
              <a:gd name="T3" fmla="*/ 405005778 h 96"/>
              <a:gd name="T4" fmla="*/ 188569424 w 36"/>
              <a:gd name="T5" fmla="*/ 280388616 h 96"/>
              <a:gd name="T6" fmla="*/ 0 w 36"/>
              <a:gd name="T7" fmla="*/ 280388616 h 96"/>
              <a:gd name="T8" fmla="*/ 0 w 36"/>
              <a:gd name="T9" fmla="*/ 249234325 h 96"/>
              <a:gd name="T10" fmla="*/ 188569424 w 36"/>
              <a:gd name="T11" fmla="*/ 249234325 h 96"/>
              <a:gd name="T12" fmla="*/ 188569424 w 36"/>
              <a:gd name="T13" fmla="*/ 93462872 h 96"/>
              <a:gd name="T14" fmla="*/ 94285858 w 36"/>
              <a:gd name="T15" fmla="*/ 0 h 96"/>
              <a:gd name="T16" fmla="*/ 0 w 36"/>
              <a:gd name="T17" fmla="*/ 93462872 h 96"/>
              <a:gd name="T18" fmla="*/ 0 w 36"/>
              <a:gd name="T19" fmla="*/ 405005778 h 96"/>
              <a:gd name="T20" fmla="*/ 94285858 w 36"/>
              <a:gd name="T21" fmla="*/ 498468650 h 9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6" h="96">
                <a:moveTo>
                  <a:pt x="18" y="96"/>
                </a:moveTo>
                <a:cubicBezTo>
                  <a:pt x="28" y="96"/>
                  <a:pt x="36" y="88"/>
                  <a:pt x="36" y="78"/>
                </a:cubicBezTo>
                <a:cubicBezTo>
                  <a:pt x="36" y="54"/>
                  <a:pt x="36" y="54"/>
                  <a:pt x="36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48"/>
                  <a:pt x="0" y="48"/>
                  <a:pt x="0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8"/>
                  <a:pt x="28" y="0"/>
                  <a:pt x="18" y="0"/>
                </a:cubicBezTo>
                <a:cubicBezTo>
                  <a:pt x="8" y="0"/>
                  <a:pt x="0" y="8"/>
                  <a:pt x="0" y="18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88"/>
                  <a:pt x="8" y="96"/>
                  <a:pt x="18" y="96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76" name="Freeform 83"/>
          <p:cNvSpPr>
            <a:spLocks/>
          </p:cNvSpPr>
          <p:nvPr/>
        </p:nvSpPr>
        <p:spPr bwMode="auto">
          <a:xfrm>
            <a:off x="4745567" y="3996267"/>
            <a:ext cx="302684" cy="459317"/>
          </a:xfrm>
          <a:custGeom>
            <a:avLst/>
            <a:gdLst>
              <a:gd name="T0" fmla="*/ 298570249 w 99"/>
              <a:gd name="T1" fmla="*/ 0 h 151"/>
              <a:gd name="T2" fmla="*/ 235715165 w 99"/>
              <a:gd name="T3" fmla="*/ 0 h 151"/>
              <a:gd name="T4" fmla="*/ 235715165 w 99"/>
              <a:gd name="T5" fmla="*/ 530671216 h 151"/>
              <a:gd name="T6" fmla="*/ 5237350 w 99"/>
              <a:gd name="T7" fmla="*/ 634724843 h 151"/>
              <a:gd name="T8" fmla="*/ 26191338 w 99"/>
              <a:gd name="T9" fmla="*/ 707562382 h 151"/>
              <a:gd name="T10" fmla="*/ 303809893 w 99"/>
              <a:gd name="T11" fmla="*/ 665940932 h 151"/>
              <a:gd name="T12" fmla="*/ 329998938 w 99"/>
              <a:gd name="T13" fmla="*/ 509860491 h 151"/>
              <a:gd name="T14" fmla="*/ 329998938 w 99"/>
              <a:gd name="T15" fmla="*/ 187296529 h 151"/>
              <a:gd name="T16" fmla="*/ 434761998 w 99"/>
              <a:gd name="T17" fmla="*/ 301753237 h 151"/>
              <a:gd name="T18" fmla="*/ 419047654 w 99"/>
              <a:gd name="T19" fmla="*/ 416212227 h 151"/>
              <a:gd name="T20" fmla="*/ 413810303 w 99"/>
              <a:gd name="T21" fmla="*/ 442226774 h 151"/>
              <a:gd name="T22" fmla="*/ 466190687 w 99"/>
              <a:gd name="T23" fmla="*/ 400605323 h 151"/>
              <a:gd name="T24" fmla="*/ 487142381 w 99"/>
              <a:gd name="T25" fmla="*/ 338173147 h 151"/>
              <a:gd name="T26" fmla="*/ 298570249 w 99"/>
              <a:gd name="T27" fmla="*/ 0 h 15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99" h="151">
                <a:moveTo>
                  <a:pt x="57" y="0"/>
                </a:moveTo>
                <a:cubicBezTo>
                  <a:pt x="45" y="0"/>
                  <a:pt x="45" y="0"/>
                  <a:pt x="45" y="0"/>
                </a:cubicBezTo>
                <a:cubicBezTo>
                  <a:pt x="45" y="102"/>
                  <a:pt x="45" y="102"/>
                  <a:pt x="45" y="102"/>
                </a:cubicBezTo>
                <a:cubicBezTo>
                  <a:pt x="27" y="93"/>
                  <a:pt x="5" y="105"/>
                  <a:pt x="1" y="122"/>
                </a:cubicBezTo>
                <a:cubicBezTo>
                  <a:pt x="0" y="127"/>
                  <a:pt x="2" y="133"/>
                  <a:pt x="5" y="136"/>
                </a:cubicBezTo>
                <a:cubicBezTo>
                  <a:pt x="17" y="151"/>
                  <a:pt x="45" y="144"/>
                  <a:pt x="58" y="128"/>
                </a:cubicBezTo>
                <a:cubicBezTo>
                  <a:pt x="64" y="120"/>
                  <a:pt x="63" y="114"/>
                  <a:pt x="63" y="98"/>
                </a:cubicBezTo>
                <a:cubicBezTo>
                  <a:pt x="63" y="36"/>
                  <a:pt x="63" y="36"/>
                  <a:pt x="63" y="36"/>
                </a:cubicBezTo>
                <a:cubicBezTo>
                  <a:pt x="71" y="42"/>
                  <a:pt x="80" y="47"/>
                  <a:pt x="83" y="58"/>
                </a:cubicBezTo>
                <a:cubicBezTo>
                  <a:pt x="85" y="64"/>
                  <a:pt x="83" y="75"/>
                  <a:pt x="80" y="80"/>
                </a:cubicBezTo>
                <a:cubicBezTo>
                  <a:pt x="80" y="82"/>
                  <a:pt x="78" y="83"/>
                  <a:pt x="79" y="85"/>
                </a:cubicBezTo>
                <a:cubicBezTo>
                  <a:pt x="84" y="89"/>
                  <a:pt x="87" y="81"/>
                  <a:pt x="89" y="77"/>
                </a:cubicBezTo>
                <a:cubicBezTo>
                  <a:pt x="90" y="73"/>
                  <a:pt x="92" y="68"/>
                  <a:pt x="93" y="65"/>
                </a:cubicBezTo>
                <a:cubicBezTo>
                  <a:pt x="99" y="29"/>
                  <a:pt x="60" y="27"/>
                  <a:pt x="57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77" name="Freeform 84"/>
          <p:cNvSpPr>
            <a:spLocks noEditPoints="1"/>
          </p:cNvSpPr>
          <p:nvPr/>
        </p:nvSpPr>
        <p:spPr bwMode="auto">
          <a:xfrm>
            <a:off x="5492751" y="4019551"/>
            <a:ext cx="465667" cy="440267"/>
          </a:xfrm>
          <a:custGeom>
            <a:avLst/>
            <a:gdLst>
              <a:gd name="T0" fmla="*/ 535275518 w 154"/>
              <a:gd name="T1" fmla="*/ 361419951 h 144"/>
              <a:gd name="T2" fmla="*/ 591892571 w 154"/>
              <a:gd name="T3" fmla="*/ 345705642 h 144"/>
              <a:gd name="T4" fmla="*/ 766887232 w 154"/>
              <a:gd name="T5" fmla="*/ 31428619 h 144"/>
              <a:gd name="T6" fmla="*/ 663949196 w 154"/>
              <a:gd name="T7" fmla="*/ 31428619 h 144"/>
              <a:gd name="T8" fmla="*/ 612480179 w 154"/>
              <a:gd name="T9" fmla="*/ 31428619 h 144"/>
              <a:gd name="T10" fmla="*/ 612480179 w 154"/>
              <a:gd name="T11" fmla="*/ 0 h 144"/>
              <a:gd name="T12" fmla="*/ 180140429 w 154"/>
              <a:gd name="T13" fmla="*/ 0 h 144"/>
              <a:gd name="T14" fmla="*/ 180140429 w 154"/>
              <a:gd name="T15" fmla="*/ 31428619 h 144"/>
              <a:gd name="T16" fmla="*/ 128671411 w 154"/>
              <a:gd name="T17" fmla="*/ 31428619 h 144"/>
              <a:gd name="T18" fmla="*/ 25733375 w 154"/>
              <a:gd name="T19" fmla="*/ 31428619 h 144"/>
              <a:gd name="T20" fmla="*/ 200728036 w 154"/>
              <a:gd name="T21" fmla="*/ 345705642 h 144"/>
              <a:gd name="T22" fmla="*/ 257345089 w 154"/>
              <a:gd name="T23" fmla="*/ 361419951 h 144"/>
              <a:gd name="T24" fmla="*/ 365428893 w 154"/>
              <a:gd name="T25" fmla="*/ 434751868 h 144"/>
              <a:gd name="T26" fmla="*/ 365428893 w 154"/>
              <a:gd name="T27" fmla="*/ 659984957 h 144"/>
              <a:gd name="T28" fmla="*/ 180140429 w 154"/>
              <a:gd name="T29" fmla="*/ 754268522 h 144"/>
              <a:gd name="T30" fmla="*/ 612480179 w 154"/>
              <a:gd name="T31" fmla="*/ 754268522 h 144"/>
              <a:gd name="T32" fmla="*/ 427191714 w 154"/>
              <a:gd name="T33" fmla="*/ 659984957 h 144"/>
              <a:gd name="T34" fmla="*/ 427191714 w 154"/>
              <a:gd name="T35" fmla="*/ 434751868 h 144"/>
              <a:gd name="T36" fmla="*/ 535275518 w 154"/>
              <a:gd name="T37" fmla="*/ 361419951 h 144"/>
              <a:gd name="T38" fmla="*/ 612480179 w 154"/>
              <a:gd name="T39" fmla="*/ 136186863 h 144"/>
              <a:gd name="T40" fmla="*/ 612480179 w 154"/>
              <a:gd name="T41" fmla="*/ 62854946 h 144"/>
              <a:gd name="T42" fmla="*/ 663949196 w 154"/>
              <a:gd name="T43" fmla="*/ 62854946 h 144"/>
              <a:gd name="T44" fmla="*/ 736005821 w 154"/>
              <a:gd name="T45" fmla="*/ 62854946 h 144"/>
              <a:gd name="T46" fmla="*/ 581598768 w 154"/>
              <a:gd name="T47" fmla="*/ 314279315 h 144"/>
              <a:gd name="T48" fmla="*/ 561011161 w 154"/>
              <a:gd name="T49" fmla="*/ 324753993 h 144"/>
              <a:gd name="T50" fmla="*/ 612480179 w 154"/>
              <a:gd name="T51" fmla="*/ 136186863 h 144"/>
              <a:gd name="T52" fmla="*/ 211021839 w 154"/>
              <a:gd name="T53" fmla="*/ 314279315 h 144"/>
              <a:gd name="T54" fmla="*/ 56614786 w 154"/>
              <a:gd name="T55" fmla="*/ 62854946 h 144"/>
              <a:gd name="T56" fmla="*/ 128671411 w 154"/>
              <a:gd name="T57" fmla="*/ 62854946 h 144"/>
              <a:gd name="T58" fmla="*/ 180140429 w 154"/>
              <a:gd name="T59" fmla="*/ 62854946 h 144"/>
              <a:gd name="T60" fmla="*/ 180140429 w 154"/>
              <a:gd name="T61" fmla="*/ 136186863 h 144"/>
              <a:gd name="T62" fmla="*/ 231609446 w 154"/>
              <a:gd name="T63" fmla="*/ 324753993 h 144"/>
              <a:gd name="T64" fmla="*/ 211021839 w 154"/>
              <a:gd name="T65" fmla="*/ 314279315 h 144"/>
              <a:gd name="T66" fmla="*/ 396310304 w 154"/>
              <a:gd name="T67" fmla="*/ 277613357 h 144"/>
              <a:gd name="T68" fmla="*/ 298520304 w 154"/>
              <a:gd name="T69" fmla="*/ 345705642 h 144"/>
              <a:gd name="T70" fmla="*/ 334547482 w 154"/>
              <a:gd name="T71" fmla="*/ 230470428 h 144"/>
              <a:gd name="T72" fmla="*/ 241903250 w 154"/>
              <a:gd name="T73" fmla="*/ 162378143 h 144"/>
              <a:gd name="T74" fmla="*/ 360283125 w 154"/>
              <a:gd name="T75" fmla="*/ 157138511 h 144"/>
              <a:gd name="T76" fmla="*/ 396310304 w 154"/>
              <a:gd name="T77" fmla="*/ 47142929 h 144"/>
              <a:gd name="T78" fmla="*/ 432337482 w 154"/>
              <a:gd name="T79" fmla="*/ 157138511 h 144"/>
              <a:gd name="T80" fmla="*/ 550717357 w 154"/>
              <a:gd name="T81" fmla="*/ 162378143 h 144"/>
              <a:gd name="T82" fmla="*/ 458073125 w 154"/>
              <a:gd name="T83" fmla="*/ 230470428 h 144"/>
              <a:gd name="T84" fmla="*/ 494100304 w 154"/>
              <a:gd name="T85" fmla="*/ 345705642 h 144"/>
              <a:gd name="T86" fmla="*/ 396310304 w 154"/>
              <a:gd name="T87" fmla="*/ 277613357 h 14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4" h="144">
                <a:moveTo>
                  <a:pt x="104" y="69"/>
                </a:moveTo>
                <a:cubicBezTo>
                  <a:pt x="107" y="69"/>
                  <a:pt x="110" y="68"/>
                  <a:pt x="115" y="66"/>
                </a:cubicBezTo>
                <a:cubicBezTo>
                  <a:pt x="154" y="54"/>
                  <a:pt x="149" y="6"/>
                  <a:pt x="149" y="6"/>
                </a:cubicBezTo>
                <a:cubicBezTo>
                  <a:pt x="129" y="6"/>
                  <a:pt x="129" y="6"/>
                  <a:pt x="129" y="6"/>
                </a:cubicBezTo>
                <a:cubicBezTo>
                  <a:pt x="119" y="6"/>
                  <a:pt x="119" y="6"/>
                  <a:pt x="119" y="6"/>
                </a:cubicBezTo>
                <a:cubicBezTo>
                  <a:pt x="119" y="0"/>
                  <a:pt x="119" y="0"/>
                  <a:pt x="119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5" y="6"/>
                  <a:pt x="35" y="6"/>
                  <a:pt x="35" y="6"/>
                </a:cubicBezTo>
                <a:cubicBezTo>
                  <a:pt x="25" y="6"/>
                  <a:pt x="25" y="6"/>
                  <a:pt x="25" y="6"/>
                </a:cubicBezTo>
                <a:cubicBezTo>
                  <a:pt x="5" y="6"/>
                  <a:pt x="5" y="6"/>
                  <a:pt x="5" y="6"/>
                </a:cubicBezTo>
                <a:cubicBezTo>
                  <a:pt x="5" y="6"/>
                  <a:pt x="0" y="54"/>
                  <a:pt x="39" y="66"/>
                </a:cubicBezTo>
                <a:cubicBezTo>
                  <a:pt x="43" y="67"/>
                  <a:pt x="47" y="69"/>
                  <a:pt x="50" y="69"/>
                </a:cubicBezTo>
                <a:cubicBezTo>
                  <a:pt x="56" y="76"/>
                  <a:pt x="63" y="82"/>
                  <a:pt x="71" y="83"/>
                </a:cubicBezTo>
                <a:cubicBezTo>
                  <a:pt x="71" y="126"/>
                  <a:pt x="71" y="126"/>
                  <a:pt x="71" y="126"/>
                </a:cubicBezTo>
                <a:cubicBezTo>
                  <a:pt x="51" y="127"/>
                  <a:pt x="35" y="135"/>
                  <a:pt x="35" y="144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19" y="135"/>
                  <a:pt x="103" y="127"/>
                  <a:pt x="83" y="126"/>
                </a:cubicBezTo>
                <a:cubicBezTo>
                  <a:pt x="83" y="83"/>
                  <a:pt x="83" y="83"/>
                  <a:pt x="83" y="83"/>
                </a:cubicBezTo>
                <a:cubicBezTo>
                  <a:pt x="91" y="82"/>
                  <a:pt x="98" y="77"/>
                  <a:pt x="104" y="69"/>
                </a:cubicBezTo>
                <a:moveTo>
                  <a:pt x="119" y="26"/>
                </a:moveTo>
                <a:cubicBezTo>
                  <a:pt x="119" y="12"/>
                  <a:pt x="119" y="12"/>
                  <a:pt x="119" y="12"/>
                </a:cubicBezTo>
                <a:cubicBezTo>
                  <a:pt x="129" y="12"/>
                  <a:pt x="129" y="12"/>
                  <a:pt x="129" y="12"/>
                </a:cubicBezTo>
                <a:cubicBezTo>
                  <a:pt x="143" y="12"/>
                  <a:pt x="143" y="12"/>
                  <a:pt x="143" y="12"/>
                </a:cubicBezTo>
                <a:cubicBezTo>
                  <a:pt x="143" y="24"/>
                  <a:pt x="140" y="52"/>
                  <a:pt x="113" y="60"/>
                </a:cubicBezTo>
                <a:cubicBezTo>
                  <a:pt x="112" y="61"/>
                  <a:pt x="111" y="61"/>
                  <a:pt x="109" y="62"/>
                </a:cubicBezTo>
                <a:cubicBezTo>
                  <a:pt x="115" y="51"/>
                  <a:pt x="119" y="38"/>
                  <a:pt x="119" y="26"/>
                </a:cubicBezTo>
                <a:close/>
                <a:moveTo>
                  <a:pt x="41" y="60"/>
                </a:moveTo>
                <a:cubicBezTo>
                  <a:pt x="14" y="52"/>
                  <a:pt x="11" y="24"/>
                  <a:pt x="11" y="12"/>
                </a:cubicBezTo>
                <a:cubicBezTo>
                  <a:pt x="25" y="12"/>
                  <a:pt x="25" y="12"/>
                  <a:pt x="25" y="12"/>
                </a:cubicBezTo>
                <a:cubicBezTo>
                  <a:pt x="35" y="12"/>
                  <a:pt x="35" y="12"/>
                  <a:pt x="35" y="12"/>
                </a:cubicBezTo>
                <a:cubicBezTo>
                  <a:pt x="35" y="26"/>
                  <a:pt x="35" y="26"/>
                  <a:pt x="35" y="26"/>
                </a:cubicBezTo>
                <a:cubicBezTo>
                  <a:pt x="35" y="38"/>
                  <a:pt x="39" y="51"/>
                  <a:pt x="45" y="62"/>
                </a:cubicBezTo>
                <a:cubicBezTo>
                  <a:pt x="43" y="61"/>
                  <a:pt x="42" y="61"/>
                  <a:pt x="41" y="60"/>
                </a:cubicBezTo>
                <a:moveTo>
                  <a:pt x="77" y="53"/>
                </a:moveTo>
                <a:cubicBezTo>
                  <a:pt x="58" y="66"/>
                  <a:pt x="58" y="66"/>
                  <a:pt x="58" y="66"/>
                </a:cubicBezTo>
                <a:cubicBezTo>
                  <a:pt x="65" y="44"/>
                  <a:pt x="65" y="44"/>
                  <a:pt x="65" y="44"/>
                </a:cubicBezTo>
                <a:cubicBezTo>
                  <a:pt x="47" y="31"/>
                  <a:pt x="47" y="31"/>
                  <a:pt x="47" y="31"/>
                </a:cubicBezTo>
                <a:cubicBezTo>
                  <a:pt x="70" y="30"/>
                  <a:pt x="70" y="30"/>
                  <a:pt x="70" y="30"/>
                </a:cubicBezTo>
                <a:cubicBezTo>
                  <a:pt x="77" y="9"/>
                  <a:pt x="77" y="9"/>
                  <a:pt x="77" y="9"/>
                </a:cubicBezTo>
                <a:cubicBezTo>
                  <a:pt x="84" y="30"/>
                  <a:pt x="84" y="30"/>
                  <a:pt x="84" y="30"/>
                </a:cubicBezTo>
                <a:cubicBezTo>
                  <a:pt x="107" y="31"/>
                  <a:pt x="107" y="31"/>
                  <a:pt x="107" y="31"/>
                </a:cubicBezTo>
                <a:cubicBezTo>
                  <a:pt x="89" y="44"/>
                  <a:pt x="89" y="44"/>
                  <a:pt x="89" y="44"/>
                </a:cubicBezTo>
                <a:cubicBezTo>
                  <a:pt x="96" y="66"/>
                  <a:pt x="96" y="66"/>
                  <a:pt x="96" y="66"/>
                </a:cubicBezTo>
                <a:lnTo>
                  <a:pt x="77" y="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78" name="Oval 85"/>
          <p:cNvSpPr>
            <a:spLocks noChangeArrowheads="1"/>
          </p:cNvSpPr>
          <p:nvPr/>
        </p:nvSpPr>
        <p:spPr bwMode="auto">
          <a:xfrm>
            <a:off x="6512984" y="4167717"/>
            <a:ext cx="110067" cy="1100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79" name="Freeform 86"/>
          <p:cNvSpPr>
            <a:spLocks noEditPoints="1"/>
          </p:cNvSpPr>
          <p:nvPr/>
        </p:nvSpPr>
        <p:spPr bwMode="auto">
          <a:xfrm>
            <a:off x="6333067" y="4040718"/>
            <a:ext cx="433917" cy="325967"/>
          </a:xfrm>
          <a:custGeom>
            <a:avLst/>
            <a:gdLst>
              <a:gd name="T0" fmla="*/ 676129085 w 144"/>
              <a:gd name="T1" fmla="*/ 61403971 h 108"/>
              <a:gd name="T2" fmla="*/ 307330991 w 144"/>
              <a:gd name="T3" fmla="*/ 61403971 h 108"/>
              <a:gd name="T4" fmla="*/ 245866149 w 144"/>
              <a:gd name="T5" fmla="*/ 0 h 108"/>
              <a:gd name="T6" fmla="*/ 184399047 w 144"/>
              <a:gd name="T7" fmla="*/ 0 h 108"/>
              <a:gd name="T8" fmla="*/ 122931945 w 144"/>
              <a:gd name="T9" fmla="*/ 61403971 h 108"/>
              <a:gd name="T10" fmla="*/ 61467102 w 144"/>
              <a:gd name="T11" fmla="*/ 61403971 h 108"/>
              <a:gd name="T12" fmla="*/ 0 w 144"/>
              <a:gd name="T13" fmla="*/ 122805678 h 108"/>
              <a:gd name="T14" fmla="*/ 61467102 w 144"/>
              <a:gd name="T15" fmla="*/ 122805678 h 108"/>
              <a:gd name="T16" fmla="*/ 122931945 w 144"/>
              <a:gd name="T17" fmla="*/ 184209649 h 108"/>
              <a:gd name="T18" fmla="*/ 122931945 w 144"/>
              <a:gd name="T19" fmla="*/ 429823269 h 108"/>
              <a:gd name="T20" fmla="*/ 61467102 w 144"/>
              <a:gd name="T21" fmla="*/ 491224976 h 108"/>
              <a:gd name="T22" fmla="*/ 0 w 144"/>
              <a:gd name="T23" fmla="*/ 491224976 h 108"/>
              <a:gd name="T24" fmla="*/ 61467102 w 144"/>
              <a:gd name="T25" fmla="*/ 552628947 h 108"/>
              <a:gd name="T26" fmla="*/ 676129085 w 144"/>
              <a:gd name="T27" fmla="*/ 552628947 h 108"/>
              <a:gd name="T28" fmla="*/ 737596187 w 144"/>
              <a:gd name="T29" fmla="*/ 491224976 h 108"/>
              <a:gd name="T30" fmla="*/ 737596187 w 144"/>
              <a:gd name="T31" fmla="*/ 122805678 h 108"/>
              <a:gd name="T32" fmla="*/ 676129085 w 144"/>
              <a:gd name="T33" fmla="*/ 61403971 h 108"/>
              <a:gd name="T34" fmla="*/ 399531645 w 144"/>
              <a:gd name="T35" fmla="*/ 460525254 h 108"/>
              <a:gd name="T36" fmla="*/ 245866149 w 144"/>
              <a:gd name="T37" fmla="*/ 307015327 h 108"/>
              <a:gd name="T38" fmla="*/ 399531645 w 144"/>
              <a:gd name="T39" fmla="*/ 153507663 h 108"/>
              <a:gd name="T40" fmla="*/ 553197140 w 144"/>
              <a:gd name="T41" fmla="*/ 307015327 h 108"/>
              <a:gd name="T42" fmla="*/ 399531645 w 144"/>
              <a:gd name="T43" fmla="*/ 460525254 h 108"/>
              <a:gd name="T44" fmla="*/ 630029888 w 144"/>
              <a:gd name="T45" fmla="*/ 245613620 h 108"/>
              <a:gd name="T46" fmla="*/ 583930691 w 144"/>
              <a:gd name="T47" fmla="*/ 199559510 h 108"/>
              <a:gd name="T48" fmla="*/ 630029888 w 144"/>
              <a:gd name="T49" fmla="*/ 153507663 h 108"/>
              <a:gd name="T50" fmla="*/ 676129085 w 144"/>
              <a:gd name="T51" fmla="*/ 199559510 h 108"/>
              <a:gd name="T52" fmla="*/ 630029888 w 144"/>
              <a:gd name="T53" fmla="*/ 245613620 h 10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44" h="108">
                <a:moveTo>
                  <a:pt x="132" y="12"/>
                </a:moveTo>
                <a:cubicBezTo>
                  <a:pt x="60" y="12"/>
                  <a:pt x="60" y="12"/>
                  <a:pt x="60" y="12"/>
                </a:cubicBezTo>
                <a:cubicBezTo>
                  <a:pt x="60" y="5"/>
                  <a:pt x="55" y="0"/>
                  <a:pt x="48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29" y="0"/>
                  <a:pt x="24" y="5"/>
                  <a:pt x="24" y="12"/>
                </a:cubicBezTo>
                <a:cubicBezTo>
                  <a:pt x="12" y="12"/>
                  <a:pt x="12" y="12"/>
                  <a:pt x="12" y="12"/>
                </a:cubicBezTo>
                <a:cubicBezTo>
                  <a:pt x="5" y="12"/>
                  <a:pt x="0" y="17"/>
                  <a:pt x="0" y="24"/>
                </a:cubicBezTo>
                <a:cubicBezTo>
                  <a:pt x="12" y="24"/>
                  <a:pt x="12" y="24"/>
                  <a:pt x="12" y="24"/>
                </a:cubicBezTo>
                <a:cubicBezTo>
                  <a:pt x="19" y="24"/>
                  <a:pt x="24" y="29"/>
                  <a:pt x="24" y="36"/>
                </a:cubicBezTo>
                <a:cubicBezTo>
                  <a:pt x="24" y="84"/>
                  <a:pt x="24" y="84"/>
                  <a:pt x="24" y="84"/>
                </a:cubicBezTo>
                <a:cubicBezTo>
                  <a:pt x="24" y="91"/>
                  <a:pt x="19" y="96"/>
                  <a:pt x="12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3"/>
                  <a:pt x="5" y="108"/>
                  <a:pt x="12" y="108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39" y="108"/>
                  <a:pt x="144" y="103"/>
                  <a:pt x="144" y="96"/>
                </a:cubicBezTo>
                <a:cubicBezTo>
                  <a:pt x="144" y="24"/>
                  <a:pt x="144" y="24"/>
                  <a:pt x="144" y="24"/>
                </a:cubicBezTo>
                <a:cubicBezTo>
                  <a:pt x="144" y="17"/>
                  <a:pt x="139" y="12"/>
                  <a:pt x="132" y="12"/>
                </a:cubicBezTo>
                <a:moveTo>
                  <a:pt x="78" y="90"/>
                </a:moveTo>
                <a:cubicBezTo>
                  <a:pt x="61" y="90"/>
                  <a:pt x="48" y="77"/>
                  <a:pt x="48" y="60"/>
                </a:cubicBezTo>
                <a:cubicBezTo>
                  <a:pt x="48" y="43"/>
                  <a:pt x="61" y="30"/>
                  <a:pt x="78" y="30"/>
                </a:cubicBezTo>
                <a:cubicBezTo>
                  <a:pt x="95" y="30"/>
                  <a:pt x="108" y="43"/>
                  <a:pt x="108" y="60"/>
                </a:cubicBezTo>
                <a:cubicBezTo>
                  <a:pt x="108" y="77"/>
                  <a:pt x="95" y="90"/>
                  <a:pt x="78" y="90"/>
                </a:cubicBezTo>
                <a:moveTo>
                  <a:pt x="123" y="48"/>
                </a:moveTo>
                <a:cubicBezTo>
                  <a:pt x="118" y="48"/>
                  <a:pt x="114" y="44"/>
                  <a:pt x="114" y="39"/>
                </a:cubicBezTo>
                <a:cubicBezTo>
                  <a:pt x="114" y="34"/>
                  <a:pt x="118" y="30"/>
                  <a:pt x="123" y="30"/>
                </a:cubicBezTo>
                <a:cubicBezTo>
                  <a:pt x="128" y="30"/>
                  <a:pt x="132" y="34"/>
                  <a:pt x="132" y="39"/>
                </a:cubicBezTo>
                <a:cubicBezTo>
                  <a:pt x="132" y="44"/>
                  <a:pt x="128" y="48"/>
                  <a:pt x="123" y="4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80" name="Rectangle 87"/>
          <p:cNvSpPr>
            <a:spLocks noChangeArrowheads="1"/>
          </p:cNvSpPr>
          <p:nvPr/>
        </p:nvSpPr>
        <p:spPr bwMode="auto">
          <a:xfrm>
            <a:off x="6678085" y="4129618"/>
            <a:ext cx="55033" cy="550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81" name="Rectangle 88"/>
          <p:cNvSpPr>
            <a:spLocks noChangeArrowheads="1"/>
          </p:cNvSpPr>
          <p:nvPr/>
        </p:nvSpPr>
        <p:spPr bwMode="auto">
          <a:xfrm>
            <a:off x="6678085" y="4129618"/>
            <a:ext cx="55033" cy="550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82" name="Oval 89"/>
          <p:cNvSpPr>
            <a:spLocks noChangeArrowheads="1"/>
          </p:cNvSpPr>
          <p:nvPr/>
        </p:nvSpPr>
        <p:spPr bwMode="auto">
          <a:xfrm>
            <a:off x="6678085" y="4129618"/>
            <a:ext cx="55033" cy="550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83" name="Freeform 90"/>
          <p:cNvSpPr>
            <a:spLocks/>
          </p:cNvSpPr>
          <p:nvPr/>
        </p:nvSpPr>
        <p:spPr bwMode="auto">
          <a:xfrm>
            <a:off x="6333067" y="4112684"/>
            <a:ext cx="0" cy="220133"/>
          </a:xfrm>
          <a:custGeom>
            <a:avLst/>
            <a:gdLst>
              <a:gd name="T0" fmla="*/ 424273464 h 64"/>
              <a:gd name="T1" fmla="*/ 424273464 h 64"/>
              <a:gd name="T2" fmla="*/ 0 h 64"/>
              <a:gd name="T3" fmla="*/ 424273464 h 64"/>
              <a:gd name="T4" fmla="*/ 0 60000 65536"/>
              <a:gd name="T5" fmla="*/ 0 60000 65536"/>
              <a:gd name="T6" fmla="*/ 0 60000 65536"/>
              <a:gd name="T7" fmla="*/ 0 60000 65536"/>
            </a:gdLst>
            <a:ahLst/>
            <a:cxnLst>
              <a:cxn ang="T4">
                <a:pos x="0" y="T0"/>
              </a:cxn>
              <a:cxn ang="T5">
                <a:pos x="0" y="T1"/>
              </a:cxn>
              <a:cxn ang="T6">
                <a:pos x="0" y="T2"/>
              </a:cxn>
              <a:cxn ang="T7">
                <a:pos x="0" y="T3"/>
              </a:cxn>
            </a:cxnLst>
            <a:rect l="0" t="0" r="r" b="b"/>
            <a:pathLst>
              <a:path h="64">
                <a:moveTo>
                  <a:pt x="0" y="64"/>
                </a:move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84" name="Rectangle 91"/>
          <p:cNvSpPr>
            <a:spLocks noChangeArrowheads="1"/>
          </p:cNvSpPr>
          <p:nvPr/>
        </p:nvSpPr>
        <p:spPr bwMode="auto">
          <a:xfrm>
            <a:off x="6333067" y="4112684"/>
            <a:ext cx="71967" cy="2201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85" name="Rectangle 92"/>
          <p:cNvSpPr>
            <a:spLocks noChangeArrowheads="1"/>
          </p:cNvSpPr>
          <p:nvPr/>
        </p:nvSpPr>
        <p:spPr bwMode="auto">
          <a:xfrm>
            <a:off x="6333067" y="4112684"/>
            <a:ext cx="71967" cy="2201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86" name="Freeform 93"/>
          <p:cNvSpPr>
            <a:spLocks/>
          </p:cNvSpPr>
          <p:nvPr/>
        </p:nvSpPr>
        <p:spPr bwMode="auto">
          <a:xfrm>
            <a:off x="6333067" y="4112684"/>
            <a:ext cx="71967" cy="220133"/>
          </a:xfrm>
          <a:custGeom>
            <a:avLst/>
            <a:gdLst>
              <a:gd name="T0" fmla="*/ 60685892 w 24"/>
              <a:gd name="T1" fmla="*/ 0 h 72"/>
              <a:gd name="T2" fmla="*/ 0 w 24"/>
              <a:gd name="T3" fmla="*/ 0 h 72"/>
              <a:gd name="T4" fmla="*/ 0 w 24"/>
              <a:gd name="T5" fmla="*/ 0 h 72"/>
              <a:gd name="T6" fmla="*/ 0 w 24"/>
              <a:gd name="T7" fmla="*/ 377131968 h 72"/>
              <a:gd name="T8" fmla="*/ 60685892 w 24"/>
              <a:gd name="T9" fmla="*/ 377131968 h 72"/>
              <a:gd name="T10" fmla="*/ 121369534 w 24"/>
              <a:gd name="T11" fmla="*/ 314277022 h 72"/>
              <a:gd name="T12" fmla="*/ 121369534 w 24"/>
              <a:gd name="T13" fmla="*/ 62854946 h 72"/>
              <a:gd name="T14" fmla="*/ 60685892 w 24"/>
              <a:gd name="T15" fmla="*/ 0 h 7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4" h="72">
                <a:moveTo>
                  <a:pt x="1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72"/>
                  <a:pt x="0" y="72"/>
                  <a:pt x="0" y="72"/>
                </a:cubicBezTo>
                <a:cubicBezTo>
                  <a:pt x="12" y="72"/>
                  <a:pt x="12" y="72"/>
                  <a:pt x="12" y="72"/>
                </a:cubicBezTo>
                <a:cubicBezTo>
                  <a:pt x="19" y="72"/>
                  <a:pt x="24" y="67"/>
                  <a:pt x="24" y="60"/>
                </a:cubicBezTo>
                <a:cubicBezTo>
                  <a:pt x="24" y="12"/>
                  <a:pt x="24" y="12"/>
                  <a:pt x="24" y="12"/>
                </a:cubicBezTo>
                <a:cubicBezTo>
                  <a:pt x="24" y="5"/>
                  <a:pt x="19" y="0"/>
                  <a:pt x="12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87" name="Rectangle 94"/>
          <p:cNvSpPr>
            <a:spLocks noChangeArrowheads="1"/>
          </p:cNvSpPr>
          <p:nvPr/>
        </p:nvSpPr>
        <p:spPr bwMode="auto">
          <a:xfrm>
            <a:off x="7497234" y="4017434"/>
            <a:ext cx="71967" cy="215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88" name="Rectangle 95"/>
          <p:cNvSpPr>
            <a:spLocks noChangeArrowheads="1"/>
          </p:cNvSpPr>
          <p:nvPr/>
        </p:nvSpPr>
        <p:spPr bwMode="auto">
          <a:xfrm>
            <a:off x="7497234" y="4017434"/>
            <a:ext cx="71967" cy="215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89" name="Rectangle 96"/>
          <p:cNvSpPr>
            <a:spLocks noChangeArrowheads="1"/>
          </p:cNvSpPr>
          <p:nvPr/>
        </p:nvSpPr>
        <p:spPr bwMode="auto">
          <a:xfrm>
            <a:off x="7497234" y="4017434"/>
            <a:ext cx="71967" cy="215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90" name="Rectangle 97"/>
          <p:cNvSpPr>
            <a:spLocks noChangeArrowheads="1"/>
          </p:cNvSpPr>
          <p:nvPr/>
        </p:nvSpPr>
        <p:spPr bwMode="auto">
          <a:xfrm>
            <a:off x="7497234" y="4017434"/>
            <a:ext cx="71967" cy="215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91" name="Rectangle 98"/>
          <p:cNvSpPr>
            <a:spLocks noChangeArrowheads="1"/>
          </p:cNvSpPr>
          <p:nvPr/>
        </p:nvSpPr>
        <p:spPr bwMode="auto">
          <a:xfrm>
            <a:off x="7277101" y="4017434"/>
            <a:ext cx="71967" cy="215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92" name="Rectangle 99"/>
          <p:cNvSpPr>
            <a:spLocks noChangeArrowheads="1"/>
          </p:cNvSpPr>
          <p:nvPr/>
        </p:nvSpPr>
        <p:spPr bwMode="auto">
          <a:xfrm>
            <a:off x="7277101" y="4017434"/>
            <a:ext cx="71967" cy="215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93" name="Rectangle 100"/>
          <p:cNvSpPr>
            <a:spLocks noChangeArrowheads="1"/>
          </p:cNvSpPr>
          <p:nvPr/>
        </p:nvSpPr>
        <p:spPr bwMode="auto">
          <a:xfrm>
            <a:off x="7277101" y="4017434"/>
            <a:ext cx="71967" cy="215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94" name="Rectangle 101"/>
          <p:cNvSpPr>
            <a:spLocks noChangeArrowheads="1"/>
          </p:cNvSpPr>
          <p:nvPr/>
        </p:nvSpPr>
        <p:spPr bwMode="auto">
          <a:xfrm>
            <a:off x="7277101" y="4017434"/>
            <a:ext cx="71967" cy="2159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95" name="Freeform 102"/>
          <p:cNvSpPr>
            <a:spLocks/>
          </p:cNvSpPr>
          <p:nvPr/>
        </p:nvSpPr>
        <p:spPr bwMode="auto">
          <a:xfrm>
            <a:off x="7243233" y="4119034"/>
            <a:ext cx="364067" cy="347133"/>
          </a:xfrm>
          <a:custGeom>
            <a:avLst/>
            <a:gdLst>
              <a:gd name="T0" fmla="*/ 350851218 w 106"/>
              <a:gd name="T1" fmla="*/ 0 h 101"/>
              <a:gd name="T2" fmla="*/ 436908335 w 106"/>
              <a:gd name="T3" fmla="*/ 251719784 h 101"/>
              <a:gd name="T4" fmla="*/ 701699861 w 106"/>
              <a:gd name="T5" fmla="*/ 258344532 h 101"/>
              <a:gd name="T6" fmla="*/ 489867156 w 106"/>
              <a:gd name="T7" fmla="*/ 417328161 h 101"/>
              <a:gd name="T8" fmla="*/ 562683924 w 106"/>
              <a:gd name="T9" fmla="*/ 669047946 h 101"/>
              <a:gd name="T10" fmla="*/ 350851218 w 106"/>
              <a:gd name="T11" fmla="*/ 516691641 h 101"/>
              <a:gd name="T12" fmla="*/ 132395763 w 106"/>
              <a:gd name="T13" fmla="*/ 669047946 h 101"/>
              <a:gd name="T14" fmla="*/ 205215107 w 106"/>
              <a:gd name="T15" fmla="*/ 417328161 h 101"/>
              <a:gd name="T16" fmla="*/ 0 w 106"/>
              <a:gd name="T17" fmla="*/ 258344532 h 101"/>
              <a:gd name="T18" fmla="*/ 258171351 w 106"/>
              <a:gd name="T19" fmla="*/ 251719784 h 101"/>
              <a:gd name="T20" fmla="*/ 350851218 w 106"/>
              <a:gd name="T21" fmla="*/ 0 h 10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6" h="101">
                <a:moveTo>
                  <a:pt x="53" y="0"/>
                </a:moveTo>
                <a:lnTo>
                  <a:pt x="66" y="38"/>
                </a:lnTo>
                <a:lnTo>
                  <a:pt x="106" y="39"/>
                </a:lnTo>
                <a:lnTo>
                  <a:pt x="74" y="63"/>
                </a:lnTo>
                <a:lnTo>
                  <a:pt x="85" y="101"/>
                </a:lnTo>
                <a:lnTo>
                  <a:pt x="53" y="78"/>
                </a:lnTo>
                <a:lnTo>
                  <a:pt x="20" y="101"/>
                </a:lnTo>
                <a:lnTo>
                  <a:pt x="31" y="63"/>
                </a:lnTo>
                <a:lnTo>
                  <a:pt x="0" y="39"/>
                </a:lnTo>
                <a:lnTo>
                  <a:pt x="39" y="38"/>
                </a:lnTo>
                <a:lnTo>
                  <a:pt x="5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96" name="Freeform 103"/>
          <p:cNvSpPr>
            <a:spLocks/>
          </p:cNvSpPr>
          <p:nvPr/>
        </p:nvSpPr>
        <p:spPr bwMode="auto">
          <a:xfrm>
            <a:off x="7243233" y="4119034"/>
            <a:ext cx="364067" cy="347133"/>
          </a:xfrm>
          <a:custGeom>
            <a:avLst/>
            <a:gdLst>
              <a:gd name="T0" fmla="*/ 350851218 w 106"/>
              <a:gd name="T1" fmla="*/ 0 h 101"/>
              <a:gd name="T2" fmla="*/ 436908335 w 106"/>
              <a:gd name="T3" fmla="*/ 251719784 h 101"/>
              <a:gd name="T4" fmla="*/ 701699861 w 106"/>
              <a:gd name="T5" fmla="*/ 258344532 h 101"/>
              <a:gd name="T6" fmla="*/ 489867156 w 106"/>
              <a:gd name="T7" fmla="*/ 417328161 h 101"/>
              <a:gd name="T8" fmla="*/ 562683924 w 106"/>
              <a:gd name="T9" fmla="*/ 669047946 h 101"/>
              <a:gd name="T10" fmla="*/ 350851218 w 106"/>
              <a:gd name="T11" fmla="*/ 516691641 h 101"/>
              <a:gd name="T12" fmla="*/ 132395763 w 106"/>
              <a:gd name="T13" fmla="*/ 669047946 h 101"/>
              <a:gd name="T14" fmla="*/ 205215107 w 106"/>
              <a:gd name="T15" fmla="*/ 417328161 h 101"/>
              <a:gd name="T16" fmla="*/ 0 w 106"/>
              <a:gd name="T17" fmla="*/ 258344532 h 101"/>
              <a:gd name="T18" fmla="*/ 258171351 w 106"/>
              <a:gd name="T19" fmla="*/ 251719784 h 101"/>
              <a:gd name="T20" fmla="*/ 350851218 w 106"/>
              <a:gd name="T21" fmla="*/ 0 h 10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6" h="101">
                <a:moveTo>
                  <a:pt x="53" y="0"/>
                </a:moveTo>
                <a:lnTo>
                  <a:pt x="66" y="38"/>
                </a:lnTo>
                <a:lnTo>
                  <a:pt x="106" y="39"/>
                </a:lnTo>
                <a:lnTo>
                  <a:pt x="74" y="63"/>
                </a:lnTo>
                <a:lnTo>
                  <a:pt x="85" y="101"/>
                </a:lnTo>
                <a:lnTo>
                  <a:pt x="53" y="78"/>
                </a:lnTo>
                <a:lnTo>
                  <a:pt x="20" y="101"/>
                </a:lnTo>
                <a:lnTo>
                  <a:pt x="31" y="63"/>
                </a:lnTo>
                <a:lnTo>
                  <a:pt x="0" y="39"/>
                </a:lnTo>
                <a:lnTo>
                  <a:pt x="39" y="38"/>
                </a:lnTo>
                <a:lnTo>
                  <a:pt x="53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397" name="Rectangle 104"/>
          <p:cNvSpPr>
            <a:spLocks noChangeArrowheads="1"/>
          </p:cNvSpPr>
          <p:nvPr/>
        </p:nvSpPr>
        <p:spPr bwMode="auto">
          <a:xfrm>
            <a:off x="7387167" y="4017433"/>
            <a:ext cx="71967" cy="160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98" name="Rectangle 105"/>
          <p:cNvSpPr>
            <a:spLocks noChangeArrowheads="1"/>
          </p:cNvSpPr>
          <p:nvPr/>
        </p:nvSpPr>
        <p:spPr bwMode="auto">
          <a:xfrm>
            <a:off x="7387167" y="4017433"/>
            <a:ext cx="71967" cy="160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399" name="Freeform 106"/>
          <p:cNvSpPr>
            <a:spLocks/>
          </p:cNvSpPr>
          <p:nvPr/>
        </p:nvSpPr>
        <p:spPr bwMode="auto">
          <a:xfrm>
            <a:off x="7387167" y="4017433"/>
            <a:ext cx="71967" cy="160867"/>
          </a:xfrm>
          <a:custGeom>
            <a:avLst/>
            <a:gdLst>
              <a:gd name="T0" fmla="*/ 138708039 w 21"/>
              <a:gd name="T1" fmla="*/ 0 h 47"/>
              <a:gd name="T2" fmla="*/ 0 w 21"/>
              <a:gd name="T3" fmla="*/ 0 h 47"/>
              <a:gd name="T4" fmla="*/ 0 w 21"/>
              <a:gd name="T5" fmla="*/ 310044830 h 47"/>
              <a:gd name="T6" fmla="*/ 72655490 w 21"/>
              <a:gd name="T7" fmla="*/ 105548214 h 47"/>
              <a:gd name="T8" fmla="*/ 138708039 w 21"/>
              <a:gd name="T9" fmla="*/ 310044830 h 47"/>
              <a:gd name="T10" fmla="*/ 138708039 w 21"/>
              <a:gd name="T11" fmla="*/ 0 h 4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" h="47">
                <a:moveTo>
                  <a:pt x="21" y="0"/>
                </a:moveTo>
                <a:lnTo>
                  <a:pt x="0" y="0"/>
                </a:lnTo>
                <a:lnTo>
                  <a:pt x="0" y="47"/>
                </a:lnTo>
                <a:lnTo>
                  <a:pt x="11" y="16"/>
                </a:lnTo>
                <a:lnTo>
                  <a:pt x="21" y="47"/>
                </a:lnTo>
                <a:lnTo>
                  <a:pt x="2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00" name="Freeform 107"/>
          <p:cNvSpPr>
            <a:spLocks/>
          </p:cNvSpPr>
          <p:nvPr/>
        </p:nvSpPr>
        <p:spPr bwMode="auto">
          <a:xfrm>
            <a:off x="7387167" y="4017433"/>
            <a:ext cx="71967" cy="160867"/>
          </a:xfrm>
          <a:custGeom>
            <a:avLst/>
            <a:gdLst>
              <a:gd name="T0" fmla="*/ 138708039 w 21"/>
              <a:gd name="T1" fmla="*/ 0 h 47"/>
              <a:gd name="T2" fmla="*/ 0 w 21"/>
              <a:gd name="T3" fmla="*/ 0 h 47"/>
              <a:gd name="T4" fmla="*/ 0 w 21"/>
              <a:gd name="T5" fmla="*/ 310044830 h 47"/>
              <a:gd name="T6" fmla="*/ 72655490 w 21"/>
              <a:gd name="T7" fmla="*/ 105548214 h 47"/>
              <a:gd name="T8" fmla="*/ 138708039 w 21"/>
              <a:gd name="T9" fmla="*/ 310044830 h 47"/>
              <a:gd name="T10" fmla="*/ 138708039 w 21"/>
              <a:gd name="T11" fmla="*/ 0 h 4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" h="47">
                <a:moveTo>
                  <a:pt x="21" y="0"/>
                </a:moveTo>
                <a:lnTo>
                  <a:pt x="0" y="0"/>
                </a:lnTo>
                <a:lnTo>
                  <a:pt x="0" y="47"/>
                </a:lnTo>
                <a:lnTo>
                  <a:pt x="11" y="16"/>
                </a:lnTo>
                <a:lnTo>
                  <a:pt x="21" y="47"/>
                </a:lnTo>
                <a:lnTo>
                  <a:pt x="21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01" name="Freeform 108"/>
          <p:cNvSpPr>
            <a:spLocks/>
          </p:cNvSpPr>
          <p:nvPr/>
        </p:nvSpPr>
        <p:spPr bwMode="auto">
          <a:xfrm>
            <a:off x="8420101" y="4106333"/>
            <a:ext cx="91017" cy="289984"/>
          </a:xfrm>
          <a:custGeom>
            <a:avLst/>
            <a:gdLst>
              <a:gd name="T0" fmla="*/ 126309304 w 30"/>
              <a:gd name="T1" fmla="*/ 0 h 96"/>
              <a:gd name="T2" fmla="*/ 0 w 30"/>
              <a:gd name="T3" fmla="*/ 0 h 96"/>
              <a:gd name="T4" fmla="*/ 0 w 30"/>
              <a:gd name="T5" fmla="*/ 494857696 h 96"/>
              <a:gd name="T6" fmla="*/ 126309304 w 30"/>
              <a:gd name="T7" fmla="*/ 494857696 h 96"/>
              <a:gd name="T8" fmla="*/ 157885493 w 30"/>
              <a:gd name="T9" fmla="*/ 463929090 h 96"/>
              <a:gd name="T10" fmla="*/ 157885493 w 30"/>
              <a:gd name="T11" fmla="*/ 30928606 h 96"/>
              <a:gd name="T12" fmla="*/ 126309304 w 30"/>
              <a:gd name="T13" fmla="*/ 0 h 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0" h="96">
                <a:moveTo>
                  <a:pt x="24" y="0"/>
                </a:moveTo>
                <a:cubicBezTo>
                  <a:pt x="0" y="0"/>
                  <a:pt x="0" y="0"/>
                  <a:pt x="0" y="0"/>
                </a:cubicBezTo>
                <a:cubicBezTo>
                  <a:pt x="0" y="96"/>
                  <a:pt x="0" y="96"/>
                  <a:pt x="0" y="96"/>
                </a:cubicBezTo>
                <a:cubicBezTo>
                  <a:pt x="24" y="96"/>
                  <a:pt x="24" y="96"/>
                  <a:pt x="24" y="96"/>
                </a:cubicBezTo>
                <a:cubicBezTo>
                  <a:pt x="27" y="96"/>
                  <a:pt x="30" y="93"/>
                  <a:pt x="30" y="90"/>
                </a:cubicBezTo>
                <a:cubicBezTo>
                  <a:pt x="30" y="6"/>
                  <a:pt x="30" y="6"/>
                  <a:pt x="30" y="6"/>
                </a:cubicBezTo>
                <a:cubicBezTo>
                  <a:pt x="30" y="3"/>
                  <a:pt x="27" y="0"/>
                  <a:pt x="24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02" name="Freeform 109"/>
          <p:cNvSpPr>
            <a:spLocks noEditPoints="1"/>
          </p:cNvSpPr>
          <p:nvPr/>
        </p:nvSpPr>
        <p:spPr bwMode="auto">
          <a:xfrm>
            <a:off x="8128000" y="4034367"/>
            <a:ext cx="273051" cy="361951"/>
          </a:xfrm>
          <a:custGeom>
            <a:avLst/>
            <a:gdLst>
              <a:gd name="T0" fmla="*/ 436614842 w 90"/>
              <a:gd name="T1" fmla="*/ 123244202 h 120"/>
              <a:gd name="T2" fmla="*/ 436614842 w 90"/>
              <a:gd name="T3" fmla="*/ 123244202 h 120"/>
              <a:gd name="T4" fmla="*/ 436614842 w 90"/>
              <a:gd name="T5" fmla="*/ 118109027 h 120"/>
              <a:gd name="T6" fmla="*/ 436614842 w 90"/>
              <a:gd name="T7" fmla="*/ 92433152 h 120"/>
              <a:gd name="T8" fmla="*/ 343054031 w 90"/>
              <a:gd name="T9" fmla="*/ 0 h 120"/>
              <a:gd name="T10" fmla="*/ 155934685 w 90"/>
              <a:gd name="T11" fmla="*/ 0 h 120"/>
              <a:gd name="T12" fmla="*/ 62373874 w 90"/>
              <a:gd name="T13" fmla="*/ 92433152 h 120"/>
              <a:gd name="T14" fmla="*/ 62373874 w 90"/>
              <a:gd name="T15" fmla="*/ 123244202 h 120"/>
              <a:gd name="T16" fmla="*/ 0 w 90"/>
              <a:gd name="T17" fmla="*/ 123244202 h 120"/>
              <a:gd name="T18" fmla="*/ 0 w 90"/>
              <a:gd name="T19" fmla="*/ 616218748 h 120"/>
              <a:gd name="T20" fmla="*/ 467801779 w 90"/>
              <a:gd name="T21" fmla="*/ 616218748 h 120"/>
              <a:gd name="T22" fmla="*/ 467801779 w 90"/>
              <a:gd name="T23" fmla="*/ 123244202 h 120"/>
              <a:gd name="T24" fmla="*/ 436614842 w 90"/>
              <a:gd name="T25" fmla="*/ 123244202 h 120"/>
              <a:gd name="T26" fmla="*/ 374240968 w 90"/>
              <a:gd name="T27" fmla="*/ 123244202 h 120"/>
              <a:gd name="T28" fmla="*/ 374240968 w 90"/>
              <a:gd name="T29" fmla="*/ 123244202 h 120"/>
              <a:gd name="T30" fmla="*/ 124747748 w 90"/>
              <a:gd name="T31" fmla="*/ 123244202 h 120"/>
              <a:gd name="T32" fmla="*/ 124747748 w 90"/>
              <a:gd name="T33" fmla="*/ 92433152 h 120"/>
              <a:gd name="T34" fmla="*/ 155934685 w 90"/>
              <a:gd name="T35" fmla="*/ 61622101 h 120"/>
              <a:gd name="T36" fmla="*/ 343054031 w 90"/>
              <a:gd name="T37" fmla="*/ 61622101 h 120"/>
              <a:gd name="T38" fmla="*/ 374240968 w 90"/>
              <a:gd name="T39" fmla="*/ 92433152 h 120"/>
              <a:gd name="T40" fmla="*/ 374240968 w 90"/>
              <a:gd name="T41" fmla="*/ 123244202 h 12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90" h="120">
                <a:moveTo>
                  <a:pt x="84" y="24"/>
                </a:moveTo>
                <a:cubicBezTo>
                  <a:pt x="84" y="24"/>
                  <a:pt x="84" y="24"/>
                  <a:pt x="84" y="24"/>
                </a:cubicBezTo>
                <a:cubicBezTo>
                  <a:pt x="84" y="23"/>
                  <a:pt x="84" y="23"/>
                  <a:pt x="84" y="23"/>
                </a:cubicBezTo>
                <a:cubicBezTo>
                  <a:pt x="84" y="18"/>
                  <a:pt x="84" y="18"/>
                  <a:pt x="84" y="18"/>
                </a:cubicBezTo>
                <a:cubicBezTo>
                  <a:pt x="84" y="6"/>
                  <a:pt x="75" y="0"/>
                  <a:pt x="6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8" y="0"/>
                  <a:pt x="12" y="9"/>
                  <a:pt x="12" y="18"/>
                </a:cubicBezTo>
                <a:cubicBezTo>
                  <a:pt x="12" y="24"/>
                  <a:pt x="12" y="24"/>
                  <a:pt x="12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120"/>
                  <a:pt x="0" y="120"/>
                  <a:pt x="0" y="120"/>
                </a:cubicBezTo>
                <a:cubicBezTo>
                  <a:pt x="90" y="120"/>
                  <a:pt x="90" y="120"/>
                  <a:pt x="90" y="120"/>
                </a:cubicBezTo>
                <a:cubicBezTo>
                  <a:pt x="90" y="24"/>
                  <a:pt x="90" y="24"/>
                  <a:pt x="90" y="24"/>
                </a:cubicBezTo>
                <a:lnTo>
                  <a:pt x="84" y="24"/>
                </a:lnTo>
                <a:close/>
                <a:moveTo>
                  <a:pt x="72" y="24"/>
                </a:moveTo>
                <a:cubicBezTo>
                  <a:pt x="72" y="24"/>
                  <a:pt x="72" y="24"/>
                  <a:pt x="72" y="24"/>
                </a:cubicBezTo>
                <a:cubicBezTo>
                  <a:pt x="24" y="24"/>
                  <a:pt x="24" y="24"/>
                  <a:pt x="24" y="24"/>
                </a:cubicBezTo>
                <a:cubicBezTo>
                  <a:pt x="24" y="18"/>
                  <a:pt x="24" y="18"/>
                  <a:pt x="24" y="18"/>
                </a:cubicBezTo>
                <a:cubicBezTo>
                  <a:pt x="24" y="18"/>
                  <a:pt x="24" y="12"/>
                  <a:pt x="30" y="12"/>
                </a:cubicBezTo>
                <a:cubicBezTo>
                  <a:pt x="66" y="12"/>
                  <a:pt x="66" y="12"/>
                  <a:pt x="66" y="12"/>
                </a:cubicBezTo>
                <a:cubicBezTo>
                  <a:pt x="66" y="12"/>
                  <a:pt x="72" y="12"/>
                  <a:pt x="72" y="18"/>
                </a:cubicBezTo>
                <a:lnTo>
                  <a:pt x="72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03" name="Freeform 110"/>
          <p:cNvSpPr>
            <a:spLocks/>
          </p:cNvSpPr>
          <p:nvPr/>
        </p:nvSpPr>
        <p:spPr bwMode="auto">
          <a:xfrm>
            <a:off x="8039101" y="4106333"/>
            <a:ext cx="71967" cy="289984"/>
          </a:xfrm>
          <a:custGeom>
            <a:avLst/>
            <a:gdLst>
              <a:gd name="T0" fmla="*/ 121369534 w 24"/>
              <a:gd name="T1" fmla="*/ 0 h 96"/>
              <a:gd name="T2" fmla="*/ 30342946 w 24"/>
              <a:gd name="T3" fmla="*/ 0 h 96"/>
              <a:gd name="T4" fmla="*/ 0 w 24"/>
              <a:gd name="T5" fmla="*/ 30928606 h 96"/>
              <a:gd name="T6" fmla="*/ 0 w 24"/>
              <a:gd name="T7" fmla="*/ 463929090 h 96"/>
              <a:gd name="T8" fmla="*/ 30342946 w 24"/>
              <a:gd name="T9" fmla="*/ 494857696 h 96"/>
              <a:gd name="T10" fmla="*/ 121369534 w 24"/>
              <a:gd name="T11" fmla="*/ 494857696 h 96"/>
              <a:gd name="T12" fmla="*/ 121369534 w 24"/>
              <a:gd name="T13" fmla="*/ 0 h 9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" h="96">
                <a:moveTo>
                  <a:pt x="24" y="0"/>
                </a:move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90"/>
                  <a:pt x="0" y="90"/>
                  <a:pt x="0" y="90"/>
                </a:cubicBezTo>
                <a:cubicBezTo>
                  <a:pt x="0" y="93"/>
                  <a:pt x="3" y="96"/>
                  <a:pt x="6" y="96"/>
                </a:cubicBezTo>
                <a:cubicBezTo>
                  <a:pt x="24" y="96"/>
                  <a:pt x="24" y="96"/>
                  <a:pt x="24" y="96"/>
                </a:cubicBezTo>
                <a:lnTo>
                  <a:pt x="2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04" name="Rectangle 111"/>
          <p:cNvSpPr>
            <a:spLocks noChangeArrowheads="1"/>
          </p:cNvSpPr>
          <p:nvPr/>
        </p:nvSpPr>
        <p:spPr bwMode="auto">
          <a:xfrm>
            <a:off x="9014884" y="4174067"/>
            <a:ext cx="33867" cy="719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05" name="Freeform 112"/>
          <p:cNvSpPr>
            <a:spLocks noEditPoints="1"/>
          </p:cNvSpPr>
          <p:nvPr/>
        </p:nvSpPr>
        <p:spPr bwMode="auto">
          <a:xfrm>
            <a:off x="8921751" y="3989917"/>
            <a:ext cx="474133" cy="201083"/>
          </a:xfrm>
          <a:custGeom>
            <a:avLst/>
            <a:gdLst>
              <a:gd name="T0" fmla="*/ 590754177 w 156"/>
              <a:gd name="T1" fmla="*/ 125982861 h 66"/>
              <a:gd name="T2" fmla="*/ 590754177 w 156"/>
              <a:gd name="T3" fmla="*/ 120734146 h 66"/>
              <a:gd name="T4" fmla="*/ 590754177 w 156"/>
              <a:gd name="T5" fmla="*/ 94486003 h 66"/>
              <a:gd name="T6" fmla="*/ 497477562 w 156"/>
              <a:gd name="T7" fmla="*/ 0 h 66"/>
              <a:gd name="T8" fmla="*/ 310924331 w 156"/>
              <a:gd name="T9" fmla="*/ 0 h 66"/>
              <a:gd name="T10" fmla="*/ 217647715 w 156"/>
              <a:gd name="T11" fmla="*/ 94486003 h 66"/>
              <a:gd name="T12" fmla="*/ 217647715 w 156"/>
              <a:gd name="T13" fmla="*/ 125982861 h 66"/>
              <a:gd name="T14" fmla="*/ 0 w 156"/>
              <a:gd name="T15" fmla="*/ 125982861 h 66"/>
              <a:gd name="T16" fmla="*/ 0 w 156"/>
              <a:gd name="T17" fmla="*/ 346451724 h 66"/>
              <a:gd name="T18" fmla="*/ 124368821 w 156"/>
              <a:gd name="T19" fmla="*/ 346451724 h 66"/>
              <a:gd name="T20" fmla="*/ 124368821 w 156"/>
              <a:gd name="T21" fmla="*/ 283460294 h 66"/>
              <a:gd name="T22" fmla="*/ 248739921 w 156"/>
              <a:gd name="T23" fmla="*/ 283460294 h 66"/>
              <a:gd name="T24" fmla="*/ 248739921 w 156"/>
              <a:gd name="T25" fmla="*/ 346451724 h 66"/>
              <a:gd name="T26" fmla="*/ 559661972 w 156"/>
              <a:gd name="T27" fmla="*/ 346451724 h 66"/>
              <a:gd name="T28" fmla="*/ 559661972 w 156"/>
              <a:gd name="T29" fmla="*/ 283460294 h 66"/>
              <a:gd name="T30" fmla="*/ 684033072 w 156"/>
              <a:gd name="T31" fmla="*/ 283460294 h 66"/>
              <a:gd name="T32" fmla="*/ 684033072 w 156"/>
              <a:gd name="T33" fmla="*/ 346451724 h 66"/>
              <a:gd name="T34" fmla="*/ 808401892 w 156"/>
              <a:gd name="T35" fmla="*/ 346451724 h 66"/>
              <a:gd name="T36" fmla="*/ 808401892 w 156"/>
              <a:gd name="T37" fmla="*/ 125982861 h 66"/>
              <a:gd name="T38" fmla="*/ 590754177 w 156"/>
              <a:gd name="T39" fmla="*/ 125982861 h 66"/>
              <a:gd name="T40" fmla="*/ 279832126 w 156"/>
              <a:gd name="T41" fmla="*/ 94486003 h 66"/>
              <a:gd name="T42" fmla="*/ 310924331 w 156"/>
              <a:gd name="T43" fmla="*/ 62991430 h 66"/>
              <a:gd name="T44" fmla="*/ 497477562 w 156"/>
              <a:gd name="T45" fmla="*/ 62991430 h 66"/>
              <a:gd name="T46" fmla="*/ 528569767 w 156"/>
              <a:gd name="T47" fmla="*/ 94486003 h 66"/>
              <a:gd name="T48" fmla="*/ 528569767 w 156"/>
              <a:gd name="T49" fmla="*/ 125982861 h 66"/>
              <a:gd name="T50" fmla="*/ 279832126 w 156"/>
              <a:gd name="T51" fmla="*/ 125982861 h 66"/>
              <a:gd name="T52" fmla="*/ 279832126 w 156"/>
              <a:gd name="T53" fmla="*/ 94486003 h 6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56" h="66">
                <a:moveTo>
                  <a:pt x="114" y="24"/>
                </a:moveTo>
                <a:cubicBezTo>
                  <a:pt x="114" y="23"/>
                  <a:pt x="114" y="23"/>
                  <a:pt x="114" y="23"/>
                </a:cubicBezTo>
                <a:cubicBezTo>
                  <a:pt x="114" y="18"/>
                  <a:pt x="114" y="18"/>
                  <a:pt x="114" y="18"/>
                </a:cubicBezTo>
                <a:cubicBezTo>
                  <a:pt x="114" y="6"/>
                  <a:pt x="105" y="0"/>
                  <a:pt x="96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48" y="0"/>
                  <a:pt x="42" y="9"/>
                  <a:pt x="42" y="18"/>
                </a:cubicBezTo>
                <a:cubicBezTo>
                  <a:pt x="42" y="24"/>
                  <a:pt x="42" y="24"/>
                  <a:pt x="42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66"/>
                  <a:pt x="0" y="66"/>
                  <a:pt x="0" y="66"/>
                </a:cubicBezTo>
                <a:cubicBezTo>
                  <a:pt x="24" y="66"/>
                  <a:pt x="24" y="66"/>
                  <a:pt x="24" y="66"/>
                </a:cubicBezTo>
                <a:cubicBezTo>
                  <a:pt x="24" y="54"/>
                  <a:pt x="24" y="54"/>
                  <a:pt x="24" y="54"/>
                </a:cubicBezTo>
                <a:cubicBezTo>
                  <a:pt x="48" y="54"/>
                  <a:pt x="48" y="54"/>
                  <a:pt x="48" y="54"/>
                </a:cubicBezTo>
                <a:cubicBezTo>
                  <a:pt x="48" y="66"/>
                  <a:pt x="48" y="66"/>
                  <a:pt x="48" y="66"/>
                </a:cubicBezTo>
                <a:cubicBezTo>
                  <a:pt x="108" y="66"/>
                  <a:pt x="108" y="66"/>
                  <a:pt x="108" y="66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32" y="54"/>
                  <a:pt x="132" y="54"/>
                  <a:pt x="132" y="54"/>
                </a:cubicBezTo>
                <a:cubicBezTo>
                  <a:pt x="132" y="66"/>
                  <a:pt x="132" y="66"/>
                  <a:pt x="132" y="66"/>
                </a:cubicBezTo>
                <a:cubicBezTo>
                  <a:pt x="156" y="66"/>
                  <a:pt x="156" y="66"/>
                  <a:pt x="156" y="66"/>
                </a:cubicBezTo>
                <a:cubicBezTo>
                  <a:pt x="156" y="24"/>
                  <a:pt x="156" y="24"/>
                  <a:pt x="156" y="24"/>
                </a:cubicBezTo>
                <a:lnTo>
                  <a:pt x="114" y="24"/>
                </a:lnTo>
                <a:close/>
                <a:moveTo>
                  <a:pt x="54" y="18"/>
                </a:moveTo>
                <a:cubicBezTo>
                  <a:pt x="54" y="18"/>
                  <a:pt x="54" y="12"/>
                  <a:pt x="60" y="12"/>
                </a:cubicBezTo>
                <a:cubicBezTo>
                  <a:pt x="96" y="12"/>
                  <a:pt x="96" y="12"/>
                  <a:pt x="96" y="12"/>
                </a:cubicBezTo>
                <a:cubicBezTo>
                  <a:pt x="96" y="12"/>
                  <a:pt x="102" y="12"/>
                  <a:pt x="102" y="18"/>
                </a:cubicBezTo>
                <a:cubicBezTo>
                  <a:pt x="102" y="24"/>
                  <a:pt x="102" y="24"/>
                  <a:pt x="102" y="24"/>
                </a:cubicBezTo>
                <a:cubicBezTo>
                  <a:pt x="54" y="24"/>
                  <a:pt x="54" y="24"/>
                  <a:pt x="54" y="24"/>
                </a:cubicBezTo>
                <a:lnTo>
                  <a:pt x="54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06" name="Freeform 113"/>
          <p:cNvSpPr>
            <a:spLocks/>
          </p:cNvSpPr>
          <p:nvPr/>
        </p:nvSpPr>
        <p:spPr bwMode="auto">
          <a:xfrm>
            <a:off x="8940801" y="4207934"/>
            <a:ext cx="438151" cy="182033"/>
          </a:xfrm>
          <a:custGeom>
            <a:avLst/>
            <a:gdLst>
              <a:gd name="T0" fmla="*/ 738929974 w 128"/>
              <a:gd name="T1" fmla="*/ 105915065 h 53"/>
              <a:gd name="T2" fmla="*/ 600381086 w 128"/>
              <a:gd name="T3" fmla="*/ 105915065 h 53"/>
              <a:gd name="T4" fmla="*/ 600381086 w 128"/>
              <a:gd name="T5" fmla="*/ 0 h 53"/>
              <a:gd name="T6" fmla="*/ 250708613 w 128"/>
              <a:gd name="T7" fmla="*/ 0 h 53"/>
              <a:gd name="T8" fmla="*/ 250708613 w 128"/>
              <a:gd name="T9" fmla="*/ 105915065 h 53"/>
              <a:gd name="T10" fmla="*/ 105561792 w 128"/>
              <a:gd name="T11" fmla="*/ 105915065 h 53"/>
              <a:gd name="T12" fmla="*/ 105561792 w 128"/>
              <a:gd name="T13" fmla="*/ 0 h 53"/>
              <a:gd name="T14" fmla="*/ 0 w 128"/>
              <a:gd name="T15" fmla="*/ 0 h 53"/>
              <a:gd name="T16" fmla="*/ 0 w 128"/>
              <a:gd name="T17" fmla="*/ 350843491 h 53"/>
              <a:gd name="T18" fmla="*/ 844491766 w 128"/>
              <a:gd name="T19" fmla="*/ 350843491 h 53"/>
              <a:gd name="T20" fmla="*/ 844491766 w 128"/>
              <a:gd name="T21" fmla="*/ 0 h 53"/>
              <a:gd name="T22" fmla="*/ 738929974 w 128"/>
              <a:gd name="T23" fmla="*/ 0 h 53"/>
              <a:gd name="T24" fmla="*/ 738929974 w 128"/>
              <a:gd name="T25" fmla="*/ 105915065 h 5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28" h="53">
                <a:moveTo>
                  <a:pt x="112" y="16"/>
                </a:moveTo>
                <a:lnTo>
                  <a:pt x="91" y="16"/>
                </a:lnTo>
                <a:lnTo>
                  <a:pt x="91" y="0"/>
                </a:lnTo>
                <a:lnTo>
                  <a:pt x="38" y="0"/>
                </a:lnTo>
                <a:lnTo>
                  <a:pt x="38" y="16"/>
                </a:lnTo>
                <a:lnTo>
                  <a:pt x="16" y="16"/>
                </a:lnTo>
                <a:lnTo>
                  <a:pt x="16" y="0"/>
                </a:lnTo>
                <a:lnTo>
                  <a:pt x="0" y="0"/>
                </a:lnTo>
                <a:lnTo>
                  <a:pt x="0" y="53"/>
                </a:lnTo>
                <a:lnTo>
                  <a:pt x="128" y="53"/>
                </a:lnTo>
                <a:lnTo>
                  <a:pt x="128" y="0"/>
                </a:lnTo>
                <a:lnTo>
                  <a:pt x="112" y="0"/>
                </a:lnTo>
                <a:lnTo>
                  <a:pt x="112" y="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07" name="Rectangle 114"/>
          <p:cNvSpPr>
            <a:spLocks noChangeArrowheads="1"/>
          </p:cNvSpPr>
          <p:nvPr/>
        </p:nvSpPr>
        <p:spPr bwMode="auto">
          <a:xfrm>
            <a:off x="9268885" y="4174067"/>
            <a:ext cx="38100" cy="719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08" name="Freeform 115"/>
          <p:cNvSpPr>
            <a:spLocks noEditPoints="1"/>
          </p:cNvSpPr>
          <p:nvPr/>
        </p:nvSpPr>
        <p:spPr bwMode="auto">
          <a:xfrm>
            <a:off x="9827685" y="3985685"/>
            <a:ext cx="433916" cy="436033"/>
          </a:xfrm>
          <a:custGeom>
            <a:avLst/>
            <a:gdLst>
              <a:gd name="T0" fmla="*/ 676127007 w 144"/>
              <a:gd name="T1" fmla="*/ 185293728 h 144"/>
              <a:gd name="T2" fmla="*/ 553195440 w 144"/>
              <a:gd name="T3" fmla="*/ 185293728 h 144"/>
              <a:gd name="T4" fmla="*/ 553195440 w 144"/>
              <a:gd name="T5" fmla="*/ 185293728 h 144"/>
              <a:gd name="T6" fmla="*/ 368796960 w 144"/>
              <a:gd name="T7" fmla="*/ 0 h 144"/>
              <a:gd name="T8" fmla="*/ 184398480 w 144"/>
              <a:gd name="T9" fmla="*/ 185293728 h 144"/>
              <a:gd name="T10" fmla="*/ 184398480 w 144"/>
              <a:gd name="T11" fmla="*/ 185293728 h 144"/>
              <a:gd name="T12" fmla="*/ 61466913 w 144"/>
              <a:gd name="T13" fmla="*/ 185293728 h 144"/>
              <a:gd name="T14" fmla="*/ 0 w 144"/>
              <a:gd name="T15" fmla="*/ 185293728 h 144"/>
              <a:gd name="T16" fmla="*/ 0 w 144"/>
              <a:gd name="T17" fmla="*/ 247058303 h 144"/>
              <a:gd name="T18" fmla="*/ 0 w 144"/>
              <a:gd name="T19" fmla="*/ 247058303 h 144"/>
              <a:gd name="T20" fmla="*/ 0 w 144"/>
              <a:gd name="T21" fmla="*/ 679412606 h 144"/>
              <a:gd name="T22" fmla="*/ 61466913 w 144"/>
              <a:gd name="T23" fmla="*/ 741177181 h 144"/>
              <a:gd name="T24" fmla="*/ 676127007 w 144"/>
              <a:gd name="T25" fmla="*/ 741177181 h 144"/>
              <a:gd name="T26" fmla="*/ 737593921 w 144"/>
              <a:gd name="T27" fmla="*/ 679412606 h 144"/>
              <a:gd name="T28" fmla="*/ 737593921 w 144"/>
              <a:gd name="T29" fmla="*/ 617648030 h 144"/>
              <a:gd name="T30" fmla="*/ 0 w 144"/>
              <a:gd name="T31" fmla="*/ 617648030 h 144"/>
              <a:gd name="T32" fmla="*/ 0 w 144"/>
              <a:gd name="T33" fmla="*/ 586764606 h 144"/>
              <a:gd name="T34" fmla="*/ 737593921 w 144"/>
              <a:gd name="T35" fmla="*/ 586764606 h 144"/>
              <a:gd name="T36" fmla="*/ 737593921 w 144"/>
              <a:gd name="T37" fmla="*/ 277941727 h 144"/>
              <a:gd name="T38" fmla="*/ 737593921 w 144"/>
              <a:gd name="T39" fmla="*/ 247058303 h 144"/>
              <a:gd name="T40" fmla="*/ 737593921 w 144"/>
              <a:gd name="T41" fmla="*/ 185293728 h 144"/>
              <a:gd name="T42" fmla="*/ 676127007 w 144"/>
              <a:gd name="T43" fmla="*/ 185293728 h 144"/>
              <a:gd name="T44" fmla="*/ 491728527 w 144"/>
              <a:gd name="T45" fmla="*/ 185293728 h 144"/>
              <a:gd name="T46" fmla="*/ 245865394 w 144"/>
              <a:gd name="T47" fmla="*/ 185293728 h 144"/>
              <a:gd name="T48" fmla="*/ 245865394 w 144"/>
              <a:gd name="T49" fmla="*/ 185293728 h 144"/>
              <a:gd name="T50" fmla="*/ 368796960 w 144"/>
              <a:gd name="T51" fmla="*/ 61764576 h 144"/>
              <a:gd name="T52" fmla="*/ 491728527 w 144"/>
              <a:gd name="T53" fmla="*/ 185293728 h 14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44" h="144">
                <a:moveTo>
                  <a:pt x="132" y="36"/>
                </a:moveTo>
                <a:cubicBezTo>
                  <a:pt x="108" y="36"/>
                  <a:pt x="108" y="36"/>
                  <a:pt x="108" y="36"/>
                </a:cubicBezTo>
                <a:cubicBezTo>
                  <a:pt x="108" y="36"/>
                  <a:pt x="108" y="36"/>
                  <a:pt x="108" y="36"/>
                </a:cubicBezTo>
                <a:cubicBezTo>
                  <a:pt x="108" y="16"/>
                  <a:pt x="92" y="0"/>
                  <a:pt x="72" y="0"/>
                </a:cubicBezTo>
                <a:cubicBezTo>
                  <a:pt x="52" y="0"/>
                  <a:pt x="36" y="16"/>
                  <a:pt x="36" y="36"/>
                </a:cubicBezTo>
                <a:cubicBezTo>
                  <a:pt x="36" y="36"/>
                  <a:pt x="36" y="36"/>
                  <a:pt x="36" y="36"/>
                </a:cubicBezTo>
                <a:cubicBezTo>
                  <a:pt x="12" y="36"/>
                  <a:pt x="12" y="36"/>
                  <a:pt x="12" y="36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132"/>
                  <a:pt x="0" y="132"/>
                  <a:pt x="0" y="132"/>
                </a:cubicBezTo>
                <a:cubicBezTo>
                  <a:pt x="0" y="139"/>
                  <a:pt x="5" y="144"/>
                  <a:pt x="12" y="144"/>
                </a:cubicBezTo>
                <a:cubicBezTo>
                  <a:pt x="132" y="144"/>
                  <a:pt x="132" y="144"/>
                  <a:pt x="132" y="144"/>
                </a:cubicBezTo>
                <a:cubicBezTo>
                  <a:pt x="139" y="144"/>
                  <a:pt x="144" y="139"/>
                  <a:pt x="144" y="132"/>
                </a:cubicBezTo>
                <a:cubicBezTo>
                  <a:pt x="144" y="120"/>
                  <a:pt x="144" y="120"/>
                  <a:pt x="144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14"/>
                  <a:pt x="0" y="114"/>
                  <a:pt x="0" y="114"/>
                </a:cubicBezTo>
                <a:cubicBezTo>
                  <a:pt x="144" y="114"/>
                  <a:pt x="144" y="114"/>
                  <a:pt x="144" y="114"/>
                </a:cubicBezTo>
                <a:cubicBezTo>
                  <a:pt x="144" y="54"/>
                  <a:pt x="144" y="54"/>
                  <a:pt x="144" y="54"/>
                </a:cubicBezTo>
                <a:cubicBezTo>
                  <a:pt x="144" y="48"/>
                  <a:pt x="144" y="48"/>
                  <a:pt x="144" y="48"/>
                </a:cubicBezTo>
                <a:cubicBezTo>
                  <a:pt x="144" y="36"/>
                  <a:pt x="144" y="36"/>
                  <a:pt x="144" y="36"/>
                </a:cubicBezTo>
                <a:lnTo>
                  <a:pt x="132" y="36"/>
                </a:lnTo>
                <a:close/>
                <a:moveTo>
                  <a:pt x="96" y="36"/>
                </a:moveTo>
                <a:cubicBezTo>
                  <a:pt x="48" y="36"/>
                  <a:pt x="48" y="36"/>
                  <a:pt x="48" y="36"/>
                </a:cubicBezTo>
                <a:cubicBezTo>
                  <a:pt x="48" y="36"/>
                  <a:pt x="48" y="36"/>
                  <a:pt x="48" y="36"/>
                </a:cubicBezTo>
                <a:cubicBezTo>
                  <a:pt x="48" y="23"/>
                  <a:pt x="59" y="12"/>
                  <a:pt x="72" y="12"/>
                </a:cubicBezTo>
                <a:cubicBezTo>
                  <a:pt x="85" y="12"/>
                  <a:pt x="96" y="23"/>
                  <a:pt x="96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09" name="Freeform 116"/>
          <p:cNvSpPr>
            <a:spLocks/>
          </p:cNvSpPr>
          <p:nvPr/>
        </p:nvSpPr>
        <p:spPr bwMode="auto">
          <a:xfrm>
            <a:off x="10731501" y="3972985"/>
            <a:ext cx="325967" cy="38100"/>
          </a:xfrm>
          <a:custGeom>
            <a:avLst/>
            <a:gdLst>
              <a:gd name="T0" fmla="*/ 0 w 95"/>
              <a:gd name="T1" fmla="*/ 73429957 h 11"/>
              <a:gd name="T2" fmla="*/ 66134348 w 95"/>
              <a:gd name="T3" fmla="*/ 0 h 11"/>
              <a:gd name="T4" fmla="*/ 562132948 w 95"/>
              <a:gd name="T5" fmla="*/ 0 h 11"/>
              <a:gd name="T6" fmla="*/ 628267296 w 95"/>
              <a:gd name="T7" fmla="*/ 73429957 h 11"/>
              <a:gd name="T8" fmla="*/ 0 w 95"/>
              <a:gd name="T9" fmla="*/ 73429957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" h="11">
                <a:moveTo>
                  <a:pt x="0" y="11"/>
                </a:moveTo>
                <a:lnTo>
                  <a:pt x="10" y="0"/>
                </a:lnTo>
                <a:lnTo>
                  <a:pt x="85" y="0"/>
                </a:lnTo>
                <a:lnTo>
                  <a:pt x="95" y="11"/>
                </a:lnTo>
                <a:lnTo>
                  <a:pt x="0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10" name="Freeform 117"/>
          <p:cNvSpPr>
            <a:spLocks noEditPoints="1"/>
          </p:cNvSpPr>
          <p:nvPr/>
        </p:nvSpPr>
        <p:spPr bwMode="auto">
          <a:xfrm>
            <a:off x="10710334" y="4028017"/>
            <a:ext cx="368300" cy="127000"/>
          </a:xfrm>
          <a:custGeom>
            <a:avLst/>
            <a:gdLst>
              <a:gd name="T0" fmla="*/ 0 w 107"/>
              <a:gd name="T1" fmla="*/ 244777054 h 37"/>
              <a:gd name="T2" fmla="*/ 709859527 w 107"/>
              <a:gd name="T3" fmla="*/ 244777054 h 37"/>
              <a:gd name="T4" fmla="*/ 709859527 w 107"/>
              <a:gd name="T5" fmla="*/ 0 h 37"/>
              <a:gd name="T6" fmla="*/ 0 w 107"/>
              <a:gd name="T7" fmla="*/ 0 h 37"/>
              <a:gd name="T8" fmla="*/ 0 w 107"/>
              <a:gd name="T9" fmla="*/ 244777054 h 37"/>
              <a:gd name="T10" fmla="*/ 497563834 w 107"/>
              <a:gd name="T11" fmla="*/ 138928561 h 37"/>
              <a:gd name="T12" fmla="*/ 497563834 w 107"/>
              <a:gd name="T13" fmla="*/ 178622068 h 37"/>
              <a:gd name="T14" fmla="*/ 457759037 w 107"/>
              <a:gd name="T15" fmla="*/ 178622068 h 37"/>
              <a:gd name="T16" fmla="*/ 457759037 w 107"/>
              <a:gd name="T17" fmla="*/ 138928561 h 37"/>
              <a:gd name="T18" fmla="*/ 252100489 w 107"/>
              <a:gd name="T19" fmla="*/ 138928561 h 37"/>
              <a:gd name="T20" fmla="*/ 252100489 w 107"/>
              <a:gd name="T21" fmla="*/ 178622068 h 37"/>
              <a:gd name="T22" fmla="*/ 212295693 w 107"/>
              <a:gd name="T23" fmla="*/ 178622068 h 37"/>
              <a:gd name="T24" fmla="*/ 212295693 w 107"/>
              <a:gd name="T25" fmla="*/ 138928561 h 37"/>
              <a:gd name="T26" fmla="*/ 212295693 w 107"/>
              <a:gd name="T27" fmla="*/ 105848493 h 37"/>
              <a:gd name="T28" fmla="*/ 497563834 w 107"/>
              <a:gd name="T29" fmla="*/ 105848493 h 37"/>
              <a:gd name="T30" fmla="*/ 497563834 w 107"/>
              <a:gd name="T31" fmla="*/ 138928561 h 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07" h="37">
                <a:moveTo>
                  <a:pt x="0" y="37"/>
                </a:moveTo>
                <a:lnTo>
                  <a:pt x="107" y="37"/>
                </a:lnTo>
                <a:lnTo>
                  <a:pt x="107" y="0"/>
                </a:lnTo>
                <a:lnTo>
                  <a:pt x="0" y="0"/>
                </a:lnTo>
                <a:lnTo>
                  <a:pt x="0" y="37"/>
                </a:lnTo>
                <a:close/>
                <a:moveTo>
                  <a:pt x="75" y="21"/>
                </a:moveTo>
                <a:lnTo>
                  <a:pt x="75" y="27"/>
                </a:lnTo>
                <a:lnTo>
                  <a:pt x="69" y="27"/>
                </a:lnTo>
                <a:lnTo>
                  <a:pt x="69" y="21"/>
                </a:lnTo>
                <a:lnTo>
                  <a:pt x="38" y="21"/>
                </a:lnTo>
                <a:lnTo>
                  <a:pt x="38" y="27"/>
                </a:lnTo>
                <a:lnTo>
                  <a:pt x="32" y="27"/>
                </a:lnTo>
                <a:lnTo>
                  <a:pt x="32" y="21"/>
                </a:lnTo>
                <a:lnTo>
                  <a:pt x="32" y="16"/>
                </a:lnTo>
                <a:lnTo>
                  <a:pt x="75" y="16"/>
                </a:lnTo>
                <a:lnTo>
                  <a:pt x="75" y="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11" name="Freeform 118"/>
          <p:cNvSpPr>
            <a:spLocks noEditPoints="1"/>
          </p:cNvSpPr>
          <p:nvPr/>
        </p:nvSpPr>
        <p:spPr bwMode="auto">
          <a:xfrm>
            <a:off x="10710334" y="4174067"/>
            <a:ext cx="368300" cy="127000"/>
          </a:xfrm>
          <a:custGeom>
            <a:avLst/>
            <a:gdLst>
              <a:gd name="T0" fmla="*/ 0 w 107"/>
              <a:gd name="T1" fmla="*/ 244777054 h 37"/>
              <a:gd name="T2" fmla="*/ 709859527 w 107"/>
              <a:gd name="T3" fmla="*/ 244777054 h 37"/>
              <a:gd name="T4" fmla="*/ 709859527 w 107"/>
              <a:gd name="T5" fmla="*/ 0 h 37"/>
              <a:gd name="T6" fmla="*/ 0 w 107"/>
              <a:gd name="T7" fmla="*/ 0 h 37"/>
              <a:gd name="T8" fmla="*/ 0 w 107"/>
              <a:gd name="T9" fmla="*/ 244777054 h 37"/>
              <a:gd name="T10" fmla="*/ 497563834 w 107"/>
              <a:gd name="T11" fmla="*/ 138928561 h 37"/>
              <a:gd name="T12" fmla="*/ 497563834 w 107"/>
              <a:gd name="T13" fmla="*/ 172006054 h 37"/>
              <a:gd name="T14" fmla="*/ 457759037 w 107"/>
              <a:gd name="T15" fmla="*/ 172006054 h 37"/>
              <a:gd name="T16" fmla="*/ 457759037 w 107"/>
              <a:gd name="T17" fmla="*/ 138928561 h 37"/>
              <a:gd name="T18" fmla="*/ 252100489 w 107"/>
              <a:gd name="T19" fmla="*/ 138928561 h 37"/>
              <a:gd name="T20" fmla="*/ 252100489 w 107"/>
              <a:gd name="T21" fmla="*/ 172006054 h 37"/>
              <a:gd name="T22" fmla="*/ 212295693 w 107"/>
              <a:gd name="T23" fmla="*/ 172006054 h 37"/>
              <a:gd name="T24" fmla="*/ 212295693 w 107"/>
              <a:gd name="T25" fmla="*/ 138928561 h 37"/>
              <a:gd name="T26" fmla="*/ 212295693 w 107"/>
              <a:gd name="T27" fmla="*/ 105848493 h 37"/>
              <a:gd name="T28" fmla="*/ 497563834 w 107"/>
              <a:gd name="T29" fmla="*/ 105848493 h 37"/>
              <a:gd name="T30" fmla="*/ 497563834 w 107"/>
              <a:gd name="T31" fmla="*/ 138928561 h 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07" h="37">
                <a:moveTo>
                  <a:pt x="0" y="37"/>
                </a:moveTo>
                <a:lnTo>
                  <a:pt x="107" y="37"/>
                </a:lnTo>
                <a:lnTo>
                  <a:pt x="107" y="0"/>
                </a:lnTo>
                <a:lnTo>
                  <a:pt x="0" y="0"/>
                </a:lnTo>
                <a:lnTo>
                  <a:pt x="0" y="37"/>
                </a:lnTo>
                <a:close/>
                <a:moveTo>
                  <a:pt x="75" y="21"/>
                </a:moveTo>
                <a:lnTo>
                  <a:pt x="75" y="26"/>
                </a:lnTo>
                <a:lnTo>
                  <a:pt x="69" y="26"/>
                </a:lnTo>
                <a:lnTo>
                  <a:pt x="69" y="21"/>
                </a:lnTo>
                <a:lnTo>
                  <a:pt x="38" y="21"/>
                </a:lnTo>
                <a:lnTo>
                  <a:pt x="38" y="26"/>
                </a:lnTo>
                <a:lnTo>
                  <a:pt x="32" y="26"/>
                </a:lnTo>
                <a:lnTo>
                  <a:pt x="32" y="21"/>
                </a:lnTo>
                <a:lnTo>
                  <a:pt x="32" y="16"/>
                </a:lnTo>
                <a:lnTo>
                  <a:pt x="75" y="16"/>
                </a:lnTo>
                <a:lnTo>
                  <a:pt x="75" y="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12" name="Freeform 119"/>
          <p:cNvSpPr>
            <a:spLocks noEditPoints="1"/>
          </p:cNvSpPr>
          <p:nvPr/>
        </p:nvSpPr>
        <p:spPr bwMode="auto">
          <a:xfrm>
            <a:off x="10710334" y="4318000"/>
            <a:ext cx="368300" cy="127000"/>
          </a:xfrm>
          <a:custGeom>
            <a:avLst/>
            <a:gdLst>
              <a:gd name="T0" fmla="*/ 0 w 107"/>
              <a:gd name="T1" fmla="*/ 244777054 h 37"/>
              <a:gd name="T2" fmla="*/ 709859527 w 107"/>
              <a:gd name="T3" fmla="*/ 244777054 h 37"/>
              <a:gd name="T4" fmla="*/ 709859527 w 107"/>
              <a:gd name="T5" fmla="*/ 0 h 37"/>
              <a:gd name="T6" fmla="*/ 0 w 107"/>
              <a:gd name="T7" fmla="*/ 0 h 37"/>
              <a:gd name="T8" fmla="*/ 0 w 107"/>
              <a:gd name="T9" fmla="*/ 244777054 h 37"/>
              <a:gd name="T10" fmla="*/ 497563834 w 107"/>
              <a:gd name="T11" fmla="*/ 138928561 h 37"/>
              <a:gd name="T12" fmla="*/ 497563834 w 107"/>
              <a:gd name="T13" fmla="*/ 178622068 h 37"/>
              <a:gd name="T14" fmla="*/ 457759037 w 107"/>
              <a:gd name="T15" fmla="*/ 178622068 h 37"/>
              <a:gd name="T16" fmla="*/ 457759037 w 107"/>
              <a:gd name="T17" fmla="*/ 138928561 h 37"/>
              <a:gd name="T18" fmla="*/ 252100489 w 107"/>
              <a:gd name="T19" fmla="*/ 138928561 h 37"/>
              <a:gd name="T20" fmla="*/ 252100489 w 107"/>
              <a:gd name="T21" fmla="*/ 178622068 h 37"/>
              <a:gd name="T22" fmla="*/ 212295693 w 107"/>
              <a:gd name="T23" fmla="*/ 178622068 h 37"/>
              <a:gd name="T24" fmla="*/ 212295693 w 107"/>
              <a:gd name="T25" fmla="*/ 138928561 h 37"/>
              <a:gd name="T26" fmla="*/ 212295693 w 107"/>
              <a:gd name="T27" fmla="*/ 105848493 h 37"/>
              <a:gd name="T28" fmla="*/ 497563834 w 107"/>
              <a:gd name="T29" fmla="*/ 105848493 h 37"/>
              <a:gd name="T30" fmla="*/ 497563834 w 107"/>
              <a:gd name="T31" fmla="*/ 138928561 h 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07" h="37">
                <a:moveTo>
                  <a:pt x="0" y="37"/>
                </a:moveTo>
                <a:lnTo>
                  <a:pt x="107" y="37"/>
                </a:lnTo>
                <a:lnTo>
                  <a:pt x="107" y="0"/>
                </a:lnTo>
                <a:lnTo>
                  <a:pt x="0" y="0"/>
                </a:lnTo>
                <a:lnTo>
                  <a:pt x="0" y="37"/>
                </a:lnTo>
                <a:close/>
                <a:moveTo>
                  <a:pt x="75" y="21"/>
                </a:moveTo>
                <a:lnTo>
                  <a:pt x="75" y="27"/>
                </a:lnTo>
                <a:lnTo>
                  <a:pt x="69" y="27"/>
                </a:lnTo>
                <a:lnTo>
                  <a:pt x="69" y="21"/>
                </a:lnTo>
                <a:lnTo>
                  <a:pt x="38" y="21"/>
                </a:lnTo>
                <a:lnTo>
                  <a:pt x="38" y="27"/>
                </a:lnTo>
                <a:lnTo>
                  <a:pt x="32" y="27"/>
                </a:lnTo>
                <a:lnTo>
                  <a:pt x="32" y="21"/>
                </a:lnTo>
                <a:lnTo>
                  <a:pt x="32" y="16"/>
                </a:lnTo>
                <a:lnTo>
                  <a:pt x="75" y="16"/>
                </a:lnTo>
                <a:lnTo>
                  <a:pt x="75" y="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13" name="Freeform 120"/>
          <p:cNvSpPr>
            <a:spLocks noEditPoints="1"/>
          </p:cNvSpPr>
          <p:nvPr/>
        </p:nvSpPr>
        <p:spPr bwMode="auto">
          <a:xfrm>
            <a:off x="1212852" y="4845051"/>
            <a:ext cx="436033" cy="402167"/>
          </a:xfrm>
          <a:custGeom>
            <a:avLst/>
            <a:gdLst>
              <a:gd name="T0" fmla="*/ 727911300 w 127"/>
              <a:gd name="T1" fmla="*/ 0 h 117"/>
              <a:gd name="T2" fmla="*/ 661738950 w 127"/>
              <a:gd name="T3" fmla="*/ 0 h 117"/>
              <a:gd name="T4" fmla="*/ 628652775 w 127"/>
              <a:gd name="T5" fmla="*/ 0 h 117"/>
              <a:gd name="T6" fmla="*/ 205139950 w 127"/>
              <a:gd name="T7" fmla="*/ 0 h 117"/>
              <a:gd name="T8" fmla="*/ 172051200 w 127"/>
              <a:gd name="T9" fmla="*/ 0 h 117"/>
              <a:gd name="T10" fmla="*/ 105878850 w 127"/>
              <a:gd name="T11" fmla="*/ 0 h 117"/>
              <a:gd name="T12" fmla="*/ 0 w 127"/>
              <a:gd name="T13" fmla="*/ 410746222 h 117"/>
              <a:gd name="T14" fmla="*/ 0 w 127"/>
              <a:gd name="T15" fmla="*/ 775116956 h 117"/>
              <a:gd name="T16" fmla="*/ 840407900 w 127"/>
              <a:gd name="T17" fmla="*/ 775116956 h 117"/>
              <a:gd name="T18" fmla="*/ 840407900 w 127"/>
              <a:gd name="T19" fmla="*/ 423994520 h 117"/>
              <a:gd name="T20" fmla="*/ 727911300 w 127"/>
              <a:gd name="T21" fmla="*/ 0 h 117"/>
              <a:gd name="T22" fmla="*/ 165433450 w 127"/>
              <a:gd name="T23" fmla="*/ 72874662 h 117"/>
              <a:gd name="T24" fmla="*/ 172051200 w 127"/>
              <a:gd name="T25" fmla="*/ 72874662 h 117"/>
              <a:gd name="T26" fmla="*/ 205139950 w 127"/>
              <a:gd name="T27" fmla="*/ 72874662 h 117"/>
              <a:gd name="T28" fmla="*/ 628652775 w 127"/>
              <a:gd name="T29" fmla="*/ 72874662 h 117"/>
              <a:gd name="T30" fmla="*/ 661738950 w 127"/>
              <a:gd name="T31" fmla="*/ 72874662 h 117"/>
              <a:gd name="T32" fmla="*/ 668356700 w 127"/>
              <a:gd name="T33" fmla="*/ 72874662 h 117"/>
              <a:gd name="T34" fmla="*/ 767617800 w 127"/>
              <a:gd name="T35" fmla="*/ 423994520 h 117"/>
              <a:gd name="T36" fmla="*/ 575713350 w 127"/>
              <a:gd name="T37" fmla="*/ 423994520 h 117"/>
              <a:gd name="T38" fmla="*/ 509538425 w 127"/>
              <a:gd name="T39" fmla="*/ 529993795 h 117"/>
              <a:gd name="T40" fmla="*/ 330869475 w 127"/>
              <a:gd name="T41" fmla="*/ 529993795 h 117"/>
              <a:gd name="T42" fmla="*/ 258076800 w 127"/>
              <a:gd name="T43" fmla="*/ 423994520 h 117"/>
              <a:gd name="T44" fmla="*/ 66174925 w 127"/>
              <a:gd name="T45" fmla="*/ 423994520 h 117"/>
              <a:gd name="T46" fmla="*/ 165433450 w 127"/>
              <a:gd name="T47" fmla="*/ 72874662 h 11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27" h="117">
                <a:moveTo>
                  <a:pt x="110" y="0"/>
                </a:moveTo>
                <a:lnTo>
                  <a:pt x="100" y="0"/>
                </a:lnTo>
                <a:lnTo>
                  <a:pt x="95" y="0"/>
                </a:lnTo>
                <a:lnTo>
                  <a:pt x="31" y="0"/>
                </a:lnTo>
                <a:lnTo>
                  <a:pt x="26" y="0"/>
                </a:lnTo>
                <a:lnTo>
                  <a:pt x="16" y="0"/>
                </a:lnTo>
                <a:lnTo>
                  <a:pt x="0" y="62"/>
                </a:lnTo>
                <a:lnTo>
                  <a:pt x="0" y="117"/>
                </a:lnTo>
                <a:lnTo>
                  <a:pt x="127" y="117"/>
                </a:lnTo>
                <a:lnTo>
                  <a:pt x="127" y="64"/>
                </a:lnTo>
                <a:lnTo>
                  <a:pt x="110" y="0"/>
                </a:lnTo>
                <a:close/>
                <a:moveTo>
                  <a:pt x="25" y="11"/>
                </a:moveTo>
                <a:lnTo>
                  <a:pt x="26" y="11"/>
                </a:lnTo>
                <a:lnTo>
                  <a:pt x="31" y="11"/>
                </a:lnTo>
                <a:lnTo>
                  <a:pt x="95" y="11"/>
                </a:lnTo>
                <a:lnTo>
                  <a:pt x="100" y="11"/>
                </a:lnTo>
                <a:lnTo>
                  <a:pt x="101" y="11"/>
                </a:lnTo>
                <a:lnTo>
                  <a:pt x="116" y="64"/>
                </a:lnTo>
                <a:lnTo>
                  <a:pt x="87" y="64"/>
                </a:lnTo>
                <a:lnTo>
                  <a:pt x="77" y="80"/>
                </a:lnTo>
                <a:lnTo>
                  <a:pt x="50" y="80"/>
                </a:lnTo>
                <a:lnTo>
                  <a:pt x="39" y="64"/>
                </a:lnTo>
                <a:lnTo>
                  <a:pt x="10" y="64"/>
                </a:lnTo>
                <a:lnTo>
                  <a:pt x="25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14" name="Rectangle 121"/>
          <p:cNvSpPr>
            <a:spLocks noChangeArrowheads="1"/>
          </p:cNvSpPr>
          <p:nvPr/>
        </p:nvSpPr>
        <p:spPr bwMode="auto">
          <a:xfrm>
            <a:off x="2144184" y="4986867"/>
            <a:ext cx="330200" cy="1439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15" name="Rectangle 122"/>
          <p:cNvSpPr>
            <a:spLocks noChangeArrowheads="1"/>
          </p:cNvSpPr>
          <p:nvPr/>
        </p:nvSpPr>
        <p:spPr bwMode="auto">
          <a:xfrm>
            <a:off x="2144184" y="4986867"/>
            <a:ext cx="330200" cy="1439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16" name="Rectangle 123"/>
          <p:cNvSpPr>
            <a:spLocks noChangeArrowheads="1"/>
          </p:cNvSpPr>
          <p:nvPr/>
        </p:nvSpPr>
        <p:spPr bwMode="auto">
          <a:xfrm>
            <a:off x="2144184" y="4986867"/>
            <a:ext cx="330200" cy="1439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17" name="Rectangle 124"/>
          <p:cNvSpPr>
            <a:spLocks noChangeArrowheads="1"/>
          </p:cNvSpPr>
          <p:nvPr/>
        </p:nvSpPr>
        <p:spPr bwMode="auto">
          <a:xfrm>
            <a:off x="2144184" y="4986867"/>
            <a:ext cx="330200" cy="1439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18" name="Freeform 125"/>
          <p:cNvSpPr>
            <a:spLocks noEditPoints="1"/>
          </p:cNvSpPr>
          <p:nvPr/>
        </p:nvSpPr>
        <p:spPr bwMode="auto">
          <a:xfrm>
            <a:off x="2091268" y="4931833"/>
            <a:ext cx="472017" cy="254000"/>
          </a:xfrm>
          <a:custGeom>
            <a:avLst/>
            <a:gdLst>
              <a:gd name="T0" fmla="*/ 778998799 w 156"/>
              <a:gd name="T1" fmla="*/ 123219482 h 84"/>
              <a:gd name="T2" fmla="*/ 742887203 w 156"/>
              <a:gd name="T3" fmla="*/ 123219482 h 84"/>
              <a:gd name="T4" fmla="*/ 742887203 w 156"/>
              <a:gd name="T5" fmla="*/ 30804304 h 84"/>
              <a:gd name="T6" fmla="*/ 711933759 w 156"/>
              <a:gd name="T7" fmla="*/ 0 h 84"/>
              <a:gd name="T8" fmla="*/ 30953444 w 156"/>
              <a:gd name="T9" fmla="*/ 0 h 84"/>
              <a:gd name="T10" fmla="*/ 0 w 156"/>
              <a:gd name="T11" fmla="*/ 30804304 h 84"/>
              <a:gd name="T12" fmla="*/ 0 w 156"/>
              <a:gd name="T13" fmla="*/ 400462750 h 84"/>
              <a:gd name="T14" fmla="*/ 30953444 w 156"/>
              <a:gd name="T15" fmla="*/ 431267054 h 84"/>
              <a:gd name="T16" fmla="*/ 711933759 w 156"/>
              <a:gd name="T17" fmla="*/ 431267054 h 84"/>
              <a:gd name="T18" fmla="*/ 742887203 w 156"/>
              <a:gd name="T19" fmla="*/ 400462750 h 84"/>
              <a:gd name="T20" fmla="*/ 742887203 w 156"/>
              <a:gd name="T21" fmla="*/ 308047571 h 84"/>
              <a:gd name="T22" fmla="*/ 778998799 w 156"/>
              <a:gd name="T23" fmla="*/ 308047571 h 84"/>
              <a:gd name="T24" fmla="*/ 804794092 w 156"/>
              <a:gd name="T25" fmla="*/ 282377696 h 84"/>
              <a:gd name="T26" fmla="*/ 804794092 w 156"/>
              <a:gd name="T27" fmla="*/ 148889357 h 84"/>
              <a:gd name="T28" fmla="*/ 778998799 w 156"/>
              <a:gd name="T29" fmla="*/ 123219482 h 84"/>
              <a:gd name="T30" fmla="*/ 680980315 w 156"/>
              <a:gd name="T31" fmla="*/ 369658446 h 84"/>
              <a:gd name="T32" fmla="*/ 61906889 w 156"/>
              <a:gd name="T33" fmla="*/ 369658446 h 84"/>
              <a:gd name="T34" fmla="*/ 61906889 w 156"/>
              <a:gd name="T35" fmla="*/ 61608607 h 84"/>
              <a:gd name="T36" fmla="*/ 680980315 w 156"/>
              <a:gd name="T37" fmla="*/ 61608607 h 84"/>
              <a:gd name="T38" fmla="*/ 680980315 w 156"/>
              <a:gd name="T39" fmla="*/ 369658446 h 8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56" h="84">
                <a:moveTo>
                  <a:pt x="151" y="24"/>
                </a:moveTo>
                <a:cubicBezTo>
                  <a:pt x="144" y="24"/>
                  <a:pt x="144" y="24"/>
                  <a:pt x="144" y="24"/>
                </a:cubicBezTo>
                <a:cubicBezTo>
                  <a:pt x="144" y="6"/>
                  <a:pt x="144" y="6"/>
                  <a:pt x="144" y="6"/>
                </a:cubicBezTo>
                <a:cubicBezTo>
                  <a:pt x="144" y="3"/>
                  <a:pt x="141" y="0"/>
                  <a:pt x="138" y="0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81"/>
                  <a:pt x="3" y="84"/>
                  <a:pt x="6" y="84"/>
                </a:cubicBezTo>
                <a:cubicBezTo>
                  <a:pt x="138" y="84"/>
                  <a:pt x="138" y="84"/>
                  <a:pt x="138" y="84"/>
                </a:cubicBezTo>
                <a:cubicBezTo>
                  <a:pt x="141" y="84"/>
                  <a:pt x="144" y="81"/>
                  <a:pt x="144" y="78"/>
                </a:cubicBezTo>
                <a:cubicBezTo>
                  <a:pt x="144" y="60"/>
                  <a:pt x="144" y="60"/>
                  <a:pt x="144" y="60"/>
                </a:cubicBezTo>
                <a:cubicBezTo>
                  <a:pt x="151" y="60"/>
                  <a:pt x="151" y="60"/>
                  <a:pt x="151" y="60"/>
                </a:cubicBezTo>
                <a:cubicBezTo>
                  <a:pt x="154" y="60"/>
                  <a:pt x="156" y="58"/>
                  <a:pt x="156" y="55"/>
                </a:cubicBezTo>
                <a:cubicBezTo>
                  <a:pt x="156" y="29"/>
                  <a:pt x="156" y="29"/>
                  <a:pt x="156" y="29"/>
                </a:cubicBezTo>
                <a:cubicBezTo>
                  <a:pt x="156" y="26"/>
                  <a:pt x="154" y="24"/>
                  <a:pt x="151" y="24"/>
                </a:cubicBezTo>
                <a:moveTo>
                  <a:pt x="132" y="72"/>
                </a:moveTo>
                <a:cubicBezTo>
                  <a:pt x="12" y="72"/>
                  <a:pt x="12" y="72"/>
                  <a:pt x="12" y="72"/>
                </a:cubicBezTo>
                <a:cubicBezTo>
                  <a:pt x="12" y="12"/>
                  <a:pt x="12" y="12"/>
                  <a:pt x="12" y="12"/>
                </a:cubicBezTo>
                <a:cubicBezTo>
                  <a:pt x="132" y="12"/>
                  <a:pt x="132" y="12"/>
                  <a:pt x="132" y="12"/>
                </a:cubicBezTo>
                <a:lnTo>
                  <a:pt x="132" y="7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19" name="Freeform 126"/>
          <p:cNvSpPr>
            <a:spLocks noEditPoints="1"/>
          </p:cNvSpPr>
          <p:nvPr/>
        </p:nvSpPr>
        <p:spPr bwMode="auto">
          <a:xfrm>
            <a:off x="3803651" y="4876800"/>
            <a:ext cx="497416" cy="364067"/>
          </a:xfrm>
          <a:custGeom>
            <a:avLst/>
            <a:gdLst>
              <a:gd name="T0" fmla="*/ 640904593 w 164"/>
              <a:gd name="T1" fmla="*/ 0 h 120"/>
              <a:gd name="T2" fmla="*/ 211912865 w 164"/>
              <a:gd name="T3" fmla="*/ 0 h 120"/>
              <a:gd name="T4" fmla="*/ 211912865 w 164"/>
              <a:gd name="T5" fmla="*/ 619821225 h 120"/>
              <a:gd name="T6" fmla="*/ 640904593 w 164"/>
              <a:gd name="T7" fmla="*/ 619821225 h 120"/>
              <a:gd name="T8" fmla="*/ 640904593 w 164"/>
              <a:gd name="T9" fmla="*/ 0 h 120"/>
              <a:gd name="T10" fmla="*/ 330789981 w 164"/>
              <a:gd name="T11" fmla="*/ 309911750 h 120"/>
              <a:gd name="T12" fmla="*/ 299778065 w 164"/>
              <a:gd name="T13" fmla="*/ 340900650 h 120"/>
              <a:gd name="T14" fmla="*/ 268766149 w 164"/>
              <a:gd name="T15" fmla="*/ 309911750 h 120"/>
              <a:gd name="T16" fmla="*/ 268766149 w 164"/>
              <a:gd name="T17" fmla="*/ 185947050 h 120"/>
              <a:gd name="T18" fmla="*/ 299778065 w 164"/>
              <a:gd name="T19" fmla="*/ 154955875 h 120"/>
              <a:gd name="T20" fmla="*/ 330789981 w 164"/>
              <a:gd name="T21" fmla="*/ 185947050 h 120"/>
              <a:gd name="T22" fmla="*/ 330789981 w 164"/>
              <a:gd name="T23" fmla="*/ 309911750 h 120"/>
              <a:gd name="T24" fmla="*/ 485847287 w 164"/>
              <a:gd name="T25" fmla="*/ 526847700 h 120"/>
              <a:gd name="T26" fmla="*/ 361799622 w 164"/>
              <a:gd name="T27" fmla="*/ 526847700 h 120"/>
              <a:gd name="T28" fmla="*/ 361799622 w 164"/>
              <a:gd name="T29" fmla="*/ 495856525 h 120"/>
              <a:gd name="T30" fmla="*/ 423823454 w 164"/>
              <a:gd name="T31" fmla="*/ 433874175 h 120"/>
              <a:gd name="T32" fmla="*/ 485847287 w 164"/>
              <a:gd name="T33" fmla="*/ 495856525 h 120"/>
              <a:gd name="T34" fmla="*/ 485847287 w 164"/>
              <a:gd name="T35" fmla="*/ 526847700 h 120"/>
              <a:gd name="T36" fmla="*/ 578880760 w 164"/>
              <a:gd name="T37" fmla="*/ 309911750 h 120"/>
              <a:gd name="T38" fmla="*/ 547868844 w 164"/>
              <a:gd name="T39" fmla="*/ 340900650 h 120"/>
              <a:gd name="T40" fmla="*/ 516856928 w 164"/>
              <a:gd name="T41" fmla="*/ 309911750 h 120"/>
              <a:gd name="T42" fmla="*/ 516856928 w 164"/>
              <a:gd name="T43" fmla="*/ 185947050 h 120"/>
              <a:gd name="T44" fmla="*/ 547868844 w 164"/>
              <a:gd name="T45" fmla="*/ 154955875 h 120"/>
              <a:gd name="T46" fmla="*/ 578880760 w 164"/>
              <a:gd name="T47" fmla="*/ 185947050 h 120"/>
              <a:gd name="T48" fmla="*/ 578880760 w 164"/>
              <a:gd name="T49" fmla="*/ 309911750 h 12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64" h="120">
                <a:moveTo>
                  <a:pt x="124" y="0"/>
                </a:moveTo>
                <a:cubicBezTo>
                  <a:pt x="41" y="0"/>
                  <a:pt x="41" y="0"/>
                  <a:pt x="41" y="0"/>
                </a:cubicBezTo>
                <a:cubicBezTo>
                  <a:pt x="0" y="0"/>
                  <a:pt x="0" y="120"/>
                  <a:pt x="41" y="120"/>
                </a:cubicBezTo>
                <a:cubicBezTo>
                  <a:pt x="124" y="120"/>
                  <a:pt x="124" y="120"/>
                  <a:pt x="124" y="120"/>
                </a:cubicBezTo>
                <a:cubicBezTo>
                  <a:pt x="164" y="120"/>
                  <a:pt x="164" y="0"/>
                  <a:pt x="124" y="0"/>
                </a:cubicBezTo>
                <a:moveTo>
                  <a:pt x="64" y="60"/>
                </a:moveTo>
                <a:cubicBezTo>
                  <a:pt x="64" y="63"/>
                  <a:pt x="61" y="66"/>
                  <a:pt x="58" y="66"/>
                </a:cubicBezTo>
                <a:cubicBezTo>
                  <a:pt x="55" y="66"/>
                  <a:pt x="52" y="63"/>
                  <a:pt x="52" y="60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3"/>
                  <a:pt x="55" y="30"/>
                  <a:pt x="58" y="30"/>
                </a:cubicBezTo>
                <a:cubicBezTo>
                  <a:pt x="61" y="30"/>
                  <a:pt x="64" y="33"/>
                  <a:pt x="64" y="36"/>
                </a:cubicBezTo>
                <a:lnTo>
                  <a:pt x="64" y="60"/>
                </a:lnTo>
                <a:close/>
                <a:moveTo>
                  <a:pt x="94" y="102"/>
                </a:moveTo>
                <a:cubicBezTo>
                  <a:pt x="70" y="102"/>
                  <a:pt x="70" y="102"/>
                  <a:pt x="70" y="102"/>
                </a:cubicBezTo>
                <a:cubicBezTo>
                  <a:pt x="70" y="96"/>
                  <a:pt x="70" y="96"/>
                  <a:pt x="70" y="96"/>
                </a:cubicBezTo>
                <a:cubicBezTo>
                  <a:pt x="70" y="89"/>
                  <a:pt x="75" y="84"/>
                  <a:pt x="82" y="84"/>
                </a:cubicBezTo>
                <a:cubicBezTo>
                  <a:pt x="89" y="84"/>
                  <a:pt x="94" y="89"/>
                  <a:pt x="94" y="96"/>
                </a:cubicBezTo>
                <a:lnTo>
                  <a:pt x="94" y="102"/>
                </a:lnTo>
                <a:close/>
                <a:moveTo>
                  <a:pt x="112" y="60"/>
                </a:moveTo>
                <a:cubicBezTo>
                  <a:pt x="112" y="63"/>
                  <a:pt x="109" y="66"/>
                  <a:pt x="106" y="66"/>
                </a:cubicBezTo>
                <a:cubicBezTo>
                  <a:pt x="103" y="66"/>
                  <a:pt x="100" y="63"/>
                  <a:pt x="100" y="60"/>
                </a:cubicBezTo>
                <a:cubicBezTo>
                  <a:pt x="100" y="36"/>
                  <a:pt x="100" y="36"/>
                  <a:pt x="100" y="36"/>
                </a:cubicBezTo>
                <a:cubicBezTo>
                  <a:pt x="100" y="33"/>
                  <a:pt x="103" y="30"/>
                  <a:pt x="106" y="30"/>
                </a:cubicBezTo>
                <a:cubicBezTo>
                  <a:pt x="109" y="30"/>
                  <a:pt x="112" y="33"/>
                  <a:pt x="112" y="36"/>
                </a:cubicBezTo>
                <a:lnTo>
                  <a:pt x="112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20" name="Freeform 127"/>
          <p:cNvSpPr>
            <a:spLocks/>
          </p:cNvSpPr>
          <p:nvPr/>
        </p:nvSpPr>
        <p:spPr bwMode="auto">
          <a:xfrm>
            <a:off x="4724401" y="4836585"/>
            <a:ext cx="325967" cy="433916"/>
          </a:xfrm>
          <a:custGeom>
            <a:avLst/>
            <a:gdLst>
              <a:gd name="T0" fmla="*/ 462932713 w 95"/>
              <a:gd name="T1" fmla="*/ 500468294 h 127"/>
              <a:gd name="T2" fmla="*/ 595201408 w 95"/>
              <a:gd name="T3" fmla="*/ 500468294 h 127"/>
              <a:gd name="T4" fmla="*/ 436480518 w 95"/>
              <a:gd name="T5" fmla="*/ 309500837 h 127"/>
              <a:gd name="T6" fmla="*/ 522453369 w 95"/>
              <a:gd name="T7" fmla="*/ 309500837 h 127"/>
              <a:gd name="T8" fmla="*/ 370346171 w 95"/>
              <a:gd name="T9" fmla="*/ 138287663 h 127"/>
              <a:gd name="T10" fmla="*/ 423253134 w 95"/>
              <a:gd name="T11" fmla="*/ 138287663 h 127"/>
              <a:gd name="T12" fmla="*/ 317439207 w 95"/>
              <a:gd name="T13" fmla="*/ 0 h 127"/>
              <a:gd name="T14" fmla="*/ 211627854 w 95"/>
              <a:gd name="T15" fmla="*/ 138287663 h 127"/>
              <a:gd name="T16" fmla="*/ 264534817 w 95"/>
              <a:gd name="T17" fmla="*/ 138287663 h 127"/>
              <a:gd name="T18" fmla="*/ 105813927 w 95"/>
              <a:gd name="T19" fmla="*/ 309500837 h 127"/>
              <a:gd name="T20" fmla="*/ 191786777 w 95"/>
              <a:gd name="T21" fmla="*/ 309500837 h 127"/>
              <a:gd name="T22" fmla="*/ 33065887 w 95"/>
              <a:gd name="T23" fmla="*/ 500468294 h 127"/>
              <a:gd name="T24" fmla="*/ 165334582 w 95"/>
              <a:gd name="T25" fmla="*/ 500468294 h 127"/>
              <a:gd name="T26" fmla="*/ 0 w 95"/>
              <a:gd name="T27" fmla="*/ 711192595 h 127"/>
              <a:gd name="T28" fmla="*/ 244693741 w 95"/>
              <a:gd name="T29" fmla="*/ 711192595 h 127"/>
              <a:gd name="T30" fmla="*/ 244693741 w 95"/>
              <a:gd name="T31" fmla="*/ 836309028 h 127"/>
              <a:gd name="T32" fmla="*/ 383573555 w 95"/>
              <a:gd name="T33" fmla="*/ 836309028 h 127"/>
              <a:gd name="T34" fmla="*/ 383573555 w 95"/>
              <a:gd name="T35" fmla="*/ 711192595 h 127"/>
              <a:gd name="T36" fmla="*/ 628267296 w 95"/>
              <a:gd name="T37" fmla="*/ 711192595 h 127"/>
              <a:gd name="T38" fmla="*/ 462932713 w 95"/>
              <a:gd name="T39" fmla="*/ 500468294 h 12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95" h="127">
                <a:moveTo>
                  <a:pt x="70" y="76"/>
                </a:moveTo>
                <a:lnTo>
                  <a:pt x="90" y="76"/>
                </a:lnTo>
                <a:lnTo>
                  <a:pt x="66" y="47"/>
                </a:lnTo>
                <a:lnTo>
                  <a:pt x="79" y="47"/>
                </a:lnTo>
                <a:lnTo>
                  <a:pt x="56" y="21"/>
                </a:lnTo>
                <a:lnTo>
                  <a:pt x="64" y="21"/>
                </a:lnTo>
                <a:lnTo>
                  <a:pt x="48" y="0"/>
                </a:lnTo>
                <a:lnTo>
                  <a:pt x="32" y="21"/>
                </a:lnTo>
                <a:lnTo>
                  <a:pt x="40" y="21"/>
                </a:lnTo>
                <a:lnTo>
                  <a:pt x="16" y="47"/>
                </a:lnTo>
                <a:lnTo>
                  <a:pt x="29" y="47"/>
                </a:lnTo>
                <a:lnTo>
                  <a:pt x="5" y="76"/>
                </a:lnTo>
                <a:lnTo>
                  <a:pt x="25" y="76"/>
                </a:lnTo>
                <a:lnTo>
                  <a:pt x="0" y="108"/>
                </a:lnTo>
                <a:lnTo>
                  <a:pt x="37" y="108"/>
                </a:lnTo>
                <a:lnTo>
                  <a:pt x="37" y="127"/>
                </a:lnTo>
                <a:lnTo>
                  <a:pt x="58" y="127"/>
                </a:lnTo>
                <a:lnTo>
                  <a:pt x="58" y="108"/>
                </a:lnTo>
                <a:lnTo>
                  <a:pt x="95" y="108"/>
                </a:lnTo>
                <a:lnTo>
                  <a:pt x="70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21" name="Freeform 128"/>
          <p:cNvSpPr>
            <a:spLocks/>
          </p:cNvSpPr>
          <p:nvPr/>
        </p:nvSpPr>
        <p:spPr bwMode="auto">
          <a:xfrm>
            <a:off x="5507567" y="4811184"/>
            <a:ext cx="438151" cy="474133"/>
          </a:xfrm>
          <a:custGeom>
            <a:avLst/>
            <a:gdLst>
              <a:gd name="T0" fmla="*/ 406606101 w 144"/>
              <a:gd name="T1" fmla="*/ 62182131 h 156"/>
              <a:gd name="T2" fmla="*/ 406606101 w 144"/>
              <a:gd name="T3" fmla="*/ 31092205 h 156"/>
              <a:gd name="T4" fmla="*/ 375330815 w 144"/>
              <a:gd name="T5" fmla="*/ 0 h 156"/>
              <a:gd name="T6" fmla="*/ 344053247 w 144"/>
              <a:gd name="T7" fmla="*/ 31092205 h 156"/>
              <a:gd name="T8" fmla="*/ 344053247 w 144"/>
              <a:gd name="T9" fmla="*/ 62182131 h 156"/>
              <a:gd name="T10" fmla="*/ 0 w 144"/>
              <a:gd name="T11" fmla="*/ 435281754 h 156"/>
              <a:gd name="T12" fmla="*/ 5212167 w 144"/>
              <a:gd name="T13" fmla="*/ 435281754 h 156"/>
              <a:gd name="T14" fmla="*/ 125110272 w 144"/>
              <a:gd name="T15" fmla="*/ 342007418 h 156"/>
              <a:gd name="T16" fmla="*/ 245006094 w 144"/>
              <a:gd name="T17" fmla="*/ 435281754 h 156"/>
              <a:gd name="T18" fmla="*/ 255432711 w 144"/>
              <a:gd name="T19" fmla="*/ 435281754 h 156"/>
              <a:gd name="T20" fmla="*/ 344053247 w 144"/>
              <a:gd name="T21" fmla="*/ 347188692 h 156"/>
              <a:gd name="T22" fmla="*/ 344053247 w 144"/>
              <a:gd name="T23" fmla="*/ 684014836 h 156"/>
              <a:gd name="T24" fmla="*/ 281498111 w 144"/>
              <a:gd name="T25" fmla="*/ 746199246 h 156"/>
              <a:gd name="T26" fmla="*/ 218942975 w 144"/>
              <a:gd name="T27" fmla="*/ 684014836 h 156"/>
              <a:gd name="T28" fmla="*/ 187665407 w 144"/>
              <a:gd name="T29" fmla="*/ 652922631 h 156"/>
              <a:gd name="T30" fmla="*/ 156387840 w 144"/>
              <a:gd name="T31" fmla="*/ 684014836 h 156"/>
              <a:gd name="T32" fmla="*/ 281498111 w 144"/>
              <a:gd name="T33" fmla="*/ 808381377 h 156"/>
              <a:gd name="T34" fmla="*/ 406606101 w 144"/>
              <a:gd name="T35" fmla="*/ 684014836 h 156"/>
              <a:gd name="T36" fmla="*/ 406606101 w 144"/>
              <a:gd name="T37" fmla="*/ 347188692 h 156"/>
              <a:gd name="T38" fmla="*/ 495226637 w 144"/>
              <a:gd name="T39" fmla="*/ 435281754 h 156"/>
              <a:gd name="T40" fmla="*/ 505653254 w 144"/>
              <a:gd name="T41" fmla="*/ 435281754 h 156"/>
              <a:gd name="T42" fmla="*/ 625549076 w 144"/>
              <a:gd name="T43" fmla="*/ 342007418 h 156"/>
              <a:gd name="T44" fmla="*/ 745447180 w 144"/>
              <a:gd name="T45" fmla="*/ 435281754 h 156"/>
              <a:gd name="T46" fmla="*/ 750659348 w 144"/>
              <a:gd name="T47" fmla="*/ 435281754 h 156"/>
              <a:gd name="T48" fmla="*/ 406606101 w 144"/>
              <a:gd name="T49" fmla="*/ 62182131 h 15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44" h="156">
                <a:moveTo>
                  <a:pt x="78" y="12"/>
                </a:moveTo>
                <a:cubicBezTo>
                  <a:pt x="78" y="6"/>
                  <a:pt x="78" y="6"/>
                  <a:pt x="78" y="6"/>
                </a:cubicBezTo>
                <a:cubicBezTo>
                  <a:pt x="78" y="3"/>
                  <a:pt x="75" y="0"/>
                  <a:pt x="72" y="0"/>
                </a:cubicBezTo>
                <a:cubicBezTo>
                  <a:pt x="69" y="0"/>
                  <a:pt x="66" y="3"/>
                  <a:pt x="66" y="6"/>
                </a:cubicBezTo>
                <a:cubicBezTo>
                  <a:pt x="66" y="12"/>
                  <a:pt x="66" y="12"/>
                  <a:pt x="66" y="12"/>
                </a:cubicBezTo>
                <a:cubicBezTo>
                  <a:pt x="29" y="15"/>
                  <a:pt x="0" y="46"/>
                  <a:pt x="0" y="84"/>
                </a:cubicBezTo>
                <a:cubicBezTo>
                  <a:pt x="1" y="84"/>
                  <a:pt x="1" y="84"/>
                  <a:pt x="1" y="84"/>
                </a:cubicBezTo>
                <a:cubicBezTo>
                  <a:pt x="4" y="74"/>
                  <a:pt x="13" y="66"/>
                  <a:pt x="24" y="66"/>
                </a:cubicBezTo>
                <a:cubicBezTo>
                  <a:pt x="35" y="66"/>
                  <a:pt x="44" y="74"/>
                  <a:pt x="47" y="84"/>
                </a:cubicBezTo>
                <a:cubicBezTo>
                  <a:pt x="49" y="84"/>
                  <a:pt x="49" y="84"/>
                  <a:pt x="49" y="84"/>
                </a:cubicBezTo>
                <a:cubicBezTo>
                  <a:pt x="51" y="76"/>
                  <a:pt x="58" y="69"/>
                  <a:pt x="66" y="67"/>
                </a:cubicBezTo>
                <a:cubicBezTo>
                  <a:pt x="66" y="132"/>
                  <a:pt x="66" y="132"/>
                  <a:pt x="66" y="132"/>
                </a:cubicBezTo>
                <a:cubicBezTo>
                  <a:pt x="66" y="134"/>
                  <a:pt x="65" y="144"/>
                  <a:pt x="54" y="144"/>
                </a:cubicBezTo>
                <a:cubicBezTo>
                  <a:pt x="43" y="144"/>
                  <a:pt x="42" y="135"/>
                  <a:pt x="42" y="132"/>
                </a:cubicBezTo>
                <a:cubicBezTo>
                  <a:pt x="42" y="129"/>
                  <a:pt x="39" y="126"/>
                  <a:pt x="36" y="126"/>
                </a:cubicBezTo>
                <a:cubicBezTo>
                  <a:pt x="33" y="126"/>
                  <a:pt x="30" y="129"/>
                  <a:pt x="30" y="132"/>
                </a:cubicBezTo>
                <a:cubicBezTo>
                  <a:pt x="30" y="142"/>
                  <a:pt x="36" y="156"/>
                  <a:pt x="54" y="156"/>
                </a:cubicBezTo>
                <a:cubicBezTo>
                  <a:pt x="72" y="156"/>
                  <a:pt x="78" y="142"/>
                  <a:pt x="78" y="132"/>
                </a:cubicBezTo>
                <a:cubicBezTo>
                  <a:pt x="78" y="67"/>
                  <a:pt x="78" y="67"/>
                  <a:pt x="78" y="67"/>
                </a:cubicBezTo>
                <a:cubicBezTo>
                  <a:pt x="86" y="69"/>
                  <a:pt x="93" y="76"/>
                  <a:pt x="95" y="84"/>
                </a:cubicBezTo>
                <a:cubicBezTo>
                  <a:pt x="97" y="84"/>
                  <a:pt x="97" y="84"/>
                  <a:pt x="97" y="84"/>
                </a:cubicBezTo>
                <a:cubicBezTo>
                  <a:pt x="100" y="74"/>
                  <a:pt x="109" y="66"/>
                  <a:pt x="120" y="66"/>
                </a:cubicBezTo>
                <a:cubicBezTo>
                  <a:pt x="131" y="66"/>
                  <a:pt x="140" y="74"/>
                  <a:pt x="143" y="84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44" y="46"/>
                  <a:pt x="115" y="15"/>
                  <a:pt x="78" y="1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22" name="Oval 129"/>
          <p:cNvSpPr>
            <a:spLocks noChangeArrowheads="1"/>
          </p:cNvSpPr>
          <p:nvPr/>
        </p:nvSpPr>
        <p:spPr bwMode="auto">
          <a:xfrm>
            <a:off x="8166101" y="5164667"/>
            <a:ext cx="71967" cy="719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23" name="Oval 130"/>
          <p:cNvSpPr>
            <a:spLocks noChangeArrowheads="1"/>
          </p:cNvSpPr>
          <p:nvPr/>
        </p:nvSpPr>
        <p:spPr bwMode="auto">
          <a:xfrm>
            <a:off x="8365067" y="5164667"/>
            <a:ext cx="71967" cy="719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24" name="Freeform 131"/>
          <p:cNvSpPr>
            <a:spLocks noEditPoints="1"/>
          </p:cNvSpPr>
          <p:nvPr/>
        </p:nvSpPr>
        <p:spPr bwMode="auto">
          <a:xfrm>
            <a:off x="8017934" y="4891618"/>
            <a:ext cx="510117" cy="239183"/>
          </a:xfrm>
          <a:custGeom>
            <a:avLst/>
            <a:gdLst>
              <a:gd name="T0" fmla="*/ 46714450 w 168"/>
              <a:gd name="T1" fmla="*/ 0 h 78"/>
              <a:gd name="T2" fmla="*/ 72666670 w 168"/>
              <a:gd name="T3" fmla="*/ 95470681 h 78"/>
              <a:gd name="T4" fmla="*/ 872002312 w 168"/>
              <a:gd name="T5" fmla="*/ 95470681 h 78"/>
              <a:gd name="T6" fmla="*/ 202430044 w 168"/>
              <a:gd name="T7" fmla="*/ 159118569 h 78"/>
              <a:gd name="T8" fmla="*/ 218000009 w 168"/>
              <a:gd name="T9" fmla="*/ 175031116 h 78"/>
              <a:gd name="T10" fmla="*/ 560573403 w 168"/>
              <a:gd name="T11" fmla="*/ 238676703 h 78"/>
              <a:gd name="T12" fmla="*/ 529428918 w 168"/>
              <a:gd name="T13" fmla="*/ 143206022 h 78"/>
              <a:gd name="T14" fmla="*/ 513858953 w 168"/>
              <a:gd name="T15" fmla="*/ 159118569 h 78"/>
              <a:gd name="T16" fmla="*/ 513858953 w 168"/>
              <a:gd name="T17" fmla="*/ 222766456 h 78"/>
              <a:gd name="T18" fmla="*/ 498286710 w 168"/>
              <a:gd name="T19" fmla="*/ 206853910 h 78"/>
              <a:gd name="T20" fmla="*/ 404857810 w 168"/>
              <a:gd name="T21" fmla="*/ 175031116 h 78"/>
              <a:gd name="T22" fmla="*/ 342573394 w 168"/>
              <a:gd name="T23" fmla="*/ 143206022 h 78"/>
              <a:gd name="T24" fmla="*/ 327001152 w 168"/>
              <a:gd name="T25" fmla="*/ 159118569 h 78"/>
              <a:gd name="T26" fmla="*/ 295858944 w 168"/>
              <a:gd name="T27" fmla="*/ 159118569 h 78"/>
              <a:gd name="T28" fmla="*/ 280286702 w 168"/>
              <a:gd name="T29" fmla="*/ 143206022 h 78"/>
              <a:gd name="T30" fmla="*/ 249144494 w 168"/>
              <a:gd name="T31" fmla="*/ 206853910 h 78"/>
              <a:gd name="T32" fmla="*/ 280286702 w 168"/>
              <a:gd name="T33" fmla="*/ 302324591 h 78"/>
              <a:gd name="T34" fmla="*/ 295858944 w 168"/>
              <a:gd name="T35" fmla="*/ 286412044 h 78"/>
              <a:gd name="T36" fmla="*/ 327001152 w 168"/>
              <a:gd name="T37" fmla="*/ 222766456 h 78"/>
              <a:gd name="T38" fmla="*/ 311428909 w 168"/>
              <a:gd name="T39" fmla="*/ 206853910 h 78"/>
              <a:gd name="T40" fmla="*/ 311428909 w 168"/>
              <a:gd name="T41" fmla="*/ 334149685 h 78"/>
              <a:gd name="T42" fmla="*/ 342573394 w 168"/>
              <a:gd name="T43" fmla="*/ 302324591 h 78"/>
              <a:gd name="T44" fmla="*/ 358143360 w 168"/>
              <a:gd name="T45" fmla="*/ 286412044 h 78"/>
              <a:gd name="T46" fmla="*/ 389287845 w 168"/>
              <a:gd name="T47" fmla="*/ 222766456 h 78"/>
              <a:gd name="T48" fmla="*/ 373715602 w 168"/>
              <a:gd name="T49" fmla="*/ 206853910 h 78"/>
              <a:gd name="T50" fmla="*/ 373715602 w 168"/>
              <a:gd name="T51" fmla="*/ 334149685 h 78"/>
              <a:gd name="T52" fmla="*/ 404857810 w 168"/>
              <a:gd name="T53" fmla="*/ 302324591 h 78"/>
              <a:gd name="T54" fmla="*/ 420430052 w 168"/>
              <a:gd name="T55" fmla="*/ 286412044 h 78"/>
              <a:gd name="T56" fmla="*/ 451572260 w 168"/>
              <a:gd name="T57" fmla="*/ 222766456 h 78"/>
              <a:gd name="T58" fmla="*/ 436002295 w 168"/>
              <a:gd name="T59" fmla="*/ 206853910 h 78"/>
              <a:gd name="T60" fmla="*/ 436002295 w 168"/>
              <a:gd name="T61" fmla="*/ 334149685 h 78"/>
              <a:gd name="T62" fmla="*/ 467144503 w 168"/>
              <a:gd name="T63" fmla="*/ 302324591 h 78"/>
              <a:gd name="T64" fmla="*/ 482714468 w 168"/>
              <a:gd name="T65" fmla="*/ 286412044 h 78"/>
              <a:gd name="T66" fmla="*/ 451572260 w 168"/>
              <a:gd name="T67" fmla="*/ 159118569 h 78"/>
              <a:gd name="T68" fmla="*/ 467144503 w 168"/>
              <a:gd name="T69" fmla="*/ 175031116 h 78"/>
              <a:gd name="T70" fmla="*/ 498286710 w 168"/>
              <a:gd name="T71" fmla="*/ 334149685 h 78"/>
              <a:gd name="T72" fmla="*/ 529428918 w 168"/>
              <a:gd name="T73" fmla="*/ 302324591 h 78"/>
              <a:gd name="T74" fmla="*/ 545001161 w 168"/>
              <a:gd name="T75" fmla="*/ 286412044 h 78"/>
              <a:gd name="T76" fmla="*/ 545001161 w 168"/>
              <a:gd name="T77" fmla="*/ 350059932 h 78"/>
              <a:gd name="T78" fmla="*/ 560573403 w 168"/>
              <a:gd name="T79" fmla="*/ 365972478 h 78"/>
              <a:gd name="T80" fmla="*/ 591715611 w 168"/>
              <a:gd name="T81" fmla="*/ 270501797 h 78"/>
              <a:gd name="T82" fmla="*/ 591715611 w 168"/>
              <a:gd name="T83" fmla="*/ 175031116 h 78"/>
              <a:gd name="T84" fmla="*/ 607287853 w 168"/>
              <a:gd name="T85" fmla="*/ 159118569 h 78"/>
              <a:gd name="T86" fmla="*/ 638430061 w 168"/>
              <a:gd name="T87" fmla="*/ 222766456 h 78"/>
              <a:gd name="T88" fmla="*/ 622857819 w 168"/>
              <a:gd name="T89" fmla="*/ 206853910 h 78"/>
              <a:gd name="T90" fmla="*/ 622857819 w 168"/>
              <a:gd name="T91" fmla="*/ 334149685 h 78"/>
              <a:gd name="T92" fmla="*/ 654002304 w 168"/>
              <a:gd name="T93" fmla="*/ 302324591 h 78"/>
              <a:gd name="T94" fmla="*/ 669572269 w 168"/>
              <a:gd name="T95" fmla="*/ 286412044 h 78"/>
              <a:gd name="T96" fmla="*/ 638430061 w 168"/>
              <a:gd name="T97" fmla="*/ 159118569 h 78"/>
              <a:gd name="T98" fmla="*/ 654002304 w 168"/>
              <a:gd name="T99" fmla="*/ 175031116 h 78"/>
              <a:gd name="T100" fmla="*/ 685144511 w 168"/>
              <a:gd name="T101" fmla="*/ 334149685 h 78"/>
              <a:gd name="T102" fmla="*/ 685144511 w 168"/>
              <a:gd name="T103" fmla="*/ 238676703 h 78"/>
              <a:gd name="T104" fmla="*/ 700716754 w 168"/>
              <a:gd name="T105" fmla="*/ 222766456 h 78"/>
              <a:gd name="T106" fmla="*/ 700716754 w 168"/>
              <a:gd name="T107" fmla="*/ 286412044 h 78"/>
              <a:gd name="T108" fmla="*/ 716286719 w 168"/>
              <a:gd name="T109" fmla="*/ 302324591 h 78"/>
              <a:gd name="T110" fmla="*/ 716286719 w 168"/>
              <a:gd name="T111" fmla="*/ 143206022 h 78"/>
              <a:gd name="T112" fmla="*/ 747431204 w 168"/>
              <a:gd name="T113" fmla="*/ 238676703 h 78"/>
              <a:gd name="T114" fmla="*/ 763001169 w 168"/>
              <a:gd name="T115" fmla="*/ 222766456 h 78"/>
              <a:gd name="T116" fmla="*/ 763001169 w 168"/>
              <a:gd name="T117" fmla="*/ 159118569 h 78"/>
              <a:gd name="T118" fmla="*/ 778573412 w 168"/>
              <a:gd name="T119" fmla="*/ 175031116 h 7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68" h="78">
                <a:moveTo>
                  <a:pt x="33" y="18"/>
                </a:moveTo>
                <a:cubicBezTo>
                  <a:pt x="21" y="0"/>
                  <a:pt x="21" y="0"/>
                  <a:pt x="21" y="0"/>
                </a:cubicBez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cubicBezTo>
                  <a:pt x="14" y="18"/>
                  <a:pt x="14" y="18"/>
                  <a:pt x="14" y="18"/>
                </a:cubicBezTo>
                <a:cubicBezTo>
                  <a:pt x="45" y="78"/>
                  <a:pt x="45" y="78"/>
                  <a:pt x="45" y="78"/>
                </a:cubicBezTo>
                <a:cubicBezTo>
                  <a:pt x="148" y="78"/>
                  <a:pt x="148" y="78"/>
                  <a:pt x="148" y="78"/>
                </a:cubicBezTo>
                <a:cubicBezTo>
                  <a:pt x="168" y="18"/>
                  <a:pt x="168" y="18"/>
                  <a:pt x="168" y="18"/>
                </a:cubicBezTo>
                <a:lnTo>
                  <a:pt x="33" y="18"/>
                </a:lnTo>
                <a:close/>
                <a:moveTo>
                  <a:pt x="42" y="33"/>
                </a:moveTo>
                <a:cubicBezTo>
                  <a:pt x="40" y="33"/>
                  <a:pt x="39" y="32"/>
                  <a:pt x="39" y="30"/>
                </a:cubicBezTo>
                <a:cubicBezTo>
                  <a:pt x="39" y="28"/>
                  <a:pt x="40" y="27"/>
                  <a:pt x="42" y="27"/>
                </a:cubicBezTo>
                <a:cubicBezTo>
                  <a:pt x="44" y="27"/>
                  <a:pt x="45" y="28"/>
                  <a:pt x="45" y="30"/>
                </a:cubicBezTo>
                <a:cubicBezTo>
                  <a:pt x="45" y="32"/>
                  <a:pt x="44" y="33"/>
                  <a:pt x="42" y="33"/>
                </a:cubicBezTo>
                <a:moveTo>
                  <a:pt x="108" y="39"/>
                </a:moveTo>
                <a:cubicBezTo>
                  <a:pt x="110" y="39"/>
                  <a:pt x="111" y="40"/>
                  <a:pt x="111" y="42"/>
                </a:cubicBezTo>
                <a:cubicBezTo>
                  <a:pt x="111" y="44"/>
                  <a:pt x="110" y="45"/>
                  <a:pt x="108" y="45"/>
                </a:cubicBezTo>
                <a:cubicBezTo>
                  <a:pt x="106" y="45"/>
                  <a:pt x="105" y="44"/>
                  <a:pt x="105" y="42"/>
                </a:cubicBezTo>
                <a:cubicBezTo>
                  <a:pt x="105" y="40"/>
                  <a:pt x="106" y="39"/>
                  <a:pt x="108" y="39"/>
                </a:cubicBezTo>
                <a:moveTo>
                  <a:pt x="102" y="27"/>
                </a:moveTo>
                <a:cubicBezTo>
                  <a:pt x="104" y="27"/>
                  <a:pt x="105" y="28"/>
                  <a:pt x="105" y="30"/>
                </a:cubicBezTo>
                <a:cubicBezTo>
                  <a:pt x="105" y="32"/>
                  <a:pt x="104" y="33"/>
                  <a:pt x="102" y="33"/>
                </a:cubicBezTo>
                <a:cubicBezTo>
                  <a:pt x="100" y="33"/>
                  <a:pt x="99" y="32"/>
                  <a:pt x="99" y="30"/>
                </a:cubicBezTo>
                <a:cubicBezTo>
                  <a:pt x="99" y="28"/>
                  <a:pt x="100" y="27"/>
                  <a:pt x="102" y="27"/>
                </a:cubicBezTo>
                <a:moveTo>
                  <a:pt x="96" y="39"/>
                </a:moveTo>
                <a:cubicBezTo>
                  <a:pt x="98" y="39"/>
                  <a:pt x="99" y="40"/>
                  <a:pt x="99" y="42"/>
                </a:cubicBezTo>
                <a:cubicBezTo>
                  <a:pt x="99" y="44"/>
                  <a:pt x="98" y="45"/>
                  <a:pt x="96" y="45"/>
                </a:cubicBezTo>
                <a:cubicBezTo>
                  <a:pt x="94" y="45"/>
                  <a:pt x="93" y="44"/>
                  <a:pt x="93" y="42"/>
                </a:cubicBezTo>
                <a:cubicBezTo>
                  <a:pt x="93" y="40"/>
                  <a:pt x="94" y="39"/>
                  <a:pt x="96" y="39"/>
                </a:cubicBezTo>
                <a:moveTo>
                  <a:pt x="78" y="27"/>
                </a:moveTo>
                <a:cubicBezTo>
                  <a:pt x="80" y="27"/>
                  <a:pt x="81" y="28"/>
                  <a:pt x="81" y="30"/>
                </a:cubicBezTo>
                <a:cubicBezTo>
                  <a:pt x="81" y="32"/>
                  <a:pt x="80" y="33"/>
                  <a:pt x="78" y="33"/>
                </a:cubicBezTo>
                <a:cubicBezTo>
                  <a:pt x="76" y="33"/>
                  <a:pt x="75" y="32"/>
                  <a:pt x="75" y="30"/>
                </a:cubicBezTo>
                <a:cubicBezTo>
                  <a:pt x="75" y="28"/>
                  <a:pt x="76" y="27"/>
                  <a:pt x="78" y="27"/>
                </a:cubicBezTo>
                <a:moveTo>
                  <a:pt x="66" y="27"/>
                </a:moveTo>
                <a:cubicBezTo>
                  <a:pt x="68" y="27"/>
                  <a:pt x="69" y="28"/>
                  <a:pt x="69" y="30"/>
                </a:cubicBezTo>
                <a:cubicBezTo>
                  <a:pt x="69" y="32"/>
                  <a:pt x="68" y="33"/>
                  <a:pt x="66" y="33"/>
                </a:cubicBezTo>
                <a:cubicBezTo>
                  <a:pt x="64" y="33"/>
                  <a:pt x="63" y="32"/>
                  <a:pt x="63" y="30"/>
                </a:cubicBezTo>
                <a:cubicBezTo>
                  <a:pt x="63" y="28"/>
                  <a:pt x="64" y="27"/>
                  <a:pt x="66" y="27"/>
                </a:cubicBezTo>
                <a:moveTo>
                  <a:pt x="54" y="27"/>
                </a:moveTo>
                <a:cubicBezTo>
                  <a:pt x="56" y="27"/>
                  <a:pt x="57" y="28"/>
                  <a:pt x="57" y="30"/>
                </a:cubicBezTo>
                <a:cubicBezTo>
                  <a:pt x="57" y="32"/>
                  <a:pt x="56" y="33"/>
                  <a:pt x="54" y="33"/>
                </a:cubicBezTo>
                <a:cubicBezTo>
                  <a:pt x="52" y="33"/>
                  <a:pt x="51" y="32"/>
                  <a:pt x="51" y="30"/>
                </a:cubicBezTo>
                <a:cubicBezTo>
                  <a:pt x="51" y="28"/>
                  <a:pt x="52" y="27"/>
                  <a:pt x="54" y="27"/>
                </a:cubicBezTo>
                <a:moveTo>
                  <a:pt x="48" y="45"/>
                </a:moveTo>
                <a:cubicBezTo>
                  <a:pt x="46" y="45"/>
                  <a:pt x="45" y="44"/>
                  <a:pt x="45" y="42"/>
                </a:cubicBezTo>
                <a:cubicBezTo>
                  <a:pt x="45" y="40"/>
                  <a:pt x="46" y="39"/>
                  <a:pt x="48" y="39"/>
                </a:cubicBezTo>
                <a:cubicBezTo>
                  <a:pt x="50" y="39"/>
                  <a:pt x="51" y="40"/>
                  <a:pt x="51" y="42"/>
                </a:cubicBezTo>
                <a:cubicBezTo>
                  <a:pt x="51" y="44"/>
                  <a:pt x="50" y="45"/>
                  <a:pt x="48" y="45"/>
                </a:cubicBezTo>
                <a:moveTo>
                  <a:pt x="54" y="57"/>
                </a:moveTo>
                <a:cubicBezTo>
                  <a:pt x="52" y="57"/>
                  <a:pt x="51" y="56"/>
                  <a:pt x="51" y="54"/>
                </a:cubicBezTo>
                <a:cubicBezTo>
                  <a:pt x="51" y="52"/>
                  <a:pt x="52" y="51"/>
                  <a:pt x="54" y="51"/>
                </a:cubicBezTo>
                <a:cubicBezTo>
                  <a:pt x="56" y="51"/>
                  <a:pt x="57" y="52"/>
                  <a:pt x="57" y="54"/>
                </a:cubicBezTo>
                <a:cubicBezTo>
                  <a:pt x="57" y="56"/>
                  <a:pt x="56" y="57"/>
                  <a:pt x="54" y="57"/>
                </a:cubicBezTo>
                <a:moveTo>
                  <a:pt x="60" y="39"/>
                </a:moveTo>
                <a:cubicBezTo>
                  <a:pt x="62" y="39"/>
                  <a:pt x="63" y="40"/>
                  <a:pt x="63" y="42"/>
                </a:cubicBezTo>
                <a:cubicBezTo>
                  <a:pt x="63" y="44"/>
                  <a:pt x="62" y="45"/>
                  <a:pt x="60" y="45"/>
                </a:cubicBezTo>
                <a:cubicBezTo>
                  <a:pt x="58" y="45"/>
                  <a:pt x="57" y="44"/>
                  <a:pt x="57" y="42"/>
                </a:cubicBezTo>
                <a:cubicBezTo>
                  <a:pt x="57" y="40"/>
                  <a:pt x="58" y="39"/>
                  <a:pt x="60" y="39"/>
                </a:cubicBezTo>
                <a:moveTo>
                  <a:pt x="60" y="69"/>
                </a:moveTo>
                <a:cubicBezTo>
                  <a:pt x="58" y="69"/>
                  <a:pt x="57" y="68"/>
                  <a:pt x="57" y="66"/>
                </a:cubicBezTo>
                <a:cubicBezTo>
                  <a:pt x="57" y="64"/>
                  <a:pt x="58" y="63"/>
                  <a:pt x="60" y="63"/>
                </a:cubicBezTo>
                <a:cubicBezTo>
                  <a:pt x="62" y="63"/>
                  <a:pt x="63" y="64"/>
                  <a:pt x="63" y="66"/>
                </a:cubicBezTo>
                <a:cubicBezTo>
                  <a:pt x="63" y="68"/>
                  <a:pt x="62" y="69"/>
                  <a:pt x="60" y="69"/>
                </a:cubicBezTo>
                <a:moveTo>
                  <a:pt x="66" y="57"/>
                </a:moveTo>
                <a:cubicBezTo>
                  <a:pt x="64" y="57"/>
                  <a:pt x="63" y="56"/>
                  <a:pt x="63" y="54"/>
                </a:cubicBezTo>
                <a:cubicBezTo>
                  <a:pt x="63" y="52"/>
                  <a:pt x="64" y="51"/>
                  <a:pt x="66" y="51"/>
                </a:cubicBezTo>
                <a:cubicBezTo>
                  <a:pt x="68" y="51"/>
                  <a:pt x="69" y="52"/>
                  <a:pt x="69" y="54"/>
                </a:cubicBezTo>
                <a:cubicBezTo>
                  <a:pt x="69" y="56"/>
                  <a:pt x="68" y="57"/>
                  <a:pt x="66" y="57"/>
                </a:cubicBezTo>
                <a:moveTo>
                  <a:pt x="72" y="39"/>
                </a:moveTo>
                <a:cubicBezTo>
                  <a:pt x="74" y="39"/>
                  <a:pt x="75" y="40"/>
                  <a:pt x="75" y="42"/>
                </a:cubicBezTo>
                <a:cubicBezTo>
                  <a:pt x="75" y="44"/>
                  <a:pt x="74" y="45"/>
                  <a:pt x="72" y="45"/>
                </a:cubicBezTo>
                <a:cubicBezTo>
                  <a:pt x="70" y="45"/>
                  <a:pt x="69" y="44"/>
                  <a:pt x="69" y="42"/>
                </a:cubicBezTo>
                <a:cubicBezTo>
                  <a:pt x="69" y="40"/>
                  <a:pt x="70" y="39"/>
                  <a:pt x="72" y="39"/>
                </a:cubicBezTo>
                <a:moveTo>
                  <a:pt x="72" y="69"/>
                </a:moveTo>
                <a:cubicBezTo>
                  <a:pt x="70" y="69"/>
                  <a:pt x="69" y="68"/>
                  <a:pt x="69" y="66"/>
                </a:cubicBezTo>
                <a:cubicBezTo>
                  <a:pt x="69" y="64"/>
                  <a:pt x="70" y="63"/>
                  <a:pt x="72" y="63"/>
                </a:cubicBezTo>
                <a:cubicBezTo>
                  <a:pt x="74" y="63"/>
                  <a:pt x="75" y="64"/>
                  <a:pt x="75" y="66"/>
                </a:cubicBezTo>
                <a:cubicBezTo>
                  <a:pt x="75" y="68"/>
                  <a:pt x="74" y="69"/>
                  <a:pt x="72" y="69"/>
                </a:cubicBezTo>
                <a:moveTo>
                  <a:pt x="78" y="57"/>
                </a:moveTo>
                <a:cubicBezTo>
                  <a:pt x="76" y="57"/>
                  <a:pt x="75" y="56"/>
                  <a:pt x="75" y="54"/>
                </a:cubicBezTo>
                <a:cubicBezTo>
                  <a:pt x="75" y="52"/>
                  <a:pt x="76" y="51"/>
                  <a:pt x="78" y="51"/>
                </a:cubicBezTo>
                <a:cubicBezTo>
                  <a:pt x="80" y="51"/>
                  <a:pt x="81" y="52"/>
                  <a:pt x="81" y="54"/>
                </a:cubicBezTo>
                <a:cubicBezTo>
                  <a:pt x="81" y="56"/>
                  <a:pt x="80" y="57"/>
                  <a:pt x="78" y="57"/>
                </a:cubicBezTo>
                <a:moveTo>
                  <a:pt x="84" y="39"/>
                </a:moveTo>
                <a:cubicBezTo>
                  <a:pt x="86" y="39"/>
                  <a:pt x="87" y="40"/>
                  <a:pt x="87" y="42"/>
                </a:cubicBezTo>
                <a:cubicBezTo>
                  <a:pt x="87" y="44"/>
                  <a:pt x="86" y="45"/>
                  <a:pt x="84" y="45"/>
                </a:cubicBezTo>
                <a:cubicBezTo>
                  <a:pt x="82" y="45"/>
                  <a:pt x="81" y="44"/>
                  <a:pt x="81" y="42"/>
                </a:cubicBezTo>
                <a:cubicBezTo>
                  <a:pt x="81" y="40"/>
                  <a:pt x="82" y="39"/>
                  <a:pt x="84" y="39"/>
                </a:cubicBezTo>
                <a:moveTo>
                  <a:pt x="84" y="69"/>
                </a:moveTo>
                <a:cubicBezTo>
                  <a:pt x="82" y="69"/>
                  <a:pt x="81" y="68"/>
                  <a:pt x="81" y="66"/>
                </a:cubicBezTo>
                <a:cubicBezTo>
                  <a:pt x="81" y="64"/>
                  <a:pt x="82" y="63"/>
                  <a:pt x="84" y="63"/>
                </a:cubicBezTo>
                <a:cubicBezTo>
                  <a:pt x="86" y="63"/>
                  <a:pt x="87" y="64"/>
                  <a:pt x="87" y="66"/>
                </a:cubicBezTo>
                <a:cubicBezTo>
                  <a:pt x="87" y="68"/>
                  <a:pt x="86" y="69"/>
                  <a:pt x="84" y="69"/>
                </a:cubicBezTo>
                <a:moveTo>
                  <a:pt x="90" y="57"/>
                </a:moveTo>
                <a:cubicBezTo>
                  <a:pt x="88" y="57"/>
                  <a:pt x="87" y="56"/>
                  <a:pt x="87" y="54"/>
                </a:cubicBezTo>
                <a:cubicBezTo>
                  <a:pt x="87" y="52"/>
                  <a:pt x="88" y="51"/>
                  <a:pt x="90" y="51"/>
                </a:cubicBezTo>
                <a:cubicBezTo>
                  <a:pt x="92" y="51"/>
                  <a:pt x="93" y="52"/>
                  <a:pt x="93" y="54"/>
                </a:cubicBezTo>
                <a:cubicBezTo>
                  <a:pt x="93" y="56"/>
                  <a:pt x="92" y="57"/>
                  <a:pt x="90" y="57"/>
                </a:cubicBezTo>
                <a:moveTo>
                  <a:pt x="90" y="33"/>
                </a:moveTo>
                <a:cubicBezTo>
                  <a:pt x="88" y="33"/>
                  <a:pt x="87" y="32"/>
                  <a:pt x="87" y="30"/>
                </a:cubicBezTo>
                <a:cubicBezTo>
                  <a:pt x="87" y="28"/>
                  <a:pt x="88" y="27"/>
                  <a:pt x="90" y="27"/>
                </a:cubicBezTo>
                <a:cubicBezTo>
                  <a:pt x="92" y="27"/>
                  <a:pt x="93" y="28"/>
                  <a:pt x="93" y="30"/>
                </a:cubicBezTo>
                <a:cubicBezTo>
                  <a:pt x="93" y="32"/>
                  <a:pt x="92" y="33"/>
                  <a:pt x="90" y="33"/>
                </a:cubicBezTo>
                <a:moveTo>
                  <a:pt x="96" y="69"/>
                </a:moveTo>
                <a:cubicBezTo>
                  <a:pt x="94" y="69"/>
                  <a:pt x="93" y="68"/>
                  <a:pt x="93" y="66"/>
                </a:cubicBezTo>
                <a:cubicBezTo>
                  <a:pt x="93" y="64"/>
                  <a:pt x="94" y="63"/>
                  <a:pt x="96" y="63"/>
                </a:cubicBezTo>
                <a:cubicBezTo>
                  <a:pt x="98" y="63"/>
                  <a:pt x="99" y="64"/>
                  <a:pt x="99" y="66"/>
                </a:cubicBezTo>
                <a:cubicBezTo>
                  <a:pt x="99" y="68"/>
                  <a:pt x="98" y="69"/>
                  <a:pt x="96" y="69"/>
                </a:cubicBezTo>
                <a:moveTo>
                  <a:pt x="102" y="57"/>
                </a:moveTo>
                <a:cubicBezTo>
                  <a:pt x="100" y="57"/>
                  <a:pt x="99" y="56"/>
                  <a:pt x="99" y="54"/>
                </a:cubicBezTo>
                <a:cubicBezTo>
                  <a:pt x="99" y="52"/>
                  <a:pt x="100" y="51"/>
                  <a:pt x="102" y="51"/>
                </a:cubicBezTo>
                <a:cubicBezTo>
                  <a:pt x="104" y="51"/>
                  <a:pt x="105" y="52"/>
                  <a:pt x="105" y="54"/>
                </a:cubicBezTo>
                <a:cubicBezTo>
                  <a:pt x="105" y="56"/>
                  <a:pt x="104" y="57"/>
                  <a:pt x="102" y="57"/>
                </a:cubicBezTo>
                <a:moveTo>
                  <a:pt x="108" y="69"/>
                </a:moveTo>
                <a:cubicBezTo>
                  <a:pt x="106" y="69"/>
                  <a:pt x="105" y="68"/>
                  <a:pt x="105" y="66"/>
                </a:cubicBezTo>
                <a:cubicBezTo>
                  <a:pt x="105" y="64"/>
                  <a:pt x="106" y="63"/>
                  <a:pt x="108" y="63"/>
                </a:cubicBezTo>
                <a:cubicBezTo>
                  <a:pt x="110" y="63"/>
                  <a:pt x="111" y="64"/>
                  <a:pt x="111" y="66"/>
                </a:cubicBezTo>
                <a:cubicBezTo>
                  <a:pt x="111" y="68"/>
                  <a:pt x="110" y="69"/>
                  <a:pt x="108" y="69"/>
                </a:cubicBezTo>
                <a:moveTo>
                  <a:pt x="114" y="57"/>
                </a:moveTo>
                <a:cubicBezTo>
                  <a:pt x="112" y="57"/>
                  <a:pt x="111" y="56"/>
                  <a:pt x="111" y="54"/>
                </a:cubicBezTo>
                <a:cubicBezTo>
                  <a:pt x="111" y="52"/>
                  <a:pt x="112" y="51"/>
                  <a:pt x="114" y="51"/>
                </a:cubicBezTo>
                <a:cubicBezTo>
                  <a:pt x="116" y="51"/>
                  <a:pt x="117" y="52"/>
                  <a:pt x="117" y="54"/>
                </a:cubicBezTo>
                <a:cubicBezTo>
                  <a:pt x="117" y="56"/>
                  <a:pt x="116" y="57"/>
                  <a:pt x="114" y="57"/>
                </a:cubicBezTo>
                <a:moveTo>
                  <a:pt x="114" y="33"/>
                </a:moveTo>
                <a:cubicBezTo>
                  <a:pt x="112" y="33"/>
                  <a:pt x="111" y="32"/>
                  <a:pt x="111" y="30"/>
                </a:cubicBezTo>
                <a:cubicBezTo>
                  <a:pt x="111" y="28"/>
                  <a:pt x="112" y="27"/>
                  <a:pt x="114" y="27"/>
                </a:cubicBezTo>
                <a:cubicBezTo>
                  <a:pt x="116" y="27"/>
                  <a:pt x="117" y="28"/>
                  <a:pt x="117" y="30"/>
                </a:cubicBezTo>
                <a:cubicBezTo>
                  <a:pt x="117" y="32"/>
                  <a:pt x="116" y="33"/>
                  <a:pt x="114" y="33"/>
                </a:cubicBezTo>
                <a:moveTo>
                  <a:pt x="120" y="39"/>
                </a:moveTo>
                <a:cubicBezTo>
                  <a:pt x="122" y="39"/>
                  <a:pt x="123" y="40"/>
                  <a:pt x="123" y="42"/>
                </a:cubicBezTo>
                <a:cubicBezTo>
                  <a:pt x="123" y="44"/>
                  <a:pt x="122" y="45"/>
                  <a:pt x="120" y="45"/>
                </a:cubicBezTo>
                <a:cubicBezTo>
                  <a:pt x="118" y="45"/>
                  <a:pt x="117" y="44"/>
                  <a:pt x="117" y="42"/>
                </a:cubicBezTo>
                <a:cubicBezTo>
                  <a:pt x="117" y="40"/>
                  <a:pt x="118" y="39"/>
                  <a:pt x="120" y="39"/>
                </a:cubicBezTo>
                <a:moveTo>
                  <a:pt x="120" y="69"/>
                </a:moveTo>
                <a:cubicBezTo>
                  <a:pt x="118" y="69"/>
                  <a:pt x="117" y="68"/>
                  <a:pt x="117" y="66"/>
                </a:cubicBezTo>
                <a:cubicBezTo>
                  <a:pt x="117" y="64"/>
                  <a:pt x="118" y="63"/>
                  <a:pt x="120" y="63"/>
                </a:cubicBezTo>
                <a:cubicBezTo>
                  <a:pt x="122" y="63"/>
                  <a:pt x="123" y="64"/>
                  <a:pt x="123" y="66"/>
                </a:cubicBezTo>
                <a:cubicBezTo>
                  <a:pt x="123" y="68"/>
                  <a:pt x="122" y="69"/>
                  <a:pt x="120" y="69"/>
                </a:cubicBezTo>
                <a:moveTo>
                  <a:pt x="126" y="57"/>
                </a:moveTo>
                <a:cubicBezTo>
                  <a:pt x="124" y="57"/>
                  <a:pt x="123" y="56"/>
                  <a:pt x="123" y="54"/>
                </a:cubicBezTo>
                <a:cubicBezTo>
                  <a:pt x="123" y="52"/>
                  <a:pt x="124" y="51"/>
                  <a:pt x="126" y="51"/>
                </a:cubicBezTo>
                <a:cubicBezTo>
                  <a:pt x="128" y="51"/>
                  <a:pt x="129" y="52"/>
                  <a:pt x="129" y="54"/>
                </a:cubicBezTo>
                <a:cubicBezTo>
                  <a:pt x="129" y="56"/>
                  <a:pt x="128" y="57"/>
                  <a:pt x="126" y="57"/>
                </a:cubicBezTo>
                <a:moveTo>
                  <a:pt x="126" y="33"/>
                </a:moveTo>
                <a:cubicBezTo>
                  <a:pt x="124" y="33"/>
                  <a:pt x="123" y="32"/>
                  <a:pt x="123" y="30"/>
                </a:cubicBezTo>
                <a:cubicBezTo>
                  <a:pt x="123" y="28"/>
                  <a:pt x="124" y="27"/>
                  <a:pt x="126" y="27"/>
                </a:cubicBezTo>
                <a:cubicBezTo>
                  <a:pt x="128" y="27"/>
                  <a:pt x="129" y="28"/>
                  <a:pt x="129" y="30"/>
                </a:cubicBezTo>
                <a:cubicBezTo>
                  <a:pt x="129" y="32"/>
                  <a:pt x="128" y="33"/>
                  <a:pt x="126" y="33"/>
                </a:cubicBezTo>
                <a:moveTo>
                  <a:pt x="132" y="69"/>
                </a:moveTo>
                <a:cubicBezTo>
                  <a:pt x="130" y="69"/>
                  <a:pt x="129" y="68"/>
                  <a:pt x="129" y="66"/>
                </a:cubicBezTo>
                <a:cubicBezTo>
                  <a:pt x="129" y="64"/>
                  <a:pt x="130" y="63"/>
                  <a:pt x="132" y="63"/>
                </a:cubicBezTo>
                <a:cubicBezTo>
                  <a:pt x="134" y="63"/>
                  <a:pt x="135" y="64"/>
                  <a:pt x="135" y="66"/>
                </a:cubicBezTo>
                <a:cubicBezTo>
                  <a:pt x="135" y="68"/>
                  <a:pt x="134" y="69"/>
                  <a:pt x="132" y="69"/>
                </a:cubicBezTo>
                <a:moveTo>
                  <a:pt x="132" y="45"/>
                </a:moveTo>
                <a:cubicBezTo>
                  <a:pt x="130" y="45"/>
                  <a:pt x="129" y="44"/>
                  <a:pt x="129" y="42"/>
                </a:cubicBezTo>
                <a:cubicBezTo>
                  <a:pt x="129" y="40"/>
                  <a:pt x="130" y="39"/>
                  <a:pt x="132" y="39"/>
                </a:cubicBezTo>
                <a:cubicBezTo>
                  <a:pt x="134" y="39"/>
                  <a:pt x="135" y="40"/>
                  <a:pt x="135" y="42"/>
                </a:cubicBezTo>
                <a:cubicBezTo>
                  <a:pt x="135" y="44"/>
                  <a:pt x="134" y="45"/>
                  <a:pt x="132" y="45"/>
                </a:cubicBezTo>
                <a:moveTo>
                  <a:pt x="138" y="57"/>
                </a:moveTo>
                <a:cubicBezTo>
                  <a:pt x="136" y="57"/>
                  <a:pt x="135" y="56"/>
                  <a:pt x="135" y="54"/>
                </a:cubicBezTo>
                <a:cubicBezTo>
                  <a:pt x="135" y="52"/>
                  <a:pt x="136" y="51"/>
                  <a:pt x="138" y="51"/>
                </a:cubicBezTo>
                <a:cubicBezTo>
                  <a:pt x="140" y="51"/>
                  <a:pt x="141" y="52"/>
                  <a:pt x="141" y="54"/>
                </a:cubicBezTo>
                <a:cubicBezTo>
                  <a:pt x="141" y="56"/>
                  <a:pt x="140" y="57"/>
                  <a:pt x="138" y="57"/>
                </a:cubicBezTo>
                <a:moveTo>
                  <a:pt x="138" y="33"/>
                </a:moveTo>
                <a:cubicBezTo>
                  <a:pt x="136" y="33"/>
                  <a:pt x="135" y="32"/>
                  <a:pt x="135" y="30"/>
                </a:cubicBezTo>
                <a:cubicBezTo>
                  <a:pt x="135" y="28"/>
                  <a:pt x="136" y="27"/>
                  <a:pt x="138" y="27"/>
                </a:cubicBezTo>
                <a:cubicBezTo>
                  <a:pt x="140" y="27"/>
                  <a:pt x="141" y="28"/>
                  <a:pt x="141" y="30"/>
                </a:cubicBezTo>
                <a:cubicBezTo>
                  <a:pt x="141" y="32"/>
                  <a:pt x="140" y="33"/>
                  <a:pt x="138" y="33"/>
                </a:cubicBezTo>
                <a:moveTo>
                  <a:pt x="144" y="45"/>
                </a:moveTo>
                <a:cubicBezTo>
                  <a:pt x="142" y="45"/>
                  <a:pt x="141" y="44"/>
                  <a:pt x="141" y="42"/>
                </a:cubicBezTo>
                <a:cubicBezTo>
                  <a:pt x="141" y="40"/>
                  <a:pt x="142" y="39"/>
                  <a:pt x="144" y="39"/>
                </a:cubicBezTo>
                <a:cubicBezTo>
                  <a:pt x="146" y="39"/>
                  <a:pt x="147" y="40"/>
                  <a:pt x="147" y="42"/>
                </a:cubicBezTo>
                <a:cubicBezTo>
                  <a:pt x="147" y="44"/>
                  <a:pt x="146" y="45"/>
                  <a:pt x="144" y="45"/>
                </a:cubicBezTo>
                <a:moveTo>
                  <a:pt x="150" y="33"/>
                </a:moveTo>
                <a:cubicBezTo>
                  <a:pt x="148" y="33"/>
                  <a:pt x="147" y="32"/>
                  <a:pt x="147" y="30"/>
                </a:cubicBezTo>
                <a:cubicBezTo>
                  <a:pt x="147" y="28"/>
                  <a:pt x="148" y="27"/>
                  <a:pt x="150" y="27"/>
                </a:cubicBezTo>
                <a:cubicBezTo>
                  <a:pt x="152" y="27"/>
                  <a:pt x="153" y="28"/>
                  <a:pt x="153" y="30"/>
                </a:cubicBezTo>
                <a:cubicBezTo>
                  <a:pt x="153" y="32"/>
                  <a:pt x="152" y="33"/>
                  <a:pt x="150" y="33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25" name="Freeform 132"/>
          <p:cNvSpPr>
            <a:spLocks noEditPoints="1"/>
          </p:cNvSpPr>
          <p:nvPr/>
        </p:nvSpPr>
        <p:spPr bwMode="auto">
          <a:xfrm>
            <a:off x="8930218" y="4859867"/>
            <a:ext cx="433916" cy="364067"/>
          </a:xfrm>
          <a:custGeom>
            <a:avLst/>
            <a:gdLst>
              <a:gd name="T0" fmla="*/ 676127007 w 144"/>
              <a:gd name="T1" fmla="*/ 185947050 h 120"/>
              <a:gd name="T2" fmla="*/ 583928897 w 144"/>
              <a:gd name="T3" fmla="*/ 185947050 h 120"/>
              <a:gd name="T4" fmla="*/ 368796960 w 144"/>
              <a:gd name="T5" fmla="*/ 0 h 120"/>
              <a:gd name="T6" fmla="*/ 153665023 w 144"/>
              <a:gd name="T7" fmla="*/ 185947050 h 120"/>
              <a:gd name="T8" fmla="*/ 61466913 w 144"/>
              <a:gd name="T9" fmla="*/ 185947050 h 120"/>
              <a:gd name="T10" fmla="*/ 0 w 144"/>
              <a:gd name="T11" fmla="*/ 247929400 h 120"/>
              <a:gd name="T12" fmla="*/ 0 w 144"/>
              <a:gd name="T13" fmla="*/ 619821225 h 120"/>
              <a:gd name="T14" fmla="*/ 737593921 w 144"/>
              <a:gd name="T15" fmla="*/ 619821225 h 120"/>
              <a:gd name="T16" fmla="*/ 737593921 w 144"/>
              <a:gd name="T17" fmla="*/ 247929400 h 120"/>
              <a:gd name="T18" fmla="*/ 676127007 w 144"/>
              <a:gd name="T19" fmla="*/ 185947050 h 120"/>
              <a:gd name="T20" fmla="*/ 522461984 w 144"/>
              <a:gd name="T21" fmla="*/ 464865350 h 120"/>
              <a:gd name="T22" fmla="*/ 430263874 w 144"/>
              <a:gd name="T23" fmla="*/ 464865350 h 120"/>
              <a:gd name="T24" fmla="*/ 430263874 w 144"/>
              <a:gd name="T25" fmla="*/ 557838875 h 120"/>
              <a:gd name="T26" fmla="*/ 307330047 w 144"/>
              <a:gd name="T27" fmla="*/ 557838875 h 120"/>
              <a:gd name="T28" fmla="*/ 307330047 w 144"/>
              <a:gd name="T29" fmla="*/ 464865350 h 120"/>
              <a:gd name="T30" fmla="*/ 215131937 w 144"/>
              <a:gd name="T31" fmla="*/ 464865350 h 120"/>
              <a:gd name="T32" fmla="*/ 215131937 w 144"/>
              <a:gd name="T33" fmla="*/ 340900650 h 120"/>
              <a:gd name="T34" fmla="*/ 307330047 w 144"/>
              <a:gd name="T35" fmla="*/ 340900650 h 120"/>
              <a:gd name="T36" fmla="*/ 307330047 w 144"/>
              <a:gd name="T37" fmla="*/ 247929400 h 120"/>
              <a:gd name="T38" fmla="*/ 430263874 w 144"/>
              <a:gd name="T39" fmla="*/ 247929400 h 120"/>
              <a:gd name="T40" fmla="*/ 430263874 w 144"/>
              <a:gd name="T41" fmla="*/ 340900650 h 120"/>
              <a:gd name="T42" fmla="*/ 522461984 w 144"/>
              <a:gd name="T43" fmla="*/ 340900650 h 120"/>
              <a:gd name="T44" fmla="*/ 522461984 w 144"/>
              <a:gd name="T45" fmla="*/ 464865350 h 120"/>
              <a:gd name="T46" fmla="*/ 215131937 w 144"/>
              <a:gd name="T47" fmla="*/ 185947050 h 120"/>
              <a:gd name="T48" fmla="*/ 368796960 w 144"/>
              <a:gd name="T49" fmla="*/ 61982350 h 120"/>
              <a:gd name="T50" fmla="*/ 522461984 w 144"/>
              <a:gd name="T51" fmla="*/ 185947050 h 120"/>
              <a:gd name="T52" fmla="*/ 215131937 w 144"/>
              <a:gd name="T53" fmla="*/ 185947050 h 12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44" h="120">
                <a:moveTo>
                  <a:pt x="132" y="36"/>
                </a:moveTo>
                <a:cubicBezTo>
                  <a:pt x="114" y="36"/>
                  <a:pt x="114" y="36"/>
                  <a:pt x="114" y="36"/>
                </a:cubicBezTo>
                <a:cubicBezTo>
                  <a:pt x="114" y="16"/>
                  <a:pt x="95" y="0"/>
                  <a:pt x="72" y="0"/>
                </a:cubicBezTo>
                <a:cubicBezTo>
                  <a:pt x="49" y="0"/>
                  <a:pt x="30" y="16"/>
                  <a:pt x="30" y="36"/>
                </a:cubicBezTo>
                <a:cubicBezTo>
                  <a:pt x="12" y="36"/>
                  <a:pt x="12" y="36"/>
                  <a:pt x="12" y="36"/>
                </a:cubicBezTo>
                <a:cubicBezTo>
                  <a:pt x="5" y="36"/>
                  <a:pt x="0" y="41"/>
                  <a:pt x="0" y="48"/>
                </a:cubicBezTo>
                <a:cubicBezTo>
                  <a:pt x="0" y="120"/>
                  <a:pt x="0" y="120"/>
                  <a:pt x="0" y="120"/>
                </a:cubicBezTo>
                <a:cubicBezTo>
                  <a:pt x="144" y="120"/>
                  <a:pt x="144" y="120"/>
                  <a:pt x="144" y="120"/>
                </a:cubicBezTo>
                <a:cubicBezTo>
                  <a:pt x="144" y="48"/>
                  <a:pt x="144" y="48"/>
                  <a:pt x="144" y="48"/>
                </a:cubicBezTo>
                <a:cubicBezTo>
                  <a:pt x="144" y="41"/>
                  <a:pt x="139" y="36"/>
                  <a:pt x="132" y="36"/>
                </a:cubicBezTo>
                <a:moveTo>
                  <a:pt x="102" y="90"/>
                </a:moveTo>
                <a:cubicBezTo>
                  <a:pt x="84" y="90"/>
                  <a:pt x="84" y="90"/>
                  <a:pt x="84" y="90"/>
                </a:cubicBezTo>
                <a:cubicBezTo>
                  <a:pt x="84" y="108"/>
                  <a:pt x="84" y="108"/>
                  <a:pt x="8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90"/>
                  <a:pt x="60" y="90"/>
                  <a:pt x="60" y="90"/>
                </a:cubicBezTo>
                <a:cubicBezTo>
                  <a:pt x="42" y="90"/>
                  <a:pt x="42" y="90"/>
                  <a:pt x="42" y="90"/>
                </a:cubicBezTo>
                <a:cubicBezTo>
                  <a:pt x="42" y="66"/>
                  <a:pt x="42" y="66"/>
                  <a:pt x="42" y="66"/>
                </a:cubicBezTo>
                <a:cubicBezTo>
                  <a:pt x="60" y="66"/>
                  <a:pt x="60" y="66"/>
                  <a:pt x="60" y="66"/>
                </a:cubicBezTo>
                <a:cubicBezTo>
                  <a:pt x="60" y="48"/>
                  <a:pt x="60" y="48"/>
                  <a:pt x="60" y="48"/>
                </a:cubicBezTo>
                <a:cubicBezTo>
                  <a:pt x="84" y="48"/>
                  <a:pt x="84" y="48"/>
                  <a:pt x="84" y="48"/>
                </a:cubicBezTo>
                <a:cubicBezTo>
                  <a:pt x="84" y="66"/>
                  <a:pt x="84" y="66"/>
                  <a:pt x="84" y="66"/>
                </a:cubicBezTo>
                <a:cubicBezTo>
                  <a:pt x="102" y="66"/>
                  <a:pt x="102" y="66"/>
                  <a:pt x="102" y="66"/>
                </a:cubicBezTo>
                <a:lnTo>
                  <a:pt x="102" y="90"/>
                </a:lnTo>
                <a:close/>
                <a:moveTo>
                  <a:pt x="42" y="36"/>
                </a:moveTo>
                <a:cubicBezTo>
                  <a:pt x="42" y="23"/>
                  <a:pt x="55" y="12"/>
                  <a:pt x="72" y="12"/>
                </a:cubicBezTo>
                <a:cubicBezTo>
                  <a:pt x="89" y="12"/>
                  <a:pt x="102" y="23"/>
                  <a:pt x="102" y="36"/>
                </a:cubicBezTo>
                <a:lnTo>
                  <a:pt x="42" y="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26" name="Freeform 133"/>
          <p:cNvSpPr>
            <a:spLocks/>
          </p:cNvSpPr>
          <p:nvPr/>
        </p:nvSpPr>
        <p:spPr bwMode="auto">
          <a:xfrm>
            <a:off x="9821334" y="4845051"/>
            <a:ext cx="472017" cy="414867"/>
          </a:xfrm>
          <a:custGeom>
            <a:avLst/>
            <a:gdLst>
              <a:gd name="T0" fmla="*/ 742887203 w 156"/>
              <a:gd name="T1" fmla="*/ 418476159 h 136"/>
              <a:gd name="T2" fmla="*/ 691296616 w 156"/>
              <a:gd name="T3" fmla="*/ 449861128 h 136"/>
              <a:gd name="T4" fmla="*/ 577801410 w 156"/>
              <a:gd name="T5" fmla="*/ 449861128 h 136"/>
              <a:gd name="T6" fmla="*/ 484941077 w 156"/>
              <a:gd name="T7" fmla="*/ 266779095 h 136"/>
              <a:gd name="T8" fmla="*/ 417873768 w 156"/>
              <a:gd name="T9" fmla="*/ 523093483 h 136"/>
              <a:gd name="T10" fmla="*/ 371443602 w 156"/>
              <a:gd name="T11" fmla="*/ 5230065 h 136"/>
              <a:gd name="T12" fmla="*/ 309536713 w 156"/>
              <a:gd name="T13" fmla="*/ 0 h 136"/>
              <a:gd name="T14" fmla="*/ 190881086 w 156"/>
              <a:gd name="T15" fmla="*/ 449861128 h 136"/>
              <a:gd name="T16" fmla="*/ 0 w 156"/>
              <a:gd name="T17" fmla="*/ 449861128 h 136"/>
              <a:gd name="T18" fmla="*/ 0 w 156"/>
              <a:gd name="T19" fmla="*/ 512631064 h 136"/>
              <a:gd name="T20" fmla="*/ 242469404 w 156"/>
              <a:gd name="T21" fmla="*/ 512631064 h 136"/>
              <a:gd name="T22" fmla="*/ 325013435 w 156"/>
              <a:gd name="T23" fmla="*/ 188314386 h 136"/>
              <a:gd name="T24" fmla="*/ 371443602 w 156"/>
              <a:gd name="T25" fmla="*/ 706177804 h 136"/>
              <a:gd name="T26" fmla="*/ 433350490 w 156"/>
              <a:gd name="T27" fmla="*/ 711407869 h 136"/>
              <a:gd name="T28" fmla="*/ 505575950 w 156"/>
              <a:gd name="T29" fmla="*/ 444631062 h 136"/>
              <a:gd name="T30" fmla="*/ 536529395 w 156"/>
              <a:gd name="T31" fmla="*/ 512631064 h 136"/>
              <a:gd name="T32" fmla="*/ 691296616 w 156"/>
              <a:gd name="T33" fmla="*/ 512631064 h 136"/>
              <a:gd name="T34" fmla="*/ 742887203 w 156"/>
              <a:gd name="T35" fmla="*/ 544018321 h 136"/>
              <a:gd name="T36" fmla="*/ 804794092 w 156"/>
              <a:gd name="T37" fmla="*/ 481246096 h 136"/>
              <a:gd name="T38" fmla="*/ 742887203 w 156"/>
              <a:gd name="T39" fmla="*/ 418476159 h 1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56" h="136">
                <a:moveTo>
                  <a:pt x="144" y="80"/>
                </a:moveTo>
                <a:cubicBezTo>
                  <a:pt x="140" y="80"/>
                  <a:pt x="136" y="82"/>
                  <a:pt x="134" y="86"/>
                </a:cubicBezTo>
                <a:cubicBezTo>
                  <a:pt x="112" y="86"/>
                  <a:pt x="112" y="86"/>
                  <a:pt x="112" y="86"/>
                </a:cubicBezTo>
                <a:cubicBezTo>
                  <a:pt x="94" y="51"/>
                  <a:pt x="94" y="51"/>
                  <a:pt x="94" y="51"/>
                </a:cubicBezTo>
                <a:cubicBezTo>
                  <a:pt x="81" y="100"/>
                  <a:pt x="81" y="100"/>
                  <a:pt x="81" y="100"/>
                </a:cubicBezTo>
                <a:cubicBezTo>
                  <a:pt x="72" y="1"/>
                  <a:pt x="72" y="1"/>
                  <a:pt x="72" y="1"/>
                </a:cubicBezTo>
                <a:cubicBezTo>
                  <a:pt x="60" y="0"/>
                  <a:pt x="60" y="0"/>
                  <a:pt x="60" y="0"/>
                </a:cubicBezTo>
                <a:cubicBezTo>
                  <a:pt x="37" y="86"/>
                  <a:pt x="37" y="86"/>
                  <a:pt x="37" y="86"/>
                </a:cubicBezTo>
                <a:cubicBezTo>
                  <a:pt x="0" y="86"/>
                  <a:pt x="0" y="86"/>
                  <a:pt x="0" y="86"/>
                </a:cubicBezTo>
                <a:cubicBezTo>
                  <a:pt x="0" y="98"/>
                  <a:pt x="0" y="98"/>
                  <a:pt x="0" y="98"/>
                </a:cubicBezTo>
                <a:cubicBezTo>
                  <a:pt x="47" y="98"/>
                  <a:pt x="47" y="98"/>
                  <a:pt x="47" y="98"/>
                </a:cubicBezTo>
                <a:cubicBezTo>
                  <a:pt x="63" y="36"/>
                  <a:pt x="63" y="36"/>
                  <a:pt x="63" y="36"/>
                </a:cubicBezTo>
                <a:cubicBezTo>
                  <a:pt x="72" y="135"/>
                  <a:pt x="72" y="135"/>
                  <a:pt x="72" y="135"/>
                </a:cubicBezTo>
                <a:cubicBezTo>
                  <a:pt x="84" y="136"/>
                  <a:pt x="84" y="136"/>
                  <a:pt x="84" y="136"/>
                </a:cubicBezTo>
                <a:cubicBezTo>
                  <a:pt x="98" y="85"/>
                  <a:pt x="98" y="85"/>
                  <a:pt x="98" y="85"/>
                </a:cubicBezTo>
                <a:cubicBezTo>
                  <a:pt x="104" y="98"/>
                  <a:pt x="104" y="98"/>
                  <a:pt x="104" y="98"/>
                </a:cubicBezTo>
                <a:cubicBezTo>
                  <a:pt x="134" y="98"/>
                  <a:pt x="134" y="98"/>
                  <a:pt x="134" y="98"/>
                </a:cubicBezTo>
                <a:cubicBezTo>
                  <a:pt x="136" y="102"/>
                  <a:pt x="140" y="104"/>
                  <a:pt x="144" y="104"/>
                </a:cubicBezTo>
                <a:cubicBezTo>
                  <a:pt x="151" y="104"/>
                  <a:pt x="156" y="99"/>
                  <a:pt x="156" y="92"/>
                </a:cubicBezTo>
                <a:cubicBezTo>
                  <a:pt x="156" y="85"/>
                  <a:pt x="151" y="80"/>
                  <a:pt x="144" y="8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27" name="Freeform 134"/>
          <p:cNvSpPr>
            <a:spLocks/>
          </p:cNvSpPr>
          <p:nvPr/>
        </p:nvSpPr>
        <p:spPr bwMode="auto">
          <a:xfrm>
            <a:off x="10820400" y="4845051"/>
            <a:ext cx="220133" cy="440267"/>
          </a:xfrm>
          <a:custGeom>
            <a:avLst/>
            <a:gdLst>
              <a:gd name="T0" fmla="*/ 125960981 w 64"/>
              <a:gd name="T1" fmla="*/ 0 h 128"/>
              <a:gd name="T2" fmla="*/ 391139958 w 64"/>
              <a:gd name="T3" fmla="*/ 0 h 128"/>
              <a:gd name="T4" fmla="*/ 304955178 w 64"/>
              <a:gd name="T5" fmla="*/ 198878428 h 128"/>
              <a:gd name="T6" fmla="*/ 424286363 w 64"/>
              <a:gd name="T7" fmla="*/ 198878428 h 128"/>
              <a:gd name="T8" fmla="*/ 212143181 w 64"/>
              <a:gd name="T9" fmla="*/ 503828447 h 128"/>
              <a:gd name="T10" fmla="*/ 338104163 w 64"/>
              <a:gd name="T11" fmla="*/ 503828447 h 128"/>
              <a:gd name="T12" fmla="*/ 125960981 w 64"/>
              <a:gd name="T13" fmla="*/ 848552088 h 128"/>
              <a:gd name="T14" fmla="*/ 125960981 w 64"/>
              <a:gd name="T15" fmla="*/ 609897458 h 128"/>
              <a:gd name="T16" fmla="*/ 0 w 64"/>
              <a:gd name="T17" fmla="*/ 609897458 h 128"/>
              <a:gd name="T18" fmla="*/ 119331184 w 64"/>
              <a:gd name="T19" fmla="*/ 311577236 h 128"/>
              <a:gd name="T20" fmla="*/ 0 w 64"/>
              <a:gd name="T21" fmla="*/ 311577236 h 128"/>
              <a:gd name="T22" fmla="*/ 125960981 w 64"/>
              <a:gd name="T23" fmla="*/ 0 h 12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4" h="128">
                <a:moveTo>
                  <a:pt x="19" y="0"/>
                </a:moveTo>
                <a:lnTo>
                  <a:pt x="59" y="0"/>
                </a:lnTo>
                <a:lnTo>
                  <a:pt x="46" y="30"/>
                </a:lnTo>
                <a:lnTo>
                  <a:pt x="64" y="30"/>
                </a:lnTo>
                <a:lnTo>
                  <a:pt x="32" y="76"/>
                </a:lnTo>
                <a:lnTo>
                  <a:pt x="51" y="76"/>
                </a:lnTo>
                <a:lnTo>
                  <a:pt x="19" y="128"/>
                </a:lnTo>
                <a:lnTo>
                  <a:pt x="19" y="92"/>
                </a:lnTo>
                <a:lnTo>
                  <a:pt x="0" y="92"/>
                </a:lnTo>
                <a:lnTo>
                  <a:pt x="18" y="47"/>
                </a:lnTo>
                <a:lnTo>
                  <a:pt x="0" y="47"/>
                </a:lnTo>
                <a:lnTo>
                  <a:pt x="1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28" name="Rectangle 135"/>
          <p:cNvSpPr>
            <a:spLocks noChangeArrowheads="1"/>
          </p:cNvSpPr>
          <p:nvPr/>
        </p:nvSpPr>
        <p:spPr bwMode="auto">
          <a:xfrm>
            <a:off x="1312333" y="5662084"/>
            <a:ext cx="33867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29" name="Rectangle 136"/>
          <p:cNvSpPr>
            <a:spLocks noChangeArrowheads="1"/>
          </p:cNvSpPr>
          <p:nvPr/>
        </p:nvSpPr>
        <p:spPr bwMode="auto">
          <a:xfrm>
            <a:off x="1312333" y="5662084"/>
            <a:ext cx="33867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30" name="Rectangle 137"/>
          <p:cNvSpPr>
            <a:spLocks noChangeArrowheads="1"/>
          </p:cNvSpPr>
          <p:nvPr/>
        </p:nvSpPr>
        <p:spPr bwMode="auto">
          <a:xfrm>
            <a:off x="1312333" y="5662084"/>
            <a:ext cx="33867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31" name="Rectangle 138"/>
          <p:cNvSpPr>
            <a:spLocks noChangeArrowheads="1"/>
          </p:cNvSpPr>
          <p:nvPr/>
        </p:nvSpPr>
        <p:spPr bwMode="auto">
          <a:xfrm>
            <a:off x="1312333" y="5662084"/>
            <a:ext cx="33867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32" name="Rectangle 139"/>
          <p:cNvSpPr>
            <a:spLocks noChangeArrowheads="1"/>
          </p:cNvSpPr>
          <p:nvPr/>
        </p:nvSpPr>
        <p:spPr bwMode="auto">
          <a:xfrm>
            <a:off x="1511301" y="5662084"/>
            <a:ext cx="38100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33" name="Rectangle 140"/>
          <p:cNvSpPr>
            <a:spLocks noChangeArrowheads="1"/>
          </p:cNvSpPr>
          <p:nvPr/>
        </p:nvSpPr>
        <p:spPr bwMode="auto">
          <a:xfrm>
            <a:off x="1511301" y="5662084"/>
            <a:ext cx="38100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34" name="Rectangle 141"/>
          <p:cNvSpPr>
            <a:spLocks noChangeArrowheads="1"/>
          </p:cNvSpPr>
          <p:nvPr/>
        </p:nvSpPr>
        <p:spPr bwMode="auto">
          <a:xfrm>
            <a:off x="1511301" y="5662084"/>
            <a:ext cx="38100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35" name="Rectangle 142"/>
          <p:cNvSpPr>
            <a:spLocks noChangeArrowheads="1"/>
          </p:cNvSpPr>
          <p:nvPr/>
        </p:nvSpPr>
        <p:spPr bwMode="auto">
          <a:xfrm>
            <a:off x="1511301" y="5662084"/>
            <a:ext cx="38100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36" name="Freeform 143"/>
          <p:cNvSpPr>
            <a:spLocks/>
          </p:cNvSpPr>
          <p:nvPr/>
        </p:nvSpPr>
        <p:spPr bwMode="auto">
          <a:xfrm>
            <a:off x="1219201" y="5717118"/>
            <a:ext cx="419100" cy="55033"/>
          </a:xfrm>
          <a:custGeom>
            <a:avLst/>
            <a:gdLst>
              <a:gd name="T0" fmla="*/ 683066946 w 138"/>
              <a:gd name="T1" fmla="*/ 0 h 18"/>
              <a:gd name="T2" fmla="*/ 558872128 w 138"/>
              <a:gd name="T3" fmla="*/ 0 h 18"/>
              <a:gd name="T4" fmla="*/ 558872128 w 138"/>
              <a:gd name="T5" fmla="*/ 62854946 h 18"/>
              <a:gd name="T6" fmla="*/ 496774718 w 138"/>
              <a:gd name="T7" fmla="*/ 62854946 h 18"/>
              <a:gd name="T8" fmla="*/ 496774718 w 138"/>
              <a:gd name="T9" fmla="*/ 0 h 18"/>
              <a:gd name="T10" fmla="*/ 217339793 w 138"/>
              <a:gd name="T11" fmla="*/ 0 h 18"/>
              <a:gd name="T12" fmla="*/ 217339793 w 138"/>
              <a:gd name="T13" fmla="*/ 62854946 h 18"/>
              <a:gd name="T14" fmla="*/ 155242384 w 138"/>
              <a:gd name="T15" fmla="*/ 62854946 h 18"/>
              <a:gd name="T16" fmla="*/ 155242384 w 138"/>
              <a:gd name="T17" fmla="*/ 0 h 18"/>
              <a:gd name="T18" fmla="*/ 31047566 w 138"/>
              <a:gd name="T19" fmla="*/ 0 h 18"/>
              <a:gd name="T20" fmla="*/ 0 w 138"/>
              <a:gd name="T21" fmla="*/ 31428619 h 18"/>
              <a:gd name="T22" fmla="*/ 0 w 138"/>
              <a:gd name="T23" fmla="*/ 94283565 h 18"/>
              <a:gd name="T24" fmla="*/ 714114512 w 138"/>
              <a:gd name="T25" fmla="*/ 94283565 h 18"/>
              <a:gd name="T26" fmla="*/ 714114512 w 138"/>
              <a:gd name="T27" fmla="*/ 31428619 h 18"/>
              <a:gd name="T28" fmla="*/ 683066946 w 138"/>
              <a:gd name="T29" fmla="*/ 0 h 1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38" h="18">
                <a:moveTo>
                  <a:pt x="132" y="0"/>
                </a:moveTo>
                <a:cubicBezTo>
                  <a:pt x="108" y="0"/>
                  <a:pt x="108" y="0"/>
                  <a:pt x="108" y="0"/>
                </a:cubicBezTo>
                <a:cubicBezTo>
                  <a:pt x="108" y="12"/>
                  <a:pt x="108" y="12"/>
                  <a:pt x="108" y="12"/>
                </a:cubicBezTo>
                <a:cubicBezTo>
                  <a:pt x="96" y="12"/>
                  <a:pt x="96" y="12"/>
                  <a:pt x="96" y="12"/>
                </a:cubicBezTo>
                <a:cubicBezTo>
                  <a:pt x="96" y="0"/>
                  <a:pt x="96" y="0"/>
                  <a:pt x="96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2" y="12"/>
                  <a:pt x="42" y="12"/>
                  <a:pt x="42" y="12"/>
                </a:cubicBezTo>
                <a:cubicBezTo>
                  <a:pt x="30" y="12"/>
                  <a:pt x="30" y="12"/>
                  <a:pt x="30" y="12"/>
                </a:cubicBezTo>
                <a:cubicBezTo>
                  <a:pt x="30" y="0"/>
                  <a:pt x="30" y="0"/>
                  <a:pt x="30" y="0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18"/>
                  <a:pt x="0" y="18"/>
                  <a:pt x="0" y="18"/>
                </a:cubicBezTo>
                <a:cubicBezTo>
                  <a:pt x="138" y="18"/>
                  <a:pt x="138" y="18"/>
                  <a:pt x="138" y="18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3"/>
                  <a:pt x="135" y="0"/>
                  <a:pt x="132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37" name="Freeform 144"/>
          <p:cNvSpPr>
            <a:spLocks noEditPoints="1"/>
          </p:cNvSpPr>
          <p:nvPr/>
        </p:nvSpPr>
        <p:spPr bwMode="auto">
          <a:xfrm>
            <a:off x="1219201" y="5791201"/>
            <a:ext cx="419100" cy="325967"/>
          </a:xfrm>
          <a:custGeom>
            <a:avLst/>
            <a:gdLst>
              <a:gd name="T0" fmla="*/ 31047566 w 138"/>
              <a:gd name="T1" fmla="*/ 552628947 h 108"/>
              <a:gd name="T2" fmla="*/ 714114512 w 138"/>
              <a:gd name="T3" fmla="*/ 521926961 h 108"/>
              <a:gd name="T4" fmla="*/ 0 w 138"/>
              <a:gd name="T5" fmla="*/ 0 h 108"/>
              <a:gd name="T6" fmla="*/ 527824562 w 138"/>
              <a:gd name="T7" fmla="*/ 61403971 h 108"/>
              <a:gd name="T8" fmla="*/ 652017103 w 138"/>
              <a:gd name="T9" fmla="*/ 184209649 h 108"/>
              <a:gd name="T10" fmla="*/ 527824562 w 138"/>
              <a:gd name="T11" fmla="*/ 61403971 h 108"/>
              <a:gd name="T12" fmla="*/ 652017103 w 138"/>
              <a:gd name="T13" fmla="*/ 214911634 h 108"/>
              <a:gd name="T14" fmla="*/ 527824562 w 138"/>
              <a:gd name="T15" fmla="*/ 337717312 h 108"/>
              <a:gd name="T16" fmla="*/ 527824562 w 138"/>
              <a:gd name="T17" fmla="*/ 368419298 h 108"/>
              <a:gd name="T18" fmla="*/ 652017103 w 138"/>
              <a:gd name="T19" fmla="*/ 491224976 h 108"/>
              <a:gd name="T20" fmla="*/ 527824562 w 138"/>
              <a:gd name="T21" fmla="*/ 368419298 h 108"/>
              <a:gd name="T22" fmla="*/ 496774718 w 138"/>
              <a:gd name="T23" fmla="*/ 61403971 h 108"/>
              <a:gd name="T24" fmla="*/ 372582178 w 138"/>
              <a:gd name="T25" fmla="*/ 184209649 h 108"/>
              <a:gd name="T26" fmla="*/ 372582178 w 138"/>
              <a:gd name="T27" fmla="*/ 214911634 h 108"/>
              <a:gd name="T28" fmla="*/ 496774718 w 138"/>
              <a:gd name="T29" fmla="*/ 337717312 h 108"/>
              <a:gd name="T30" fmla="*/ 372582178 w 138"/>
              <a:gd name="T31" fmla="*/ 214911634 h 108"/>
              <a:gd name="T32" fmla="*/ 496774718 w 138"/>
              <a:gd name="T33" fmla="*/ 368419298 h 108"/>
              <a:gd name="T34" fmla="*/ 372582178 w 138"/>
              <a:gd name="T35" fmla="*/ 491224976 h 108"/>
              <a:gd name="T36" fmla="*/ 217339793 w 138"/>
              <a:gd name="T37" fmla="*/ 61403971 h 108"/>
              <a:gd name="T38" fmla="*/ 341532334 w 138"/>
              <a:gd name="T39" fmla="*/ 184209649 h 108"/>
              <a:gd name="T40" fmla="*/ 217339793 w 138"/>
              <a:gd name="T41" fmla="*/ 61403971 h 108"/>
              <a:gd name="T42" fmla="*/ 341532334 w 138"/>
              <a:gd name="T43" fmla="*/ 214911634 h 108"/>
              <a:gd name="T44" fmla="*/ 217339793 w 138"/>
              <a:gd name="T45" fmla="*/ 337717312 h 108"/>
              <a:gd name="T46" fmla="*/ 217339793 w 138"/>
              <a:gd name="T47" fmla="*/ 368419298 h 108"/>
              <a:gd name="T48" fmla="*/ 341532334 w 138"/>
              <a:gd name="T49" fmla="*/ 491224976 h 108"/>
              <a:gd name="T50" fmla="*/ 217339793 w 138"/>
              <a:gd name="T51" fmla="*/ 368419298 h 108"/>
              <a:gd name="T52" fmla="*/ 186289950 w 138"/>
              <a:gd name="T53" fmla="*/ 61403971 h 108"/>
              <a:gd name="T54" fmla="*/ 62097409 w 138"/>
              <a:gd name="T55" fmla="*/ 184209649 h 108"/>
              <a:gd name="T56" fmla="*/ 62097409 w 138"/>
              <a:gd name="T57" fmla="*/ 214911634 h 108"/>
              <a:gd name="T58" fmla="*/ 186289950 w 138"/>
              <a:gd name="T59" fmla="*/ 337717312 h 108"/>
              <a:gd name="T60" fmla="*/ 62097409 w 138"/>
              <a:gd name="T61" fmla="*/ 214911634 h 108"/>
              <a:gd name="T62" fmla="*/ 186289950 w 138"/>
              <a:gd name="T63" fmla="*/ 368419298 h 108"/>
              <a:gd name="T64" fmla="*/ 62097409 w 138"/>
              <a:gd name="T65" fmla="*/ 491224976 h 10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38" h="108">
                <a:moveTo>
                  <a:pt x="0" y="102"/>
                </a:moveTo>
                <a:cubicBezTo>
                  <a:pt x="0" y="105"/>
                  <a:pt x="3" y="108"/>
                  <a:pt x="6" y="108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35" y="108"/>
                  <a:pt x="138" y="105"/>
                  <a:pt x="138" y="102"/>
                </a:cubicBezTo>
                <a:cubicBezTo>
                  <a:pt x="138" y="0"/>
                  <a:pt x="138" y="0"/>
                  <a:pt x="138" y="0"/>
                </a:cubicBezTo>
                <a:cubicBezTo>
                  <a:pt x="0" y="0"/>
                  <a:pt x="0" y="0"/>
                  <a:pt x="0" y="0"/>
                </a:cubicBezTo>
                <a:lnTo>
                  <a:pt x="0" y="102"/>
                </a:lnTo>
                <a:close/>
                <a:moveTo>
                  <a:pt x="102" y="12"/>
                </a:moveTo>
                <a:cubicBezTo>
                  <a:pt x="126" y="12"/>
                  <a:pt x="126" y="12"/>
                  <a:pt x="126" y="12"/>
                </a:cubicBezTo>
                <a:cubicBezTo>
                  <a:pt x="126" y="36"/>
                  <a:pt x="126" y="36"/>
                  <a:pt x="126" y="36"/>
                </a:cubicBezTo>
                <a:cubicBezTo>
                  <a:pt x="102" y="36"/>
                  <a:pt x="102" y="36"/>
                  <a:pt x="102" y="36"/>
                </a:cubicBezTo>
                <a:lnTo>
                  <a:pt x="102" y="12"/>
                </a:lnTo>
                <a:close/>
                <a:moveTo>
                  <a:pt x="102" y="42"/>
                </a:moveTo>
                <a:cubicBezTo>
                  <a:pt x="126" y="42"/>
                  <a:pt x="126" y="42"/>
                  <a:pt x="126" y="42"/>
                </a:cubicBezTo>
                <a:cubicBezTo>
                  <a:pt x="126" y="66"/>
                  <a:pt x="126" y="66"/>
                  <a:pt x="126" y="66"/>
                </a:cubicBezTo>
                <a:cubicBezTo>
                  <a:pt x="102" y="66"/>
                  <a:pt x="102" y="66"/>
                  <a:pt x="102" y="66"/>
                </a:cubicBezTo>
                <a:lnTo>
                  <a:pt x="102" y="42"/>
                </a:lnTo>
                <a:close/>
                <a:moveTo>
                  <a:pt x="102" y="72"/>
                </a:moveTo>
                <a:cubicBezTo>
                  <a:pt x="126" y="72"/>
                  <a:pt x="126" y="72"/>
                  <a:pt x="126" y="72"/>
                </a:cubicBezTo>
                <a:cubicBezTo>
                  <a:pt x="126" y="96"/>
                  <a:pt x="126" y="96"/>
                  <a:pt x="126" y="96"/>
                </a:cubicBezTo>
                <a:cubicBezTo>
                  <a:pt x="102" y="96"/>
                  <a:pt x="102" y="96"/>
                  <a:pt x="102" y="96"/>
                </a:cubicBezTo>
                <a:lnTo>
                  <a:pt x="102" y="72"/>
                </a:lnTo>
                <a:close/>
                <a:moveTo>
                  <a:pt x="72" y="12"/>
                </a:moveTo>
                <a:cubicBezTo>
                  <a:pt x="96" y="12"/>
                  <a:pt x="96" y="12"/>
                  <a:pt x="96" y="12"/>
                </a:cubicBezTo>
                <a:cubicBezTo>
                  <a:pt x="96" y="36"/>
                  <a:pt x="96" y="36"/>
                  <a:pt x="96" y="36"/>
                </a:cubicBezTo>
                <a:cubicBezTo>
                  <a:pt x="72" y="36"/>
                  <a:pt x="72" y="36"/>
                  <a:pt x="72" y="36"/>
                </a:cubicBezTo>
                <a:lnTo>
                  <a:pt x="72" y="12"/>
                </a:lnTo>
                <a:close/>
                <a:moveTo>
                  <a:pt x="72" y="42"/>
                </a:moveTo>
                <a:cubicBezTo>
                  <a:pt x="96" y="42"/>
                  <a:pt x="96" y="42"/>
                  <a:pt x="96" y="42"/>
                </a:cubicBezTo>
                <a:cubicBezTo>
                  <a:pt x="96" y="66"/>
                  <a:pt x="96" y="66"/>
                  <a:pt x="96" y="66"/>
                </a:cubicBezTo>
                <a:cubicBezTo>
                  <a:pt x="72" y="66"/>
                  <a:pt x="72" y="66"/>
                  <a:pt x="72" y="66"/>
                </a:cubicBezTo>
                <a:lnTo>
                  <a:pt x="72" y="42"/>
                </a:lnTo>
                <a:close/>
                <a:moveTo>
                  <a:pt x="72" y="72"/>
                </a:moveTo>
                <a:cubicBezTo>
                  <a:pt x="96" y="72"/>
                  <a:pt x="96" y="72"/>
                  <a:pt x="96" y="72"/>
                </a:cubicBezTo>
                <a:cubicBezTo>
                  <a:pt x="96" y="96"/>
                  <a:pt x="96" y="96"/>
                  <a:pt x="96" y="96"/>
                </a:cubicBezTo>
                <a:cubicBezTo>
                  <a:pt x="72" y="96"/>
                  <a:pt x="72" y="96"/>
                  <a:pt x="72" y="96"/>
                </a:cubicBezTo>
                <a:lnTo>
                  <a:pt x="72" y="72"/>
                </a:lnTo>
                <a:close/>
                <a:moveTo>
                  <a:pt x="42" y="12"/>
                </a:moveTo>
                <a:cubicBezTo>
                  <a:pt x="66" y="12"/>
                  <a:pt x="66" y="12"/>
                  <a:pt x="66" y="12"/>
                </a:cubicBezTo>
                <a:cubicBezTo>
                  <a:pt x="66" y="36"/>
                  <a:pt x="66" y="36"/>
                  <a:pt x="66" y="36"/>
                </a:cubicBezTo>
                <a:cubicBezTo>
                  <a:pt x="42" y="36"/>
                  <a:pt x="42" y="36"/>
                  <a:pt x="42" y="36"/>
                </a:cubicBezTo>
                <a:lnTo>
                  <a:pt x="42" y="12"/>
                </a:lnTo>
                <a:close/>
                <a:moveTo>
                  <a:pt x="42" y="42"/>
                </a:moveTo>
                <a:cubicBezTo>
                  <a:pt x="66" y="42"/>
                  <a:pt x="66" y="42"/>
                  <a:pt x="66" y="42"/>
                </a:cubicBezTo>
                <a:cubicBezTo>
                  <a:pt x="66" y="66"/>
                  <a:pt x="66" y="66"/>
                  <a:pt x="66" y="66"/>
                </a:cubicBezTo>
                <a:cubicBezTo>
                  <a:pt x="42" y="66"/>
                  <a:pt x="42" y="66"/>
                  <a:pt x="42" y="66"/>
                </a:cubicBezTo>
                <a:lnTo>
                  <a:pt x="42" y="42"/>
                </a:lnTo>
                <a:close/>
                <a:moveTo>
                  <a:pt x="42" y="72"/>
                </a:moveTo>
                <a:cubicBezTo>
                  <a:pt x="66" y="72"/>
                  <a:pt x="66" y="72"/>
                  <a:pt x="66" y="72"/>
                </a:cubicBezTo>
                <a:cubicBezTo>
                  <a:pt x="66" y="96"/>
                  <a:pt x="66" y="96"/>
                  <a:pt x="66" y="96"/>
                </a:cubicBezTo>
                <a:cubicBezTo>
                  <a:pt x="42" y="96"/>
                  <a:pt x="42" y="96"/>
                  <a:pt x="42" y="96"/>
                </a:cubicBezTo>
                <a:lnTo>
                  <a:pt x="42" y="72"/>
                </a:lnTo>
                <a:close/>
                <a:moveTo>
                  <a:pt x="12" y="12"/>
                </a:moveTo>
                <a:cubicBezTo>
                  <a:pt x="36" y="12"/>
                  <a:pt x="36" y="12"/>
                  <a:pt x="36" y="12"/>
                </a:cubicBezTo>
                <a:cubicBezTo>
                  <a:pt x="36" y="36"/>
                  <a:pt x="36" y="36"/>
                  <a:pt x="36" y="36"/>
                </a:cubicBezTo>
                <a:cubicBezTo>
                  <a:pt x="12" y="36"/>
                  <a:pt x="12" y="36"/>
                  <a:pt x="12" y="36"/>
                </a:cubicBezTo>
                <a:lnTo>
                  <a:pt x="12" y="12"/>
                </a:lnTo>
                <a:close/>
                <a:moveTo>
                  <a:pt x="12" y="42"/>
                </a:moveTo>
                <a:cubicBezTo>
                  <a:pt x="36" y="42"/>
                  <a:pt x="36" y="42"/>
                  <a:pt x="36" y="42"/>
                </a:cubicBezTo>
                <a:cubicBezTo>
                  <a:pt x="36" y="66"/>
                  <a:pt x="36" y="66"/>
                  <a:pt x="36" y="66"/>
                </a:cubicBezTo>
                <a:cubicBezTo>
                  <a:pt x="12" y="66"/>
                  <a:pt x="12" y="66"/>
                  <a:pt x="12" y="66"/>
                </a:cubicBezTo>
                <a:lnTo>
                  <a:pt x="12" y="42"/>
                </a:lnTo>
                <a:close/>
                <a:moveTo>
                  <a:pt x="12" y="72"/>
                </a:moveTo>
                <a:cubicBezTo>
                  <a:pt x="36" y="72"/>
                  <a:pt x="36" y="72"/>
                  <a:pt x="36" y="72"/>
                </a:cubicBezTo>
                <a:cubicBezTo>
                  <a:pt x="36" y="96"/>
                  <a:pt x="36" y="96"/>
                  <a:pt x="36" y="96"/>
                </a:cubicBezTo>
                <a:cubicBezTo>
                  <a:pt x="12" y="96"/>
                  <a:pt x="12" y="96"/>
                  <a:pt x="12" y="96"/>
                </a:cubicBezTo>
                <a:lnTo>
                  <a:pt x="12" y="7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38" name="Freeform 145"/>
          <p:cNvSpPr>
            <a:spLocks/>
          </p:cNvSpPr>
          <p:nvPr/>
        </p:nvSpPr>
        <p:spPr bwMode="auto">
          <a:xfrm>
            <a:off x="6282267" y="5634567"/>
            <a:ext cx="546100" cy="457200"/>
          </a:xfrm>
          <a:custGeom>
            <a:avLst/>
            <a:gdLst>
              <a:gd name="T0" fmla="*/ 564101470 w 179"/>
              <a:gd name="T1" fmla="*/ 0 h 150"/>
              <a:gd name="T2" fmla="*/ 689458877 w 179"/>
              <a:gd name="T3" fmla="*/ 187516008 h 150"/>
              <a:gd name="T4" fmla="*/ 705127981 w 179"/>
              <a:gd name="T5" fmla="*/ 177098706 h 150"/>
              <a:gd name="T6" fmla="*/ 903609399 w 179"/>
              <a:gd name="T7" fmla="*/ 171888912 h 150"/>
              <a:gd name="T8" fmla="*/ 741689986 w 179"/>
              <a:gd name="T9" fmla="*/ 302108616 h 150"/>
              <a:gd name="T10" fmla="*/ 840930695 w 179"/>
              <a:gd name="T11" fmla="*/ 505251720 h 150"/>
              <a:gd name="T12" fmla="*/ 663342178 w 179"/>
              <a:gd name="T13" fmla="*/ 604217232 h 150"/>
              <a:gd name="T14" fmla="*/ 647673075 w 179"/>
              <a:gd name="T15" fmla="*/ 588592422 h 150"/>
              <a:gd name="T16" fmla="*/ 470084558 w 179"/>
              <a:gd name="T17" fmla="*/ 500041926 h 150"/>
              <a:gd name="T18" fmla="*/ 558879960 w 179"/>
              <a:gd name="T19" fmla="*/ 677140632 h 150"/>
              <a:gd name="T20" fmla="*/ 386515241 w 179"/>
              <a:gd name="T21" fmla="*/ 781315938 h 150"/>
              <a:gd name="T22" fmla="*/ 266381631 w 179"/>
              <a:gd name="T23" fmla="*/ 588592422 h 150"/>
              <a:gd name="T24" fmla="*/ 245488730 w 179"/>
              <a:gd name="T25" fmla="*/ 599009724 h 150"/>
              <a:gd name="T26" fmla="*/ 41785803 w 179"/>
              <a:gd name="T27" fmla="*/ 619844328 h 150"/>
              <a:gd name="T28" fmla="*/ 188033823 w 179"/>
              <a:gd name="T29" fmla="*/ 489624624 h 150"/>
              <a:gd name="T30" fmla="*/ 198481418 w 179"/>
              <a:gd name="T31" fmla="*/ 479207322 h 150"/>
              <a:gd name="T32" fmla="*/ 94016912 w 179"/>
              <a:gd name="T33" fmla="*/ 276064218 h 150"/>
              <a:gd name="T34" fmla="*/ 276826937 w 179"/>
              <a:gd name="T35" fmla="*/ 171888912 h 150"/>
              <a:gd name="T36" fmla="*/ 376067646 w 179"/>
              <a:gd name="T37" fmla="*/ 338570316 h 150"/>
              <a:gd name="T38" fmla="*/ 470084558 w 179"/>
              <a:gd name="T39" fmla="*/ 161471610 h 150"/>
              <a:gd name="T40" fmla="*/ 386515241 w 179"/>
              <a:gd name="T41" fmla="*/ 125009910 h 150"/>
              <a:gd name="T42" fmla="*/ 391736750 w 179"/>
              <a:gd name="T43" fmla="*/ 98967798 h 150"/>
              <a:gd name="T44" fmla="*/ 564101470 w 179"/>
              <a:gd name="T45" fmla="*/ 0 h 15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79" h="150">
                <a:moveTo>
                  <a:pt x="108" y="0"/>
                </a:moveTo>
                <a:cubicBezTo>
                  <a:pt x="114" y="11"/>
                  <a:pt x="124" y="33"/>
                  <a:pt x="132" y="36"/>
                </a:cubicBezTo>
                <a:cubicBezTo>
                  <a:pt x="133" y="36"/>
                  <a:pt x="134" y="35"/>
                  <a:pt x="135" y="34"/>
                </a:cubicBezTo>
                <a:cubicBezTo>
                  <a:pt x="137" y="14"/>
                  <a:pt x="168" y="6"/>
                  <a:pt x="173" y="33"/>
                </a:cubicBezTo>
                <a:cubicBezTo>
                  <a:pt x="179" y="61"/>
                  <a:pt x="154" y="50"/>
                  <a:pt x="142" y="58"/>
                </a:cubicBezTo>
                <a:cubicBezTo>
                  <a:pt x="148" y="71"/>
                  <a:pt x="155" y="84"/>
                  <a:pt x="161" y="97"/>
                </a:cubicBezTo>
                <a:cubicBezTo>
                  <a:pt x="152" y="102"/>
                  <a:pt x="137" y="114"/>
                  <a:pt x="127" y="116"/>
                </a:cubicBezTo>
                <a:cubicBezTo>
                  <a:pt x="125" y="116"/>
                  <a:pt x="125" y="114"/>
                  <a:pt x="124" y="113"/>
                </a:cubicBezTo>
                <a:cubicBezTo>
                  <a:pt x="128" y="90"/>
                  <a:pt x="112" y="72"/>
                  <a:pt x="90" y="96"/>
                </a:cubicBezTo>
                <a:cubicBezTo>
                  <a:pt x="72" y="115"/>
                  <a:pt x="109" y="125"/>
                  <a:pt x="107" y="130"/>
                </a:cubicBezTo>
                <a:cubicBezTo>
                  <a:pt x="96" y="137"/>
                  <a:pt x="85" y="143"/>
                  <a:pt x="74" y="150"/>
                </a:cubicBezTo>
                <a:cubicBezTo>
                  <a:pt x="66" y="138"/>
                  <a:pt x="59" y="125"/>
                  <a:pt x="51" y="113"/>
                </a:cubicBezTo>
                <a:cubicBezTo>
                  <a:pt x="50" y="114"/>
                  <a:pt x="48" y="115"/>
                  <a:pt x="47" y="115"/>
                </a:cubicBezTo>
                <a:cubicBezTo>
                  <a:pt x="42" y="132"/>
                  <a:pt x="18" y="149"/>
                  <a:pt x="8" y="119"/>
                </a:cubicBezTo>
                <a:cubicBezTo>
                  <a:pt x="0" y="94"/>
                  <a:pt x="22" y="96"/>
                  <a:pt x="36" y="94"/>
                </a:cubicBezTo>
                <a:cubicBezTo>
                  <a:pt x="37" y="93"/>
                  <a:pt x="38" y="93"/>
                  <a:pt x="38" y="92"/>
                </a:cubicBezTo>
                <a:cubicBezTo>
                  <a:pt x="32" y="79"/>
                  <a:pt x="24" y="66"/>
                  <a:pt x="18" y="53"/>
                </a:cubicBezTo>
                <a:cubicBezTo>
                  <a:pt x="29" y="47"/>
                  <a:pt x="41" y="40"/>
                  <a:pt x="53" y="33"/>
                </a:cubicBezTo>
                <a:cubicBezTo>
                  <a:pt x="62" y="42"/>
                  <a:pt x="48" y="65"/>
                  <a:pt x="72" y="65"/>
                </a:cubicBezTo>
                <a:cubicBezTo>
                  <a:pt x="87" y="64"/>
                  <a:pt x="100" y="45"/>
                  <a:pt x="90" y="31"/>
                </a:cubicBezTo>
                <a:cubicBezTo>
                  <a:pt x="84" y="28"/>
                  <a:pt x="76" y="28"/>
                  <a:pt x="74" y="24"/>
                </a:cubicBezTo>
                <a:cubicBezTo>
                  <a:pt x="72" y="19"/>
                  <a:pt x="74" y="21"/>
                  <a:pt x="75" y="19"/>
                </a:cubicBezTo>
                <a:cubicBezTo>
                  <a:pt x="86" y="13"/>
                  <a:pt x="97" y="6"/>
                  <a:pt x="108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39" name="Freeform 146"/>
          <p:cNvSpPr>
            <a:spLocks noEditPoints="1"/>
          </p:cNvSpPr>
          <p:nvPr/>
        </p:nvSpPr>
        <p:spPr bwMode="auto">
          <a:xfrm>
            <a:off x="2978151" y="4849285"/>
            <a:ext cx="438149" cy="436033"/>
          </a:xfrm>
          <a:custGeom>
            <a:avLst/>
            <a:gdLst>
              <a:gd name="T0" fmla="*/ 0 w 144"/>
              <a:gd name="T1" fmla="*/ 61764576 h 144"/>
              <a:gd name="T2" fmla="*/ 0 w 144"/>
              <a:gd name="T3" fmla="*/ 679412606 h 144"/>
              <a:gd name="T4" fmla="*/ 62554945 w 144"/>
              <a:gd name="T5" fmla="*/ 741177181 h 144"/>
              <a:gd name="T6" fmla="*/ 688102118 w 144"/>
              <a:gd name="T7" fmla="*/ 741177181 h 144"/>
              <a:gd name="T8" fmla="*/ 750657063 w 144"/>
              <a:gd name="T9" fmla="*/ 679412606 h 144"/>
              <a:gd name="T10" fmla="*/ 750657063 w 144"/>
              <a:gd name="T11" fmla="*/ 61764576 h 144"/>
              <a:gd name="T12" fmla="*/ 688102118 w 144"/>
              <a:gd name="T13" fmla="*/ 0 h 144"/>
              <a:gd name="T14" fmla="*/ 62554945 w 144"/>
              <a:gd name="T15" fmla="*/ 0 h 144"/>
              <a:gd name="T16" fmla="*/ 0 w 144"/>
              <a:gd name="T17" fmla="*/ 61764576 h 144"/>
              <a:gd name="T18" fmla="*/ 500437282 w 144"/>
              <a:gd name="T19" fmla="*/ 308822879 h 144"/>
              <a:gd name="T20" fmla="*/ 562992227 w 144"/>
              <a:gd name="T21" fmla="*/ 308822879 h 144"/>
              <a:gd name="T22" fmla="*/ 562992227 w 144"/>
              <a:gd name="T23" fmla="*/ 123529152 h 144"/>
              <a:gd name="T24" fmla="*/ 625547172 w 144"/>
              <a:gd name="T25" fmla="*/ 123529152 h 144"/>
              <a:gd name="T26" fmla="*/ 625547172 w 144"/>
              <a:gd name="T27" fmla="*/ 308822879 h 144"/>
              <a:gd name="T28" fmla="*/ 688102118 w 144"/>
              <a:gd name="T29" fmla="*/ 308822879 h 144"/>
              <a:gd name="T30" fmla="*/ 688102118 w 144"/>
              <a:gd name="T31" fmla="*/ 401470879 h 144"/>
              <a:gd name="T32" fmla="*/ 625547172 w 144"/>
              <a:gd name="T33" fmla="*/ 401470879 h 144"/>
              <a:gd name="T34" fmla="*/ 625547172 w 144"/>
              <a:gd name="T35" fmla="*/ 617648030 h 144"/>
              <a:gd name="T36" fmla="*/ 562992227 w 144"/>
              <a:gd name="T37" fmla="*/ 617648030 h 144"/>
              <a:gd name="T38" fmla="*/ 562992227 w 144"/>
              <a:gd name="T39" fmla="*/ 401470879 h 144"/>
              <a:gd name="T40" fmla="*/ 500437282 w 144"/>
              <a:gd name="T41" fmla="*/ 401470879 h 144"/>
              <a:gd name="T42" fmla="*/ 500437282 w 144"/>
              <a:gd name="T43" fmla="*/ 308822879 h 144"/>
              <a:gd name="T44" fmla="*/ 281497255 w 144"/>
              <a:gd name="T45" fmla="*/ 401470879 h 144"/>
              <a:gd name="T46" fmla="*/ 344052200 w 144"/>
              <a:gd name="T47" fmla="*/ 401470879 h 144"/>
              <a:gd name="T48" fmla="*/ 344052200 w 144"/>
              <a:gd name="T49" fmla="*/ 123529152 h 144"/>
              <a:gd name="T50" fmla="*/ 406604863 w 144"/>
              <a:gd name="T51" fmla="*/ 123529152 h 144"/>
              <a:gd name="T52" fmla="*/ 406604863 w 144"/>
              <a:gd name="T53" fmla="*/ 401470879 h 144"/>
              <a:gd name="T54" fmla="*/ 469159809 w 144"/>
              <a:gd name="T55" fmla="*/ 401470879 h 144"/>
              <a:gd name="T56" fmla="*/ 469159809 w 144"/>
              <a:gd name="T57" fmla="*/ 494118878 h 144"/>
              <a:gd name="T58" fmla="*/ 406604863 w 144"/>
              <a:gd name="T59" fmla="*/ 494118878 h 144"/>
              <a:gd name="T60" fmla="*/ 406604863 w 144"/>
              <a:gd name="T61" fmla="*/ 617648030 h 144"/>
              <a:gd name="T62" fmla="*/ 344052200 w 144"/>
              <a:gd name="T63" fmla="*/ 617648030 h 144"/>
              <a:gd name="T64" fmla="*/ 344052200 w 144"/>
              <a:gd name="T65" fmla="*/ 494118878 h 144"/>
              <a:gd name="T66" fmla="*/ 281497255 w 144"/>
              <a:gd name="T67" fmla="*/ 494118878 h 144"/>
              <a:gd name="T68" fmla="*/ 281497255 w 144"/>
              <a:gd name="T69" fmla="*/ 401470879 h 144"/>
              <a:gd name="T70" fmla="*/ 62554945 w 144"/>
              <a:gd name="T71" fmla="*/ 247058303 h 144"/>
              <a:gd name="T72" fmla="*/ 125109891 w 144"/>
              <a:gd name="T73" fmla="*/ 247058303 h 144"/>
              <a:gd name="T74" fmla="*/ 125109891 w 144"/>
              <a:gd name="T75" fmla="*/ 123529152 h 144"/>
              <a:gd name="T76" fmla="*/ 187664836 w 144"/>
              <a:gd name="T77" fmla="*/ 123529152 h 144"/>
              <a:gd name="T78" fmla="*/ 187664836 w 144"/>
              <a:gd name="T79" fmla="*/ 247058303 h 144"/>
              <a:gd name="T80" fmla="*/ 250219782 w 144"/>
              <a:gd name="T81" fmla="*/ 247058303 h 144"/>
              <a:gd name="T82" fmla="*/ 250219782 w 144"/>
              <a:gd name="T83" fmla="*/ 339706303 h 144"/>
              <a:gd name="T84" fmla="*/ 187664836 w 144"/>
              <a:gd name="T85" fmla="*/ 339706303 h 144"/>
              <a:gd name="T86" fmla="*/ 187664836 w 144"/>
              <a:gd name="T87" fmla="*/ 617648030 h 144"/>
              <a:gd name="T88" fmla="*/ 125109891 w 144"/>
              <a:gd name="T89" fmla="*/ 617648030 h 144"/>
              <a:gd name="T90" fmla="*/ 125109891 w 144"/>
              <a:gd name="T91" fmla="*/ 339706303 h 144"/>
              <a:gd name="T92" fmla="*/ 62554945 w 144"/>
              <a:gd name="T93" fmla="*/ 339706303 h 144"/>
              <a:gd name="T94" fmla="*/ 62554945 w 144"/>
              <a:gd name="T95" fmla="*/ 247058303 h 14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144" h="144">
                <a:moveTo>
                  <a:pt x="0" y="12"/>
                </a:moveTo>
                <a:cubicBezTo>
                  <a:pt x="0" y="132"/>
                  <a:pt x="0" y="132"/>
                  <a:pt x="0" y="132"/>
                </a:cubicBezTo>
                <a:cubicBezTo>
                  <a:pt x="0" y="139"/>
                  <a:pt x="5" y="144"/>
                  <a:pt x="12" y="144"/>
                </a:cubicBezTo>
                <a:cubicBezTo>
                  <a:pt x="132" y="144"/>
                  <a:pt x="132" y="144"/>
                  <a:pt x="132" y="144"/>
                </a:cubicBezTo>
                <a:cubicBezTo>
                  <a:pt x="139" y="144"/>
                  <a:pt x="144" y="139"/>
                  <a:pt x="144" y="132"/>
                </a:cubicBezTo>
                <a:cubicBezTo>
                  <a:pt x="144" y="12"/>
                  <a:pt x="144" y="12"/>
                  <a:pt x="144" y="12"/>
                </a:cubicBezTo>
                <a:cubicBezTo>
                  <a:pt x="144" y="5"/>
                  <a:pt x="139" y="0"/>
                  <a:pt x="132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5"/>
                  <a:pt x="0" y="12"/>
                </a:cubicBezTo>
                <a:moveTo>
                  <a:pt x="96" y="60"/>
                </a:moveTo>
                <a:cubicBezTo>
                  <a:pt x="108" y="60"/>
                  <a:pt x="108" y="60"/>
                  <a:pt x="108" y="60"/>
                </a:cubicBezTo>
                <a:cubicBezTo>
                  <a:pt x="108" y="24"/>
                  <a:pt x="108" y="24"/>
                  <a:pt x="108" y="24"/>
                </a:cubicBezTo>
                <a:cubicBezTo>
                  <a:pt x="120" y="24"/>
                  <a:pt x="120" y="24"/>
                  <a:pt x="120" y="24"/>
                </a:cubicBezTo>
                <a:cubicBezTo>
                  <a:pt x="120" y="60"/>
                  <a:pt x="120" y="60"/>
                  <a:pt x="120" y="60"/>
                </a:cubicBezTo>
                <a:cubicBezTo>
                  <a:pt x="132" y="60"/>
                  <a:pt x="132" y="60"/>
                  <a:pt x="132" y="60"/>
                </a:cubicBezTo>
                <a:cubicBezTo>
                  <a:pt x="132" y="78"/>
                  <a:pt x="132" y="78"/>
                  <a:pt x="132" y="78"/>
                </a:cubicBezTo>
                <a:cubicBezTo>
                  <a:pt x="120" y="78"/>
                  <a:pt x="120" y="78"/>
                  <a:pt x="120" y="78"/>
                </a:cubicBezTo>
                <a:cubicBezTo>
                  <a:pt x="120" y="120"/>
                  <a:pt x="120" y="120"/>
                  <a:pt x="120" y="120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08" y="78"/>
                  <a:pt x="108" y="78"/>
                  <a:pt x="108" y="78"/>
                </a:cubicBezTo>
                <a:cubicBezTo>
                  <a:pt x="96" y="78"/>
                  <a:pt x="96" y="78"/>
                  <a:pt x="96" y="78"/>
                </a:cubicBezTo>
                <a:cubicBezTo>
                  <a:pt x="96" y="60"/>
                  <a:pt x="96" y="60"/>
                  <a:pt x="96" y="60"/>
                </a:cubicBezTo>
                <a:moveTo>
                  <a:pt x="54" y="78"/>
                </a:moveTo>
                <a:cubicBezTo>
                  <a:pt x="66" y="78"/>
                  <a:pt x="66" y="78"/>
                  <a:pt x="66" y="78"/>
                </a:cubicBezTo>
                <a:cubicBezTo>
                  <a:pt x="66" y="24"/>
                  <a:pt x="66" y="24"/>
                  <a:pt x="66" y="24"/>
                </a:cubicBezTo>
                <a:cubicBezTo>
                  <a:pt x="78" y="24"/>
                  <a:pt x="78" y="24"/>
                  <a:pt x="78" y="24"/>
                </a:cubicBezTo>
                <a:cubicBezTo>
                  <a:pt x="78" y="78"/>
                  <a:pt x="78" y="78"/>
                  <a:pt x="78" y="78"/>
                </a:cubicBezTo>
                <a:cubicBezTo>
                  <a:pt x="90" y="78"/>
                  <a:pt x="90" y="78"/>
                  <a:pt x="90" y="78"/>
                </a:cubicBezTo>
                <a:cubicBezTo>
                  <a:pt x="90" y="96"/>
                  <a:pt x="90" y="96"/>
                  <a:pt x="90" y="96"/>
                </a:cubicBezTo>
                <a:cubicBezTo>
                  <a:pt x="78" y="96"/>
                  <a:pt x="78" y="96"/>
                  <a:pt x="78" y="96"/>
                </a:cubicBezTo>
                <a:cubicBezTo>
                  <a:pt x="78" y="120"/>
                  <a:pt x="78" y="120"/>
                  <a:pt x="78" y="120"/>
                </a:cubicBezTo>
                <a:cubicBezTo>
                  <a:pt x="66" y="120"/>
                  <a:pt x="66" y="120"/>
                  <a:pt x="66" y="120"/>
                </a:cubicBezTo>
                <a:cubicBezTo>
                  <a:pt x="66" y="96"/>
                  <a:pt x="66" y="96"/>
                  <a:pt x="66" y="96"/>
                </a:cubicBezTo>
                <a:cubicBezTo>
                  <a:pt x="54" y="96"/>
                  <a:pt x="54" y="96"/>
                  <a:pt x="54" y="96"/>
                </a:cubicBezTo>
                <a:cubicBezTo>
                  <a:pt x="54" y="78"/>
                  <a:pt x="54" y="78"/>
                  <a:pt x="54" y="78"/>
                </a:cubicBezTo>
                <a:moveTo>
                  <a:pt x="12" y="48"/>
                </a:moveTo>
                <a:cubicBezTo>
                  <a:pt x="24" y="48"/>
                  <a:pt x="24" y="48"/>
                  <a:pt x="24" y="48"/>
                </a:cubicBezTo>
                <a:cubicBezTo>
                  <a:pt x="24" y="24"/>
                  <a:pt x="24" y="24"/>
                  <a:pt x="24" y="24"/>
                </a:cubicBezTo>
                <a:cubicBezTo>
                  <a:pt x="36" y="24"/>
                  <a:pt x="36" y="24"/>
                  <a:pt x="36" y="24"/>
                </a:cubicBezTo>
                <a:cubicBezTo>
                  <a:pt x="36" y="48"/>
                  <a:pt x="36" y="48"/>
                  <a:pt x="36" y="48"/>
                </a:cubicBezTo>
                <a:cubicBezTo>
                  <a:pt x="48" y="48"/>
                  <a:pt x="48" y="48"/>
                  <a:pt x="48" y="48"/>
                </a:cubicBezTo>
                <a:cubicBezTo>
                  <a:pt x="48" y="66"/>
                  <a:pt x="48" y="66"/>
                  <a:pt x="48" y="66"/>
                </a:cubicBezTo>
                <a:cubicBezTo>
                  <a:pt x="36" y="66"/>
                  <a:pt x="36" y="66"/>
                  <a:pt x="36" y="66"/>
                </a:cubicBezTo>
                <a:cubicBezTo>
                  <a:pt x="36" y="120"/>
                  <a:pt x="36" y="120"/>
                  <a:pt x="36" y="120"/>
                </a:cubicBezTo>
                <a:cubicBezTo>
                  <a:pt x="24" y="120"/>
                  <a:pt x="24" y="120"/>
                  <a:pt x="24" y="120"/>
                </a:cubicBezTo>
                <a:cubicBezTo>
                  <a:pt x="24" y="66"/>
                  <a:pt x="24" y="66"/>
                  <a:pt x="24" y="66"/>
                </a:cubicBezTo>
                <a:cubicBezTo>
                  <a:pt x="12" y="66"/>
                  <a:pt x="12" y="66"/>
                  <a:pt x="12" y="66"/>
                </a:cubicBezTo>
                <a:cubicBezTo>
                  <a:pt x="12" y="48"/>
                  <a:pt x="12" y="48"/>
                  <a:pt x="12" y="4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40" name="Rectangle 147"/>
          <p:cNvSpPr>
            <a:spLocks noChangeArrowheads="1"/>
          </p:cNvSpPr>
          <p:nvPr/>
        </p:nvSpPr>
        <p:spPr bwMode="auto">
          <a:xfrm>
            <a:off x="3268133" y="5031317"/>
            <a:ext cx="110067" cy="33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41" name="Rectangle 148"/>
          <p:cNvSpPr>
            <a:spLocks noChangeArrowheads="1"/>
          </p:cNvSpPr>
          <p:nvPr/>
        </p:nvSpPr>
        <p:spPr bwMode="auto">
          <a:xfrm>
            <a:off x="3268133" y="5031317"/>
            <a:ext cx="110067" cy="33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42" name="Freeform 149"/>
          <p:cNvSpPr>
            <a:spLocks/>
          </p:cNvSpPr>
          <p:nvPr/>
        </p:nvSpPr>
        <p:spPr bwMode="auto">
          <a:xfrm>
            <a:off x="3268133" y="5031317"/>
            <a:ext cx="110067" cy="33867"/>
          </a:xfrm>
          <a:custGeom>
            <a:avLst/>
            <a:gdLst>
              <a:gd name="T0" fmla="*/ 212140602 w 32"/>
              <a:gd name="T1" fmla="*/ 0 h 10"/>
              <a:gd name="T2" fmla="*/ 145847792 w 32"/>
              <a:gd name="T3" fmla="*/ 0 h 10"/>
              <a:gd name="T4" fmla="*/ 72922606 w 32"/>
              <a:gd name="T5" fmla="*/ 0 h 10"/>
              <a:gd name="T6" fmla="*/ 0 w 32"/>
              <a:gd name="T7" fmla="*/ 0 h 10"/>
              <a:gd name="T8" fmla="*/ 0 w 32"/>
              <a:gd name="T9" fmla="*/ 65275460 h 10"/>
              <a:gd name="T10" fmla="*/ 212140602 w 32"/>
              <a:gd name="T11" fmla="*/ 65275460 h 10"/>
              <a:gd name="T12" fmla="*/ 212140602 w 32"/>
              <a:gd name="T13" fmla="*/ 0 h 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10">
                <a:moveTo>
                  <a:pt x="32" y="0"/>
                </a:moveTo>
                <a:lnTo>
                  <a:pt x="22" y="0"/>
                </a:lnTo>
                <a:lnTo>
                  <a:pt x="11" y="0"/>
                </a:lnTo>
                <a:lnTo>
                  <a:pt x="0" y="0"/>
                </a:lnTo>
                <a:lnTo>
                  <a:pt x="0" y="10"/>
                </a:lnTo>
                <a:lnTo>
                  <a:pt x="32" y="10"/>
                </a:lnTo>
                <a:lnTo>
                  <a:pt x="3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43" name="Freeform 150"/>
          <p:cNvSpPr>
            <a:spLocks/>
          </p:cNvSpPr>
          <p:nvPr/>
        </p:nvSpPr>
        <p:spPr bwMode="auto">
          <a:xfrm>
            <a:off x="3268133" y="5031317"/>
            <a:ext cx="110067" cy="33867"/>
          </a:xfrm>
          <a:custGeom>
            <a:avLst/>
            <a:gdLst>
              <a:gd name="T0" fmla="*/ 212140602 w 32"/>
              <a:gd name="T1" fmla="*/ 0 h 10"/>
              <a:gd name="T2" fmla="*/ 145847792 w 32"/>
              <a:gd name="T3" fmla="*/ 0 h 10"/>
              <a:gd name="T4" fmla="*/ 72922606 w 32"/>
              <a:gd name="T5" fmla="*/ 0 h 10"/>
              <a:gd name="T6" fmla="*/ 0 w 32"/>
              <a:gd name="T7" fmla="*/ 0 h 10"/>
              <a:gd name="T8" fmla="*/ 0 w 32"/>
              <a:gd name="T9" fmla="*/ 65275460 h 10"/>
              <a:gd name="T10" fmla="*/ 212140602 w 32"/>
              <a:gd name="T11" fmla="*/ 65275460 h 10"/>
              <a:gd name="T12" fmla="*/ 212140602 w 32"/>
              <a:gd name="T13" fmla="*/ 0 h 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10">
                <a:moveTo>
                  <a:pt x="32" y="0"/>
                </a:moveTo>
                <a:lnTo>
                  <a:pt x="22" y="0"/>
                </a:lnTo>
                <a:lnTo>
                  <a:pt x="11" y="0"/>
                </a:lnTo>
                <a:lnTo>
                  <a:pt x="0" y="0"/>
                </a:lnTo>
                <a:lnTo>
                  <a:pt x="0" y="10"/>
                </a:lnTo>
                <a:lnTo>
                  <a:pt x="32" y="10"/>
                </a:lnTo>
                <a:lnTo>
                  <a:pt x="32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44" name="Rectangle 151"/>
          <p:cNvSpPr>
            <a:spLocks noChangeArrowheads="1"/>
          </p:cNvSpPr>
          <p:nvPr/>
        </p:nvSpPr>
        <p:spPr bwMode="auto">
          <a:xfrm>
            <a:off x="3143251" y="5086351"/>
            <a:ext cx="107949" cy="33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45" name="Rectangle 152"/>
          <p:cNvSpPr>
            <a:spLocks noChangeArrowheads="1"/>
          </p:cNvSpPr>
          <p:nvPr/>
        </p:nvSpPr>
        <p:spPr bwMode="auto">
          <a:xfrm>
            <a:off x="3143251" y="5086351"/>
            <a:ext cx="107949" cy="33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46" name="Freeform 153"/>
          <p:cNvSpPr>
            <a:spLocks/>
          </p:cNvSpPr>
          <p:nvPr/>
        </p:nvSpPr>
        <p:spPr bwMode="auto">
          <a:xfrm>
            <a:off x="3143251" y="5086351"/>
            <a:ext cx="107949" cy="33867"/>
          </a:xfrm>
          <a:custGeom>
            <a:avLst/>
            <a:gdLst>
              <a:gd name="T0" fmla="*/ 208059690 w 32"/>
              <a:gd name="T1" fmla="*/ 0 h 10"/>
              <a:gd name="T2" fmla="*/ 136539883 w 32"/>
              <a:gd name="T3" fmla="*/ 0 h 10"/>
              <a:gd name="T4" fmla="*/ 71519807 w 32"/>
              <a:gd name="T5" fmla="*/ 0 h 10"/>
              <a:gd name="T6" fmla="*/ 0 w 32"/>
              <a:gd name="T7" fmla="*/ 0 h 10"/>
              <a:gd name="T8" fmla="*/ 0 w 32"/>
              <a:gd name="T9" fmla="*/ 65275460 h 10"/>
              <a:gd name="T10" fmla="*/ 208059690 w 32"/>
              <a:gd name="T11" fmla="*/ 65275460 h 10"/>
              <a:gd name="T12" fmla="*/ 208059690 w 32"/>
              <a:gd name="T13" fmla="*/ 0 h 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10">
                <a:moveTo>
                  <a:pt x="32" y="0"/>
                </a:moveTo>
                <a:lnTo>
                  <a:pt x="21" y="0"/>
                </a:lnTo>
                <a:lnTo>
                  <a:pt x="11" y="0"/>
                </a:lnTo>
                <a:lnTo>
                  <a:pt x="0" y="0"/>
                </a:lnTo>
                <a:lnTo>
                  <a:pt x="0" y="10"/>
                </a:lnTo>
                <a:lnTo>
                  <a:pt x="32" y="10"/>
                </a:lnTo>
                <a:lnTo>
                  <a:pt x="3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47" name="Freeform 154"/>
          <p:cNvSpPr>
            <a:spLocks/>
          </p:cNvSpPr>
          <p:nvPr/>
        </p:nvSpPr>
        <p:spPr bwMode="auto">
          <a:xfrm>
            <a:off x="3143251" y="5086351"/>
            <a:ext cx="107949" cy="33867"/>
          </a:xfrm>
          <a:custGeom>
            <a:avLst/>
            <a:gdLst>
              <a:gd name="T0" fmla="*/ 208059690 w 32"/>
              <a:gd name="T1" fmla="*/ 0 h 10"/>
              <a:gd name="T2" fmla="*/ 136539883 w 32"/>
              <a:gd name="T3" fmla="*/ 0 h 10"/>
              <a:gd name="T4" fmla="*/ 71519807 w 32"/>
              <a:gd name="T5" fmla="*/ 0 h 10"/>
              <a:gd name="T6" fmla="*/ 0 w 32"/>
              <a:gd name="T7" fmla="*/ 0 h 10"/>
              <a:gd name="T8" fmla="*/ 0 w 32"/>
              <a:gd name="T9" fmla="*/ 65275460 h 10"/>
              <a:gd name="T10" fmla="*/ 208059690 w 32"/>
              <a:gd name="T11" fmla="*/ 65275460 h 10"/>
              <a:gd name="T12" fmla="*/ 208059690 w 32"/>
              <a:gd name="T13" fmla="*/ 0 h 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10">
                <a:moveTo>
                  <a:pt x="32" y="0"/>
                </a:moveTo>
                <a:lnTo>
                  <a:pt x="21" y="0"/>
                </a:lnTo>
                <a:lnTo>
                  <a:pt x="11" y="0"/>
                </a:lnTo>
                <a:lnTo>
                  <a:pt x="0" y="0"/>
                </a:lnTo>
                <a:lnTo>
                  <a:pt x="0" y="10"/>
                </a:lnTo>
                <a:lnTo>
                  <a:pt x="32" y="10"/>
                </a:lnTo>
                <a:lnTo>
                  <a:pt x="32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48" name="Rectangle 155"/>
          <p:cNvSpPr>
            <a:spLocks noChangeArrowheads="1"/>
          </p:cNvSpPr>
          <p:nvPr/>
        </p:nvSpPr>
        <p:spPr bwMode="auto">
          <a:xfrm>
            <a:off x="3016251" y="4993218"/>
            <a:ext cx="107949" cy="38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49" name="Rectangle 156"/>
          <p:cNvSpPr>
            <a:spLocks noChangeArrowheads="1"/>
          </p:cNvSpPr>
          <p:nvPr/>
        </p:nvSpPr>
        <p:spPr bwMode="auto">
          <a:xfrm>
            <a:off x="3016251" y="4993218"/>
            <a:ext cx="107949" cy="38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50" name="Freeform 157"/>
          <p:cNvSpPr>
            <a:spLocks/>
          </p:cNvSpPr>
          <p:nvPr/>
        </p:nvSpPr>
        <p:spPr bwMode="auto">
          <a:xfrm>
            <a:off x="3016251" y="4993218"/>
            <a:ext cx="107949" cy="38100"/>
          </a:xfrm>
          <a:custGeom>
            <a:avLst/>
            <a:gdLst>
              <a:gd name="T0" fmla="*/ 208059690 w 32"/>
              <a:gd name="T1" fmla="*/ 0 h 11"/>
              <a:gd name="T2" fmla="*/ 136539883 w 32"/>
              <a:gd name="T3" fmla="*/ 0 h 11"/>
              <a:gd name="T4" fmla="*/ 71519807 w 32"/>
              <a:gd name="T5" fmla="*/ 0 h 11"/>
              <a:gd name="T6" fmla="*/ 0 w 32"/>
              <a:gd name="T7" fmla="*/ 0 h 11"/>
              <a:gd name="T8" fmla="*/ 0 w 32"/>
              <a:gd name="T9" fmla="*/ 73429957 h 11"/>
              <a:gd name="T10" fmla="*/ 208059690 w 32"/>
              <a:gd name="T11" fmla="*/ 73429957 h 11"/>
              <a:gd name="T12" fmla="*/ 208059690 w 32"/>
              <a:gd name="T13" fmla="*/ 0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11">
                <a:moveTo>
                  <a:pt x="32" y="0"/>
                </a:moveTo>
                <a:lnTo>
                  <a:pt x="21" y="0"/>
                </a:lnTo>
                <a:lnTo>
                  <a:pt x="11" y="0"/>
                </a:lnTo>
                <a:lnTo>
                  <a:pt x="0" y="0"/>
                </a:lnTo>
                <a:lnTo>
                  <a:pt x="0" y="11"/>
                </a:lnTo>
                <a:lnTo>
                  <a:pt x="32" y="11"/>
                </a:lnTo>
                <a:lnTo>
                  <a:pt x="3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51" name="Freeform 158"/>
          <p:cNvSpPr>
            <a:spLocks/>
          </p:cNvSpPr>
          <p:nvPr/>
        </p:nvSpPr>
        <p:spPr bwMode="auto">
          <a:xfrm>
            <a:off x="3016251" y="4993218"/>
            <a:ext cx="107949" cy="38100"/>
          </a:xfrm>
          <a:custGeom>
            <a:avLst/>
            <a:gdLst>
              <a:gd name="T0" fmla="*/ 208059690 w 32"/>
              <a:gd name="T1" fmla="*/ 0 h 11"/>
              <a:gd name="T2" fmla="*/ 136539883 w 32"/>
              <a:gd name="T3" fmla="*/ 0 h 11"/>
              <a:gd name="T4" fmla="*/ 71519807 w 32"/>
              <a:gd name="T5" fmla="*/ 0 h 11"/>
              <a:gd name="T6" fmla="*/ 0 w 32"/>
              <a:gd name="T7" fmla="*/ 0 h 11"/>
              <a:gd name="T8" fmla="*/ 0 w 32"/>
              <a:gd name="T9" fmla="*/ 73429957 h 11"/>
              <a:gd name="T10" fmla="*/ 208059690 w 32"/>
              <a:gd name="T11" fmla="*/ 73429957 h 11"/>
              <a:gd name="T12" fmla="*/ 208059690 w 32"/>
              <a:gd name="T13" fmla="*/ 0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11">
                <a:moveTo>
                  <a:pt x="32" y="0"/>
                </a:moveTo>
                <a:lnTo>
                  <a:pt x="21" y="0"/>
                </a:lnTo>
                <a:lnTo>
                  <a:pt x="11" y="0"/>
                </a:lnTo>
                <a:lnTo>
                  <a:pt x="0" y="0"/>
                </a:lnTo>
                <a:lnTo>
                  <a:pt x="0" y="11"/>
                </a:lnTo>
                <a:lnTo>
                  <a:pt x="32" y="11"/>
                </a:lnTo>
                <a:lnTo>
                  <a:pt x="32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52" name="Freeform 159"/>
          <p:cNvSpPr>
            <a:spLocks/>
          </p:cNvSpPr>
          <p:nvPr/>
        </p:nvSpPr>
        <p:spPr bwMode="auto">
          <a:xfrm>
            <a:off x="6369051" y="4861985"/>
            <a:ext cx="143933" cy="385233"/>
          </a:xfrm>
          <a:custGeom>
            <a:avLst/>
            <a:gdLst>
              <a:gd name="T0" fmla="*/ 277418649 w 42"/>
              <a:gd name="T1" fmla="*/ 636408906 h 112"/>
              <a:gd name="T2" fmla="*/ 0 w 42"/>
              <a:gd name="T3" fmla="*/ 742477917 h 112"/>
              <a:gd name="T4" fmla="*/ 0 w 42"/>
              <a:gd name="T5" fmla="*/ 106069011 h 112"/>
              <a:gd name="T6" fmla="*/ 277418649 w 42"/>
              <a:gd name="T7" fmla="*/ 0 h 112"/>
              <a:gd name="T8" fmla="*/ 277418649 w 42"/>
              <a:gd name="T9" fmla="*/ 636408906 h 1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2" h="112">
                <a:moveTo>
                  <a:pt x="42" y="96"/>
                </a:moveTo>
                <a:lnTo>
                  <a:pt x="0" y="112"/>
                </a:lnTo>
                <a:lnTo>
                  <a:pt x="0" y="16"/>
                </a:lnTo>
                <a:lnTo>
                  <a:pt x="42" y="0"/>
                </a:lnTo>
                <a:lnTo>
                  <a:pt x="42" y="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53" name="Freeform 160"/>
          <p:cNvSpPr>
            <a:spLocks/>
          </p:cNvSpPr>
          <p:nvPr/>
        </p:nvSpPr>
        <p:spPr bwMode="auto">
          <a:xfrm>
            <a:off x="6695018" y="4861985"/>
            <a:ext cx="146049" cy="385233"/>
          </a:xfrm>
          <a:custGeom>
            <a:avLst/>
            <a:gdLst>
              <a:gd name="T0" fmla="*/ 281494806 w 43"/>
              <a:gd name="T1" fmla="*/ 636408906 h 112"/>
              <a:gd name="T2" fmla="*/ 0 w 43"/>
              <a:gd name="T3" fmla="*/ 742477917 h 112"/>
              <a:gd name="T4" fmla="*/ 0 w 43"/>
              <a:gd name="T5" fmla="*/ 106069011 h 112"/>
              <a:gd name="T6" fmla="*/ 281494806 w 43"/>
              <a:gd name="T7" fmla="*/ 0 h 112"/>
              <a:gd name="T8" fmla="*/ 281494806 w 43"/>
              <a:gd name="T9" fmla="*/ 636408906 h 1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3" h="112">
                <a:moveTo>
                  <a:pt x="43" y="96"/>
                </a:moveTo>
                <a:lnTo>
                  <a:pt x="0" y="112"/>
                </a:lnTo>
                <a:lnTo>
                  <a:pt x="0" y="16"/>
                </a:lnTo>
                <a:lnTo>
                  <a:pt x="43" y="0"/>
                </a:lnTo>
                <a:lnTo>
                  <a:pt x="43" y="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54" name="Freeform 161"/>
          <p:cNvSpPr>
            <a:spLocks/>
          </p:cNvSpPr>
          <p:nvPr/>
        </p:nvSpPr>
        <p:spPr bwMode="auto">
          <a:xfrm>
            <a:off x="6529918" y="4861985"/>
            <a:ext cx="148167" cy="385233"/>
          </a:xfrm>
          <a:custGeom>
            <a:avLst/>
            <a:gdLst>
              <a:gd name="T0" fmla="*/ 0 w 43"/>
              <a:gd name="T1" fmla="*/ 636408906 h 112"/>
              <a:gd name="T2" fmla="*/ 285575744 w 43"/>
              <a:gd name="T3" fmla="*/ 742477917 h 112"/>
              <a:gd name="T4" fmla="*/ 285575744 w 43"/>
              <a:gd name="T5" fmla="*/ 106069011 h 112"/>
              <a:gd name="T6" fmla="*/ 0 w 43"/>
              <a:gd name="T7" fmla="*/ 0 h 112"/>
              <a:gd name="T8" fmla="*/ 0 w 43"/>
              <a:gd name="T9" fmla="*/ 636408906 h 1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3" h="112">
                <a:moveTo>
                  <a:pt x="0" y="96"/>
                </a:moveTo>
                <a:lnTo>
                  <a:pt x="43" y="112"/>
                </a:lnTo>
                <a:lnTo>
                  <a:pt x="43" y="16"/>
                </a:lnTo>
                <a:lnTo>
                  <a:pt x="0" y="0"/>
                </a:lnTo>
                <a:lnTo>
                  <a:pt x="0" y="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55" name="Freeform 162"/>
          <p:cNvSpPr>
            <a:spLocks/>
          </p:cNvSpPr>
          <p:nvPr/>
        </p:nvSpPr>
        <p:spPr bwMode="auto">
          <a:xfrm>
            <a:off x="7164918" y="4961467"/>
            <a:ext cx="543983" cy="220133"/>
          </a:xfrm>
          <a:custGeom>
            <a:avLst/>
            <a:gdLst>
              <a:gd name="T0" fmla="*/ 864404323 w 180"/>
              <a:gd name="T1" fmla="*/ 52380268 h 72"/>
              <a:gd name="T2" fmla="*/ 735772822 w 180"/>
              <a:gd name="T3" fmla="*/ 130949524 h 72"/>
              <a:gd name="T4" fmla="*/ 581415474 w 180"/>
              <a:gd name="T5" fmla="*/ 0 h 72"/>
              <a:gd name="T6" fmla="*/ 391039673 w 180"/>
              <a:gd name="T7" fmla="*/ 120472553 h 72"/>
              <a:gd name="T8" fmla="*/ 313862133 w 180"/>
              <a:gd name="T9" fmla="*/ 120472553 h 72"/>
              <a:gd name="T10" fmla="*/ 195520970 w 180"/>
              <a:gd name="T11" fmla="*/ 120472553 h 72"/>
              <a:gd name="T12" fmla="*/ 102905654 w 180"/>
              <a:gd name="T13" fmla="*/ 41903297 h 72"/>
              <a:gd name="T14" fmla="*/ 118341163 w 180"/>
              <a:gd name="T15" fmla="*/ 178090160 h 72"/>
              <a:gd name="T16" fmla="*/ 118341163 w 180"/>
              <a:gd name="T17" fmla="*/ 183327499 h 72"/>
              <a:gd name="T18" fmla="*/ 102905654 w 180"/>
              <a:gd name="T19" fmla="*/ 319514361 h 72"/>
              <a:gd name="T20" fmla="*/ 195520970 w 180"/>
              <a:gd name="T21" fmla="*/ 240945106 h 72"/>
              <a:gd name="T22" fmla="*/ 313862133 w 180"/>
              <a:gd name="T23" fmla="*/ 240945106 h 72"/>
              <a:gd name="T24" fmla="*/ 391039673 w 180"/>
              <a:gd name="T25" fmla="*/ 240945106 h 72"/>
              <a:gd name="T26" fmla="*/ 694611467 w 180"/>
              <a:gd name="T27" fmla="*/ 377131968 h 72"/>
              <a:gd name="T28" fmla="*/ 926148623 w 180"/>
              <a:gd name="T29" fmla="*/ 199041808 h 72"/>
              <a:gd name="T30" fmla="*/ 864404323 w 180"/>
              <a:gd name="T31" fmla="*/ 52380268 h 7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72">
                <a:moveTo>
                  <a:pt x="168" y="10"/>
                </a:moveTo>
                <a:cubicBezTo>
                  <a:pt x="163" y="19"/>
                  <a:pt x="154" y="25"/>
                  <a:pt x="143" y="25"/>
                </a:cubicBezTo>
                <a:cubicBezTo>
                  <a:pt x="128" y="25"/>
                  <a:pt x="116" y="14"/>
                  <a:pt x="113" y="0"/>
                </a:cubicBezTo>
                <a:cubicBezTo>
                  <a:pt x="88" y="7"/>
                  <a:pt x="76" y="23"/>
                  <a:pt x="76" y="23"/>
                </a:cubicBezTo>
                <a:cubicBezTo>
                  <a:pt x="61" y="23"/>
                  <a:pt x="61" y="23"/>
                  <a:pt x="61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8" y="23"/>
                  <a:pt x="41" y="0"/>
                  <a:pt x="20" y="8"/>
                </a:cubicBezTo>
                <a:cubicBezTo>
                  <a:pt x="0" y="17"/>
                  <a:pt x="23" y="34"/>
                  <a:pt x="23" y="34"/>
                </a:cubicBezTo>
                <a:cubicBezTo>
                  <a:pt x="23" y="35"/>
                  <a:pt x="23" y="35"/>
                  <a:pt x="23" y="35"/>
                </a:cubicBezTo>
                <a:cubicBezTo>
                  <a:pt x="23" y="36"/>
                  <a:pt x="0" y="52"/>
                  <a:pt x="20" y="61"/>
                </a:cubicBezTo>
                <a:cubicBezTo>
                  <a:pt x="41" y="70"/>
                  <a:pt x="38" y="46"/>
                  <a:pt x="38" y="46"/>
                </a:cubicBezTo>
                <a:cubicBezTo>
                  <a:pt x="61" y="46"/>
                  <a:pt x="61" y="46"/>
                  <a:pt x="61" y="46"/>
                </a:cubicBezTo>
                <a:cubicBezTo>
                  <a:pt x="76" y="46"/>
                  <a:pt x="76" y="46"/>
                  <a:pt x="76" y="46"/>
                </a:cubicBezTo>
                <a:cubicBezTo>
                  <a:pt x="76" y="46"/>
                  <a:pt x="95" y="72"/>
                  <a:pt x="135" y="72"/>
                </a:cubicBezTo>
                <a:cubicBezTo>
                  <a:pt x="175" y="72"/>
                  <a:pt x="180" y="47"/>
                  <a:pt x="180" y="38"/>
                </a:cubicBezTo>
                <a:cubicBezTo>
                  <a:pt x="180" y="34"/>
                  <a:pt x="178" y="21"/>
                  <a:pt x="168" y="1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56" name="Freeform 163"/>
          <p:cNvSpPr>
            <a:spLocks/>
          </p:cNvSpPr>
          <p:nvPr/>
        </p:nvSpPr>
        <p:spPr bwMode="auto">
          <a:xfrm>
            <a:off x="7270751" y="5822951"/>
            <a:ext cx="387349" cy="287867"/>
          </a:xfrm>
          <a:custGeom>
            <a:avLst/>
            <a:gdLst>
              <a:gd name="T0" fmla="*/ 633341126 w 128"/>
              <a:gd name="T1" fmla="*/ 305918816 h 94"/>
              <a:gd name="T2" fmla="*/ 509762314 w 128"/>
              <a:gd name="T3" fmla="*/ 205704467 h 94"/>
              <a:gd name="T4" fmla="*/ 329545011 w 128"/>
              <a:gd name="T5" fmla="*/ 0 h 94"/>
              <a:gd name="T6" fmla="*/ 149325438 w 128"/>
              <a:gd name="T7" fmla="*/ 205704467 h 94"/>
              <a:gd name="T8" fmla="*/ 25746626 w 128"/>
              <a:gd name="T9" fmla="*/ 305918816 h 94"/>
              <a:gd name="T10" fmla="*/ 72087829 w 128"/>
              <a:gd name="T11" fmla="*/ 448327834 h 94"/>
              <a:gd name="T12" fmla="*/ 303798385 w 128"/>
              <a:gd name="T13" fmla="*/ 443054362 h 94"/>
              <a:gd name="T14" fmla="*/ 329545011 w 128"/>
              <a:gd name="T15" fmla="*/ 437778593 h 94"/>
              <a:gd name="T16" fmla="*/ 355289367 w 128"/>
              <a:gd name="T17" fmla="*/ 443054362 h 94"/>
              <a:gd name="T18" fmla="*/ 586999923 w 128"/>
              <a:gd name="T19" fmla="*/ 448327834 h 94"/>
              <a:gd name="T20" fmla="*/ 633341126 w 128"/>
              <a:gd name="T21" fmla="*/ 305918816 h 9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28" h="94">
                <a:moveTo>
                  <a:pt x="123" y="58"/>
                </a:moveTo>
                <a:cubicBezTo>
                  <a:pt x="119" y="48"/>
                  <a:pt x="105" y="45"/>
                  <a:pt x="99" y="39"/>
                </a:cubicBezTo>
                <a:cubicBezTo>
                  <a:pt x="85" y="25"/>
                  <a:pt x="88" y="2"/>
                  <a:pt x="64" y="0"/>
                </a:cubicBezTo>
                <a:cubicBezTo>
                  <a:pt x="40" y="2"/>
                  <a:pt x="43" y="25"/>
                  <a:pt x="29" y="39"/>
                </a:cubicBezTo>
                <a:cubicBezTo>
                  <a:pt x="23" y="45"/>
                  <a:pt x="9" y="48"/>
                  <a:pt x="5" y="58"/>
                </a:cubicBezTo>
                <a:cubicBezTo>
                  <a:pt x="0" y="69"/>
                  <a:pt x="8" y="80"/>
                  <a:pt x="14" y="85"/>
                </a:cubicBezTo>
                <a:cubicBezTo>
                  <a:pt x="26" y="94"/>
                  <a:pt x="45" y="85"/>
                  <a:pt x="59" y="84"/>
                </a:cubicBezTo>
                <a:cubicBezTo>
                  <a:pt x="60" y="83"/>
                  <a:pt x="62" y="83"/>
                  <a:pt x="64" y="83"/>
                </a:cubicBezTo>
                <a:cubicBezTo>
                  <a:pt x="66" y="83"/>
                  <a:pt x="68" y="83"/>
                  <a:pt x="69" y="84"/>
                </a:cubicBezTo>
                <a:cubicBezTo>
                  <a:pt x="83" y="85"/>
                  <a:pt x="102" y="94"/>
                  <a:pt x="114" y="85"/>
                </a:cubicBezTo>
                <a:cubicBezTo>
                  <a:pt x="120" y="80"/>
                  <a:pt x="128" y="69"/>
                  <a:pt x="123" y="5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57" name="Freeform 164"/>
          <p:cNvSpPr>
            <a:spLocks/>
          </p:cNvSpPr>
          <p:nvPr/>
        </p:nvSpPr>
        <p:spPr bwMode="auto">
          <a:xfrm>
            <a:off x="7573434" y="5755218"/>
            <a:ext cx="116417" cy="143933"/>
          </a:xfrm>
          <a:custGeom>
            <a:avLst/>
            <a:gdLst>
              <a:gd name="T0" fmla="*/ 184912850 w 38"/>
              <a:gd name="T1" fmla="*/ 147682490 h 47"/>
              <a:gd name="T2" fmla="*/ 68680865 w 38"/>
              <a:gd name="T3" fmla="*/ 237347598 h 47"/>
              <a:gd name="T4" fmla="*/ 15849607 w 38"/>
              <a:gd name="T5" fmla="*/ 100214349 h 47"/>
              <a:gd name="T6" fmla="*/ 132081592 w 38"/>
              <a:gd name="T7" fmla="*/ 10549241 h 47"/>
              <a:gd name="T8" fmla="*/ 184912850 w 38"/>
              <a:gd name="T9" fmla="*/ 147682490 h 4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8" h="47">
                <a:moveTo>
                  <a:pt x="35" y="28"/>
                </a:moveTo>
                <a:cubicBezTo>
                  <a:pt x="32" y="40"/>
                  <a:pt x="22" y="47"/>
                  <a:pt x="13" y="45"/>
                </a:cubicBezTo>
                <a:cubicBezTo>
                  <a:pt x="4" y="43"/>
                  <a:pt x="0" y="31"/>
                  <a:pt x="3" y="19"/>
                </a:cubicBezTo>
                <a:cubicBezTo>
                  <a:pt x="6" y="8"/>
                  <a:pt x="16" y="0"/>
                  <a:pt x="25" y="2"/>
                </a:cubicBezTo>
                <a:cubicBezTo>
                  <a:pt x="34" y="5"/>
                  <a:pt x="38" y="16"/>
                  <a:pt x="35" y="2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58" name="Freeform 165"/>
          <p:cNvSpPr>
            <a:spLocks/>
          </p:cNvSpPr>
          <p:nvPr/>
        </p:nvSpPr>
        <p:spPr bwMode="auto">
          <a:xfrm>
            <a:off x="7241118" y="5755218"/>
            <a:ext cx="112183" cy="143933"/>
          </a:xfrm>
          <a:custGeom>
            <a:avLst/>
            <a:gdLst>
              <a:gd name="T0" fmla="*/ 172948032 w 38"/>
              <a:gd name="T1" fmla="*/ 100214349 h 47"/>
              <a:gd name="T2" fmla="*/ 123533043 w 38"/>
              <a:gd name="T3" fmla="*/ 237347598 h 47"/>
              <a:gd name="T4" fmla="*/ 14823611 w 38"/>
              <a:gd name="T5" fmla="*/ 147682490 h 47"/>
              <a:gd name="T6" fmla="*/ 64238600 w 38"/>
              <a:gd name="T7" fmla="*/ 10549241 h 47"/>
              <a:gd name="T8" fmla="*/ 172948032 w 38"/>
              <a:gd name="T9" fmla="*/ 100214349 h 4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8" h="47">
                <a:moveTo>
                  <a:pt x="35" y="19"/>
                </a:moveTo>
                <a:cubicBezTo>
                  <a:pt x="38" y="31"/>
                  <a:pt x="34" y="43"/>
                  <a:pt x="25" y="45"/>
                </a:cubicBezTo>
                <a:cubicBezTo>
                  <a:pt x="16" y="47"/>
                  <a:pt x="6" y="40"/>
                  <a:pt x="3" y="28"/>
                </a:cubicBezTo>
                <a:cubicBezTo>
                  <a:pt x="0" y="16"/>
                  <a:pt x="4" y="5"/>
                  <a:pt x="13" y="2"/>
                </a:cubicBezTo>
                <a:cubicBezTo>
                  <a:pt x="22" y="0"/>
                  <a:pt x="32" y="8"/>
                  <a:pt x="35" y="19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59" name="Freeform 166"/>
          <p:cNvSpPr>
            <a:spLocks/>
          </p:cNvSpPr>
          <p:nvPr/>
        </p:nvSpPr>
        <p:spPr bwMode="auto">
          <a:xfrm>
            <a:off x="7340601" y="5653618"/>
            <a:ext cx="116417" cy="143933"/>
          </a:xfrm>
          <a:custGeom>
            <a:avLst/>
            <a:gdLst>
              <a:gd name="T0" fmla="*/ 184912850 w 38"/>
              <a:gd name="T1" fmla="*/ 101137905 h 48"/>
              <a:gd name="T2" fmla="*/ 132081592 w 38"/>
              <a:gd name="T3" fmla="*/ 227560849 h 48"/>
              <a:gd name="T4" fmla="*/ 15849607 w 38"/>
              <a:gd name="T5" fmla="*/ 141594417 h 48"/>
              <a:gd name="T6" fmla="*/ 68680865 w 38"/>
              <a:gd name="T7" fmla="*/ 10113566 h 48"/>
              <a:gd name="T8" fmla="*/ 184912850 w 38"/>
              <a:gd name="T9" fmla="*/ 101137905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8" h="48">
                <a:moveTo>
                  <a:pt x="35" y="20"/>
                </a:moveTo>
                <a:cubicBezTo>
                  <a:pt x="38" y="31"/>
                  <a:pt x="33" y="43"/>
                  <a:pt x="25" y="45"/>
                </a:cubicBezTo>
                <a:cubicBezTo>
                  <a:pt x="16" y="48"/>
                  <a:pt x="6" y="40"/>
                  <a:pt x="3" y="28"/>
                </a:cubicBezTo>
                <a:cubicBezTo>
                  <a:pt x="0" y="16"/>
                  <a:pt x="4" y="5"/>
                  <a:pt x="13" y="2"/>
                </a:cubicBezTo>
                <a:cubicBezTo>
                  <a:pt x="22" y="0"/>
                  <a:pt x="32" y="8"/>
                  <a:pt x="35" y="2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0" name="Freeform 167"/>
          <p:cNvSpPr>
            <a:spLocks/>
          </p:cNvSpPr>
          <p:nvPr/>
        </p:nvSpPr>
        <p:spPr bwMode="auto">
          <a:xfrm>
            <a:off x="7473951" y="5653618"/>
            <a:ext cx="116416" cy="143933"/>
          </a:xfrm>
          <a:custGeom>
            <a:avLst/>
            <a:gdLst>
              <a:gd name="T0" fmla="*/ 184910732 w 38"/>
              <a:gd name="T1" fmla="*/ 141594417 h 48"/>
              <a:gd name="T2" fmla="*/ 68680079 w 38"/>
              <a:gd name="T3" fmla="*/ 227560849 h 48"/>
              <a:gd name="T4" fmla="*/ 15849426 w 38"/>
              <a:gd name="T5" fmla="*/ 101137905 h 48"/>
              <a:gd name="T6" fmla="*/ 132080079 w 38"/>
              <a:gd name="T7" fmla="*/ 10113566 h 48"/>
              <a:gd name="T8" fmla="*/ 184910732 w 38"/>
              <a:gd name="T9" fmla="*/ 141594417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8" h="48">
                <a:moveTo>
                  <a:pt x="35" y="28"/>
                </a:moveTo>
                <a:cubicBezTo>
                  <a:pt x="32" y="40"/>
                  <a:pt x="22" y="48"/>
                  <a:pt x="13" y="45"/>
                </a:cubicBezTo>
                <a:cubicBezTo>
                  <a:pt x="5" y="43"/>
                  <a:pt x="0" y="31"/>
                  <a:pt x="3" y="20"/>
                </a:cubicBezTo>
                <a:cubicBezTo>
                  <a:pt x="6" y="8"/>
                  <a:pt x="16" y="0"/>
                  <a:pt x="25" y="2"/>
                </a:cubicBezTo>
                <a:cubicBezTo>
                  <a:pt x="34" y="5"/>
                  <a:pt x="38" y="16"/>
                  <a:pt x="35" y="2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1" name="Freeform 168"/>
          <p:cNvSpPr>
            <a:spLocks/>
          </p:cNvSpPr>
          <p:nvPr/>
        </p:nvSpPr>
        <p:spPr bwMode="auto">
          <a:xfrm>
            <a:off x="8113184" y="5803901"/>
            <a:ext cx="474133" cy="182033"/>
          </a:xfrm>
          <a:custGeom>
            <a:avLst/>
            <a:gdLst>
              <a:gd name="T0" fmla="*/ 808401892 w 156"/>
              <a:gd name="T1" fmla="*/ 123964700 h 60"/>
              <a:gd name="T2" fmla="*/ 746217482 w 156"/>
              <a:gd name="T3" fmla="*/ 123964700 h 60"/>
              <a:gd name="T4" fmla="*/ 746217482 w 156"/>
              <a:gd name="T5" fmla="*/ 61982350 h 60"/>
              <a:gd name="T6" fmla="*/ 715125277 w 156"/>
              <a:gd name="T7" fmla="*/ 30991175 h 60"/>
              <a:gd name="T8" fmla="*/ 652940867 w 156"/>
              <a:gd name="T9" fmla="*/ 30991175 h 60"/>
              <a:gd name="T10" fmla="*/ 621848662 w 156"/>
              <a:gd name="T11" fmla="*/ 61982350 h 60"/>
              <a:gd name="T12" fmla="*/ 621848662 w 156"/>
              <a:gd name="T13" fmla="*/ 30991175 h 60"/>
              <a:gd name="T14" fmla="*/ 590754177 w 156"/>
              <a:gd name="T15" fmla="*/ 0 h 60"/>
              <a:gd name="T16" fmla="*/ 528569767 w 156"/>
              <a:gd name="T17" fmla="*/ 0 h 60"/>
              <a:gd name="T18" fmla="*/ 497477562 w 156"/>
              <a:gd name="T19" fmla="*/ 30991175 h 60"/>
              <a:gd name="T20" fmla="*/ 497477562 w 156"/>
              <a:gd name="T21" fmla="*/ 123964700 h 60"/>
              <a:gd name="T22" fmla="*/ 310924331 w 156"/>
              <a:gd name="T23" fmla="*/ 123964700 h 60"/>
              <a:gd name="T24" fmla="*/ 310924331 w 156"/>
              <a:gd name="T25" fmla="*/ 30991175 h 60"/>
              <a:gd name="T26" fmla="*/ 279832126 w 156"/>
              <a:gd name="T27" fmla="*/ 0 h 60"/>
              <a:gd name="T28" fmla="*/ 217647715 w 156"/>
              <a:gd name="T29" fmla="*/ 0 h 60"/>
              <a:gd name="T30" fmla="*/ 186553231 w 156"/>
              <a:gd name="T31" fmla="*/ 30991175 h 60"/>
              <a:gd name="T32" fmla="*/ 186553231 w 156"/>
              <a:gd name="T33" fmla="*/ 61982350 h 60"/>
              <a:gd name="T34" fmla="*/ 155461026 w 156"/>
              <a:gd name="T35" fmla="*/ 30991175 h 60"/>
              <a:gd name="T36" fmla="*/ 93276615 w 156"/>
              <a:gd name="T37" fmla="*/ 30991175 h 60"/>
              <a:gd name="T38" fmla="*/ 62184410 w 156"/>
              <a:gd name="T39" fmla="*/ 61982350 h 60"/>
              <a:gd name="T40" fmla="*/ 62184410 w 156"/>
              <a:gd name="T41" fmla="*/ 123964700 h 60"/>
              <a:gd name="T42" fmla="*/ 0 w 156"/>
              <a:gd name="T43" fmla="*/ 123964700 h 60"/>
              <a:gd name="T44" fmla="*/ 0 w 156"/>
              <a:gd name="T45" fmla="*/ 185947050 h 60"/>
              <a:gd name="T46" fmla="*/ 62184410 w 156"/>
              <a:gd name="T47" fmla="*/ 185947050 h 60"/>
              <a:gd name="T48" fmla="*/ 62184410 w 156"/>
              <a:gd name="T49" fmla="*/ 247929400 h 60"/>
              <a:gd name="T50" fmla="*/ 93276615 w 156"/>
              <a:gd name="T51" fmla="*/ 278920575 h 60"/>
              <a:gd name="T52" fmla="*/ 155461026 w 156"/>
              <a:gd name="T53" fmla="*/ 278920575 h 60"/>
              <a:gd name="T54" fmla="*/ 186553231 w 156"/>
              <a:gd name="T55" fmla="*/ 247929400 h 60"/>
              <a:gd name="T56" fmla="*/ 186553231 w 156"/>
              <a:gd name="T57" fmla="*/ 278920575 h 60"/>
              <a:gd name="T58" fmla="*/ 217647715 w 156"/>
              <a:gd name="T59" fmla="*/ 309911750 h 60"/>
              <a:gd name="T60" fmla="*/ 279832126 w 156"/>
              <a:gd name="T61" fmla="*/ 309911750 h 60"/>
              <a:gd name="T62" fmla="*/ 310924331 w 156"/>
              <a:gd name="T63" fmla="*/ 278920575 h 60"/>
              <a:gd name="T64" fmla="*/ 310924331 w 156"/>
              <a:gd name="T65" fmla="*/ 185947050 h 60"/>
              <a:gd name="T66" fmla="*/ 497477562 w 156"/>
              <a:gd name="T67" fmla="*/ 185947050 h 60"/>
              <a:gd name="T68" fmla="*/ 497477562 w 156"/>
              <a:gd name="T69" fmla="*/ 278920575 h 60"/>
              <a:gd name="T70" fmla="*/ 528569767 w 156"/>
              <a:gd name="T71" fmla="*/ 309911750 h 60"/>
              <a:gd name="T72" fmla="*/ 590754177 w 156"/>
              <a:gd name="T73" fmla="*/ 309911750 h 60"/>
              <a:gd name="T74" fmla="*/ 621848662 w 156"/>
              <a:gd name="T75" fmla="*/ 278920575 h 60"/>
              <a:gd name="T76" fmla="*/ 621848662 w 156"/>
              <a:gd name="T77" fmla="*/ 247929400 h 60"/>
              <a:gd name="T78" fmla="*/ 652940867 w 156"/>
              <a:gd name="T79" fmla="*/ 278920575 h 60"/>
              <a:gd name="T80" fmla="*/ 715125277 w 156"/>
              <a:gd name="T81" fmla="*/ 278920575 h 60"/>
              <a:gd name="T82" fmla="*/ 746217482 w 156"/>
              <a:gd name="T83" fmla="*/ 247929400 h 60"/>
              <a:gd name="T84" fmla="*/ 746217482 w 156"/>
              <a:gd name="T85" fmla="*/ 185947050 h 60"/>
              <a:gd name="T86" fmla="*/ 808401892 w 156"/>
              <a:gd name="T87" fmla="*/ 185947050 h 60"/>
              <a:gd name="T88" fmla="*/ 808401892 w 156"/>
              <a:gd name="T89" fmla="*/ 123964700 h 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56" h="60">
                <a:moveTo>
                  <a:pt x="156" y="24"/>
                </a:moveTo>
                <a:cubicBezTo>
                  <a:pt x="144" y="24"/>
                  <a:pt x="144" y="24"/>
                  <a:pt x="144" y="24"/>
                </a:cubicBezTo>
                <a:cubicBezTo>
                  <a:pt x="144" y="12"/>
                  <a:pt x="144" y="12"/>
                  <a:pt x="144" y="12"/>
                </a:cubicBezTo>
                <a:cubicBezTo>
                  <a:pt x="144" y="9"/>
                  <a:pt x="141" y="6"/>
                  <a:pt x="138" y="6"/>
                </a:cubicBezTo>
                <a:cubicBezTo>
                  <a:pt x="126" y="6"/>
                  <a:pt x="126" y="6"/>
                  <a:pt x="126" y="6"/>
                </a:cubicBezTo>
                <a:cubicBezTo>
                  <a:pt x="123" y="6"/>
                  <a:pt x="120" y="9"/>
                  <a:pt x="120" y="12"/>
                </a:cubicBezTo>
                <a:cubicBezTo>
                  <a:pt x="120" y="6"/>
                  <a:pt x="120" y="6"/>
                  <a:pt x="120" y="6"/>
                </a:cubicBezTo>
                <a:cubicBezTo>
                  <a:pt x="120" y="3"/>
                  <a:pt x="117" y="0"/>
                  <a:pt x="114" y="0"/>
                </a:cubicBezTo>
                <a:cubicBezTo>
                  <a:pt x="102" y="0"/>
                  <a:pt x="102" y="0"/>
                  <a:pt x="102" y="0"/>
                </a:cubicBezTo>
                <a:cubicBezTo>
                  <a:pt x="99" y="0"/>
                  <a:pt x="96" y="3"/>
                  <a:pt x="96" y="6"/>
                </a:cubicBezTo>
                <a:cubicBezTo>
                  <a:pt x="96" y="24"/>
                  <a:pt x="96" y="24"/>
                  <a:pt x="96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3"/>
                  <a:pt x="57" y="0"/>
                  <a:pt x="54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39" y="0"/>
                  <a:pt x="36" y="3"/>
                  <a:pt x="36" y="6"/>
                </a:cubicBezTo>
                <a:cubicBezTo>
                  <a:pt x="36" y="12"/>
                  <a:pt x="36" y="12"/>
                  <a:pt x="36" y="12"/>
                </a:cubicBezTo>
                <a:cubicBezTo>
                  <a:pt x="36" y="9"/>
                  <a:pt x="33" y="6"/>
                  <a:pt x="30" y="6"/>
                </a:cubicBezTo>
                <a:cubicBezTo>
                  <a:pt x="18" y="6"/>
                  <a:pt x="18" y="6"/>
                  <a:pt x="18" y="6"/>
                </a:cubicBezTo>
                <a:cubicBezTo>
                  <a:pt x="15" y="6"/>
                  <a:pt x="12" y="9"/>
                  <a:pt x="12" y="12"/>
                </a:cubicBezTo>
                <a:cubicBezTo>
                  <a:pt x="12" y="24"/>
                  <a:pt x="12" y="24"/>
                  <a:pt x="12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36"/>
                  <a:pt x="0" y="36"/>
                  <a:pt x="0" y="36"/>
                </a:cubicBezTo>
                <a:cubicBezTo>
                  <a:pt x="12" y="36"/>
                  <a:pt x="12" y="36"/>
                  <a:pt x="12" y="36"/>
                </a:cubicBezTo>
                <a:cubicBezTo>
                  <a:pt x="12" y="48"/>
                  <a:pt x="12" y="48"/>
                  <a:pt x="12" y="48"/>
                </a:cubicBezTo>
                <a:cubicBezTo>
                  <a:pt x="12" y="51"/>
                  <a:pt x="15" y="54"/>
                  <a:pt x="18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3" y="54"/>
                  <a:pt x="36" y="51"/>
                  <a:pt x="36" y="48"/>
                </a:cubicBezTo>
                <a:cubicBezTo>
                  <a:pt x="36" y="54"/>
                  <a:pt x="36" y="54"/>
                  <a:pt x="36" y="54"/>
                </a:cubicBezTo>
                <a:cubicBezTo>
                  <a:pt x="36" y="57"/>
                  <a:pt x="39" y="60"/>
                  <a:pt x="42" y="60"/>
                </a:cubicBezTo>
                <a:cubicBezTo>
                  <a:pt x="54" y="60"/>
                  <a:pt x="54" y="60"/>
                  <a:pt x="54" y="60"/>
                </a:cubicBezTo>
                <a:cubicBezTo>
                  <a:pt x="57" y="60"/>
                  <a:pt x="60" y="57"/>
                  <a:pt x="60" y="54"/>
                </a:cubicBezTo>
                <a:cubicBezTo>
                  <a:pt x="60" y="36"/>
                  <a:pt x="60" y="36"/>
                  <a:pt x="60" y="36"/>
                </a:cubicBezTo>
                <a:cubicBezTo>
                  <a:pt x="96" y="36"/>
                  <a:pt x="96" y="36"/>
                  <a:pt x="96" y="36"/>
                </a:cubicBezTo>
                <a:cubicBezTo>
                  <a:pt x="96" y="54"/>
                  <a:pt x="96" y="54"/>
                  <a:pt x="96" y="54"/>
                </a:cubicBezTo>
                <a:cubicBezTo>
                  <a:pt x="96" y="57"/>
                  <a:pt x="99" y="60"/>
                  <a:pt x="102" y="60"/>
                </a:cubicBezTo>
                <a:cubicBezTo>
                  <a:pt x="114" y="60"/>
                  <a:pt x="114" y="60"/>
                  <a:pt x="114" y="60"/>
                </a:cubicBezTo>
                <a:cubicBezTo>
                  <a:pt x="117" y="60"/>
                  <a:pt x="120" y="57"/>
                  <a:pt x="120" y="54"/>
                </a:cubicBezTo>
                <a:cubicBezTo>
                  <a:pt x="120" y="48"/>
                  <a:pt x="120" y="48"/>
                  <a:pt x="120" y="48"/>
                </a:cubicBezTo>
                <a:cubicBezTo>
                  <a:pt x="120" y="51"/>
                  <a:pt x="123" y="54"/>
                  <a:pt x="126" y="54"/>
                </a:cubicBezTo>
                <a:cubicBezTo>
                  <a:pt x="138" y="54"/>
                  <a:pt x="138" y="54"/>
                  <a:pt x="138" y="54"/>
                </a:cubicBezTo>
                <a:cubicBezTo>
                  <a:pt x="141" y="54"/>
                  <a:pt x="144" y="51"/>
                  <a:pt x="144" y="48"/>
                </a:cubicBezTo>
                <a:cubicBezTo>
                  <a:pt x="144" y="36"/>
                  <a:pt x="144" y="36"/>
                  <a:pt x="144" y="36"/>
                </a:cubicBezTo>
                <a:cubicBezTo>
                  <a:pt x="156" y="36"/>
                  <a:pt x="156" y="36"/>
                  <a:pt x="156" y="36"/>
                </a:cubicBezTo>
                <a:lnTo>
                  <a:pt x="156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2" name="Freeform 169"/>
          <p:cNvSpPr>
            <a:spLocks noEditPoints="1"/>
          </p:cNvSpPr>
          <p:nvPr/>
        </p:nvSpPr>
        <p:spPr bwMode="auto">
          <a:xfrm>
            <a:off x="9175751" y="5810251"/>
            <a:ext cx="143933" cy="143933"/>
          </a:xfrm>
          <a:custGeom>
            <a:avLst/>
            <a:gdLst>
              <a:gd name="T0" fmla="*/ 121371783 w 48"/>
              <a:gd name="T1" fmla="*/ 60683643 h 48"/>
              <a:gd name="T2" fmla="*/ 182055426 w 48"/>
              <a:gd name="T3" fmla="*/ 121367285 h 48"/>
              <a:gd name="T4" fmla="*/ 121371783 w 48"/>
              <a:gd name="T5" fmla="*/ 182048679 h 48"/>
              <a:gd name="T6" fmla="*/ 60685892 w 48"/>
              <a:gd name="T7" fmla="*/ 121367285 h 48"/>
              <a:gd name="T8" fmla="*/ 121371783 w 48"/>
              <a:gd name="T9" fmla="*/ 60683643 h 48"/>
              <a:gd name="T10" fmla="*/ 121371783 w 48"/>
              <a:gd name="T11" fmla="*/ 0 h 48"/>
              <a:gd name="T12" fmla="*/ 0 w 48"/>
              <a:gd name="T13" fmla="*/ 121367285 h 48"/>
              <a:gd name="T14" fmla="*/ 121371783 w 48"/>
              <a:gd name="T15" fmla="*/ 242732322 h 48"/>
              <a:gd name="T16" fmla="*/ 242741318 w 48"/>
              <a:gd name="T17" fmla="*/ 121367285 h 48"/>
              <a:gd name="T18" fmla="*/ 121371783 w 48"/>
              <a:gd name="T19" fmla="*/ 0 h 4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8" h="48">
                <a:moveTo>
                  <a:pt x="24" y="12"/>
                </a:moveTo>
                <a:cubicBezTo>
                  <a:pt x="31" y="12"/>
                  <a:pt x="36" y="17"/>
                  <a:pt x="36" y="24"/>
                </a:cubicBezTo>
                <a:cubicBezTo>
                  <a:pt x="36" y="31"/>
                  <a:pt x="31" y="36"/>
                  <a:pt x="24" y="36"/>
                </a:cubicBezTo>
                <a:cubicBezTo>
                  <a:pt x="17" y="36"/>
                  <a:pt x="12" y="31"/>
                  <a:pt x="12" y="24"/>
                </a:cubicBezTo>
                <a:cubicBezTo>
                  <a:pt x="12" y="17"/>
                  <a:pt x="17" y="12"/>
                  <a:pt x="24" y="12"/>
                </a:cubicBezTo>
                <a:moveTo>
                  <a:pt x="24" y="0"/>
                </a:moveTo>
                <a:cubicBezTo>
                  <a:pt x="11" y="0"/>
                  <a:pt x="0" y="11"/>
                  <a:pt x="0" y="24"/>
                </a:cubicBezTo>
                <a:cubicBezTo>
                  <a:pt x="0" y="37"/>
                  <a:pt x="11" y="48"/>
                  <a:pt x="24" y="48"/>
                </a:cubicBezTo>
                <a:cubicBezTo>
                  <a:pt x="37" y="48"/>
                  <a:pt x="48" y="37"/>
                  <a:pt x="48" y="24"/>
                </a:cubicBezTo>
                <a:cubicBezTo>
                  <a:pt x="48" y="11"/>
                  <a:pt x="37" y="0"/>
                  <a:pt x="24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3" name="Freeform 170"/>
          <p:cNvSpPr>
            <a:spLocks/>
          </p:cNvSpPr>
          <p:nvPr/>
        </p:nvSpPr>
        <p:spPr bwMode="auto">
          <a:xfrm>
            <a:off x="9230784" y="5700185"/>
            <a:ext cx="33867" cy="71967"/>
          </a:xfrm>
          <a:custGeom>
            <a:avLst/>
            <a:gdLst>
              <a:gd name="T0" fmla="*/ 27199167 w 12"/>
              <a:gd name="T1" fmla="*/ 121367285 h 24"/>
              <a:gd name="T2" fmla="*/ 0 w 12"/>
              <a:gd name="T3" fmla="*/ 91026589 h 24"/>
              <a:gd name="T4" fmla="*/ 0 w 12"/>
              <a:gd name="T5" fmla="*/ 30342946 h 24"/>
              <a:gd name="T6" fmla="*/ 27199167 w 12"/>
              <a:gd name="T7" fmla="*/ 0 h 24"/>
              <a:gd name="T8" fmla="*/ 54396217 w 12"/>
              <a:gd name="T9" fmla="*/ 30342946 h 24"/>
              <a:gd name="T10" fmla="*/ 54396217 w 12"/>
              <a:gd name="T11" fmla="*/ 91026589 h 24"/>
              <a:gd name="T12" fmla="*/ 27199167 w 12"/>
              <a:gd name="T13" fmla="*/ 121367285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2" h="24">
                <a:moveTo>
                  <a:pt x="6" y="24"/>
                </a:moveTo>
                <a:cubicBezTo>
                  <a:pt x="3" y="24"/>
                  <a:pt x="0" y="21"/>
                  <a:pt x="0" y="1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8"/>
                  <a:pt x="12" y="18"/>
                  <a:pt x="12" y="18"/>
                </a:cubicBezTo>
                <a:cubicBezTo>
                  <a:pt x="12" y="21"/>
                  <a:pt x="9" y="24"/>
                  <a:pt x="6" y="24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4" name="Freeform 171"/>
          <p:cNvSpPr>
            <a:spLocks/>
          </p:cNvSpPr>
          <p:nvPr/>
        </p:nvSpPr>
        <p:spPr bwMode="auto">
          <a:xfrm>
            <a:off x="9317567" y="5744634"/>
            <a:ext cx="67733" cy="65617"/>
          </a:xfrm>
          <a:custGeom>
            <a:avLst/>
            <a:gdLst>
              <a:gd name="T0" fmla="*/ 37762873 w 22"/>
              <a:gd name="T1" fmla="*/ 114422568 h 21"/>
              <a:gd name="T2" fmla="*/ 10788073 w 22"/>
              <a:gd name="T3" fmla="*/ 108973986 h 21"/>
              <a:gd name="T4" fmla="*/ 10788073 w 22"/>
              <a:gd name="T5" fmla="*/ 59936747 h 21"/>
              <a:gd name="T6" fmla="*/ 59339018 w 22"/>
              <a:gd name="T7" fmla="*/ 16345746 h 21"/>
              <a:gd name="T8" fmla="*/ 102495927 w 22"/>
              <a:gd name="T9" fmla="*/ 16345746 h 21"/>
              <a:gd name="T10" fmla="*/ 102495927 w 22"/>
              <a:gd name="T11" fmla="*/ 59936747 h 21"/>
              <a:gd name="T12" fmla="*/ 59339018 w 22"/>
              <a:gd name="T13" fmla="*/ 108973986 h 21"/>
              <a:gd name="T14" fmla="*/ 37762873 w 22"/>
              <a:gd name="T15" fmla="*/ 114422568 h 2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2" h="21">
                <a:moveTo>
                  <a:pt x="7" y="21"/>
                </a:moveTo>
                <a:cubicBezTo>
                  <a:pt x="5" y="21"/>
                  <a:pt x="4" y="21"/>
                  <a:pt x="2" y="20"/>
                </a:cubicBezTo>
                <a:cubicBezTo>
                  <a:pt x="0" y="17"/>
                  <a:pt x="0" y="13"/>
                  <a:pt x="2" y="11"/>
                </a:cubicBezTo>
                <a:cubicBezTo>
                  <a:pt x="11" y="3"/>
                  <a:pt x="11" y="3"/>
                  <a:pt x="11" y="3"/>
                </a:cubicBezTo>
                <a:cubicBezTo>
                  <a:pt x="13" y="0"/>
                  <a:pt x="17" y="0"/>
                  <a:pt x="19" y="3"/>
                </a:cubicBezTo>
                <a:cubicBezTo>
                  <a:pt x="22" y="5"/>
                  <a:pt x="22" y="9"/>
                  <a:pt x="19" y="11"/>
                </a:cubicBezTo>
                <a:cubicBezTo>
                  <a:pt x="11" y="20"/>
                  <a:pt x="11" y="20"/>
                  <a:pt x="11" y="20"/>
                </a:cubicBezTo>
                <a:cubicBezTo>
                  <a:pt x="10" y="21"/>
                  <a:pt x="8" y="21"/>
                  <a:pt x="7" y="2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5" name="Freeform 172"/>
          <p:cNvSpPr>
            <a:spLocks/>
          </p:cNvSpPr>
          <p:nvPr/>
        </p:nvSpPr>
        <p:spPr bwMode="auto">
          <a:xfrm>
            <a:off x="9357785" y="5865285"/>
            <a:ext cx="71967" cy="38100"/>
          </a:xfrm>
          <a:custGeom>
            <a:avLst/>
            <a:gdLst>
              <a:gd name="T0" fmla="*/ 91026589 w 24"/>
              <a:gd name="T1" fmla="*/ 67310794 h 12"/>
              <a:gd name="T2" fmla="*/ 30342946 w 24"/>
              <a:gd name="T3" fmla="*/ 67310794 h 12"/>
              <a:gd name="T4" fmla="*/ 0 w 24"/>
              <a:gd name="T5" fmla="*/ 33656588 h 12"/>
              <a:gd name="T6" fmla="*/ 30342946 w 24"/>
              <a:gd name="T7" fmla="*/ 0 h 12"/>
              <a:gd name="T8" fmla="*/ 91026589 w 24"/>
              <a:gd name="T9" fmla="*/ 0 h 12"/>
              <a:gd name="T10" fmla="*/ 121369534 w 24"/>
              <a:gd name="T11" fmla="*/ 33656588 h 12"/>
              <a:gd name="T12" fmla="*/ 91026589 w 24"/>
              <a:gd name="T13" fmla="*/ 67310794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" h="12">
                <a:moveTo>
                  <a:pt x="18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21" y="0"/>
                  <a:pt x="24" y="3"/>
                  <a:pt x="24" y="6"/>
                </a:cubicBezTo>
                <a:cubicBezTo>
                  <a:pt x="24" y="9"/>
                  <a:pt x="21" y="12"/>
                  <a:pt x="18" y="1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6" name="Freeform 173"/>
          <p:cNvSpPr>
            <a:spLocks/>
          </p:cNvSpPr>
          <p:nvPr/>
        </p:nvSpPr>
        <p:spPr bwMode="auto">
          <a:xfrm>
            <a:off x="9317567" y="5954185"/>
            <a:ext cx="67733" cy="61383"/>
          </a:xfrm>
          <a:custGeom>
            <a:avLst/>
            <a:gdLst>
              <a:gd name="T0" fmla="*/ 80917473 w 22"/>
              <a:gd name="T1" fmla="*/ 101408550 h 21"/>
              <a:gd name="T2" fmla="*/ 59339018 w 22"/>
              <a:gd name="T3" fmla="*/ 91749549 h 21"/>
              <a:gd name="T4" fmla="*/ 10788073 w 22"/>
              <a:gd name="T5" fmla="*/ 53117929 h 21"/>
              <a:gd name="T6" fmla="*/ 10788073 w 22"/>
              <a:gd name="T7" fmla="*/ 9659001 h 21"/>
              <a:gd name="T8" fmla="*/ 59339018 w 22"/>
              <a:gd name="T9" fmla="*/ 9659001 h 21"/>
              <a:gd name="T10" fmla="*/ 102495927 w 22"/>
              <a:gd name="T11" fmla="*/ 53117929 h 21"/>
              <a:gd name="T12" fmla="*/ 102495927 w 22"/>
              <a:gd name="T13" fmla="*/ 91749549 h 21"/>
              <a:gd name="T14" fmla="*/ 80917473 w 22"/>
              <a:gd name="T15" fmla="*/ 101408550 h 2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2" h="21">
                <a:moveTo>
                  <a:pt x="15" y="21"/>
                </a:moveTo>
                <a:cubicBezTo>
                  <a:pt x="14" y="21"/>
                  <a:pt x="12" y="21"/>
                  <a:pt x="11" y="19"/>
                </a:cubicBezTo>
                <a:cubicBezTo>
                  <a:pt x="2" y="11"/>
                  <a:pt x="2" y="11"/>
                  <a:pt x="2" y="11"/>
                </a:cubicBezTo>
                <a:cubicBezTo>
                  <a:pt x="0" y="9"/>
                  <a:pt x="0" y="5"/>
                  <a:pt x="2" y="2"/>
                </a:cubicBezTo>
                <a:cubicBezTo>
                  <a:pt x="5" y="0"/>
                  <a:pt x="9" y="0"/>
                  <a:pt x="11" y="2"/>
                </a:cubicBezTo>
                <a:cubicBezTo>
                  <a:pt x="19" y="11"/>
                  <a:pt x="19" y="11"/>
                  <a:pt x="19" y="11"/>
                </a:cubicBezTo>
                <a:cubicBezTo>
                  <a:pt x="22" y="13"/>
                  <a:pt x="22" y="17"/>
                  <a:pt x="19" y="19"/>
                </a:cubicBezTo>
                <a:cubicBezTo>
                  <a:pt x="18" y="21"/>
                  <a:pt x="17" y="21"/>
                  <a:pt x="15" y="2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7" name="Freeform 174"/>
          <p:cNvSpPr>
            <a:spLocks/>
          </p:cNvSpPr>
          <p:nvPr/>
        </p:nvSpPr>
        <p:spPr bwMode="auto">
          <a:xfrm>
            <a:off x="9230784" y="5992285"/>
            <a:ext cx="33867" cy="71967"/>
          </a:xfrm>
          <a:custGeom>
            <a:avLst/>
            <a:gdLst>
              <a:gd name="T0" fmla="*/ 27199167 w 12"/>
              <a:gd name="T1" fmla="*/ 121367285 h 24"/>
              <a:gd name="T2" fmla="*/ 0 w 12"/>
              <a:gd name="T3" fmla="*/ 91026589 h 24"/>
              <a:gd name="T4" fmla="*/ 0 w 12"/>
              <a:gd name="T5" fmla="*/ 30342946 h 24"/>
              <a:gd name="T6" fmla="*/ 27199167 w 12"/>
              <a:gd name="T7" fmla="*/ 0 h 24"/>
              <a:gd name="T8" fmla="*/ 54396217 w 12"/>
              <a:gd name="T9" fmla="*/ 30342946 h 24"/>
              <a:gd name="T10" fmla="*/ 54396217 w 12"/>
              <a:gd name="T11" fmla="*/ 91026589 h 24"/>
              <a:gd name="T12" fmla="*/ 27199167 w 12"/>
              <a:gd name="T13" fmla="*/ 121367285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2" h="24">
                <a:moveTo>
                  <a:pt x="6" y="24"/>
                </a:moveTo>
                <a:cubicBezTo>
                  <a:pt x="3" y="24"/>
                  <a:pt x="0" y="21"/>
                  <a:pt x="0" y="1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8"/>
                  <a:pt x="12" y="18"/>
                  <a:pt x="12" y="18"/>
                </a:cubicBezTo>
                <a:cubicBezTo>
                  <a:pt x="12" y="21"/>
                  <a:pt x="9" y="24"/>
                  <a:pt x="6" y="24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8" name="Freeform 175"/>
          <p:cNvSpPr>
            <a:spLocks/>
          </p:cNvSpPr>
          <p:nvPr/>
        </p:nvSpPr>
        <p:spPr bwMode="auto">
          <a:xfrm>
            <a:off x="9112251" y="5954185"/>
            <a:ext cx="67733" cy="61383"/>
          </a:xfrm>
          <a:custGeom>
            <a:avLst/>
            <a:gdLst>
              <a:gd name="T0" fmla="*/ 37762873 w 22"/>
              <a:gd name="T1" fmla="*/ 101408550 h 21"/>
              <a:gd name="T2" fmla="*/ 16184418 w 22"/>
              <a:gd name="T3" fmla="*/ 91749549 h 21"/>
              <a:gd name="T4" fmla="*/ 16184418 w 22"/>
              <a:gd name="T5" fmla="*/ 53117929 h 21"/>
              <a:gd name="T6" fmla="*/ 59339018 w 22"/>
              <a:gd name="T7" fmla="*/ 9659001 h 21"/>
              <a:gd name="T8" fmla="*/ 107892273 w 22"/>
              <a:gd name="T9" fmla="*/ 9659001 h 21"/>
              <a:gd name="T10" fmla="*/ 107892273 w 22"/>
              <a:gd name="T11" fmla="*/ 53117929 h 21"/>
              <a:gd name="T12" fmla="*/ 59339018 w 22"/>
              <a:gd name="T13" fmla="*/ 91749549 h 21"/>
              <a:gd name="T14" fmla="*/ 37762873 w 22"/>
              <a:gd name="T15" fmla="*/ 101408550 h 2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2" h="21">
                <a:moveTo>
                  <a:pt x="7" y="21"/>
                </a:moveTo>
                <a:cubicBezTo>
                  <a:pt x="5" y="21"/>
                  <a:pt x="4" y="21"/>
                  <a:pt x="3" y="19"/>
                </a:cubicBezTo>
                <a:cubicBezTo>
                  <a:pt x="0" y="17"/>
                  <a:pt x="0" y="13"/>
                  <a:pt x="3" y="11"/>
                </a:cubicBezTo>
                <a:cubicBezTo>
                  <a:pt x="11" y="2"/>
                  <a:pt x="11" y="2"/>
                  <a:pt x="11" y="2"/>
                </a:cubicBezTo>
                <a:cubicBezTo>
                  <a:pt x="13" y="0"/>
                  <a:pt x="17" y="0"/>
                  <a:pt x="20" y="2"/>
                </a:cubicBezTo>
                <a:cubicBezTo>
                  <a:pt x="22" y="5"/>
                  <a:pt x="22" y="9"/>
                  <a:pt x="20" y="11"/>
                </a:cubicBezTo>
                <a:cubicBezTo>
                  <a:pt x="11" y="19"/>
                  <a:pt x="11" y="19"/>
                  <a:pt x="11" y="19"/>
                </a:cubicBezTo>
                <a:cubicBezTo>
                  <a:pt x="10" y="21"/>
                  <a:pt x="8" y="21"/>
                  <a:pt x="7" y="2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69" name="Freeform 176"/>
          <p:cNvSpPr>
            <a:spLocks/>
          </p:cNvSpPr>
          <p:nvPr/>
        </p:nvSpPr>
        <p:spPr bwMode="auto">
          <a:xfrm>
            <a:off x="9067801" y="5865285"/>
            <a:ext cx="71967" cy="38100"/>
          </a:xfrm>
          <a:custGeom>
            <a:avLst/>
            <a:gdLst>
              <a:gd name="T0" fmla="*/ 91026589 w 24"/>
              <a:gd name="T1" fmla="*/ 67310794 h 12"/>
              <a:gd name="T2" fmla="*/ 30342946 w 24"/>
              <a:gd name="T3" fmla="*/ 67310794 h 12"/>
              <a:gd name="T4" fmla="*/ 0 w 24"/>
              <a:gd name="T5" fmla="*/ 33656588 h 12"/>
              <a:gd name="T6" fmla="*/ 30342946 w 24"/>
              <a:gd name="T7" fmla="*/ 0 h 12"/>
              <a:gd name="T8" fmla="*/ 91026589 w 24"/>
              <a:gd name="T9" fmla="*/ 0 h 12"/>
              <a:gd name="T10" fmla="*/ 121369534 w 24"/>
              <a:gd name="T11" fmla="*/ 33656588 h 12"/>
              <a:gd name="T12" fmla="*/ 91026589 w 24"/>
              <a:gd name="T13" fmla="*/ 67310794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" h="12">
                <a:moveTo>
                  <a:pt x="18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21" y="0"/>
                  <a:pt x="24" y="3"/>
                  <a:pt x="24" y="6"/>
                </a:cubicBezTo>
                <a:cubicBezTo>
                  <a:pt x="24" y="9"/>
                  <a:pt x="21" y="12"/>
                  <a:pt x="18" y="1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70" name="Freeform 177"/>
          <p:cNvSpPr>
            <a:spLocks/>
          </p:cNvSpPr>
          <p:nvPr/>
        </p:nvSpPr>
        <p:spPr bwMode="auto">
          <a:xfrm>
            <a:off x="9112251" y="5744634"/>
            <a:ext cx="67733" cy="65617"/>
          </a:xfrm>
          <a:custGeom>
            <a:avLst/>
            <a:gdLst>
              <a:gd name="T0" fmla="*/ 80917473 w 22"/>
              <a:gd name="T1" fmla="*/ 114422568 h 21"/>
              <a:gd name="T2" fmla="*/ 59339018 w 22"/>
              <a:gd name="T3" fmla="*/ 108973986 h 21"/>
              <a:gd name="T4" fmla="*/ 16184418 w 22"/>
              <a:gd name="T5" fmla="*/ 59936747 h 21"/>
              <a:gd name="T6" fmla="*/ 16184418 w 22"/>
              <a:gd name="T7" fmla="*/ 16345746 h 21"/>
              <a:gd name="T8" fmla="*/ 59339018 w 22"/>
              <a:gd name="T9" fmla="*/ 16345746 h 21"/>
              <a:gd name="T10" fmla="*/ 107892273 w 22"/>
              <a:gd name="T11" fmla="*/ 59936747 h 21"/>
              <a:gd name="T12" fmla="*/ 107892273 w 22"/>
              <a:gd name="T13" fmla="*/ 108973986 h 21"/>
              <a:gd name="T14" fmla="*/ 80917473 w 22"/>
              <a:gd name="T15" fmla="*/ 114422568 h 2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2" h="21">
                <a:moveTo>
                  <a:pt x="15" y="21"/>
                </a:moveTo>
                <a:cubicBezTo>
                  <a:pt x="14" y="21"/>
                  <a:pt x="12" y="21"/>
                  <a:pt x="11" y="20"/>
                </a:cubicBezTo>
                <a:cubicBezTo>
                  <a:pt x="3" y="11"/>
                  <a:pt x="3" y="11"/>
                  <a:pt x="3" y="11"/>
                </a:cubicBezTo>
                <a:cubicBezTo>
                  <a:pt x="0" y="9"/>
                  <a:pt x="0" y="5"/>
                  <a:pt x="3" y="3"/>
                </a:cubicBezTo>
                <a:cubicBezTo>
                  <a:pt x="5" y="0"/>
                  <a:pt x="9" y="0"/>
                  <a:pt x="11" y="3"/>
                </a:cubicBezTo>
                <a:cubicBezTo>
                  <a:pt x="20" y="11"/>
                  <a:pt x="20" y="11"/>
                  <a:pt x="20" y="11"/>
                </a:cubicBezTo>
                <a:cubicBezTo>
                  <a:pt x="22" y="13"/>
                  <a:pt x="22" y="17"/>
                  <a:pt x="20" y="20"/>
                </a:cubicBezTo>
                <a:cubicBezTo>
                  <a:pt x="18" y="21"/>
                  <a:pt x="17" y="21"/>
                  <a:pt x="15" y="2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71" name="Freeform 178"/>
          <p:cNvSpPr>
            <a:spLocks/>
          </p:cNvSpPr>
          <p:nvPr/>
        </p:nvSpPr>
        <p:spPr bwMode="auto">
          <a:xfrm>
            <a:off x="10676467" y="3255433"/>
            <a:ext cx="325967" cy="364067"/>
          </a:xfrm>
          <a:custGeom>
            <a:avLst/>
            <a:gdLst>
              <a:gd name="T0" fmla="*/ 105813927 w 95"/>
              <a:gd name="T1" fmla="*/ 225067902 h 106"/>
              <a:gd name="T2" fmla="*/ 244693741 w 95"/>
              <a:gd name="T3" fmla="*/ 86054541 h 106"/>
              <a:gd name="T4" fmla="*/ 317439207 w 95"/>
              <a:gd name="T5" fmla="*/ 86054541 h 106"/>
              <a:gd name="T6" fmla="*/ 211627854 w 95"/>
              <a:gd name="T7" fmla="*/ 278026723 h 106"/>
              <a:gd name="T8" fmla="*/ 211627854 w 95"/>
              <a:gd name="T9" fmla="*/ 489854276 h 106"/>
              <a:gd name="T10" fmla="*/ 0 w 95"/>
              <a:gd name="T11" fmla="*/ 489854276 h 106"/>
              <a:gd name="T12" fmla="*/ 0 w 95"/>
              <a:gd name="T13" fmla="*/ 562671044 h 106"/>
              <a:gd name="T14" fmla="*/ 277759628 w 95"/>
              <a:gd name="T15" fmla="*/ 562671044 h 106"/>
              <a:gd name="T16" fmla="*/ 277759628 w 95"/>
              <a:gd name="T17" fmla="*/ 350843491 h 106"/>
              <a:gd name="T18" fmla="*/ 423253134 w 95"/>
              <a:gd name="T19" fmla="*/ 469996328 h 106"/>
              <a:gd name="T20" fmla="*/ 423253134 w 95"/>
              <a:gd name="T21" fmla="*/ 701684405 h 106"/>
              <a:gd name="T22" fmla="*/ 489387482 w 95"/>
              <a:gd name="T23" fmla="*/ 701684405 h 106"/>
              <a:gd name="T24" fmla="*/ 489387482 w 95"/>
              <a:gd name="T25" fmla="*/ 417040084 h 106"/>
              <a:gd name="T26" fmla="*/ 350507668 w 95"/>
              <a:gd name="T27" fmla="*/ 297884670 h 106"/>
              <a:gd name="T28" fmla="*/ 383573555 w 95"/>
              <a:gd name="T29" fmla="*/ 211830129 h 106"/>
              <a:gd name="T30" fmla="*/ 423253134 w 95"/>
              <a:gd name="T31" fmla="*/ 244928426 h 106"/>
              <a:gd name="T32" fmla="*/ 628267296 w 95"/>
              <a:gd name="T33" fmla="*/ 244928426 h 106"/>
              <a:gd name="T34" fmla="*/ 628267296 w 95"/>
              <a:gd name="T35" fmla="*/ 172111658 h 106"/>
              <a:gd name="T36" fmla="*/ 456321594 w 95"/>
              <a:gd name="T37" fmla="*/ 172111658 h 106"/>
              <a:gd name="T38" fmla="*/ 456321594 w 95"/>
              <a:gd name="T39" fmla="*/ 0 h 106"/>
              <a:gd name="T40" fmla="*/ 211627854 w 95"/>
              <a:gd name="T41" fmla="*/ 0 h 106"/>
              <a:gd name="T42" fmla="*/ 66134348 w 95"/>
              <a:gd name="T43" fmla="*/ 191969606 h 106"/>
              <a:gd name="T44" fmla="*/ 105813927 w 95"/>
              <a:gd name="T45" fmla="*/ 225067902 h 10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5" h="106">
                <a:moveTo>
                  <a:pt x="16" y="34"/>
                </a:moveTo>
                <a:lnTo>
                  <a:pt x="37" y="13"/>
                </a:lnTo>
                <a:lnTo>
                  <a:pt x="48" y="13"/>
                </a:lnTo>
                <a:lnTo>
                  <a:pt x="32" y="42"/>
                </a:lnTo>
                <a:lnTo>
                  <a:pt x="32" y="74"/>
                </a:lnTo>
                <a:lnTo>
                  <a:pt x="0" y="74"/>
                </a:lnTo>
                <a:lnTo>
                  <a:pt x="0" y="85"/>
                </a:lnTo>
                <a:lnTo>
                  <a:pt x="42" y="85"/>
                </a:lnTo>
                <a:lnTo>
                  <a:pt x="42" y="53"/>
                </a:lnTo>
                <a:lnTo>
                  <a:pt x="64" y="71"/>
                </a:lnTo>
                <a:lnTo>
                  <a:pt x="64" y="106"/>
                </a:lnTo>
                <a:lnTo>
                  <a:pt x="74" y="106"/>
                </a:lnTo>
                <a:lnTo>
                  <a:pt x="74" y="63"/>
                </a:lnTo>
                <a:lnTo>
                  <a:pt x="53" y="45"/>
                </a:lnTo>
                <a:lnTo>
                  <a:pt x="58" y="32"/>
                </a:lnTo>
                <a:lnTo>
                  <a:pt x="64" y="37"/>
                </a:lnTo>
                <a:lnTo>
                  <a:pt x="95" y="37"/>
                </a:lnTo>
                <a:lnTo>
                  <a:pt x="95" y="26"/>
                </a:lnTo>
                <a:lnTo>
                  <a:pt x="69" y="26"/>
                </a:lnTo>
                <a:lnTo>
                  <a:pt x="69" y="0"/>
                </a:lnTo>
                <a:lnTo>
                  <a:pt x="32" y="0"/>
                </a:lnTo>
                <a:lnTo>
                  <a:pt x="10" y="29"/>
                </a:lnTo>
                <a:lnTo>
                  <a:pt x="16" y="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72" name="Oval 179"/>
          <p:cNvSpPr>
            <a:spLocks noChangeArrowheads="1"/>
          </p:cNvSpPr>
          <p:nvPr/>
        </p:nvSpPr>
        <p:spPr bwMode="auto">
          <a:xfrm>
            <a:off x="10896601" y="3181351"/>
            <a:ext cx="71967" cy="740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73" name="Freeform 180"/>
          <p:cNvSpPr>
            <a:spLocks noEditPoints="1"/>
          </p:cNvSpPr>
          <p:nvPr/>
        </p:nvSpPr>
        <p:spPr bwMode="auto">
          <a:xfrm>
            <a:off x="10676467" y="2478618"/>
            <a:ext cx="254000" cy="55033"/>
          </a:xfrm>
          <a:custGeom>
            <a:avLst/>
            <a:gdLst>
              <a:gd name="T0" fmla="*/ 215639196 w 84"/>
              <a:gd name="T1" fmla="*/ 0 h 18"/>
              <a:gd name="T2" fmla="*/ 0 w 84"/>
              <a:gd name="T3" fmla="*/ 47142929 h 18"/>
              <a:gd name="T4" fmla="*/ 215639196 w 84"/>
              <a:gd name="T5" fmla="*/ 94283565 h 18"/>
              <a:gd name="T6" fmla="*/ 431278393 w 84"/>
              <a:gd name="T7" fmla="*/ 47142929 h 18"/>
              <a:gd name="T8" fmla="*/ 215639196 w 84"/>
              <a:gd name="T9" fmla="*/ 0 h 18"/>
              <a:gd name="T10" fmla="*/ 215639196 w 84"/>
              <a:gd name="T11" fmla="*/ 62854946 h 18"/>
              <a:gd name="T12" fmla="*/ 154028321 w 84"/>
              <a:gd name="T13" fmla="*/ 41903297 h 18"/>
              <a:gd name="T14" fmla="*/ 215639196 w 84"/>
              <a:gd name="T15" fmla="*/ 20951649 h 18"/>
              <a:gd name="T16" fmla="*/ 277250071 w 84"/>
              <a:gd name="T17" fmla="*/ 41903297 h 18"/>
              <a:gd name="T18" fmla="*/ 215639196 w 84"/>
              <a:gd name="T19" fmla="*/ 62854946 h 1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84" h="18">
                <a:moveTo>
                  <a:pt x="42" y="0"/>
                </a:moveTo>
                <a:cubicBezTo>
                  <a:pt x="19" y="0"/>
                  <a:pt x="0" y="4"/>
                  <a:pt x="0" y="9"/>
                </a:cubicBezTo>
                <a:cubicBezTo>
                  <a:pt x="0" y="14"/>
                  <a:pt x="19" y="18"/>
                  <a:pt x="42" y="18"/>
                </a:cubicBezTo>
                <a:cubicBezTo>
                  <a:pt x="65" y="18"/>
                  <a:pt x="84" y="14"/>
                  <a:pt x="84" y="9"/>
                </a:cubicBezTo>
                <a:cubicBezTo>
                  <a:pt x="84" y="4"/>
                  <a:pt x="65" y="0"/>
                  <a:pt x="42" y="0"/>
                </a:cubicBezTo>
                <a:moveTo>
                  <a:pt x="42" y="12"/>
                </a:moveTo>
                <a:cubicBezTo>
                  <a:pt x="35" y="12"/>
                  <a:pt x="30" y="10"/>
                  <a:pt x="30" y="8"/>
                </a:cubicBezTo>
                <a:cubicBezTo>
                  <a:pt x="30" y="6"/>
                  <a:pt x="35" y="4"/>
                  <a:pt x="42" y="4"/>
                </a:cubicBezTo>
                <a:cubicBezTo>
                  <a:pt x="49" y="4"/>
                  <a:pt x="54" y="6"/>
                  <a:pt x="54" y="8"/>
                </a:cubicBezTo>
                <a:cubicBezTo>
                  <a:pt x="54" y="10"/>
                  <a:pt x="49" y="12"/>
                  <a:pt x="42" y="1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74" name="Freeform 181"/>
          <p:cNvSpPr>
            <a:spLocks noEditPoints="1"/>
          </p:cNvSpPr>
          <p:nvPr/>
        </p:nvSpPr>
        <p:spPr bwMode="auto">
          <a:xfrm>
            <a:off x="10676467" y="2533651"/>
            <a:ext cx="474133" cy="306916"/>
          </a:xfrm>
          <a:custGeom>
            <a:avLst/>
            <a:gdLst>
              <a:gd name="T0" fmla="*/ 435293151 w 156"/>
              <a:gd name="T1" fmla="*/ 30702884 h 102"/>
              <a:gd name="T2" fmla="*/ 217647715 w 156"/>
              <a:gd name="T3" fmla="*/ 30702884 h 102"/>
              <a:gd name="T4" fmla="*/ 0 w 156"/>
              <a:gd name="T5" fmla="*/ 491239369 h 102"/>
              <a:gd name="T6" fmla="*/ 435293151 w 156"/>
              <a:gd name="T7" fmla="*/ 491239369 h 102"/>
              <a:gd name="T8" fmla="*/ 777309687 w 156"/>
              <a:gd name="T9" fmla="*/ 429835858 h 102"/>
              <a:gd name="T10" fmla="*/ 808401892 w 156"/>
              <a:gd name="T11" fmla="*/ 61405767 h 102"/>
              <a:gd name="T12" fmla="*/ 715125277 w 156"/>
              <a:gd name="T13" fmla="*/ 61405767 h 102"/>
              <a:gd name="T14" fmla="*/ 746217482 w 156"/>
              <a:gd name="T15" fmla="*/ 92106394 h 102"/>
              <a:gd name="T16" fmla="*/ 715125277 w 156"/>
              <a:gd name="T17" fmla="*/ 61405767 h 102"/>
              <a:gd name="T18" fmla="*/ 684033072 w 156"/>
              <a:gd name="T19" fmla="*/ 61405767 h 102"/>
              <a:gd name="T20" fmla="*/ 652940867 w 156"/>
              <a:gd name="T21" fmla="*/ 92106394 h 102"/>
              <a:gd name="T22" fmla="*/ 590754177 w 156"/>
              <a:gd name="T23" fmla="*/ 61405767 h 102"/>
              <a:gd name="T24" fmla="*/ 621848662 w 156"/>
              <a:gd name="T25" fmla="*/ 92106394 h 102"/>
              <a:gd name="T26" fmla="*/ 590754177 w 156"/>
              <a:gd name="T27" fmla="*/ 61405767 h 102"/>
              <a:gd name="T28" fmla="*/ 559661972 w 156"/>
              <a:gd name="T29" fmla="*/ 61405767 h 102"/>
              <a:gd name="T30" fmla="*/ 528569767 w 156"/>
              <a:gd name="T31" fmla="*/ 92106394 h 102"/>
              <a:gd name="T32" fmla="*/ 497477562 w 156"/>
              <a:gd name="T33" fmla="*/ 399132974 h 102"/>
              <a:gd name="T34" fmla="*/ 466385356 w 156"/>
              <a:gd name="T35" fmla="*/ 368430091 h 102"/>
              <a:gd name="T36" fmla="*/ 497477562 w 156"/>
              <a:gd name="T37" fmla="*/ 399132974 h 102"/>
              <a:gd name="T38" fmla="*/ 435293151 w 156"/>
              <a:gd name="T39" fmla="*/ 337727207 h 102"/>
              <a:gd name="T40" fmla="*/ 497477562 w 156"/>
              <a:gd name="T41" fmla="*/ 122809278 h 102"/>
              <a:gd name="T42" fmla="*/ 497477562 w 156"/>
              <a:gd name="T43" fmla="*/ 92106394 h 102"/>
              <a:gd name="T44" fmla="*/ 466385356 w 156"/>
              <a:gd name="T45" fmla="*/ 61405767 h 102"/>
              <a:gd name="T46" fmla="*/ 497477562 w 156"/>
              <a:gd name="T47" fmla="*/ 92106394 h 102"/>
              <a:gd name="T48" fmla="*/ 528569767 w 156"/>
              <a:gd name="T49" fmla="*/ 399132974 h 102"/>
              <a:gd name="T50" fmla="*/ 559661972 w 156"/>
              <a:gd name="T51" fmla="*/ 368430091 h 102"/>
              <a:gd name="T52" fmla="*/ 621848662 w 156"/>
              <a:gd name="T53" fmla="*/ 399132974 h 102"/>
              <a:gd name="T54" fmla="*/ 590754177 w 156"/>
              <a:gd name="T55" fmla="*/ 368430091 h 102"/>
              <a:gd name="T56" fmla="*/ 621848662 w 156"/>
              <a:gd name="T57" fmla="*/ 399132974 h 102"/>
              <a:gd name="T58" fmla="*/ 652940867 w 156"/>
              <a:gd name="T59" fmla="*/ 399132974 h 102"/>
              <a:gd name="T60" fmla="*/ 684033072 w 156"/>
              <a:gd name="T61" fmla="*/ 368430091 h 102"/>
              <a:gd name="T62" fmla="*/ 746217482 w 156"/>
              <a:gd name="T63" fmla="*/ 399132974 h 102"/>
              <a:gd name="T64" fmla="*/ 715125277 w 156"/>
              <a:gd name="T65" fmla="*/ 368430091 h 102"/>
              <a:gd name="T66" fmla="*/ 746217482 w 156"/>
              <a:gd name="T67" fmla="*/ 399132974 h 102"/>
              <a:gd name="T68" fmla="*/ 528569767 w 156"/>
              <a:gd name="T69" fmla="*/ 337727207 h 102"/>
              <a:gd name="T70" fmla="*/ 777309687 w 156"/>
              <a:gd name="T71" fmla="*/ 122809278 h 10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56" h="102">
                <a:moveTo>
                  <a:pt x="150" y="6"/>
                </a:moveTo>
                <a:cubicBezTo>
                  <a:pt x="84" y="6"/>
                  <a:pt x="84" y="6"/>
                  <a:pt x="84" y="6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0"/>
                  <a:pt x="78" y="6"/>
                  <a:pt x="42" y="6"/>
                </a:cubicBezTo>
                <a:cubicBezTo>
                  <a:pt x="6" y="6"/>
                  <a:pt x="0" y="0"/>
                  <a:pt x="0" y="0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6" y="102"/>
                  <a:pt x="42" y="102"/>
                </a:cubicBezTo>
                <a:cubicBezTo>
                  <a:pt x="78" y="102"/>
                  <a:pt x="84" y="96"/>
                  <a:pt x="84" y="96"/>
                </a:cubicBezTo>
                <a:cubicBezTo>
                  <a:pt x="84" y="84"/>
                  <a:pt x="84" y="84"/>
                  <a:pt x="84" y="84"/>
                </a:cubicBezTo>
                <a:cubicBezTo>
                  <a:pt x="150" y="84"/>
                  <a:pt x="150" y="84"/>
                  <a:pt x="150" y="84"/>
                </a:cubicBezTo>
                <a:cubicBezTo>
                  <a:pt x="153" y="84"/>
                  <a:pt x="156" y="81"/>
                  <a:pt x="156" y="78"/>
                </a:cubicBezTo>
                <a:cubicBezTo>
                  <a:pt x="156" y="12"/>
                  <a:pt x="156" y="12"/>
                  <a:pt x="156" y="12"/>
                </a:cubicBezTo>
                <a:cubicBezTo>
                  <a:pt x="156" y="9"/>
                  <a:pt x="153" y="6"/>
                  <a:pt x="150" y="6"/>
                </a:cubicBezTo>
                <a:moveTo>
                  <a:pt x="138" y="12"/>
                </a:moveTo>
                <a:cubicBezTo>
                  <a:pt x="144" y="12"/>
                  <a:pt x="144" y="12"/>
                  <a:pt x="144" y="12"/>
                </a:cubicBezTo>
                <a:cubicBezTo>
                  <a:pt x="144" y="18"/>
                  <a:pt x="144" y="18"/>
                  <a:pt x="144" y="18"/>
                </a:cubicBezTo>
                <a:cubicBezTo>
                  <a:pt x="138" y="18"/>
                  <a:pt x="138" y="18"/>
                  <a:pt x="138" y="18"/>
                </a:cubicBezTo>
                <a:lnTo>
                  <a:pt x="138" y="12"/>
                </a:lnTo>
                <a:close/>
                <a:moveTo>
                  <a:pt x="126" y="12"/>
                </a:moveTo>
                <a:cubicBezTo>
                  <a:pt x="132" y="12"/>
                  <a:pt x="132" y="12"/>
                  <a:pt x="132" y="12"/>
                </a:cubicBezTo>
                <a:cubicBezTo>
                  <a:pt x="132" y="18"/>
                  <a:pt x="132" y="18"/>
                  <a:pt x="132" y="18"/>
                </a:cubicBezTo>
                <a:cubicBezTo>
                  <a:pt x="126" y="18"/>
                  <a:pt x="126" y="18"/>
                  <a:pt x="126" y="18"/>
                </a:cubicBezTo>
                <a:lnTo>
                  <a:pt x="126" y="12"/>
                </a:lnTo>
                <a:close/>
                <a:moveTo>
                  <a:pt x="114" y="12"/>
                </a:moveTo>
                <a:cubicBezTo>
                  <a:pt x="120" y="12"/>
                  <a:pt x="120" y="12"/>
                  <a:pt x="120" y="12"/>
                </a:cubicBezTo>
                <a:cubicBezTo>
                  <a:pt x="120" y="18"/>
                  <a:pt x="120" y="18"/>
                  <a:pt x="120" y="18"/>
                </a:cubicBezTo>
                <a:cubicBezTo>
                  <a:pt x="114" y="18"/>
                  <a:pt x="114" y="18"/>
                  <a:pt x="114" y="18"/>
                </a:cubicBezTo>
                <a:lnTo>
                  <a:pt x="114" y="12"/>
                </a:lnTo>
                <a:close/>
                <a:moveTo>
                  <a:pt x="102" y="12"/>
                </a:moveTo>
                <a:cubicBezTo>
                  <a:pt x="108" y="12"/>
                  <a:pt x="108" y="12"/>
                  <a:pt x="108" y="12"/>
                </a:cubicBezTo>
                <a:cubicBezTo>
                  <a:pt x="108" y="18"/>
                  <a:pt x="108" y="18"/>
                  <a:pt x="108" y="18"/>
                </a:cubicBezTo>
                <a:cubicBezTo>
                  <a:pt x="102" y="18"/>
                  <a:pt x="102" y="18"/>
                  <a:pt x="102" y="18"/>
                </a:cubicBezTo>
                <a:lnTo>
                  <a:pt x="102" y="12"/>
                </a:lnTo>
                <a:close/>
                <a:moveTo>
                  <a:pt x="96" y="78"/>
                </a:moveTo>
                <a:cubicBezTo>
                  <a:pt x="90" y="78"/>
                  <a:pt x="90" y="78"/>
                  <a:pt x="90" y="78"/>
                </a:cubicBezTo>
                <a:cubicBezTo>
                  <a:pt x="90" y="72"/>
                  <a:pt x="90" y="72"/>
                  <a:pt x="90" y="72"/>
                </a:cubicBezTo>
                <a:cubicBezTo>
                  <a:pt x="96" y="72"/>
                  <a:pt x="96" y="72"/>
                  <a:pt x="96" y="72"/>
                </a:cubicBezTo>
                <a:lnTo>
                  <a:pt x="96" y="78"/>
                </a:lnTo>
                <a:close/>
                <a:moveTo>
                  <a:pt x="96" y="66"/>
                </a:moveTo>
                <a:cubicBezTo>
                  <a:pt x="84" y="66"/>
                  <a:pt x="84" y="66"/>
                  <a:pt x="84" y="66"/>
                </a:cubicBezTo>
                <a:cubicBezTo>
                  <a:pt x="84" y="24"/>
                  <a:pt x="84" y="24"/>
                  <a:pt x="84" y="24"/>
                </a:cubicBezTo>
                <a:cubicBezTo>
                  <a:pt x="96" y="24"/>
                  <a:pt x="96" y="24"/>
                  <a:pt x="96" y="24"/>
                </a:cubicBezTo>
                <a:lnTo>
                  <a:pt x="96" y="66"/>
                </a:lnTo>
                <a:close/>
                <a:moveTo>
                  <a:pt x="96" y="18"/>
                </a:moveTo>
                <a:cubicBezTo>
                  <a:pt x="90" y="18"/>
                  <a:pt x="90" y="18"/>
                  <a:pt x="90" y="18"/>
                </a:cubicBezTo>
                <a:cubicBezTo>
                  <a:pt x="90" y="12"/>
                  <a:pt x="90" y="12"/>
                  <a:pt x="90" y="12"/>
                </a:cubicBezTo>
                <a:cubicBezTo>
                  <a:pt x="96" y="12"/>
                  <a:pt x="96" y="12"/>
                  <a:pt x="96" y="12"/>
                </a:cubicBezTo>
                <a:lnTo>
                  <a:pt x="96" y="18"/>
                </a:lnTo>
                <a:close/>
                <a:moveTo>
                  <a:pt x="108" y="78"/>
                </a:moveTo>
                <a:cubicBezTo>
                  <a:pt x="102" y="78"/>
                  <a:pt x="102" y="78"/>
                  <a:pt x="102" y="78"/>
                </a:cubicBezTo>
                <a:cubicBezTo>
                  <a:pt x="102" y="72"/>
                  <a:pt x="102" y="72"/>
                  <a:pt x="102" y="72"/>
                </a:cubicBezTo>
                <a:cubicBezTo>
                  <a:pt x="108" y="72"/>
                  <a:pt x="108" y="72"/>
                  <a:pt x="108" y="72"/>
                </a:cubicBezTo>
                <a:lnTo>
                  <a:pt x="108" y="78"/>
                </a:lnTo>
                <a:close/>
                <a:moveTo>
                  <a:pt x="120" y="78"/>
                </a:moveTo>
                <a:cubicBezTo>
                  <a:pt x="114" y="78"/>
                  <a:pt x="114" y="78"/>
                  <a:pt x="114" y="78"/>
                </a:cubicBezTo>
                <a:cubicBezTo>
                  <a:pt x="114" y="72"/>
                  <a:pt x="114" y="72"/>
                  <a:pt x="114" y="72"/>
                </a:cubicBezTo>
                <a:cubicBezTo>
                  <a:pt x="120" y="72"/>
                  <a:pt x="120" y="72"/>
                  <a:pt x="120" y="72"/>
                </a:cubicBezTo>
                <a:lnTo>
                  <a:pt x="120" y="78"/>
                </a:lnTo>
                <a:close/>
                <a:moveTo>
                  <a:pt x="132" y="78"/>
                </a:moveTo>
                <a:cubicBezTo>
                  <a:pt x="126" y="78"/>
                  <a:pt x="126" y="78"/>
                  <a:pt x="126" y="78"/>
                </a:cubicBezTo>
                <a:cubicBezTo>
                  <a:pt x="126" y="72"/>
                  <a:pt x="126" y="72"/>
                  <a:pt x="126" y="72"/>
                </a:cubicBezTo>
                <a:cubicBezTo>
                  <a:pt x="132" y="72"/>
                  <a:pt x="132" y="72"/>
                  <a:pt x="132" y="72"/>
                </a:cubicBezTo>
                <a:lnTo>
                  <a:pt x="132" y="78"/>
                </a:lnTo>
                <a:close/>
                <a:moveTo>
                  <a:pt x="144" y="78"/>
                </a:moveTo>
                <a:cubicBezTo>
                  <a:pt x="138" y="78"/>
                  <a:pt x="138" y="78"/>
                  <a:pt x="138" y="78"/>
                </a:cubicBezTo>
                <a:cubicBezTo>
                  <a:pt x="138" y="72"/>
                  <a:pt x="138" y="72"/>
                  <a:pt x="138" y="72"/>
                </a:cubicBezTo>
                <a:cubicBezTo>
                  <a:pt x="144" y="72"/>
                  <a:pt x="144" y="72"/>
                  <a:pt x="144" y="72"/>
                </a:cubicBezTo>
                <a:lnTo>
                  <a:pt x="144" y="78"/>
                </a:lnTo>
                <a:close/>
                <a:moveTo>
                  <a:pt x="150" y="66"/>
                </a:moveTo>
                <a:cubicBezTo>
                  <a:pt x="102" y="66"/>
                  <a:pt x="102" y="66"/>
                  <a:pt x="102" y="66"/>
                </a:cubicBezTo>
                <a:cubicBezTo>
                  <a:pt x="102" y="24"/>
                  <a:pt x="102" y="24"/>
                  <a:pt x="102" y="24"/>
                </a:cubicBezTo>
                <a:cubicBezTo>
                  <a:pt x="150" y="24"/>
                  <a:pt x="150" y="24"/>
                  <a:pt x="150" y="24"/>
                </a:cubicBezTo>
                <a:lnTo>
                  <a:pt x="150" y="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75" name="Rectangle 182"/>
          <p:cNvSpPr>
            <a:spLocks noChangeArrowheads="1"/>
          </p:cNvSpPr>
          <p:nvPr/>
        </p:nvSpPr>
        <p:spPr bwMode="auto">
          <a:xfrm>
            <a:off x="8252885" y="3579285"/>
            <a:ext cx="35983" cy="1904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76" name="Rectangle 183"/>
          <p:cNvSpPr>
            <a:spLocks noChangeArrowheads="1"/>
          </p:cNvSpPr>
          <p:nvPr/>
        </p:nvSpPr>
        <p:spPr bwMode="auto">
          <a:xfrm>
            <a:off x="8216901" y="3507318"/>
            <a:ext cx="107951" cy="1904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77" name="Rectangle 184"/>
          <p:cNvSpPr>
            <a:spLocks noChangeArrowheads="1"/>
          </p:cNvSpPr>
          <p:nvPr/>
        </p:nvSpPr>
        <p:spPr bwMode="auto">
          <a:xfrm>
            <a:off x="8216901" y="3543300"/>
            <a:ext cx="107951" cy="169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78" name="Freeform 185"/>
          <p:cNvSpPr>
            <a:spLocks/>
          </p:cNvSpPr>
          <p:nvPr/>
        </p:nvSpPr>
        <p:spPr bwMode="auto">
          <a:xfrm>
            <a:off x="8144934" y="3215218"/>
            <a:ext cx="251884" cy="273049"/>
          </a:xfrm>
          <a:custGeom>
            <a:avLst/>
            <a:gdLst>
              <a:gd name="T0" fmla="*/ 427685538 w 84"/>
              <a:gd name="T1" fmla="*/ 218302942 h 90"/>
              <a:gd name="T2" fmla="*/ 213842769 w 84"/>
              <a:gd name="T3" fmla="*/ 0 h 90"/>
              <a:gd name="T4" fmla="*/ 0 w 84"/>
              <a:gd name="T5" fmla="*/ 218302942 h 90"/>
              <a:gd name="T6" fmla="*/ 122195226 w 84"/>
              <a:gd name="T7" fmla="*/ 415813177 h 90"/>
              <a:gd name="T8" fmla="*/ 122195226 w 84"/>
              <a:gd name="T9" fmla="*/ 467790393 h 90"/>
              <a:gd name="T10" fmla="*/ 305490313 w 84"/>
              <a:gd name="T11" fmla="*/ 467790393 h 90"/>
              <a:gd name="T12" fmla="*/ 305490313 w 84"/>
              <a:gd name="T13" fmla="*/ 415813177 h 90"/>
              <a:gd name="T14" fmla="*/ 427685538 w 84"/>
              <a:gd name="T15" fmla="*/ 218302942 h 9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84" h="90">
                <a:moveTo>
                  <a:pt x="84" y="42"/>
                </a:moveTo>
                <a:cubicBezTo>
                  <a:pt x="84" y="19"/>
                  <a:pt x="65" y="0"/>
                  <a:pt x="42" y="0"/>
                </a:cubicBezTo>
                <a:cubicBezTo>
                  <a:pt x="19" y="0"/>
                  <a:pt x="0" y="19"/>
                  <a:pt x="0" y="42"/>
                </a:cubicBezTo>
                <a:cubicBezTo>
                  <a:pt x="0" y="59"/>
                  <a:pt x="10" y="73"/>
                  <a:pt x="24" y="80"/>
                </a:cubicBezTo>
                <a:cubicBezTo>
                  <a:pt x="24" y="90"/>
                  <a:pt x="24" y="90"/>
                  <a:pt x="24" y="90"/>
                </a:cubicBezTo>
                <a:cubicBezTo>
                  <a:pt x="60" y="90"/>
                  <a:pt x="60" y="90"/>
                  <a:pt x="60" y="90"/>
                </a:cubicBezTo>
                <a:cubicBezTo>
                  <a:pt x="60" y="80"/>
                  <a:pt x="60" y="80"/>
                  <a:pt x="60" y="80"/>
                </a:cubicBezTo>
                <a:cubicBezTo>
                  <a:pt x="74" y="73"/>
                  <a:pt x="84" y="59"/>
                  <a:pt x="84" y="4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79" name="Freeform 186"/>
          <p:cNvSpPr>
            <a:spLocks/>
          </p:cNvSpPr>
          <p:nvPr/>
        </p:nvSpPr>
        <p:spPr bwMode="auto">
          <a:xfrm>
            <a:off x="9042401" y="3170768"/>
            <a:ext cx="251884" cy="472017"/>
          </a:xfrm>
          <a:custGeom>
            <a:avLst/>
            <a:gdLst>
              <a:gd name="T0" fmla="*/ 427685538 w 84"/>
              <a:gd name="T1" fmla="*/ 123811508 h 156"/>
              <a:gd name="T2" fmla="*/ 427685538 w 84"/>
              <a:gd name="T3" fmla="*/ 588104096 h 156"/>
              <a:gd name="T4" fmla="*/ 213842769 w 84"/>
              <a:gd name="T5" fmla="*/ 804773668 h 156"/>
              <a:gd name="T6" fmla="*/ 0 w 84"/>
              <a:gd name="T7" fmla="*/ 588104096 h 156"/>
              <a:gd name="T8" fmla="*/ 0 w 84"/>
              <a:gd name="T9" fmla="*/ 154764952 h 156"/>
              <a:gd name="T10" fmla="*/ 20366621 w 84"/>
              <a:gd name="T11" fmla="*/ 77381342 h 156"/>
              <a:gd name="T12" fmla="*/ 152745156 w 84"/>
              <a:gd name="T13" fmla="*/ 0 h 156"/>
              <a:gd name="T14" fmla="*/ 285123692 w 84"/>
              <a:gd name="T15" fmla="*/ 77381342 h 156"/>
              <a:gd name="T16" fmla="*/ 305490313 w 84"/>
              <a:gd name="T17" fmla="*/ 154764952 h 156"/>
              <a:gd name="T18" fmla="*/ 305490313 w 84"/>
              <a:gd name="T19" fmla="*/ 557150652 h 156"/>
              <a:gd name="T20" fmla="*/ 213842769 w 84"/>
              <a:gd name="T21" fmla="*/ 650008716 h 156"/>
              <a:gd name="T22" fmla="*/ 122195226 w 84"/>
              <a:gd name="T23" fmla="*/ 557150652 h 156"/>
              <a:gd name="T24" fmla="*/ 122195226 w 84"/>
              <a:gd name="T25" fmla="*/ 278576461 h 156"/>
              <a:gd name="T26" fmla="*/ 152745156 w 84"/>
              <a:gd name="T27" fmla="*/ 247623016 h 156"/>
              <a:gd name="T28" fmla="*/ 183292838 w 84"/>
              <a:gd name="T29" fmla="*/ 278576461 h 156"/>
              <a:gd name="T30" fmla="*/ 183292838 w 84"/>
              <a:gd name="T31" fmla="*/ 557150652 h 156"/>
              <a:gd name="T32" fmla="*/ 213842769 w 84"/>
              <a:gd name="T33" fmla="*/ 588104096 h 156"/>
              <a:gd name="T34" fmla="*/ 244392700 w 84"/>
              <a:gd name="T35" fmla="*/ 557150652 h 156"/>
              <a:gd name="T36" fmla="*/ 244392700 w 84"/>
              <a:gd name="T37" fmla="*/ 154764952 h 156"/>
              <a:gd name="T38" fmla="*/ 152745156 w 84"/>
              <a:gd name="T39" fmla="*/ 61904619 h 156"/>
              <a:gd name="T40" fmla="*/ 71280923 w 84"/>
              <a:gd name="T41" fmla="*/ 108334786 h 156"/>
              <a:gd name="T42" fmla="*/ 61097613 w 84"/>
              <a:gd name="T43" fmla="*/ 154764952 h 156"/>
              <a:gd name="T44" fmla="*/ 61097613 w 84"/>
              <a:gd name="T45" fmla="*/ 588104096 h 156"/>
              <a:gd name="T46" fmla="*/ 213842769 w 84"/>
              <a:gd name="T47" fmla="*/ 742869049 h 156"/>
              <a:gd name="T48" fmla="*/ 366587925 w 84"/>
              <a:gd name="T49" fmla="*/ 588104096 h 156"/>
              <a:gd name="T50" fmla="*/ 366587925 w 84"/>
              <a:gd name="T51" fmla="*/ 123811508 h 156"/>
              <a:gd name="T52" fmla="*/ 397135607 w 84"/>
              <a:gd name="T53" fmla="*/ 92858064 h 156"/>
              <a:gd name="T54" fmla="*/ 427685538 w 84"/>
              <a:gd name="T55" fmla="*/ 123811508 h 15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84" h="156">
                <a:moveTo>
                  <a:pt x="84" y="24"/>
                </a:moveTo>
                <a:cubicBezTo>
                  <a:pt x="84" y="114"/>
                  <a:pt x="84" y="114"/>
                  <a:pt x="84" y="114"/>
                </a:cubicBezTo>
                <a:cubicBezTo>
                  <a:pt x="84" y="129"/>
                  <a:pt x="75" y="156"/>
                  <a:pt x="42" y="156"/>
                </a:cubicBezTo>
                <a:cubicBezTo>
                  <a:pt x="9" y="156"/>
                  <a:pt x="0" y="129"/>
                  <a:pt x="0" y="114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29"/>
                  <a:pt x="0" y="22"/>
                  <a:pt x="4" y="15"/>
                </a:cubicBezTo>
                <a:cubicBezTo>
                  <a:pt x="9" y="5"/>
                  <a:pt x="18" y="0"/>
                  <a:pt x="30" y="0"/>
                </a:cubicBezTo>
                <a:cubicBezTo>
                  <a:pt x="42" y="0"/>
                  <a:pt x="51" y="5"/>
                  <a:pt x="56" y="15"/>
                </a:cubicBezTo>
                <a:cubicBezTo>
                  <a:pt x="60" y="22"/>
                  <a:pt x="60" y="29"/>
                  <a:pt x="60" y="30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15"/>
                  <a:pt x="55" y="126"/>
                  <a:pt x="42" y="126"/>
                </a:cubicBezTo>
                <a:cubicBezTo>
                  <a:pt x="29" y="126"/>
                  <a:pt x="24" y="115"/>
                  <a:pt x="24" y="108"/>
                </a:cubicBezTo>
                <a:cubicBezTo>
                  <a:pt x="24" y="54"/>
                  <a:pt x="24" y="54"/>
                  <a:pt x="24" y="54"/>
                </a:cubicBezTo>
                <a:cubicBezTo>
                  <a:pt x="24" y="51"/>
                  <a:pt x="27" y="48"/>
                  <a:pt x="30" y="48"/>
                </a:cubicBezTo>
                <a:cubicBezTo>
                  <a:pt x="33" y="48"/>
                  <a:pt x="36" y="51"/>
                  <a:pt x="36" y="54"/>
                </a:cubicBezTo>
                <a:cubicBezTo>
                  <a:pt x="36" y="108"/>
                  <a:pt x="36" y="108"/>
                  <a:pt x="36" y="108"/>
                </a:cubicBezTo>
                <a:cubicBezTo>
                  <a:pt x="36" y="111"/>
                  <a:pt x="37" y="114"/>
                  <a:pt x="42" y="114"/>
                </a:cubicBezTo>
                <a:cubicBezTo>
                  <a:pt x="47" y="114"/>
                  <a:pt x="48" y="111"/>
                  <a:pt x="48" y="108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27"/>
                  <a:pt x="47" y="12"/>
                  <a:pt x="30" y="12"/>
                </a:cubicBezTo>
                <a:cubicBezTo>
                  <a:pt x="22" y="12"/>
                  <a:pt x="17" y="15"/>
                  <a:pt x="14" y="21"/>
                </a:cubicBezTo>
                <a:cubicBezTo>
                  <a:pt x="12" y="25"/>
                  <a:pt x="12" y="30"/>
                  <a:pt x="12" y="30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17"/>
                  <a:pt x="13" y="144"/>
                  <a:pt x="42" y="144"/>
                </a:cubicBezTo>
                <a:cubicBezTo>
                  <a:pt x="72" y="144"/>
                  <a:pt x="72" y="115"/>
                  <a:pt x="72" y="114"/>
                </a:cubicBezTo>
                <a:cubicBezTo>
                  <a:pt x="72" y="24"/>
                  <a:pt x="72" y="24"/>
                  <a:pt x="72" y="24"/>
                </a:cubicBezTo>
                <a:cubicBezTo>
                  <a:pt x="72" y="21"/>
                  <a:pt x="75" y="18"/>
                  <a:pt x="78" y="18"/>
                </a:cubicBezTo>
                <a:cubicBezTo>
                  <a:pt x="81" y="18"/>
                  <a:pt x="84" y="21"/>
                  <a:pt x="84" y="24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0" name="Freeform 187"/>
          <p:cNvSpPr>
            <a:spLocks/>
          </p:cNvSpPr>
          <p:nvPr/>
        </p:nvSpPr>
        <p:spPr bwMode="auto">
          <a:xfrm>
            <a:off x="9768418" y="3255434"/>
            <a:ext cx="476249" cy="325967"/>
          </a:xfrm>
          <a:custGeom>
            <a:avLst/>
            <a:gdLst>
              <a:gd name="T0" fmla="*/ 629145976 w 156"/>
              <a:gd name="T1" fmla="*/ 0 h 108"/>
              <a:gd name="T2" fmla="*/ 529532017 w 156"/>
              <a:gd name="T3" fmla="*/ 0 h 108"/>
              <a:gd name="T4" fmla="*/ 408944770 w 156"/>
              <a:gd name="T5" fmla="*/ 92105956 h 108"/>
              <a:gd name="T6" fmla="*/ 288357523 w 156"/>
              <a:gd name="T7" fmla="*/ 0 h 108"/>
              <a:gd name="T8" fmla="*/ 188743564 w 156"/>
              <a:gd name="T9" fmla="*/ 0 h 108"/>
              <a:gd name="T10" fmla="*/ 188743564 w 156"/>
              <a:gd name="T11" fmla="*/ 0 h 108"/>
              <a:gd name="T12" fmla="*/ 188743564 w 156"/>
              <a:gd name="T13" fmla="*/ 0 h 108"/>
              <a:gd name="T14" fmla="*/ 188743564 w 156"/>
              <a:gd name="T15" fmla="*/ 0 h 108"/>
              <a:gd name="T16" fmla="*/ 0 w 156"/>
              <a:gd name="T17" fmla="*/ 92105956 h 108"/>
              <a:gd name="T18" fmla="*/ 62915285 w 156"/>
              <a:gd name="T19" fmla="*/ 245613620 h 108"/>
              <a:gd name="T20" fmla="*/ 188743564 w 156"/>
              <a:gd name="T21" fmla="*/ 184209649 h 108"/>
              <a:gd name="T22" fmla="*/ 188743564 w 156"/>
              <a:gd name="T23" fmla="*/ 552628947 h 108"/>
              <a:gd name="T24" fmla="*/ 629145976 w 156"/>
              <a:gd name="T25" fmla="*/ 552628947 h 108"/>
              <a:gd name="T26" fmla="*/ 629145976 w 156"/>
              <a:gd name="T27" fmla="*/ 184209649 h 108"/>
              <a:gd name="T28" fmla="*/ 754974256 w 156"/>
              <a:gd name="T29" fmla="*/ 245613620 h 108"/>
              <a:gd name="T30" fmla="*/ 817889540 w 156"/>
              <a:gd name="T31" fmla="*/ 92105956 h 108"/>
              <a:gd name="T32" fmla="*/ 629145976 w 156"/>
              <a:gd name="T33" fmla="*/ 0 h 10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56" h="108">
                <a:moveTo>
                  <a:pt x="120" y="0"/>
                </a:moveTo>
                <a:cubicBezTo>
                  <a:pt x="101" y="0"/>
                  <a:pt x="101" y="0"/>
                  <a:pt x="101" y="0"/>
                </a:cubicBezTo>
                <a:cubicBezTo>
                  <a:pt x="98" y="10"/>
                  <a:pt x="89" y="18"/>
                  <a:pt x="78" y="18"/>
                </a:cubicBezTo>
                <a:cubicBezTo>
                  <a:pt x="67" y="18"/>
                  <a:pt x="58" y="10"/>
                  <a:pt x="55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0" y="18"/>
                  <a:pt x="0" y="18"/>
                  <a:pt x="0" y="18"/>
                </a:cubicBezTo>
                <a:cubicBezTo>
                  <a:pt x="12" y="48"/>
                  <a:pt x="12" y="48"/>
                  <a:pt x="12" y="48"/>
                </a:cubicBezTo>
                <a:cubicBezTo>
                  <a:pt x="36" y="36"/>
                  <a:pt x="36" y="36"/>
                  <a:pt x="36" y="36"/>
                </a:cubicBezTo>
                <a:cubicBezTo>
                  <a:pt x="36" y="108"/>
                  <a:pt x="36" y="108"/>
                  <a:pt x="36" y="108"/>
                </a:cubicBezTo>
                <a:cubicBezTo>
                  <a:pt x="120" y="108"/>
                  <a:pt x="120" y="108"/>
                  <a:pt x="120" y="108"/>
                </a:cubicBezTo>
                <a:cubicBezTo>
                  <a:pt x="120" y="36"/>
                  <a:pt x="120" y="36"/>
                  <a:pt x="120" y="36"/>
                </a:cubicBezTo>
                <a:cubicBezTo>
                  <a:pt x="144" y="48"/>
                  <a:pt x="144" y="48"/>
                  <a:pt x="144" y="48"/>
                </a:cubicBezTo>
                <a:cubicBezTo>
                  <a:pt x="156" y="18"/>
                  <a:pt x="156" y="18"/>
                  <a:pt x="156" y="18"/>
                </a:cubicBezTo>
                <a:lnTo>
                  <a:pt x="12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1" name="Freeform 284"/>
          <p:cNvSpPr>
            <a:spLocks noEditPoints="1"/>
          </p:cNvSpPr>
          <p:nvPr/>
        </p:nvSpPr>
        <p:spPr bwMode="auto">
          <a:xfrm>
            <a:off x="10674351" y="5759451"/>
            <a:ext cx="438149" cy="292100"/>
          </a:xfrm>
          <a:custGeom>
            <a:avLst/>
            <a:gdLst>
              <a:gd name="T0" fmla="*/ 562992227 w 144"/>
              <a:gd name="T1" fmla="*/ 0 h 96"/>
              <a:gd name="T2" fmla="*/ 0 w 144"/>
              <a:gd name="T3" fmla="*/ 0 h 96"/>
              <a:gd name="T4" fmla="*/ 0 w 144"/>
              <a:gd name="T5" fmla="*/ 62308581 h 96"/>
              <a:gd name="T6" fmla="*/ 0 w 144"/>
              <a:gd name="T7" fmla="*/ 62308581 h 96"/>
              <a:gd name="T8" fmla="*/ 0 w 144"/>
              <a:gd name="T9" fmla="*/ 373851488 h 96"/>
              <a:gd name="T10" fmla="*/ 125109891 w 144"/>
              <a:gd name="T11" fmla="*/ 498468650 h 96"/>
              <a:gd name="T12" fmla="*/ 437882336 w 144"/>
              <a:gd name="T13" fmla="*/ 498468650 h 96"/>
              <a:gd name="T14" fmla="*/ 562992227 w 144"/>
              <a:gd name="T15" fmla="*/ 373851488 h 96"/>
              <a:gd name="T16" fmla="*/ 750657063 w 144"/>
              <a:gd name="T17" fmla="*/ 186925744 h 96"/>
              <a:gd name="T18" fmla="*/ 562992227 w 144"/>
              <a:gd name="T19" fmla="*/ 0 h 96"/>
              <a:gd name="T20" fmla="*/ 562992227 w 144"/>
              <a:gd name="T21" fmla="*/ 280388616 h 96"/>
              <a:gd name="T22" fmla="*/ 562992227 w 144"/>
              <a:gd name="T23" fmla="*/ 93462872 h 96"/>
              <a:gd name="T24" fmla="*/ 656824645 w 144"/>
              <a:gd name="T25" fmla="*/ 186925744 h 96"/>
              <a:gd name="T26" fmla="*/ 562992227 w 144"/>
              <a:gd name="T27" fmla="*/ 280388616 h 9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44" h="96">
                <a:moveTo>
                  <a:pt x="108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86"/>
                  <a:pt x="11" y="96"/>
                  <a:pt x="24" y="96"/>
                </a:cubicBezTo>
                <a:cubicBezTo>
                  <a:pt x="84" y="96"/>
                  <a:pt x="84" y="96"/>
                  <a:pt x="84" y="96"/>
                </a:cubicBezTo>
                <a:cubicBezTo>
                  <a:pt x="97" y="96"/>
                  <a:pt x="108" y="86"/>
                  <a:pt x="108" y="72"/>
                </a:cubicBezTo>
                <a:cubicBezTo>
                  <a:pt x="128" y="72"/>
                  <a:pt x="144" y="56"/>
                  <a:pt x="144" y="36"/>
                </a:cubicBezTo>
                <a:cubicBezTo>
                  <a:pt x="144" y="17"/>
                  <a:pt x="128" y="0"/>
                  <a:pt x="108" y="0"/>
                </a:cubicBezTo>
                <a:moveTo>
                  <a:pt x="108" y="54"/>
                </a:moveTo>
                <a:cubicBezTo>
                  <a:pt x="108" y="18"/>
                  <a:pt x="108" y="18"/>
                  <a:pt x="108" y="18"/>
                </a:cubicBezTo>
                <a:cubicBezTo>
                  <a:pt x="118" y="18"/>
                  <a:pt x="126" y="27"/>
                  <a:pt x="126" y="36"/>
                </a:cubicBezTo>
                <a:cubicBezTo>
                  <a:pt x="126" y="46"/>
                  <a:pt x="118" y="54"/>
                  <a:pt x="108" y="54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2" name="Freeform 285"/>
          <p:cNvSpPr>
            <a:spLocks/>
          </p:cNvSpPr>
          <p:nvPr/>
        </p:nvSpPr>
        <p:spPr bwMode="auto">
          <a:xfrm>
            <a:off x="10775951" y="5585885"/>
            <a:ext cx="143933" cy="146049"/>
          </a:xfrm>
          <a:custGeom>
            <a:avLst/>
            <a:gdLst>
              <a:gd name="T0" fmla="*/ 136541007 w 48"/>
              <a:gd name="T1" fmla="*/ 252165584 h 48"/>
              <a:gd name="T2" fmla="*/ 60685892 w 48"/>
              <a:gd name="T3" fmla="*/ 204884394 h 48"/>
              <a:gd name="T4" fmla="*/ 146656822 w 48"/>
              <a:gd name="T5" fmla="*/ 162856417 h 48"/>
              <a:gd name="T6" fmla="*/ 207340465 w 48"/>
              <a:gd name="T7" fmla="*/ 147096781 h 48"/>
              <a:gd name="T8" fmla="*/ 121371783 w 48"/>
              <a:gd name="T9" fmla="*/ 126083933 h 48"/>
              <a:gd name="T10" fmla="*/ 0 w 48"/>
              <a:gd name="T11" fmla="*/ 78802743 h 48"/>
              <a:gd name="T12" fmla="*/ 227569845 w 48"/>
              <a:gd name="T13" fmla="*/ 0 h 48"/>
              <a:gd name="T14" fmla="*/ 242741318 w 48"/>
              <a:gd name="T15" fmla="*/ 15759636 h 48"/>
              <a:gd name="T16" fmla="*/ 227569845 w 48"/>
              <a:gd name="T17" fmla="*/ 31521554 h 48"/>
              <a:gd name="T18" fmla="*/ 35400853 w 48"/>
              <a:gd name="T19" fmla="*/ 78802743 h 48"/>
              <a:gd name="T20" fmla="*/ 121371783 w 48"/>
              <a:gd name="T21" fmla="*/ 99815591 h 48"/>
              <a:gd name="T22" fmla="*/ 242741318 w 48"/>
              <a:gd name="T23" fmla="*/ 141843569 h 48"/>
              <a:gd name="T24" fmla="*/ 156770388 w 48"/>
              <a:gd name="T25" fmla="*/ 189124759 h 48"/>
              <a:gd name="T26" fmla="*/ 91028838 w 48"/>
              <a:gd name="T27" fmla="*/ 210137606 h 48"/>
              <a:gd name="T28" fmla="*/ 136541007 w 48"/>
              <a:gd name="T29" fmla="*/ 220644030 h 48"/>
              <a:gd name="T30" fmla="*/ 151712480 w 48"/>
              <a:gd name="T31" fmla="*/ 236405948 h 48"/>
              <a:gd name="T32" fmla="*/ 136541007 w 48"/>
              <a:gd name="T33" fmla="*/ 252165584 h 4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8" h="48">
                <a:moveTo>
                  <a:pt x="27" y="48"/>
                </a:moveTo>
                <a:cubicBezTo>
                  <a:pt x="20" y="48"/>
                  <a:pt x="12" y="46"/>
                  <a:pt x="12" y="39"/>
                </a:cubicBezTo>
                <a:cubicBezTo>
                  <a:pt x="12" y="34"/>
                  <a:pt x="20" y="33"/>
                  <a:pt x="29" y="31"/>
                </a:cubicBezTo>
                <a:cubicBezTo>
                  <a:pt x="33" y="30"/>
                  <a:pt x="38" y="29"/>
                  <a:pt x="41" y="28"/>
                </a:cubicBezTo>
                <a:cubicBezTo>
                  <a:pt x="37" y="26"/>
                  <a:pt x="29" y="25"/>
                  <a:pt x="24" y="24"/>
                </a:cubicBezTo>
                <a:cubicBezTo>
                  <a:pt x="8" y="22"/>
                  <a:pt x="0" y="21"/>
                  <a:pt x="0" y="15"/>
                </a:cubicBezTo>
                <a:cubicBezTo>
                  <a:pt x="0" y="5"/>
                  <a:pt x="42" y="0"/>
                  <a:pt x="45" y="0"/>
                </a:cubicBezTo>
                <a:cubicBezTo>
                  <a:pt x="47" y="0"/>
                  <a:pt x="48" y="2"/>
                  <a:pt x="48" y="3"/>
                </a:cubicBezTo>
                <a:cubicBezTo>
                  <a:pt x="48" y="5"/>
                  <a:pt x="47" y="6"/>
                  <a:pt x="45" y="6"/>
                </a:cubicBezTo>
                <a:cubicBezTo>
                  <a:pt x="36" y="6"/>
                  <a:pt x="12" y="11"/>
                  <a:pt x="7" y="15"/>
                </a:cubicBezTo>
                <a:cubicBezTo>
                  <a:pt x="10" y="16"/>
                  <a:pt x="19" y="18"/>
                  <a:pt x="24" y="19"/>
                </a:cubicBezTo>
                <a:cubicBezTo>
                  <a:pt x="40" y="21"/>
                  <a:pt x="48" y="22"/>
                  <a:pt x="48" y="27"/>
                </a:cubicBezTo>
                <a:cubicBezTo>
                  <a:pt x="48" y="33"/>
                  <a:pt x="40" y="34"/>
                  <a:pt x="31" y="36"/>
                </a:cubicBezTo>
                <a:cubicBezTo>
                  <a:pt x="27" y="37"/>
                  <a:pt x="20" y="39"/>
                  <a:pt x="18" y="40"/>
                </a:cubicBezTo>
                <a:cubicBezTo>
                  <a:pt x="19" y="41"/>
                  <a:pt x="24" y="42"/>
                  <a:pt x="27" y="42"/>
                </a:cubicBezTo>
                <a:cubicBezTo>
                  <a:pt x="29" y="42"/>
                  <a:pt x="30" y="44"/>
                  <a:pt x="30" y="45"/>
                </a:cubicBezTo>
                <a:cubicBezTo>
                  <a:pt x="30" y="47"/>
                  <a:pt x="29" y="48"/>
                  <a:pt x="27" y="4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3" name="Freeform 300"/>
          <p:cNvSpPr>
            <a:spLocks/>
          </p:cNvSpPr>
          <p:nvPr/>
        </p:nvSpPr>
        <p:spPr bwMode="auto">
          <a:xfrm>
            <a:off x="9785351" y="5994401"/>
            <a:ext cx="535516" cy="55033"/>
          </a:xfrm>
          <a:custGeom>
            <a:avLst/>
            <a:gdLst>
              <a:gd name="T0" fmla="*/ 914860625 w 176"/>
              <a:gd name="T1" fmla="*/ 94283565 h 18"/>
              <a:gd name="T2" fmla="*/ 857682121 w 176"/>
              <a:gd name="T3" fmla="*/ 83806594 h 18"/>
              <a:gd name="T4" fmla="*/ 800503618 w 176"/>
              <a:gd name="T5" fmla="*/ 73331917 h 18"/>
              <a:gd name="T6" fmla="*/ 743325114 w 176"/>
              <a:gd name="T7" fmla="*/ 83806594 h 18"/>
              <a:gd name="T8" fmla="*/ 686146610 w 176"/>
              <a:gd name="T9" fmla="*/ 94283565 h 18"/>
              <a:gd name="T10" fmla="*/ 628965824 w 176"/>
              <a:gd name="T11" fmla="*/ 83806594 h 18"/>
              <a:gd name="T12" fmla="*/ 571787320 w 176"/>
              <a:gd name="T13" fmla="*/ 73331917 h 18"/>
              <a:gd name="T14" fmla="*/ 514608816 w 176"/>
              <a:gd name="T15" fmla="*/ 83806594 h 18"/>
              <a:gd name="T16" fmla="*/ 457430313 w 176"/>
              <a:gd name="T17" fmla="*/ 94283565 h 18"/>
              <a:gd name="T18" fmla="*/ 400251809 w 176"/>
              <a:gd name="T19" fmla="*/ 83806594 h 18"/>
              <a:gd name="T20" fmla="*/ 343073305 w 176"/>
              <a:gd name="T21" fmla="*/ 73331917 h 18"/>
              <a:gd name="T22" fmla="*/ 285894801 w 176"/>
              <a:gd name="T23" fmla="*/ 83806594 h 18"/>
              <a:gd name="T24" fmla="*/ 228716297 w 176"/>
              <a:gd name="T25" fmla="*/ 94283565 h 18"/>
              <a:gd name="T26" fmla="*/ 171535511 w 176"/>
              <a:gd name="T27" fmla="*/ 83806594 h 18"/>
              <a:gd name="T28" fmla="*/ 114357008 w 176"/>
              <a:gd name="T29" fmla="*/ 73331917 h 18"/>
              <a:gd name="T30" fmla="*/ 57178504 w 176"/>
              <a:gd name="T31" fmla="*/ 83806594 h 18"/>
              <a:gd name="T32" fmla="*/ 0 w 176"/>
              <a:gd name="T33" fmla="*/ 94283565 h 18"/>
              <a:gd name="T34" fmla="*/ 0 w 176"/>
              <a:gd name="T35" fmla="*/ 20951649 h 18"/>
              <a:gd name="T36" fmla="*/ 57178504 w 176"/>
              <a:gd name="T37" fmla="*/ 10476971 h 18"/>
              <a:gd name="T38" fmla="*/ 114357008 w 176"/>
              <a:gd name="T39" fmla="*/ 0 h 18"/>
              <a:gd name="T40" fmla="*/ 171535511 w 176"/>
              <a:gd name="T41" fmla="*/ 10476971 h 18"/>
              <a:gd name="T42" fmla="*/ 228716297 w 176"/>
              <a:gd name="T43" fmla="*/ 20951649 h 18"/>
              <a:gd name="T44" fmla="*/ 285894801 w 176"/>
              <a:gd name="T45" fmla="*/ 10476971 h 18"/>
              <a:gd name="T46" fmla="*/ 343073305 w 176"/>
              <a:gd name="T47" fmla="*/ 0 h 18"/>
              <a:gd name="T48" fmla="*/ 400251809 w 176"/>
              <a:gd name="T49" fmla="*/ 10476971 h 18"/>
              <a:gd name="T50" fmla="*/ 457430313 w 176"/>
              <a:gd name="T51" fmla="*/ 20951649 h 18"/>
              <a:gd name="T52" fmla="*/ 514608816 w 176"/>
              <a:gd name="T53" fmla="*/ 10476971 h 18"/>
              <a:gd name="T54" fmla="*/ 571787320 w 176"/>
              <a:gd name="T55" fmla="*/ 0 h 18"/>
              <a:gd name="T56" fmla="*/ 628965824 w 176"/>
              <a:gd name="T57" fmla="*/ 10476971 h 18"/>
              <a:gd name="T58" fmla="*/ 686146610 w 176"/>
              <a:gd name="T59" fmla="*/ 20951649 h 18"/>
              <a:gd name="T60" fmla="*/ 743325114 w 176"/>
              <a:gd name="T61" fmla="*/ 10476971 h 18"/>
              <a:gd name="T62" fmla="*/ 800503618 w 176"/>
              <a:gd name="T63" fmla="*/ 0 h 18"/>
              <a:gd name="T64" fmla="*/ 857682121 w 176"/>
              <a:gd name="T65" fmla="*/ 10476971 h 18"/>
              <a:gd name="T66" fmla="*/ 914860625 w 176"/>
              <a:gd name="T67" fmla="*/ 20951649 h 18"/>
              <a:gd name="T68" fmla="*/ 914860625 w 176"/>
              <a:gd name="T69" fmla="*/ 94283565 h 1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76" h="18">
                <a:moveTo>
                  <a:pt x="176" y="18"/>
                </a:moveTo>
                <a:cubicBezTo>
                  <a:pt x="172" y="18"/>
                  <a:pt x="168" y="17"/>
                  <a:pt x="165" y="16"/>
                </a:cubicBezTo>
                <a:cubicBezTo>
                  <a:pt x="162" y="15"/>
                  <a:pt x="158" y="14"/>
                  <a:pt x="154" y="14"/>
                </a:cubicBezTo>
                <a:cubicBezTo>
                  <a:pt x="150" y="14"/>
                  <a:pt x="146" y="15"/>
                  <a:pt x="143" y="16"/>
                </a:cubicBezTo>
                <a:cubicBezTo>
                  <a:pt x="139" y="17"/>
                  <a:pt x="136" y="18"/>
                  <a:pt x="132" y="18"/>
                </a:cubicBezTo>
                <a:cubicBezTo>
                  <a:pt x="128" y="18"/>
                  <a:pt x="124" y="17"/>
                  <a:pt x="121" y="16"/>
                </a:cubicBezTo>
                <a:cubicBezTo>
                  <a:pt x="118" y="15"/>
                  <a:pt x="114" y="14"/>
                  <a:pt x="110" y="14"/>
                </a:cubicBezTo>
                <a:cubicBezTo>
                  <a:pt x="106" y="14"/>
                  <a:pt x="102" y="15"/>
                  <a:pt x="99" y="16"/>
                </a:cubicBezTo>
                <a:cubicBezTo>
                  <a:pt x="96" y="17"/>
                  <a:pt x="92" y="18"/>
                  <a:pt x="88" y="18"/>
                </a:cubicBezTo>
                <a:cubicBezTo>
                  <a:pt x="84" y="18"/>
                  <a:pt x="81" y="17"/>
                  <a:pt x="77" y="16"/>
                </a:cubicBezTo>
                <a:cubicBezTo>
                  <a:pt x="74" y="15"/>
                  <a:pt x="70" y="14"/>
                  <a:pt x="66" y="14"/>
                </a:cubicBezTo>
                <a:cubicBezTo>
                  <a:pt x="62" y="14"/>
                  <a:pt x="58" y="15"/>
                  <a:pt x="55" y="16"/>
                </a:cubicBezTo>
                <a:cubicBezTo>
                  <a:pt x="52" y="17"/>
                  <a:pt x="48" y="18"/>
                  <a:pt x="44" y="18"/>
                </a:cubicBezTo>
                <a:cubicBezTo>
                  <a:pt x="40" y="18"/>
                  <a:pt x="37" y="17"/>
                  <a:pt x="33" y="16"/>
                </a:cubicBezTo>
                <a:cubicBezTo>
                  <a:pt x="30" y="15"/>
                  <a:pt x="26" y="14"/>
                  <a:pt x="22" y="14"/>
                </a:cubicBezTo>
                <a:cubicBezTo>
                  <a:pt x="18" y="14"/>
                  <a:pt x="14" y="15"/>
                  <a:pt x="11" y="16"/>
                </a:cubicBezTo>
                <a:cubicBezTo>
                  <a:pt x="8" y="17"/>
                  <a:pt x="4" y="18"/>
                  <a:pt x="0" y="18"/>
                </a:cubicBezTo>
                <a:cubicBezTo>
                  <a:pt x="0" y="4"/>
                  <a:pt x="0" y="4"/>
                  <a:pt x="0" y="4"/>
                </a:cubicBezTo>
                <a:cubicBezTo>
                  <a:pt x="4" y="4"/>
                  <a:pt x="8" y="4"/>
                  <a:pt x="11" y="2"/>
                </a:cubicBezTo>
                <a:cubicBezTo>
                  <a:pt x="14" y="1"/>
                  <a:pt x="18" y="0"/>
                  <a:pt x="22" y="0"/>
                </a:cubicBezTo>
                <a:cubicBezTo>
                  <a:pt x="26" y="0"/>
                  <a:pt x="30" y="1"/>
                  <a:pt x="33" y="2"/>
                </a:cubicBezTo>
                <a:cubicBezTo>
                  <a:pt x="37" y="4"/>
                  <a:pt x="40" y="4"/>
                  <a:pt x="44" y="4"/>
                </a:cubicBezTo>
                <a:cubicBezTo>
                  <a:pt x="48" y="4"/>
                  <a:pt x="52" y="4"/>
                  <a:pt x="55" y="2"/>
                </a:cubicBezTo>
                <a:cubicBezTo>
                  <a:pt x="58" y="1"/>
                  <a:pt x="62" y="0"/>
                  <a:pt x="66" y="0"/>
                </a:cubicBezTo>
                <a:cubicBezTo>
                  <a:pt x="70" y="0"/>
                  <a:pt x="74" y="1"/>
                  <a:pt x="77" y="2"/>
                </a:cubicBezTo>
                <a:cubicBezTo>
                  <a:pt x="81" y="4"/>
                  <a:pt x="84" y="4"/>
                  <a:pt x="88" y="4"/>
                </a:cubicBezTo>
                <a:cubicBezTo>
                  <a:pt x="92" y="4"/>
                  <a:pt x="96" y="4"/>
                  <a:pt x="99" y="2"/>
                </a:cubicBezTo>
                <a:cubicBezTo>
                  <a:pt x="102" y="1"/>
                  <a:pt x="106" y="0"/>
                  <a:pt x="110" y="0"/>
                </a:cubicBezTo>
                <a:cubicBezTo>
                  <a:pt x="114" y="0"/>
                  <a:pt x="118" y="1"/>
                  <a:pt x="121" y="2"/>
                </a:cubicBezTo>
                <a:cubicBezTo>
                  <a:pt x="124" y="4"/>
                  <a:pt x="128" y="4"/>
                  <a:pt x="132" y="4"/>
                </a:cubicBezTo>
                <a:cubicBezTo>
                  <a:pt x="136" y="4"/>
                  <a:pt x="139" y="4"/>
                  <a:pt x="143" y="2"/>
                </a:cubicBezTo>
                <a:cubicBezTo>
                  <a:pt x="146" y="1"/>
                  <a:pt x="150" y="0"/>
                  <a:pt x="154" y="0"/>
                </a:cubicBezTo>
                <a:cubicBezTo>
                  <a:pt x="158" y="0"/>
                  <a:pt x="162" y="1"/>
                  <a:pt x="165" y="2"/>
                </a:cubicBezTo>
                <a:cubicBezTo>
                  <a:pt x="168" y="4"/>
                  <a:pt x="172" y="4"/>
                  <a:pt x="176" y="4"/>
                </a:cubicBezTo>
                <a:lnTo>
                  <a:pt x="176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4" name="Freeform 301"/>
          <p:cNvSpPr>
            <a:spLocks/>
          </p:cNvSpPr>
          <p:nvPr/>
        </p:nvSpPr>
        <p:spPr bwMode="auto">
          <a:xfrm>
            <a:off x="10176933" y="5793317"/>
            <a:ext cx="127000" cy="127000"/>
          </a:xfrm>
          <a:custGeom>
            <a:avLst/>
            <a:gdLst>
              <a:gd name="T0" fmla="*/ 107820732 w 42"/>
              <a:gd name="T1" fmla="*/ 215636929 h 42"/>
              <a:gd name="T2" fmla="*/ 215639196 w 42"/>
              <a:gd name="T3" fmla="*/ 107818464 h 42"/>
              <a:gd name="T4" fmla="*/ 107820732 w 42"/>
              <a:gd name="T5" fmla="*/ 0 h 42"/>
              <a:gd name="T6" fmla="*/ 0 w 42"/>
              <a:gd name="T7" fmla="*/ 107818464 h 42"/>
              <a:gd name="T8" fmla="*/ 107820732 w 42"/>
              <a:gd name="T9" fmla="*/ 215636929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2" h="42">
                <a:moveTo>
                  <a:pt x="21" y="42"/>
                </a:moveTo>
                <a:cubicBezTo>
                  <a:pt x="33" y="42"/>
                  <a:pt x="42" y="33"/>
                  <a:pt x="42" y="21"/>
                </a:cubicBezTo>
                <a:cubicBezTo>
                  <a:pt x="42" y="10"/>
                  <a:pt x="33" y="0"/>
                  <a:pt x="21" y="0"/>
                </a:cubicBezTo>
                <a:cubicBezTo>
                  <a:pt x="10" y="0"/>
                  <a:pt x="0" y="10"/>
                  <a:pt x="0" y="21"/>
                </a:cubicBezTo>
                <a:cubicBezTo>
                  <a:pt x="0" y="33"/>
                  <a:pt x="9" y="42"/>
                  <a:pt x="21" y="4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5" name="Freeform 302"/>
          <p:cNvSpPr>
            <a:spLocks/>
          </p:cNvSpPr>
          <p:nvPr/>
        </p:nvSpPr>
        <p:spPr bwMode="auto">
          <a:xfrm>
            <a:off x="9865785" y="5679018"/>
            <a:ext cx="393700" cy="298449"/>
          </a:xfrm>
          <a:custGeom>
            <a:avLst/>
            <a:gdLst>
              <a:gd name="T0" fmla="*/ 0 w 130"/>
              <a:gd name="T1" fmla="*/ 510652139 h 98"/>
              <a:gd name="T2" fmla="*/ 604134921 w 130"/>
              <a:gd name="T3" fmla="*/ 510652139 h 98"/>
              <a:gd name="T4" fmla="*/ 407920141 w 130"/>
              <a:gd name="T5" fmla="*/ 161532656 h 98"/>
              <a:gd name="T6" fmla="*/ 619625502 w 130"/>
              <a:gd name="T7" fmla="*/ 119846441 h 98"/>
              <a:gd name="T8" fmla="*/ 671260014 w 130"/>
              <a:gd name="T9" fmla="*/ 62528181 h 98"/>
              <a:gd name="T10" fmla="*/ 609297691 w 130"/>
              <a:gd name="T11" fmla="*/ 0 h 98"/>
              <a:gd name="T12" fmla="*/ 604134921 w 130"/>
              <a:gd name="T13" fmla="*/ 0 h 98"/>
              <a:gd name="T14" fmla="*/ 278830454 w 130"/>
              <a:gd name="T15" fmla="*/ 57318260 h 98"/>
              <a:gd name="T16" fmla="*/ 242686523 w 130"/>
              <a:gd name="T17" fmla="*/ 140690691 h 98"/>
              <a:gd name="T18" fmla="*/ 247849292 w 130"/>
              <a:gd name="T19" fmla="*/ 145900611 h 98"/>
              <a:gd name="T20" fmla="*/ 330467237 w 130"/>
              <a:gd name="T21" fmla="*/ 297011143 h 98"/>
              <a:gd name="T22" fmla="*/ 0 w 130"/>
              <a:gd name="T23" fmla="*/ 510652139 h 9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30" h="98">
                <a:moveTo>
                  <a:pt x="0" y="98"/>
                </a:moveTo>
                <a:cubicBezTo>
                  <a:pt x="117" y="98"/>
                  <a:pt x="117" y="98"/>
                  <a:pt x="117" y="98"/>
                </a:cubicBezTo>
                <a:cubicBezTo>
                  <a:pt x="79" y="31"/>
                  <a:pt x="79" y="31"/>
                  <a:pt x="79" y="31"/>
                </a:cubicBezTo>
                <a:cubicBezTo>
                  <a:pt x="120" y="23"/>
                  <a:pt x="120" y="23"/>
                  <a:pt x="120" y="23"/>
                </a:cubicBezTo>
                <a:cubicBezTo>
                  <a:pt x="126" y="22"/>
                  <a:pt x="130" y="18"/>
                  <a:pt x="130" y="12"/>
                </a:cubicBezTo>
                <a:cubicBezTo>
                  <a:pt x="130" y="5"/>
                  <a:pt x="125" y="0"/>
                  <a:pt x="118" y="0"/>
                </a:cubicBezTo>
                <a:cubicBezTo>
                  <a:pt x="117" y="0"/>
                  <a:pt x="117" y="0"/>
                  <a:pt x="117" y="0"/>
                </a:cubicBezTo>
                <a:cubicBezTo>
                  <a:pt x="54" y="11"/>
                  <a:pt x="54" y="11"/>
                  <a:pt x="54" y="11"/>
                </a:cubicBezTo>
                <a:cubicBezTo>
                  <a:pt x="50" y="12"/>
                  <a:pt x="44" y="19"/>
                  <a:pt x="47" y="27"/>
                </a:cubicBezTo>
                <a:cubicBezTo>
                  <a:pt x="47" y="27"/>
                  <a:pt x="47" y="27"/>
                  <a:pt x="48" y="28"/>
                </a:cubicBezTo>
                <a:cubicBezTo>
                  <a:pt x="64" y="57"/>
                  <a:pt x="64" y="57"/>
                  <a:pt x="64" y="57"/>
                </a:cubicBezTo>
                <a:lnTo>
                  <a:pt x="0" y="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6" name="Freeform 383"/>
          <p:cNvSpPr>
            <a:spLocks/>
          </p:cNvSpPr>
          <p:nvPr/>
        </p:nvSpPr>
        <p:spPr bwMode="auto">
          <a:xfrm>
            <a:off x="5480051" y="5604934"/>
            <a:ext cx="499533" cy="472017"/>
          </a:xfrm>
          <a:custGeom>
            <a:avLst/>
            <a:gdLst>
              <a:gd name="T0" fmla="*/ 846768036 w 165"/>
              <a:gd name="T1" fmla="*/ 675804009 h 156"/>
              <a:gd name="T2" fmla="*/ 748666501 w 165"/>
              <a:gd name="T3" fmla="*/ 613897120 h 156"/>
              <a:gd name="T4" fmla="*/ 614423729 w 165"/>
              <a:gd name="T5" fmla="*/ 557150652 h 156"/>
              <a:gd name="T6" fmla="*/ 578280222 w 165"/>
              <a:gd name="T7" fmla="*/ 546834350 h 156"/>
              <a:gd name="T8" fmla="*/ 542138985 w 165"/>
              <a:gd name="T9" fmla="*/ 484927461 h 156"/>
              <a:gd name="T10" fmla="*/ 521485553 w 165"/>
              <a:gd name="T11" fmla="*/ 484927461 h 156"/>
              <a:gd name="T12" fmla="*/ 542138985 w 165"/>
              <a:gd name="T13" fmla="*/ 438499564 h 156"/>
              <a:gd name="T14" fmla="*/ 552465702 w 165"/>
              <a:gd name="T15" fmla="*/ 381750826 h 156"/>
              <a:gd name="T16" fmla="*/ 578280222 w 165"/>
              <a:gd name="T17" fmla="*/ 361115953 h 156"/>
              <a:gd name="T18" fmla="*/ 588606938 w 165"/>
              <a:gd name="T19" fmla="*/ 325004358 h 156"/>
              <a:gd name="T20" fmla="*/ 588606938 w 165"/>
              <a:gd name="T21" fmla="*/ 263099738 h 156"/>
              <a:gd name="T22" fmla="*/ 578280222 w 165"/>
              <a:gd name="T23" fmla="*/ 237304445 h 156"/>
              <a:gd name="T24" fmla="*/ 583443580 w 165"/>
              <a:gd name="T25" fmla="*/ 154764952 h 156"/>
              <a:gd name="T26" fmla="*/ 573116864 w 165"/>
              <a:gd name="T27" fmla="*/ 98016215 h 156"/>
              <a:gd name="T28" fmla="*/ 552465702 w 165"/>
              <a:gd name="T29" fmla="*/ 61904619 h 156"/>
              <a:gd name="T30" fmla="*/ 526648911 w 165"/>
              <a:gd name="T31" fmla="*/ 56746468 h 156"/>
              <a:gd name="T32" fmla="*/ 511158836 w 165"/>
              <a:gd name="T33" fmla="*/ 41269746 h 156"/>
              <a:gd name="T34" fmla="*/ 330445841 w 165"/>
              <a:gd name="T35" fmla="*/ 46430167 h 156"/>
              <a:gd name="T36" fmla="*/ 263324455 w 165"/>
              <a:gd name="T37" fmla="*/ 237304445 h 156"/>
              <a:gd name="T38" fmla="*/ 252997739 w 165"/>
              <a:gd name="T39" fmla="*/ 273416040 h 156"/>
              <a:gd name="T40" fmla="*/ 278814530 w 165"/>
              <a:gd name="T41" fmla="*/ 371434524 h 156"/>
              <a:gd name="T42" fmla="*/ 299465692 w 165"/>
              <a:gd name="T43" fmla="*/ 376592675 h 156"/>
              <a:gd name="T44" fmla="*/ 304629050 w 165"/>
              <a:gd name="T45" fmla="*/ 443657715 h 156"/>
              <a:gd name="T46" fmla="*/ 325282483 w 165"/>
              <a:gd name="T47" fmla="*/ 484927461 h 156"/>
              <a:gd name="T48" fmla="*/ 309792408 w 165"/>
              <a:gd name="T49" fmla="*/ 484927461 h 156"/>
              <a:gd name="T50" fmla="*/ 273651172 w 165"/>
              <a:gd name="T51" fmla="*/ 546834350 h 156"/>
              <a:gd name="T52" fmla="*/ 237507665 w 165"/>
              <a:gd name="T53" fmla="*/ 557150652 h 156"/>
              <a:gd name="T54" fmla="*/ 103264893 w 165"/>
              <a:gd name="T55" fmla="*/ 613897120 h 156"/>
              <a:gd name="T56" fmla="*/ 5163358 w 165"/>
              <a:gd name="T57" fmla="*/ 675804009 h 156"/>
              <a:gd name="T58" fmla="*/ 0 w 165"/>
              <a:gd name="T59" fmla="*/ 804773668 h 156"/>
              <a:gd name="T60" fmla="*/ 371752707 w 165"/>
              <a:gd name="T61" fmla="*/ 804773668 h 156"/>
              <a:gd name="T62" fmla="*/ 402730585 w 165"/>
              <a:gd name="T63" fmla="*/ 619057541 h 156"/>
              <a:gd name="T64" fmla="*/ 376916065 w 165"/>
              <a:gd name="T65" fmla="*/ 572627374 h 156"/>
              <a:gd name="T66" fmla="*/ 428547376 w 165"/>
              <a:gd name="T67" fmla="*/ 546834350 h 156"/>
              <a:gd name="T68" fmla="*/ 475015329 w 165"/>
              <a:gd name="T69" fmla="*/ 572627374 h 156"/>
              <a:gd name="T70" fmla="*/ 449200809 w 165"/>
              <a:gd name="T71" fmla="*/ 619057541 h 156"/>
              <a:gd name="T72" fmla="*/ 495668762 w 165"/>
              <a:gd name="T73" fmla="*/ 804773668 h 156"/>
              <a:gd name="T74" fmla="*/ 846768036 w 165"/>
              <a:gd name="T75" fmla="*/ 804773668 h 156"/>
              <a:gd name="T76" fmla="*/ 846768036 w 165"/>
              <a:gd name="T77" fmla="*/ 675804009 h 15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65" h="156">
                <a:moveTo>
                  <a:pt x="164" y="131"/>
                </a:moveTo>
                <a:cubicBezTo>
                  <a:pt x="161" y="123"/>
                  <a:pt x="152" y="122"/>
                  <a:pt x="145" y="119"/>
                </a:cubicBezTo>
                <a:cubicBezTo>
                  <a:pt x="137" y="115"/>
                  <a:pt x="127" y="111"/>
                  <a:pt x="119" y="108"/>
                </a:cubicBezTo>
                <a:cubicBezTo>
                  <a:pt x="117" y="107"/>
                  <a:pt x="114" y="107"/>
                  <a:pt x="112" y="106"/>
                </a:cubicBezTo>
                <a:cubicBezTo>
                  <a:pt x="109" y="104"/>
                  <a:pt x="107" y="98"/>
                  <a:pt x="105" y="94"/>
                </a:cubicBezTo>
                <a:cubicBezTo>
                  <a:pt x="104" y="94"/>
                  <a:pt x="102" y="94"/>
                  <a:pt x="101" y="94"/>
                </a:cubicBezTo>
                <a:cubicBezTo>
                  <a:pt x="101" y="89"/>
                  <a:pt x="104" y="89"/>
                  <a:pt x="105" y="85"/>
                </a:cubicBezTo>
                <a:cubicBezTo>
                  <a:pt x="106" y="81"/>
                  <a:pt x="105" y="77"/>
                  <a:pt x="107" y="74"/>
                </a:cubicBezTo>
                <a:cubicBezTo>
                  <a:pt x="108" y="72"/>
                  <a:pt x="111" y="72"/>
                  <a:pt x="112" y="70"/>
                </a:cubicBezTo>
                <a:cubicBezTo>
                  <a:pt x="113" y="68"/>
                  <a:pt x="114" y="65"/>
                  <a:pt x="114" y="63"/>
                </a:cubicBezTo>
                <a:cubicBezTo>
                  <a:pt x="115" y="60"/>
                  <a:pt x="116" y="55"/>
                  <a:pt x="114" y="51"/>
                </a:cubicBezTo>
                <a:cubicBezTo>
                  <a:pt x="113" y="49"/>
                  <a:pt x="112" y="49"/>
                  <a:pt x="112" y="46"/>
                </a:cubicBezTo>
                <a:cubicBezTo>
                  <a:pt x="111" y="43"/>
                  <a:pt x="113" y="33"/>
                  <a:pt x="113" y="30"/>
                </a:cubicBezTo>
                <a:cubicBezTo>
                  <a:pt x="113" y="25"/>
                  <a:pt x="113" y="24"/>
                  <a:pt x="111" y="19"/>
                </a:cubicBezTo>
                <a:cubicBezTo>
                  <a:pt x="111" y="19"/>
                  <a:pt x="110" y="14"/>
                  <a:pt x="107" y="12"/>
                </a:cubicBezTo>
                <a:cubicBezTo>
                  <a:pt x="102" y="11"/>
                  <a:pt x="102" y="11"/>
                  <a:pt x="102" y="11"/>
                </a:cubicBezTo>
                <a:cubicBezTo>
                  <a:pt x="99" y="8"/>
                  <a:pt x="99" y="8"/>
                  <a:pt x="99" y="8"/>
                </a:cubicBezTo>
                <a:cubicBezTo>
                  <a:pt x="86" y="0"/>
                  <a:pt x="71" y="6"/>
                  <a:pt x="64" y="9"/>
                </a:cubicBezTo>
                <a:cubicBezTo>
                  <a:pt x="53" y="12"/>
                  <a:pt x="46" y="23"/>
                  <a:pt x="51" y="46"/>
                </a:cubicBezTo>
                <a:cubicBezTo>
                  <a:pt x="52" y="49"/>
                  <a:pt x="49" y="51"/>
                  <a:pt x="49" y="53"/>
                </a:cubicBezTo>
                <a:cubicBezTo>
                  <a:pt x="50" y="58"/>
                  <a:pt x="50" y="69"/>
                  <a:pt x="54" y="72"/>
                </a:cubicBezTo>
                <a:cubicBezTo>
                  <a:pt x="54" y="72"/>
                  <a:pt x="58" y="73"/>
                  <a:pt x="58" y="73"/>
                </a:cubicBezTo>
                <a:cubicBezTo>
                  <a:pt x="58" y="77"/>
                  <a:pt x="58" y="82"/>
                  <a:pt x="59" y="86"/>
                </a:cubicBezTo>
                <a:cubicBezTo>
                  <a:pt x="60" y="89"/>
                  <a:pt x="63" y="89"/>
                  <a:pt x="63" y="94"/>
                </a:cubicBezTo>
                <a:cubicBezTo>
                  <a:pt x="60" y="94"/>
                  <a:pt x="60" y="94"/>
                  <a:pt x="60" y="94"/>
                </a:cubicBezTo>
                <a:cubicBezTo>
                  <a:pt x="58" y="98"/>
                  <a:pt x="56" y="104"/>
                  <a:pt x="53" y="106"/>
                </a:cubicBezTo>
                <a:cubicBezTo>
                  <a:pt x="51" y="107"/>
                  <a:pt x="48" y="107"/>
                  <a:pt x="46" y="108"/>
                </a:cubicBezTo>
                <a:cubicBezTo>
                  <a:pt x="38" y="111"/>
                  <a:pt x="28" y="115"/>
                  <a:pt x="20" y="119"/>
                </a:cubicBezTo>
                <a:cubicBezTo>
                  <a:pt x="13" y="122"/>
                  <a:pt x="4" y="123"/>
                  <a:pt x="1" y="131"/>
                </a:cubicBezTo>
                <a:cubicBezTo>
                  <a:pt x="1" y="136"/>
                  <a:pt x="0" y="149"/>
                  <a:pt x="0" y="156"/>
                </a:cubicBezTo>
                <a:cubicBezTo>
                  <a:pt x="72" y="156"/>
                  <a:pt x="72" y="156"/>
                  <a:pt x="72" y="156"/>
                </a:cubicBezTo>
                <a:cubicBezTo>
                  <a:pt x="78" y="120"/>
                  <a:pt x="78" y="120"/>
                  <a:pt x="78" y="120"/>
                </a:cubicBezTo>
                <a:cubicBezTo>
                  <a:pt x="73" y="111"/>
                  <a:pt x="73" y="111"/>
                  <a:pt x="73" y="111"/>
                </a:cubicBezTo>
                <a:cubicBezTo>
                  <a:pt x="83" y="106"/>
                  <a:pt x="83" y="106"/>
                  <a:pt x="83" y="106"/>
                </a:cubicBezTo>
                <a:cubicBezTo>
                  <a:pt x="92" y="111"/>
                  <a:pt x="92" y="111"/>
                  <a:pt x="92" y="111"/>
                </a:cubicBezTo>
                <a:cubicBezTo>
                  <a:pt x="87" y="120"/>
                  <a:pt x="87" y="120"/>
                  <a:pt x="87" y="120"/>
                </a:cubicBezTo>
                <a:cubicBezTo>
                  <a:pt x="96" y="156"/>
                  <a:pt x="96" y="156"/>
                  <a:pt x="96" y="156"/>
                </a:cubicBezTo>
                <a:cubicBezTo>
                  <a:pt x="164" y="156"/>
                  <a:pt x="164" y="156"/>
                  <a:pt x="164" y="156"/>
                </a:cubicBezTo>
                <a:cubicBezTo>
                  <a:pt x="165" y="149"/>
                  <a:pt x="164" y="136"/>
                  <a:pt x="164" y="1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7" name="Freeform 384"/>
          <p:cNvSpPr>
            <a:spLocks noEditPoints="1"/>
          </p:cNvSpPr>
          <p:nvPr/>
        </p:nvSpPr>
        <p:spPr bwMode="auto">
          <a:xfrm>
            <a:off x="4673600" y="5539318"/>
            <a:ext cx="491067" cy="575733"/>
          </a:xfrm>
          <a:custGeom>
            <a:avLst/>
            <a:gdLst>
              <a:gd name="T0" fmla="*/ 154717828 w 162"/>
              <a:gd name="T1" fmla="*/ 118772272 h 190"/>
              <a:gd name="T2" fmla="*/ 154717828 w 162"/>
              <a:gd name="T3" fmla="*/ 242707962 h 190"/>
              <a:gd name="T4" fmla="*/ 0 w 162"/>
              <a:gd name="T5" fmla="*/ 242707962 h 190"/>
              <a:gd name="T6" fmla="*/ 0 w 162"/>
              <a:gd name="T7" fmla="*/ 697136555 h 190"/>
              <a:gd name="T8" fmla="*/ 154717828 w 162"/>
              <a:gd name="T9" fmla="*/ 697136555 h 190"/>
              <a:gd name="T10" fmla="*/ 428048718 w 162"/>
              <a:gd name="T11" fmla="*/ 981156414 h 190"/>
              <a:gd name="T12" fmla="*/ 696225681 w 162"/>
              <a:gd name="T13" fmla="*/ 697136555 h 190"/>
              <a:gd name="T14" fmla="*/ 835470362 w 162"/>
              <a:gd name="T15" fmla="*/ 697136555 h 190"/>
              <a:gd name="T16" fmla="*/ 835470362 w 162"/>
              <a:gd name="T17" fmla="*/ 242707962 h 190"/>
              <a:gd name="T18" fmla="*/ 593081220 w 162"/>
              <a:gd name="T19" fmla="*/ 242707962 h 190"/>
              <a:gd name="T20" fmla="*/ 593081220 w 162"/>
              <a:gd name="T21" fmla="*/ 82623794 h 190"/>
              <a:gd name="T22" fmla="*/ 505407632 w 162"/>
              <a:gd name="T23" fmla="*/ 82623794 h 190"/>
              <a:gd name="T24" fmla="*/ 505407632 w 162"/>
              <a:gd name="T25" fmla="*/ 242707962 h 190"/>
              <a:gd name="T26" fmla="*/ 474463612 w 162"/>
              <a:gd name="T27" fmla="*/ 242707962 h 190"/>
              <a:gd name="T28" fmla="*/ 474463612 w 162"/>
              <a:gd name="T29" fmla="*/ 46475316 h 190"/>
              <a:gd name="T30" fmla="*/ 386792298 w 162"/>
              <a:gd name="T31" fmla="*/ 46475316 h 190"/>
              <a:gd name="T32" fmla="*/ 386792298 w 162"/>
              <a:gd name="T33" fmla="*/ 242707962 h 190"/>
              <a:gd name="T34" fmla="*/ 355848277 w 162"/>
              <a:gd name="T35" fmla="*/ 242707962 h 190"/>
              <a:gd name="T36" fmla="*/ 355848277 w 162"/>
              <a:gd name="T37" fmla="*/ 82623794 h 190"/>
              <a:gd name="T38" fmla="*/ 268174690 w 162"/>
              <a:gd name="T39" fmla="*/ 82623794 h 190"/>
              <a:gd name="T40" fmla="*/ 268174690 w 162"/>
              <a:gd name="T41" fmla="*/ 242707962 h 190"/>
              <a:gd name="T42" fmla="*/ 237232943 w 162"/>
              <a:gd name="T43" fmla="*/ 242707962 h 190"/>
              <a:gd name="T44" fmla="*/ 237232943 w 162"/>
              <a:gd name="T45" fmla="*/ 118772272 h 190"/>
              <a:gd name="T46" fmla="*/ 154717828 w 162"/>
              <a:gd name="T47" fmla="*/ 118772272 h 190"/>
              <a:gd name="T48" fmla="*/ 608552093 w 162"/>
              <a:gd name="T49" fmla="*/ 464757703 h 190"/>
              <a:gd name="T50" fmla="*/ 696225681 w 162"/>
              <a:gd name="T51" fmla="*/ 464757703 h 190"/>
              <a:gd name="T52" fmla="*/ 696225681 w 162"/>
              <a:gd name="T53" fmla="*/ 671317187 h 190"/>
              <a:gd name="T54" fmla="*/ 809684815 w 162"/>
              <a:gd name="T55" fmla="*/ 671317187 h 190"/>
              <a:gd name="T56" fmla="*/ 809684815 w 162"/>
              <a:gd name="T57" fmla="*/ 268527329 h 190"/>
              <a:gd name="T58" fmla="*/ 25785547 w 162"/>
              <a:gd name="T59" fmla="*/ 268527329 h 190"/>
              <a:gd name="T60" fmla="*/ 25785547 w 162"/>
              <a:gd name="T61" fmla="*/ 671317187 h 190"/>
              <a:gd name="T62" fmla="*/ 608552093 w 162"/>
              <a:gd name="T63" fmla="*/ 671317187 h 190"/>
              <a:gd name="T64" fmla="*/ 608552093 w 162"/>
              <a:gd name="T65" fmla="*/ 464757703 h 19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2" h="190">
                <a:moveTo>
                  <a:pt x="30" y="23"/>
                </a:moveTo>
                <a:cubicBezTo>
                  <a:pt x="30" y="47"/>
                  <a:pt x="30" y="47"/>
                  <a:pt x="30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135"/>
                  <a:pt x="0" y="135"/>
                  <a:pt x="0" y="135"/>
                </a:cubicBezTo>
                <a:cubicBezTo>
                  <a:pt x="30" y="135"/>
                  <a:pt x="30" y="135"/>
                  <a:pt x="30" y="135"/>
                </a:cubicBezTo>
                <a:cubicBezTo>
                  <a:pt x="31" y="165"/>
                  <a:pt x="55" y="190"/>
                  <a:pt x="83" y="190"/>
                </a:cubicBezTo>
                <a:cubicBezTo>
                  <a:pt x="111" y="190"/>
                  <a:pt x="135" y="165"/>
                  <a:pt x="135" y="135"/>
                </a:cubicBezTo>
                <a:cubicBezTo>
                  <a:pt x="162" y="135"/>
                  <a:pt x="162" y="135"/>
                  <a:pt x="162" y="135"/>
                </a:cubicBezTo>
                <a:cubicBezTo>
                  <a:pt x="162" y="47"/>
                  <a:pt x="162" y="47"/>
                  <a:pt x="162" y="47"/>
                </a:cubicBezTo>
                <a:cubicBezTo>
                  <a:pt x="115" y="47"/>
                  <a:pt x="115" y="47"/>
                  <a:pt x="115" y="47"/>
                </a:cubicBezTo>
                <a:cubicBezTo>
                  <a:pt x="115" y="16"/>
                  <a:pt x="115" y="16"/>
                  <a:pt x="115" y="16"/>
                </a:cubicBezTo>
                <a:cubicBezTo>
                  <a:pt x="113" y="6"/>
                  <a:pt x="101" y="7"/>
                  <a:pt x="98" y="16"/>
                </a:cubicBezTo>
                <a:cubicBezTo>
                  <a:pt x="98" y="47"/>
                  <a:pt x="98" y="47"/>
                  <a:pt x="98" y="47"/>
                </a:cubicBezTo>
                <a:cubicBezTo>
                  <a:pt x="92" y="47"/>
                  <a:pt x="92" y="47"/>
                  <a:pt x="92" y="47"/>
                </a:cubicBezTo>
                <a:cubicBezTo>
                  <a:pt x="92" y="9"/>
                  <a:pt x="92" y="9"/>
                  <a:pt x="92" y="9"/>
                </a:cubicBezTo>
                <a:cubicBezTo>
                  <a:pt x="88" y="0"/>
                  <a:pt x="79" y="0"/>
                  <a:pt x="75" y="9"/>
                </a:cubicBezTo>
                <a:cubicBezTo>
                  <a:pt x="75" y="47"/>
                  <a:pt x="75" y="47"/>
                  <a:pt x="75" y="47"/>
                </a:cubicBezTo>
                <a:cubicBezTo>
                  <a:pt x="69" y="47"/>
                  <a:pt x="69" y="47"/>
                  <a:pt x="69" y="47"/>
                </a:cubicBezTo>
                <a:cubicBezTo>
                  <a:pt x="69" y="16"/>
                  <a:pt x="69" y="16"/>
                  <a:pt x="69" y="16"/>
                </a:cubicBezTo>
                <a:cubicBezTo>
                  <a:pt x="66" y="8"/>
                  <a:pt x="57" y="6"/>
                  <a:pt x="52" y="16"/>
                </a:cubicBezTo>
                <a:cubicBezTo>
                  <a:pt x="52" y="47"/>
                  <a:pt x="52" y="47"/>
                  <a:pt x="52" y="47"/>
                </a:cubicBezTo>
                <a:cubicBezTo>
                  <a:pt x="46" y="47"/>
                  <a:pt x="46" y="47"/>
                  <a:pt x="46" y="47"/>
                </a:cubicBezTo>
                <a:cubicBezTo>
                  <a:pt x="46" y="23"/>
                  <a:pt x="46" y="23"/>
                  <a:pt x="46" y="23"/>
                </a:cubicBezTo>
                <a:cubicBezTo>
                  <a:pt x="43" y="15"/>
                  <a:pt x="34" y="13"/>
                  <a:pt x="30" y="23"/>
                </a:cubicBezTo>
                <a:close/>
                <a:moveTo>
                  <a:pt x="118" y="90"/>
                </a:moveTo>
                <a:cubicBezTo>
                  <a:pt x="122" y="70"/>
                  <a:pt x="132" y="75"/>
                  <a:pt x="135" y="90"/>
                </a:cubicBezTo>
                <a:cubicBezTo>
                  <a:pt x="135" y="130"/>
                  <a:pt x="135" y="130"/>
                  <a:pt x="135" y="130"/>
                </a:cubicBezTo>
                <a:cubicBezTo>
                  <a:pt x="157" y="130"/>
                  <a:pt x="157" y="130"/>
                  <a:pt x="157" y="130"/>
                </a:cubicBezTo>
                <a:cubicBezTo>
                  <a:pt x="157" y="52"/>
                  <a:pt x="157" y="52"/>
                  <a:pt x="157" y="52"/>
                </a:cubicBezTo>
                <a:cubicBezTo>
                  <a:pt x="5" y="52"/>
                  <a:pt x="5" y="52"/>
                  <a:pt x="5" y="52"/>
                </a:cubicBezTo>
                <a:cubicBezTo>
                  <a:pt x="5" y="130"/>
                  <a:pt x="5" y="130"/>
                  <a:pt x="5" y="130"/>
                </a:cubicBezTo>
                <a:cubicBezTo>
                  <a:pt x="118" y="130"/>
                  <a:pt x="118" y="130"/>
                  <a:pt x="118" y="130"/>
                </a:cubicBezTo>
                <a:lnTo>
                  <a:pt x="118" y="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8" name="Freeform 385"/>
          <p:cNvSpPr>
            <a:spLocks noEditPoints="1"/>
          </p:cNvSpPr>
          <p:nvPr/>
        </p:nvSpPr>
        <p:spPr bwMode="auto">
          <a:xfrm>
            <a:off x="4796367" y="5710767"/>
            <a:ext cx="209551" cy="209551"/>
          </a:xfrm>
          <a:custGeom>
            <a:avLst/>
            <a:gdLst>
              <a:gd name="T0" fmla="*/ 0 w 69"/>
              <a:gd name="T1" fmla="*/ 150063332 h 69"/>
              <a:gd name="T2" fmla="*/ 0 w 69"/>
              <a:gd name="T3" fmla="*/ 212158661 h 69"/>
              <a:gd name="T4" fmla="*/ 82795291 w 69"/>
              <a:gd name="T5" fmla="*/ 212158661 h 69"/>
              <a:gd name="T6" fmla="*/ 62097607 w 69"/>
              <a:gd name="T7" fmla="*/ 227683633 h 69"/>
              <a:gd name="T8" fmla="*/ 62097607 w 69"/>
              <a:gd name="T9" fmla="*/ 274256268 h 69"/>
              <a:gd name="T10" fmla="*/ 243213159 w 69"/>
              <a:gd name="T11" fmla="*/ 274256268 h 69"/>
              <a:gd name="T12" fmla="*/ 108670242 w 69"/>
              <a:gd name="T13" fmla="*/ 300128942 h 69"/>
              <a:gd name="T14" fmla="*/ 129367926 w 69"/>
              <a:gd name="T15" fmla="*/ 351874291 h 69"/>
              <a:gd name="T16" fmla="*/ 294960785 w 69"/>
              <a:gd name="T17" fmla="*/ 331176607 h 69"/>
              <a:gd name="T18" fmla="*/ 320835737 w 69"/>
              <a:gd name="T19" fmla="*/ 222508642 h 69"/>
              <a:gd name="T20" fmla="*/ 160417869 w 69"/>
              <a:gd name="T21" fmla="*/ 222508642 h 69"/>
              <a:gd name="T22" fmla="*/ 170767849 w 69"/>
              <a:gd name="T23" fmla="*/ 212158661 h 69"/>
              <a:gd name="T24" fmla="*/ 357058392 w 69"/>
              <a:gd name="T25" fmla="*/ 212158661 h 69"/>
              <a:gd name="T26" fmla="*/ 357058392 w 69"/>
              <a:gd name="T27" fmla="*/ 150063332 h 69"/>
              <a:gd name="T28" fmla="*/ 0 w 69"/>
              <a:gd name="T29" fmla="*/ 150063332 h 69"/>
              <a:gd name="T30" fmla="*/ 31047665 w 69"/>
              <a:gd name="T31" fmla="*/ 0 h 69"/>
              <a:gd name="T32" fmla="*/ 31047665 w 69"/>
              <a:gd name="T33" fmla="*/ 139715629 h 69"/>
              <a:gd name="T34" fmla="*/ 320835737 w 69"/>
              <a:gd name="T35" fmla="*/ 139715629 h 69"/>
              <a:gd name="T36" fmla="*/ 320835737 w 69"/>
              <a:gd name="T37" fmla="*/ 0 h 69"/>
              <a:gd name="T38" fmla="*/ 31047665 w 69"/>
              <a:gd name="T39" fmla="*/ 0 h 69"/>
              <a:gd name="T40" fmla="*/ 248388149 w 69"/>
              <a:gd name="T41" fmla="*/ 82793013 h 69"/>
              <a:gd name="T42" fmla="*/ 103495252 w 69"/>
              <a:gd name="T43" fmla="*/ 82793013 h 69"/>
              <a:gd name="T44" fmla="*/ 103495252 w 69"/>
              <a:gd name="T45" fmla="*/ 62095329 h 69"/>
              <a:gd name="T46" fmla="*/ 248388149 w 69"/>
              <a:gd name="T47" fmla="*/ 62095329 h 69"/>
              <a:gd name="T48" fmla="*/ 248388149 w 69"/>
              <a:gd name="T49" fmla="*/ 82793013 h 6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9" h="69">
                <a:moveTo>
                  <a:pt x="0" y="29"/>
                </a:moveTo>
                <a:cubicBezTo>
                  <a:pt x="0" y="41"/>
                  <a:pt x="0" y="41"/>
                  <a:pt x="0" y="41"/>
                </a:cubicBezTo>
                <a:cubicBezTo>
                  <a:pt x="16" y="41"/>
                  <a:pt x="16" y="41"/>
                  <a:pt x="16" y="41"/>
                </a:cubicBezTo>
                <a:cubicBezTo>
                  <a:pt x="15" y="42"/>
                  <a:pt x="14" y="43"/>
                  <a:pt x="12" y="44"/>
                </a:cubicBezTo>
                <a:cubicBezTo>
                  <a:pt x="12" y="53"/>
                  <a:pt x="12" y="53"/>
                  <a:pt x="12" y="53"/>
                </a:cubicBezTo>
                <a:cubicBezTo>
                  <a:pt x="47" y="53"/>
                  <a:pt x="47" y="53"/>
                  <a:pt x="47" y="53"/>
                </a:cubicBezTo>
                <a:cubicBezTo>
                  <a:pt x="49" y="57"/>
                  <a:pt x="40" y="58"/>
                  <a:pt x="21" y="58"/>
                </a:cubicBezTo>
                <a:cubicBezTo>
                  <a:pt x="25" y="68"/>
                  <a:pt x="25" y="68"/>
                  <a:pt x="25" y="68"/>
                </a:cubicBezTo>
                <a:cubicBezTo>
                  <a:pt x="43" y="69"/>
                  <a:pt x="53" y="67"/>
                  <a:pt x="57" y="64"/>
                </a:cubicBezTo>
                <a:cubicBezTo>
                  <a:pt x="61" y="62"/>
                  <a:pt x="63" y="55"/>
                  <a:pt x="62" y="43"/>
                </a:cubicBezTo>
                <a:cubicBezTo>
                  <a:pt x="31" y="43"/>
                  <a:pt x="31" y="43"/>
                  <a:pt x="31" y="43"/>
                </a:cubicBezTo>
                <a:cubicBezTo>
                  <a:pt x="33" y="41"/>
                  <a:pt x="33" y="41"/>
                  <a:pt x="33" y="41"/>
                </a:cubicBezTo>
                <a:cubicBezTo>
                  <a:pt x="69" y="41"/>
                  <a:pt x="69" y="41"/>
                  <a:pt x="69" y="41"/>
                </a:cubicBezTo>
                <a:cubicBezTo>
                  <a:pt x="69" y="29"/>
                  <a:pt x="69" y="29"/>
                  <a:pt x="69" y="29"/>
                </a:cubicBezTo>
                <a:lnTo>
                  <a:pt x="0" y="29"/>
                </a:lnTo>
                <a:close/>
                <a:moveTo>
                  <a:pt x="6" y="0"/>
                </a:moveTo>
                <a:cubicBezTo>
                  <a:pt x="6" y="27"/>
                  <a:pt x="6" y="27"/>
                  <a:pt x="6" y="27"/>
                </a:cubicBezTo>
                <a:cubicBezTo>
                  <a:pt x="62" y="27"/>
                  <a:pt x="62" y="27"/>
                  <a:pt x="62" y="27"/>
                </a:cubicBezTo>
                <a:cubicBezTo>
                  <a:pt x="62" y="0"/>
                  <a:pt x="62" y="0"/>
                  <a:pt x="62" y="0"/>
                </a:cubicBezTo>
                <a:lnTo>
                  <a:pt x="6" y="0"/>
                </a:lnTo>
                <a:close/>
                <a:moveTo>
                  <a:pt x="48" y="16"/>
                </a:moveTo>
                <a:cubicBezTo>
                  <a:pt x="20" y="16"/>
                  <a:pt x="20" y="16"/>
                  <a:pt x="20" y="16"/>
                </a:cubicBezTo>
                <a:cubicBezTo>
                  <a:pt x="20" y="12"/>
                  <a:pt x="20" y="12"/>
                  <a:pt x="20" y="12"/>
                </a:cubicBezTo>
                <a:cubicBezTo>
                  <a:pt x="48" y="12"/>
                  <a:pt x="48" y="12"/>
                  <a:pt x="48" y="12"/>
                </a:cubicBezTo>
                <a:lnTo>
                  <a:pt x="48" y="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89" name="Freeform 386"/>
          <p:cNvSpPr>
            <a:spLocks noEditPoints="1"/>
          </p:cNvSpPr>
          <p:nvPr/>
        </p:nvSpPr>
        <p:spPr bwMode="auto">
          <a:xfrm>
            <a:off x="3765551" y="5571067"/>
            <a:ext cx="586316" cy="520700"/>
          </a:xfrm>
          <a:custGeom>
            <a:avLst/>
            <a:gdLst>
              <a:gd name="T0" fmla="*/ 861178207 w 193"/>
              <a:gd name="T1" fmla="*/ 505312104 h 172"/>
              <a:gd name="T2" fmla="*/ 954559662 w 193"/>
              <a:gd name="T3" fmla="*/ 505312104 h 172"/>
              <a:gd name="T4" fmla="*/ 1001249251 w 193"/>
              <a:gd name="T5" fmla="*/ 531093566 h 172"/>
              <a:gd name="T6" fmla="*/ 990873281 w 193"/>
              <a:gd name="T7" fmla="*/ 572343904 h 172"/>
              <a:gd name="T8" fmla="*/ 928619736 w 193"/>
              <a:gd name="T9" fmla="*/ 562031319 h 172"/>
              <a:gd name="T10" fmla="*/ 861178207 w 193"/>
              <a:gd name="T11" fmla="*/ 546562442 h 172"/>
              <a:gd name="T12" fmla="*/ 861178207 w 193"/>
              <a:gd name="T13" fmla="*/ 783749618 h 172"/>
              <a:gd name="T14" fmla="*/ 757420781 w 193"/>
              <a:gd name="T15" fmla="*/ 886875464 h 172"/>
              <a:gd name="T16" fmla="*/ 243828470 w 193"/>
              <a:gd name="T17" fmla="*/ 886875464 h 172"/>
              <a:gd name="T18" fmla="*/ 140071044 w 193"/>
              <a:gd name="T19" fmla="*/ 783749618 h 172"/>
              <a:gd name="T20" fmla="*/ 140071044 w 193"/>
              <a:gd name="T21" fmla="*/ 546562442 h 172"/>
              <a:gd name="T22" fmla="*/ 77817500 w 193"/>
              <a:gd name="T23" fmla="*/ 562031319 h 172"/>
              <a:gd name="T24" fmla="*/ 10375970 w 193"/>
              <a:gd name="T25" fmla="*/ 572343904 h 172"/>
              <a:gd name="T26" fmla="*/ 5187985 w 193"/>
              <a:gd name="T27" fmla="*/ 531093566 h 172"/>
              <a:gd name="T28" fmla="*/ 46689589 w 193"/>
              <a:gd name="T29" fmla="*/ 505312104 h 172"/>
              <a:gd name="T30" fmla="*/ 140071044 w 193"/>
              <a:gd name="T31" fmla="*/ 505312104 h 172"/>
              <a:gd name="T32" fmla="*/ 160822985 w 193"/>
              <a:gd name="T33" fmla="*/ 505312104 h 172"/>
              <a:gd name="T34" fmla="*/ 840426266 w 193"/>
              <a:gd name="T35" fmla="*/ 505312104 h 172"/>
              <a:gd name="T36" fmla="*/ 861178207 w 193"/>
              <a:gd name="T37" fmla="*/ 505312104 h 172"/>
              <a:gd name="T38" fmla="*/ 617349736 w 193"/>
              <a:gd name="T39" fmla="*/ 185624252 h 172"/>
              <a:gd name="T40" fmla="*/ 632913692 w 193"/>
              <a:gd name="T41" fmla="*/ 123751015 h 172"/>
              <a:gd name="T42" fmla="*/ 632913692 w 193"/>
              <a:gd name="T43" fmla="*/ 0 h 172"/>
              <a:gd name="T44" fmla="*/ 684791266 w 193"/>
              <a:gd name="T45" fmla="*/ 36094046 h 172"/>
              <a:gd name="T46" fmla="*/ 689979251 w 193"/>
              <a:gd name="T47" fmla="*/ 92813261 h 172"/>
              <a:gd name="T48" fmla="*/ 653665633 w 193"/>
              <a:gd name="T49" fmla="*/ 237187175 h 172"/>
              <a:gd name="T50" fmla="*/ 617349736 w 193"/>
              <a:gd name="T51" fmla="*/ 185624252 h 172"/>
              <a:gd name="T52" fmla="*/ 446153059 w 193"/>
              <a:gd name="T53" fmla="*/ 185624252 h 172"/>
              <a:gd name="T54" fmla="*/ 461717015 w 193"/>
              <a:gd name="T55" fmla="*/ 123751015 h 172"/>
              <a:gd name="T56" fmla="*/ 456529029 w 193"/>
              <a:gd name="T57" fmla="*/ 0 h 172"/>
              <a:gd name="T58" fmla="*/ 513594589 w 193"/>
              <a:gd name="T59" fmla="*/ 36094046 h 172"/>
              <a:gd name="T60" fmla="*/ 518782574 w 193"/>
              <a:gd name="T61" fmla="*/ 92813261 h 172"/>
              <a:gd name="T62" fmla="*/ 482466677 w 193"/>
              <a:gd name="T63" fmla="*/ 237187175 h 172"/>
              <a:gd name="T64" fmla="*/ 446153059 w 193"/>
              <a:gd name="T65" fmla="*/ 185624252 h 172"/>
              <a:gd name="T66" fmla="*/ 264578133 w 193"/>
              <a:gd name="T67" fmla="*/ 185624252 h 172"/>
              <a:gd name="T68" fmla="*/ 274954103 w 193"/>
              <a:gd name="T69" fmla="*/ 123751015 h 172"/>
              <a:gd name="T70" fmla="*/ 274954103 w 193"/>
              <a:gd name="T71" fmla="*/ 0 h 172"/>
              <a:gd name="T72" fmla="*/ 332019662 w 193"/>
              <a:gd name="T73" fmla="*/ 36094046 h 172"/>
              <a:gd name="T74" fmla="*/ 337207648 w 193"/>
              <a:gd name="T75" fmla="*/ 92813261 h 172"/>
              <a:gd name="T76" fmla="*/ 300894030 w 193"/>
              <a:gd name="T77" fmla="*/ 237187175 h 172"/>
              <a:gd name="T78" fmla="*/ 264578133 w 193"/>
              <a:gd name="T79" fmla="*/ 185624252 h 172"/>
              <a:gd name="T80" fmla="*/ 191948618 w 193"/>
              <a:gd name="T81" fmla="*/ 572343904 h 172"/>
              <a:gd name="T82" fmla="*/ 191948618 w 193"/>
              <a:gd name="T83" fmla="*/ 742499279 h 172"/>
              <a:gd name="T84" fmla="*/ 212700559 w 193"/>
              <a:gd name="T85" fmla="*/ 768280741 h 172"/>
              <a:gd name="T86" fmla="*/ 238640485 w 193"/>
              <a:gd name="T87" fmla="*/ 742499279 h 172"/>
              <a:gd name="T88" fmla="*/ 238640485 w 193"/>
              <a:gd name="T89" fmla="*/ 572343904 h 172"/>
              <a:gd name="T90" fmla="*/ 212700559 w 193"/>
              <a:gd name="T91" fmla="*/ 551718735 h 172"/>
              <a:gd name="T92" fmla="*/ 191948618 w 193"/>
              <a:gd name="T93" fmla="*/ 572343904 h 172"/>
              <a:gd name="T94" fmla="*/ 243828470 w 193"/>
              <a:gd name="T95" fmla="*/ 366094483 h 172"/>
              <a:gd name="T96" fmla="*/ 461717015 w 193"/>
              <a:gd name="T97" fmla="*/ 366094483 h 172"/>
              <a:gd name="T98" fmla="*/ 446153059 w 193"/>
              <a:gd name="T99" fmla="*/ 309375267 h 172"/>
              <a:gd name="T100" fmla="*/ 477278692 w 193"/>
              <a:gd name="T101" fmla="*/ 283593806 h 172"/>
              <a:gd name="T102" fmla="*/ 518782574 w 193"/>
              <a:gd name="T103" fmla="*/ 283593806 h 172"/>
              <a:gd name="T104" fmla="*/ 544720221 w 193"/>
              <a:gd name="T105" fmla="*/ 309375267 h 172"/>
              <a:gd name="T106" fmla="*/ 534346529 w 193"/>
              <a:gd name="T107" fmla="*/ 366094483 h 172"/>
              <a:gd name="T108" fmla="*/ 757420781 w 193"/>
              <a:gd name="T109" fmla="*/ 366094483 h 172"/>
              <a:gd name="T110" fmla="*/ 861178207 w 193"/>
              <a:gd name="T111" fmla="*/ 458905473 h 172"/>
              <a:gd name="T112" fmla="*/ 140071044 w 193"/>
              <a:gd name="T113" fmla="*/ 458905473 h 172"/>
              <a:gd name="T114" fmla="*/ 243828470 w 193"/>
              <a:gd name="T115" fmla="*/ 366094483 h 17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193" h="172">
                <a:moveTo>
                  <a:pt x="166" y="98"/>
                </a:moveTo>
                <a:cubicBezTo>
                  <a:pt x="184" y="98"/>
                  <a:pt x="184" y="98"/>
                  <a:pt x="184" y="98"/>
                </a:cubicBezTo>
                <a:cubicBezTo>
                  <a:pt x="191" y="98"/>
                  <a:pt x="192" y="99"/>
                  <a:pt x="193" y="103"/>
                </a:cubicBezTo>
                <a:cubicBezTo>
                  <a:pt x="193" y="106"/>
                  <a:pt x="193" y="110"/>
                  <a:pt x="191" y="111"/>
                </a:cubicBezTo>
                <a:cubicBezTo>
                  <a:pt x="189" y="114"/>
                  <a:pt x="183" y="113"/>
                  <a:pt x="179" y="109"/>
                </a:cubicBezTo>
                <a:cubicBezTo>
                  <a:pt x="176" y="106"/>
                  <a:pt x="170" y="106"/>
                  <a:pt x="166" y="106"/>
                </a:cubicBezTo>
                <a:cubicBezTo>
                  <a:pt x="166" y="152"/>
                  <a:pt x="166" y="152"/>
                  <a:pt x="166" y="152"/>
                </a:cubicBezTo>
                <a:cubicBezTo>
                  <a:pt x="166" y="163"/>
                  <a:pt x="157" y="172"/>
                  <a:pt x="146" y="172"/>
                </a:cubicBezTo>
                <a:cubicBezTo>
                  <a:pt x="47" y="172"/>
                  <a:pt x="47" y="172"/>
                  <a:pt x="47" y="172"/>
                </a:cubicBezTo>
                <a:cubicBezTo>
                  <a:pt x="36" y="172"/>
                  <a:pt x="27" y="163"/>
                  <a:pt x="27" y="152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3" y="106"/>
                  <a:pt x="18" y="106"/>
                  <a:pt x="15" y="109"/>
                </a:cubicBezTo>
                <a:cubicBezTo>
                  <a:pt x="10" y="113"/>
                  <a:pt x="4" y="114"/>
                  <a:pt x="2" y="111"/>
                </a:cubicBezTo>
                <a:cubicBezTo>
                  <a:pt x="0" y="110"/>
                  <a:pt x="0" y="106"/>
                  <a:pt x="1" y="103"/>
                </a:cubicBezTo>
                <a:cubicBezTo>
                  <a:pt x="1" y="99"/>
                  <a:pt x="2" y="98"/>
                  <a:pt x="9" y="98"/>
                </a:cubicBezTo>
                <a:cubicBezTo>
                  <a:pt x="27" y="98"/>
                  <a:pt x="27" y="98"/>
                  <a:pt x="27" y="98"/>
                </a:cubicBezTo>
                <a:cubicBezTo>
                  <a:pt x="31" y="98"/>
                  <a:pt x="31" y="98"/>
                  <a:pt x="31" y="98"/>
                </a:cubicBezTo>
                <a:cubicBezTo>
                  <a:pt x="162" y="98"/>
                  <a:pt x="162" y="98"/>
                  <a:pt x="162" y="98"/>
                </a:cubicBezTo>
                <a:cubicBezTo>
                  <a:pt x="166" y="98"/>
                  <a:pt x="166" y="98"/>
                  <a:pt x="166" y="98"/>
                </a:cubicBezTo>
                <a:close/>
                <a:moveTo>
                  <a:pt x="119" y="36"/>
                </a:moveTo>
                <a:cubicBezTo>
                  <a:pt x="125" y="32"/>
                  <a:pt x="124" y="28"/>
                  <a:pt x="122" y="24"/>
                </a:cubicBezTo>
                <a:cubicBezTo>
                  <a:pt x="118" y="16"/>
                  <a:pt x="115" y="9"/>
                  <a:pt x="122" y="0"/>
                </a:cubicBezTo>
                <a:cubicBezTo>
                  <a:pt x="132" y="7"/>
                  <a:pt x="132" y="7"/>
                  <a:pt x="132" y="7"/>
                </a:cubicBezTo>
                <a:cubicBezTo>
                  <a:pt x="130" y="11"/>
                  <a:pt x="131" y="14"/>
                  <a:pt x="133" y="18"/>
                </a:cubicBezTo>
                <a:cubicBezTo>
                  <a:pt x="137" y="28"/>
                  <a:pt x="142" y="37"/>
                  <a:pt x="126" y="46"/>
                </a:cubicBezTo>
                <a:cubicBezTo>
                  <a:pt x="119" y="36"/>
                  <a:pt x="119" y="36"/>
                  <a:pt x="119" y="36"/>
                </a:cubicBezTo>
                <a:close/>
                <a:moveTo>
                  <a:pt x="86" y="36"/>
                </a:moveTo>
                <a:cubicBezTo>
                  <a:pt x="92" y="32"/>
                  <a:pt x="91" y="28"/>
                  <a:pt x="89" y="24"/>
                </a:cubicBezTo>
                <a:cubicBezTo>
                  <a:pt x="85" y="16"/>
                  <a:pt x="82" y="9"/>
                  <a:pt x="88" y="0"/>
                </a:cubicBezTo>
                <a:cubicBezTo>
                  <a:pt x="99" y="7"/>
                  <a:pt x="99" y="7"/>
                  <a:pt x="99" y="7"/>
                </a:cubicBezTo>
                <a:cubicBezTo>
                  <a:pt x="97" y="11"/>
                  <a:pt x="98" y="14"/>
                  <a:pt x="100" y="18"/>
                </a:cubicBezTo>
                <a:cubicBezTo>
                  <a:pt x="104" y="28"/>
                  <a:pt x="109" y="37"/>
                  <a:pt x="93" y="46"/>
                </a:cubicBezTo>
                <a:cubicBezTo>
                  <a:pt x="86" y="36"/>
                  <a:pt x="86" y="36"/>
                  <a:pt x="86" y="36"/>
                </a:cubicBezTo>
                <a:close/>
                <a:moveTo>
                  <a:pt x="51" y="36"/>
                </a:moveTo>
                <a:cubicBezTo>
                  <a:pt x="57" y="32"/>
                  <a:pt x="55" y="28"/>
                  <a:pt x="53" y="24"/>
                </a:cubicBezTo>
                <a:cubicBezTo>
                  <a:pt x="50" y="16"/>
                  <a:pt x="47" y="9"/>
                  <a:pt x="53" y="0"/>
                </a:cubicBezTo>
                <a:cubicBezTo>
                  <a:pt x="64" y="7"/>
                  <a:pt x="64" y="7"/>
                  <a:pt x="64" y="7"/>
                </a:cubicBezTo>
                <a:cubicBezTo>
                  <a:pt x="61" y="11"/>
                  <a:pt x="63" y="14"/>
                  <a:pt x="65" y="18"/>
                </a:cubicBezTo>
                <a:cubicBezTo>
                  <a:pt x="69" y="28"/>
                  <a:pt x="73" y="37"/>
                  <a:pt x="58" y="46"/>
                </a:cubicBezTo>
                <a:cubicBezTo>
                  <a:pt x="51" y="36"/>
                  <a:pt x="51" y="36"/>
                  <a:pt x="51" y="36"/>
                </a:cubicBezTo>
                <a:close/>
                <a:moveTo>
                  <a:pt x="37" y="111"/>
                </a:moveTo>
                <a:cubicBezTo>
                  <a:pt x="37" y="144"/>
                  <a:pt x="37" y="144"/>
                  <a:pt x="37" y="144"/>
                </a:cubicBezTo>
                <a:cubicBezTo>
                  <a:pt x="37" y="147"/>
                  <a:pt x="39" y="149"/>
                  <a:pt x="41" y="149"/>
                </a:cubicBezTo>
                <a:cubicBezTo>
                  <a:pt x="44" y="149"/>
                  <a:pt x="46" y="147"/>
                  <a:pt x="46" y="144"/>
                </a:cubicBezTo>
                <a:cubicBezTo>
                  <a:pt x="46" y="111"/>
                  <a:pt x="46" y="111"/>
                  <a:pt x="46" y="111"/>
                </a:cubicBezTo>
                <a:cubicBezTo>
                  <a:pt x="46" y="109"/>
                  <a:pt x="44" y="107"/>
                  <a:pt x="41" y="107"/>
                </a:cubicBezTo>
                <a:cubicBezTo>
                  <a:pt x="39" y="107"/>
                  <a:pt x="37" y="109"/>
                  <a:pt x="37" y="111"/>
                </a:cubicBezTo>
                <a:close/>
                <a:moveTo>
                  <a:pt x="47" y="71"/>
                </a:moveTo>
                <a:cubicBezTo>
                  <a:pt x="89" y="71"/>
                  <a:pt x="89" y="71"/>
                  <a:pt x="89" y="71"/>
                </a:cubicBezTo>
                <a:cubicBezTo>
                  <a:pt x="86" y="60"/>
                  <a:pt x="86" y="60"/>
                  <a:pt x="86" y="60"/>
                </a:cubicBezTo>
                <a:cubicBezTo>
                  <a:pt x="86" y="57"/>
                  <a:pt x="89" y="55"/>
                  <a:pt x="92" y="55"/>
                </a:cubicBezTo>
                <a:cubicBezTo>
                  <a:pt x="100" y="55"/>
                  <a:pt x="100" y="55"/>
                  <a:pt x="100" y="55"/>
                </a:cubicBezTo>
                <a:cubicBezTo>
                  <a:pt x="103" y="55"/>
                  <a:pt x="106" y="57"/>
                  <a:pt x="105" y="60"/>
                </a:cubicBezTo>
                <a:cubicBezTo>
                  <a:pt x="103" y="71"/>
                  <a:pt x="103" y="71"/>
                  <a:pt x="103" y="71"/>
                </a:cubicBezTo>
                <a:cubicBezTo>
                  <a:pt x="146" y="71"/>
                  <a:pt x="146" y="71"/>
                  <a:pt x="146" y="71"/>
                </a:cubicBezTo>
                <a:cubicBezTo>
                  <a:pt x="157" y="71"/>
                  <a:pt x="165" y="79"/>
                  <a:pt x="166" y="89"/>
                </a:cubicBezTo>
                <a:cubicBezTo>
                  <a:pt x="27" y="89"/>
                  <a:pt x="27" y="89"/>
                  <a:pt x="27" y="89"/>
                </a:cubicBezTo>
                <a:cubicBezTo>
                  <a:pt x="28" y="79"/>
                  <a:pt x="37" y="71"/>
                  <a:pt x="47" y="7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90" name="Freeform 387"/>
          <p:cNvSpPr>
            <a:spLocks/>
          </p:cNvSpPr>
          <p:nvPr/>
        </p:nvSpPr>
        <p:spPr bwMode="auto">
          <a:xfrm>
            <a:off x="2929467" y="5581651"/>
            <a:ext cx="510117" cy="249767"/>
          </a:xfrm>
          <a:custGeom>
            <a:avLst/>
            <a:gdLst>
              <a:gd name="T0" fmla="*/ 72666670 w 168"/>
              <a:gd name="T1" fmla="*/ 141110552 h 82"/>
              <a:gd name="T2" fmla="*/ 140143351 w 168"/>
              <a:gd name="T3" fmla="*/ 73168688 h 82"/>
              <a:gd name="T4" fmla="*/ 731858962 w 168"/>
              <a:gd name="T5" fmla="*/ 73168688 h 82"/>
              <a:gd name="T6" fmla="*/ 804525631 w 168"/>
              <a:gd name="T7" fmla="*/ 141110552 h 82"/>
              <a:gd name="T8" fmla="*/ 804525631 w 168"/>
              <a:gd name="T9" fmla="*/ 428556195 h 82"/>
              <a:gd name="T10" fmla="*/ 872002312 w 168"/>
              <a:gd name="T11" fmla="*/ 428556195 h 82"/>
              <a:gd name="T12" fmla="*/ 872002312 w 168"/>
              <a:gd name="T13" fmla="*/ 141110552 h 82"/>
              <a:gd name="T14" fmla="*/ 731858962 w 168"/>
              <a:gd name="T15" fmla="*/ 0 h 82"/>
              <a:gd name="T16" fmla="*/ 140143351 w 168"/>
              <a:gd name="T17" fmla="*/ 0 h 82"/>
              <a:gd name="T18" fmla="*/ 0 w 168"/>
              <a:gd name="T19" fmla="*/ 141110552 h 82"/>
              <a:gd name="T20" fmla="*/ 0 w 168"/>
              <a:gd name="T21" fmla="*/ 428556195 h 82"/>
              <a:gd name="T22" fmla="*/ 72666670 w 168"/>
              <a:gd name="T23" fmla="*/ 428556195 h 82"/>
              <a:gd name="T24" fmla="*/ 72666670 w 168"/>
              <a:gd name="T25" fmla="*/ 141110552 h 8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68" h="82">
                <a:moveTo>
                  <a:pt x="14" y="27"/>
                </a:moveTo>
                <a:cubicBezTo>
                  <a:pt x="14" y="20"/>
                  <a:pt x="20" y="14"/>
                  <a:pt x="27" y="14"/>
                </a:cubicBezTo>
                <a:cubicBezTo>
                  <a:pt x="141" y="14"/>
                  <a:pt x="141" y="14"/>
                  <a:pt x="141" y="14"/>
                </a:cubicBezTo>
                <a:cubicBezTo>
                  <a:pt x="149" y="14"/>
                  <a:pt x="155" y="20"/>
                  <a:pt x="155" y="27"/>
                </a:cubicBezTo>
                <a:cubicBezTo>
                  <a:pt x="155" y="82"/>
                  <a:pt x="155" y="82"/>
                  <a:pt x="155" y="82"/>
                </a:cubicBezTo>
                <a:cubicBezTo>
                  <a:pt x="168" y="82"/>
                  <a:pt x="168" y="82"/>
                  <a:pt x="168" y="82"/>
                </a:cubicBezTo>
                <a:cubicBezTo>
                  <a:pt x="168" y="27"/>
                  <a:pt x="168" y="27"/>
                  <a:pt x="168" y="27"/>
                </a:cubicBezTo>
                <a:cubicBezTo>
                  <a:pt x="168" y="12"/>
                  <a:pt x="156" y="0"/>
                  <a:pt x="141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13" y="0"/>
                  <a:pt x="0" y="12"/>
                  <a:pt x="0" y="27"/>
                </a:cubicBezTo>
                <a:cubicBezTo>
                  <a:pt x="0" y="82"/>
                  <a:pt x="0" y="82"/>
                  <a:pt x="0" y="82"/>
                </a:cubicBezTo>
                <a:cubicBezTo>
                  <a:pt x="14" y="82"/>
                  <a:pt x="14" y="82"/>
                  <a:pt x="14" y="82"/>
                </a:cubicBezTo>
                <a:lnTo>
                  <a:pt x="14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91" name="Freeform 388"/>
          <p:cNvSpPr>
            <a:spLocks/>
          </p:cNvSpPr>
          <p:nvPr/>
        </p:nvSpPr>
        <p:spPr bwMode="auto">
          <a:xfrm>
            <a:off x="2929467" y="5842001"/>
            <a:ext cx="510117" cy="249767"/>
          </a:xfrm>
          <a:custGeom>
            <a:avLst/>
            <a:gdLst>
              <a:gd name="T0" fmla="*/ 804525631 w 168"/>
              <a:gd name="T1" fmla="*/ 287445644 h 82"/>
              <a:gd name="T2" fmla="*/ 731858962 w 168"/>
              <a:gd name="T3" fmla="*/ 355387507 h 82"/>
              <a:gd name="T4" fmla="*/ 140143351 w 168"/>
              <a:gd name="T5" fmla="*/ 355387507 h 82"/>
              <a:gd name="T6" fmla="*/ 72666670 w 168"/>
              <a:gd name="T7" fmla="*/ 287445644 h 82"/>
              <a:gd name="T8" fmla="*/ 72666670 w 168"/>
              <a:gd name="T9" fmla="*/ 0 h 82"/>
              <a:gd name="T10" fmla="*/ 0 w 168"/>
              <a:gd name="T11" fmla="*/ 0 h 82"/>
              <a:gd name="T12" fmla="*/ 0 w 168"/>
              <a:gd name="T13" fmla="*/ 287445644 h 82"/>
              <a:gd name="T14" fmla="*/ 140143351 w 168"/>
              <a:gd name="T15" fmla="*/ 428556195 h 82"/>
              <a:gd name="T16" fmla="*/ 731858962 w 168"/>
              <a:gd name="T17" fmla="*/ 428556195 h 82"/>
              <a:gd name="T18" fmla="*/ 872002312 w 168"/>
              <a:gd name="T19" fmla="*/ 287445644 h 82"/>
              <a:gd name="T20" fmla="*/ 872002312 w 168"/>
              <a:gd name="T21" fmla="*/ 0 h 82"/>
              <a:gd name="T22" fmla="*/ 804525631 w 168"/>
              <a:gd name="T23" fmla="*/ 0 h 82"/>
              <a:gd name="T24" fmla="*/ 804525631 w 168"/>
              <a:gd name="T25" fmla="*/ 287445644 h 8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68" h="82">
                <a:moveTo>
                  <a:pt x="155" y="55"/>
                </a:moveTo>
                <a:cubicBezTo>
                  <a:pt x="155" y="62"/>
                  <a:pt x="149" y="68"/>
                  <a:pt x="141" y="68"/>
                </a:cubicBezTo>
                <a:cubicBezTo>
                  <a:pt x="27" y="68"/>
                  <a:pt x="27" y="68"/>
                  <a:pt x="27" y="68"/>
                </a:cubicBezTo>
                <a:cubicBezTo>
                  <a:pt x="20" y="68"/>
                  <a:pt x="14" y="62"/>
                  <a:pt x="14" y="55"/>
                </a:cubicBezTo>
                <a:cubicBezTo>
                  <a:pt x="14" y="0"/>
                  <a:pt x="14" y="0"/>
                  <a:pt x="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70"/>
                  <a:pt x="13" y="82"/>
                  <a:pt x="27" y="82"/>
                </a:cubicBezTo>
                <a:cubicBezTo>
                  <a:pt x="141" y="82"/>
                  <a:pt x="141" y="82"/>
                  <a:pt x="141" y="82"/>
                </a:cubicBezTo>
                <a:cubicBezTo>
                  <a:pt x="156" y="82"/>
                  <a:pt x="168" y="70"/>
                  <a:pt x="168" y="55"/>
                </a:cubicBezTo>
                <a:cubicBezTo>
                  <a:pt x="168" y="0"/>
                  <a:pt x="168" y="0"/>
                  <a:pt x="168" y="0"/>
                </a:cubicBezTo>
                <a:cubicBezTo>
                  <a:pt x="155" y="0"/>
                  <a:pt x="155" y="0"/>
                  <a:pt x="155" y="0"/>
                </a:cubicBezTo>
                <a:lnTo>
                  <a:pt x="155" y="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92" name="Freeform 389"/>
          <p:cNvSpPr>
            <a:spLocks/>
          </p:cNvSpPr>
          <p:nvPr/>
        </p:nvSpPr>
        <p:spPr bwMode="auto">
          <a:xfrm>
            <a:off x="3071285" y="5645151"/>
            <a:ext cx="224367" cy="103716"/>
          </a:xfrm>
          <a:custGeom>
            <a:avLst/>
            <a:gdLst>
              <a:gd name="T0" fmla="*/ 171997516 w 74"/>
              <a:gd name="T1" fmla="*/ 41501652 h 34"/>
              <a:gd name="T2" fmla="*/ 93817860 w 74"/>
              <a:gd name="T3" fmla="*/ 0 h 34"/>
              <a:gd name="T4" fmla="*/ 0 w 74"/>
              <a:gd name="T5" fmla="*/ 77814454 h 34"/>
              <a:gd name="T6" fmla="*/ 26059885 w 74"/>
              <a:gd name="T7" fmla="*/ 77814454 h 34"/>
              <a:gd name="T8" fmla="*/ 52119770 w 74"/>
              <a:gd name="T9" fmla="*/ 62250191 h 34"/>
              <a:gd name="T10" fmla="*/ 78181929 w 74"/>
              <a:gd name="T11" fmla="*/ 88189867 h 34"/>
              <a:gd name="T12" fmla="*/ 52119770 w 74"/>
              <a:gd name="T13" fmla="*/ 114127256 h 34"/>
              <a:gd name="T14" fmla="*/ 26059885 w 74"/>
              <a:gd name="T15" fmla="*/ 93376430 h 34"/>
              <a:gd name="T16" fmla="*/ 0 w 74"/>
              <a:gd name="T17" fmla="*/ 93376430 h 34"/>
              <a:gd name="T18" fmla="*/ 93817860 w 74"/>
              <a:gd name="T19" fmla="*/ 176377447 h 34"/>
              <a:gd name="T20" fmla="*/ 171997516 w 74"/>
              <a:gd name="T21" fmla="*/ 129689232 h 34"/>
              <a:gd name="T22" fmla="*/ 208483629 w 74"/>
              <a:gd name="T23" fmla="*/ 129689232 h 34"/>
              <a:gd name="T24" fmla="*/ 234543514 w 74"/>
              <a:gd name="T25" fmla="*/ 103751843 h 34"/>
              <a:gd name="T26" fmla="*/ 255391422 w 74"/>
              <a:gd name="T27" fmla="*/ 124502669 h 34"/>
              <a:gd name="T28" fmla="*/ 281451307 w 74"/>
              <a:gd name="T29" fmla="*/ 103751843 h 34"/>
              <a:gd name="T30" fmla="*/ 302299216 w 74"/>
              <a:gd name="T31" fmla="*/ 124502669 h 34"/>
              <a:gd name="T32" fmla="*/ 323149398 w 74"/>
              <a:gd name="T33" fmla="*/ 103751843 h 34"/>
              <a:gd name="T34" fmla="*/ 343997306 w 74"/>
              <a:gd name="T35" fmla="*/ 124502669 h 34"/>
              <a:gd name="T36" fmla="*/ 385693122 w 74"/>
              <a:gd name="T37" fmla="*/ 83001017 h 34"/>
              <a:gd name="T38" fmla="*/ 343997306 w 74"/>
              <a:gd name="T39" fmla="*/ 41501652 h 34"/>
              <a:gd name="T40" fmla="*/ 171997516 w 74"/>
              <a:gd name="T41" fmla="*/ 41501652 h 3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4" h="34">
                <a:moveTo>
                  <a:pt x="33" y="8"/>
                </a:moveTo>
                <a:cubicBezTo>
                  <a:pt x="30" y="3"/>
                  <a:pt x="24" y="0"/>
                  <a:pt x="18" y="0"/>
                </a:cubicBezTo>
                <a:cubicBezTo>
                  <a:pt x="9" y="0"/>
                  <a:pt x="1" y="7"/>
                  <a:pt x="0" y="15"/>
                </a:cubicBezTo>
                <a:cubicBezTo>
                  <a:pt x="5" y="15"/>
                  <a:pt x="5" y="15"/>
                  <a:pt x="5" y="15"/>
                </a:cubicBezTo>
                <a:cubicBezTo>
                  <a:pt x="6" y="13"/>
                  <a:pt x="8" y="12"/>
                  <a:pt x="10" y="12"/>
                </a:cubicBezTo>
                <a:cubicBezTo>
                  <a:pt x="13" y="12"/>
                  <a:pt x="15" y="14"/>
                  <a:pt x="15" y="17"/>
                </a:cubicBezTo>
                <a:cubicBezTo>
                  <a:pt x="15" y="19"/>
                  <a:pt x="13" y="22"/>
                  <a:pt x="10" y="22"/>
                </a:cubicBezTo>
                <a:cubicBezTo>
                  <a:pt x="8" y="22"/>
                  <a:pt x="6" y="20"/>
                  <a:pt x="5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1" y="27"/>
                  <a:pt x="9" y="34"/>
                  <a:pt x="18" y="34"/>
                </a:cubicBezTo>
                <a:cubicBezTo>
                  <a:pt x="24" y="34"/>
                  <a:pt x="30" y="30"/>
                  <a:pt x="33" y="25"/>
                </a:cubicBezTo>
                <a:cubicBezTo>
                  <a:pt x="40" y="25"/>
                  <a:pt x="40" y="25"/>
                  <a:pt x="40" y="25"/>
                </a:cubicBezTo>
                <a:cubicBezTo>
                  <a:pt x="45" y="20"/>
                  <a:pt x="45" y="20"/>
                  <a:pt x="45" y="20"/>
                </a:cubicBezTo>
                <a:cubicBezTo>
                  <a:pt x="49" y="24"/>
                  <a:pt x="49" y="24"/>
                  <a:pt x="49" y="24"/>
                </a:cubicBezTo>
                <a:cubicBezTo>
                  <a:pt x="54" y="20"/>
                  <a:pt x="54" y="20"/>
                  <a:pt x="54" y="20"/>
                </a:cubicBezTo>
                <a:cubicBezTo>
                  <a:pt x="58" y="24"/>
                  <a:pt x="58" y="24"/>
                  <a:pt x="58" y="24"/>
                </a:cubicBezTo>
                <a:cubicBezTo>
                  <a:pt x="62" y="20"/>
                  <a:pt x="62" y="20"/>
                  <a:pt x="62" y="20"/>
                </a:cubicBezTo>
                <a:cubicBezTo>
                  <a:pt x="66" y="24"/>
                  <a:pt x="66" y="24"/>
                  <a:pt x="66" y="24"/>
                </a:cubicBezTo>
                <a:cubicBezTo>
                  <a:pt x="74" y="16"/>
                  <a:pt x="74" y="16"/>
                  <a:pt x="74" y="16"/>
                </a:cubicBezTo>
                <a:cubicBezTo>
                  <a:pt x="66" y="8"/>
                  <a:pt x="66" y="8"/>
                  <a:pt x="66" y="8"/>
                </a:cubicBezTo>
                <a:lnTo>
                  <a:pt x="33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93" name="Freeform 390"/>
          <p:cNvSpPr>
            <a:spLocks/>
          </p:cNvSpPr>
          <p:nvPr/>
        </p:nvSpPr>
        <p:spPr bwMode="auto">
          <a:xfrm>
            <a:off x="3018367" y="5844117"/>
            <a:ext cx="52917" cy="186267"/>
          </a:xfrm>
          <a:custGeom>
            <a:avLst/>
            <a:gdLst>
              <a:gd name="T0" fmla="*/ 47219900 w 18"/>
              <a:gd name="T1" fmla="*/ 317808339 h 61"/>
              <a:gd name="T2" fmla="*/ 84996262 w 18"/>
              <a:gd name="T3" fmla="*/ 317808339 h 61"/>
              <a:gd name="T4" fmla="*/ 84996262 w 18"/>
              <a:gd name="T5" fmla="*/ 0 h 61"/>
              <a:gd name="T6" fmla="*/ 47219900 w 18"/>
              <a:gd name="T7" fmla="*/ 0 h 61"/>
              <a:gd name="T8" fmla="*/ 0 w 18"/>
              <a:gd name="T9" fmla="*/ 41678693 h 61"/>
              <a:gd name="T10" fmla="*/ 0 w 18"/>
              <a:gd name="T11" fmla="*/ 270919523 h 61"/>
              <a:gd name="T12" fmla="*/ 47219900 w 18"/>
              <a:gd name="T13" fmla="*/ 317808339 h 6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" h="61">
                <a:moveTo>
                  <a:pt x="10" y="61"/>
                </a:moveTo>
                <a:cubicBezTo>
                  <a:pt x="18" y="61"/>
                  <a:pt x="18" y="61"/>
                  <a:pt x="18" y="61"/>
                </a:cubicBezTo>
                <a:cubicBezTo>
                  <a:pt x="18" y="0"/>
                  <a:pt x="18" y="0"/>
                  <a:pt x="18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3"/>
                  <a:pt x="0" y="8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57"/>
                  <a:pt x="4" y="61"/>
                  <a:pt x="10" y="6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94" name="Freeform 391"/>
          <p:cNvSpPr>
            <a:spLocks/>
          </p:cNvSpPr>
          <p:nvPr/>
        </p:nvSpPr>
        <p:spPr bwMode="auto">
          <a:xfrm>
            <a:off x="3287185" y="5844117"/>
            <a:ext cx="52916" cy="186267"/>
          </a:xfrm>
          <a:custGeom>
            <a:avLst/>
            <a:gdLst>
              <a:gd name="T0" fmla="*/ 90656132 w 18"/>
              <a:gd name="T1" fmla="*/ 270919523 h 61"/>
              <a:gd name="T2" fmla="*/ 90656132 w 18"/>
              <a:gd name="T3" fmla="*/ 41678693 h 61"/>
              <a:gd name="T4" fmla="*/ 40291124 w 18"/>
              <a:gd name="T5" fmla="*/ 0 h 61"/>
              <a:gd name="T6" fmla="*/ 0 w 18"/>
              <a:gd name="T7" fmla="*/ 0 h 61"/>
              <a:gd name="T8" fmla="*/ 0 w 18"/>
              <a:gd name="T9" fmla="*/ 317808339 h 61"/>
              <a:gd name="T10" fmla="*/ 40291124 w 18"/>
              <a:gd name="T11" fmla="*/ 317808339 h 61"/>
              <a:gd name="T12" fmla="*/ 90656132 w 18"/>
              <a:gd name="T13" fmla="*/ 270919523 h 6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" h="61">
                <a:moveTo>
                  <a:pt x="18" y="52"/>
                </a:moveTo>
                <a:cubicBezTo>
                  <a:pt x="18" y="8"/>
                  <a:pt x="18" y="8"/>
                  <a:pt x="18" y="8"/>
                </a:cubicBezTo>
                <a:cubicBezTo>
                  <a:pt x="18" y="3"/>
                  <a:pt x="14" y="0"/>
                  <a:pt x="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1"/>
                  <a:pt x="0" y="61"/>
                  <a:pt x="0" y="61"/>
                </a:cubicBezTo>
                <a:cubicBezTo>
                  <a:pt x="8" y="61"/>
                  <a:pt x="8" y="61"/>
                  <a:pt x="8" y="61"/>
                </a:cubicBezTo>
                <a:cubicBezTo>
                  <a:pt x="14" y="61"/>
                  <a:pt x="18" y="57"/>
                  <a:pt x="18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495" name="Rectangle 392"/>
          <p:cNvSpPr>
            <a:spLocks noChangeArrowheads="1"/>
          </p:cNvSpPr>
          <p:nvPr/>
        </p:nvSpPr>
        <p:spPr bwMode="auto">
          <a:xfrm>
            <a:off x="3100918" y="5844117"/>
            <a:ext cx="154516" cy="1862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496" name="Freeform 393"/>
          <p:cNvSpPr>
            <a:spLocks/>
          </p:cNvSpPr>
          <p:nvPr/>
        </p:nvSpPr>
        <p:spPr bwMode="auto">
          <a:xfrm>
            <a:off x="3105151" y="5776384"/>
            <a:ext cx="150283" cy="57149"/>
          </a:xfrm>
          <a:custGeom>
            <a:avLst/>
            <a:gdLst>
              <a:gd name="T0" fmla="*/ 0 w 49"/>
              <a:gd name="T1" fmla="*/ 77805809 h 19"/>
              <a:gd name="T2" fmla="*/ 0 w 49"/>
              <a:gd name="T3" fmla="*/ 98553273 h 19"/>
              <a:gd name="T4" fmla="*/ 58389416 w 49"/>
              <a:gd name="T5" fmla="*/ 98553273 h 19"/>
              <a:gd name="T6" fmla="*/ 58389416 w 49"/>
              <a:gd name="T7" fmla="*/ 77805809 h 19"/>
              <a:gd name="T8" fmla="*/ 58389416 w 49"/>
              <a:gd name="T9" fmla="*/ 51869788 h 19"/>
              <a:gd name="T10" fmla="*/ 69005047 w 49"/>
              <a:gd name="T11" fmla="*/ 46683486 h 19"/>
              <a:gd name="T12" fmla="*/ 191095145 w 49"/>
              <a:gd name="T13" fmla="*/ 46683486 h 19"/>
              <a:gd name="T14" fmla="*/ 201710775 w 49"/>
              <a:gd name="T15" fmla="*/ 51869788 h 19"/>
              <a:gd name="T16" fmla="*/ 201710775 w 49"/>
              <a:gd name="T17" fmla="*/ 77805809 h 19"/>
              <a:gd name="T18" fmla="*/ 201710775 w 49"/>
              <a:gd name="T19" fmla="*/ 98553273 h 19"/>
              <a:gd name="T20" fmla="*/ 260100192 w 49"/>
              <a:gd name="T21" fmla="*/ 98553273 h 19"/>
              <a:gd name="T22" fmla="*/ 260100192 w 49"/>
              <a:gd name="T23" fmla="*/ 77805809 h 19"/>
              <a:gd name="T24" fmla="*/ 260100192 w 49"/>
              <a:gd name="T25" fmla="*/ 51869788 h 19"/>
              <a:gd name="T26" fmla="*/ 260100192 w 49"/>
              <a:gd name="T27" fmla="*/ 46683486 h 19"/>
              <a:gd name="T28" fmla="*/ 191095145 w 49"/>
              <a:gd name="T29" fmla="*/ 0 h 19"/>
              <a:gd name="T30" fmla="*/ 69005047 w 49"/>
              <a:gd name="T31" fmla="*/ 0 h 19"/>
              <a:gd name="T32" fmla="*/ 0 w 49"/>
              <a:gd name="T33" fmla="*/ 46683486 h 19"/>
              <a:gd name="T34" fmla="*/ 0 w 49"/>
              <a:gd name="T35" fmla="*/ 51869788 h 19"/>
              <a:gd name="T36" fmla="*/ 0 w 49"/>
              <a:gd name="T37" fmla="*/ 77805809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9" h="19">
                <a:moveTo>
                  <a:pt x="0" y="15"/>
                </a:moveTo>
                <a:cubicBezTo>
                  <a:pt x="0" y="19"/>
                  <a:pt x="0" y="19"/>
                  <a:pt x="0" y="19"/>
                </a:cubicBezTo>
                <a:cubicBezTo>
                  <a:pt x="11" y="19"/>
                  <a:pt x="11" y="19"/>
                  <a:pt x="11" y="19"/>
                </a:cubicBezTo>
                <a:cubicBezTo>
                  <a:pt x="11" y="15"/>
                  <a:pt x="11" y="15"/>
                  <a:pt x="11" y="15"/>
                </a:cubicBezTo>
                <a:cubicBezTo>
                  <a:pt x="11" y="10"/>
                  <a:pt x="11" y="10"/>
                  <a:pt x="11" y="10"/>
                </a:cubicBezTo>
                <a:cubicBezTo>
                  <a:pt x="11" y="10"/>
                  <a:pt x="12" y="9"/>
                  <a:pt x="13" y="9"/>
                </a:cubicBezTo>
                <a:cubicBezTo>
                  <a:pt x="36" y="9"/>
                  <a:pt x="36" y="9"/>
                  <a:pt x="36" y="9"/>
                </a:cubicBezTo>
                <a:cubicBezTo>
                  <a:pt x="37" y="9"/>
                  <a:pt x="38" y="10"/>
                  <a:pt x="38" y="10"/>
                </a:cubicBezTo>
                <a:cubicBezTo>
                  <a:pt x="38" y="15"/>
                  <a:pt x="38" y="15"/>
                  <a:pt x="38" y="15"/>
                </a:cubicBezTo>
                <a:cubicBezTo>
                  <a:pt x="38" y="19"/>
                  <a:pt x="38" y="19"/>
                  <a:pt x="38" y="19"/>
                </a:cubicBezTo>
                <a:cubicBezTo>
                  <a:pt x="49" y="19"/>
                  <a:pt x="49" y="19"/>
                  <a:pt x="49" y="19"/>
                </a:cubicBezTo>
                <a:cubicBezTo>
                  <a:pt x="49" y="15"/>
                  <a:pt x="49" y="15"/>
                  <a:pt x="49" y="15"/>
                </a:cubicBezTo>
                <a:cubicBezTo>
                  <a:pt x="49" y="10"/>
                  <a:pt x="49" y="10"/>
                  <a:pt x="49" y="10"/>
                </a:cubicBezTo>
                <a:cubicBezTo>
                  <a:pt x="49" y="10"/>
                  <a:pt x="49" y="9"/>
                  <a:pt x="49" y="9"/>
                </a:cubicBezTo>
                <a:cubicBezTo>
                  <a:pt x="48" y="4"/>
                  <a:pt x="43" y="0"/>
                  <a:pt x="36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6" y="0"/>
                  <a:pt x="1" y="4"/>
                  <a:pt x="0" y="9"/>
                </a:cubicBezTo>
                <a:cubicBezTo>
                  <a:pt x="0" y="9"/>
                  <a:pt x="0" y="10"/>
                  <a:pt x="0" y="10"/>
                </a:cubicBezTo>
                <a:lnTo>
                  <a:pt x="0" y="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Freeform 5"/>
          <p:cNvSpPr>
            <a:spLocks/>
          </p:cNvSpPr>
          <p:nvPr/>
        </p:nvSpPr>
        <p:spPr bwMode="auto">
          <a:xfrm>
            <a:off x="1274234" y="1511300"/>
            <a:ext cx="328084" cy="289984"/>
          </a:xfrm>
          <a:custGeom>
            <a:avLst/>
            <a:gdLst>
              <a:gd name="T0" fmla="*/ 433167951 w 109"/>
              <a:gd name="T1" fmla="*/ 261758136 h 96"/>
              <a:gd name="T2" fmla="*/ 433167951 w 109"/>
              <a:gd name="T3" fmla="*/ 369539298 h 96"/>
              <a:gd name="T4" fmla="*/ 555474806 w 109"/>
              <a:gd name="T5" fmla="*/ 184769649 h 96"/>
              <a:gd name="T6" fmla="*/ 433167951 w 109"/>
              <a:gd name="T7" fmla="*/ 0 h 96"/>
              <a:gd name="T8" fmla="*/ 433167951 w 109"/>
              <a:gd name="T9" fmla="*/ 102649805 h 96"/>
              <a:gd name="T10" fmla="*/ 0 w 109"/>
              <a:gd name="T11" fmla="*/ 492719064 h 96"/>
              <a:gd name="T12" fmla="*/ 25479937 w 109"/>
              <a:gd name="T13" fmla="*/ 492719064 h 96"/>
              <a:gd name="T14" fmla="*/ 433167951 w 109"/>
              <a:gd name="T15" fmla="*/ 261758136 h 9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09" h="96">
                <a:moveTo>
                  <a:pt x="85" y="51"/>
                </a:moveTo>
                <a:cubicBezTo>
                  <a:pt x="85" y="72"/>
                  <a:pt x="85" y="72"/>
                  <a:pt x="85" y="72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85" y="0"/>
                  <a:pt x="85" y="0"/>
                  <a:pt x="85" y="0"/>
                </a:cubicBezTo>
                <a:cubicBezTo>
                  <a:pt x="85" y="20"/>
                  <a:pt x="85" y="20"/>
                  <a:pt x="85" y="20"/>
                </a:cubicBezTo>
                <a:cubicBezTo>
                  <a:pt x="85" y="20"/>
                  <a:pt x="10" y="11"/>
                  <a:pt x="0" y="96"/>
                </a:cubicBezTo>
                <a:cubicBezTo>
                  <a:pt x="5" y="96"/>
                  <a:pt x="5" y="96"/>
                  <a:pt x="5" y="96"/>
                </a:cubicBezTo>
                <a:cubicBezTo>
                  <a:pt x="36" y="37"/>
                  <a:pt x="85" y="51"/>
                  <a:pt x="85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23" name="Freeform 6"/>
          <p:cNvSpPr>
            <a:spLocks/>
          </p:cNvSpPr>
          <p:nvPr/>
        </p:nvSpPr>
        <p:spPr bwMode="auto">
          <a:xfrm>
            <a:off x="1153585" y="1858434"/>
            <a:ext cx="452967" cy="207433"/>
          </a:xfrm>
          <a:custGeom>
            <a:avLst/>
            <a:gdLst>
              <a:gd name="T0" fmla="*/ 663089204 w 151"/>
              <a:gd name="T1" fmla="*/ 20335231 h 69"/>
              <a:gd name="T2" fmla="*/ 627656561 w 151"/>
              <a:gd name="T3" fmla="*/ 0 h 69"/>
              <a:gd name="T4" fmla="*/ 25308388 w 151"/>
              <a:gd name="T5" fmla="*/ 0 h 69"/>
              <a:gd name="T6" fmla="*/ 5062127 w 151"/>
              <a:gd name="T7" fmla="*/ 20335231 h 69"/>
              <a:gd name="T8" fmla="*/ 106297928 w 151"/>
              <a:gd name="T9" fmla="*/ 330441300 h 69"/>
              <a:gd name="T10" fmla="*/ 141728320 w 151"/>
              <a:gd name="T11" fmla="*/ 350776531 h 69"/>
              <a:gd name="T12" fmla="*/ 739016617 w 151"/>
              <a:gd name="T13" fmla="*/ 350776531 h 69"/>
              <a:gd name="T14" fmla="*/ 764325004 w 151"/>
              <a:gd name="T15" fmla="*/ 330441300 h 69"/>
              <a:gd name="T16" fmla="*/ 663089204 w 151"/>
              <a:gd name="T17" fmla="*/ 20335231 h 6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1" h="69">
                <a:moveTo>
                  <a:pt x="131" y="4"/>
                </a:moveTo>
                <a:cubicBezTo>
                  <a:pt x="130" y="1"/>
                  <a:pt x="127" y="0"/>
                  <a:pt x="124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1"/>
                  <a:pt x="1" y="4"/>
                </a:cubicBezTo>
                <a:cubicBezTo>
                  <a:pt x="21" y="65"/>
                  <a:pt x="21" y="65"/>
                  <a:pt x="21" y="65"/>
                </a:cubicBezTo>
                <a:cubicBezTo>
                  <a:pt x="21" y="67"/>
                  <a:pt x="25" y="69"/>
                  <a:pt x="28" y="69"/>
                </a:cubicBezTo>
                <a:cubicBezTo>
                  <a:pt x="146" y="69"/>
                  <a:pt x="146" y="69"/>
                  <a:pt x="146" y="69"/>
                </a:cubicBezTo>
                <a:cubicBezTo>
                  <a:pt x="149" y="69"/>
                  <a:pt x="151" y="67"/>
                  <a:pt x="151" y="65"/>
                </a:cubicBezTo>
                <a:lnTo>
                  <a:pt x="131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24" name="Freeform 7"/>
          <p:cNvSpPr>
            <a:spLocks/>
          </p:cNvSpPr>
          <p:nvPr/>
        </p:nvSpPr>
        <p:spPr bwMode="auto">
          <a:xfrm>
            <a:off x="1217084" y="1739900"/>
            <a:ext cx="389467" cy="262467"/>
          </a:xfrm>
          <a:custGeom>
            <a:avLst/>
            <a:gdLst>
              <a:gd name="T0" fmla="*/ 610888952 w 130"/>
              <a:gd name="T1" fmla="*/ 5120363 h 87"/>
              <a:gd name="T2" fmla="*/ 454379525 w 130"/>
              <a:gd name="T3" fmla="*/ 5120363 h 87"/>
              <a:gd name="T4" fmla="*/ 393795738 w 130"/>
              <a:gd name="T5" fmla="*/ 102391414 h 87"/>
              <a:gd name="T6" fmla="*/ 121167574 w 130"/>
              <a:gd name="T7" fmla="*/ 102391414 h 87"/>
              <a:gd name="T8" fmla="*/ 100972229 w 130"/>
              <a:gd name="T9" fmla="*/ 148467890 h 87"/>
              <a:gd name="T10" fmla="*/ 95925640 w 130"/>
              <a:gd name="T11" fmla="*/ 102391414 h 87"/>
              <a:gd name="T12" fmla="*/ 95925640 w 130"/>
              <a:gd name="T13" fmla="*/ 102391414 h 87"/>
              <a:gd name="T14" fmla="*/ 30293017 w 130"/>
              <a:gd name="T15" fmla="*/ 102391414 h 87"/>
              <a:gd name="T16" fmla="*/ 0 w 130"/>
              <a:gd name="T17" fmla="*/ 133109065 h 87"/>
              <a:gd name="T18" fmla="*/ 0 w 130"/>
              <a:gd name="T19" fmla="*/ 168944816 h 87"/>
              <a:gd name="T20" fmla="*/ 520012148 w 130"/>
              <a:gd name="T21" fmla="*/ 168944816 h 87"/>
              <a:gd name="T22" fmla="*/ 555354002 w 130"/>
              <a:gd name="T23" fmla="*/ 179185541 h 87"/>
              <a:gd name="T24" fmla="*/ 580595935 w 130"/>
              <a:gd name="T25" fmla="*/ 209900929 h 87"/>
              <a:gd name="T26" fmla="*/ 656326231 w 130"/>
              <a:gd name="T27" fmla="*/ 445401408 h 87"/>
              <a:gd name="T28" fmla="*/ 656326231 w 130"/>
              <a:gd name="T29" fmla="*/ 71673764 h 87"/>
              <a:gd name="T30" fmla="*/ 610888952 w 130"/>
              <a:gd name="T31" fmla="*/ 5120363 h 8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30" h="87">
                <a:moveTo>
                  <a:pt x="121" y="1"/>
                </a:moveTo>
                <a:cubicBezTo>
                  <a:pt x="90" y="1"/>
                  <a:pt x="90" y="1"/>
                  <a:pt x="90" y="1"/>
                </a:cubicBezTo>
                <a:cubicBezTo>
                  <a:pt x="83" y="0"/>
                  <a:pt x="80" y="11"/>
                  <a:pt x="78" y="20"/>
                </a:cubicBezTo>
                <a:cubicBezTo>
                  <a:pt x="24" y="20"/>
                  <a:pt x="24" y="20"/>
                  <a:pt x="24" y="20"/>
                </a:cubicBezTo>
                <a:cubicBezTo>
                  <a:pt x="23" y="23"/>
                  <a:pt x="21" y="26"/>
                  <a:pt x="20" y="29"/>
                </a:cubicBezTo>
                <a:cubicBezTo>
                  <a:pt x="19" y="31"/>
                  <a:pt x="18" y="22"/>
                  <a:pt x="19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6" y="20"/>
                  <a:pt x="6" y="20"/>
                  <a:pt x="6" y="20"/>
                </a:cubicBezTo>
                <a:cubicBezTo>
                  <a:pt x="3" y="20"/>
                  <a:pt x="0" y="23"/>
                  <a:pt x="0" y="26"/>
                </a:cubicBezTo>
                <a:cubicBezTo>
                  <a:pt x="0" y="33"/>
                  <a:pt x="0" y="33"/>
                  <a:pt x="0" y="33"/>
                </a:cubicBezTo>
                <a:cubicBezTo>
                  <a:pt x="103" y="33"/>
                  <a:pt x="103" y="33"/>
                  <a:pt x="103" y="33"/>
                </a:cubicBezTo>
                <a:cubicBezTo>
                  <a:pt x="105" y="33"/>
                  <a:pt x="108" y="33"/>
                  <a:pt x="110" y="35"/>
                </a:cubicBezTo>
                <a:cubicBezTo>
                  <a:pt x="112" y="36"/>
                  <a:pt x="114" y="38"/>
                  <a:pt x="115" y="41"/>
                </a:cubicBezTo>
                <a:cubicBezTo>
                  <a:pt x="130" y="87"/>
                  <a:pt x="130" y="87"/>
                  <a:pt x="130" y="87"/>
                </a:cubicBezTo>
                <a:cubicBezTo>
                  <a:pt x="130" y="14"/>
                  <a:pt x="130" y="14"/>
                  <a:pt x="130" y="14"/>
                </a:cubicBezTo>
                <a:cubicBezTo>
                  <a:pt x="130" y="14"/>
                  <a:pt x="130" y="1"/>
                  <a:pt x="12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25" name="Freeform 8"/>
          <p:cNvSpPr>
            <a:spLocks/>
          </p:cNvSpPr>
          <p:nvPr/>
        </p:nvSpPr>
        <p:spPr bwMode="auto">
          <a:xfrm>
            <a:off x="2078568" y="1515533"/>
            <a:ext cx="319617" cy="330200"/>
          </a:xfrm>
          <a:custGeom>
            <a:avLst/>
            <a:gdLst>
              <a:gd name="T0" fmla="*/ 51140281 w 106"/>
              <a:gd name="T1" fmla="*/ 0 h 110"/>
              <a:gd name="T2" fmla="*/ 439812296 w 106"/>
              <a:gd name="T3" fmla="*/ 430834454 h 110"/>
              <a:gd name="T4" fmla="*/ 542095119 w 106"/>
              <a:gd name="T5" fmla="*/ 430834454 h 110"/>
              <a:gd name="T6" fmla="*/ 363101875 w 106"/>
              <a:gd name="T7" fmla="*/ 557550205 h 110"/>
              <a:gd name="T8" fmla="*/ 173880121 w 106"/>
              <a:gd name="T9" fmla="*/ 430834454 h 110"/>
              <a:gd name="T10" fmla="*/ 281276068 w 106"/>
              <a:gd name="T11" fmla="*/ 430834454 h 110"/>
              <a:gd name="T12" fmla="*/ 10228508 w 106"/>
              <a:gd name="T13" fmla="*/ 5067820 h 110"/>
              <a:gd name="T14" fmla="*/ 51140281 w 106"/>
              <a:gd name="T15" fmla="*/ 0 h 1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06" h="110">
                <a:moveTo>
                  <a:pt x="10" y="0"/>
                </a:moveTo>
                <a:cubicBezTo>
                  <a:pt x="95" y="10"/>
                  <a:pt x="86" y="85"/>
                  <a:pt x="86" y="85"/>
                </a:cubicBezTo>
                <a:cubicBezTo>
                  <a:pt x="106" y="85"/>
                  <a:pt x="106" y="85"/>
                  <a:pt x="106" y="85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34" y="85"/>
                  <a:pt x="34" y="85"/>
                  <a:pt x="34" y="85"/>
                </a:cubicBezTo>
                <a:cubicBezTo>
                  <a:pt x="55" y="85"/>
                  <a:pt x="55" y="85"/>
                  <a:pt x="55" y="85"/>
                </a:cubicBezTo>
                <a:cubicBezTo>
                  <a:pt x="55" y="85"/>
                  <a:pt x="71" y="31"/>
                  <a:pt x="2" y="1"/>
                </a:cubicBezTo>
                <a:cubicBezTo>
                  <a:pt x="0" y="0"/>
                  <a:pt x="8" y="0"/>
                  <a:pt x="1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26" name="Freeform 9"/>
          <p:cNvSpPr>
            <a:spLocks/>
          </p:cNvSpPr>
          <p:nvPr/>
        </p:nvSpPr>
        <p:spPr bwMode="auto">
          <a:xfrm>
            <a:off x="2042584" y="1854201"/>
            <a:ext cx="455083" cy="207433"/>
          </a:xfrm>
          <a:custGeom>
            <a:avLst/>
            <a:gdLst>
              <a:gd name="T0" fmla="*/ 408733552 w 151"/>
              <a:gd name="T1" fmla="*/ 0 h 69"/>
              <a:gd name="T2" fmla="*/ 25546412 w 151"/>
              <a:gd name="T3" fmla="*/ 0 h 69"/>
              <a:gd name="T4" fmla="*/ 5108378 w 151"/>
              <a:gd name="T5" fmla="*/ 20335231 h 69"/>
              <a:gd name="T6" fmla="*/ 107291766 w 151"/>
              <a:gd name="T7" fmla="*/ 330441300 h 69"/>
              <a:gd name="T8" fmla="*/ 143057195 w 151"/>
              <a:gd name="T9" fmla="*/ 350776531 h 69"/>
              <a:gd name="T10" fmla="*/ 745936246 w 151"/>
              <a:gd name="T11" fmla="*/ 350776531 h 69"/>
              <a:gd name="T12" fmla="*/ 771482658 w 151"/>
              <a:gd name="T13" fmla="*/ 330441300 h 69"/>
              <a:gd name="T14" fmla="*/ 669299270 w 151"/>
              <a:gd name="T15" fmla="*/ 20335231 h 69"/>
              <a:gd name="T16" fmla="*/ 633536101 w 151"/>
              <a:gd name="T17" fmla="*/ 0 h 69"/>
              <a:gd name="T18" fmla="*/ 439388342 w 151"/>
              <a:gd name="T19" fmla="*/ 0 h 69"/>
              <a:gd name="T20" fmla="*/ 424060947 w 151"/>
              <a:gd name="T21" fmla="*/ 10166488 h 69"/>
              <a:gd name="T22" fmla="*/ 408733552 w 151"/>
              <a:gd name="T23" fmla="*/ 0 h 6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51" h="69">
                <a:moveTo>
                  <a:pt x="80" y="0"/>
                </a:move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1" y="4"/>
                </a:cubicBezTo>
                <a:cubicBezTo>
                  <a:pt x="21" y="65"/>
                  <a:pt x="21" y="65"/>
                  <a:pt x="21" y="65"/>
                </a:cubicBezTo>
                <a:cubicBezTo>
                  <a:pt x="21" y="67"/>
                  <a:pt x="25" y="69"/>
                  <a:pt x="28" y="69"/>
                </a:cubicBezTo>
                <a:cubicBezTo>
                  <a:pt x="146" y="69"/>
                  <a:pt x="146" y="69"/>
                  <a:pt x="146" y="69"/>
                </a:cubicBezTo>
                <a:cubicBezTo>
                  <a:pt x="149" y="69"/>
                  <a:pt x="151" y="67"/>
                  <a:pt x="151" y="65"/>
                </a:cubicBezTo>
                <a:cubicBezTo>
                  <a:pt x="131" y="4"/>
                  <a:pt x="131" y="4"/>
                  <a:pt x="131" y="4"/>
                </a:cubicBezTo>
                <a:cubicBezTo>
                  <a:pt x="130" y="2"/>
                  <a:pt x="127" y="0"/>
                  <a:pt x="124" y="0"/>
                </a:cubicBezTo>
                <a:cubicBezTo>
                  <a:pt x="86" y="0"/>
                  <a:pt x="86" y="0"/>
                  <a:pt x="86" y="0"/>
                </a:cubicBezTo>
                <a:cubicBezTo>
                  <a:pt x="83" y="2"/>
                  <a:pt x="83" y="2"/>
                  <a:pt x="83" y="2"/>
                </a:cubicBezTo>
                <a:lnTo>
                  <a:pt x="8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27" name="Freeform 10"/>
          <p:cNvSpPr>
            <a:spLocks/>
          </p:cNvSpPr>
          <p:nvPr/>
        </p:nvSpPr>
        <p:spPr bwMode="auto">
          <a:xfrm>
            <a:off x="2326218" y="1739901"/>
            <a:ext cx="171449" cy="260351"/>
          </a:xfrm>
          <a:custGeom>
            <a:avLst/>
            <a:gdLst>
              <a:gd name="T0" fmla="*/ 0 w 57"/>
              <a:gd name="T1" fmla="*/ 164965448 h 86"/>
              <a:gd name="T2" fmla="*/ 152673375 w 57"/>
              <a:gd name="T3" fmla="*/ 164965448 h 86"/>
              <a:gd name="T4" fmla="*/ 188298742 w 57"/>
              <a:gd name="T5" fmla="*/ 175275789 h 86"/>
              <a:gd name="T6" fmla="*/ 213743177 w 57"/>
              <a:gd name="T7" fmla="*/ 206206810 h 86"/>
              <a:gd name="T8" fmla="*/ 290080992 w 57"/>
              <a:gd name="T9" fmla="*/ 443344642 h 86"/>
              <a:gd name="T10" fmla="*/ 290080992 w 57"/>
              <a:gd name="T11" fmla="*/ 67018349 h 86"/>
              <a:gd name="T12" fmla="*/ 244279205 w 57"/>
              <a:gd name="T13" fmla="*/ 0 h 86"/>
              <a:gd name="T14" fmla="*/ 86516492 w 57"/>
              <a:gd name="T15" fmla="*/ 0 h 86"/>
              <a:gd name="T16" fmla="*/ 45801787 w 57"/>
              <a:gd name="T17" fmla="*/ 30931022 h 86"/>
              <a:gd name="T18" fmla="*/ 193388080 w 57"/>
              <a:gd name="T19" fmla="*/ 30931022 h 86"/>
              <a:gd name="T20" fmla="*/ 0 w 57"/>
              <a:gd name="T21" fmla="*/ 164965448 h 8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7" h="86">
                <a:moveTo>
                  <a:pt x="0" y="32"/>
                </a:moveTo>
                <a:cubicBezTo>
                  <a:pt x="30" y="32"/>
                  <a:pt x="30" y="32"/>
                  <a:pt x="30" y="32"/>
                </a:cubicBezTo>
                <a:cubicBezTo>
                  <a:pt x="32" y="32"/>
                  <a:pt x="35" y="33"/>
                  <a:pt x="37" y="34"/>
                </a:cubicBezTo>
                <a:cubicBezTo>
                  <a:pt x="39" y="35"/>
                  <a:pt x="41" y="37"/>
                  <a:pt x="42" y="40"/>
                </a:cubicBezTo>
                <a:cubicBezTo>
                  <a:pt x="57" y="86"/>
                  <a:pt x="57" y="86"/>
                  <a:pt x="57" y="86"/>
                </a:cubicBezTo>
                <a:cubicBezTo>
                  <a:pt x="57" y="13"/>
                  <a:pt x="57" y="13"/>
                  <a:pt x="57" y="13"/>
                </a:cubicBezTo>
                <a:cubicBezTo>
                  <a:pt x="57" y="13"/>
                  <a:pt x="57" y="0"/>
                  <a:pt x="48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4" y="0"/>
                  <a:pt x="11" y="2"/>
                  <a:pt x="9" y="6"/>
                </a:cubicBezTo>
                <a:cubicBezTo>
                  <a:pt x="38" y="6"/>
                  <a:pt x="38" y="6"/>
                  <a:pt x="38" y="6"/>
                </a:cubicBezTo>
                <a:lnTo>
                  <a:pt x="0" y="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28" name="Freeform 11"/>
          <p:cNvSpPr>
            <a:spLocks/>
          </p:cNvSpPr>
          <p:nvPr/>
        </p:nvSpPr>
        <p:spPr bwMode="auto">
          <a:xfrm>
            <a:off x="2106084" y="1797051"/>
            <a:ext cx="150283" cy="40216"/>
          </a:xfrm>
          <a:custGeom>
            <a:avLst/>
            <a:gdLst>
              <a:gd name="T0" fmla="*/ 30488596 w 50"/>
              <a:gd name="T1" fmla="*/ 0 h 13"/>
              <a:gd name="T2" fmla="*/ 0 w 50"/>
              <a:gd name="T3" fmla="*/ 32298862 h 13"/>
              <a:gd name="T4" fmla="*/ 0 w 50"/>
              <a:gd name="T5" fmla="*/ 69982800 h 13"/>
              <a:gd name="T6" fmla="*/ 254079899 w 50"/>
              <a:gd name="T7" fmla="*/ 69982800 h 13"/>
              <a:gd name="T8" fmla="*/ 157528545 w 50"/>
              <a:gd name="T9" fmla="*/ 0 h 13"/>
              <a:gd name="T10" fmla="*/ 30488596 w 50"/>
              <a:gd name="T11" fmla="*/ 0 h 1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0" h="13">
                <a:moveTo>
                  <a:pt x="6" y="0"/>
                </a:moveTo>
                <a:cubicBezTo>
                  <a:pt x="3" y="0"/>
                  <a:pt x="0" y="3"/>
                  <a:pt x="0" y="6"/>
                </a:cubicBezTo>
                <a:cubicBezTo>
                  <a:pt x="0" y="13"/>
                  <a:pt x="0" y="13"/>
                  <a:pt x="0" y="13"/>
                </a:cubicBezTo>
                <a:cubicBezTo>
                  <a:pt x="50" y="13"/>
                  <a:pt x="50" y="13"/>
                  <a:pt x="50" y="13"/>
                </a:cubicBezTo>
                <a:cubicBezTo>
                  <a:pt x="31" y="0"/>
                  <a:pt x="31" y="0"/>
                  <a:pt x="31" y="0"/>
                </a:cubicBezTo>
                <a:lnTo>
                  <a:pt x="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29" name="Freeform 12"/>
          <p:cNvSpPr>
            <a:spLocks noEditPoints="1"/>
          </p:cNvSpPr>
          <p:nvPr/>
        </p:nvSpPr>
        <p:spPr bwMode="auto">
          <a:xfrm>
            <a:off x="2956985" y="1566334"/>
            <a:ext cx="408516" cy="444500"/>
          </a:xfrm>
          <a:custGeom>
            <a:avLst/>
            <a:gdLst>
              <a:gd name="T0" fmla="*/ 634414835 w 136"/>
              <a:gd name="T1" fmla="*/ 279064158 h 148"/>
              <a:gd name="T2" fmla="*/ 340046766 w 136"/>
              <a:gd name="T3" fmla="*/ 0 h 148"/>
              <a:gd name="T4" fmla="*/ 45678697 w 136"/>
              <a:gd name="T5" fmla="*/ 273991452 h 148"/>
              <a:gd name="T6" fmla="*/ 0 w 136"/>
              <a:gd name="T7" fmla="*/ 319657069 h 148"/>
              <a:gd name="T8" fmla="*/ 0 w 136"/>
              <a:gd name="T9" fmla="*/ 725568162 h 148"/>
              <a:gd name="T10" fmla="*/ 25376053 w 136"/>
              <a:gd name="T11" fmla="*/ 750938450 h 148"/>
              <a:gd name="T12" fmla="*/ 664866549 w 136"/>
              <a:gd name="T13" fmla="*/ 750938450 h 148"/>
              <a:gd name="T14" fmla="*/ 690242601 w 136"/>
              <a:gd name="T15" fmla="*/ 725568162 h 148"/>
              <a:gd name="T16" fmla="*/ 690242601 w 136"/>
              <a:gd name="T17" fmla="*/ 319657069 h 148"/>
              <a:gd name="T18" fmla="*/ 634414835 w 136"/>
              <a:gd name="T19" fmla="*/ 279064158 h 148"/>
              <a:gd name="T20" fmla="*/ 345122427 w 136"/>
              <a:gd name="T21" fmla="*/ 76108611 h 148"/>
              <a:gd name="T22" fmla="*/ 614112190 w 136"/>
              <a:gd name="T23" fmla="*/ 324729775 h 148"/>
              <a:gd name="T24" fmla="*/ 350195835 w 136"/>
              <a:gd name="T25" fmla="*/ 573350939 h 148"/>
              <a:gd name="T26" fmla="*/ 76130411 w 136"/>
              <a:gd name="T27" fmla="*/ 324729775 h 148"/>
              <a:gd name="T28" fmla="*/ 345122427 w 136"/>
              <a:gd name="T29" fmla="*/ 76108611 h 148"/>
              <a:gd name="T30" fmla="*/ 45678697 w 136"/>
              <a:gd name="T31" fmla="*/ 370395393 h 148"/>
              <a:gd name="T32" fmla="*/ 208088588 w 136"/>
              <a:gd name="T33" fmla="*/ 522612616 h 148"/>
              <a:gd name="T34" fmla="*/ 45678697 w 136"/>
              <a:gd name="T35" fmla="*/ 674829839 h 148"/>
              <a:gd name="T36" fmla="*/ 45678697 w 136"/>
              <a:gd name="T37" fmla="*/ 370395393 h 148"/>
              <a:gd name="T38" fmla="*/ 71054750 w 136"/>
              <a:gd name="T39" fmla="*/ 710347791 h 148"/>
              <a:gd name="T40" fmla="*/ 243615963 w 136"/>
              <a:gd name="T41" fmla="*/ 553055610 h 148"/>
              <a:gd name="T42" fmla="*/ 345122427 w 136"/>
              <a:gd name="T43" fmla="*/ 649459551 h 148"/>
              <a:gd name="T44" fmla="*/ 446626638 w 136"/>
              <a:gd name="T45" fmla="*/ 553055610 h 148"/>
              <a:gd name="T46" fmla="*/ 619187851 w 136"/>
              <a:gd name="T47" fmla="*/ 710347791 h 148"/>
              <a:gd name="T48" fmla="*/ 71054750 w 136"/>
              <a:gd name="T49" fmla="*/ 710347791 h 148"/>
              <a:gd name="T50" fmla="*/ 644563904 w 136"/>
              <a:gd name="T51" fmla="*/ 674829839 h 148"/>
              <a:gd name="T52" fmla="*/ 487229674 w 136"/>
              <a:gd name="T53" fmla="*/ 522612616 h 148"/>
              <a:gd name="T54" fmla="*/ 644563904 w 136"/>
              <a:gd name="T55" fmla="*/ 370395393 h 148"/>
              <a:gd name="T56" fmla="*/ 644563904 w 136"/>
              <a:gd name="T57" fmla="*/ 674829839 h 14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136" h="148">
                <a:moveTo>
                  <a:pt x="125" y="55"/>
                </a:moveTo>
                <a:cubicBezTo>
                  <a:pt x="67" y="0"/>
                  <a:pt x="67" y="0"/>
                  <a:pt x="67" y="0"/>
                </a:cubicBezTo>
                <a:cubicBezTo>
                  <a:pt x="9" y="54"/>
                  <a:pt x="9" y="54"/>
                  <a:pt x="9" y="54"/>
                </a:cubicBezTo>
                <a:cubicBezTo>
                  <a:pt x="2" y="54"/>
                  <a:pt x="0" y="58"/>
                  <a:pt x="0" y="63"/>
                </a:cubicBezTo>
                <a:cubicBezTo>
                  <a:pt x="0" y="143"/>
                  <a:pt x="0" y="143"/>
                  <a:pt x="0" y="143"/>
                </a:cubicBezTo>
                <a:cubicBezTo>
                  <a:pt x="0" y="146"/>
                  <a:pt x="2" y="148"/>
                  <a:pt x="5" y="148"/>
                </a:cubicBezTo>
                <a:cubicBezTo>
                  <a:pt x="131" y="148"/>
                  <a:pt x="131" y="148"/>
                  <a:pt x="131" y="148"/>
                </a:cubicBezTo>
                <a:cubicBezTo>
                  <a:pt x="134" y="148"/>
                  <a:pt x="136" y="146"/>
                  <a:pt x="136" y="143"/>
                </a:cubicBezTo>
                <a:cubicBezTo>
                  <a:pt x="136" y="63"/>
                  <a:pt x="136" y="63"/>
                  <a:pt x="136" y="63"/>
                </a:cubicBezTo>
                <a:cubicBezTo>
                  <a:pt x="136" y="60"/>
                  <a:pt x="134" y="54"/>
                  <a:pt x="125" y="55"/>
                </a:cubicBezTo>
                <a:close/>
                <a:moveTo>
                  <a:pt x="68" y="15"/>
                </a:moveTo>
                <a:cubicBezTo>
                  <a:pt x="121" y="64"/>
                  <a:pt x="121" y="64"/>
                  <a:pt x="121" y="64"/>
                </a:cubicBezTo>
                <a:cubicBezTo>
                  <a:pt x="69" y="113"/>
                  <a:pt x="69" y="113"/>
                  <a:pt x="69" y="113"/>
                </a:cubicBezTo>
                <a:cubicBezTo>
                  <a:pt x="15" y="64"/>
                  <a:pt x="15" y="64"/>
                  <a:pt x="15" y="64"/>
                </a:cubicBezTo>
                <a:lnTo>
                  <a:pt x="68" y="15"/>
                </a:lnTo>
                <a:close/>
                <a:moveTo>
                  <a:pt x="9" y="73"/>
                </a:moveTo>
                <a:cubicBezTo>
                  <a:pt x="41" y="103"/>
                  <a:pt x="41" y="103"/>
                  <a:pt x="41" y="103"/>
                </a:cubicBezTo>
                <a:cubicBezTo>
                  <a:pt x="9" y="133"/>
                  <a:pt x="9" y="133"/>
                  <a:pt x="9" y="133"/>
                </a:cubicBezTo>
                <a:lnTo>
                  <a:pt x="9" y="73"/>
                </a:lnTo>
                <a:close/>
                <a:moveTo>
                  <a:pt x="14" y="140"/>
                </a:moveTo>
                <a:cubicBezTo>
                  <a:pt x="48" y="109"/>
                  <a:pt x="48" y="109"/>
                  <a:pt x="48" y="109"/>
                </a:cubicBezTo>
                <a:cubicBezTo>
                  <a:pt x="68" y="128"/>
                  <a:pt x="68" y="128"/>
                  <a:pt x="68" y="128"/>
                </a:cubicBezTo>
                <a:cubicBezTo>
                  <a:pt x="88" y="109"/>
                  <a:pt x="88" y="109"/>
                  <a:pt x="88" y="109"/>
                </a:cubicBezTo>
                <a:cubicBezTo>
                  <a:pt x="122" y="140"/>
                  <a:pt x="122" y="140"/>
                  <a:pt x="122" y="140"/>
                </a:cubicBezTo>
                <a:lnTo>
                  <a:pt x="14" y="140"/>
                </a:lnTo>
                <a:close/>
                <a:moveTo>
                  <a:pt x="127" y="133"/>
                </a:moveTo>
                <a:cubicBezTo>
                  <a:pt x="96" y="103"/>
                  <a:pt x="96" y="103"/>
                  <a:pt x="96" y="103"/>
                </a:cubicBezTo>
                <a:cubicBezTo>
                  <a:pt x="127" y="73"/>
                  <a:pt x="127" y="73"/>
                  <a:pt x="127" y="73"/>
                </a:cubicBezTo>
                <a:lnTo>
                  <a:pt x="127" y="1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0" name="Freeform 13"/>
          <p:cNvSpPr>
            <a:spLocks noEditPoints="1"/>
          </p:cNvSpPr>
          <p:nvPr/>
        </p:nvSpPr>
        <p:spPr bwMode="auto">
          <a:xfrm>
            <a:off x="3071285" y="1716618"/>
            <a:ext cx="179916" cy="154516"/>
          </a:xfrm>
          <a:custGeom>
            <a:avLst/>
            <a:gdLst>
              <a:gd name="T0" fmla="*/ 151734408 w 60"/>
              <a:gd name="T1" fmla="*/ 263331621 h 51"/>
              <a:gd name="T2" fmla="*/ 156790047 w 60"/>
              <a:gd name="T3" fmla="*/ 258168968 h 51"/>
              <a:gd name="T4" fmla="*/ 146676519 w 60"/>
              <a:gd name="T5" fmla="*/ 258168968 h 51"/>
              <a:gd name="T6" fmla="*/ 151734408 w 60"/>
              <a:gd name="T7" fmla="*/ 263331621 h 51"/>
              <a:gd name="T8" fmla="*/ 283235012 w 60"/>
              <a:gd name="T9" fmla="*/ 0 h 51"/>
              <a:gd name="T10" fmla="*/ 25289443 w 60"/>
              <a:gd name="T11" fmla="*/ 0 h 51"/>
              <a:gd name="T12" fmla="*/ 0 w 60"/>
              <a:gd name="T13" fmla="*/ 0 h 51"/>
              <a:gd name="T14" fmla="*/ 0 w 60"/>
              <a:gd name="T15" fmla="*/ 92941374 h 51"/>
              <a:gd name="T16" fmla="*/ 0 w 60"/>
              <a:gd name="T17" fmla="*/ 123921832 h 51"/>
              <a:gd name="T18" fmla="*/ 35405220 w 60"/>
              <a:gd name="T19" fmla="*/ 160064942 h 51"/>
              <a:gd name="T20" fmla="*/ 156790047 w 60"/>
              <a:gd name="T21" fmla="*/ 160064942 h 51"/>
              <a:gd name="T22" fmla="*/ 161847936 w 60"/>
              <a:gd name="T23" fmla="*/ 165227594 h 51"/>
              <a:gd name="T24" fmla="*/ 156790047 w 60"/>
              <a:gd name="T25" fmla="*/ 175555171 h 51"/>
              <a:gd name="T26" fmla="*/ 60692414 w 60"/>
              <a:gd name="T27" fmla="*/ 175555171 h 51"/>
              <a:gd name="T28" fmla="*/ 80923968 w 60"/>
              <a:gd name="T29" fmla="*/ 201370705 h 51"/>
              <a:gd name="T30" fmla="*/ 222542598 w 60"/>
              <a:gd name="T31" fmla="*/ 201370705 h 51"/>
              <a:gd name="T32" fmla="*/ 303466566 w 60"/>
              <a:gd name="T33" fmla="*/ 123921832 h 51"/>
              <a:gd name="T34" fmla="*/ 303466566 w 60"/>
              <a:gd name="T35" fmla="*/ 92941374 h 51"/>
              <a:gd name="T36" fmla="*/ 303466566 w 60"/>
              <a:gd name="T37" fmla="*/ 0 h 51"/>
              <a:gd name="T38" fmla="*/ 283235012 w 60"/>
              <a:gd name="T39" fmla="*/ 0 h 51"/>
              <a:gd name="T40" fmla="*/ 273119235 w 60"/>
              <a:gd name="T41" fmla="*/ 134247136 h 51"/>
              <a:gd name="T42" fmla="*/ 30347331 w 60"/>
              <a:gd name="T43" fmla="*/ 134247136 h 51"/>
              <a:gd name="T44" fmla="*/ 25289443 w 60"/>
              <a:gd name="T45" fmla="*/ 129084484 h 51"/>
              <a:gd name="T46" fmla="*/ 30347331 w 60"/>
              <a:gd name="T47" fmla="*/ 118756907 h 51"/>
              <a:gd name="T48" fmla="*/ 273119235 w 60"/>
              <a:gd name="T49" fmla="*/ 118756907 h 51"/>
              <a:gd name="T50" fmla="*/ 278177123 w 60"/>
              <a:gd name="T51" fmla="*/ 129084484 h 51"/>
              <a:gd name="T52" fmla="*/ 273119235 w 60"/>
              <a:gd name="T53" fmla="*/ 134247136 h 51"/>
              <a:gd name="T54" fmla="*/ 273119235 w 60"/>
              <a:gd name="T55" fmla="*/ 98104026 h 51"/>
              <a:gd name="T56" fmla="*/ 30347331 w 60"/>
              <a:gd name="T57" fmla="*/ 98104026 h 51"/>
              <a:gd name="T58" fmla="*/ 25289443 w 60"/>
              <a:gd name="T59" fmla="*/ 87776449 h 51"/>
              <a:gd name="T60" fmla="*/ 30347331 w 60"/>
              <a:gd name="T61" fmla="*/ 77451145 h 51"/>
              <a:gd name="T62" fmla="*/ 273119235 w 60"/>
              <a:gd name="T63" fmla="*/ 77451145 h 51"/>
              <a:gd name="T64" fmla="*/ 278177123 w 60"/>
              <a:gd name="T65" fmla="*/ 87776449 h 51"/>
              <a:gd name="T66" fmla="*/ 273119235 w 60"/>
              <a:gd name="T67" fmla="*/ 98104026 h 51"/>
              <a:gd name="T68" fmla="*/ 273119235 w 60"/>
              <a:gd name="T69" fmla="*/ 56795991 h 51"/>
              <a:gd name="T70" fmla="*/ 30347331 w 60"/>
              <a:gd name="T71" fmla="*/ 56795991 h 51"/>
              <a:gd name="T72" fmla="*/ 25289443 w 60"/>
              <a:gd name="T73" fmla="*/ 46470687 h 51"/>
              <a:gd name="T74" fmla="*/ 30347331 w 60"/>
              <a:gd name="T75" fmla="*/ 36143110 h 51"/>
              <a:gd name="T76" fmla="*/ 273119235 w 60"/>
              <a:gd name="T77" fmla="*/ 36143110 h 51"/>
              <a:gd name="T78" fmla="*/ 278177123 w 60"/>
              <a:gd name="T79" fmla="*/ 46470687 h 51"/>
              <a:gd name="T80" fmla="*/ 273119235 w 60"/>
              <a:gd name="T81" fmla="*/ 56795991 h 51"/>
              <a:gd name="T82" fmla="*/ 126444965 w 60"/>
              <a:gd name="T83" fmla="*/ 242678739 h 51"/>
              <a:gd name="T84" fmla="*/ 177021601 w 60"/>
              <a:gd name="T85" fmla="*/ 242678739 h 51"/>
              <a:gd name="T86" fmla="*/ 197253156 w 60"/>
              <a:gd name="T87" fmla="*/ 222023586 h 51"/>
              <a:gd name="T88" fmla="*/ 106213411 w 60"/>
              <a:gd name="T89" fmla="*/ 222023586 h 51"/>
              <a:gd name="T90" fmla="*/ 126444965 w 60"/>
              <a:gd name="T91" fmla="*/ 242678739 h 5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60" h="51">
                <a:moveTo>
                  <a:pt x="30" y="51"/>
                </a:moveTo>
                <a:cubicBezTo>
                  <a:pt x="31" y="50"/>
                  <a:pt x="31" y="50"/>
                  <a:pt x="31" y="50"/>
                </a:cubicBezTo>
                <a:cubicBezTo>
                  <a:pt x="29" y="50"/>
                  <a:pt x="29" y="50"/>
                  <a:pt x="29" y="50"/>
                </a:cubicBezTo>
                <a:lnTo>
                  <a:pt x="30" y="51"/>
                </a:lnTo>
                <a:close/>
                <a:moveTo>
                  <a:pt x="56" y="0"/>
                </a:moveTo>
                <a:cubicBezTo>
                  <a:pt x="5" y="0"/>
                  <a:pt x="5" y="0"/>
                  <a:pt x="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24"/>
                  <a:pt x="0" y="24"/>
                  <a:pt x="0" y="24"/>
                </a:cubicBezTo>
                <a:cubicBezTo>
                  <a:pt x="7" y="31"/>
                  <a:pt x="7" y="31"/>
                  <a:pt x="7" y="31"/>
                </a:cubicBezTo>
                <a:cubicBezTo>
                  <a:pt x="31" y="31"/>
                  <a:pt x="31" y="31"/>
                  <a:pt x="31" y="31"/>
                </a:cubicBezTo>
                <a:cubicBezTo>
                  <a:pt x="32" y="31"/>
                  <a:pt x="32" y="31"/>
                  <a:pt x="32" y="32"/>
                </a:cubicBezTo>
                <a:cubicBezTo>
                  <a:pt x="32" y="34"/>
                  <a:pt x="32" y="34"/>
                  <a:pt x="31" y="34"/>
                </a:cubicBezTo>
                <a:cubicBezTo>
                  <a:pt x="12" y="34"/>
                  <a:pt x="12" y="34"/>
                  <a:pt x="12" y="34"/>
                </a:cubicBezTo>
                <a:cubicBezTo>
                  <a:pt x="16" y="39"/>
                  <a:pt x="16" y="39"/>
                  <a:pt x="16" y="39"/>
                </a:cubicBezTo>
                <a:cubicBezTo>
                  <a:pt x="44" y="39"/>
                  <a:pt x="44" y="39"/>
                  <a:pt x="44" y="39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8"/>
                  <a:pt x="60" y="18"/>
                  <a:pt x="60" y="18"/>
                </a:cubicBezTo>
                <a:cubicBezTo>
                  <a:pt x="60" y="0"/>
                  <a:pt x="60" y="0"/>
                  <a:pt x="60" y="0"/>
                </a:cubicBezTo>
                <a:lnTo>
                  <a:pt x="56" y="0"/>
                </a:lnTo>
                <a:close/>
                <a:moveTo>
                  <a:pt x="54" y="26"/>
                </a:moveTo>
                <a:cubicBezTo>
                  <a:pt x="6" y="26"/>
                  <a:pt x="6" y="26"/>
                  <a:pt x="6" y="26"/>
                </a:cubicBezTo>
                <a:cubicBezTo>
                  <a:pt x="6" y="26"/>
                  <a:pt x="5" y="26"/>
                  <a:pt x="5" y="25"/>
                </a:cubicBezTo>
                <a:cubicBezTo>
                  <a:pt x="5" y="23"/>
                  <a:pt x="6" y="23"/>
                  <a:pt x="6" y="23"/>
                </a:cubicBezTo>
                <a:cubicBezTo>
                  <a:pt x="54" y="23"/>
                  <a:pt x="54" y="23"/>
                  <a:pt x="54" y="23"/>
                </a:cubicBezTo>
                <a:cubicBezTo>
                  <a:pt x="54" y="23"/>
                  <a:pt x="55" y="23"/>
                  <a:pt x="55" y="25"/>
                </a:cubicBezTo>
                <a:cubicBezTo>
                  <a:pt x="55" y="26"/>
                  <a:pt x="54" y="26"/>
                  <a:pt x="54" y="26"/>
                </a:cubicBezTo>
                <a:close/>
                <a:moveTo>
                  <a:pt x="54" y="19"/>
                </a:moveTo>
                <a:cubicBezTo>
                  <a:pt x="6" y="19"/>
                  <a:pt x="6" y="19"/>
                  <a:pt x="6" y="19"/>
                </a:cubicBezTo>
                <a:cubicBezTo>
                  <a:pt x="6" y="19"/>
                  <a:pt x="5" y="18"/>
                  <a:pt x="5" y="17"/>
                </a:cubicBezTo>
                <a:cubicBezTo>
                  <a:pt x="5" y="16"/>
                  <a:pt x="6" y="15"/>
                  <a:pt x="6" y="15"/>
                </a:cubicBezTo>
                <a:cubicBezTo>
                  <a:pt x="54" y="15"/>
                  <a:pt x="54" y="15"/>
                  <a:pt x="54" y="15"/>
                </a:cubicBezTo>
                <a:cubicBezTo>
                  <a:pt x="54" y="15"/>
                  <a:pt x="55" y="16"/>
                  <a:pt x="55" y="17"/>
                </a:cubicBezTo>
                <a:cubicBezTo>
                  <a:pt x="55" y="18"/>
                  <a:pt x="54" y="19"/>
                  <a:pt x="54" y="19"/>
                </a:cubicBezTo>
                <a:close/>
                <a:moveTo>
                  <a:pt x="54" y="11"/>
                </a:moveTo>
                <a:cubicBezTo>
                  <a:pt x="6" y="11"/>
                  <a:pt x="6" y="11"/>
                  <a:pt x="6" y="11"/>
                </a:cubicBezTo>
                <a:cubicBezTo>
                  <a:pt x="6" y="11"/>
                  <a:pt x="5" y="10"/>
                  <a:pt x="5" y="9"/>
                </a:cubicBezTo>
                <a:cubicBezTo>
                  <a:pt x="5" y="8"/>
                  <a:pt x="6" y="7"/>
                  <a:pt x="6" y="7"/>
                </a:cubicBezTo>
                <a:cubicBezTo>
                  <a:pt x="54" y="7"/>
                  <a:pt x="54" y="7"/>
                  <a:pt x="54" y="7"/>
                </a:cubicBezTo>
                <a:cubicBezTo>
                  <a:pt x="54" y="7"/>
                  <a:pt x="55" y="8"/>
                  <a:pt x="55" y="9"/>
                </a:cubicBezTo>
                <a:cubicBezTo>
                  <a:pt x="55" y="10"/>
                  <a:pt x="54" y="11"/>
                  <a:pt x="54" y="11"/>
                </a:cubicBezTo>
                <a:close/>
                <a:moveTo>
                  <a:pt x="25" y="47"/>
                </a:moveTo>
                <a:cubicBezTo>
                  <a:pt x="35" y="47"/>
                  <a:pt x="35" y="47"/>
                  <a:pt x="35" y="47"/>
                </a:cubicBezTo>
                <a:cubicBezTo>
                  <a:pt x="39" y="43"/>
                  <a:pt x="39" y="43"/>
                  <a:pt x="39" y="43"/>
                </a:cubicBezTo>
                <a:cubicBezTo>
                  <a:pt x="21" y="43"/>
                  <a:pt x="21" y="43"/>
                  <a:pt x="21" y="43"/>
                </a:cubicBezTo>
                <a:lnTo>
                  <a:pt x="25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1" name="Freeform 14"/>
          <p:cNvSpPr>
            <a:spLocks noEditPoints="1"/>
          </p:cNvSpPr>
          <p:nvPr/>
        </p:nvSpPr>
        <p:spPr bwMode="auto">
          <a:xfrm>
            <a:off x="3718984" y="1602317"/>
            <a:ext cx="541867" cy="421216"/>
          </a:xfrm>
          <a:custGeom>
            <a:avLst/>
            <a:gdLst>
              <a:gd name="T0" fmla="*/ 270170204 w 180"/>
              <a:gd name="T1" fmla="*/ 712862198 h 140"/>
              <a:gd name="T2" fmla="*/ 677974542 w 180"/>
              <a:gd name="T3" fmla="*/ 682311251 h 140"/>
              <a:gd name="T4" fmla="*/ 239586347 w 180"/>
              <a:gd name="T5" fmla="*/ 519370611 h 140"/>
              <a:gd name="T6" fmla="*/ 321146311 w 180"/>
              <a:gd name="T7" fmla="*/ 539737909 h 140"/>
              <a:gd name="T8" fmla="*/ 601512640 w 180"/>
              <a:gd name="T9" fmla="*/ 549921557 h 140"/>
              <a:gd name="T10" fmla="*/ 321146311 w 180"/>
              <a:gd name="T11" fmla="*/ 560105206 h 140"/>
              <a:gd name="T12" fmla="*/ 321146311 w 180"/>
              <a:gd name="T13" fmla="*/ 539737909 h 140"/>
              <a:gd name="T14" fmla="*/ 596414578 w 180"/>
              <a:gd name="T15" fmla="*/ 575381808 h 140"/>
              <a:gd name="T16" fmla="*/ 596414578 w 180"/>
              <a:gd name="T17" fmla="*/ 590656153 h 140"/>
              <a:gd name="T18" fmla="*/ 316048249 w 180"/>
              <a:gd name="T19" fmla="*/ 585565457 h 140"/>
              <a:gd name="T20" fmla="*/ 321146311 w 180"/>
              <a:gd name="T21" fmla="*/ 605932755 h 140"/>
              <a:gd name="T22" fmla="*/ 601512640 w 180"/>
              <a:gd name="T23" fmla="*/ 616116404 h 140"/>
              <a:gd name="T24" fmla="*/ 321146311 w 180"/>
              <a:gd name="T25" fmla="*/ 621209357 h 140"/>
              <a:gd name="T26" fmla="*/ 321146311 w 180"/>
              <a:gd name="T27" fmla="*/ 605932755 h 140"/>
              <a:gd name="T28" fmla="*/ 596414578 w 180"/>
              <a:gd name="T29" fmla="*/ 636483702 h 140"/>
              <a:gd name="T30" fmla="*/ 596414578 w 180"/>
              <a:gd name="T31" fmla="*/ 656851000 h 140"/>
              <a:gd name="T32" fmla="*/ 316048249 w 180"/>
              <a:gd name="T33" fmla="*/ 646667351 h 140"/>
              <a:gd name="T34" fmla="*/ 321146311 w 180"/>
              <a:gd name="T35" fmla="*/ 672127602 h 140"/>
              <a:gd name="T36" fmla="*/ 601512640 w 180"/>
              <a:gd name="T37" fmla="*/ 682311251 h 140"/>
              <a:gd name="T38" fmla="*/ 321146311 w 180"/>
              <a:gd name="T39" fmla="*/ 687401947 h 140"/>
              <a:gd name="T40" fmla="*/ 321146311 w 180"/>
              <a:gd name="T41" fmla="*/ 672127602 h 140"/>
              <a:gd name="T42" fmla="*/ 642292622 w 180"/>
              <a:gd name="T43" fmla="*/ 0 h 140"/>
              <a:gd name="T44" fmla="*/ 239586347 w 180"/>
              <a:gd name="T45" fmla="*/ 30550947 h 140"/>
              <a:gd name="T46" fmla="*/ 677974542 w 180"/>
              <a:gd name="T47" fmla="*/ 193491587 h 140"/>
              <a:gd name="T48" fmla="*/ 851292853 w 180"/>
              <a:gd name="T49" fmla="*/ 193491587 h 140"/>
              <a:gd name="T50" fmla="*/ 677974542 w 180"/>
              <a:gd name="T51" fmla="*/ 310604678 h 140"/>
              <a:gd name="T52" fmla="*/ 270170204 w 180"/>
              <a:gd name="T53" fmla="*/ 341155625 h 140"/>
              <a:gd name="T54" fmla="*/ 239586347 w 180"/>
              <a:gd name="T55" fmla="*/ 193491587 h 140"/>
              <a:gd name="T56" fmla="*/ 0 w 180"/>
              <a:gd name="T57" fmla="*/ 376799525 h 140"/>
              <a:gd name="T58" fmla="*/ 152926062 w 180"/>
              <a:gd name="T59" fmla="*/ 570288855 h 140"/>
              <a:gd name="T60" fmla="*/ 178414116 w 180"/>
              <a:gd name="T61" fmla="*/ 478636015 h 140"/>
              <a:gd name="T62" fmla="*/ 764634827 w 180"/>
              <a:gd name="T63" fmla="*/ 499003313 h 140"/>
              <a:gd name="T64" fmla="*/ 856390916 w 180"/>
              <a:gd name="T65" fmla="*/ 570288855 h 140"/>
              <a:gd name="T66" fmla="*/ 851292853 w 180"/>
              <a:gd name="T67" fmla="*/ 193491587 h 140"/>
              <a:gd name="T68" fmla="*/ 86658027 w 180"/>
              <a:gd name="T69" fmla="*/ 234226183 h 140"/>
              <a:gd name="T70" fmla="*/ 147830258 w 180"/>
              <a:gd name="T71" fmla="*/ 234226183 h 140"/>
              <a:gd name="T72" fmla="*/ 749340640 w 180"/>
              <a:gd name="T73" fmla="*/ 249502785 h 140"/>
              <a:gd name="T74" fmla="*/ 749340640 w 180"/>
              <a:gd name="T75" fmla="*/ 213858885 h 140"/>
              <a:gd name="T76" fmla="*/ 749340640 w 180"/>
              <a:gd name="T77" fmla="*/ 249502785 h 140"/>
              <a:gd name="T78" fmla="*/ 785024818 w 180"/>
              <a:gd name="T79" fmla="*/ 234226183 h 140"/>
              <a:gd name="T80" fmla="*/ 825804800 w 180"/>
              <a:gd name="T81" fmla="*/ 234226183 h 140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80" h="140">
                <a:moveTo>
                  <a:pt x="47" y="134"/>
                </a:moveTo>
                <a:cubicBezTo>
                  <a:pt x="47" y="137"/>
                  <a:pt x="50" y="140"/>
                  <a:pt x="53" y="140"/>
                </a:cubicBezTo>
                <a:cubicBezTo>
                  <a:pt x="126" y="140"/>
                  <a:pt x="126" y="140"/>
                  <a:pt x="126" y="140"/>
                </a:cubicBezTo>
                <a:cubicBezTo>
                  <a:pt x="130" y="140"/>
                  <a:pt x="133" y="137"/>
                  <a:pt x="133" y="134"/>
                </a:cubicBezTo>
                <a:cubicBezTo>
                  <a:pt x="133" y="102"/>
                  <a:pt x="133" y="102"/>
                  <a:pt x="133" y="102"/>
                </a:cubicBezTo>
                <a:cubicBezTo>
                  <a:pt x="47" y="102"/>
                  <a:pt x="47" y="102"/>
                  <a:pt x="47" y="102"/>
                </a:cubicBezTo>
                <a:lnTo>
                  <a:pt x="47" y="134"/>
                </a:lnTo>
                <a:close/>
                <a:moveTo>
                  <a:pt x="63" y="106"/>
                </a:moveTo>
                <a:cubicBezTo>
                  <a:pt x="117" y="106"/>
                  <a:pt x="117" y="106"/>
                  <a:pt x="117" y="106"/>
                </a:cubicBezTo>
                <a:cubicBezTo>
                  <a:pt x="117" y="106"/>
                  <a:pt x="118" y="107"/>
                  <a:pt x="118" y="108"/>
                </a:cubicBezTo>
                <a:cubicBezTo>
                  <a:pt x="118" y="109"/>
                  <a:pt x="117" y="110"/>
                  <a:pt x="117" y="110"/>
                </a:cubicBezTo>
                <a:cubicBezTo>
                  <a:pt x="63" y="110"/>
                  <a:pt x="63" y="110"/>
                  <a:pt x="63" y="110"/>
                </a:cubicBezTo>
                <a:cubicBezTo>
                  <a:pt x="62" y="110"/>
                  <a:pt x="62" y="109"/>
                  <a:pt x="62" y="108"/>
                </a:cubicBezTo>
                <a:cubicBezTo>
                  <a:pt x="62" y="107"/>
                  <a:pt x="62" y="106"/>
                  <a:pt x="63" y="106"/>
                </a:cubicBezTo>
                <a:close/>
                <a:moveTo>
                  <a:pt x="63" y="113"/>
                </a:moveTo>
                <a:cubicBezTo>
                  <a:pt x="117" y="113"/>
                  <a:pt x="117" y="113"/>
                  <a:pt x="117" y="113"/>
                </a:cubicBezTo>
                <a:cubicBezTo>
                  <a:pt x="117" y="113"/>
                  <a:pt x="118" y="114"/>
                  <a:pt x="118" y="115"/>
                </a:cubicBezTo>
                <a:cubicBezTo>
                  <a:pt x="118" y="116"/>
                  <a:pt x="117" y="116"/>
                  <a:pt x="117" y="116"/>
                </a:cubicBezTo>
                <a:cubicBezTo>
                  <a:pt x="63" y="116"/>
                  <a:pt x="63" y="116"/>
                  <a:pt x="63" y="116"/>
                </a:cubicBezTo>
                <a:cubicBezTo>
                  <a:pt x="62" y="116"/>
                  <a:pt x="62" y="116"/>
                  <a:pt x="62" y="115"/>
                </a:cubicBezTo>
                <a:cubicBezTo>
                  <a:pt x="62" y="114"/>
                  <a:pt x="62" y="113"/>
                  <a:pt x="63" y="113"/>
                </a:cubicBezTo>
                <a:close/>
                <a:moveTo>
                  <a:pt x="63" y="119"/>
                </a:moveTo>
                <a:cubicBezTo>
                  <a:pt x="117" y="119"/>
                  <a:pt x="117" y="119"/>
                  <a:pt x="117" y="119"/>
                </a:cubicBezTo>
                <a:cubicBezTo>
                  <a:pt x="117" y="119"/>
                  <a:pt x="118" y="120"/>
                  <a:pt x="118" y="121"/>
                </a:cubicBezTo>
                <a:cubicBezTo>
                  <a:pt x="118" y="121"/>
                  <a:pt x="117" y="122"/>
                  <a:pt x="117" y="122"/>
                </a:cubicBezTo>
                <a:cubicBezTo>
                  <a:pt x="63" y="122"/>
                  <a:pt x="63" y="122"/>
                  <a:pt x="63" y="122"/>
                </a:cubicBezTo>
                <a:cubicBezTo>
                  <a:pt x="62" y="122"/>
                  <a:pt x="62" y="121"/>
                  <a:pt x="62" y="121"/>
                </a:cubicBezTo>
                <a:cubicBezTo>
                  <a:pt x="62" y="120"/>
                  <a:pt x="62" y="119"/>
                  <a:pt x="63" y="119"/>
                </a:cubicBezTo>
                <a:close/>
                <a:moveTo>
                  <a:pt x="63" y="125"/>
                </a:moveTo>
                <a:cubicBezTo>
                  <a:pt x="117" y="125"/>
                  <a:pt x="117" y="125"/>
                  <a:pt x="117" y="125"/>
                </a:cubicBezTo>
                <a:cubicBezTo>
                  <a:pt x="117" y="125"/>
                  <a:pt x="118" y="126"/>
                  <a:pt x="118" y="127"/>
                </a:cubicBezTo>
                <a:cubicBezTo>
                  <a:pt x="118" y="128"/>
                  <a:pt x="117" y="129"/>
                  <a:pt x="117" y="129"/>
                </a:cubicBezTo>
                <a:cubicBezTo>
                  <a:pt x="63" y="129"/>
                  <a:pt x="63" y="129"/>
                  <a:pt x="63" y="129"/>
                </a:cubicBezTo>
                <a:cubicBezTo>
                  <a:pt x="62" y="129"/>
                  <a:pt x="62" y="128"/>
                  <a:pt x="62" y="127"/>
                </a:cubicBezTo>
                <a:cubicBezTo>
                  <a:pt x="62" y="126"/>
                  <a:pt x="62" y="125"/>
                  <a:pt x="63" y="125"/>
                </a:cubicBezTo>
                <a:close/>
                <a:moveTo>
                  <a:pt x="63" y="132"/>
                </a:moveTo>
                <a:cubicBezTo>
                  <a:pt x="117" y="132"/>
                  <a:pt x="117" y="132"/>
                  <a:pt x="117" y="132"/>
                </a:cubicBezTo>
                <a:cubicBezTo>
                  <a:pt x="117" y="132"/>
                  <a:pt x="118" y="133"/>
                  <a:pt x="118" y="134"/>
                </a:cubicBezTo>
                <a:cubicBezTo>
                  <a:pt x="118" y="135"/>
                  <a:pt x="117" y="135"/>
                  <a:pt x="117" y="135"/>
                </a:cubicBezTo>
                <a:cubicBezTo>
                  <a:pt x="63" y="135"/>
                  <a:pt x="63" y="135"/>
                  <a:pt x="63" y="135"/>
                </a:cubicBezTo>
                <a:cubicBezTo>
                  <a:pt x="62" y="135"/>
                  <a:pt x="62" y="135"/>
                  <a:pt x="62" y="134"/>
                </a:cubicBezTo>
                <a:cubicBezTo>
                  <a:pt x="62" y="133"/>
                  <a:pt x="62" y="132"/>
                  <a:pt x="63" y="132"/>
                </a:cubicBezTo>
                <a:close/>
                <a:moveTo>
                  <a:pt x="133" y="6"/>
                </a:moveTo>
                <a:cubicBezTo>
                  <a:pt x="133" y="3"/>
                  <a:pt x="130" y="0"/>
                  <a:pt x="126" y="0"/>
                </a:cubicBezTo>
                <a:cubicBezTo>
                  <a:pt x="53" y="0"/>
                  <a:pt x="53" y="0"/>
                  <a:pt x="53" y="0"/>
                </a:cubicBezTo>
                <a:cubicBezTo>
                  <a:pt x="50" y="0"/>
                  <a:pt x="47" y="3"/>
                  <a:pt x="47" y="6"/>
                </a:cubicBezTo>
                <a:cubicBezTo>
                  <a:pt x="47" y="38"/>
                  <a:pt x="47" y="38"/>
                  <a:pt x="47" y="38"/>
                </a:cubicBezTo>
                <a:cubicBezTo>
                  <a:pt x="133" y="38"/>
                  <a:pt x="133" y="38"/>
                  <a:pt x="133" y="38"/>
                </a:cubicBezTo>
                <a:lnTo>
                  <a:pt x="133" y="6"/>
                </a:lnTo>
                <a:close/>
                <a:moveTo>
                  <a:pt x="167" y="38"/>
                </a:moveTo>
                <a:cubicBezTo>
                  <a:pt x="133" y="38"/>
                  <a:pt x="133" y="38"/>
                  <a:pt x="133" y="38"/>
                </a:cubicBezTo>
                <a:cubicBezTo>
                  <a:pt x="133" y="61"/>
                  <a:pt x="133" y="61"/>
                  <a:pt x="133" y="61"/>
                </a:cubicBezTo>
                <a:cubicBezTo>
                  <a:pt x="133" y="64"/>
                  <a:pt x="130" y="67"/>
                  <a:pt x="126" y="67"/>
                </a:cubicBezTo>
                <a:cubicBezTo>
                  <a:pt x="53" y="67"/>
                  <a:pt x="53" y="67"/>
                  <a:pt x="53" y="67"/>
                </a:cubicBezTo>
                <a:cubicBezTo>
                  <a:pt x="50" y="67"/>
                  <a:pt x="47" y="64"/>
                  <a:pt x="47" y="61"/>
                </a:cubicBezTo>
                <a:cubicBezTo>
                  <a:pt x="47" y="38"/>
                  <a:pt x="47" y="38"/>
                  <a:pt x="47" y="38"/>
                </a:cubicBezTo>
                <a:cubicBezTo>
                  <a:pt x="12" y="38"/>
                  <a:pt x="12" y="38"/>
                  <a:pt x="12" y="38"/>
                </a:cubicBezTo>
                <a:cubicBezTo>
                  <a:pt x="9" y="38"/>
                  <a:pt x="0" y="49"/>
                  <a:pt x="0" y="74"/>
                </a:cubicBezTo>
                <a:cubicBezTo>
                  <a:pt x="0" y="100"/>
                  <a:pt x="9" y="112"/>
                  <a:pt x="12" y="112"/>
                </a:cubicBezTo>
                <a:cubicBezTo>
                  <a:pt x="30" y="112"/>
                  <a:pt x="30" y="112"/>
                  <a:pt x="30" y="112"/>
                </a:cubicBezTo>
                <a:cubicBezTo>
                  <a:pt x="30" y="112"/>
                  <a:pt x="30" y="102"/>
                  <a:pt x="30" y="98"/>
                </a:cubicBezTo>
                <a:cubicBezTo>
                  <a:pt x="30" y="96"/>
                  <a:pt x="32" y="94"/>
                  <a:pt x="35" y="94"/>
                </a:cubicBezTo>
                <a:cubicBezTo>
                  <a:pt x="55" y="94"/>
                  <a:pt x="120" y="94"/>
                  <a:pt x="144" y="94"/>
                </a:cubicBezTo>
                <a:cubicBezTo>
                  <a:pt x="148" y="94"/>
                  <a:pt x="150" y="95"/>
                  <a:pt x="150" y="98"/>
                </a:cubicBezTo>
                <a:cubicBezTo>
                  <a:pt x="150" y="102"/>
                  <a:pt x="150" y="112"/>
                  <a:pt x="150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71" y="112"/>
                  <a:pt x="180" y="101"/>
                  <a:pt x="180" y="76"/>
                </a:cubicBezTo>
                <a:cubicBezTo>
                  <a:pt x="180" y="50"/>
                  <a:pt x="171" y="38"/>
                  <a:pt x="167" y="38"/>
                </a:cubicBezTo>
                <a:close/>
                <a:moveTo>
                  <a:pt x="23" y="48"/>
                </a:moveTo>
                <a:cubicBezTo>
                  <a:pt x="19" y="48"/>
                  <a:pt x="17" y="47"/>
                  <a:pt x="17" y="46"/>
                </a:cubicBezTo>
                <a:cubicBezTo>
                  <a:pt x="17" y="45"/>
                  <a:pt x="19" y="44"/>
                  <a:pt x="23" y="44"/>
                </a:cubicBezTo>
                <a:cubicBezTo>
                  <a:pt x="26" y="44"/>
                  <a:pt x="29" y="45"/>
                  <a:pt x="29" y="46"/>
                </a:cubicBezTo>
                <a:cubicBezTo>
                  <a:pt x="29" y="47"/>
                  <a:pt x="26" y="48"/>
                  <a:pt x="23" y="48"/>
                </a:cubicBezTo>
                <a:close/>
                <a:moveTo>
                  <a:pt x="147" y="49"/>
                </a:moveTo>
                <a:cubicBezTo>
                  <a:pt x="145" y="49"/>
                  <a:pt x="143" y="48"/>
                  <a:pt x="143" y="46"/>
                </a:cubicBezTo>
                <a:cubicBezTo>
                  <a:pt x="143" y="44"/>
                  <a:pt x="145" y="42"/>
                  <a:pt x="147" y="42"/>
                </a:cubicBezTo>
                <a:cubicBezTo>
                  <a:pt x="149" y="42"/>
                  <a:pt x="151" y="44"/>
                  <a:pt x="151" y="46"/>
                </a:cubicBezTo>
                <a:cubicBezTo>
                  <a:pt x="151" y="48"/>
                  <a:pt x="149" y="49"/>
                  <a:pt x="147" y="49"/>
                </a:cubicBezTo>
                <a:close/>
                <a:moveTo>
                  <a:pt x="158" y="49"/>
                </a:moveTo>
                <a:cubicBezTo>
                  <a:pt x="156" y="49"/>
                  <a:pt x="154" y="48"/>
                  <a:pt x="154" y="46"/>
                </a:cubicBezTo>
                <a:cubicBezTo>
                  <a:pt x="154" y="44"/>
                  <a:pt x="156" y="42"/>
                  <a:pt x="158" y="42"/>
                </a:cubicBezTo>
                <a:cubicBezTo>
                  <a:pt x="160" y="42"/>
                  <a:pt x="162" y="44"/>
                  <a:pt x="162" y="46"/>
                </a:cubicBezTo>
                <a:cubicBezTo>
                  <a:pt x="162" y="48"/>
                  <a:pt x="160" y="49"/>
                  <a:pt x="158" y="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2" name="Freeform 15"/>
          <p:cNvSpPr>
            <a:spLocks noEditPoints="1"/>
          </p:cNvSpPr>
          <p:nvPr/>
        </p:nvSpPr>
        <p:spPr bwMode="auto">
          <a:xfrm>
            <a:off x="4569884" y="1695451"/>
            <a:ext cx="457200" cy="300567"/>
          </a:xfrm>
          <a:custGeom>
            <a:avLst/>
            <a:gdLst>
              <a:gd name="T0" fmla="*/ 183210116 w 152"/>
              <a:gd name="T1" fmla="*/ 228673374 h 100"/>
              <a:gd name="T2" fmla="*/ 173031401 w 152"/>
              <a:gd name="T3" fmla="*/ 269326519 h 100"/>
              <a:gd name="T4" fmla="*/ 162852685 w 152"/>
              <a:gd name="T5" fmla="*/ 355716142 h 100"/>
              <a:gd name="T6" fmla="*/ 203567548 w 152"/>
              <a:gd name="T7" fmla="*/ 355716142 h 100"/>
              <a:gd name="T8" fmla="*/ 198478190 w 152"/>
              <a:gd name="T9" fmla="*/ 248999947 h 100"/>
              <a:gd name="T10" fmla="*/ 208656906 w 152"/>
              <a:gd name="T11" fmla="*/ 269326519 h 100"/>
              <a:gd name="T12" fmla="*/ 193388832 w 152"/>
              <a:gd name="T13" fmla="*/ 218511215 h 100"/>
              <a:gd name="T14" fmla="*/ 137408151 w 152"/>
              <a:gd name="T15" fmla="*/ 203265723 h 100"/>
              <a:gd name="T16" fmla="*/ 173031401 w 152"/>
              <a:gd name="T17" fmla="*/ 218511215 h 100"/>
              <a:gd name="T18" fmla="*/ 71248755 w 152"/>
              <a:gd name="T19" fmla="*/ 0 h 100"/>
              <a:gd name="T20" fmla="*/ 0 w 152"/>
              <a:gd name="T21" fmla="*/ 437022431 h 100"/>
              <a:gd name="T22" fmla="*/ 702306574 w 152"/>
              <a:gd name="T23" fmla="*/ 508164306 h 100"/>
              <a:gd name="T24" fmla="*/ 773555329 w 152"/>
              <a:gd name="T25" fmla="*/ 71144130 h 100"/>
              <a:gd name="T26" fmla="*/ 452937061 w 152"/>
              <a:gd name="T27" fmla="*/ 86387369 h 100"/>
              <a:gd name="T28" fmla="*/ 625968462 w 152"/>
              <a:gd name="T29" fmla="*/ 101632861 h 100"/>
              <a:gd name="T30" fmla="*/ 452937061 w 152"/>
              <a:gd name="T31" fmla="*/ 116878354 h 100"/>
              <a:gd name="T32" fmla="*/ 452937061 w 152"/>
              <a:gd name="T33" fmla="*/ 86387369 h 100"/>
              <a:gd name="T34" fmla="*/ 244280155 w 152"/>
              <a:gd name="T35" fmla="*/ 127040513 h 100"/>
              <a:gd name="T36" fmla="*/ 122140078 w 152"/>
              <a:gd name="T37" fmla="*/ 127040513 h 100"/>
              <a:gd name="T38" fmla="*/ 183210116 w 152"/>
              <a:gd name="T39" fmla="*/ 381123793 h 100"/>
              <a:gd name="T40" fmla="*/ 137408151 w 152"/>
              <a:gd name="T41" fmla="*/ 193103564 h 100"/>
              <a:gd name="T42" fmla="*/ 229012082 w 152"/>
              <a:gd name="T43" fmla="*/ 193103564 h 100"/>
              <a:gd name="T44" fmla="*/ 183210116 w 152"/>
              <a:gd name="T45" fmla="*/ 381123793 h 100"/>
              <a:gd name="T46" fmla="*/ 366420233 w 152"/>
              <a:gd name="T47" fmla="*/ 416695858 h 100"/>
              <a:gd name="T48" fmla="*/ 366420233 w 152"/>
              <a:gd name="T49" fmla="*/ 396369286 h 100"/>
              <a:gd name="T50" fmla="*/ 712485290 w 152"/>
              <a:gd name="T51" fmla="*/ 406531445 h 100"/>
              <a:gd name="T52" fmla="*/ 707395932 w 152"/>
              <a:gd name="T53" fmla="*/ 376042714 h 100"/>
              <a:gd name="T54" fmla="*/ 356241517 w 152"/>
              <a:gd name="T55" fmla="*/ 365878301 h 100"/>
              <a:gd name="T56" fmla="*/ 707395932 w 152"/>
              <a:gd name="T57" fmla="*/ 355716142 h 100"/>
              <a:gd name="T58" fmla="*/ 707395932 w 152"/>
              <a:gd name="T59" fmla="*/ 376042714 h 100"/>
              <a:gd name="T60" fmla="*/ 366420233 w 152"/>
              <a:gd name="T61" fmla="*/ 335389569 h 100"/>
              <a:gd name="T62" fmla="*/ 366420233 w 152"/>
              <a:gd name="T63" fmla="*/ 320144077 h 100"/>
              <a:gd name="T64" fmla="*/ 712485290 w 152"/>
              <a:gd name="T65" fmla="*/ 330306236 h 100"/>
              <a:gd name="T66" fmla="*/ 707395932 w 152"/>
              <a:gd name="T67" fmla="*/ 259164360 h 100"/>
              <a:gd name="T68" fmla="*/ 356241517 w 152"/>
              <a:gd name="T69" fmla="*/ 248999947 h 100"/>
              <a:gd name="T70" fmla="*/ 707395932 w 152"/>
              <a:gd name="T71" fmla="*/ 238837788 h 100"/>
              <a:gd name="T72" fmla="*/ 707395932 w 152"/>
              <a:gd name="T73" fmla="*/ 259164360 h 100"/>
              <a:gd name="T74" fmla="*/ 366420233 w 152"/>
              <a:gd name="T75" fmla="*/ 218511215 h 100"/>
              <a:gd name="T76" fmla="*/ 366420233 w 152"/>
              <a:gd name="T77" fmla="*/ 198184643 h 100"/>
              <a:gd name="T78" fmla="*/ 712485290 w 152"/>
              <a:gd name="T79" fmla="*/ 208346802 h 10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52" h="100">
                <a:moveTo>
                  <a:pt x="39" y="49"/>
                </a:moveTo>
                <a:cubicBezTo>
                  <a:pt x="39" y="47"/>
                  <a:pt x="38" y="45"/>
                  <a:pt x="36" y="45"/>
                </a:cubicBezTo>
                <a:cubicBezTo>
                  <a:pt x="35" y="45"/>
                  <a:pt x="33" y="47"/>
                  <a:pt x="33" y="49"/>
                </a:cubicBezTo>
                <a:cubicBezTo>
                  <a:pt x="33" y="51"/>
                  <a:pt x="34" y="52"/>
                  <a:pt x="34" y="53"/>
                </a:cubicBezTo>
                <a:cubicBezTo>
                  <a:pt x="34" y="54"/>
                  <a:pt x="34" y="54"/>
                  <a:pt x="34" y="54"/>
                </a:cubicBezTo>
                <a:cubicBezTo>
                  <a:pt x="32" y="70"/>
                  <a:pt x="32" y="70"/>
                  <a:pt x="32" y="70"/>
                </a:cubicBezTo>
                <a:cubicBezTo>
                  <a:pt x="36" y="72"/>
                  <a:pt x="36" y="72"/>
                  <a:pt x="36" y="72"/>
                </a:cubicBezTo>
                <a:cubicBezTo>
                  <a:pt x="40" y="70"/>
                  <a:pt x="40" y="70"/>
                  <a:pt x="40" y="70"/>
                </a:cubicBezTo>
                <a:cubicBezTo>
                  <a:pt x="38" y="53"/>
                  <a:pt x="38" y="53"/>
                  <a:pt x="38" y="53"/>
                </a:cubicBezTo>
                <a:cubicBezTo>
                  <a:pt x="39" y="53"/>
                  <a:pt x="39" y="51"/>
                  <a:pt x="39" y="49"/>
                </a:cubicBezTo>
                <a:close/>
                <a:moveTo>
                  <a:pt x="38" y="43"/>
                </a:moveTo>
                <a:cubicBezTo>
                  <a:pt x="41" y="46"/>
                  <a:pt x="41" y="53"/>
                  <a:pt x="41" y="53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40"/>
                  <a:pt x="42" y="43"/>
                  <a:pt x="38" y="43"/>
                </a:cubicBezTo>
                <a:close/>
                <a:moveTo>
                  <a:pt x="34" y="43"/>
                </a:moveTo>
                <a:cubicBezTo>
                  <a:pt x="30" y="43"/>
                  <a:pt x="27" y="40"/>
                  <a:pt x="27" y="40"/>
                </a:cubicBezTo>
                <a:cubicBezTo>
                  <a:pt x="31" y="53"/>
                  <a:pt x="31" y="53"/>
                  <a:pt x="31" y="53"/>
                </a:cubicBezTo>
                <a:cubicBezTo>
                  <a:pt x="31" y="53"/>
                  <a:pt x="31" y="46"/>
                  <a:pt x="34" y="43"/>
                </a:cubicBezTo>
                <a:close/>
                <a:moveTo>
                  <a:pt x="138" y="0"/>
                </a:moveTo>
                <a:cubicBezTo>
                  <a:pt x="14" y="0"/>
                  <a:pt x="14" y="0"/>
                  <a:pt x="14" y="0"/>
                </a:cubicBezTo>
                <a:cubicBezTo>
                  <a:pt x="6" y="0"/>
                  <a:pt x="0" y="6"/>
                  <a:pt x="0" y="14"/>
                </a:cubicBezTo>
                <a:cubicBezTo>
                  <a:pt x="0" y="86"/>
                  <a:pt x="0" y="86"/>
                  <a:pt x="0" y="86"/>
                </a:cubicBezTo>
                <a:cubicBezTo>
                  <a:pt x="0" y="94"/>
                  <a:pt x="6" y="100"/>
                  <a:pt x="14" y="100"/>
                </a:cubicBezTo>
                <a:cubicBezTo>
                  <a:pt x="138" y="100"/>
                  <a:pt x="138" y="100"/>
                  <a:pt x="138" y="100"/>
                </a:cubicBezTo>
                <a:cubicBezTo>
                  <a:pt x="146" y="100"/>
                  <a:pt x="152" y="94"/>
                  <a:pt x="152" y="86"/>
                </a:cubicBezTo>
                <a:cubicBezTo>
                  <a:pt x="152" y="14"/>
                  <a:pt x="152" y="14"/>
                  <a:pt x="152" y="14"/>
                </a:cubicBezTo>
                <a:cubicBezTo>
                  <a:pt x="152" y="6"/>
                  <a:pt x="146" y="0"/>
                  <a:pt x="138" y="0"/>
                </a:cubicBezTo>
                <a:close/>
                <a:moveTo>
                  <a:pt x="89" y="17"/>
                </a:moveTo>
                <a:cubicBezTo>
                  <a:pt x="122" y="17"/>
                  <a:pt x="122" y="17"/>
                  <a:pt x="122" y="17"/>
                </a:cubicBezTo>
                <a:cubicBezTo>
                  <a:pt x="122" y="17"/>
                  <a:pt x="123" y="19"/>
                  <a:pt x="123" y="20"/>
                </a:cubicBezTo>
                <a:cubicBezTo>
                  <a:pt x="123" y="22"/>
                  <a:pt x="122" y="23"/>
                  <a:pt x="122" y="23"/>
                </a:cubicBezTo>
                <a:cubicBezTo>
                  <a:pt x="89" y="23"/>
                  <a:pt x="89" y="23"/>
                  <a:pt x="89" y="23"/>
                </a:cubicBezTo>
                <a:cubicBezTo>
                  <a:pt x="88" y="23"/>
                  <a:pt x="88" y="22"/>
                  <a:pt x="88" y="20"/>
                </a:cubicBezTo>
                <a:cubicBezTo>
                  <a:pt x="88" y="19"/>
                  <a:pt x="88" y="17"/>
                  <a:pt x="89" y="17"/>
                </a:cubicBezTo>
                <a:close/>
                <a:moveTo>
                  <a:pt x="36" y="14"/>
                </a:moveTo>
                <a:cubicBezTo>
                  <a:pt x="43" y="14"/>
                  <a:pt x="48" y="19"/>
                  <a:pt x="48" y="25"/>
                </a:cubicBezTo>
                <a:cubicBezTo>
                  <a:pt x="48" y="32"/>
                  <a:pt x="43" y="37"/>
                  <a:pt x="36" y="37"/>
                </a:cubicBezTo>
                <a:cubicBezTo>
                  <a:pt x="30" y="37"/>
                  <a:pt x="24" y="32"/>
                  <a:pt x="24" y="25"/>
                </a:cubicBezTo>
                <a:cubicBezTo>
                  <a:pt x="24" y="19"/>
                  <a:pt x="30" y="14"/>
                  <a:pt x="36" y="14"/>
                </a:cubicBezTo>
                <a:close/>
                <a:moveTo>
                  <a:pt x="36" y="75"/>
                </a:moveTo>
                <a:cubicBezTo>
                  <a:pt x="22" y="75"/>
                  <a:pt x="11" y="96"/>
                  <a:pt x="11" y="75"/>
                </a:cubicBezTo>
                <a:cubicBezTo>
                  <a:pt x="11" y="58"/>
                  <a:pt x="18" y="43"/>
                  <a:pt x="27" y="38"/>
                </a:cubicBezTo>
                <a:cubicBezTo>
                  <a:pt x="30" y="40"/>
                  <a:pt x="33" y="41"/>
                  <a:pt x="36" y="41"/>
                </a:cubicBezTo>
                <a:cubicBezTo>
                  <a:pt x="39" y="41"/>
                  <a:pt x="42" y="40"/>
                  <a:pt x="45" y="38"/>
                </a:cubicBezTo>
                <a:cubicBezTo>
                  <a:pt x="55" y="43"/>
                  <a:pt x="62" y="58"/>
                  <a:pt x="62" y="75"/>
                </a:cubicBezTo>
                <a:cubicBezTo>
                  <a:pt x="62" y="96"/>
                  <a:pt x="50" y="75"/>
                  <a:pt x="36" y="75"/>
                </a:cubicBezTo>
                <a:close/>
                <a:moveTo>
                  <a:pt x="139" y="82"/>
                </a:moveTo>
                <a:cubicBezTo>
                  <a:pt x="72" y="82"/>
                  <a:pt x="72" y="82"/>
                  <a:pt x="72" y="82"/>
                </a:cubicBezTo>
                <a:cubicBezTo>
                  <a:pt x="71" y="82"/>
                  <a:pt x="70" y="81"/>
                  <a:pt x="70" y="80"/>
                </a:cubicBezTo>
                <a:cubicBezTo>
                  <a:pt x="70" y="79"/>
                  <a:pt x="71" y="78"/>
                  <a:pt x="72" y="78"/>
                </a:cubicBezTo>
                <a:cubicBezTo>
                  <a:pt x="139" y="78"/>
                  <a:pt x="139" y="78"/>
                  <a:pt x="139" y="78"/>
                </a:cubicBezTo>
                <a:cubicBezTo>
                  <a:pt x="140" y="78"/>
                  <a:pt x="140" y="79"/>
                  <a:pt x="140" y="80"/>
                </a:cubicBezTo>
                <a:cubicBezTo>
                  <a:pt x="140" y="81"/>
                  <a:pt x="140" y="82"/>
                  <a:pt x="139" y="82"/>
                </a:cubicBezTo>
                <a:close/>
                <a:moveTo>
                  <a:pt x="139" y="74"/>
                </a:moveTo>
                <a:cubicBezTo>
                  <a:pt x="72" y="74"/>
                  <a:pt x="72" y="74"/>
                  <a:pt x="72" y="74"/>
                </a:cubicBezTo>
                <a:cubicBezTo>
                  <a:pt x="71" y="74"/>
                  <a:pt x="70" y="73"/>
                  <a:pt x="70" y="72"/>
                </a:cubicBezTo>
                <a:cubicBezTo>
                  <a:pt x="70" y="71"/>
                  <a:pt x="71" y="70"/>
                  <a:pt x="72" y="70"/>
                </a:cubicBezTo>
                <a:cubicBezTo>
                  <a:pt x="139" y="70"/>
                  <a:pt x="139" y="70"/>
                  <a:pt x="139" y="70"/>
                </a:cubicBezTo>
                <a:cubicBezTo>
                  <a:pt x="140" y="70"/>
                  <a:pt x="140" y="71"/>
                  <a:pt x="140" y="72"/>
                </a:cubicBezTo>
                <a:cubicBezTo>
                  <a:pt x="140" y="73"/>
                  <a:pt x="140" y="74"/>
                  <a:pt x="139" y="74"/>
                </a:cubicBezTo>
                <a:close/>
                <a:moveTo>
                  <a:pt x="139" y="66"/>
                </a:moveTo>
                <a:cubicBezTo>
                  <a:pt x="72" y="66"/>
                  <a:pt x="72" y="66"/>
                  <a:pt x="72" y="66"/>
                </a:cubicBezTo>
                <a:cubicBezTo>
                  <a:pt x="71" y="66"/>
                  <a:pt x="70" y="66"/>
                  <a:pt x="70" y="65"/>
                </a:cubicBezTo>
                <a:cubicBezTo>
                  <a:pt x="70" y="63"/>
                  <a:pt x="71" y="63"/>
                  <a:pt x="72" y="63"/>
                </a:cubicBezTo>
                <a:cubicBezTo>
                  <a:pt x="139" y="63"/>
                  <a:pt x="139" y="63"/>
                  <a:pt x="139" y="63"/>
                </a:cubicBezTo>
                <a:cubicBezTo>
                  <a:pt x="140" y="63"/>
                  <a:pt x="140" y="63"/>
                  <a:pt x="140" y="65"/>
                </a:cubicBezTo>
                <a:cubicBezTo>
                  <a:pt x="140" y="66"/>
                  <a:pt x="140" y="66"/>
                  <a:pt x="139" y="66"/>
                </a:cubicBezTo>
                <a:close/>
                <a:moveTo>
                  <a:pt x="139" y="51"/>
                </a:moveTo>
                <a:cubicBezTo>
                  <a:pt x="72" y="51"/>
                  <a:pt x="72" y="51"/>
                  <a:pt x="72" y="51"/>
                </a:cubicBezTo>
                <a:cubicBezTo>
                  <a:pt x="71" y="51"/>
                  <a:pt x="70" y="50"/>
                  <a:pt x="70" y="49"/>
                </a:cubicBezTo>
                <a:cubicBezTo>
                  <a:pt x="70" y="48"/>
                  <a:pt x="71" y="47"/>
                  <a:pt x="72" y="47"/>
                </a:cubicBezTo>
                <a:cubicBezTo>
                  <a:pt x="139" y="47"/>
                  <a:pt x="139" y="47"/>
                  <a:pt x="139" y="47"/>
                </a:cubicBezTo>
                <a:cubicBezTo>
                  <a:pt x="140" y="47"/>
                  <a:pt x="140" y="48"/>
                  <a:pt x="140" y="49"/>
                </a:cubicBezTo>
                <a:cubicBezTo>
                  <a:pt x="140" y="50"/>
                  <a:pt x="140" y="51"/>
                  <a:pt x="139" y="51"/>
                </a:cubicBezTo>
                <a:close/>
                <a:moveTo>
                  <a:pt x="139" y="43"/>
                </a:moveTo>
                <a:cubicBezTo>
                  <a:pt x="72" y="43"/>
                  <a:pt x="72" y="43"/>
                  <a:pt x="72" y="43"/>
                </a:cubicBezTo>
                <a:cubicBezTo>
                  <a:pt x="71" y="43"/>
                  <a:pt x="70" y="42"/>
                  <a:pt x="70" y="41"/>
                </a:cubicBezTo>
                <a:cubicBezTo>
                  <a:pt x="70" y="40"/>
                  <a:pt x="71" y="39"/>
                  <a:pt x="72" y="39"/>
                </a:cubicBezTo>
                <a:cubicBezTo>
                  <a:pt x="139" y="39"/>
                  <a:pt x="139" y="39"/>
                  <a:pt x="139" y="39"/>
                </a:cubicBezTo>
                <a:cubicBezTo>
                  <a:pt x="140" y="39"/>
                  <a:pt x="140" y="40"/>
                  <a:pt x="140" y="41"/>
                </a:cubicBezTo>
                <a:cubicBezTo>
                  <a:pt x="140" y="42"/>
                  <a:pt x="140" y="43"/>
                  <a:pt x="139" y="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3" name="Freeform 16"/>
          <p:cNvSpPr>
            <a:spLocks/>
          </p:cNvSpPr>
          <p:nvPr/>
        </p:nvSpPr>
        <p:spPr bwMode="auto">
          <a:xfrm>
            <a:off x="4639734" y="1629834"/>
            <a:ext cx="452967" cy="300567"/>
          </a:xfrm>
          <a:custGeom>
            <a:avLst/>
            <a:gdLst>
              <a:gd name="T0" fmla="*/ 703583974 w 151"/>
              <a:gd name="T1" fmla="*/ 508164306 h 100"/>
              <a:gd name="T2" fmla="*/ 703583974 w 151"/>
              <a:gd name="T3" fmla="*/ 498002147 h 100"/>
              <a:gd name="T4" fmla="*/ 703583974 w 151"/>
              <a:gd name="T5" fmla="*/ 127040513 h 100"/>
              <a:gd name="T6" fmla="*/ 637780816 w 151"/>
              <a:gd name="T7" fmla="*/ 55898637 h 100"/>
              <a:gd name="T8" fmla="*/ 10124255 w 151"/>
              <a:gd name="T9" fmla="*/ 55898637 h 100"/>
              <a:gd name="T10" fmla="*/ 0 w 151"/>
              <a:gd name="T11" fmla="*/ 55898637 h 100"/>
              <a:gd name="T12" fmla="*/ 65803158 w 151"/>
              <a:gd name="T13" fmla="*/ 0 h 100"/>
              <a:gd name="T14" fmla="*/ 693459719 w 151"/>
              <a:gd name="T15" fmla="*/ 0 h 100"/>
              <a:gd name="T16" fmla="*/ 764325004 w 151"/>
              <a:gd name="T17" fmla="*/ 71144130 h 100"/>
              <a:gd name="T18" fmla="*/ 764325004 w 151"/>
              <a:gd name="T19" fmla="*/ 437022431 h 100"/>
              <a:gd name="T20" fmla="*/ 703583974 w 151"/>
              <a:gd name="T21" fmla="*/ 508164306 h 1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1" h="100">
                <a:moveTo>
                  <a:pt x="139" y="100"/>
                </a:moveTo>
                <a:cubicBezTo>
                  <a:pt x="139" y="99"/>
                  <a:pt x="139" y="98"/>
                  <a:pt x="139" y="98"/>
                </a:cubicBezTo>
                <a:cubicBezTo>
                  <a:pt x="139" y="25"/>
                  <a:pt x="139" y="25"/>
                  <a:pt x="139" y="25"/>
                </a:cubicBezTo>
                <a:cubicBezTo>
                  <a:pt x="139" y="17"/>
                  <a:pt x="134" y="11"/>
                  <a:pt x="126" y="11"/>
                </a:cubicBezTo>
                <a:cubicBezTo>
                  <a:pt x="2" y="11"/>
                  <a:pt x="2" y="11"/>
                  <a:pt x="2" y="11"/>
                </a:cubicBezTo>
                <a:cubicBezTo>
                  <a:pt x="1" y="11"/>
                  <a:pt x="0" y="11"/>
                  <a:pt x="0" y="11"/>
                </a:cubicBezTo>
                <a:cubicBezTo>
                  <a:pt x="1" y="5"/>
                  <a:pt x="6" y="0"/>
                  <a:pt x="13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45" y="0"/>
                  <a:pt x="151" y="6"/>
                  <a:pt x="151" y="14"/>
                </a:cubicBezTo>
                <a:cubicBezTo>
                  <a:pt x="151" y="86"/>
                  <a:pt x="151" y="86"/>
                  <a:pt x="151" y="86"/>
                </a:cubicBezTo>
                <a:cubicBezTo>
                  <a:pt x="151" y="93"/>
                  <a:pt x="146" y="99"/>
                  <a:pt x="139" y="1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4" name="Freeform 17"/>
          <p:cNvSpPr>
            <a:spLocks/>
          </p:cNvSpPr>
          <p:nvPr/>
        </p:nvSpPr>
        <p:spPr bwMode="auto">
          <a:xfrm>
            <a:off x="5431367" y="1587501"/>
            <a:ext cx="427567" cy="427567"/>
          </a:xfrm>
          <a:custGeom>
            <a:avLst/>
            <a:gdLst>
              <a:gd name="T0" fmla="*/ 703773228 w 142"/>
              <a:gd name="T1" fmla="*/ 683374233 h 142"/>
              <a:gd name="T2" fmla="*/ 40797990 w 142"/>
              <a:gd name="T3" fmla="*/ 683374233 h 142"/>
              <a:gd name="T4" fmla="*/ 40797990 w 142"/>
              <a:gd name="T5" fmla="*/ 20398995 h 142"/>
              <a:gd name="T6" fmla="*/ 30599621 w 142"/>
              <a:gd name="T7" fmla="*/ 0 h 142"/>
              <a:gd name="T8" fmla="*/ 15299811 w 142"/>
              <a:gd name="T9" fmla="*/ 0 h 142"/>
              <a:gd name="T10" fmla="*/ 0 w 142"/>
              <a:gd name="T11" fmla="*/ 20398995 h 142"/>
              <a:gd name="T12" fmla="*/ 0 w 142"/>
              <a:gd name="T13" fmla="*/ 693572601 h 142"/>
              <a:gd name="T14" fmla="*/ 0 w 142"/>
              <a:gd name="T15" fmla="*/ 703773228 h 142"/>
              <a:gd name="T16" fmla="*/ 0 w 142"/>
              <a:gd name="T17" fmla="*/ 708872412 h 142"/>
              <a:gd name="T18" fmla="*/ 5099184 w 142"/>
              <a:gd name="T19" fmla="*/ 719073039 h 142"/>
              <a:gd name="T20" fmla="*/ 15299811 w 142"/>
              <a:gd name="T21" fmla="*/ 724172223 h 142"/>
              <a:gd name="T22" fmla="*/ 25498179 w 142"/>
              <a:gd name="T23" fmla="*/ 724172223 h 142"/>
              <a:gd name="T24" fmla="*/ 30599621 w 142"/>
              <a:gd name="T25" fmla="*/ 724172223 h 142"/>
              <a:gd name="T26" fmla="*/ 703773228 w 142"/>
              <a:gd name="T27" fmla="*/ 724172223 h 142"/>
              <a:gd name="T28" fmla="*/ 724172223 w 142"/>
              <a:gd name="T29" fmla="*/ 708872412 h 142"/>
              <a:gd name="T30" fmla="*/ 724172223 w 142"/>
              <a:gd name="T31" fmla="*/ 693572601 h 142"/>
              <a:gd name="T32" fmla="*/ 703773228 w 142"/>
              <a:gd name="T33" fmla="*/ 683374233 h 14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42" h="142">
                <a:moveTo>
                  <a:pt x="138" y="134"/>
                </a:moveTo>
                <a:cubicBezTo>
                  <a:pt x="8" y="134"/>
                  <a:pt x="8" y="134"/>
                  <a:pt x="8" y="134"/>
                </a:cubicBezTo>
                <a:cubicBezTo>
                  <a:pt x="8" y="4"/>
                  <a:pt x="8" y="4"/>
                  <a:pt x="8" y="4"/>
                </a:cubicBezTo>
                <a:cubicBezTo>
                  <a:pt x="8" y="2"/>
                  <a:pt x="7" y="0"/>
                  <a:pt x="6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138"/>
                  <a:pt x="0" y="138"/>
                  <a:pt x="0" y="138"/>
                </a:cubicBezTo>
                <a:cubicBezTo>
                  <a:pt x="0" y="139"/>
                  <a:pt x="0" y="139"/>
                  <a:pt x="0" y="139"/>
                </a:cubicBezTo>
                <a:cubicBezTo>
                  <a:pt x="0" y="140"/>
                  <a:pt x="1" y="141"/>
                  <a:pt x="1" y="141"/>
                </a:cubicBezTo>
                <a:cubicBezTo>
                  <a:pt x="2" y="141"/>
                  <a:pt x="2" y="142"/>
                  <a:pt x="3" y="142"/>
                </a:cubicBezTo>
                <a:cubicBezTo>
                  <a:pt x="5" y="142"/>
                  <a:pt x="5" y="142"/>
                  <a:pt x="5" y="142"/>
                </a:cubicBezTo>
                <a:cubicBezTo>
                  <a:pt x="6" y="142"/>
                  <a:pt x="6" y="142"/>
                  <a:pt x="6" y="142"/>
                </a:cubicBezTo>
                <a:cubicBezTo>
                  <a:pt x="138" y="142"/>
                  <a:pt x="138" y="142"/>
                  <a:pt x="138" y="142"/>
                </a:cubicBezTo>
                <a:cubicBezTo>
                  <a:pt x="140" y="142"/>
                  <a:pt x="142" y="141"/>
                  <a:pt x="142" y="139"/>
                </a:cubicBezTo>
                <a:cubicBezTo>
                  <a:pt x="142" y="136"/>
                  <a:pt x="142" y="136"/>
                  <a:pt x="142" y="136"/>
                </a:cubicBezTo>
                <a:cubicBezTo>
                  <a:pt x="142" y="135"/>
                  <a:pt x="140" y="134"/>
                  <a:pt x="138" y="1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5" name="Freeform 18"/>
          <p:cNvSpPr>
            <a:spLocks/>
          </p:cNvSpPr>
          <p:nvPr/>
        </p:nvSpPr>
        <p:spPr bwMode="auto">
          <a:xfrm>
            <a:off x="5473700" y="1610784"/>
            <a:ext cx="391584" cy="355600"/>
          </a:xfrm>
          <a:custGeom>
            <a:avLst/>
            <a:gdLst>
              <a:gd name="T0" fmla="*/ 663479597 w 130"/>
              <a:gd name="T1" fmla="*/ 0 h 118"/>
              <a:gd name="T2" fmla="*/ 556301550 w 130"/>
              <a:gd name="T3" fmla="*/ 86842492 h 118"/>
              <a:gd name="T4" fmla="*/ 592027566 w 130"/>
              <a:gd name="T5" fmla="*/ 86842492 h 118"/>
              <a:gd name="T6" fmla="*/ 352154503 w 130"/>
              <a:gd name="T7" fmla="*/ 551702853 h 118"/>
              <a:gd name="T8" fmla="*/ 158214244 w 130"/>
              <a:gd name="T9" fmla="*/ 383128111 h 118"/>
              <a:gd name="T10" fmla="*/ 142904063 w 130"/>
              <a:gd name="T11" fmla="*/ 378020128 h 118"/>
              <a:gd name="T12" fmla="*/ 127591622 w 130"/>
              <a:gd name="T13" fmla="*/ 388236094 h 118"/>
              <a:gd name="T14" fmla="*/ 5103394 w 130"/>
              <a:gd name="T15" fmla="*/ 572137045 h 118"/>
              <a:gd name="T16" fmla="*/ 10206788 w 130"/>
              <a:gd name="T17" fmla="*/ 597679220 h 118"/>
              <a:gd name="T18" fmla="*/ 20415834 w 130"/>
              <a:gd name="T19" fmla="*/ 602787203 h 118"/>
              <a:gd name="T20" fmla="*/ 35726016 w 130"/>
              <a:gd name="T21" fmla="*/ 592571237 h 118"/>
              <a:gd name="T22" fmla="*/ 35726016 w 130"/>
              <a:gd name="T23" fmla="*/ 592571237 h 118"/>
              <a:gd name="T24" fmla="*/ 148007456 w 130"/>
              <a:gd name="T25" fmla="*/ 423994236 h 118"/>
              <a:gd name="T26" fmla="*/ 347051110 w 130"/>
              <a:gd name="T27" fmla="*/ 592571237 h 118"/>
              <a:gd name="T28" fmla="*/ 362361291 w 130"/>
              <a:gd name="T29" fmla="*/ 597679220 h 118"/>
              <a:gd name="T30" fmla="*/ 372570338 w 130"/>
              <a:gd name="T31" fmla="*/ 587460994 h 118"/>
              <a:gd name="T32" fmla="*/ 627753582 w 130"/>
              <a:gd name="T33" fmla="*/ 107276685 h 118"/>
              <a:gd name="T34" fmla="*/ 648169416 w 130"/>
              <a:gd name="T35" fmla="*/ 132816600 h 118"/>
              <a:gd name="T36" fmla="*/ 663479597 w 130"/>
              <a:gd name="T37" fmla="*/ 0 h 11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30" h="118">
                <a:moveTo>
                  <a:pt x="130" y="0"/>
                </a:moveTo>
                <a:cubicBezTo>
                  <a:pt x="109" y="17"/>
                  <a:pt x="109" y="17"/>
                  <a:pt x="109" y="17"/>
                </a:cubicBezTo>
                <a:cubicBezTo>
                  <a:pt x="116" y="17"/>
                  <a:pt x="116" y="17"/>
                  <a:pt x="116" y="17"/>
                </a:cubicBezTo>
                <a:cubicBezTo>
                  <a:pt x="69" y="108"/>
                  <a:pt x="69" y="108"/>
                  <a:pt x="69" y="108"/>
                </a:cubicBezTo>
                <a:cubicBezTo>
                  <a:pt x="31" y="75"/>
                  <a:pt x="31" y="75"/>
                  <a:pt x="31" y="75"/>
                </a:cubicBezTo>
                <a:cubicBezTo>
                  <a:pt x="30" y="75"/>
                  <a:pt x="29" y="74"/>
                  <a:pt x="28" y="74"/>
                </a:cubicBezTo>
                <a:cubicBezTo>
                  <a:pt x="27" y="75"/>
                  <a:pt x="26" y="75"/>
                  <a:pt x="25" y="76"/>
                </a:cubicBezTo>
                <a:cubicBezTo>
                  <a:pt x="1" y="112"/>
                  <a:pt x="1" y="112"/>
                  <a:pt x="1" y="112"/>
                </a:cubicBezTo>
                <a:cubicBezTo>
                  <a:pt x="0" y="114"/>
                  <a:pt x="1" y="116"/>
                  <a:pt x="2" y="117"/>
                </a:cubicBezTo>
                <a:cubicBezTo>
                  <a:pt x="3" y="117"/>
                  <a:pt x="4" y="118"/>
                  <a:pt x="4" y="118"/>
                </a:cubicBezTo>
                <a:cubicBezTo>
                  <a:pt x="5" y="118"/>
                  <a:pt x="6" y="117"/>
                  <a:pt x="7" y="116"/>
                </a:cubicBezTo>
                <a:cubicBezTo>
                  <a:pt x="7" y="116"/>
                  <a:pt x="7" y="116"/>
                  <a:pt x="7" y="116"/>
                </a:cubicBezTo>
                <a:cubicBezTo>
                  <a:pt x="29" y="83"/>
                  <a:pt x="29" y="83"/>
                  <a:pt x="29" y="83"/>
                </a:cubicBezTo>
                <a:cubicBezTo>
                  <a:pt x="68" y="116"/>
                  <a:pt x="68" y="116"/>
                  <a:pt x="68" y="116"/>
                </a:cubicBezTo>
                <a:cubicBezTo>
                  <a:pt x="68" y="117"/>
                  <a:pt x="69" y="117"/>
                  <a:pt x="71" y="117"/>
                </a:cubicBezTo>
                <a:cubicBezTo>
                  <a:pt x="72" y="117"/>
                  <a:pt x="72" y="116"/>
                  <a:pt x="73" y="115"/>
                </a:cubicBezTo>
                <a:cubicBezTo>
                  <a:pt x="123" y="21"/>
                  <a:pt x="123" y="21"/>
                  <a:pt x="123" y="21"/>
                </a:cubicBezTo>
                <a:cubicBezTo>
                  <a:pt x="127" y="26"/>
                  <a:pt x="127" y="26"/>
                  <a:pt x="127" y="26"/>
                </a:cubicBezTo>
                <a:lnTo>
                  <a:pt x="13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6" name="Freeform 19"/>
          <p:cNvSpPr>
            <a:spLocks/>
          </p:cNvSpPr>
          <p:nvPr/>
        </p:nvSpPr>
        <p:spPr bwMode="auto">
          <a:xfrm>
            <a:off x="5465234" y="1951568"/>
            <a:ext cx="6351" cy="14817"/>
          </a:xfrm>
          <a:custGeom>
            <a:avLst/>
            <a:gdLst>
              <a:gd name="T0" fmla="*/ 0 w 2"/>
              <a:gd name="T1" fmla="*/ 0 h 5"/>
              <a:gd name="T2" fmla="*/ 0 w 2"/>
              <a:gd name="T3" fmla="*/ 9879457 h 5"/>
              <a:gd name="T4" fmla="*/ 11340703 w 2"/>
              <a:gd name="T5" fmla="*/ 24699754 h 5"/>
              <a:gd name="T6" fmla="*/ 0 w 2"/>
              <a:gd name="T7" fmla="*/ 9879457 h 5"/>
              <a:gd name="T8" fmla="*/ 0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5">
                <a:moveTo>
                  <a:pt x="0" y="0"/>
                </a:moveTo>
                <a:cubicBezTo>
                  <a:pt x="0" y="0"/>
                  <a:pt x="0" y="1"/>
                  <a:pt x="0" y="2"/>
                </a:cubicBezTo>
                <a:cubicBezTo>
                  <a:pt x="0" y="4"/>
                  <a:pt x="1" y="5"/>
                  <a:pt x="2" y="5"/>
                </a:cubicBezTo>
                <a:cubicBezTo>
                  <a:pt x="1" y="5"/>
                  <a:pt x="1" y="3"/>
                  <a:pt x="0" y="2"/>
                </a:cubicBezTo>
                <a:cubicBezTo>
                  <a:pt x="0" y="1"/>
                  <a:pt x="0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7" name="Freeform 20"/>
          <p:cNvSpPr>
            <a:spLocks/>
          </p:cNvSpPr>
          <p:nvPr/>
        </p:nvSpPr>
        <p:spPr bwMode="auto">
          <a:xfrm>
            <a:off x="5695951" y="1945217"/>
            <a:ext cx="150283" cy="23283"/>
          </a:xfrm>
          <a:custGeom>
            <a:avLst/>
            <a:gdLst>
              <a:gd name="T0" fmla="*/ 0 w 50"/>
              <a:gd name="T1" fmla="*/ 38117363 h 8"/>
              <a:gd name="T2" fmla="*/ 238834474 w 50"/>
              <a:gd name="T3" fmla="*/ 38117363 h 8"/>
              <a:gd name="T4" fmla="*/ 254079899 w 50"/>
              <a:gd name="T5" fmla="*/ 19059773 h 8"/>
              <a:gd name="T6" fmla="*/ 238834474 w 50"/>
              <a:gd name="T7" fmla="*/ 0 h 8"/>
              <a:gd name="T8" fmla="*/ 20326482 w 50"/>
              <a:gd name="T9" fmla="*/ 0 h 8"/>
              <a:gd name="T10" fmla="*/ 10162114 w 50"/>
              <a:gd name="T11" fmla="*/ 23822534 h 8"/>
              <a:gd name="T12" fmla="*/ 0 w 50"/>
              <a:gd name="T13" fmla="*/ 38117363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0" h="8">
                <a:moveTo>
                  <a:pt x="0" y="8"/>
                </a:moveTo>
                <a:cubicBezTo>
                  <a:pt x="47" y="8"/>
                  <a:pt x="47" y="8"/>
                  <a:pt x="47" y="8"/>
                </a:cubicBezTo>
                <a:cubicBezTo>
                  <a:pt x="49" y="8"/>
                  <a:pt x="50" y="6"/>
                  <a:pt x="50" y="4"/>
                </a:cubicBezTo>
                <a:cubicBezTo>
                  <a:pt x="50" y="2"/>
                  <a:pt x="49" y="0"/>
                  <a:pt x="47" y="0"/>
                </a:cubicBezTo>
                <a:cubicBezTo>
                  <a:pt x="4" y="0"/>
                  <a:pt x="4" y="0"/>
                  <a:pt x="4" y="0"/>
                </a:cubicBezTo>
                <a:cubicBezTo>
                  <a:pt x="2" y="5"/>
                  <a:pt x="2" y="5"/>
                  <a:pt x="2" y="5"/>
                </a:cubicBezTo>
                <a:cubicBezTo>
                  <a:pt x="1" y="6"/>
                  <a:pt x="1" y="7"/>
                  <a:pt x="0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8" name="Freeform 21"/>
          <p:cNvSpPr>
            <a:spLocks/>
          </p:cNvSpPr>
          <p:nvPr/>
        </p:nvSpPr>
        <p:spPr bwMode="auto">
          <a:xfrm>
            <a:off x="5501218" y="1945217"/>
            <a:ext cx="169333" cy="23283"/>
          </a:xfrm>
          <a:custGeom>
            <a:avLst/>
            <a:gdLst>
              <a:gd name="T0" fmla="*/ 246872125 w 56"/>
              <a:gd name="T1" fmla="*/ 0 h 8"/>
              <a:gd name="T2" fmla="*/ 25715232 w 56"/>
              <a:gd name="T3" fmla="*/ 0 h 8"/>
              <a:gd name="T4" fmla="*/ 5143500 w 56"/>
              <a:gd name="T5" fmla="*/ 33352420 h 8"/>
              <a:gd name="T6" fmla="*/ 0 w 56"/>
              <a:gd name="T7" fmla="*/ 38117363 h 8"/>
              <a:gd name="T8" fmla="*/ 288017857 w 56"/>
              <a:gd name="T9" fmla="*/ 38117363 h 8"/>
              <a:gd name="T10" fmla="*/ 288017857 w 56"/>
              <a:gd name="T11" fmla="*/ 33352420 h 8"/>
              <a:gd name="T12" fmla="*/ 246872125 w 56"/>
              <a:gd name="T13" fmla="*/ 0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6" h="8">
                <a:moveTo>
                  <a:pt x="48" y="0"/>
                </a:moveTo>
                <a:cubicBezTo>
                  <a:pt x="5" y="0"/>
                  <a:pt x="5" y="0"/>
                  <a:pt x="5" y="0"/>
                </a:cubicBezTo>
                <a:cubicBezTo>
                  <a:pt x="1" y="7"/>
                  <a:pt x="1" y="7"/>
                  <a:pt x="1" y="7"/>
                </a:cubicBezTo>
                <a:cubicBezTo>
                  <a:pt x="1" y="7"/>
                  <a:pt x="0" y="7"/>
                  <a:pt x="0" y="8"/>
                </a:cubicBezTo>
                <a:cubicBezTo>
                  <a:pt x="56" y="8"/>
                  <a:pt x="56" y="8"/>
                  <a:pt x="56" y="8"/>
                </a:cubicBezTo>
                <a:cubicBezTo>
                  <a:pt x="56" y="7"/>
                  <a:pt x="56" y="7"/>
                  <a:pt x="56" y="7"/>
                </a:cubicBezTo>
                <a:lnTo>
                  <a:pt x="4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39" name="Freeform 22"/>
          <p:cNvSpPr>
            <a:spLocks/>
          </p:cNvSpPr>
          <p:nvPr/>
        </p:nvSpPr>
        <p:spPr bwMode="auto">
          <a:xfrm>
            <a:off x="5670551" y="1911351"/>
            <a:ext cx="10583" cy="10583"/>
          </a:xfrm>
          <a:custGeom>
            <a:avLst/>
            <a:gdLst>
              <a:gd name="T0" fmla="*/ 10079990 w 5"/>
              <a:gd name="T1" fmla="*/ 12600781 h 5"/>
              <a:gd name="T2" fmla="*/ 12599194 w 5"/>
              <a:gd name="T3" fmla="*/ 0 h 5"/>
              <a:gd name="T4" fmla="*/ 0 w 5"/>
              <a:gd name="T5" fmla="*/ 0 h 5"/>
              <a:gd name="T6" fmla="*/ 10079990 w 5"/>
              <a:gd name="T7" fmla="*/ 12600781 h 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" h="5">
                <a:moveTo>
                  <a:pt x="4" y="5"/>
                </a:moveTo>
                <a:lnTo>
                  <a:pt x="5" y="0"/>
                </a:lnTo>
                <a:lnTo>
                  <a:pt x="0" y="0"/>
                </a:lnTo>
                <a:lnTo>
                  <a:pt x="4" y="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0" name="Freeform 23"/>
          <p:cNvSpPr>
            <a:spLocks/>
          </p:cNvSpPr>
          <p:nvPr/>
        </p:nvSpPr>
        <p:spPr bwMode="auto">
          <a:xfrm>
            <a:off x="5465233" y="1881718"/>
            <a:ext cx="44451" cy="21167"/>
          </a:xfrm>
          <a:custGeom>
            <a:avLst/>
            <a:gdLst>
              <a:gd name="T0" fmla="*/ 14817630 w 15"/>
              <a:gd name="T1" fmla="*/ 0 h 7"/>
              <a:gd name="T2" fmla="*/ 0 w 15"/>
              <a:gd name="T3" fmla="*/ 15430500 h 7"/>
              <a:gd name="T4" fmla="*/ 14817630 w 15"/>
              <a:gd name="T5" fmla="*/ 36002232 h 7"/>
              <a:gd name="T6" fmla="*/ 54334272 w 15"/>
              <a:gd name="T7" fmla="*/ 36002232 h 7"/>
              <a:gd name="T8" fmla="*/ 74092594 w 15"/>
              <a:gd name="T9" fmla="*/ 0 h 7"/>
              <a:gd name="T10" fmla="*/ 14817630 w 15"/>
              <a:gd name="T11" fmla="*/ 0 h 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" h="7">
                <a:moveTo>
                  <a:pt x="3" y="0"/>
                </a:move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7"/>
                  <a:pt x="3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5" y="0"/>
                  <a:pt x="15" y="0"/>
                  <a:pt x="15" y="0"/>
                </a:cubicBez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1" name="Freeform 24"/>
          <p:cNvSpPr>
            <a:spLocks/>
          </p:cNvSpPr>
          <p:nvPr/>
        </p:nvSpPr>
        <p:spPr bwMode="auto">
          <a:xfrm>
            <a:off x="5630333" y="1881718"/>
            <a:ext cx="69851" cy="21167"/>
          </a:xfrm>
          <a:custGeom>
            <a:avLst/>
            <a:gdLst>
              <a:gd name="T0" fmla="*/ 32761550 w 33"/>
              <a:gd name="T1" fmla="*/ 25201563 h 10"/>
              <a:gd name="T2" fmla="*/ 68044074 w 33"/>
              <a:gd name="T3" fmla="*/ 25201563 h 10"/>
              <a:gd name="T4" fmla="*/ 83165156 w 33"/>
              <a:gd name="T5" fmla="*/ 0 h 10"/>
              <a:gd name="T6" fmla="*/ 0 w 33"/>
              <a:gd name="T7" fmla="*/ 0 h 10"/>
              <a:gd name="T8" fmla="*/ 32761550 w 33"/>
              <a:gd name="T9" fmla="*/ 25201563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10">
                <a:moveTo>
                  <a:pt x="13" y="10"/>
                </a:moveTo>
                <a:lnTo>
                  <a:pt x="27" y="10"/>
                </a:lnTo>
                <a:lnTo>
                  <a:pt x="33" y="0"/>
                </a:lnTo>
                <a:lnTo>
                  <a:pt x="0" y="0"/>
                </a:lnTo>
                <a:lnTo>
                  <a:pt x="13" y="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2" name="Freeform 25"/>
          <p:cNvSpPr>
            <a:spLocks/>
          </p:cNvSpPr>
          <p:nvPr/>
        </p:nvSpPr>
        <p:spPr bwMode="auto">
          <a:xfrm>
            <a:off x="5545667" y="1881718"/>
            <a:ext cx="48684" cy="21167"/>
          </a:xfrm>
          <a:custGeom>
            <a:avLst/>
            <a:gdLst>
              <a:gd name="T0" fmla="*/ 30242289 w 23"/>
              <a:gd name="T1" fmla="*/ 0 h 10"/>
              <a:gd name="T2" fmla="*/ 17640542 w 23"/>
              <a:gd name="T3" fmla="*/ 0 h 10"/>
              <a:gd name="T4" fmla="*/ 0 w 23"/>
              <a:gd name="T5" fmla="*/ 25201563 h 10"/>
              <a:gd name="T6" fmla="*/ 57963594 w 23"/>
              <a:gd name="T7" fmla="*/ 25201563 h 10"/>
              <a:gd name="T8" fmla="*/ 30242289 w 23"/>
              <a:gd name="T9" fmla="*/ 0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3" h="10">
                <a:moveTo>
                  <a:pt x="12" y="0"/>
                </a:moveTo>
                <a:lnTo>
                  <a:pt x="7" y="0"/>
                </a:lnTo>
                <a:lnTo>
                  <a:pt x="0" y="10"/>
                </a:lnTo>
                <a:lnTo>
                  <a:pt x="23" y="10"/>
                </a:lnTo>
                <a:lnTo>
                  <a:pt x="1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3" name="Freeform 26"/>
          <p:cNvSpPr>
            <a:spLocks/>
          </p:cNvSpPr>
          <p:nvPr/>
        </p:nvSpPr>
        <p:spPr bwMode="auto">
          <a:xfrm>
            <a:off x="5731934" y="1881718"/>
            <a:ext cx="114300" cy="21167"/>
          </a:xfrm>
          <a:custGeom>
            <a:avLst/>
            <a:gdLst>
              <a:gd name="T0" fmla="*/ 178120759 w 38"/>
              <a:gd name="T1" fmla="*/ 36002232 h 7"/>
              <a:gd name="T2" fmla="*/ 193388832 w 38"/>
              <a:gd name="T3" fmla="*/ 15430500 h 7"/>
              <a:gd name="T4" fmla="*/ 178120759 w 38"/>
              <a:gd name="T5" fmla="*/ 0 h 7"/>
              <a:gd name="T6" fmla="*/ 20357432 w 38"/>
              <a:gd name="T7" fmla="*/ 0 h 7"/>
              <a:gd name="T8" fmla="*/ 0 w 38"/>
              <a:gd name="T9" fmla="*/ 36002232 h 7"/>
              <a:gd name="T10" fmla="*/ 178120759 w 38"/>
              <a:gd name="T11" fmla="*/ 36002232 h 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" h="7">
                <a:moveTo>
                  <a:pt x="35" y="7"/>
                </a:moveTo>
                <a:cubicBezTo>
                  <a:pt x="37" y="7"/>
                  <a:pt x="38" y="5"/>
                  <a:pt x="38" y="3"/>
                </a:cubicBezTo>
                <a:cubicBezTo>
                  <a:pt x="38" y="1"/>
                  <a:pt x="37" y="0"/>
                  <a:pt x="35" y="0"/>
                </a:cubicBezTo>
                <a:cubicBezTo>
                  <a:pt x="4" y="0"/>
                  <a:pt x="4" y="0"/>
                  <a:pt x="4" y="0"/>
                </a:cubicBezTo>
                <a:cubicBezTo>
                  <a:pt x="0" y="7"/>
                  <a:pt x="0" y="7"/>
                  <a:pt x="0" y="7"/>
                </a:cubicBezTo>
                <a:lnTo>
                  <a:pt x="35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4" name="Freeform 27"/>
          <p:cNvSpPr>
            <a:spLocks/>
          </p:cNvSpPr>
          <p:nvPr/>
        </p:nvSpPr>
        <p:spPr bwMode="auto">
          <a:xfrm>
            <a:off x="5465234" y="1816101"/>
            <a:ext cx="266700" cy="21167"/>
          </a:xfrm>
          <a:custGeom>
            <a:avLst/>
            <a:gdLst>
              <a:gd name="T0" fmla="*/ 151533546 w 89"/>
              <a:gd name="T1" fmla="*/ 15430500 h 7"/>
              <a:gd name="T2" fmla="*/ 156585863 w 89"/>
              <a:gd name="T3" fmla="*/ 15430500 h 7"/>
              <a:gd name="T4" fmla="*/ 181840705 w 89"/>
              <a:gd name="T5" fmla="*/ 25715232 h 7"/>
              <a:gd name="T6" fmla="*/ 191943091 w 89"/>
              <a:gd name="T7" fmla="*/ 36002232 h 7"/>
              <a:gd name="T8" fmla="*/ 429345796 w 89"/>
              <a:gd name="T9" fmla="*/ 36002232 h 7"/>
              <a:gd name="T10" fmla="*/ 449550569 w 89"/>
              <a:gd name="T11" fmla="*/ 0 h 7"/>
              <a:gd name="T12" fmla="*/ 15152456 w 89"/>
              <a:gd name="T13" fmla="*/ 0 h 7"/>
              <a:gd name="T14" fmla="*/ 0 w 89"/>
              <a:gd name="T15" fmla="*/ 15430500 h 7"/>
              <a:gd name="T16" fmla="*/ 15152456 w 89"/>
              <a:gd name="T17" fmla="*/ 36002232 h 7"/>
              <a:gd name="T18" fmla="*/ 126278704 w 89"/>
              <a:gd name="T19" fmla="*/ 36002232 h 7"/>
              <a:gd name="T20" fmla="*/ 131328774 w 89"/>
              <a:gd name="T21" fmla="*/ 30858732 h 7"/>
              <a:gd name="T22" fmla="*/ 151533546 w 89"/>
              <a:gd name="T23" fmla="*/ 15430500 h 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89" h="7">
                <a:moveTo>
                  <a:pt x="30" y="3"/>
                </a:moveTo>
                <a:cubicBezTo>
                  <a:pt x="31" y="3"/>
                  <a:pt x="31" y="3"/>
                  <a:pt x="31" y="3"/>
                </a:cubicBezTo>
                <a:cubicBezTo>
                  <a:pt x="33" y="3"/>
                  <a:pt x="34" y="4"/>
                  <a:pt x="36" y="5"/>
                </a:cubicBezTo>
                <a:cubicBezTo>
                  <a:pt x="38" y="7"/>
                  <a:pt x="38" y="7"/>
                  <a:pt x="38" y="7"/>
                </a:cubicBezTo>
                <a:cubicBezTo>
                  <a:pt x="85" y="7"/>
                  <a:pt x="85" y="7"/>
                  <a:pt x="85" y="7"/>
                </a:cubicBezTo>
                <a:cubicBezTo>
                  <a:pt x="89" y="0"/>
                  <a:pt x="89" y="0"/>
                  <a:pt x="89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7"/>
                  <a:pt x="3" y="7"/>
                </a:cubicBezTo>
                <a:cubicBezTo>
                  <a:pt x="25" y="7"/>
                  <a:pt x="25" y="7"/>
                  <a:pt x="25" y="7"/>
                </a:cubicBezTo>
                <a:cubicBezTo>
                  <a:pt x="26" y="6"/>
                  <a:pt x="26" y="6"/>
                  <a:pt x="26" y="6"/>
                </a:cubicBezTo>
                <a:cubicBezTo>
                  <a:pt x="27" y="4"/>
                  <a:pt x="28" y="3"/>
                  <a:pt x="30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5" name="Freeform 28"/>
          <p:cNvSpPr>
            <a:spLocks/>
          </p:cNvSpPr>
          <p:nvPr/>
        </p:nvSpPr>
        <p:spPr bwMode="auto">
          <a:xfrm>
            <a:off x="5767918" y="1816101"/>
            <a:ext cx="78316" cy="21167"/>
          </a:xfrm>
          <a:custGeom>
            <a:avLst/>
            <a:gdLst>
              <a:gd name="T0" fmla="*/ 117383635 w 26"/>
              <a:gd name="T1" fmla="*/ 36002232 h 7"/>
              <a:gd name="T2" fmla="*/ 132693660 w 26"/>
              <a:gd name="T3" fmla="*/ 15430500 h 7"/>
              <a:gd name="T4" fmla="*/ 117383635 w 26"/>
              <a:gd name="T5" fmla="*/ 0 h 7"/>
              <a:gd name="T6" fmla="*/ 15310025 w 26"/>
              <a:gd name="T7" fmla="*/ 0 h 7"/>
              <a:gd name="T8" fmla="*/ 0 w 26"/>
              <a:gd name="T9" fmla="*/ 36002232 h 7"/>
              <a:gd name="T10" fmla="*/ 117383635 w 26"/>
              <a:gd name="T11" fmla="*/ 36002232 h 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7">
                <a:moveTo>
                  <a:pt x="23" y="7"/>
                </a:moveTo>
                <a:cubicBezTo>
                  <a:pt x="25" y="7"/>
                  <a:pt x="26" y="5"/>
                  <a:pt x="26" y="3"/>
                </a:cubicBezTo>
                <a:cubicBezTo>
                  <a:pt x="26" y="1"/>
                  <a:pt x="25" y="0"/>
                  <a:pt x="23" y="0"/>
                </a:cubicBezTo>
                <a:cubicBezTo>
                  <a:pt x="3" y="0"/>
                  <a:pt x="3" y="0"/>
                  <a:pt x="3" y="0"/>
                </a:cubicBezTo>
                <a:cubicBezTo>
                  <a:pt x="0" y="7"/>
                  <a:pt x="0" y="7"/>
                  <a:pt x="0" y="7"/>
                </a:cubicBezTo>
                <a:lnTo>
                  <a:pt x="23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6" name="Freeform 29"/>
          <p:cNvSpPr>
            <a:spLocks/>
          </p:cNvSpPr>
          <p:nvPr/>
        </p:nvSpPr>
        <p:spPr bwMode="auto">
          <a:xfrm>
            <a:off x="5801785" y="1750485"/>
            <a:ext cx="44449" cy="21167"/>
          </a:xfrm>
          <a:custGeom>
            <a:avLst/>
            <a:gdLst>
              <a:gd name="T0" fmla="*/ 59273186 w 15"/>
              <a:gd name="T1" fmla="*/ 36002232 h 7"/>
              <a:gd name="T2" fmla="*/ 74090371 w 15"/>
              <a:gd name="T3" fmla="*/ 15430500 h 7"/>
              <a:gd name="T4" fmla="*/ 59273186 w 15"/>
              <a:gd name="T5" fmla="*/ 0 h 7"/>
              <a:gd name="T6" fmla="*/ 19757729 w 15"/>
              <a:gd name="T7" fmla="*/ 0 h 7"/>
              <a:gd name="T8" fmla="*/ 0 w 15"/>
              <a:gd name="T9" fmla="*/ 36002232 h 7"/>
              <a:gd name="T10" fmla="*/ 59273186 w 15"/>
              <a:gd name="T11" fmla="*/ 36002232 h 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" h="7">
                <a:moveTo>
                  <a:pt x="12" y="7"/>
                </a:moveTo>
                <a:cubicBezTo>
                  <a:pt x="14" y="7"/>
                  <a:pt x="15" y="5"/>
                  <a:pt x="15" y="3"/>
                </a:cubicBezTo>
                <a:cubicBezTo>
                  <a:pt x="15" y="1"/>
                  <a:pt x="14" y="0"/>
                  <a:pt x="12" y="0"/>
                </a:cubicBezTo>
                <a:cubicBezTo>
                  <a:pt x="4" y="0"/>
                  <a:pt x="4" y="0"/>
                  <a:pt x="4" y="0"/>
                </a:cubicBezTo>
                <a:cubicBezTo>
                  <a:pt x="0" y="7"/>
                  <a:pt x="0" y="7"/>
                  <a:pt x="0" y="7"/>
                </a:cubicBezTo>
                <a:lnTo>
                  <a:pt x="12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7" name="Freeform 30"/>
          <p:cNvSpPr>
            <a:spLocks/>
          </p:cNvSpPr>
          <p:nvPr/>
        </p:nvSpPr>
        <p:spPr bwMode="auto">
          <a:xfrm>
            <a:off x="5465234" y="1750485"/>
            <a:ext cx="302684" cy="21167"/>
          </a:xfrm>
          <a:custGeom>
            <a:avLst/>
            <a:gdLst>
              <a:gd name="T0" fmla="*/ 15155927 w 101"/>
              <a:gd name="T1" fmla="*/ 0 h 7"/>
              <a:gd name="T2" fmla="*/ 0 w 101"/>
              <a:gd name="T3" fmla="*/ 15430500 h 7"/>
              <a:gd name="T4" fmla="*/ 15155927 w 101"/>
              <a:gd name="T5" fmla="*/ 36002232 h 7"/>
              <a:gd name="T6" fmla="*/ 490035656 w 101"/>
              <a:gd name="T7" fmla="*/ 36002232 h 7"/>
              <a:gd name="T8" fmla="*/ 510244308 w 101"/>
              <a:gd name="T9" fmla="*/ 0 h 7"/>
              <a:gd name="T10" fmla="*/ 15155927 w 101"/>
              <a:gd name="T11" fmla="*/ 0 h 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1" h="7">
                <a:moveTo>
                  <a:pt x="3" y="0"/>
                </a:move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7"/>
                  <a:pt x="3" y="7"/>
                </a:cubicBezTo>
                <a:cubicBezTo>
                  <a:pt x="97" y="7"/>
                  <a:pt x="97" y="7"/>
                  <a:pt x="97" y="7"/>
                </a:cubicBezTo>
                <a:cubicBezTo>
                  <a:pt x="101" y="0"/>
                  <a:pt x="101" y="0"/>
                  <a:pt x="101" y="0"/>
                </a:cubicBez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8" name="Freeform 31"/>
          <p:cNvSpPr>
            <a:spLocks/>
          </p:cNvSpPr>
          <p:nvPr/>
        </p:nvSpPr>
        <p:spPr bwMode="auto">
          <a:xfrm>
            <a:off x="5837767" y="1689101"/>
            <a:ext cx="8467" cy="14817"/>
          </a:xfrm>
          <a:custGeom>
            <a:avLst/>
            <a:gdLst>
              <a:gd name="T0" fmla="*/ 0 w 3"/>
              <a:gd name="T1" fmla="*/ 24699754 h 5"/>
              <a:gd name="T2" fmla="*/ 0 w 3"/>
              <a:gd name="T3" fmla="*/ 24699754 h 5"/>
              <a:gd name="T4" fmla="*/ 13440833 w 3"/>
              <a:gd name="T5" fmla="*/ 9879457 h 5"/>
              <a:gd name="T6" fmla="*/ 8959850 w 3"/>
              <a:gd name="T7" fmla="*/ 0 h 5"/>
              <a:gd name="T8" fmla="*/ 0 w 3"/>
              <a:gd name="T9" fmla="*/ 24699754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" h="5">
                <a:moveTo>
                  <a:pt x="0" y="5"/>
                </a:moveTo>
                <a:cubicBezTo>
                  <a:pt x="0" y="5"/>
                  <a:pt x="0" y="5"/>
                  <a:pt x="0" y="5"/>
                </a:cubicBezTo>
                <a:cubicBezTo>
                  <a:pt x="2" y="5"/>
                  <a:pt x="3" y="4"/>
                  <a:pt x="3" y="2"/>
                </a:cubicBezTo>
                <a:cubicBezTo>
                  <a:pt x="2" y="0"/>
                  <a:pt x="2" y="0"/>
                  <a:pt x="2" y="0"/>
                </a:cubicBezTo>
                <a:lnTo>
                  <a:pt x="0" y="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49" name="Freeform 32"/>
          <p:cNvSpPr>
            <a:spLocks/>
          </p:cNvSpPr>
          <p:nvPr/>
        </p:nvSpPr>
        <p:spPr bwMode="auto">
          <a:xfrm>
            <a:off x="5465234" y="1682751"/>
            <a:ext cx="336551" cy="21167"/>
          </a:xfrm>
          <a:custGeom>
            <a:avLst/>
            <a:gdLst>
              <a:gd name="T0" fmla="*/ 15237181 w 112"/>
              <a:gd name="T1" fmla="*/ 0 h 7"/>
              <a:gd name="T2" fmla="*/ 0 w 112"/>
              <a:gd name="T3" fmla="*/ 15430500 h 7"/>
              <a:gd name="T4" fmla="*/ 15237181 w 112"/>
              <a:gd name="T5" fmla="*/ 36002232 h 7"/>
              <a:gd name="T6" fmla="*/ 548540776 w 112"/>
              <a:gd name="T7" fmla="*/ 36002232 h 7"/>
              <a:gd name="T8" fmla="*/ 568857769 w 112"/>
              <a:gd name="T9" fmla="*/ 0 h 7"/>
              <a:gd name="T10" fmla="*/ 15237181 w 112"/>
              <a:gd name="T11" fmla="*/ 0 h 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12" h="7">
                <a:moveTo>
                  <a:pt x="3" y="0"/>
                </a:move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7"/>
                  <a:pt x="3" y="7"/>
                </a:cubicBezTo>
                <a:cubicBezTo>
                  <a:pt x="108" y="7"/>
                  <a:pt x="108" y="7"/>
                  <a:pt x="108" y="7"/>
                </a:cubicBezTo>
                <a:cubicBezTo>
                  <a:pt x="112" y="0"/>
                  <a:pt x="112" y="0"/>
                  <a:pt x="112" y="0"/>
                </a:cubicBez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0" name="Freeform 33"/>
          <p:cNvSpPr>
            <a:spLocks/>
          </p:cNvSpPr>
          <p:nvPr/>
        </p:nvSpPr>
        <p:spPr bwMode="auto">
          <a:xfrm>
            <a:off x="5465233" y="1617134"/>
            <a:ext cx="374651" cy="21167"/>
          </a:xfrm>
          <a:custGeom>
            <a:avLst/>
            <a:gdLst>
              <a:gd name="T0" fmla="*/ 626578513 w 125"/>
              <a:gd name="T1" fmla="*/ 0 h 7"/>
              <a:gd name="T2" fmla="*/ 15159865 w 125"/>
              <a:gd name="T3" fmla="*/ 0 h 7"/>
              <a:gd name="T4" fmla="*/ 0 w 125"/>
              <a:gd name="T5" fmla="*/ 15430500 h 7"/>
              <a:gd name="T6" fmla="*/ 15159865 w 125"/>
              <a:gd name="T7" fmla="*/ 36002232 h 7"/>
              <a:gd name="T8" fmla="*/ 586154455 w 125"/>
              <a:gd name="T9" fmla="*/ 36002232 h 7"/>
              <a:gd name="T10" fmla="*/ 631631801 w 125"/>
              <a:gd name="T11" fmla="*/ 0 h 7"/>
              <a:gd name="T12" fmla="*/ 626578513 w 125"/>
              <a:gd name="T13" fmla="*/ 0 h 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25" h="7">
                <a:moveTo>
                  <a:pt x="124" y="0"/>
                </a:move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7"/>
                  <a:pt x="3" y="7"/>
                </a:cubicBezTo>
                <a:cubicBezTo>
                  <a:pt x="116" y="7"/>
                  <a:pt x="116" y="7"/>
                  <a:pt x="116" y="7"/>
                </a:cubicBezTo>
                <a:cubicBezTo>
                  <a:pt x="125" y="0"/>
                  <a:pt x="125" y="0"/>
                  <a:pt x="125" y="0"/>
                </a:cubicBezTo>
                <a:cubicBezTo>
                  <a:pt x="124" y="0"/>
                  <a:pt x="124" y="0"/>
                  <a:pt x="1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1" name="Freeform 34"/>
          <p:cNvSpPr>
            <a:spLocks/>
          </p:cNvSpPr>
          <p:nvPr/>
        </p:nvSpPr>
        <p:spPr bwMode="auto">
          <a:xfrm>
            <a:off x="6318251" y="1600200"/>
            <a:ext cx="357716" cy="323851"/>
          </a:xfrm>
          <a:custGeom>
            <a:avLst/>
            <a:gdLst>
              <a:gd name="T0" fmla="*/ 604856423 w 119"/>
              <a:gd name="T1" fmla="*/ 0 h 108"/>
              <a:gd name="T2" fmla="*/ 508282121 w 119"/>
              <a:gd name="T3" fmla="*/ 75866517 h 108"/>
              <a:gd name="T4" fmla="*/ 543862839 w 119"/>
              <a:gd name="T5" fmla="*/ 80924434 h 108"/>
              <a:gd name="T6" fmla="*/ 320217443 w 119"/>
              <a:gd name="T7" fmla="*/ 500724857 h 108"/>
              <a:gd name="T8" fmla="*/ 142318363 w 119"/>
              <a:gd name="T9" fmla="*/ 348989575 h 108"/>
              <a:gd name="T10" fmla="*/ 132152765 w 119"/>
              <a:gd name="T11" fmla="*/ 343931657 h 108"/>
              <a:gd name="T12" fmla="*/ 116905497 w 119"/>
              <a:gd name="T13" fmla="*/ 354047492 h 108"/>
              <a:gd name="T14" fmla="*/ 5083926 w 119"/>
              <a:gd name="T15" fmla="*/ 520956528 h 108"/>
              <a:gd name="T16" fmla="*/ 10165597 w 119"/>
              <a:gd name="T17" fmla="*/ 541188198 h 108"/>
              <a:gd name="T18" fmla="*/ 20331195 w 119"/>
              <a:gd name="T19" fmla="*/ 546246116 h 108"/>
              <a:gd name="T20" fmla="*/ 35580718 w 119"/>
              <a:gd name="T21" fmla="*/ 536130281 h 108"/>
              <a:gd name="T22" fmla="*/ 35580718 w 119"/>
              <a:gd name="T23" fmla="*/ 536130281 h 108"/>
              <a:gd name="T24" fmla="*/ 137236691 w 119"/>
              <a:gd name="T25" fmla="*/ 384394999 h 108"/>
              <a:gd name="T26" fmla="*/ 315135772 w 119"/>
              <a:gd name="T27" fmla="*/ 536130281 h 108"/>
              <a:gd name="T28" fmla="*/ 330383041 w 119"/>
              <a:gd name="T29" fmla="*/ 541188198 h 108"/>
              <a:gd name="T30" fmla="*/ 340548638 w 119"/>
              <a:gd name="T31" fmla="*/ 531072363 h 108"/>
              <a:gd name="T32" fmla="*/ 569275705 w 119"/>
              <a:gd name="T33" fmla="*/ 96098187 h 108"/>
              <a:gd name="T34" fmla="*/ 594690826 w 119"/>
              <a:gd name="T35" fmla="*/ 121387776 h 108"/>
              <a:gd name="T36" fmla="*/ 604856423 w 119"/>
              <a:gd name="T37" fmla="*/ 0 h 10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19" h="108">
                <a:moveTo>
                  <a:pt x="119" y="0"/>
                </a:moveTo>
                <a:cubicBezTo>
                  <a:pt x="100" y="15"/>
                  <a:pt x="100" y="15"/>
                  <a:pt x="100" y="15"/>
                </a:cubicBezTo>
                <a:cubicBezTo>
                  <a:pt x="107" y="16"/>
                  <a:pt x="107" y="16"/>
                  <a:pt x="107" y="16"/>
                </a:cubicBezTo>
                <a:cubicBezTo>
                  <a:pt x="63" y="99"/>
                  <a:pt x="63" y="99"/>
                  <a:pt x="63" y="99"/>
                </a:cubicBezTo>
                <a:cubicBezTo>
                  <a:pt x="28" y="69"/>
                  <a:pt x="28" y="69"/>
                  <a:pt x="28" y="69"/>
                </a:cubicBezTo>
                <a:cubicBezTo>
                  <a:pt x="27" y="68"/>
                  <a:pt x="27" y="68"/>
                  <a:pt x="26" y="68"/>
                </a:cubicBezTo>
                <a:cubicBezTo>
                  <a:pt x="25" y="68"/>
                  <a:pt x="24" y="69"/>
                  <a:pt x="23" y="70"/>
                </a:cubicBezTo>
                <a:cubicBezTo>
                  <a:pt x="1" y="103"/>
                  <a:pt x="1" y="103"/>
                  <a:pt x="1" y="103"/>
                </a:cubicBezTo>
                <a:cubicBezTo>
                  <a:pt x="0" y="104"/>
                  <a:pt x="1" y="106"/>
                  <a:pt x="2" y="107"/>
                </a:cubicBezTo>
                <a:cubicBezTo>
                  <a:pt x="3" y="108"/>
                  <a:pt x="3" y="108"/>
                  <a:pt x="4" y="108"/>
                </a:cubicBezTo>
                <a:cubicBezTo>
                  <a:pt x="5" y="108"/>
                  <a:pt x="6" y="107"/>
                  <a:pt x="7" y="106"/>
                </a:cubicBezTo>
                <a:cubicBezTo>
                  <a:pt x="7" y="106"/>
                  <a:pt x="7" y="106"/>
                  <a:pt x="7" y="106"/>
                </a:cubicBezTo>
                <a:cubicBezTo>
                  <a:pt x="27" y="76"/>
                  <a:pt x="27" y="76"/>
                  <a:pt x="27" y="76"/>
                </a:cubicBezTo>
                <a:cubicBezTo>
                  <a:pt x="62" y="106"/>
                  <a:pt x="62" y="106"/>
                  <a:pt x="62" y="106"/>
                </a:cubicBezTo>
                <a:cubicBezTo>
                  <a:pt x="63" y="107"/>
                  <a:pt x="64" y="107"/>
                  <a:pt x="65" y="107"/>
                </a:cubicBezTo>
                <a:cubicBezTo>
                  <a:pt x="66" y="107"/>
                  <a:pt x="66" y="106"/>
                  <a:pt x="67" y="105"/>
                </a:cubicBezTo>
                <a:cubicBezTo>
                  <a:pt x="112" y="19"/>
                  <a:pt x="112" y="19"/>
                  <a:pt x="112" y="19"/>
                </a:cubicBezTo>
                <a:cubicBezTo>
                  <a:pt x="117" y="24"/>
                  <a:pt x="117" y="24"/>
                  <a:pt x="117" y="24"/>
                </a:cubicBezTo>
                <a:lnTo>
                  <a:pt x="11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2" name="Freeform 35"/>
          <p:cNvSpPr>
            <a:spLocks/>
          </p:cNvSpPr>
          <p:nvPr/>
        </p:nvSpPr>
        <p:spPr bwMode="auto">
          <a:xfrm>
            <a:off x="6280151" y="1593851"/>
            <a:ext cx="389467" cy="391583"/>
          </a:xfrm>
          <a:custGeom>
            <a:avLst/>
            <a:gdLst>
              <a:gd name="T0" fmla="*/ 636130886 w 130"/>
              <a:gd name="T1" fmla="*/ 627753703 h 130"/>
              <a:gd name="T2" fmla="*/ 35339606 w 130"/>
              <a:gd name="T3" fmla="*/ 627753703 h 130"/>
              <a:gd name="T4" fmla="*/ 35339606 w 130"/>
              <a:gd name="T5" fmla="*/ 20415765 h 130"/>
              <a:gd name="T6" fmla="*/ 25244181 w 130"/>
              <a:gd name="T7" fmla="*/ 0 h 130"/>
              <a:gd name="T8" fmla="*/ 10097672 w 130"/>
              <a:gd name="T9" fmla="*/ 0 h 130"/>
              <a:gd name="T10" fmla="*/ 0 w 130"/>
              <a:gd name="T11" fmla="*/ 20415765 h 130"/>
              <a:gd name="T12" fmla="*/ 0 w 130"/>
              <a:gd name="T13" fmla="*/ 637960456 h 130"/>
              <a:gd name="T14" fmla="*/ 0 w 130"/>
              <a:gd name="T15" fmla="*/ 643063833 h 130"/>
              <a:gd name="T16" fmla="*/ 0 w 130"/>
              <a:gd name="T17" fmla="*/ 653272845 h 130"/>
              <a:gd name="T18" fmla="*/ 5048836 w 130"/>
              <a:gd name="T19" fmla="*/ 658376221 h 130"/>
              <a:gd name="T20" fmla="*/ 10097672 w 130"/>
              <a:gd name="T21" fmla="*/ 663479597 h 130"/>
              <a:gd name="T22" fmla="*/ 20195345 w 130"/>
              <a:gd name="T23" fmla="*/ 663479597 h 130"/>
              <a:gd name="T24" fmla="*/ 25244181 w 130"/>
              <a:gd name="T25" fmla="*/ 663479597 h 130"/>
              <a:gd name="T26" fmla="*/ 636130886 w 130"/>
              <a:gd name="T27" fmla="*/ 663479597 h 130"/>
              <a:gd name="T28" fmla="*/ 656326231 w 130"/>
              <a:gd name="T29" fmla="*/ 653272845 h 130"/>
              <a:gd name="T30" fmla="*/ 656326231 w 130"/>
              <a:gd name="T31" fmla="*/ 637960456 h 130"/>
              <a:gd name="T32" fmla="*/ 636130886 w 130"/>
              <a:gd name="T33" fmla="*/ 627753703 h 13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30" h="130">
                <a:moveTo>
                  <a:pt x="126" y="123"/>
                </a:moveTo>
                <a:cubicBezTo>
                  <a:pt x="7" y="123"/>
                  <a:pt x="7" y="123"/>
                  <a:pt x="7" y="123"/>
                </a:cubicBezTo>
                <a:cubicBezTo>
                  <a:pt x="7" y="4"/>
                  <a:pt x="7" y="4"/>
                  <a:pt x="7" y="4"/>
                </a:cubicBezTo>
                <a:cubicBezTo>
                  <a:pt x="7" y="2"/>
                  <a:pt x="6" y="0"/>
                  <a:pt x="5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8"/>
                  <a:pt x="0" y="128"/>
                  <a:pt x="0" y="128"/>
                </a:cubicBezTo>
                <a:cubicBezTo>
                  <a:pt x="0" y="128"/>
                  <a:pt x="0" y="129"/>
                  <a:pt x="1" y="129"/>
                </a:cubicBezTo>
                <a:cubicBezTo>
                  <a:pt x="1" y="130"/>
                  <a:pt x="2" y="130"/>
                  <a:pt x="2" y="130"/>
                </a:cubicBezTo>
                <a:cubicBezTo>
                  <a:pt x="4" y="130"/>
                  <a:pt x="4" y="130"/>
                  <a:pt x="4" y="130"/>
                </a:cubicBezTo>
                <a:cubicBezTo>
                  <a:pt x="5" y="130"/>
                  <a:pt x="5" y="130"/>
                  <a:pt x="5" y="130"/>
                </a:cubicBezTo>
                <a:cubicBezTo>
                  <a:pt x="126" y="130"/>
                  <a:pt x="126" y="130"/>
                  <a:pt x="126" y="130"/>
                </a:cubicBezTo>
                <a:cubicBezTo>
                  <a:pt x="128" y="130"/>
                  <a:pt x="130" y="129"/>
                  <a:pt x="130" y="128"/>
                </a:cubicBezTo>
                <a:cubicBezTo>
                  <a:pt x="130" y="125"/>
                  <a:pt x="130" y="125"/>
                  <a:pt x="130" y="125"/>
                </a:cubicBezTo>
                <a:cubicBezTo>
                  <a:pt x="130" y="124"/>
                  <a:pt x="128" y="123"/>
                  <a:pt x="126" y="1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3" name="Freeform 36"/>
          <p:cNvSpPr>
            <a:spLocks/>
          </p:cNvSpPr>
          <p:nvPr/>
        </p:nvSpPr>
        <p:spPr bwMode="auto">
          <a:xfrm>
            <a:off x="6333067" y="1930401"/>
            <a:ext cx="19051" cy="23284"/>
          </a:xfrm>
          <a:custGeom>
            <a:avLst/>
            <a:gdLst>
              <a:gd name="T0" fmla="*/ 0 w 6"/>
              <a:gd name="T1" fmla="*/ 28589114 h 8"/>
              <a:gd name="T2" fmla="*/ 17012245 w 6"/>
              <a:gd name="T3" fmla="*/ 38119546 h 8"/>
              <a:gd name="T4" fmla="*/ 34022109 w 6"/>
              <a:gd name="T5" fmla="*/ 23823898 h 8"/>
              <a:gd name="T6" fmla="*/ 34022109 w 6"/>
              <a:gd name="T7" fmla="*/ 0 h 8"/>
              <a:gd name="T8" fmla="*/ 22682200 w 6"/>
              <a:gd name="T9" fmla="*/ 14295648 h 8"/>
              <a:gd name="T10" fmla="*/ 0 w 6"/>
              <a:gd name="T11" fmla="*/ 28589114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" h="8">
                <a:moveTo>
                  <a:pt x="0" y="6"/>
                </a:moveTo>
                <a:cubicBezTo>
                  <a:pt x="0" y="7"/>
                  <a:pt x="1" y="8"/>
                  <a:pt x="3" y="8"/>
                </a:cubicBezTo>
                <a:cubicBezTo>
                  <a:pt x="5" y="8"/>
                  <a:pt x="6" y="7"/>
                  <a:pt x="6" y="5"/>
                </a:cubicBezTo>
                <a:cubicBezTo>
                  <a:pt x="6" y="0"/>
                  <a:pt x="6" y="0"/>
                  <a:pt x="6" y="0"/>
                </a:cubicBezTo>
                <a:cubicBezTo>
                  <a:pt x="4" y="3"/>
                  <a:pt x="4" y="3"/>
                  <a:pt x="4" y="3"/>
                </a:cubicBezTo>
                <a:cubicBezTo>
                  <a:pt x="3" y="5"/>
                  <a:pt x="1" y="5"/>
                  <a:pt x="0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4" name="Freeform 37"/>
          <p:cNvSpPr>
            <a:spLocks/>
          </p:cNvSpPr>
          <p:nvPr/>
        </p:nvSpPr>
        <p:spPr bwMode="auto">
          <a:xfrm>
            <a:off x="6362700" y="1885951"/>
            <a:ext cx="19051" cy="67733"/>
          </a:xfrm>
          <a:custGeom>
            <a:avLst/>
            <a:gdLst>
              <a:gd name="T0" fmla="*/ 0 w 6"/>
              <a:gd name="T1" fmla="*/ 97566922 h 23"/>
              <a:gd name="T2" fmla="*/ 17012245 w 6"/>
              <a:gd name="T3" fmla="*/ 112201739 h 23"/>
              <a:gd name="T4" fmla="*/ 34022109 w 6"/>
              <a:gd name="T5" fmla="*/ 97566922 h 23"/>
              <a:gd name="T6" fmla="*/ 34022109 w 6"/>
              <a:gd name="T7" fmla="*/ 0 h 23"/>
              <a:gd name="T8" fmla="*/ 0 w 6"/>
              <a:gd name="T9" fmla="*/ 43904452 h 23"/>
              <a:gd name="T10" fmla="*/ 0 w 6"/>
              <a:gd name="T11" fmla="*/ 97566922 h 2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" h="23">
                <a:moveTo>
                  <a:pt x="0" y="20"/>
                </a:moveTo>
                <a:cubicBezTo>
                  <a:pt x="0" y="22"/>
                  <a:pt x="1" y="23"/>
                  <a:pt x="3" y="23"/>
                </a:cubicBezTo>
                <a:cubicBezTo>
                  <a:pt x="5" y="23"/>
                  <a:pt x="6" y="22"/>
                  <a:pt x="6" y="20"/>
                </a:cubicBezTo>
                <a:cubicBezTo>
                  <a:pt x="6" y="0"/>
                  <a:pt x="6" y="0"/>
                  <a:pt x="6" y="0"/>
                </a:cubicBezTo>
                <a:cubicBezTo>
                  <a:pt x="0" y="9"/>
                  <a:pt x="0" y="9"/>
                  <a:pt x="0" y="9"/>
                </a:cubicBezTo>
                <a:lnTo>
                  <a:pt x="0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5" name="Freeform 38"/>
          <p:cNvSpPr>
            <a:spLocks/>
          </p:cNvSpPr>
          <p:nvPr/>
        </p:nvSpPr>
        <p:spPr bwMode="auto">
          <a:xfrm>
            <a:off x="6394451" y="1858433"/>
            <a:ext cx="16933" cy="95251"/>
          </a:xfrm>
          <a:custGeom>
            <a:avLst/>
            <a:gdLst>
              <a:gd name="T0" fmla="*/ 0 w 6"/>
              <a:gd name="T1" fmla="*/ 14950634 h 32"/>
              <a:gd name="T2" fmla="*/ 0 w 6"/>
              <a:gd name="T3" fmla="*/ 144530236 h 32"/>
              <a:gd name="T4" fmla="*/ 13440833 w 6"/>
              <a:gd name="T5" fmla="*/ 159480870 h 32"/>
              <a:gd name="T6" fmla="*/ 26881667 w 6"/>
              <a:gd name="T7" fmla="*/ 144530236 h 32"/>
              <a:gd name="T8" fmla="*/ 26881667 w 6"/>
              <a:gd name="T9" fmla="*/ 14950634 h 32"/>
              <a:gd name="T10" fmla="*/ 8959850 w 6"/>
              <a:gd name="T11" fmla="*/ 0 h 32"/>
              <a:gd name="T12" fmla="*/ 0 w 6"/>
              <a:gd name="T13" fmla="*/ 14950634 h 3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" h="32">
                <a:moveTo>
                  <a:pt x="0" y="3"/>
                </a:moveTo>
                <a:cubicBezTo>
                  <a:pt x="0" y="29"/>
                  <a:pt x="0" y="29"/>
                  <a:pt x="0" y="29"/>
                </a:cubicBezTo>
                <a:cubicBezTo>
                  <a:pt x="0" y="31"/>
                  <a:pt x="1" y="32"/>
                  <a:pt x="3" y="32"/>
                </a:cubicBezTo>
                <a:cubicBezTo>
                  <a:pt x="5" y="32"/>
                  <a:pt x="6" y="31"/>
                  <a:pt x="6" y="29"/>
                </a:cubicBezTo>
                <a:cubicBezTo>
                  <a:pt x="6" y="3"/>
                  <a:pt x="6" y="3"/>
                  <a:pt x="6" y="3"/>
                </a:cubicBezTo>
                <a:cubicBezTo>
                  <a:pt x="2" y="0"/>
                  <a:pt x="2" y="0"/>
                  <a:pt x="2" y="0"/>
                </a:cubicBezTo>
                <a:lnTo>
                  <a:pt x="0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6" name="Freeform 39"/>
          <p:cNvSpPr>
            <a:spLocks/>
          </p:cNvSpPr>
          <p:nvPr/>
        </p:nvSpPr>
        <p:spPr bwMode="auto">
          <a:xfrm>
            <a:off x="6424084" y="1879601"/>
            <a:ext cx="16933" cy="74084"/>
          </a:xfrm>
          <a:custGeom>
            <a:avLst/>
            <a:gdLst>
              <a:gd name="T0" fmla="*/ 0 w 6"/>
              <a:gd name="T1" fmla="*/ 108670115 h 25"/>
              <a:gd name="T2" fmla="*/ 13440833 w 6"/>
              <a:gd name="T3" fmla="*/ 123489879 h 25"/>
              <a:gd name="T4" fmla="*/ 26881667 w 6"/>
              <a:gd name="T5" fmla="*/ 108670115 h 25"/>
              <a:gd name="T6" fmla="*/ 26881667 w 6"/>
              <a:gd name="T7" fmla="*/ 24698865 h 25"/>
              <a:gd name="T8" fmla="*/ 0 w 6"/>
              <a:gd name="T9" fmla="*/ 0 h 25"/>
              <a:gd name="T10" fmla="*/ 0 w 6"/>
              <a:gd name="T11" fmla="*/ 108670115 h 2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" h="25">
                <a:moveTo>
                  <a:pt x="0" y="22"/>
                </a:moveTo>
                <a:cubicBezTo>
                  <a:pt x="0" y="24"/>
                  <a:pt x="1" y="25"/>
                  <a:pt x="3" y="25"/>
                </a:cubicBezTo>
                <a:cubicBezTo>
                  <a:pt x="5" y="25"/>
                  <a:pt x="6" y="24"/>
                  <a:pt x="6" y="22"/>
                </a:cubicBezTo>
                <a:cubicBezTo>
                  <a:pt x="6" y="5"/>
                  <a:pt x="6" y="5"/>
                  <a:pt x="6" y="5"/>
                </a:cubicBezTo>
                <a:cubicBezTo>
                  <a:pt x="0" y="0"/>
                  <a:pt x="0" y="0"/>
                  <a:pt x="0" y="0"/>
                </a:cubicBezTo>
                <a:lnTo>
                  <a:pt x="0" y="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7" name="Freeform 40"/>
          <p:cNvSpPr>
            <a:spLocks/>
          </p:cNvSpPr>
          <p:nvPr/>
        </p:nvSpPr>
        <p:spPr bwMode="auto">
          <a:xfrm>
            <a:off x="6453718" y="1902884"/>
            <a:ext cx="16933" cy="50800"/>
          </a:xfrm>
          <a:custGeom>
            <a:avLst/>
            <a:gdLst>
              <a:gd name="T0" fmla="*/ 0 w 6"/>
              <a:gd name="T1" fmla="*/ 70319153 h 17"/>
              <a:gd name="T2" fmla="*/ 13440833 w 6"/>
              <a:gd name="T3" fmla="*/ 85388824 h 17"/>
              <a:gd name="T4" fmla="*/ 26881667 w 6"/>
              <a:gd name="T5" fmla="*/ 70319153 h 17"/>
              <a:gd name="T6" fmla="*/ 26881667 w 6"/>
              <a:gd name="T7" fmla="*/ 30137100 h 17"/>
              <a:gd name="T8" fmla="*/ 0 w 6"/>
              <a:gd name="T9" fmla="*/ 0 h 17"/>
              <a:gd name="T10" fmla="*/ 0 w 6"/>
              <a:gd name="T11" fmla="*/ 70319153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" h="17">
                <a:moveTo>
                  <a:pt x="0" y="14"/>
                </a:moveTo>
                <a:cubicBezTo>
                  <a:pt x="0" y="16"/>
                  <a:pt x="1" y="17"/>
                  <a:pt x="3" y="17"/>
                </a:cubicBezTo>
                <a:cubicBezTo>
                  <a:pt x="5" y="17"/>
                  <a:pt x="6" y="16"/>
                  <a:pt x="6" y="14"/>
                </a:cubicBezTo>
                <a:cubicBezTo>
                  <a:pt x="6" y="6"/>
                  <a:pt x="6" y="6"/>
                  <a:pt x="6" y="6"/>
                </a:cubicBezTo>
                <a:cubicBezTo>
                  <a:pt x="0" y="0"/>
                  <a:pt x="0" y="0"/>
                  <a:pt x="0" y="0"/>
                </a:cubicBezTo>
                <a:lnTo>
                  <a:pt x="0" y="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8" name="Freeform 41"/>
          <p:cNvSpPr>
            <a:spLocks/>
          </p:cNvSpPr>
          <p:nvPr/>
        </p:nvSpPr>
        <p:spPr bwMode="auto">
          <a:xfrm>
            <a:off x="6483352" y="1930401"/>
            <a:ext cx="19049" cy="23284"/>
          </a:xfrm>
          <a:custGeom>
            <a:avLst/>
            <a:gdLst>
              <a:gd name="T0" fmla="*/ 0 w 6"/>
              <a:gd name="T1" fmla="*/ 0 h 8"/>
              <a:gd name="T2" fmla="*/ 0 w 6"/>
              <a:gd name="T3" fmla="*/ 23823898 h 8"/>
              <a:gd name="T4" fmla="*/ 17011055 w 6"/>
              <a:gd name="T5" fmla="*/ 38119546 h 8"/>
              <a:gd name="T6" fmla="*/ 34019728 w 6"/>
              <a:gd name="T7" fmla="*/ 23823898 h 8"/>
              <a:gd name="T8" fmla="*/ 34019728 w 6"/>
              <a:gd name="T9" fmla="*/ 23823898 h 8"/>
              <a:gd name="T10" fmla="*/ 28350170 w 6"/>
              <a:gd name="T11" fmla="*/ 19060865 h 8"/>
              <a:gd name="T12" fmla="*/ 0 w 6"/>
              <a:gd name="T13" fmla="*/ 0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" h="8">
                <a:moveTo>
                  <a:pt x="0" y="0"/>
                </a:moveTo>
                <a:cubicBezTo>
                  <a:pt x="0" y="5"/>
                  <a:pt x="0" y="5"/>
                  <a:pt x="0" y="5"/>
                </a:cubicBezTo>
                <a:cubicBezTo>
                  <a:pt x="0" y="7"/>
                  <a:pt x="1" y="8"/>
                  <a:pt x="3" y="8"/>
                </a:cubicBezTo>
                <a:cubicBezTo>
                  <a:pt x="5" y="8"/>
                  <a:pt x="6" y="7"/>
                  <a:pt x="6" y="5"/>
                </a:cubicBezTo>
                <a:cubicBezTo>
                  <a:pt x="6" y="5"/>
                  <a:pt x="6" y="5"/>
                  <a:pt x="6" y="5"/>
                </a:cubicBezTo>
                <a:cubicBezTo>
                  <a:pt x="6" y="5"/>
                  <a:pt x="5" y="4"/>
                  <a:pt x="5" y="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59" name="Freeform 42"/>
          <p:cNvSpPr>
            <a:spLocks/>
          </p:cNvSpPr>
          <p:nvPr/>
        </p:nvSpPr>
        <p:spPr bwMode="auto">
          <a:xfrm>
            <a:off x="6512985" y="1924052"/>
            <a:ext cx="19049" cy="29633"/>
          </a:xfrm>
          <a:custGeom>
            <a:avLst/>
            <a:gdLst>
              <a:gd name="T0" fmla="*/ 0 w 6"/>
              <a:gd name="T1" fmla="*/ 34577655 h 10"/>
              <a:gd name="T2" fmla="*/ 0 w 6"/>
              <a:gd name="T3" fmla="*/ 34577655 h 10"/>
              <a:gd name="T4" fmla="*/ 17011055 w 6"/>
              <a:gd name="T5" fmla="*/ 49395063 h 10"/>
              <a:gd name="T6" fmla="*/ 34019728 w 6"/>
              <a:gd name="T7" fmla="*/ 34577655 h 10"/>
              <a:gd name="T8" fmla="*/ 34019728 w 6"/>
              <a:gd name="T9" fmla="*/ 0 h 10"/>
              <a:gd name="T10" fmla="*/ 22680613 w 6"/>
              <a:gd name="T11" fmla="*/ 19758025 h 10"/>
              <a:gd name="T12" fmla="*/ 0 w 6"/>
              <a:gd name="T13" fmla="*/ 34577655 h 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" h="10">
                <a:moveTo>
                  <a:pt x="0" y="7"/>
                </a:moveTo>
                <a:cubicBezTo>
                  <a:pt x="0" y="7"/>
                  <a:pt x="0" y="7"/>
                  <a:pt x="0" y="7"/>
                </a:cubicBezTo>
                <a:cubicBezTo>
                  <a:pt x="0" y="9"/>
                  <a:pt x="1" y="10"/>
                  <a:pt x="3" y="10"/>
                </a:cubicBezTo>
                <a:cubicBezTo>
                  <a:pt x="5" y="10"/>
                  <a:pt x="6" y="9"/>
                  <a:pt x="6" y="7"/>
                </a:cubicBezTo>
                <a:cubicBezTo>
                  <a:pt x="6" y="0"/>
                  <a:pt x="6" y="0"/>
                  <a:pt x="6" y="0"/>
                </a:cubicBezTo>
                <a:cubicBezTo>
                  <a:pt x="4" y="4"/>
                  <a:pt x="4" y="4"/>
                  <a:pt x="4" y="4"/>
                </a:cubicBezTo>
                <a:cubicBezTo>
                  <a:pt x="3" y="6"/>
                  <a:pt x="2" y="7"/>
                  <a:pt x="0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0" name="Freeform 43"/>
          <p:cNvSpPr>
            <a:spLocks/>
          </p:cNvSpPr>
          <p:nvPr/>
        </p:nvSpPr>
        <p:spPr bwMode="auto">
          <a:xfrm>
            <a:off x="6544734" y="1866900"/>
            <a:ext cx="16933" cy="86784"/>
          </a:xfrm>
          <a:custGeom>
            <a:avLst/>
            <a:gdLst>
              <a:gd name="T0" fmla="*/ 0 w 6"/>
              <a:gd name="T1" fmla="*/ 130972767 h 29"/>
              <a:gd name="T2" fmla="*/ 13440833 w 6"/>
              <a:gd name="T3" fmla="*/ 146084405 h 29"/>
              <a:gd name="T4" fmla="*/ 26881667 w 6"/>
              <a:gd name="T5" fmla="*/ 130972767 h 29"/>
              <a:gd name="T6" fmla="*/ 26881667 w 6"/>
              <a:gd name="T7" fmla="*/ 0 h 29"/>
              <a:gd name="T8" fmla="*/ 0 w 6"/>
              <a:gd name="T9" fmla="*/ 55412332 h 29"/>
              <a:gd name="T10" fmla="*/ 0 w 6"/>
              <a:gd name="T11" fmla="*/ 130972767 h 2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" h="29">
                <a:moveTo>
                  <a:pt x="0" y="26"/>
                </a:moveTo>
                <a:cubicBezTo>
                  <a:pt x="0" y="28"/>
                  <a:pt x="2" y="29"/>
                  <a:pt x="3" y="29"/>
                </a:cubicBezTo>
                <a:cubicBezTo>
                  <a:pt x="5" y="29"/>
                  <a:pt x="6" y="28"/>
                  <a:pt x="6" y="26"/>
                </a:cubicBezTo>
                <a:cubicBezTo>
                  <a:pt x="6" y="0"/>
                  <a:pt x="6" y="0"/>
                  <a:pt x="6" y="0"/>
                </a:cubicBezTo>
                <a:cubicBezTo>
                  <a:pt x="0" y="11"/>
                  <a:pt x="0" y="11"/>
                  <a:pt x="0" y="11"/>
                </a:cubicBezTo>
                <a:lnTo>
                  <a:pt x="0" y="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1" name="Freeform 44"/>
          <p:cNvSpPr>
            <a:spLocks/>
          </p:cNvSpPr>
          <p:nvPr/>
        </p:nvSpPr>
        <p:spPr bwMode="auto">
          <a:xfrm>
            <a:off x="6574367" y="1809751"/>
            <a:ext cx="16933" cy="143933"/>
          </a:xfrm>
          <a:custGeom>
            <a:avLst/>
            <a:gdLst>
              <a:gd name="T0" fmla="*/ 0 w 6"/>
              <a:gd name="T1" fmla="*/ 227601330 h 48"/>
              <a:gd name="T2" fmla="*/ 13440833 w 6"/>
              <a:gd name="T3" fmla="*/ 242775052 h 48"/>
              <a:gd name="T4" fmla="*/ 26881667 w 6"/>
              <a:gd name="T5" fmla="*/ 227601330 h 48"/>
              <a:gd name="T6" fmla="*/ 26881667 w 6"/>
              <a:gd name="T7" fmla="*/ 0 h 48"/>
              <a:gd name="T8" fmla="*/ 0 w 6"/>
              <a:gd name="T9" fmla="*/ 55636980 h 48"/>
              <a:gd name="T10" fmla="*/ 0 w 6"/>
              <a:gd name="T11" fmla="*/ 227601330 h 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" h="48">
                <a:moveTo>
                  <a:pt x="0" y="45"/>
                </a:moveTo>
                <a:cubicBezTo>
                  <a:pt x="0" y="47"/>
                  <a:pt x="2" y="48"/>
                  <a:pt x="3" y="48"/>
                </a:cubicBezTo>
                <a:cubicBezTo>
                  <a:pt x="5" y="48"/>
                  <a:pt x="6" y="47"/>
                  <a:pt x="6" y="45"/>
                </a:cubicBezTo>
                <a:cubicBezTo>
                  <a:pt x="6" y="0"/>
                  <a:pt x="6" y="0"/>
                  <a:pt x="6" y="0"/>
                </a:cubicBezTo>
                <a:cubicBezTo>
                  <a:pt x="0" y="11"/>
                  <a:pt x="0" y="11"/>
                  <a:pt x="0" y="11"/>
                </a:cubicBezTo>
                <a:lnTo>
                  <a:pt x="0" y="4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2" name="Freeform 45"/>
          <p:cNvSpPr>
            <a:spLocks/>
          </p:cNvSpPr>
          <p:nvPr/>
        </p:nvSpPr>
        <p:spPr bwMode="auto">
          <a:xfrm>
            <a:off x="6604000" y="1752601"/>
            <a:ext cx="16933" cy="201084"/>
          </a:xfrm>
          <a:custGeom>
            <a:avLst/>
            <a:gdLst>
              <a:gd name="T0" fmla="*/ 0 w 6"/>
              <a:gd name="T1" fmla="*/ 324270459 h 67"/>
              <a:gd name="T2" fmla="*/ 13440833 w 6"/>
              <a:gd name="T3" fmla="*/ 339471059 h 67"/>
              <a:gd name="T4" fmla="*/ 26881667 w 6"/>
              <a:gd name="T5" fmla="*/ 324270459 h 67"/>
              <a:gd name="T6" fmla="*/ 26881667 w 6"/>
              <a:gd name="T7" fmla="*/ 0 h 67"/>
              <a:gd name="T8" fmla="*/ 0 w 6"/>
              <a:gd name="T9" fmla="*/ 55733282 h 67"/>
              <a:gd name="T10" fmla="*/ 0 w 6"/>
              <a:gd name="T11" fmla="*/ 324270459 h 6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" h="67">
                <a:moveTo>
                  <a:pt x="0" y="64"/>
                </a:moveTo>
                <a:cubicBezTo>
                  <a:pt x="0" y="66"/>
                  <a:pt x="2" y="67"/>
                  <a:pt x="3" y="67"/>
                </a:cubicBezTo>
                <a:cubicBezTo>
                  <a:pt x="5" y="67"/>
                  <a:pt x="6" y="66"/>
                  <a:pt x="6" y="64"/>
                </a:cubicBezTo>
                <a:cubicBezTo>
                  <a:pt x="6" y="0"/>
                  <a:pt x="6" y="0"/>
                  <a:pt x="6" y="0"/>
                </a:cubicBezTo>
                <a:cubicBezTo>
                  <a:pt x="0" y="11"/>
                  <a:pt x="0" y="11"/>
                  <a:pt x="0" y="11"/>
                </a:cubicBezTo>
                <a:lnTo>
                  <a:pt x="0" y="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3" name="Freeform 46"/>
          <p:cNvSpPr>
            <a:spLocks/>
          </p:cNvSpPr>
          <p:nvPr/>
        </p:nvSpPr>
        <p:spPr bwMode="auto">
          <a:xfrm>
            <a:off x="6633633" y="1695452"/>
            <a:ext cx="19051" cy="258233"/>
          </a:xfrm>
          <a:custGeom>
            <a:avLst/>
            <a:gdLst>
              <a:gd name="T0" fmla="*/ 0 w 6"/>
              <a:gd name="T1" fmla="*/ 420948108 h 86"/>
              <a:gd name="T2" fmla="*/ 17012245 w 6"/>
              <a:gd name="T3" fmla="*/ 436162856 h 86"/>
              <a:gd name="T4" fmla="*/ 34022109 w 6"/>
              <a:gd name="T5" fmla="*/ 420948108 h 86"/>
              <a:gd name="T6" fmla="*/ 34022109 w 6"/>
              <a:gd name="T7" fmla="*/ 0 h 86"/>
              <a:gd name="T8" fmla="*/ 0 w 6"/>
              <a:gd name="T9" fmla="*/ 55787408 h 86"/>
              <a:gd name="T10" fmla="*/ 0 w 6"/>
              <a:gd name="T11" fmla="*/ 420948108 h 8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" h="86">
                <a:moveTo>
                  <a:pt x="0" y="83"/>
                </a:moveTo>
                <a:cubicBezTo>
                  <a:pt x="0" y="85"/>
                  <a:pt x="2" y="86"/>
                  <a:pt x="3" y="86"/>
                </a:cubicBezTo>
                <a:cubicBezTo>
                  <a:pt x="5" y="86"/>
                  <a:pt x="6" y="85"/>
                  <a:pt x="6" y="83"/>
                </a:cubicBezTo>
                <a:cubicBezTo>
                  <a:pt x="6" y="0"/>
                  <a:pt x="6" y="0"/>
                  <a:pt x="6" y="0"/>
                </a:cubicBezTo>
                <a:cubicBezTo>
                  <a:pt x="0" y="11"/>
                  <a:pt x="0" y="11"/>
                  <a:pt x="0" y="11"/>
                </a:cubicBezTo>
                <a:lnTo>
                  <a:pt x="0" y="8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4" name="Freeform 47"/>
          <p:cNvSpPr>
            <a:spLocks/>
          </p:cNvSpPr>
          <p:nvPr/>
        </p:nvSpPr>
        <p:spPr bwMode="auto">
          <a:xfrm>
            <a:off x="7133167" y="1593851"/>
            <a:ext cx="389467" cy="391583"/>
          </a:xfrm>
          <a:custGeom>
            <a:avLst/>
            <a:gdLst>
              <a:gd name="T0" fmla="*/ 636130886 w 130"/>
              <a:gd name="T1" fmla="*/ 627753703 h 130"/>
              <a:gd name="T2" fmla="*/ 35339606 w 130"/>
              <a:gd name="T3" fmla="*/ 627753703 h 130"/>
              <a:gd name="T4" fmla="*/ 35339606 w 130"/>
              <a:gd name="T5" fmla="*/ 20415765 h 130"/>
              <a:gd name="T6" fmla="*/ 25244181 w 130"/>
              <a:gd name="T7" fmla="*/ 0 h 130"/>
              <a:gd name="T8" fmla="*/ 10097672 w 130"/>
              <a:gd name="T9" fmla="*/ 0 h 130"/>
              <a:gd name="T10" fmla="*/ 0 w 130"/>
              <a:gd name="T11" fmla="*/ 20415765 h 130"/>
              <a:gd name="T12" fmla="*/ 0 w 130"/>
              <a:gd name="T13" fmla="*/ 637960456 h 130"/>
              <a:gd name="T14" fmla="*/ 0 w 130"/>
              <a:gd name="T15" fmla="*/ 643063833 h 130"/>
              <a:gd name="T16" fmla="*/ 0 w 130"/>
              <a:gd name="T17" fmla="*/ 653272845 h 130"/>
              <a:gd name="T18" fmla="*/ 5048836 w 130"/>
              <a:gd name="T19" fmla="*/ 658376221 h 130"/>
              <a:gd name="T20" fmla="*/ 10097672 w 130"/>
              <a:gd name="T21" fmla="*/ 663479597 h 130"/>
              <a:gd name="T22" fmla="*/ 20195345 w 130"/>
              <a:gd name="T23" fmla="*/ 663479597 h 130"/>
              <a:gd name="T24" fmla="*/ 25244181 w 130"/>
              <a:gd name="T25" fmla="*/ 663479597 h 130"/>
              <a:gd name="T26" fmla="*/ 636130886 w 130"/>
              <a:gd name="T27" fmla="*/ 663479597 h 130"/>
              <a:gd name="T28" fmla="*/ 656326231 w 130"/>
              <a:gd name="T29" fmla="*/ 653272845 h 130"/>
              <a:gd name="T30" fmla="*/ 656326231 w 130"/>
              <a:gd name="T31" fmla="*/ 637960456 h 130"/>
              <a:gd name="T32" fmla="*/ 636130886 w 130"/>
              <a:gd name="T33" fmla="*/ 627753703 h 13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30" h="130">
                <a:moveTo>
                  <a:pt x="126" y="123"/>
                </a:moveTo>
                <a:cubicBezTo>
                  <a:pt x="7" y="123"/>
                  <a:pt x="7" y="123"/>
                  <a:pt x="7" y="123"/>
                </a:cubicBezTo>
                <a:cubicBezTo>
                  <a:pt x="7" y="4"/>
                  <a:pt x="7" y="4"/>
                  <a:pt x="7" y="4"/>
                </a:cubicBezTo>
                <a:cubicBezTo>
                  <a:pt x="7" y="2"/>
                  <a:pt x="7" y="0"/>
                  <a:pt x="5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8"/>
                  <a:pt x="0" y="128"/>
                  <a:pt x="0" y="128"/>
                </a:cubicBezTo>
                <a:cubicBezTo>
                  <a:pt x="0" y="128"/>
                  <a:pt x="1" y="129"/>
                  <a:pt x="1" y="129"/>
                </a:cubicBezTo>
                <a:cubicBezTo>
                  <a:pt x="2" y="130"/>
                  <a:pt x="2" y="130"/>
                  <a:pt x="2" y="130"/>
                </a:cubicBezTo>
                <a:cubicBezTo>
                  <a:pt x="4" y="130"/>
                  <a:pt x="4" y="130"/>
                  <a:pt x="4" y="130"/>
                </a:cubicBezTo>
                <a:cubicBezTo>
                  <a:pt x="5" y="130"/>
                  <a:pt x="5" y="130"/>
                  <a:pt x="5" y="130"/>
                </a:cubicBezTo>
                <a:cubicBezTo>
                  <a:pt x="126" y="130"/>
                  <a:pt x="126" y="130"/>
                  <a:pt x="126" y="130"/>
                </a:cubicBezTo>
                <a:cubicBezTo>
                  <a:pt x="128" y="130"/>
                  <a:pt x="130" y="129"/>
                  <a:pt x="130" y="128"/>
                </a:cubicBezTo>
                <a:cubicBezTo>
                  <a:pt x="130" y="125"/>
                  <a:pt x="130" y="125"/>
                  <a:pt x="130" y="125"/>
                </a:cubicBezTo>
                <a:cubicBezTo>
                  <a:pt x="130" y="124"/>
                  <a:pt x="128" y="123"/>
                  <a:pt x="126" y="1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5" name="Freeform 48"/>
          <p:cNvSpPr>
            <a:spLocks/>
          </p:cNvSpPr>
          <p:nvPr/>
        </p:nvSpPr>
        <p:spPr bwMode="auto">
          <a:xfrm>
            <a:off x="7171267" y="1615018"/>
            <a:ext cx="357717" cy="323849"/>
          </a:xfrm>
          <a:custGeom>
            <a:avLst/>
            <a:gdLst>
              <a:gd name="T0" fmla="*/ 604858678 w 119"/>
              <a:gd name="T1" fmla="*/ 0 h 108"/>
              <a:gd name="T2" fmla="*/ 508284016 w 119"/>
              <a:gd name="T3" fmla="*/ 75866204 h 108"/>
              <a:gd name="T4" fmla="*/ 543864866 w 119"/>
              <a:gd name="T5" fmla="*/ 80924101 h 108"/>
              <a:gd name="T6" fmla="*/ 320218637 w 119"/>
              <a:gd name="T7" fmla="*/ 500722795 h 108"/>
              <a:gd name="T8" fmla="*/ 142318893 w 119"/>
              <a:gd name="T9" fmla="*/ 348988138 h 108"/>
              <a:gd name="T10" fmla="*/ 127071568 w 119"/>
              <a:gd name="T11" fmla="*/ 343930241 h 108"/>
              <a:gd name="T12" fmla="*/ 116905932 w 119"/>
              <a:gd name="T13" fmla="*/ 354046035 h 108"/>
              <a:gd name="T14" fmla="*/ 5083945 w 119"/>
              <a:gd name="T15" fmla="*/ 520954383 h 108"/>
              <a:gd name="T16" fmla="*/ 10165635 w 119"/>
              <a:gd name="T17" fmla="*/ 541185970 h 108"/>
              <a:gd name="T18" fmla="*/ 20331270 w 119"/>
              <a:gd name="T19" fmla="*/ 546243867 h 108"/>
              <a:gd name="T20" fmla="*/ 30496906 w 119"/>
              <a:gd name="T21" fmla="*/ 541185970 h 108"/>
              <a:gd name="T22" fmla="*/ 30496906 w 119"/>
              <a:gd name="T23" fmla="*/ 541185970 h 108"/>
              <a:gd name="T24" fmla="*/ 132153258 w 119"/>
              <a:gd name="T25" fmla="*/ 384393416 h 108"/>
              <a:gd name="T26" fmla="*/ 315136947 w 119"/>
              <a:gd name="T27" fmla="*/ 536128073 h 108"/>
              <a:gd name="T28" fmla="*/ 325302582 w 119"/>
              <a:gd name="T29" fmla="*/ 541185970 h 108"/>
              <a:gd name="T30" fmla="*/ 340549907 w 119"/>
              <a:gd name="T31" fmla="*/ 536128073 h 108"/>
              <a:gd name="T32" fmla="*/ 569277827 w 119"/>
              <a:gd name="T33" fmla="*/ 96097792 h 108"/>
              <a:gd name="T34" fmla="*/ 594693043 w 119"/>
              <a:gd name="T35" fmla="*/ 121387276 h 108"/>
              <a:gd name="T36" fmla="*/ 604858678 w 119"/>
              <a:gd name="T37" fmla="*/ 0 h 10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19" h="108">
                <a:moveTo>
                  <a:pt x="119" y="0"/>
                </a:moveTo>
                <a:cubicBezTo>
                  <a:pt x="100" y="15"/>
                  <a:pt x="100" y="15"/>
                  <a:pt x="100" y="15"/>
                </a:cubicBezTo>
                <a:cubicBezTo>
                  <a:pt x="107" y="16"/>
                  <a:pt x="107" y="16"/>
                  <a:pt x="107" y="16"/>
                </a:cubicBezTo>
                <a:cubicBezTo>
                  <a:pt x="63" y="99"/>
                  <a:pt x="63" y="99"/>
                  <a:pt x="63" y="99"/>
                </a:cubicBezTo>
                <a:cubicBezTo>
                  <a:pt x="28" y="69"/>
                  <a:pt x="28" y="69"/>
                  <a:pt x="28" y="69"/>
                </a:cubicBezTo>
                <a:cubicBezTo>
                  <a:pt x="27" y="69"/>
                  <a:pt x="26" y="68"/>
                  <a:pt x="25" y="68"/>
                </a:cubicBezTo>
                <a:cubicBezTo>
                  <a:pt x="24" y="69"/>
                  <a:pt x="24" y="69"/>
                  <a:pt x="23" y="70"/>
                </a:cubicBezTo>
                <a:cubicBezTo>
                  <a:pt x="1" y="103"/>
                  <a:pt x="1" y="103"/>
                  <a:pt x="1" y="103"/>
                </a:cubicBezTo>
                <a:cubicBezTo>
                  <a:pt x="0" y="104"/>
                  <a:pt x="0" y="106"/>
                  <a:pt x="2" y="107"/>
                </a:cubicBezTo>
                <a:cubicBezTo>
                  <a:pt x="2" y="108"/>
                  <a:pt x="3" y="108"/>
                  <a:pt x="4" y="108"/>
                </a:cubicBezTo>
                <a:cubicBezTo>
                  <a:pt x="5" y="108"/>
                  <a:pt x="6" y="107"/>
                  <a:pt x="6" y="107"/>
                </a:cubicBezTo>
                <a:cubicBezTo>
                  <a:pt x="6" y="107"/>
                  <a:pt x="6" y="107"/>
                  <a:pt x="6" y="107"/>
                </a:cubicBezTo>
                <a:cubicBezTo>
                  <a:pt x="26" y="76"/>
                  <a:pt x="26" y="76"/>
                  <a:pt x="26" y="76"/>
                </a:cubicBezTo>
                <a:cubicBezTo>
                  <a:pt x="62" y="106"/>
                  <a:pt x="62" y="106"/>
                  <a:pt x="62" y="106"/>
                </a:cubicBezTo>
                <a:cubicBezTo>
                  <a:pt x="62" y="107"/>
                  <a:pt x="63" y="107"/>
                  <a:pt x="64" y="107"/>
                </a:cubicBezTo>
                <a:cubicBezTo>
                  <a:pt x="65" y="107"/>
                  <a:pt x="66" y="106"/>
                  <a:pt x="67" y="106"/>
                </a:cubicBezTo>
                <a:cubicBezTo>
                  <a:pt x="112" y="19"/>
                  <a:pt x="112" y="19"/>
                  <a:pt x="112" y="19"/>
                </a:cubicBezTo>
                <a:cubicBezTo>
                  <a:pt x="117" y="24"/>
                  <a:pt x="117" y="24"/>
                  <a:pt x="117" y="24"/>
                </a:cubicBezTo>
                <a:lnTo>
                  <a:pt x="11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6" name="Freeform 49"/>
          <p:cNvSpPr>
            <a:spLocks/>
          </p:cNvSpPr>
          <p:nvPr/>
        </p:nvSpPr>
        <p:spPr bwMode="auto">
          <a:xfrm>
            <a:off x="8017934" y="1625601"/>
            <a:ext cx="368300" cy="319617"/>
          </a:xfrm>
          <a:custGeom>
            <a:avLst/>
            <a:gdLst>
              <a:gd name="T0" fmla="*/ 625411890 w 122"/>
              <a:gd name="T1" fmla="*/ 542097381 h 106"/>
              <a:gd name="T2" fmla="*/ 512632845 w 122"/>
              <a:gd name="T3" fmla="*/ 485841715 h 106"/>
              <a:gd name="T4" fmla="*/ 553643201 w 122"/>
              <a:gd name="T5" fmla="*/ 475613206 h 106"/>
              <a:gd name="T6" fmla="*/ 333211123 w 122"/>
              <a:gd name="T7" fmla="*/ 225022664 h 106"/>
              <a:gd name="T8" fmla="*/ 158915412 w 122"/>
              <a:gd name="T9" fmla="*/ 393787400 h 106"/>
              <a:gd name="T10" fmla="*/ 143537378 w 122"/>
              <a:gd name="T11" fmla="*/ 393787400 h 106"/>
              <a:gd name="T12" fmla="*/ 133285355 w 122"/>
              <a:gd name="T13" fmla="*/ 388674277 h 106"/>
              <a:gd name="T14" fmla="*/ 5126011 w 122"/>
              <a:gd name="T15" fmla="*/ 25570140 h 106"/>
              <a:gd name="T16" fmla="*/ 10252023 w 122"/>
              <a:gd name="T17" fmla="*/ 5113124 h 106"/>
              <a:gd name="T18" fmla="*/ 20506310 w 122"/>
              <a:gd name="T19" fmla="*/ 0 h 106"/>
              <a:gd name="T20" fmla="*/ 35884344 w 122"/>
              <a:gd name="T21" fmla="*/ 10228508 h 106"/>
              <a:gd name="T22" fmla="*/ 35884344 w 122"/>
              <a:gd name="T23" fmla="*/ 10228508 h 106"/>
              <a:gd name="T24" fmla="*/ 153789401 w 122"/>
              <a:gd name="T25" fmla="*/ 357988751 h 106"/>
              <a:gd name="T26" fmla="*/ 328085112 w 122"/>
              <a:gd name="T27" fmla="*/ 189221753 h 106"/>
              <a:gd name="T28" fmla="*/ 343463146 w 122"/>
              <a:gd name="T29" fmla="*/ 184108630 h 106"/>
              <a:gd name="T30" fmla="*/ 353717433 w 122"/>
              <a:gd name="T31" fmla="*/ 194337138 h 106"/>
              <a:gd name="T32" fmla="*/ 579275523 w 122"/>
              <a:gd name="T33" fmla="*/ 455156189 h 106"/>
              <a:gd name="T34" fmla="*/ 599779569 w 122"/>
              <a:gd name="T35" fmla="*/ 424472925 h 106"/>
              <a:gd name="T36" fmla="*/ 625411890 w 122"/>
              <a:gd name="T37" fmla="*/ 542097381 h 10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22" h="106">
                <a:moveTo>
                  <a:pt x="122" y="106"/>
                </a:moveTo>
                <a:cubicBezTo>
                  <a:pt x="100" y="95"/>
                  <a:pt x="100" y="95"/>
                  <a:pt x="100" y="95"/>
                </a:cubicBezTo>
                <a:cubicBezTo>
                  <a:pt x="108" y="93"/>
                  <a:pt x="108" y="93"/>
                  <a:pt x="108" y="93"/>
                </a:cubicBezTo>
                <a:cubicBezTo>
                  <a:pt x="65" y="44"/>
                  <a:pt x="65" y="44"/>
                  <a:pt x="65" y="44"/>
                </a:cubicBezTo>
                <a:cubicBezTo>
                  <a:pt x="31" y="77"/>
                  <a:pt x="31" y="77"/>
                  <a:pt x="31" y="77"/>
                </a:cubicBezTo>
                <a:cubicBezTo>
                  <a:pt x="30" y="77"/>
                  <a:pt x="29" y="78"/>
                  <a:pt x="28" y="77"/>
                </a:cubicBezTo>
                <a:cubicBezTo>
                  <a:pt x="28" y="77"/>
                  <a:pt x="27" y="77"/>
                  <a:pt x="26" y="76"/>
                </a:cubicBezTo>
                <a:cubicBezTo>
                  <a:pt x="1" y="5"/>
                  <a:pt x="1" y="5"/>
                  <a:pt x="1" y="5"/>
                </a:cubicBezTo>
                <a:cubicBezTo>
                  <a:pt x="0" y="4"/>
                  <a:pt x="1" y="2"/>
                  <a:pt x="2" y="1"/>
                </a:cubicBezTo>
                <a:cubicBezTo>
                  <a:pt x="3" y="0"/>
                  <a:pt x="4" y="0"/>
                  <a:pt x="4" y="0"/>
                </a:cubicBezTo>
                <a:cubicBezTo>
                  <a:pt x="5" y="0"/>
                  <a:pt x="6" y="1"/>
                  <a:pt x="7" y="2"/>
                </a:cubicBezTo>
                <a:cubicBezTo>
                  <a:pt x="7" y="2"/>
                  <a:pt x="7" y="2"/>
                  <a:pt x="7" y="2"/>
                </a:cubicBezTo>
                <a:cubicBezTo>
                  <a:pt x="30" y="70"/>
                  <a:pt x="30" y="70"/>
                  <a:pt x="30" y="70"/>
                </a:cubicBezTo>
                <a:cubicBezTo>
                  <a:pt x="64" y="37"/>
                  <a:pt x="64" y="37"/>
                  <a:pt x="64" y="37"/>
                </a:cubicBezTo>
                <a:cubicBezTo>
                  <a:pt x="65" y="36"/>
                  <a:pt x="66" y="36"/>
                  <a:pt x="67" y="36"/>
                </a:cubicBezTo>
                <a:cubicBezTo>
                  <a:pt x="68" y="36"/>
                  <a:pt x="69" y="37"/>
                  <a:pt x="69" y="38"/>
                </a:cubicBezTo>
                <a:cubicBezTo>
                  <a:pt x="113" y="89"/>
                  <a:pt x="113" y="89"/>
                  <a:pt x="113" y="89"/>
                </a:cubicBezTo>
                <a:cubicBezTo>
                  <a:pt x="117" y="83"/>
                  <a:pt x="117" y="83"/>
                  <a:pt x="117" y="83"/>
                </a:cubicBezTo>
                <a:lnTo>
                  <a:pt x="122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7" name="Freeform 50"/>
          <p:cNvSpPr>
            <a:spLocks/>
          </p:cNvSpPr>
          <p:nvPr/>
        </p:nvSpPr>
        <p:spPr bwMode="auto">
          <a:xfrm>
            <a:off x="7981951" y="1604433"/>
            <a:ext cx="391583" cy="391584"/>
          </a:xfrm>
          <a:custGeom>
            <a:avLst/>
            <a:gdLst>
              <a:gd name="T0" fmla="*/ 643061573 w 130"/>
              <a:gd name="T1" fmla="*/ 627755841 h 130"/>
              <a:gd name="T2" fmla="*/ 35725894 w 130"/>
              <a:gd name="T3" fmla="*/ 627755841 h 130"/>
              <a:gd name="T4" fmla="*/ 35725894 w 130"/>
              <a:gd name="T5" fmla="*/ 20415834 h 130"/>
              <a:gd name="T6" fmla="*/ 25519141 w 130"/>
              <a:gd name="T7" fmla="*/ 0 h 130"/>
              <a:gd name="T8" fmla="*/ 10206753 w 130"/>
              <a:gd name="T9" fmla="*/ 0 h 130"/>
              <a:gd name="T10" fmla="*/ 0 w 130"/>
              <a:gd name="T11" fmla="*/ 20415834 h 130"/>
              <a:gd name="T12" fmla="*/ 0 w 130"/>
              <a:gd name="T13" fmla="*/ 637962628 h 130"/>
              <a:gd name="T14" fmla="*/ 0 w 130"/>
              <a:gd name="T15" fmla="*/ 643066022 h 130"/>
              <a:gd name="T16" fmla="*/ 0 w 130"/>
              <a:gd name="T17" fmla="*/ 653275069 h 130"/>
              <a:gd name="T18" fmla="*/ 5103376 w 130"/>
              <a:gd name="T19" fmla="*/ 658378463 h 130"/>
              <a:gd name="T20" fmla="*/ 10206753 w 130"/>
              <a:gd name="T21" fmla="*/ 663481856 h 130"/>
              <a:gd name="T22" fmla="*/ 20415765 w 130"/>
              <a:gd name="T23" fmla="*/ 663481856 h 130"/>
              <a:gd name="T24" fmla="*/ 25519141 w 130"/>
              <a:gd name="T25" fmla="*/ 663481856 h 130"/>
              <a:gd name="T26" fmla="*/ 643061573 w 130"/>
              <a:gd name="T27" fmla="*/ 663481856 h 130"/>
              <a:gd name="T28" fmla="*/ 663477338 w 130"/>
              <a:gd name="T29" fmla="*/ 653275069 h 130"/>
              <a:gd name="T30" fmla="*/ 663477338 w 130"/>
              <a:gd name="T31" fmla="*/ 637962628 h 130"/>
              <a:gd name="T32" fmla="*/ 643061573 w 130"/>
              <a:gd name="T33" fmla="*/ 627755841 h 13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30" h="130">
                <a:moveTo>
                  <a:pt x="126" y="123"/>
                </a:moveTo>
                <a:cubicBezTo>
                  <a:pt x="7" y="123"/>
                  <a:pt x="7" y="123"/>
                  <a:pt x="7" y="123"/>
                </a:cubicBezTo>
                <a:cubicBezTo>
                  <a:pt x="7" y="4"/>
                  <a:pt x="7" y="4"/>
                  <a:pt x="7" y="4"/>
                </a:cubicBezTo>
                <a:cubicBezTo>
                  <a:pt x="7" y="2"/>
                  <a:pt x="6" y="0"/>
                  <a:pt x="5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8"/>
                  <a:pt x="0" y="128"/>
                  <a:pt x="0" y="128"/>
                </a:cubicBezTo>
                <a:cubicBezTo>
                  <a:pt x="0" y="128"/>
                  <a:pt x="0" y="129"/>
                  <a:pt x="1" y="129"/>
                </a:cubicBezTo>
                <a:cubicBezTo>
                  <a:pt x="1" y="130"/>
                  <a:pt x="2" y="130"/>
                  <a:pt x="2" y="130"/>
                </a:cubicBezTo>
                <a:cubicBezTo>
                  <a:pt x="4" y="130"/>
                  <a:pt x="4" y="130"/>
                  <a:pt x="4" y="130"/>
                </a:cubicBezTo>
                <a:cubicBezTo>
                  <a:pt x="5" y="130"/>
                  <a:pt x="5" y="130"/>
                  <a:pt x="5" y="130"/>
                </a:cubicBezTo>
                <a:cubicBezTo>
                  <a:pt x="126" y="130"/>
                  <a:pt x="126" y="130"/>
                  <a:pt x="126" y="130"/>
                </a:cubicBezTo>
                <a:cubicBezTo>
                  <a:pt x="128" y="130"/>
                  <a:pt x="130" y="129"/>
                  <a:pt x="130" y="128"/>
                </a:cubicBezTo>
                <a:cubicBezTo>
                  <a:pt x="130" y="125"/>
                  <a:pt x="130" y="125"/>
                  <a:pt x="130" y="125"/>
                </a:cubicBezTo>
                <a:cubicBezTo>
                  <a:pt x="130" y="124"/>
                  <a:pt x="128" y="123"/>
                  <a:pt x="126" y="1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8" name="Freeform 51"/>
          <p:cNvSpPr>
            <a:spLocks/>
          </p:cNvSpPr>
          <p:nvPr/>
        </p:nvSpPr>
        <p:spPr bwMode="auto">
          <a:xfrm>
            <a:off x="8049685" y="1625600"/>
            <a:ext cx="315383" cy="25400"/>
          </a:xfrm>
          <a:custGeom>
            <a:avLst/>
            <a:gdLst>
              <a:gd name="T0" fmla="*/ 0 w 105"/>
              <a:gd name="T1" fmla="*/ 5669756 h 8"/>
              <a:gd name="T2" fmla="*/ 10148564 w 105"/>
              <a:gd name="T3" fmla="*/ 45362813 h 8"/>
              <a:gd name="T4" fmla="*/ 512555404 w 105"/>
              <a:gd name="T5" fmla="*/ 45362813 h 8"/>
              <a:gd name="T6" fmla="*/ 532854784 w 105"/>
              <a:gd name="T7" fmla="*/ 22681406 h 8"/>
              <a:gd name="T8" fmla="*/ 512555404 w 105"/>
              <a:gd name="T9" fmla="*/ 0 h 8"/>
              <a:gd name="T10" fmla="*/ 0 w 105"/>
              <a:gd name="T11" fmla="*/ 0 h 8"/>
              <a:gd name="T12" fmla="*/ 0 w 105"/>
              <a:gd name="T13" fmla="*/ 0 h 8"/>
              <a:gd name="T14" fmla="*/ 0 w 105"/>
              <a:gd name="T15" fmla="*/ 5669756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05" h="8">
                <a:moveTo>
                  <a:pt x="0" y="1"/>
                </a:moveTo>
                <a:cubicBezTo>
                  <a:pt x="2" y="8"/>
                  <a:pt x="2" y="8"/>
                  <a:pt x="2" y="8"/>
                </a:cubicBezTo>
                <a:cubicBezTo>
                  <a:pt x="101" y="8"/>
                  <a:pt x="101" y="8"/>
                  <a:pt x="101" y="8"/>
                </a:cubicBezTo>
                <a:cubicBezTo>
                  <a:pt x="103" y="8"/>
                  <a:pt x="105" y="6"/>
                  <a:pt x="105" y="4"/>
                </a:cubicBezTo>
                <a:cubicBezTo>
                  <a:pt x="105" y="2"/>
                  <a:pt x="103" y="0"/>
                  <a:pt x="10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69" name="Freeform 52"/>
          <p:cNvSpPr>
            <a:spLocks/>
          </p:cNvSpPr>
          <p:nvPr/>
        </p:nvSpPr>
        <p:spPr bwMode="auto">
          <a:xfrm>
            <a:off x="8066618" y="1686984"/>
            <a:ext cx="298449" cy="23283"/>
          </a:xfrm>
          <a:custGeom>
            <a:avLst/>
            <a:gdLst>
              <a:gd name="T0" fmla="*/ 485642634 w 99"/>
              <a:gd name="T1" fmla="*/ 38117363 h 8"/>
              <a:gd name="T2" fmla="*/ 506090935 w 99"/>
              <a:gd name="T3" fmla="*/ 19059773 h 8"/>
              <a:gd name="T4" fmla="*/ 485642634 w 99"/>
              <a:gd name="T5" fmla="*/ 0 h 8"/>
              <a:gd name="T6" fmla="*/ 0 w 99"/>
              <a:gd name="T7" fmla="*/ 0 h 8"/>
              <a:gd name="T8" fmla="*/ 15336226 w 99"/>
              <a:gd name="T9" fmla="*/ 38117363 h 8"/>
              <a:gd name="T10" fmla="*/ 485642634 w 99"/>
              <a:gd name="T11" fmla="*/ 38117363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99" h="8">
                <a:moveTo>
                  <a:pt x="95" y="8"/>
                </a:moveTo>
                <a:cubicBezTo>
                  <a:pt x="97" y="8"/>
                  <a:pt x="99" y="6"/>
                  <a:pt x="99" y="4"/>
                </a:cubicBezTo>
                <a:cubicBezTo>
                  <a:pt x="99" y="2"/>
                  <a:pt x="97" y="0"/>
                  <a:pt x="95" y="0"/>
                </a:cubicBezTo>
                <a:cubicBezTo>
                  <a:pt x="0" y="0"/>
                  <a:pt x="0" y="0"/>
                  <a:pt x="0" y="0"/>
                </a:cubicBezTo>
                <a:cubicBezTo>
                  <a:pt x="3" y="8"/>
                  <a:pt x="3" y="8"/>
                  <a:pt x="3" y="8"/>
                </a:cubicBezTo>
                <a:lnTo>
                  <a:pt x="95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0" name="Freeform 53"/>
          <p:cNvSpPr>
            <a:spLocks/>
          </p:cNvSpPr>
          <p:nvPr/>
        </p:nvSpPr>
        <p:spPr bwMode="auto">
          <a:xfrm>
            <a:off x="8015818" y="1686984"/>
            <a:ext cx="21167" cy="23283"/>
          </a:xfrm>
          <a:custGeom>
            <a:avLst/>
            <a:gdLst>
              <a:gd name="T0" fmla="*/ 20571732 w 7"/>
              <a:gd name="T1" fmla="*/ 0 h 8"/>
              <a:gd name="T2" fmla="*/ 0 w 7"/>
              <a:gd name="T3" fmla="*/ 19059773 h 8"/>
              <a:gd name="T4" fmla="*/ 20571732 w 7"/>
              <a:gd name="T5" fmla="*/ 38117363 h 8"/>
              <a:gd name="T6" fmla="*/ 36002232 w 7"/>
              <a:gd name="T7" fmla="*/ 38117363 h 8"/>
              <a:gd name="T8" fmla="*/ 25715232 w 7"/>
              <a:gd name="T9" fmla="*/ 0 h 8"/>
              <a:gd name="T10" fmla="*/ 20571732 w 7"/>
              <a:gd name="T11" fmla="*/ 0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7" h="8">
                <a:moveTo>
                  <a:pt x="4" y="0"/>
                </a:move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7" y="8"/>
                  <a:pt x="7" y="8"/>
                  <a:pt x="7" y="8"/>
                </a:cubicBezTo>
                <a:cubicBezTo>
                  <a:pt x="5" y="0"/>
                  <a:pt x="5" y="0"/>
                  <a:pt x="5" y="0"/>
                </a:cubicBezTo>
                <a:lnTo>
                  <a:pt x="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1" name="Freeform 54"/>
          <p:cNvSpPr>
            <a:spLocks/>
          </p:cNvSpPr>
          <p:nvPr/>
        </p:nvSpPr>
        <p:spPr bwMode="auto">
          <a:xfrm>
            <a:off x="8244418" y="1746251"/>
            <a:ext cx="120649" cy="25400"/>
          </a:xfrm>
          <a:custGeom>
            <a:avLst/>
            <a:gdLst>
              <a:gd name="T0" fmla="*/ 184227008 w 40"/>
              <a:gd name="T1" fmla="*/ 45362813 h 8"/>
              <a:gd name="T2" fmla="*/ 204697429 w 40"/>
              <a:gd name="T3" fmla="*/ 22681406 h 8"/>
              <a:gd name="T4" fmla="*/ 184227008 w 40"/>
              <a:gd name="T5" fmla="*/ 0 h 8"/>
              <a:gd name="T6" fmla="*/ 0 w 40"/>
              <a:gd name="T7" fmla="*/ 0 h 8"/>
              <a:gd name="T8" fmla="*/ 35821541 w 40"/>
              <a:gd name="T9" fmla="*/ 45362813 h 8"/>
              <a:gd name="T10" fmla="*/ 184227008 w 40"/>
              <a:gd name="T11" fmla="*/ 45362813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" h="8">
                <a:moveTo>
                  <a:pt x="36" y="8"/>
                </a:moveTo>
                <a:cubicBezTo>
                  <a:pt x="38" y="8"/>
                  <a:pt x="40" y="6"/>
                  <a:pt x="40" y="4"/>
                </a:cubicBezTo>
                <a:cubicBezTo>
                  <a:pt x="40" y="2"/>
                  <a:pt x="38" y="0"/>
                  <a:pt x="36" y="0"/>
                </a:cubicBezTo>
                <a:cubicBezTo>
                  <a:pt x="0" y="0"/>
                  <a:pt x="0" y="0"/>
                  <a:pt x="0" y="0"/>
                </a:cubicBezTo>
                <a:cubicBezTo>
                  <a:pt x="7" y="8"/>
                  <a:pt x="7" y="8"/>
                  <a:pt x="7" y="8"/>
                </a:cubicBezTo>
                <a:lnTo>
                  <a:pt x="36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2" name="Freeform 55"/>
          <p:cNvSpPr>
            <a:spLocks/>
          </p:cNvSpPr>
          <p:nvPr/>
        </p:nvSpPr>
        <p:spPr bwMode="auto">
          <a:xfrm>
            <a:off x="8015818" y="1746251"/>
            <a:ext cx="42333" cy="25400"/>
          </a:xfrm>
          <a:custGeom>
            <a:avLst/>
            <a:gdLst>
              <a:gd name="T0" fmla="*/ 20571732 w 14"/>
              <a:gd name="T1" fmla="*/ 0 h 8"/>
              <a:gd name="T2" fmla="*/ 0 w 14"/>
              <a:gd name="T3" fmla="*/ 22681406 h 8"/>
              <a:gd name="T4" fmla="*/ 20571732 w 14"/>
              <a:gd name="T5" fmla="*/ 45362813 h 8"/>
              <a:gd name="T6" fmla="*/ 72004464 w 14"/>
              <a:gd name="T7" fmla="*/ 45362813 h 8"/>
              <a:gd name="T8" fmla="*/ 61717464 w 14"/>
              <a:gd name="T9" fmla="*/ 0 h 8"/>
              <a:gd name="T10" fmla="*/ 20571732 w 14"/>
              <a:gd name="T11" fmla="*/ 0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4" h="8">
                <a:moveTo>
                  <a:pt x="4" y="0"/>
                </a:move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14" y="8"/>
                  <a:pt x="14" y="8"/>
                  <a:pt x="14" y="8"/>
                </a:cubicBezTo>
                <a:cubicBezTo>
                  <a:pt x="12" y="0"/>
                  <a:pt x="12" y="0"/>
                  <a:pt x="12" y="0"/>
                </a:cubicBezTo>
                <a:lnTo>
                  <a:pt x="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3" name="Freeform 56"/>
          <p:cNvSpPr>
            <a:spLocks/>
          </p:cNvSpPr>
          <p:nvPr/>
        </p:nvSpPr>
        <p:spPr bwMode="auto">
          <a:xfrm>
            <a:off x="8087784" y="1746251"/>
            <a:ext cx="99483" cy="25400"/>
          </a:xfrm>
          <a:custGeom>
            <a:avLst/>
            <a:gdLst>
              <a:gd name="T0" fmla="*/ 90725017 w 47"/>
              <a:gd name="T1" fmla="*/ 30241875 h 12"/>
              <a:gd name="T2" fmla="*/ 118445756 w 47"/>
              <a:gd name="T3" fmla="*/ 0 h 12"/>
              <a:gd name="T4" fmla="*/ 0 w 47"/>
              <a:gd name="T5" fmla="*/ 0 h 12"/>
              <a:gd name="T6" fmla="*/ 10080557 w 47"/>
              <a:gd name="T7" fmla="*/ 30241875 h 12"/>
              <a:gd name="T8" fmla="*/ 90725017 w 47"/>
              <a:gd name="T9" fmla="*/ 30241875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12">
                <a:moveTo>
                  <a:pt x="36" y="12"/>
                </a:moveTo>
                <a:lnTo>
                  <a:pt x="47" y="0"/>
                </a:lnTo>
                <a:lnTo>
                  <a:pt x="0" y="0"/>
                </a:lnTo>
                <a:lnTo>
                  <a:pt x="4" y="12"/>
                </a:lnTo>
                <a:lnTo>
                  <a:pt x="3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4" name="Freeform 57"/>
          <p:cNvSpPr>
            <a:spLocks/>
          </p:cNvSpPr>
          <p:nvPr/>
        </p:nvSpPr>
        <p:spPr bwMode="auto">
          <a:xfrm>
            <a:off x="8153400" y="1807634"/>
            <a:ext cx="112184" cy="23284"/>
          </a:xfrm>
          <a:custGeom>
            <a:avLst/>
            <a:gdLst>
              <a:gd name="T0" fmla="*/ 108366569 w 53"/>
              <a:gd name="T1" fmla="*/ 0 h 11"/>
              <a:gd name="T2" fmla="*/ 30242055 w 53"/>
              <a:gd name="T3" fmla="*/ 0 h 11"/>
              <a:gd name="T4" fmla="*/ 0 w 53"/>
              <a:gd name="T5" fmla="*/ 27723306 h 11"/>
              <a:gd name="T6" fmla="*/ 133568281 w 53"/>
              <a:gd name="T7" fmla="*/ 27723306 h 11"/>
              <a:gd name="T8" fmla="*/ 108366569 w 53"/>
              <a:gd name="T9" fmla="*/ 0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3" h="11">
                <a:moveTo>
                  <a:pt x="43" y="0"/>
                </a:moveTo>
                <a:lnTo>
                  <a:pt x="12" y="0"/>
                </a:lnTo>
                <a:lnTo>
                  <a:pt x="0" y="11"/>
                </a:lnTo>
                <a:lnTo>
                  <a:pt x="53" y="11"/>
                </a:lnTo>
                <a:lnTo>
                  <a:pt x="4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5" name="Freeform 58"/>
          <p:cNvSpPr>
            <a:spLocks/>
          </p:cNvSpPr>
          <p:nvPr/>
        </p:nvSpPr>
        <p:spPr bwMode="auto">
          <a:xfrm>
            <a:off x="8108951" y="1807633"/>
            <a:ext cx="14816" cy="10584"/>
          </a:xfrm>
          <a:custGeom>
            <a:avLst/>
            <a:gdLst>
              <a:gd name="T0" fmla="*/ 2519249 w 7"/>
              <a:gd name="T1" fmla="*/ 12602369 h 5"/>
              <a:gd name="T2" fmla="*/ 17639506 w 7"/>
              <a:gd name="T3" fmla="*/ 0 h 5"/>
              <a:gd name="T4" fmla="*/ 0 w 7"/>
              <a:gd name="T5" fmla="*/ 0 h 5"/>
              <a:gd name="T6" fmla="*/ 2519249 w 7"/>
              <a:gd name="T7" fmla="*/ 12602369 h 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5">
                <a:moveTo>
                  <a:pt x="1" y="5"/>
                </a:moveTo>
                <a:lnTo>
                  <a:pt x="7" y="0"/>
                </a:lnTo>
                <a:lnTo>
                  <a:pt x="0" y="0"/>
                </a:lnTo>
                <a:lnTo>
                  <a:pt x="1" y="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6" name="Freeform 59"/>
          <p:cNvSpPr>
            <a:spLocks/>
          </p:cNvSpPr>
          <p:nvPr/>
        </p:nvSpPr>
        <p:spPr bwMode="auto">
          <a:xfrm>
            <a:off x="8015818" y="1807634"/>
            <a:ext cx="63500" cy="23284"/>
          </a:xfrm>
          <a:custGeom>
            <a:avLst/>
            <a:gdLst>
              <a:gd name="T0" fmla="*/ 20571732 w 21"/>
              <a:gd name="T1" fmla="*/ 0 h 8"/>
              <a:gd name="T2" fmla="*/ 0 w 21"/>
              <a:gd name="T3" fmla="*/ 19060865 h 8"/>
              <a:gd name="T4" fmla="*/ 20571732 w 21"/>
              <a:gd name="T5" fmla="*/ 38119546 h 8"/>
              <a:gd name="T6" fmla="*/ 108006696 w 21"/>
              <a:gd name="T7" fmla="*/ 38119546 h 8"/>
              <a:gd name="T8" fmla="*/ 97719696 w 21"/>
              <a:gd name="T9" fmla="*/ 0 h 8"/>
              <a:gd name="T10" fmla="*/ 20571732 w 21"/>
              <a:gd name="T11" fmla="*/ 0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" h="8">
                <a:moveTo>
                  <a:pt x="4" y="0"/>
                </a:move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21" y="8"/>
                  <a:pt x="21" y="8"/>
                  <a:pt x="21" y="8"/>
                </a:cubicBezTo>
                <a:cubicBezTo>
                  <a:pt x="19" y="0"/>
                  <a:pt x="19" y="0"/>
                  <a:pt x="19" y="0"/>
                </a:cubicBezTo>
                <a:lnTo>
                  <a:pt x="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7" name="Freeform 60"/>
          <p:cNvSpPr>
            <a:spLocks/>
          </p:cNvSpPr>
          <p:nvPr/>
        </p:nvSpPr>
        <p:spPr bwMode="auto">
          <a:xfrm>
            <a:off x="8295218" y="1807634"/>
            <a:ext cx="69849" cy="23284"/>
          </a:xfrm>
          <a:custGeom>
            <a:avLst/>
            <a:gdLst>
              <a:gd name="T0" fmla="*/ 98569557 w 23"/>
              <a:gd name="T1" fmla="*/ 38119546 h 8"/>
              <a:gd name="T2" fmla="*/ 119321642 w 23"/>
              <a:gd name="T3" fmla="*/ 19060865 h 8"/>
              <a:gd name="T4" fmla="*/ 98569557 w 23"/>
              <a:gd name="T5" fmla="*/ 0 h 8"/>
              <a:gd name="T6" fmla="*/ 0 w 23"/>
              <a:gd name="T7" fmla="*/ 0 h 8"/>
              <a:gd name="T8" fmla="*/ 36315579 w 23"/>
              <a:gd name="T9" fmla="*/ 38119546 h 8"/>
              <a:gd name="T10" fmla="*/ 98569557 w 23"/>
              <a:gd name="T11" fmla="*/ 38119546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3" h="8">
                <a:moveTo>
                  <a:pt x="19" y="8"/>
                </a:moveTo>
                <a:cubicBezTo>
                  <a:pt x="21" y="8"/>
                  <a:pt x="23" y="6"/>
                  <a:pt x="23" y="4"/>
                </a:cubicBezTo>
                <a:cubicBezTo>
                  <a:pt x="23" y="2"/>
                  <a:pt x="21" y="0"/>
                  <a:pt x="19" y="0"/>
                </a:cubicBezTo>
                <a:cubicBezTo>
                  <a:pt x="0" y="0"/>
                  <a:pt x="0" y="0"/>
                  <a:pt x="0" y="0"/>
                </a:cubicBezTo>
                <a:cubicBezTo>
                  <a:pt x="7" y="8"/>
                  <a:pt x="7" y="8"/>
                  <a:pt x="7" y="8"/>
                </a:cubicBezTo>
                <a:lnTo>
                  <a:pt x="1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8" name="Freeform 61"/>
          <p:cNvSpPr>
            <a:spLocks/>
          </p:cNvSpPr>
          <p:nvPr/>
        </p:nvSpPr>
        <p:spPr bwMode="auto">
          <a:xfrm>
            <a:off x="8015817" y="1866901"/>
            <a:ext cx="302683" cy="23284"/>
          </a:xfrm>
          <a:custGeom>
            <a:avLst/>
            <a:gdLst>
              <a:gd name="T0" fmla="*/ 161661763 w 101"/>
              <a:gd name="T1" fmla="*/ 0 h 8"/>
              <a:gd name="T2" fmla="*/ 151556358 w 101"/>
              <a:gd name="T3" fmla="*/ 4765216 h 8"/>
              <a:gd name="T4" fmla="*/ 146505903 w 101"/>
              <a:gd name="T5" fmla="*/ 0 h 8"/>
              <a:gd name="T6" fmla="*/ 146505903 w 101"/>
              <a:gd name="T7" fmla="*/ 0 h 8"/>
              <a:gd name="T8" fmla="*/ 20208563 w 101"/>
              <a:gd name="T9" fmla="*/ 0 h 8"/>
              <a:gd name="T10" fmla="*/ 0 w 101"/>
              <a:gd name="T11" fmla="*/ 19060865 h 8"/>
              <a:gd name="T12" fmla="*/ 20208563 w 101"/>
              <a:gd name="T13" fmla="*/ 38119546 h 8"/>
              <a:gd name="T14" fmla="*/ 510242061 w 101"/>
              <a:gd name="T15" fmla="*/ 38119546 h 8"/>
              <a:gd name="T16" fmla="*/ 474877637 w 101"/>
              <a:gd name="T17" fmla="*/ 0 h 8"/>
              <a:gd name="T18" fmla="*/ 161661763 w 101"/>
              <a:gd name="T19" fmla="*/ 0 h 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01" h="8">
                <a:moveTo>
                  <a:pt x="32" y="0"/>
                </a:moveTo>
                <a:cubicBezTo>
                  <a:pt x="31" y="0"/>
                  <a:pt x="31" y="1"/>
                  <a:pt x="30" y="1"/>
                </a:cubicBezTo>
                <a:cubicBezTo>
                  <a:pt x="30" y="1"/>
                  <a:pt x="30" y="1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101" y="8"/>
                  <a:pt x="101" y="8"/>
                  <a:pt x="101" y="8"/>
                </a:cubicBezTo>
                <a:cubicBezTo>
                  <a:pt x="94" y="0"/>
                  <a:pt x="94" y="0"/>
                  <a:pt x="94" y="0"/>
                </a:cubicBezTo>
                <a:lnTo>
                  <a:pt x="3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79" name="Freeform 62"/>
          <p:cNvSpPr>
            <a:spLocks/>
          </p:cNvSpPr>
          <p:nvPr/>
        </p:nvSpPr>
        <p:spPr bwMode="auto">
          <a:xfrm>
            <a:off x="8346017" y="1866901"/>
            <a:ext cx="14816" cy="12700"/>
          </a:xfrm>
          <a:custGeom>
            <a:avLst/>
            <a:gdLst>
              <a:gd name="T0" fmla="*/ 24695309 w 5"/>
              <a:gd name="T1" fmla="*/ 11341894 h 4"/>
              <a:gd name="T2" fmla="*/ 9878568 w 5"/>
              <a:gd name="T3" fmla="*/ 0 h 4"/>
              <a:gd name="T4" fmla="*/ 0 w 5"/>
              <a:gd name="T5" fmla="*/ 0 h 4"/>
              <a:gd name="T6" fmla="*/ 19757136 w 5"/>
              <a:gd name="T7" fmla="*/ 22681406 h 4"/>
              <a:gd name="T8" fmla="*/ 24695309 w 5"/>
              <a:gd name="T9" fmla="*/ 11341894 h 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" h="4">
                <a:moveTo>
                  <a:pt x="5" y="2"/>
                </a:moveTo>
                <a:cubicBezTo>
                  <a:pt x="5" y="1"/>
                  <a:pt x="4" y="0"/>
                  <a:pt x="2" y="0"/>
                </a:cubicBezTo>
                <a:cubicBezTo>
                  <a:pt x="0" y="0"/>
                  <a:pt x="0" y="0"/>
                  <a:pt x="0" y="0"/>
                </a:cubicBezTo>
                <a:cubicBezTo>
                  <a:pt x="4" y="4"/>
                  <a:pt x="4" y="4"/>
                  <a:pt x="4" y="4"/>
                </a:cubicBezTo>
                <a:lnTo>
                  <a:pt x="5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0" name="Freeform 63"/>
          <p:cNvSpPr>
            <a:spLocks/>
          </p:cNvSpPr>
          <p:nvPr/>
        </p:nvSpPr>
        <p:spPr bwMode="auto">
          <a:xfrm>
            <a:off x="8015818" y="1928284"/>
            <a:ext cx="349249" cy="23283"/>
          </a:xfrm>
          <a:custGeom>
            <a:avLst/>
            <a:gdLst>
              <a:gd name="T0" fmla="*/ 20394957 w 116"/>
              <a:gd name="T1" fmla="*/ 0 h 8"/>
              <a:gd name="T2" fmla="*/ 0 w 116"/>
              <a:gd name="T3" fmla="*/ 19059773 h 8"/>
              <a:gd name="T4" fmla="*/ 20394957 w 116"/>
              <a:gd name="T5" fmla="*/ 38117363 h 8"/>
              <a:gd name="T6" fmla="*/ 571079112 w 116"/>
              <a:gd name="T7" fmla="*/ 38117363 h 8"/>
              <a:gd name="T8" fmla="*/ 591474069 w 116"/>
              <a:gd name="T9" fmla="*/ 23822534 h 8"/>
              <a:gd name="T10" fmla="*/ 540484419 w 116"/>
              <a:gd name="T11" fmla="*/ 0 h 8"/>
              <a:gd name="T12" fmla="*/ 20394957 w 116"/>
              <a:gd name="T13" fmla="*/ 0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6" h="8">
                <a:moveTo>
                  <a:pt x="4" y="0"/>
                </a:moveTo>
                <a:cubicBezTo>
                  <a:pt x="2" y="0"/>
                  <a:pt x="0" y="2"/>
                  <a:pt x="0" y="4"/>
                </a:cubicBezTo>
                <a:cubicBezTo>
                  <a:pt x="0" y="7"/>
                  <a:pt x="2" y="8"/>
                  <a:pt x="4" y="8"/>
                </a:cubicBezTo>
                <a:cubicBezTo>
                  <a:pt x="112" y="8"/>
                  <a:pt x="112" y="8"/>
                  <a:pt x="112" y="8"/>
                </a:cubicBezTo>
                <a:cubicBezTo>
                  <a:pt x="114" y="8"/>
                  <a:pt x="115" y="7"/>
                  <a:pt x="116" y="5"/>
                </a:cubicBezTo>
                <a:cubicBezTo>
                  <a:pt x="106" y="0"/>
                  <a:pt x="106" y="0"/>
                  <a:pt x="106" y="0"/>
                </a:cubicBezTo>
                <a:lnTo>
                  <a:pt x="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1" name="Freeform 64"/>
          <p:cNvSpPr>
            <a:spLocks/>
          </p:cNvSpPr>
          <p:nvPr/>
        </p:nvSpPr>
        <p:spPr bwMode="auto">
          <a:xfrm>
            <a:off x="8873067" y="1581151"/>
            <a:ext cx="389467" cy="391583"/>
          </a:xfrm>
          <a:custGeom>
            <a:avLst/>
            <a:gdLst>
              <a:gd name="T0" fmla="*/ 636130886 w 130"/>
              <a:gd name="T1" fmla="*/ 627753703 h 130"/>
              <a:gd name="T2" fmla="*/ 35339606 w 130"/>
              <a:gd name="T3" fmla="*/ 627753703 h 130"/>
              <a:gd name="T4" fmla="*/ 35339606 w 130"/>
              <a:gd name="T5" fmla="*/ 20415765 h 130"/>
              <a:gd name="T6" fmla="*/ 25244181 w 130"/>
              <a:gd name="T7" fmla="*/ 0 h 130"/>
              <a:gd name="T8" fmla="*/ 10097672 w 130"/>
              <a:gd name="T9" fmla="*/ 0 h 130"/>
              <a:gd name="T10" fmla="*/ 0 w 130"/>
              <a:gd name="T11" fmla="*/ 20415765 h 130"/>
              <a:gd name="T12" fmla="*/ 0 w 130"/>
              <a:gd name="T13" fmla="*/ 637960456 h 130"/>
              <a:gd name="T14" fmla="*/ 0 w 130"/>
              <a:gd name="T15" fmla="*/ 643063833 h 130"/>
              <a:gd name="T16" fmla="*/ 0 w 130"/>
              <a:gd name="T17" fmla="*/ 653272845 h 130"/>
              <a:gd name="T18" fmla="*/ 5048836 w 130"/>
              <a:gd name="T19" fmla="*/ 658376221 h 130"/>
              <a:gd name="T20" fmla="*/ 10097672 w 130"/>
              <a:gd name="T21" fmla="*/ 663479597 h 130"/>
              <a:gd name="T22" fmla="*/ 20195345 w 130"/>
              <a:gd name="T23" fmla="*/ 663479597 h 130"/>
              <a:gd name="T24" fmla="*/ 25244181 w 130"/>
              <a:gd name="T25" fmla="*/ 663479597 h 130"/>
              <a:gd name="T26" fmla="*/ 636130886 w 130"/>
              <a:gd name="T27" fmla="*/ 663479597 h 130"/>
              <a:gd name="T28" fmla="*/ 656326231 w 130"/>
              <a:gd name="T29" fmla="*/ 653272845 h 130"/>
              <a:gd name="T30" fmla="*/ 656326231 w 130"/>
              <a:gd name="T31" fmla="*/ 637960456 h 130"/>
              <a:gd name="T32" fmla="*/ 636130886 w 130"/>
              <a:gd name="T33" fmla="*/ 627753703 h 13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30" h="130">
                <a:moveTo>
                  <a:pt x="126" y="123"/>
                </a:moveTo>
                <a:cubicBezTo>
                  <a:pt x="7" y="123"/>
                  <a:pt x="7" y="123"/>
                  <a:pt x="7" y="123"/>
                </a:cubicBezTo>
                <a:cubicBezTo>
                  <a:pt x="7" y="4"/>
                  <a:pt x="7" y="4"/>
                  <a:pt x="7" y="4"/>
                </a:cubicBezTo>
                <a:cubicBezTo>
                  <a:pt x="7" y="2"/>
                  <a:pt x="6" y="0"/>
                  <a:pt x="5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8"/>
                  <a:pt x="0" y="128"/>
                  <a:pt x="0" y="128"/>
                </a:cubicBezTo>
                <a:cubicBezTo>
                  <a:pt x="0" y="128"/>
                  <a:pt x="0" y="129"/>
                  <a:pt x="1" y="129"/>
                </a:cubicBezTo>
                <a:cubicBezTo>
                  <a:pt x="1" y="130"/>
                  <a:pt x="2" y="130"/>
                  <a:pt x="2" y="130"/>
                </a:cubicBezTo>
                <a:cubicBezTo>
                  <a:pt x="4" y="130"/>
                  <a:pt x="4" y="130"/>
                  <a:pt x="4" y="130"/>
                </a:cubicBezTo>
                <a:cubicBezTo>
                  <a:pt x="5" y="130"/>
                  <a:pt x="5" y="130"/>
                  <a:pt x="5" y="130"/>
                </a:cubicBezTo>
                <a:cubicBezTo>
                  <a:pt x="126" y="130"/>
                  <a:pt x="126" y="130"/>
                  <a:pt x="126" y="130"/>
                </a:cubicBezTo>
                <a:cubicBezTo>
                  <a:pt x="128" y="130"/>
                  <a:pt x="130" y="129"/>
                  <a:pt x="130" y="128"/>
                </a:cubicBezTo>
                <a:cubicBezTo>
                  <a:pt x="130" y="125"/>
                  <a:pt x="130" y="125"/>
                  <a:pt x="130" y="125"/>
                </a:cubicBezTo>
                <a:cubicBezTo>
                  <a:pt x="130" y="124"/>
                  <a:pt x="128" y="123"/>
                  <a:pt x="126" y="1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2" name="Freeform 65"/>
          <p:cNvSpPr>
            <a:spLocks/>
          </p:cNvSpPr>
          <p:nvPr/>
        </p:nvSpPr>
        <p:spPr bwMode="auto">
          <a:xfrm>
            <a:off x="8911167" y="1602317"/>
            <a:ext cx="364067" cy="319616"/>
          </a:xfrm>
          <a:custGeom>
            <a:avLst/>
            <a:gdLst>
              <a:gd name="T0" fmla="*/ 616167789 w 121"/>
              <a:gd name="T1" fmla="*/ 542095119 h 106"/>
              <a:gd name="T2" fmla="*/ 509229224 w 121"/>
              <a:gd name="T3" fmla="*/ 485839688 h 106"/>
              <a:gd name="T4" fmla="*/ 544874660 w 121"/>
              <a:gd name="T5" fmla="*/ 475611222 h 106"/>
              <a:gd name="T6" fmla="*/ 325906613 w 121"/>
              <a:gd name="T7" fmla="*/ 225021725 h 106"/>
              <a:gd name="T8" fmla="*/ 152768090 w 121"/>
              <a:gd name="T9" fmla="*/ 393785757 h 106"/>
              <a:gd name="T10" fmla="*/ 142584002 w 121"/>
              <a:gd name="T11" fmla="*/ 393785757 h 106"/>
              <a:gd name="T12" fmla="*/ 127306742 w 121"/>
              <a:gd name="T13" fmla="*/ 388672655 h 106"/>
              <a:gd name="T14" fmla="*/ 5093172 w 121"/>
              <a:gd name="T15" fmla="*/ 25570034 h 106"/>
              <a:gd name="T16" fmla="*/ 5093172 w 121"/>
              <a:gd name="T17" fmla="*/ 5113102 h 106"/>
              <a:gd name="T18" fmla="*/ 15277260 w 121"/>
              <a:gd name="T19" fmla="*/ 0 h 106"/>
              <a:gd name="T20" fmla="*/ 30554521 w 121"/>
              <a:gd name="T21" fmla="*/ 10228466 h 106"/>
              <a:gd name="T22" fmla="*/ 30554521 w 121"/>
              <a:gd name="T23" fmla="*/ 10228466 h 106"/>
              <a:gd name="T24" fmla="*/ 147677174 w 121"/>
              <a:gd name="T25" fmla="*/ 357987258 h 106"/>
              <a:gd name="T26" fmla="*/ 320815697 w 121"/>
              <a:gd name="T27" fmla="*/ 189220964 h 106"/>
              <a:gd name="T28" fmla="*/ 336090701 w 121"/>
              <a:gd name="T29" fmla="*/ 184107862 h 106"/>
              <a:gd name="T30" fmla="*/ 346277045 w 121"/>
              <a:gd name="T31" fmla="*/ 194336328 h 106"/>
              <a:gd name="T32" fmla="*/ 570336008 w 121"/>
              <a:gd name="T33" fmla="*/ 455154291 h 106"/>
              <a:gd name="T34" fmla="*/ 590706441 w 121"/>
              <a:gd name="T35" fmla="*/ 424471155 h 106"/>
              <a:gd name="T36" fmla="*/ 616167789 w 121"/>
              <a:gd name="T37" fmla="*/ 542095119 h 10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21" h="106">
                <a:moveTo>
                  <a:pt x="121" y="106"/>
                </a:moveTo>
                <a:cubicBezTo>
                  <a:pt x="100" y="95"/>
                  <a:pt x="100" y="95"/>
                  <a:pt x="100" y="95"/>
                </a:cubicBezTo>
                <a:cubicBezTo>
                  <a:pt x="107" y="93"/>
                  <a:pt x="107" y="93"/>
                  <a:pt x="107" y="93"/>
                </a:cubicBezTo>
                <a:cubicBezTo>
                  <a:pt x="64" y="44"/>
                  <a:pt x="64" y="44"/>
                  <a:pt x="64" y="44"/>
                </a:cubicBezTo>
                <a:cubicBezTo>
                  <a:pt x="30" y="77"/>
                  <a:pt x="30" y="77"/>
                  <a:pt x="30" y="77"/>
                </a:cubicBezTo>
                <a:cubicBezTo>
                  <a:pt x="29" y="77"/>
                  <a:pt x="28" y="78"/>
                  <a:pt x="28" y="77"/>
                </a:cubicBezTo>
                <a:cubicBezTo>
                  <a:pt x="27" y="77"/>
                  <a:pt x="26" y="77"/>
                  <a:pt x="25" y="76"/>
                </a:cubicBezTo>
                <a:cubicBezTo>
                  <a:pt x="1" y="5"/>
                  <a:pt x="1" y="5"/>
                  <a:pt x="1" y="5"/>
                </a:cubicBezTo>
                <a:cubicBezTo>
                  <a:pt x="0" y="4"/>
                  <a:pt x="0" y="2"/>
                  <a:pt x="1" y="1"/>
                </a:cubicBezTo>
                <a:cubicBezTo>
                  <a:pt x="2" y="0"/>
                  <a:pt x="3" y="0"/>
                  <a:pt x="3" y="0"/>
                </a:cubicBezTo>
                <a:cubicBezTo>
                  <a:pt x="4" y="0"/>
                  <a:pt x="5" y="1"/>
                  <a:pt x="6" y="2"/>
                </a:cubicBezTo>
                <a:cubicBezTo>
                  <a:pt x="6" y="2"/>
                  <a:pt x="6" y="2"/>
                  <a:pt x="6" y="2"/>
                </a:cubicBezTo>
                <a:cubicBezTo>
                  <a:pt x="29" y="70"/>
                  <a:pt x="29" y="70"/>
                  <a:pt x="29" y="70"/>
                </a:cubicBezTo>
                <a:cubicBezTo>
                  <a:pt x="63" y="37"/>
                  <a:pt x="63" y="37"/>
                  <a:pt x="63" y="37"/>
                </a:cubicBezTo>
                <a:cubicBezTo>
                  <a:pt x="64" y="36"/>
                  <a:pt x="65" y="36"/>
                  <a:pt x="66" y="36"/>
                </a:cubicBezTo>
                <a:cubicBezTo>
                  <a:pt x="67" y="36"/>
                  <a:pt x="68" y="37"/>
                  <a:pt x="68" y="38"/>
                </a:cubicBezTo>
                <a:cubicBezTo>
                  <a:pt x="112" y="89"/>
                  <a:pt x="112" y="89"/>
                  <a:pt x="112" y="89"/>
                </a:cubicBezTo>
                <a:cubicBezTo>
                  <a:pt x="116" y="83"/>
                  <a:pt x="116" y="83"/>
                  <a:pt x="116" y="83"/>
                </a:cubicBezTo>
                <a:lnTo>
                  <a:pt x="121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3" name="Freeform 66"/>
          <p:cNvSpPr>
            <a:spLocks/>
          </p:cNvSpPr>
          <p:nvPr/>
        </p:nvSpPr>
        <p:spPr bwMode="auto">
          <a:xfrm>
            <a:off x="8917518" y="1659468"/>
            <a:ext cx="21167" cy="283633"/>
          </a:xfrm>
          <a:custGeom>
            <a:avLst/>
            <a:gdLst>
              <a:gd name="T0" fmla="*/ 0 w 7"/>
              <a:gd name="T1" fmla="*/ 460918499 h 94"/>
              <a:gd name="T2" fmla="*/ 20571732 w 7"/>
              <a:gd name="T3" fmla="*/ 481403464 h 94"/>
              <a:gd name="T4" fmla="*/ 36002232 w 7"/>
              <a:gd name="T5" fmla="*/ 460918499 h 94"/>
              <a:gd name="T6" fmla="*/ 36002232 w 7"/>
              <a:gd name="T7" fmla="*/ 107548329 h 94"/>
              <a:gd name="T8" fmla="*/ 0 w 7"/>
              <a:gd name="T9" fmla="*/ 0 h 94"/>
              <a:gd name="T10" fmla="*/ 0 w 7"/>
              <a:gd name="T11" fmla="*/ 460918499 h 9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7" h="94">
                <a:moveTo>
                  <a:pt x="0" y="90"/>
                </a:moveTo>
                <a:cubicBezTo>
                  <a:pt x="0" y="92"/>
                  <a:pt x="2" y="94"/>
                  <a:pt x="4" y="94"/>
                </a:cubicBezTo>
                <a:cubicBezTo>
                  <a:pt x="6" y="94"/>
                  <a:pt x="7" y="92"/>
                  <a:pt x="7" y="90"/>
                </a:cubicBezTo>
                <a:cubicBezTo>
                  <a:pt x="7" y="21"/>
                  <a:pt x="7" y="21"/>
                  <a:pt x="7" y="21"/>
                </a:cubicBezTo>
                <a:cubicBezTo>
                  <a:pt x="0" y="0"/>
                  <a:pt x="0" y="0"/>
                  <a:pt x="0" y="0"/>
                </a:cubicBezTo>
                <a:lnTo>
                  <a:pt x="0" y="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4" name="Freeform 67"/>
          <p:cNvSpPr>
            <a:spLocks/>
          </p:cNvSpPr>
          <p:nvPr/>
        </p:nvSpPr>
        <p:spPr bwMode="auto">
          <a:xfrm>
            <a:off x="8947151" y="1746252"/>
            <a:ext cx="21167" cy="196849"/>
          </a:xfrm>
          <a:custGeom>
            <a:avLst/>
            <a:gdLst>
              <a:gd name="T0" fmla="*/ 0 w 7"/>
              <a:gd name="T1" fmla="*/ 314700758 h 65"/>
              <a:gd name="T2" fmla="*/ 20571732 w 7"/>
              <a:gd name="T3" fmla="*/ 335335868 h 65"/>
              <a:gd name="T4" fmla="*/ 36002232 w 7"/>
              <a:gd name="T5" fmla="*/ 314700758 h 65"/>
              <a:gd name="T6" fmla="*/ 36002232 w 7"/>
              <a:gd name="T7" fmla="*/ 103180092 h 65"/>
              <a:gd name="T8" fmla="*/ 0 w 7"/>
              <a:gd name="T9" fmla="*/ 0 h 65"/>
              <a:gd name="T10" fmla="*/ 0 w 7"/>
              <a:gd name="T11" fmla="*/ 314700758 h 6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7" h="65">
                <a:moveTo>
                  <a:pt x="0" y="61"/>
                </a:moveTo>
                <a:cubicBezTo>
                  <a:pt x="0" y="63"/>
                  <a:pt x="2" y="65"/>
                  <a:pt x="4" y="65"/>
                </a:cubicBezTo>
                <a:cubicBezTo>
                  <a:pt x="6" y="65"/>
                  <a:pt x="7" y="63"/>
                  <a:pt x="7" y="61"/>
                </a:cubicBezTo>
                <a:cubicBezTo>
                  <a:pt x="7" y="20"/>
                  <a:pt x="7" y="20"/>
                  <a:pt x="7" y="20"/>
                </a:cubicBezTo>
                <a:cubicBezTo>
                  <a:pt x="0" y="0"/>
                  <a:pt x="0" y="0"/>
                  <a:pt x="0" y="0"/>
                </a:cubicBezTo>
                <a:lnTo>
                  <a:pt x="0" y="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5" name="Freeform 68"/>
          <p:cNvSpPr>
            <a:spLocks/>
          </p:cNvSpPr>
          <p:nvPr/>
        </p:nvSpPr>
        <p:spPr bwMode="auto">
          <a:xfrm>
            <a:off x="8976784" y="1833033"/>
            <a:ext cx="25400" cy="110067"/>
          </a:xfrm>
          <a:custGeom>
            <a:avLst/>
            <a:gdLst>
              <a:gd name="T0" fmla="*/ 28351163 w 8"/>
              <a:gd name="T1" fmla="*/ 15773929 h 36"/>
              <a:gd name="T2" fmla="*/ 5669756 w 8"/>
              <a:gd name="T3" fmla="*/ 5257976 h 36"/>
              <a:gd name="T4" fmla="*/ 5669756 w 8"/>
              <a:gd name="T5" fmla="*/ 0 h 36"/>
              <a:gd name="T6" fmla="*/ 0 w 8"/>
              <a:gd name="T7" fmla="*/ 0 h 36"/>
              <a:gd name="T8" fmla="*/ 0 w 8"/>
              <a:gd name="T9" fmla="*/ 0 h 36"/>
              <a:gd name="T10" fmla="*/ 0 w 8"/>
              <a:gd name="T11" fmla="*/ 168259831 h 36"/>
              <a:gd name="T12" fmla="*/ 22681406 w 8"/>
              <a:gd name="T13" fmla="*/ 189291736 h 36"/>
              <a:gd name="T14" fmla="*/ 45362813 w 8"/>
              <a:gd name="T15" fmla="*/ 168259831 h 36"/>
              <a:gd name="T16" fmla="*/ 45362813 w 8"/>
              <a:gd name="T17" fmla="*/ 15773929 h 36"/>
              <a:gd name="T18" fmla="*/ 34023300 w 8"/>
              <a:gd name="T19" fmla="*/ 15773929 h 36"/>
              <a:gd name="T20" fmla="*/ 28351163 w 8"/>
              <a:gd name="T21" fmla="*/ 15773929 h 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8" h="36">
                <a:moveTo>
                  <a:pt x="5" y="3"/>
                </a:moveTo>
                <a:cubicBezTo>
                  <a:pt x="3" y="3"/>
                  <a:pt x="2" y="2"/>
                  <a:pt x="1" y="1"/>
                </a:cubicBezTo>
                <a:cubicBezTo>
                  <a:pt x="1" y="0"/>
                  <a:pt x="1" y="0"/>
                  <a:pt x="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4"/>
                  <a:pt x="2" y="36"/>
                  <a:pt x="4" y="36"/>
                </a:cubicBezTo>
                <a:cubicBezTo>
                  <a:pt x="6" y="36"/>
                  <a:pt x="8" y="34"/>
                  <a:pt x="8" y="32"/>
                </a:cubicBezTo>
                <a:cubicBezTo>
                  <a:pt x="8" y="3"/>
                  <a:pt x="8" y="3"/>
                  <a:pt x="8" y="3"/>
                </a:cubicBezTo>
                <a:cubicBezTo>
                  <a:pt x="7" y="3"/>
                  <a:pt x="7" y="3"/>
                  <a:pt x="6" y="3"/>
                </a:cubicBezTo>
                <a:cubicBezTo>
                  <a:pt x="6" y="3"/>
                  <a:pt x="5" y="3"/>
                  <a:pt x="5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6" name="Freeform 69"/>
          <p:cNvSpPr>
            <a:spLocks/>
          </p:cNvSpPr>
          <p:nvPr/>
        </p:nvSpPr>
        <p:spPr bwMode="auto">
          <a:xfrm>
            <a:off x="9010651" y="1818217"/>
            <a:ext cx="21167" cy="124883"/>
          </a:xfrm>
          <a:custGeom>
            <a:avLst/>
            <a:gdLst>
              <a:gd name="T0" fmla="*/ 0 w 7"/>
              <a:gd name="T1" fmla="*/ 193092209 h 41"/>
              <a:gd name="T2" fmla="*/ 15430500 w 7"/>
              <a:gd name="T3" fmla="*/ 213967412 h 41"/>
              <a:gd name="T4" fmla="*/ 36002232 w 7"/>
              <a:gd name="T5" fmla="*/ 193092209 h 41"/>
              <a:gd name="T6" fmla="*/ 36002232 w 7"/>
              <a:gd name="T7" fmla="*/ 0 h 41"/>
              <a:gd name="T8" fmla="*/ 0 w 7"/>
              <a:gd name="T9" fmla="*/ 31312806 h 41"/>
              <a:gd name="T10" fmla="*/ 0 w 7"/>
              <a:gd name="T11" fmla="*/ 193092209 h 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7" h="41">
                <a:moveTo>
                  <a:pt x="0" y="37"/>
                </a:moveTo>
                <a:cubicBezTo>
                  <a:pt x="0" y="39"/>
                  <a:pt x="1" y="41"/>
                  <a:pt x="3" y="41"/>
                </a:cubicBezTo>
                <a:cubicBezTo>
                  <a:pt x="5" y="41"/>
                  <a:pt x="7" y="39"/>
                  <a:pt x="7" y="37"/>
                </a:cubicBezTo>
                <a:cubicBezTo>
                  <a:pt x="7" y="0"/>
                  <a:pt x="7" y="0"/>
                  <a:pt x="7" y="0"/>
                </a:cubicBezTo>
                <a:cubicBezTo>
                  <a:pt x="0" y="6"/>
                  <a:pt x="0" y="6"/>
                  <a:pt x="0" y="6"/>
                </a:cubicBezTo>
                <a:lnTo>
                  <a:pt x="0" y="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7" name="Freeform 70"/>
          <p:cNvSpPr>
            <a:spLocks/>
          </p:cNvSpPr>
          <p:nvPr/>
        </p:nvSpPr>
        <p:spPr bwMode="auto">
          <a:xfrm>
            <a:off x="9040285" y="1788585"/>
            <a:ext cx="21167" cy="154516"/>
          </a:xfrm>
          <a:custGeom>
            <a:avLst/>
            <a:gdLst>
              <a:gd name="T0" fmla="*/ 0 w 7"/>
              <a:gd name="T1" fmla="*/ 242678739 h 51"/>
              <a:gd name="T2" fmla="*/ 15430500 w 7"/>
              <a:gd name="T3" fmla="*/ 263331621 h 51"/>
              <a:gd name="T4" fmla="*/ 36002232 w 7"/>
              <a:gd name="T5" fmla="*/ 242678739 h 51"/>
              <a:gd name="T6" fmla="*/ 36002232 w 7"/>
              <a:gd name="T7" fmla="*/ 0 h 51"/>
              <a:gd name="T8" fmla="*/ 0 w 7"/>
              <a:gd name="T9" fmla="*/ 36143110 h 51"/>
              <a:gd name="T10" fmla="*/ 0 w 7"/>
              <a:gd name="T11" fmla="*/ 242678739 h 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7" h="51">
                <a:moveTo>
                  <a:pt x="0" y="47"/>
                </a:moveTo>
                <a:cubicBezTo>
                  <a:pt x="0" y="49"/>
                  <a:pt x="1" y="51"/>
                  <a:pt x="3" y="51"/>
                </a:cubicBezTo>
                <a:cubicBezTo>
                  <a:pt x="5" y="51"/>
                  <a:pt x="7" y="49"/>
                  <a:pt x="7" y="47"/>
                </a:cubicBezTo>
                <a:cubicBezTo>
                  <a:pt x="7" y="0"/>
                  <a:pt x="7" y="0"/>
                  <a:pt x="7" y="0"/>
                </a:cubicBezTo>
                <a:cubicBezTo>
                  <a:pt x="0" y="7"/>
                  <a:pt x="0" y="7"/>
                  <a:pt x="0" y="7"/>
                </a:cubicBezTo>
                <a:lnTo>
                  <a:pt x="0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8" name="Freeform 71"/>
          <p:cNvSpPr>
            <a:spLocks/>
          </p:cNvSpPr>
          <p:nvPr/>
        </p:nvSpPr>
        <p:spPr bwMode="auto">
          <a:xfrm>
            <a:off x="9069918" y="1761068"/>
            <a:ext cx="21167" cy="182033"/>
          </a:xfrm>
          <a:custGeom>
            <a:avLst/>
            <a:gdLst>
              <a:gd name="T0" fmla="*/ 0 w 7"/>
              <a:gd name="T1" fmla="*/ 289940418 h 60"/>
              <a:gd name="T2" fmla="*/ 15430500 w 7"/>
              <a:gd name="T3" fmla="*/ 310651260 h 60"/>
              <a:gd name="T4" fmla="*/ 36002232 w 7"/>
              <a:gd name="T5" fmla="*/ 289940418 h 60"/>
              <a:gd name="T6" fmla="*/ 36002232 w 7"/>
              <a:gd name="T7" fmla="*/ 0 h 60"/>
              <a:gd name="T8" fmla="*/ 0 w 7"/>
              <a:gd name="T9" fmla="*/ 31066264 h 60"/>
              <a:gd name="T10" fmla="*/ 0 w 7"/>
              <a:gd name="T11" fmla="*/ 289940418 h 6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7" h="60">
                <a:moveTo>
                  <a:pt x="0" y="56"/>
                </a:moveTo>
                <a:cubicBezTo>
                  <a:pt x="0" y="58"/>
                  <a:pt x="1" y="60"/>
                  <a:pt x="3" y="60"/>
                </a:cubicBezTo>
                <a:cubicBezTo>
                  <a:pt x="5" y="60"/>
                  <a:pt x="7" y="58"/>
                  <a:pt x="7" y="56"/>
                </a:cubicBezTo>
                <a:cubicBezTo>
                  <a:pt x="7" y="0"/>
                  <a:pt x="7" y="0"/>
                  <a:pt x="7" y="0"/>
                </a:cubicBezTo>
                <a:cubicBezTo>
                  <a:pt x="0" y="6"/>
                  <a:pt x="0" y="6"/>
                  <a:pt x="0" y="6"/>
                </a:cubicBezTo>
                <a:lnTo>
                  <a:pt x="0" y="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89" name="Freeform 72"/>
          <p:cNvSpPr>
            <a:spLocks/>
          </p:cNvSpPr>
          <p:nvPr/>
        </p:nvSpPr>
        <p:spPr bwMode="auto">
          <a:xfrm>
            <a:off x="9099551" y="1750484"/>
            <a:ext cx="21167" cy="192616"/>
          </a:xfrm>
          <a:custGeom>
            <a:avLst/>
            <a:gdLst>
              <a:gd name="T0" fmla="*/ 0 w 7"/>
              <a:gd name="T1" fmla="*/ 5094543 h 64"/>
              <a:gd name="T2" fmla="*/ 0 w 7"/>
              <a:gd name="T3" fmla="*/ 305704164 h 64"/>
              <a:gd name="T4" fmla="*/ 15430500 w 7"/>
              <a:gd name="T5" fmla="*/ 326084592 h 64"/>
              <a:gd name="T6" fmla="*/ 36002232 w 7"/>
              <a:gd name="T7" fmla="*/ 305704164 h 64"/>
              <a:gd name="T8" fmla="*/ 36002232 w 7"/>
              <a:gd name="T9" fmla="*/ 30569514 h 64"/>
              <a:gd name="T10" fmla="*/ 5143500 w 7"/>
              <a:gd name="T11" fmla="*/ 0 h 64"/>
              <a:gd name="T12" fmla="*/ 0 w 7"/>
              <a:gd name="T13" fmla="*/ 5094543 h 6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7" h="64">
                <a:moveTo>
                  <a:pt x="0" y="1"/>
                </a:moveTo>
                <a:cubicBezTo>
                  <a:pt x="0" y="60"/>
                  <a:pt x="0" y="60"/>
                  <a:pt x="0" y="60"/>
                </a:cubicBezTo>
                <a:cubicBezTo>
                  <a:pt x="0" y="62"/>
                  <a:pt x="1" y="64"/>
                  <a:pt x="3" y="64"/>
                </a:cubicBezTo>
                <a:cubicBezTo>
                  <a:pt x="5" y="64"/>
                  <a:pt x="7" y="62"/>
                  <a:pt x="7" y="60"/>
                </a:cubicBezTo>
                <a:cubicBezTo>
                  <a:pt x="7" y="6"/>
                  <a:pt x="7" y="6"/>
                  <a:pt x="7" y="6"/>
                </a:cubicBezTo>
                <a:cubicBezTo>
                  <a:pt x="1" y="0"/>
                  <a:pt x="1" y="0"/>
                  <a:pt x="1" y="0"/>
                </a:cubicBez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0" name="Freeform 73"/>
          <p:cNvSpPr>
            <a:spLocks/>
          </p:cNvSpPr>
          <p:nvPr/>
        </p:nvSpPr>
        <p:spPr bwMode="auto">
          <a:xfrm>
            <a:off x="9131301" y="1775884"/>
            <a:ext cx="21167" cy="167216"/>
          </a:xfrm>
          <a:custGeom>
            <a:avLst/>
            <a:gdLst>
              <a:gd name="T0" fmla="*/ 0 w 7"/>
              <a:gd name="T1" fmla="*/ 265171133 h 55"/>
              <a:gd name="T2" fmla="*/ 15430500 w 7"/>
              <a:gd name="T3" fmla="*/ 285969003 h 55"/>
              <a:gd name="T4" fmla="*/ 36002232 w 7"/>
              <a:gd name="T5" fmla="*/ 265171133 h 55"/>
              <a:gd name="T6" fmla="*/ 36002232 w 7"/>
              <a:gd name="T7" fmla="*/ 41595740 h 55"/>
              <a:gd name="T8" fmla="*/ 0 w 7"/>
              <a:gd name="T9" fmla="*/ 0 h 55"/>
              <a:gd name="T10" fmla="*/ 0 w 7"/>
              <a:gd name="T11" fmla="*/ 265171133 h 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7" h="55">
                <a:moveTo>
                  <a:pt x="0" y="51"/>
                </a:moveTo>
                <a:cubicBezTo>
                  <a:pt x="0" y="53"/>
                  <a:pt x="1" y="55"/>
                  <a:pt x="3" y="55"/>
                </a:cubicBezTo>
                <a:cubicBezTo>
                  <a:pt x="5" y="55"/>
                  <a:pt x="7" y="53"/>
                  <a:pt x="7" y="51"/>
                </a:cubicBezTo>
                <a:cubicBezTo>
                  <a:pt x="7" y="8"/>
                  <a:pt x="7" y="8"/>
                  <a:pt x="7" y="8"/>
                </a:cubicBezTo>
                <a:cubicBezTo>
                  <a:pt x="0" y="0"/>
                  <a:pt x="0" y="0"/>
                  <a:pt x="0" y="0"/>
                </a:cubicBezTo>
                <a:lnTo>
                  <a:pt x="0" y="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1" name="Freeform 74"/>
          <p:cNvSpPr>
            <a:spLocks/>
          </p:cNvSpPr>
          <p:nvPr/>
        </p:nvSpPr>
        <p:spPr bwMode="auto">
          <a:xfrm>
            <a:off x="9160934" y="1813985"/>
            <a:ext cx="21167" cy="129116"/>
          </a:xfrm>
          <a:custGeom>
            <a:avLst/>
            <a:gdLst>
              <a:gd name="T0" fmla="*/ 0 w 7"/>
              <a:gd name="T1" fmla="*/ 197795203 h 43"/>
              <a:gd name="T2" fmla="*/ 15430500 w 7"/>
              <a:gd name="T3" fmla="*/ 218081428 h 43"/>
              <a:gd name="T4" fmla="*/ 36002232 w 7"/>
              <a:gd name="T5" fmla="*/ 197795203 h 43"/>
              <a:gd name="T6" fmla="*/ 36002232 w 7"/>
              <a:gd name="T7" fmla="*/ 40572451 h 43"/>
              <a:gd name="T8" fmla="*/ 0 w 7"/>
              <a:gd name="T9" fmla="*/ 0 h 43"/>
              <a:gd name="T10" fmla="*/ 0 w 7"/>
              <a:gd name="T11" fmla="*/ 197795203 h 4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7" h="43">
                <a:moveTo>
                  <a:pt x="0" y="39"/>
                </a:moveTo>
                <a:cubicBezTo>
                  <a:pt x="0" y="41"/>
                  <a:pt x="1" y="43"/>
                  <a:pt x="3" y="43"/>
                </a:cubicBezTo>
                <a:cubicBezTo>
                  <a:pt x="5" y="43"/>
                  <a:pt x="7" y="41"/>
                  <a:pt x="7" y="39"/>
                </a:cubicBezTo>
                <a:cubicBezTo>
                  <a:pt x="7" y="8"/>
                  <a:pt x="7" y="8"/>
                  <a:pt x="7" y="8"/>
                </a:cubicBezTo>
                <a:cubicBezTo>
                  <a:pt x="0" y="0"/>
                  <a:pt x="0" y="0"/>
                  <a:pt x="0" y="0"/>
                </a:cubicBezTo>
                <a:lnTo>
                  <a:pt x="0" y="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2" name="Freeform 75"/>
          <p:cNvSpPr>
            <a:spLocks/>
          </p:cNvSpPr>
          <p:nvPr/>
        </p:nvSpPr>
        <p:spPr bwMode="auto">
          <a:xfrm>
            <a:off x="9190567" y="1845734"/>
            <a:ext cx="21167" cy="40217"/>
          </a:xfrm>
          <a:custGeom>
            <a:avLst/>
            <a:gdLst>
              <a:gd name="T0" fmla="*/ 25201563 w 10"/>
              <a:gd name="T1" fmla="*/ 40323168 h 19"/>
              <a:gd name="T2" fmla="*/ 25201563 w 10"/>
              <a:gd name="T3" fmla="*/ 30242376 h 19"/>
              <a:gd name="T4" fmla="*/ 0 w 10"/>
              <a:gd name="T5" fmla="*/ 0 h 19"/>
              <a:gd name="T6" fmla="*/ 0 w 10"/>
              <a:gd name="T7" fmla="*/ 47884556 h 19"/>
              <a:gd name="T8" fmla="*/ 22682200 w 10"/>
              <a:gd name="T9" fmla="*/ 40323168 h 19"/>
              <a:gd name="T10" fmla="*/ 25201563 w 10"/>
              <a:gd name="T11" fmla="*/ 40323168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" h="19">
                <a:moveTo>
                  <a:pt x="10" y="16"/>
                </a:moveTo>
                <a:lnTo>
                  <a:pt x="10" y="12"/>
                </a:lnTo>
                <a:lnTo>
                  <a:pt x="0" y="0"/>
                </a:lnTo>
                <a:lnTo>
                  <a:pt x="0" y="19"/>
                </a:lnTo>
                <a:lnTo>
                  <a:pt x="9" y="16"/>
                </a:lnTo>
                <a:lnTo>
                  <a:pt x="10" y="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3" name="Freeform 76"/>
          <p:cNvSpPr>
            <a:spLocks/>
          </p:cNvSpPr>
          <p:nvPr/>
        </p:nvSpPr>
        <p:spPr bwMode="auto">
          <a:xfrm>
            <a:off x="9190567" y="1888068"/>
            <a:ext cx="21167" cy="55033"/>
          </a:xfrm>
          <a:custGeom>
            <a:avLst/>
            <a:gdLst>
              <a:gd name="T0" fmla="*/ 0 w 7"/>
              <a:gd name="T1" fmla="*/ 0 h 18"/>
              <a:gd name="T2" fmla="*/ 0 w 7"/>
              <a:gd name="T3" fmla="*/ 73613963 h 18"/>
              <a:gd name="T4" fmla="*/ 15430500 w 7"/>
              <a:gd name="T5" fmla="*/ 94645868 h 18"/>
              <a:gd name="T6" fmla="*/ 36002232 w 7"/>
              <a:gd name="T7" fmla="*/ 73613963 h 18"/>
              <a:gd name="T8" fmla="*/ 36002232 w 7"/>
              <a:gd name="T9" fmla="*/ 15773929 h 18"/>
              <a:gd name="T10" fmla="*/ 25715232 w 7"/>
              <a:gd name="T11" fmla="*/ 15773929 h 18"/>
              <a:gd name="T12" fmla="*/ 0 w 7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7" h="18">
                <a:moveTo>
                  <a:pt x="0" y="0"/>
                </a:moveTo>
                <a:cubicBezTo>
                  <a:pt x="0" y="14"/>
                  <a:pt x="0" y="14"/>
                  <a:pt x="0" y="14"/>
                </a:cubicBezTo>
                <a:cubicBezTo>
                  <a:pt x="0" y="16"/>
                  <a:pt x="1" y="18"/>
                  <a:pt x="3" y="18"/>
                </a:cubicBezTo>
                <a:cubicBezTo>
                  <a:pt x="5" y="18"/>
                  <a:pt x="7" y="16"/>
                  <a:pt x="7" y="14"/>
                </a:cubicBezTo>
                <a:cubicBezTo>
                  <a:pt x="7" y="3"/>
                  <a:pt x="7" y="3"/>
                  <a:pt x="7" y="3"/>
                </a:cubicBezTo>
                <a:cubicBezTo>
                  <a:pt x="5" y="3"/>
                  <a:pt x="5" y="3"/>
                  <a:pt x="5" y="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4" name="Freeform 77"/>
          <p:cNvSpPr>
            <a:spLocks/>
          </p:cNvSpPr>
          <p:nvPr/>
        </p:nvSpPr>
        <p:spPr bwMode="auto">
          <a:xfrm>
            <a:off x="9220201" y="1902884"/>
            <a:ext cx="21167" cy="40216"/>
          </a:xfrm>
          <a:custGeom>
            <a:avLst/>
            <a:gdLst>
              <a:gd name="T0" fmla="*/ 0 w 7"/>
              <a:gd name="T1" fmla="*/ 48449453 h 13"/>
              <a:gd name="T2" fmla="*/ 15430500 w 7"/>
              <a:gd name="T3" fmla="*/ 69982800 h 13"/>
              <a:gd name="T4" fmla="*/ 36002232 w 7"/>
              <a:gd name="T5" fmla="*/ 48449453 h 13"/>
              <a:gd name="T6" fmla="*/ 36002232 w 7"/>
              <a:gd name="T7" fmla="*/ 16150591 h 13"/>
              <a:gd name="T8" fmla="*/ 0 w 7"/>
              <a:gd name="T9" fmla="*/ 0 h 13"/>
              <a:gd name="T10" fmla="*/ 0 w 7"/>
              <a:gd name="T11" fmla="*/ 48449453 h 1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7" h="13">
                <a:moveTo>
                  <a:pt x="0" y="9"/>
                </a:moveTo>
                <a:cubicBezTo>
                  <a:pt x="0" y="11"/>
                  <a:pt x="1" y="13"/>
                  <a:pt x="3" y="13"/>
                </a:cubicBezTo>
                <a:cubicBezTo>
                  <a:pt x="5" y="13"/>
                  <a:pt x="7" y="11"/>
                  <a:pt x="7" y="9"/>
                </a:cubicBezTo>
                <a:cubicBezTo>
                  <a:pt x="7" y="3"/>
                  <a:pt x="7" y="3"/>
                  <a:pt x="7" y="3"/>
                </a:cubicBezTo>
                <a:cubicBezTo>
                  <a:pt x="0" y="0"/>
                  <a:pt x="0" y="0"/>
                  <a:pt x="0" y="0"/>
                </a:cubicBezTo>
                <a:lnTo>
                  <a:pt x="0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5" name="Freeform 78"/>
          <p:cNvSpPr>
            <a:spLocks/>
          </p:cNvSpPr>
          <p:nvPr/>
        </p:nvSpPr>
        <p:spPr bwMode="auto">
          <a:xfrm>
            <a:off x="9749367" y="1581151"/>
            <a:ext cx="391584" cy="391583"/>
          </a:xfrm>
          <a:custGeom>
            <a:avLst/>
            <a:gdLst>
              <a:gd name="T0" fmla="*/ 643063763 w 130"/>
              <a:gd name="T1" fmla="*/ 627753703 h 130"/>
              <a:gd name="T2" fmla="*/ 35726016 w 130"/>
              <a:gd name="T3" fmla="*/ 627753703 h 130"/>
              <a:gd name="T4" fmla="*/ 35726016 w 130"/>
              <a:gd name="T5" fmla="*/ 20415765 h 130"/>
              <a:gd name="T6" fmla="*/ 25519228 w 130"/>
              <a:gd name="T7" fmla="*/ 0 h 130"/>
              <a:gd name="T8" fmla="*/ 10206788 w 130"/>
              <a:gd name="T9" fmla="*/ 0 h 130"/>
              <a:gd name="T10" fmla="*/ 0 w 130"/>
              <a:gd name="T11" fmla="*/ 20415765 h 130"/>
              <a:gd name="T12" fmla="*/ 0 w 130"/>
              <a:gd name="T13" fmla="*/ 637960456 h 130"/>
              <a:gd name="T14" fmla="*/ 0 w 130"/>
              <a:gd name="T15" fmla="*/ 643063833 h 130"/>
              <a:gd name="T16" fmla="*/ 0 w 130"/>
              <a:gd name="T17" fmla="*/ 653272845 h 130"/>
              <a:gd name="T18" fmla="*/ 5103394 w 130"/>
              <a:gd name="T19" fmla="*/ 658376221 h 130"/>
              <a:gd name="T20" fmla="*/ 10206788 w 130"/>
              <a:gd name="T21" fmla="*/ 663479597 h 130"/>
              <a:gd name="T22" fmla="*/ 20415834 w 130"/>
              <a:gd name="T23" fmla="*/ 663479597 h 130"/>
              <a:gd name="T24" fmla="*/ 25519228 w 130"/>
              <a:gd name="T25" fmla="*/ 663479597 h 130"/>
              <a:gd name="T26" fmla="*/ 643063763 w 130"/>
              <a:gd name="T27" fmla="*/ 663479597 h 130"/>
              <a:gd name="T28" fmla="*/ 663479597 w 130"/>
              <a:gd name="T29" fmla="*/ 653272845 h 130"/>
              <a:gd name="T30" fmla="*/ 663479597 w 130"/>
              <a:gd name="T31" fmla="*/ 637960456 h 130"/>
              <a:gd name="T32" fmla="*/ 643063763 w 130"/>
              <a:gd name="T33" fmla="*/ 627753703 h 13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30" h="130">
                <a:moveTo>
                  <a:pt x="126" y="123"/>
                </a:moveTo>
                <a:cubicBezTo>
                  <a:pt x="7" y="123"/>
                  <a:pt x="7" y="123"/>
                  <a:pt x="7" y="123"/>
                </a:cubicBezTo>
                <a:cubicBezTo>
                  <a:pt x="7" y="4"/>
                  <a:pt x="7" y="4"/>
                  <a:pt x="7" y="4"/>
                </a:cubicBezTo>
                <a:cubicBezTo>
                  <a:pt x="7" y="2"/>
                  <a:pt x="6" y="0"/>
                  <a:pt x="5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2"/>
                  <a:pt x="0" y="4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8"/>
                  <a:pt x="0" y="128"/>
                  <a:pt x="0" y="128"/>
                </a:cubicBezTo>
                <a:cubicBezTo>
                  <a:pt x="0" y="128"/>
                  <a:pt x="0" y="129"/>
                  <a:pt x="1" y="129"/>
                </a:cubicBezTo>
                <a:cubicBezTo>
                  <a:pt x="1" y="130"/>
                  <a:pt x="2" y="130"/>
                  <a:pt x="2" y="130"/>
                </a:cubicBezTo>
                <a:cubicBezTo>
                  <a:pt x="4" y="130"/>
                  <a:pt x="4" y="130"/>
                  <a:pt x="4" y="130"/>
                </a:cubicBezTo>
                <a:cubicBezTo>
                  <a:pt x="5" y="130"/>
                  <a:pt x="5" y="130"/>
                  <a:pt x="5" y="130"/>
                </a:cubicBezTo>
                <a:cubicBezTo>
                  <a:pt x="126" y="130"/>
                  <a:pt x="126" y="130"/>
                  <a:pt x="126" y="130"/>
                </a:cubicBezTo>
                <a:cubicBezTo>
                  <a:pt x="128" y="130"/>
                  <a:pt x="130" y="129"/>
                  <a:pt x="130" y="128"/>
                </a:cubicBezTo>
                <a:cubicBezTo>
                  <a:pt x="130" y="125"/>
                  <a:pt x="130" y="125"/>
                  <a:pt x="130" y="125"/>
                </a:cubicBezTo>
                <a:cubicBezTo>
                  <a:pt x="130" y="124"/>
                  <a:pt x="128" y="123"/>
                  <a:pt x="126" y="1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6" name="Freeform 79"/>
          <p:cNvSpPr>
            <a:spLocks/>
          </p:cNvSpPr>
          <p:nvPr/>
        </p:nvSpPr>
        <p:spPr bwMode="auto">
          <a:xfrm>
            <a:off x="9787467" y="1602317"/>
            <a:ext cx="364067" cy="319616"/>
          </a:xfrm>
          <a:custGeom>
            <a:avLst/>
            <a:gdLst>
              <a:gd name="T0" fmla="*/ 616167789 w 121"/>
              <a:gd name="T1" fmla="*/ 542095119 h 106"/>
              <a:gd name="T2" fmla="*/ 509229224 w 121"/>
              <a:gd name="T3" fmla="*/ 485839688 h 106"/>
              <a:gd name="T4" fmla="*/ 544874660 w 121"/>
              <a:gd name="T5" fmla="*/ 475611222 h 106"/>
              <a:gd name="T6" fmla="*/ 325906613 w 121"/>
              <a:gd name="T7" fmla="*/ 225021725 h 106"/>
              <a:gd name="T8" fmla="*/ 152768090 w 121"/>
              <a:gd name="T9" fmla="*/ 393785757 h 106"/>
              <a:gd name="T10" fmla="*/ 142584002 w 121"/>
              <a:gd name="T11" fmla="*/ 393785757 h 106"/>
              <a:gd name="T12" fmla="*/ 127306742 w 121"/>
              <a:gd name="T13" fmla="*/ 388672655 h 106"/>
              <a:gd name="T14" fmla="*/ 5093172 w 121"/>
              <a:gd name="T15" fmla="*/ 25570034 h 106"/>
              <a:gd name="T16" fmla="*/ 5093172 w 121"/>
              <a:gd name="T17" fmla="*/ 5113102 h 106"/>
              <a:gd name="T18" fmla="*/ 15277260 w 121"/>
              <a:gd name="T19" fmla="*/ 0 h 106"/>
              <a:gd name="T20" fmla="*/ 30554521 w 121"/>
              <a:gd name="T21" fmla="*/ 10228466 h 106"/>
              <a:gd name="T22" fmla="*/ 30554521 w 121"/>
              <a:gd name="T23" fmla="*/ 10228466 h 106"/>
              <a:gd name="T24" fmla="*/ 147677174 w 121"/>
              <a:gd name="T25" fmla="*/ 357987258 h 106"/>
              <a:gd name="T26" fmla="*/ 320815697 w 121"/>
              <a:gd name="T27" fmla="*/ 189220964 h 106"/>
              <a:gd name="T28" fmla="*/ 336090701 w 121"/>
              <a:gd name="T29" fmla="*/ 184107862 h 106"/>
              <a:gd name="T30" fmla="*/ 346277045 w 121"/>
              <a:gd name="T31" fmla="*/ 194336328 h 106"/>
              <a:gd name="T32" fmla="*/ 570336008 w 121"/>
              <a:gd name="T33" fmla="*/ 455154291 h 106"/>
              <a:gd name="T34" fmla="*/ 590706441 w 121"/>
              <a:gd name="T35" fmla="*/ 424471155 h 106"/>
              <a:gd name="T36" fmla="*/ 616167789 w 121"/>
              <a:gd name="T37" fmla="*/ 542095119 h 10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21" h="106">
                <a:moveTo>
                  <a:pt x="121" y="106"/>
                </a:moveTo>
                <a:cubicBezTo>
                  <a:pt x="100" y="95"/>
                  <a:pt x="100" y="95"/>
                  <a:pt x="100" y="95"/>
                </a:cubicBezTo>
                <a:cubicBezTo>
                  <a:pt x="107" y="93"/>
                  <a:pt x="107" y="93"/>
                  <a:pt x="107" y="93"/>
                </a:cubicBezTo>
                <a:cubicBezTo>
                  <a:pt x="64" y="44"/>
                  <a:pt x="64" y="44"/>
                  <a:pt x="64" y="44"/>
                </a:cubicBezTo>
                <a:cubicBezTo>
                  <a:pt x="30" y="77"/>
                  <a:pt x="30" y="77"/>
                  <a:pt x="30" y="77"/>
                </a:cubicBezTo>
                <a:cubicBezTo>
                  <a:pt x="29" y="77"/>
                  <a:pt x="28" y="78"/>
                  <a:pt x="28" y="77"/>
                </a:cubicBezTo>
                <a:cubicBezTo>
                  <a:pt x="27" y="77"/>
                  <a:pt x="26" y="77"/>
                  <a:pt x="25" y="76"/>
                </a:cubicBezTo>
                <a:cubicBezTo>
                  <a:pt x="1" y="5"/>
                  <a:pt x="1" y="5"/>
                  <a:pt x="1" y="5"/>
                </a:cubicBezTo>
                <a:cubicBezTo>
                  <a:pt x="0" y="4"/>
                  <a:pt x="0" y="2"/>
                  <a:pt x="1" y="1"/>
                </a:cubicBezTo>
                <a:cubicBezTo>
                  <a:pt x="2" y="0"/>
                  <a:pt x="3" y="0"/>
                  <a:pt x="3" y="0"/>
                </a:cubicBezTo>
                <a:cubicBezTo>
                  <a:pt x="4" y="0"/>
                  <a:pt x="5" y="1"/>
                  <a:pt x="6" y="2"/>
                </a:cubicBezTo>
                <a:cubicBezTo>
                  <a:pt x="6" y="2"/>
                  <a:pt x="6" y="2"/>
                  <a:pt x="6" y="2"/>
                </a:cubicBezTo>
                <a:cubicBezTo>
                  <a:pt x="29" y="70"/>
                  <a:pt x="29" y="70"/>
                  <a:pt x="29" y="70"/>
                </a:cubicBezTo>
                <a:cubicBezTo>
                  <a:pt x="63" y="37"/>
                  <a:pt x="63" y="37"/>
                  <a:pt x="63" y="37"/>
                </a:cubicBezTo>
                <a:cubicBezTo>
                  <a:pt x="64" y="36"/>
                  <a:pt x="65" y="36"/>
                  <a:pt x="66" y="36"/>
                </a:cubicBezTo>
                <a:cubicBezTo>
                  <a:pt x="67" y="36"/>
                  <a:pt x="68" y="37"/>
                  <a:pt x="68" y="38"/>
                </a:cubicBezTo>
                <a:cubicBezTo>
                  <a:pt x="112" y="89"/>
                  <a:pt x="112" y="89"/>
                  <a:pt x="112" y="89"/>
                </a:cubicBezTo>
                <a:cubicBezTo>
                  <a:pt x="116" y="83"/>
                  <a:pt x="116" y="83"/>
                  <a:pt x="116" y="83"/>
                </a:cubicBezTo>
                <a:lnTo>
                  <a:pt x="121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7" name="Freeform 80"/>
          <p:cNvSpPr>
            <a:spLocks/>
          </p:cNvSpPr>
          <p:nvPr/>
        </p:nvSpPr>
        <p:spPr bwMode="auto">
          <a:xfrm>
            <a:off x="10657417" y="1517651"/>
            <a:ext cx="345016" cy="256116"/>
          </a:xfrm>
          <a:custGeom>
            <a:avLst/>
            <a:gdLst>
              <a:gd name="T0" fmla="*/ 212643861 w 115"/>
              <a:gd name="T1" fmla="*/ 434089502 h 85"/>
              <a:gd name="T2" fmla="*/ 0 w 115"/>
              <a:gd name="T3" fmla="*/ 102138308 h 85"/>
              <a:gd name="T4" fmla="*/ 496170510 w 115"/>
              <a:gd name="T5" fmla="*/ 163420840 h 85"/>
              <a:gd name="T6" fmla="*/ 582241501 w 115"/>
              <a:gd name="T7" fmla="*/ 311522177 h 85"/>
              <a:gd name="T8" fmla="*/ 212643861 w 115"/>
              <a:gd name="T9" fmla="*/ 434089502 h 8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15" h="85">
                <a:moveTo>
                  <a:pt x="42" y="85"/>
                </a:moveTo>
                <a:cubicBezTo>
                  <a:pt x="0" y="20"/>
                  <a:pt x="0" y="20"/>
                  <a:pt x="0" y="20"/>
                </a:cubicBezTo>
                <a:cubicBezTo>
                  <a:pt x="31" y="0"/>
                  <a:pt x="72" y="5"/>
                  <a:pt x="98" y="32"/>
                </a:cubicBezTo>
                <a:cubicBezTo>
                  <a:pt x="105" y="40"/>
                  <a:pt x="111" y="50"/>
                  <a:pt x="115" y="61"/>
                </a:cubicBezTo>
                <a:lnTo>
                  <a:pt x="42" y="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8" name="Freeform 81"/>
          <p:cNvSpPr>
            <a:spLocks/>
          </p:cNvSpPr>
          <p:nvPr/>
        </p:nvSpPr>
        <p:spPr bwMode="auto">
          <a:xfrm>
            <a:off x="10528300" y="1568451"/>
            <a:ext cx="211667" cy="192616"/>
          </a:xfrm>
          <a:custGeom>
            <a:avLst/>
            <a:gdLst>
              <a:gd name="T0" fmla="*/ 354951585 w 71"/>
              <a:gd name="T1" fmla="*/ 326084592 h 64"/>
              <a:gd name="T2" fmla="*/ 0 w 71"/>
              <a:gd name="T3" fmla="*/ 178327053 h 64"/>
              <a:gd name="T4" fmla="*/ 94986162 w 71"/>
              <a:gd name="T5" fmla="*/ 40760856 h 64"/>
              <a:gd name="T6" fmla="*/ 144981232 w 71"/>
              <a:gd name="T7" fmla="*/ 0 h 64"/>
              <a:gd name="T8" fmla="*/ 354951585 w 71"/>
              <a:gd name="T9" fmla="*/ 326084592 h 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1" h="64">
                <a:moveTo>
                  <a:pt x="71" y="64"/>
                </a:moveTo>
                <a:cubicBezTo>
                  <a:pt x="0" y="35"/>
                  <a:pt x="0" y="35"/>
                  <a:pt x="0" y="35"/>
                </a:cubicBezTo>
                <a:cubicBezTo>
                  <a:pt x="5" y="25"/>
                  <a:pt x="11" y="15"/>
                  <a:pt x="19" y="8"/>
                </a:cubicBezTo>
                <a:cubicBezTo>
                  <a:pt x="22" y="5"/>
                  <a:pt x="26" y="2"/>
                  <a:pt x="29" y="0"/>
                </a:cubicBezTo>
                <a:lnTo>
                  <a:pt x="71" y="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99" name="Freeform 82"/>
          <p:cNvSpPr>
            <a:spLocks/>
          </p:cNvSpPr>
          <p:nvPr/>
        </p:nvSpPr>
        <p:spPr bwMode="auto">
          <a:xfrm>
            <a:off x="10530418" y="1718733"/>
            <a:ext cx="493183" cy="340784"/>
          </a:xfrm>
          <a:custGeom>
            <a:avLst/>
            <a:gdLst>
              <a:gd name="T0" fmla="*/ 417124276 w 164"/>
              <a:gd name="T1" fmla="*/ 143246896 h 113"/>
              <a:gd name="T2" fmla="*/ 788463759 w 164"/>
              <a:gd name="T3" fmla="*/ 20462873 h 113"/>
              <a:gd name="T4" fmla="*/ 686726791 w 164"/>
              <a:gd name="T5" fmla="*/ 429738425 h 113"/>
              <a:gd name="T6" fmla="*/ 132259412 w 164"/>
              <a:gd name="T7" fmla="*/ 414389574 h 113"/>
              <a:gd name="T8" fmla="*/ 55954430 w 164"/>
              <a:gd name="T9" fmla="*/ 0 h 113"/>
              <a:gd name="T10" fmla="*/ 417124276 w 164"/>
              <a:gd name="T11" fmla="*/ 143246896 h 11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64" h="113">
                <a:moveTo>
                  <a:pt x="82" y="28"/>
                </a:moveTo>
                <a:cubicBezTo>
                  <a:pt x="155" y="4"/>
                  <a:pt x="155" y="4"/>
                  <a:pt x="155" y="4"/>
                </a:cubicBezTo>
                <a:cubicBezTo>
                  <a:pt x="164" y="33"/>
                  <a:pt x="156" y="64"/>
                  <a:pt x="135" y="84"/>
                </a:cubicBezTo>
                <a:cubicBezTo>
                  <a:pt x="104" y="113"/>
                  <a:pt x="55" y="111"/>
                  <a:pt x="26" y="81"/>
                </a:cubicBezTo>
                <a:cubicBezTo>
                  <a:pt x="6" y="59"/>
                  <a:pt x="0" y="28"/>
                  <a:pt x="11" y="0"/>
                </a:cubicBezTo>
                <a:lnTo>
                  <a:pt x="82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00" name="Freeform 83"/>
          <p:cNvSpPr>
            <a:spLocks noEditPoints="1"/>
          </p:cNvSpPr>
          <p:nvPr/>
        </p:nvSpPr>
        <p:spPr bwMode="auto">
          <a:xfrm>
            <a:off x="1157818" y="2451100"/>
            <a:ext cx="452967" cy="321733"/>
          </a:xfrm>
          <a:custGeom>
            <a:avLst/>
            <a:gdLst>
              <a:gd name="T0" fmla="*/ 410003078 w 151"/>
              <a:gd name="T1" fmla="*/ 55943263 h 107"/>
              <a:gd name="T2" fmla="*/ 207531478 w 151"/>
              <a:gd name="T3" fmla="*/ 101713588 h 107"/>
              <a:gd name="T4" fmla="*/ 126544188 w 151"/>
              <a:gd name="T5" fmla="*/ 10170682 h 107"/>
              <a:gd name="T6" fmla="*/ 136668443 w 151"/>
              <a:gd name="T7" fmla="*/ 142398572 h 107"/>
              <a:gd name="T8" fmla="*/ 60741030 w 151"/>
              <a:gd name="T9" fmla="*/ 249197501 h 107"/>
              <a:gd name="T10" fmla="*/ 35432643 w 151"/>
              <a:gd name="T11" fmla="*/ 249197501 h 107"/>
              <a:gd name="T12" fmla="*/ 20246260 w 151"/>
              <a:gd name="T13" fmla="*/ 239026819 h 107"/>
              <a:gd name="T14" fmla="*/ 0 w 151"/>
              <a:gd name="T15" fmla="*/ 300053167 h 107"/>
              <a:gd name="T16" fmla="*/ 20246260 w 151"/>
              <a:gd name="T17" fmla="*/ 361081771 h 107"/>
              <a:gd name="T18" fmla="*/ 35432643 w 151"/>
              <a:gd name="T19" fmla="*/ 350911089 h 107"/>
              <a:gd name="T20" fmla="*/ 60741030 w 151"/>
              <a:gd name="T21" fmla="*/ 350911089 h 107"/>
              <a:gd name="T22" fmla="*/ 410003078 w 151"/>
              <a:gd name="T23" fmla="*/ 544165327 h 107"/>
              <a:gd name="T24" fmla="*/ 764325004 w 151"/>
              <a:gd name="T25" fmla="*/ 300053167 h 107"/>
              <a:gd name="T26" fmla="*/ 410003078 w 151"/>
              <a:gd name="T27" fmla="*/ 55943263 h 107"/>
              <a:gd name="T28" fmla="*/ 546669271 w 151"/>
              <a:gd name="T29" fmla="*/ 147483913 h 107"/>
              <a:gd name="T30" fmla="*/ 526423011 w 151"/>
              <a:gd name="T31" fmla="*/ 157654595 h 107"/>
              <a:gd name="T32" fmla="*/ 410003078 w 151"/>
              <a:gd name="T33" fmla="*/ 132227890 h 107"/>
              <a:gd name="T34" fmla="*/ 293580896 w 151"/>
              <a:gd name="T35" fmla="*/ 157654595 h 107"/>
              <a:gd name="T36" fmla="*/ 288521018 w 151"/>
              <a:gd name="T37" fmla="*/ 157654595 h 107"/>
              <a:gd name="T38" fmla="*/ 288521018 w 151"/>
              <a:gd name="T39" fmla="*/ 157654595 h 107"/>
              <a:gd name="T40" fmla="*/ 283458891 w 151"/>
              <a:gd name="T41" fmla="*/ 157654595 h 107"/>
              <a:gd name="T42" fmla="*/ 273334636 w 151"/>
              <a:gd name="T43" fmla="*/ 147483913 h 107"/>
              <a:gd name="T44" fmla="*/ 278396763 w 151"/>
              <a:gd name="T45" fmla="*/ 127142549 h 107"/>
              <a:gd name="T46" fmla="*/ 410003078 w 151"/>
              <a:gd name="T47" fmla="*/ 101713588 h 107"/>
              <a:gd name="T48" fmla="*/ 536545016 w 151"/>
              <a:gd name="T49" fmla="*/ 127142549 h 107"/>
              <a:gd name="T50" fmla="*/ 546669271 w 151"/>
              <a:gd name="T51" fmla="*/ 147483913 h 10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1" h="107">
                <a:moveTo>
                  <a:pt x="81" y="11"/>
                </a:moveTo>
                <a:cubicBezTo>
                  <a:pt x="66" y="11"/>
                  <a:pt x="52" y="14"/>
                  <a:pt x="41" y="20"/>
                </a:cubicBezTo>
                <a:cubicBezTo>
                  <a:pt x="38" y="11"/>
                  <a:pt x="30" y="0"/>
                  <a:pt x="25" y="2"/>
                </a:cubicBezTo>
                <a:cubicBezTo>
                  <a:pt x="31" y="13"/>
                  <a:pt x="28" y="25"/>
                  <a:pt x="27" y="28"/>
                </a:cubicBezTo>
                <a:cubicBezTo>
                  <a:pt x="20" y="34"/>
                  <a:pt x="15" y="41"/>
                  <a:pt x="12" y="49"/>
                </a:cubicBezTo>
                <a:cubicBezTo>
                  <a:pt x="7" y="49"/>
                  <a:pt x="7" y="49"/>
                  <a:pt x="7" y="49"/>
                </a:cubicBezTo>
                <a:cubicBezTo>
                  <a:pt x="6" y="48"/>
                  <a:pt x="5" y="47"/>
                  <a:pt x="4" y="47"/>
                </a:cubicBezTo>
                <a:cubicBezTo>
                  <a:pt x="2" y="47"/>
                  <a:pt x="0" y="53"/>
                  <a:pt x="0" y="59"/>
                </a:cubicBezTo>
                <a:cubicBezTo>
                  <a:pt x="0" y="66"/>
                  <a:pt x="2" y="71"/>
                  <a:pt x="4" y="71"/>
                </a:cubicBezTo>
                <a:cubicBezTo>
                  <a:pt x="5" y="71"/>
                  <a:pt x="6" y="70"/>
                  <a:pt x="7" y="69"/>
                </a:cubicBezTo>
                <a:cubicBezTo>
                  <a:pt x="12" y="69"/>
                  <a:pt x="12" y="69"/>
                  <a:pt x="12" y="69"/>
                </a:cubicBezTo>
                <a:cubicBezTo>
                  <a:pt x="19" y="91"/>
                  <a:pt x="47" y="107"/>
                  <a:pt x="81" y="107"/>
                </a:cubicBezTo>
                <a:cubicBezTo>
                  <a:pt x="120" y="107"/>
                  <a:pt x="151" y="85"/>
                  <a:pt x="151" y="59"/>
                </a:cubicBezTo>
                <a:cubicBezTo>
                  <a:pt x="151" y="33"/>
                  <a:pt x="120" y="11"/>
                  <a:pt x="81" y="11"/>
                </a:cubicBezTo>
                <a:close/>
                <a:moveTo>
                  <a:pt x="108" y="29"/>
                </a:moveTo>
                <a:cubicBezTo>
                  <a:pt x="107" y="31"/>
                  <a:pt x="105" y="31"/>
                  <a:pt x="104" y="31"/>
                </a:cubicBezTo>
                <a:cubicBezTo>
                  <a:pt x="96" y="27"/>
                  <a:pt x="88" y="26"/>
                  <a:pt x="81" y="26"/>
                </a:cubicBezTo>
                <a:cubicBezTo>
                  <a:pt x="68" y="26"/>
                  <a:pt x="59" y="30"/>
                  <a:pt x="58" y="31"/>
                </a:cubicBezTo>
                <a:cubicBezTo>
                  <a:pt x="58" y="31"/>
                  <a:pt x="57" y="31"/>
                  <a:pt x="57" y="31"/>
                </a:cubicBezTo>
                <a:cubicBezTo>
                  <a:pt x="57" y="31"/>
                  <a:pt x="57" y="31"/>
                  <a:pt x="57" y="31"/>
                </a:cubicBezTo>
                <a:cubicBezTo>
                  <a:pt x="57" y="31"/>
                  <a:pt x="57" y="31"/>
                  <a:pt x="56" y="31"/>
                </a:cubicBezTo>
                <a:cubicBezTo>
                  <a:pt x="55" y="31"/>
                  <a:pt x="54" y="30"/>
                  <a:pt x="54" y="29"/>
                </a:cubicBezTo>
                <a:cubicBezTo>
                  <a:pt x="53" y="28"/>
                  <a:pt x="53" y="26"/>
                  <a:pt x="55" y="25"/>
                </a:cubicBezTo>
                <a:cubicBezTo>
                  <a:pt x="55" y="25"/>
                  <a:pt x="66" y="20"/>
                  <a:pt x="81" y="20"/>
                </a:cubicBezTo>
                <a:cubicBezTo>
                  <a:pt x="89" y="20"/>
                  <a:pt x="98" y="21"/>
                  <a:pt x="106" y="25"/>
                </a:cubicBezTo>
                <a:cubicBezTo>
                  <a:pt x="108" y="26"/>
                  <a:pt x="108" y="28"/>
                  <a:pt x="108" y="2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01" name="Oval 84"/>
          <p:cNvSpPr>
            <a:spLocks noChangeArrowheads="1"/>
          </p:cNvSpPr>
          <p:nvPr/>
        </p:nvSpPr>
        <p:spPr bwMode="auto">
          <a:xfrm>
            <a:off x="1358901" y="2400301"/>
            <a:ext cx="74084" cy="74084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02" name="Freeform 85"/>
          <p:cNvSpPr>
            <a:spLocks/>
          </p:cNvSpPr>
          <p:nvPr/>
        </p:nvSpPr>
        <p:spPr bwMode="auto">
          <a:xfrm>
            <a:off x="1286933" y="2690284"/>
            <a:ext cx="50800" cy="124883"/>
          </a:xfrm>
          <a:custGeom>
            <a:avLst/>
            <a:gdLst>
              <a:gd name="T0" fmla="*/ 60483750 w 24"/>
              <a:gd name="T1" fmla="*/ 148689219 h 59"/>
              <a:gd name="T2" fmla="*/ 30241875 w 24"/>
              <a:gd name="T3" fmla="*/ 131047425 h 59"/>
              <a:gd name="T4" fmla="*/ 0 w 24"/>
              <a:gd name="T5" fmla="*/ 148689219 h 59"/>
              <a:gd name="T6" fmla="*/ 0 w 24"/>
              <a:gd name="T7" fmla="*/ 73084935 h 59"/>
              <a:gd name="T8" fmla="*/ 0 w 24"/>
              <a:gd name="T9" fmla="*/ 0 h 59"/>
              <a:gd name="T10" fmla="*/ 30241875 w 24"/>
              <a:gd name="T11" fmla="*/ 0 h 59"/>
              <a:gd name="T12" fmla="*/ 60483750 w 24"/>
              <a:gd name="T13" fmla="*/ 0 h 59"/>
              <a:gd name="T14" fmla="*/ 60483750 w 24"/>
              <a:gd name="T15" fmla="*/ 73084935 h 59"/>
              <a:gd name="T16" fmla="*/ 60483750 w 24"/>
              <a:gd name="T17" fmla="*/ 148689219 h 5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4" h="59">
                <a:moveTo>
                  <a:pt x="24" y="59"/>
                </a:moveTo>
                <a:lnTo>
                  <a:pt x="12" y="52"/>
                </a:lnTo>
                <a:lnTo>
                  <a:pt x="0" y="59"/>
                </a:lnTo>
                <a:lnTo>
                  <a:pt x="0" y="29"/>
                </a:lnTo>
                <a:lnTo>
                  <a:pt x="0" y="0"/>
                </a:lnTo>
                <a:lnTo>
                  <a:pt x="12" y="0"/>
                </a:lnTo>
                <a:lnTo>
                  <a:pt x="24" y="0"/>
                </a:lnTo>
                <a:lnTo>
                  <a:pt x="24" y="29"/>
                </a:lnTo>
                <a:lnTo>
                  <a:pt x="24" y="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03" name="Freeform 86"/>
          <p:cNvSpPr>
            <a:spLocks/>
          </p:cNvSpPr>
          <p:nvPr/>
        </p:nvSpPr>
        <p:spPr bwMode="auto">
          <a:xfrm>
            <a:off x="1477434" y="2690284"/>
            <a:ext cx="52917" cy="124883"/>
          </a:xfrm>
          <a:custGeom>
            <a:avLst/>
            <a:gdLst>
              <a:gd name="T0" fmla="*/ 63003906 w 25"/>
              <a:gd name="T1" fmla="*/ 148689219 h 59"/>
              <a:gd name="T2" fmla="*/ 32761650 w 25"/>
              <a:gd name="T3" fmla="*/ 131047425 h 59"/>
              <a:gd name="T4" fmla="*/ 0 w 25"/>
              <a:gd name="T5" fmla="*/ 148689219 h 59"/>
              <a:gd name="T6" fmla="*/ 0 w 25"/>
              <a:gd name="T7" fmla="*/ 73084935 h 59"/>
              <a:gd name="T8" fmla="*/ 0 w 25"/>
              <a:gd name="T9" fmla="*/ 0 h 59"/>
              <a:gd name="T10" fmla="*/ 32761650 w 25"/>
              <a:gd name="T11" fmla="*/ 0 h 59"/>
              <a:gd name="T12" fmla="*/ 63003906 w 25"/>
              <a:gd name="T13" fmla="*/ 0 h 59"/>
              <a:gd name="T14" fmla="*/ 63003906 w 25"/>
              <a:gd name="T15" fmla="*/ 73084935 h 59"/>
              <a:gd name="T16" fmla="*/ 63003906 w 25"/>
              <a:gd name="T17" fmla="*/ 148689219 h 5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5" h="59">
                <a:moveTo>
                  <a:pt x="25" y="59"/>
                </a:moveTo>
                <a:lnTo>
                  <a:pt x="13" y="52"/>
                </a:lnTo>
                <a:lnTo>
                  <a:pt x="0" y="59"/>
                </a:lnTo>
                <a:lnTo>
                  <a:pt x="0" y="29"/>
                </a:lnTo>
                <a:lnTo>
                  <a:pt x="0" y="0"/>
                </a:lnTo>
                <a:lnTo>
                  <a:pt x="13" y="0"/>
                </a:lnTo>
                <a:lnTo>
                  <a:pt x="25" y="0"/>
                </a:lnTo>
                <a:lnTo>
                  <a:pt x="25" y="29"/>
                </a:lnTo>
                <a:lnTo>
                  <a:pt x="25" y="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04" name="Freeform 87"/>
          <p:cNvSpPr>
            <a:spLocks noEditPoints="1"/>
          </p:cNvSpPr>
          <p:nvPr/>
        </p:nvSpPr>
        <p:spPr bwMode="auto">
          <a:xfrm>
            <a:off x="1598084" y="2607734"/>
            <a:ext cx="82549" cy="46567"/>
          </a:xfrm>
          <a:custGeom>
            <a:avLst/>
            <a:gdLst>
              <a:gd name="T0" fmla="*/ 0 w 27"/>
              <a:gd name="T1" fmla="*/ 47646431 h 16"/>
              <a:gd name="T2" fmla="*/ 0 w 27"/>
              <a:gd name="T3" fmla="*/ 47646431 h 16"/>
              <a:gd name="T4" fmla="*/ 5257934 w 27"/>
              <a:gd name="T5" fmla="*/ 38118455 h 16"/>
              <a:gd name="T6" fmla="*/ 15773802 w 27"/>
              <a:gd name="T7" fmla="*/ 42881352 h 16"/>
              <a:gd name="T8" fmla="*/ 15773802 w 27"/>
              <a:gd name="T9" fmla="*/ 42881352 h 16"/>
              <a:gd name="T10" fmla="*/ 15773802 w 27"/>
              <a:gd name="T11" fmla="*/ 42881352 h 16"/>
              <a:gd name="T12" fmla="*/ 15773802 w 27"/>
              <a:gd name="T13" fmla="*/ 42881352 h 16"/>
              <a:gd name="T14" fmla="*/ 26289670 w 27"/>
              <a:gd name="T15" fmla="*/ 52411511 h 16"/>
              <a:gd name="T16" fmla="*/ 57837273 w 27"/>
              <a:gd name="T17" fmla="*/ 61941670 h 16"/>
              <a:gd name="T18" fmla="*/ 52579339 w 27"/>
              <a:gd name="T19" fmla="*/ 57176591 h 16"/>
              <a:gd name="T20" fmla="*/ 36805537 w 27"/>
              <a:gd name="T21" fmla="*/ 42881352 h 16"/>
              <a:gd name="T22" fmla="*/ 36805537 w 27"/>
              <a:gd name="T23" fmla="*/ 33353375 h 16"/>
              <a:gd name="T24" fmla="*/ 47321405 w 27"/>
              <a:gd name="T25" fmla="*/ 9530159 h 16"/>
              <a:gd name="T26" fmla="*/ 73613368 w 27"/>
              <a:gd name="T27" fmla="*/ 0 h 16"/>
              <a:gd name="T28" fmla="*/ 78871302 w 27"/>
              <a:gd name="T29" fmla="*/ 0 h 16"/>
              <a:gd name="T30" fmla="*/ 99903038 w 27"/>
              <a:gd name="T31" fmla="*/ 9530159 h 16"/>
              <a:gd name="T32" fmla="*/ 110418905 w 27"/>
              <a:gd name="T33" fmla="*/ 33353375 h 16"/>
              <a:gd name="T34" fmla="*/ 105160972 w 27"/>
              <a:gd name="T35" fmla="*/ 47646431 h 16"/>
              <a:gd name="T36" fmla="*/ 131450641 w 27"/>
              <a:gd name="T37" fmla="*/ 38118455 h 16"/>
              <a:gd name="T38" fmla="*/ 141966509 w 27"/>
              <a:gd name="T39" fmla="*/ 38118455 h 16"/>
              <a:gd name="T40" fmla="*/ 136708575 w 27"/>
              <a:gd name="T41" fmla="*/ 47646431 h 16"/>
              <a:gd name="T42" fmla="*/ 89387170 w 27"/>
              <a:gd name="T43" fmla="*/ 66704567 h 16"/>
              <a:gd name="T44" fmla="*/ 78871302 w 27"/>
              <a:gd name="T45" fmla="*/ 71469647 h 16"/>
              <a:gd name="T46" fmla="*/ 57837273 w 27"/>
              <a:gd name="T47" fmla="*/ 76234727 h 16"/>
              <a:gd name="T48" fmla="*/ 15773802 w 27"/>
              <a:gd name="T49" fmla="*/ 61941670 h 16"/>
              <a:gd name="T50" fmla="*/ 73613368 w 27"/>
              <a:gd name="T51" fmla="*/ 14293056 h 16"/>
              <a:gd name="T52" fmla="*/ 57837273 w 27"/>
              <a:gd name="T53" fmla="*/ 19058136 h 16"/>
              <a:gd name="T54" fmla="*/ 52579339 w 27"/>
              <a:gd name="T55" fmla="*/ 33353375 h 16"/>
              <a:gd name="T56" fmla="*/ 52579339 w 27"/>
              <a:gd name="T57" fmla="*/ 38118455 h 16"/>
              <a:gd name="T58" fmla="*/ 57837273 w 27"/>
              <a:gd name="T59" fmla="*/ 47646431 h 16"/>
              <a:gd name="T60" fmla="*/ 84129236 w 27"/>
              <a:gd name="T61" fmla="*/ 52411511 h 16"/>
              <a:gd name="T62" fmla="*/ 84129236 w 27"/>
              <a:gd name="T63" fmla="*/ 52411511 h 16"/>
              <a:gd name="T64" fmla="*/ 94645104 w 27"/>
              <a:gd name="T65" fmla="*/ 33353375 h 16"/>
              <a:gd name="T66" fmla="*/ 89387170 w 27"/>
              <a:gd name="T67" fmla="*/ 19058136 h 16"/>
              <a:gd name="T68" fmla="*/ 78871302 w 27"/>
              <a:gd name="T69" fmla="*/ 14293056 h 1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7" h="16">
                <a:moveTo>
                  <a:pt x="3" y="13"/>
                </a:moveTo>
                <a:cubicBezTo>
                  <a:pt x="1" y="12"/>
                  <a:pt x="0" y="10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0" y="9"/>
                  <a:pt x="1" y="8"/>
                </a:cubicBezTo>
                <a:cubicBezTo>
                  <a:pt x="1" y="8"/>
                  <a:pt x="1" y="8"/>
                  <a:pt x="1" y="8"/>
                </a:cubicBezTo>
                <a:cubicBezTo>
                  <a:pt x="1" y="8"/>
                  <a:pt x="2" y="8"/>
                  <a:pt x="3" y="9"/>
                </a:cubicBezTo>
                <a:cubicBezTo>
                  <a:pt x="3" y="9"/>
                  <a:pt x="3" y="9"/>
                  <a:pt x="3" y="9"/>
                </a:cubicBezTo>
                <a:cubicBezTo>
                  <a:pt x="3" y="9"/>
                  <a:pt x="3" y="9"/>
                  <a:pt x="3" y="9"/>
                </a:cubicBezTo>
                <a:cubicBezTo>
                  <a:pt x="3" y="9"/>
                  <a:pt x="3" y="9"/>
                  <a:pt x="3" y="9"/>
                </a:cubicBezTo>
                <a:cubicBezTo>
                  <a:pt x="3" y="9"/>
                  <a:pt x="3" y="9"/>
                  <a:pt x="3" y="9"/>
                </a:cubicBezTo>
                <a:cubicBezTo>
                  <a:pt x="3" y="9"/>
                  <a:pt x="3" y="9"/>
                  <a:pt x="3" y="9"/>
                </a:cubicBezTo>
                <a:cubicBezTo>
                  <a:pt x="3" y="9"/>
                  <a:pt x="3" y="9"/>
                  <a:pt x="3" y="9"/>
                </a:cubicBezTo>
                <a:cubicBezTo>
                  <a:pt x="3" y="9"/>
                  <a:pt x="3" y="9"/>
                  <a:pt x="3" y="9"/>
                </a:cubicBezTo>
                <a:cubicBezTo>
                  <a:pt x="4" y="10"/>
                  <a:pt x="4" y="10"/>
                  <a:pt x="5" y="11"/>
                </a:cubicBezTo>
                <a:cubicBezTo>
                  <a:pt x="5" y="11"/>
                  <a:pt x="5" y="11"/>
                  <a:pt x="5" y="11"/>
                </a:cubicBezTo>
                <a:cubicBezTo>
                  <a:pt x="6" y="12"/>
                  <a:pt x="8" y="13"/>
                  <a:pt x="11" y="13"/>
                </a:cubicBezTo>
                <a:cubicBezTo>
                  <a:pt x="11" y="13"/>
                  <a:pt x="11" y="13"/>
                  <a:pt x="11" y="13"/>
                </a:cubicBezTo>
                <a:cubicBezTo>
                  <a:pt x="10" y="12"/>
                  <a:pt x="10" y="12"/>
                  <a:pt x="10" y="12"/>
                </a:cubicBezTo>
                <a:cubicBezTo>
                  <a:pt x="10" y="12"/>
                  <a:pt x="10" y="12"/>
                  <a:pt x="10" y="12"/>
                </a:cubicBezTo>
                <a:cubicBezTo>
                  <a:pt x="8" y="11"/>
                  <a:pt x="8" y="10"/>
                  <a:pt x="7" y="9"/>
                </a:cubicBezTo>
                <a:cubicBezTo>
                  <a:pt x="7" y="9"/>
                  <a:pt x="7" y="9"/>
                  <a:pt x="7" y="9"/>
                </a:cubicBezTo>
                <a:cubicBezTo>
                  <a:pt x="7" y="8"/>
                  <a:pt x="7" y="7"/>
                  <a:pt x="7" y="7"/>
                </a:cubicBezTo>
                <a:cubicBezTo>
                  <a:pt x="7" y="7"/>
                  <a:pt x="7" y="7"/>
                  <a:pt x="7" y="7"/>
                </a:cubicBezTo>
                <a:cubicBezTo>
                  <a:pt x="7" y="5"/>
                  <a:pt x="7" y="4"/>
                  <a:pt x="9" y="2"/>
                </a:cubicBezTo>
                <a:cubicBezTo>
                  <a:pt x="9" y="2"/>
                  <a:pt x="9" y="2"/>
                  <a:pt x="9" y="2"/>
                </a:cubicBezTo>
                <a:cubicBezTo>
                  <a:pt x="10" y="1"/>
                  <a:pt x="12" y="0"/>
                  <a:pt x="14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4" y="0"/>
                  <a:pt x="15" y="0"/>
                  <a:pt x="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7" y="0"/>
                  <a:pt x="18" y="1"/>
                  <a:pt x="19" y="2"/>
                </a:cubicBezTo>
                <a:cubicBezTo>
                  <a:pt x="19" y="2"/>
                  <a:pt x="19" y="2"/>
                  <a:pt x="19" y="2"/>
                </a:cubicBezTo>
                <a:cubicBezTo>
                  <a:pt x="20" y="3"/>
                  <a:pt x="21" y="5"/>
                  <a:pt x="21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1" y="9"/>
                  <a:pt x="20" y="10"/>
                </a:cubicBezTo>
                <a:cubicBezTo>
                  <a:pt x="20" y="10"/>
                  <a:pt x="20" y="10"/>
                  <a:pt x="20" y="10"/>
                </a:cubicBezTo>
                <a:cubicBezTo>
                  <a:pt x="22" y="10"/>
                  <a:pt x="23" y="9"/>
                  <a:pt x="25" y="8"/>
                </a:cubicBezTo>
                <a:cubicBezTo>
                  <a:pt x="25" y="8"/>
                  <a:pt x="25" y="8"/>
                  <a:pt x="25" y="8"/>
                </a:cubicBezTo>
                <a:cubicBezTo>
                  <a:pt x="25" y="7"/>
                  <a:pt x="26" y="8"/>
                  <a:pt x="27" y="8"/>
                </a:cubicBezTo>
                <a:cubicBezTo>
                  <a:pt x="27" y="8"/>
                  <a:pt x="27" y="8"/>
                  <a:pt x="27" y="8"/>
                </a:cubicBezTo>
                <a:cubicBezTo>
                  <a:pt x="27" y="9"/>
                  <a:pt x="27" y="10"/>
                  <a:pt x="26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3" y="13"/>
                  <a:pt x="20" y="14"/>
                  <a:pt x="17" y="14"/>
                </a:cubicBezTo>
                <a:cubicBezTo>
                  <a:pt x="17" y="14"/>
                  <a:pt x="17" y="14"/>
                  <a:pt x="17" y="14"/>
                </a:cubicBezTo>
                <a:cubicBezTo>
                  <a:pt x="16" y="14"/>
                  <a:pt x="16" y="15"/>
                  <a:pt x="15" y="15"/>
                </a:cubicBezTo>
                <a:cubicBezTo>
                  <a:pt x="15" y="15"/>
                  <a:pt x="15" y="15"/>
                  <a:pt x="15" y="15"/>
                </a:cubicBezTo>
                <a:cubicBezTo>
                  <a:pt x="13" y="15"/>
                  <a:pt x="12" y="16"/>
                  <a:pt x="11" y="16"/>
                </a:cubicBezTo>
                <a:cubicBezTo>
                  <a:pt x="11" y="16"/>
                  <a:pt x="11" y="16"/>
                  <a:pt x="11" y="16"/>
                </a:cubicBezTo>
                <a:cubicBezTo>
                  <a:pt x="7" y="16"/>
                  <a:pt x="5" y="14"/>
                  <a:pt x="3" y="13"/>
                </a:cubicBezTo>
                <a:close/>
                <a:moveTo>
                  <a:pt x="15" y="3"/>
                </a:moveTo>
                <a:cubicBezTo>
                  <a:pt x="14" y="3"/>
                  <a:pt x="14" y="3"/>
                  <a:pt x="14" y="3"/>
                </a:cubicBezTo>
                <a:cubicBezTo>
                  <a:pt x="12" y="3"/>
                  <a:pt x="11" y="4"/>
                  <a:pt x="11" y="4"/>
                </a:cubicBezTo>
                <a:cubicBezTo>
                  <a:pt x="11" y="4"/>
                  <a:pt x="11" y="4"/>
                  <a:pt x="11" y="4"/>
                </a:cubicBezTo>
                <a:cubicBezTo>
                  <a:pt x="10" y="5"/>
                  <a:pt x="10" y="6"/>
                  <a:pt x="10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7"/>
                  <a:pt x="10" y="8"/>
                  <a:pt x="10" y="8"/>
                </a:cubicBezTo>
                <a:cubicBezTo>
                  <a:pt x="10" y="8"/>
                  <a:pt x="10" y="8"/>
                  <a:pt x="10" y="8"/>
                </a:cubicBezTo>
                <a:cubicBezTo>
                  <a:pt x="10" y="8"/>
                  <a:pt x="11" y="9"/>
                  <a:pt x="11" y="10"/>
                </a:cubicBezTo>
                <a:cubicBezTo>
                  <a:pt x="11" y="10"/>
                  <a:pt x="11" y="10"/>
                  <a:pt x="11" y="10"/>
                </a:cubicBezTo>
                <a:cubicBezTo>
                  <a:pt x="12" y="10"/>
                  <a:pt x="14" y="11"/>
                  <a:pt x="16" y="11"/>
                </a:cubicBezTo>
                <a:cubicBezTo>
                  <a:pt x="16" y="11"/>
                  <a:pt x="16" y="11"/>
                  <a:pt x="16" y="11"/>
                </a:cubicBezTo>
                <a:cubicBezTo>
                  <a:pt x="16" y="11"/>
                  <a:pt x="16" y="11"/>
                  <a:pt x="16" y="11"/>
                </a:cubicBezTo>
                <a:cubicBezTo>
                  <a:pt x="16" y="11"/>
                  <a:pt x="16" y="11"/>
                  <a:pt x="16" y="11"/>
                </a:cubicBezTo>
                <a:cubicBezTo>
                  <a:pt x="17" y="10"/>
                  <a:pt x="18" y="8"/>
                  <a:pt x="18" y="7"/>
                </a:cubicBezTo>
                <a:cubicBezTo>
                  <a:pt x="18" y="7"/>
                  <a:pt x="18" y="7"/>
                  <a:pt x="18" y="7"/>
                </a:cubicBezTo>
                <a:cubicBezTo>
                  <a:pt x="18" y="6"/>
                  <a:pt x="18" y="5"/>
                  <a:pt x="17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3"/>
                  <a:pt x="16" y="3"/>
                  <a:pt x="15" y="3"/>
                </a:cubicBezTo>
                <a:cubicBezTo>
                  <a:pt x="15" y="3"/>
                  <a:pt x="15" y="3"/>
                  <a:pt x="15" y="3"/>
                </a:cubicBezTo>
                <a:cubicBezTo>
                  <a:pt x="15" y="3"/>
                  <a:pt x="15" y="3"/>
                  <a:pt x="15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05" name="Freeform 88"/>
          <p:cNvSpPr>
            <a:spLocks noEditPoints="1"/>
          </p:cNvSpPr>
          <p:nvPr/>
        </p:nvSpPr>
        <p:spPr bwMode="auto">
          <a:xfrm>
            <a:off x="2061634" y="2336801"/>
            <a:ext cx="421217" cy="565151"/>
          </a:xfrm>
          <a:custGeom>
            <a:avLst/>
            <a:gdLst>
              <a:gd name="T0" fmla="*/ 453177199 w 140"/>
              <a:gd name="T1" fmla="*/ 508317703 h 188"/>
              <a:gd name="T2" fmla="*/ 453177199 w 140"/>
              <a:gd name="T3" fmla="*/ 411737813 h 188"/>
              <a:gd name="T4" fmla="*/ 351338130 w 140"/>
              <a:gd name="T5" fmla="*/ 411737813 h 188"/>
              <a:gd name="T6" fmla="*/ 453177199 w 140"/>
              <a:gd name="T7" fmla="*/ 508317703 h 188"/>
              <a:gd name="T8" fmla="*/ 361524068 w 140"/>
              <a:gd name="T9" fmla="*/ 655729589 h 188"/>
              <a:gd name="T10" fmla="*/ 397165824 w 140"/>
              <a:gd name="T11" fmla="*/ 691311535 h 188"/>
              <a:gd name="T12" fmla="*/ 432809836 w 140"/>
              <a:gd name="T13" fmla="*/ 655729589 h 188"/>
              <a:gd name="T14" fmla="*/ 397165824 w 140"/>
              <a:gd name="T15" fmla="*/ 620147642 h 188"/>
              <a:gd name="T16" fmla="*/ 361524068 w 140"/>
              <a:gd name="T17" fmla="*/ 655729589 h 188"/>
              <a:gd name="T18" fmla="*/ 478635273 w 140"/>
              <a:gd name="T19" fmla="*/ 508317703 h 188"/>
              <a:gd name="T20" fmla="*/ 580474342 w 140"/>
              <a:gd name="T21" fmla="*/ 411737813 h 188"/>
              <a:gd name="T22" fmla="*/ 478635273 w 140"/>
              <a:gd name="T23" fmla="*/ 411737813 h 188"/>
              <a:gd name="T24" fmla="*/ 478635273 w 140"/>
              <a:gd name="T25" fmla="*/ 508317703 h 188"/>
              <a:gd name="T26" fmla="*/ 351338130 w 140"/>
              <a:gd name="T27" fmla="*/ 381237713 h 188"/>
              <a:gd name="T28" fmla="*/ 453177199 w 140"/>
              <a:gd name="T29" fmla="*/ 381237713 h 188"/>
              <a:gd name="T30" fmla="*/ 453177199 w 140"/>
              <a:gd name="T31" fmla="*/ 284657823 h 188"/>
              <a:gd name="T32" fmla="*/ 351338130 w 140"/>
              <a:gd name="T33" fmla="*/ 381237713 h 188"/>
              <a:gd name="T34" fmla="*/ 478635273 w 140"/>
              <a:gd name="T35" fmla="*/ 284657823 h 188"/>
              <a:gd name="T36" fmla="*/ 478635273 w 140"/>
              <a:gd name="T37" fmla="*/ 381237713 h 188"/>
              <a:gd name="T38" fmla="*/ 580474342 w 140"/>
              <a:gd name="T39" fmla="*/ 381237713 h 188"/>
              <a:gd name="T40" fmla="*/ 478635273 w 140"/>
              <a:gd name="T41" fmla="*/ 284657823 h 188"/>
              <a:gd name="T42" fmla="*/ 590658023 w 140"/>
              <a:gd name="T43" fmla="*/ 0 h 188"/>
              <a:gd name="T44" fmla="*/ 122204174 w 140"/>
              <a:gd name="T45" fmla="*/ 0 h 188"/>
              <a:gd name="T46" fmla="*/ 0 w 140"/>
              <a:gd name="T47" fmla="*/ 127079989 h 188"/>
              <a:gd name="T48" fmla="*/ 0 w 140"/>
              <a:gd name="T49" fmla="*/ 828557472 h 188"/>
              <a:gd name="T50" fmla="*/ 122204174 w 140"/>
              <a:gd name="T51" fmla="*/ 955637462 h 188"/>
              <a:gd name="T52" fmla="*/ 590658023 w 140"/>
              <a:gd name="T53" fmla="*/ 955637462 h 188"/>
              <a:gd name="T54" fmla="*/ 712862198 w 140"/>
              <a:gd name="T55" fmla="*/ 828557472 h 188"/>
              <a:gd name="T56" fmla="*/ 712862198 w 140"/>
              <a:gd name="T57" fmla="*/ 127079989 h 188"/>
              <a:gd name="T58" fmla="*/ 590658023 w 140"/>
              <a:gd name="T59" fmla="*/ 0 h 188"/>
              <a:gd name="T60" fmla="*/ 687401866 w 140"/>
              <a:gd name="T61" fmla="*/ 828557472 h 188"/>
              <a:gd name="T62" fmla="*/ 590658023 w 140"/>
              <a:gd name="T63" fmla="*/ 930221464 h 188"/>
              <a:gd name="T64" fmla="*/ 122204174 w 140"/>
              <a:gd name="T65" fmla="*/ 930221464 h 188"/>
              <a:gd name="T66" fmla="*/ 25460331 w 140"/>
              <a:gd name="T67" fmla="*/ 828557472 h 188"/>
              <a:gd name="T68" fmla="*/ 25460331 w 140"/>
              <a:gd name="T69" fmla="*/ 127079989 h 188"/>
              <a:gd name="T70" fmla="*/ 122204174 w 140"/>
              <a:gd name="T71" fmla="*/ 25415998 h 188"/>
              <a:gd name="T72" fmla="*/ 590658023 w 140"/>
              <a:gd name="T73" fmla="*/ 25415998 h 188"/>
              <a:gd name="T74" fmla="*/ 687401866 w 140"/>
              <a:gd name="T75" fmla="*/ 127079989 h 188"/>
              <a:gd name="T76" fmla="*/ 687401866 w 140"/>
              <a:gd name="T77" fmla="*/ 828557472 h 188"/>
              <a:gd name="T78" fmla="*/ 590658023 w 140"/>
              <a:gd name="T79" fmla="*/ 50831996 h 188"/>
              <a:gd name="T80" fmla="*/ 122204174 w 140"/>
              <a:gd name="T81" fmla="*/ 50831996 h 188"/>
              <a:gd name="T82" fmla="*/ 50918406 w 140"/>
              <a:gd name="T83" fmla="*/ 127079989 h 188"/>
              <a:gd name="T84" fmla="*/ 50918406 w 140"/>
              <a:gd name="T85" fmla="*/ 828557472 h 188"/>
              <a:gd name="T86" fmla="*/ 122204174 w 140"/>
              <a:gd name="T87" fmla="*/ 904805466 h 188"/>
              <a:gd name="T88" fmla="*/ 590658023 w 140"/>
              <a:gd name="T89" fmla="*/ 904805466 h 188"/>
              <a:gd name="T90" fmla="*/ 661943792 w 140"/>
              <a:gd name="T91" fmla="*/ 828557472 h 188"/>
              <a:gd name="T92" fmla="*/ 661943792 w 140"/>
              <a:gd name="T93" fmla="*/ 127079989 h 188"/>
              <a:gd name="T94" fmla="*/ 590658023 w 140"/>
              <a:gd name="T95" fmla="*/ 50831996 h 188"/>
              <a:gd name="T96" fmla="*/ 590658023 w 140"/>
              <a:gd name="T97" fmla="*/ 706561584 h 188"/>
              <a:gd name="T98" fmla="*/ 392075111 w 140"/>
              <a:gd name="T99" fmla="*/ 706561584 h 188"/>
              <a:gd name="T100" fmla="*/ 346247418 w 140"/>
              <a:gd name="T101" fmla="*/ 655729589 h 188"/>
              <a:gd name="T102" fmla="*/ 392075111 w 140"/>
              <a:gd name="T103" fmla="*/ 604897593 h 188"/>
              <a:gd name="T104" fmla="*/ 590658023 w 140"/>
              <a:gd name="T105" fmla="*/ 604897593 h 188"/>
              <a:gd name="T106" fmla="*/ 590658023 w 140"/>
              <a:gd name="T107" fmla="*/ 706561584 h 188"/>
              <a:gd name="T108" fmla="*/ 463360880 w 140"/>
              <a:gd name="T109" fmla="*/ 538817802 h 188"/>
              <a:gd name="T110" fmla="*/ 320787086 w 140"/>
              <a:gd name="T111" fmla="*/ 396487763 h 188"/>
              <a:gd name="T112" fmla="*/ 463360880 w 140"/>
              <a:gd name="T113" fmla="*/ 254159979 h 188"/>
              <a:gd name="T114" fmla="*/ 605932417 w 140"/>
              <a:gd name="T115" fmla="*/ 396487763 h 188"/>
              <a:gd name="T116" fmla="*/ 463360880 w 140"/>
              <a:gd name="T117" fmla="*/ 538817802 h 18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0" h="188">
                <a:moveTo>
                  <a:pt x="89" y="100"/>
                </a:moveTo>
                <a:cubicBezTo>
                  <a:pt x="89" y="81"/>
                  <a:pt x="89" y="81"/>
                  <a:pt x="89" y="81"/>
                </a:cubicBezTo>
                <a:cubicBezTo>
                  <a:pt x="69" y="81"/>
                  <a:pt x="69" y="81"/>
                  <a:pt x="69" y="81"/>
                </a:cubicBezTo>
                <a:cubicBezTo>
                  <a:pt x="70" y="91"/>
                  <a:pt x="78" y="99"/>
                  <a:pt x="89" y="100"/>
                </a:cubicBezTo>
                <a:close/>
                <a:moveTo>
                  <a:pt x="71" y="129"/>
                </a:moveTo>
                <a:cubicBezTo>
                  <a:pt x="71" y="133"/>
                  <a:pt x="74" y="136"/>
                  <a:pt x="78" y="136"/>
                </a:cubicBezTo>
                <a:cubicBezTo>
                  <a:pt x="82" y="136"/>
                  <a:pt x="85" y="133"/>
                  <a:pt x="85" y="129"/>
                </a:cubicBezTo>
                <a:cubicBezTo>
                  <a:pt x="85" y="125"/>
                  <a:pt x="82" y="122"/>
                  <a:pt x="78" y="122"/>
                </a:cubicBezTo>
                <a:cubicBezTo>
                  <a:pt x="74" y="122"/>
                  <a:pt x="71" y="125"/>
                  <a:pt x="71" y="129"/>
                </a:cubicBezTo>
                <a:close/>
                <a:moveTo>
                  <a:pt x="94" y="100"/>
                </a:moveTo>
                <a:cubicBezTo>
                  <a:pt x="104" y="99"/>
                  <a:pt x="112" y="91"/>
                  <a:pt x="114" y="81"/>
                </a:cubicBezTo>
                <a:cubicBezTo>
                  <a:pt x="94" y="81"/>
                  <a:pt x="94" y="81"/>
                  <a:pt x="94" y="81"/>
                </a:cubicBezTo>
                <a:lnTo>
                  <a:pt x="94" y="100"/>
                </a:lnTo>
                <a:close/>
                <a:moveTo>
                  <a:pt x="69" y="75"/>
                </a:moveTo>
                <a:cubicBezTo>
                  <a:pt x="89" y="75"/>
                  <a:pt x="89" y="75"/>
                  <a:pt x="89" y="75"/>
                </a:cubicBezTo>
                <a:cubicBezTo>
                  <a:pt x="89" y="56"/>
                  <a:pt x="89" y="56"/>
                  <a:pt x="89" y="56"/>
                </a:cubicBezTo>
                <a:cubicBezTo>
                  <a:pt x="78" y="57"/>
                  <a:pt x="70" y="65"/>
                  <a:pt x="69" y="75"/>
                </a:cubicBezTo>
                <a:close/>
                <a:moveTo>
                  <a:pt x="94" y="56"/>
                </a:moveTo>
                <a:cubicBezTo>
                  <a:pt x="94" y="75"/>
                  <a:pt x="94" y="75"/>
                  <a:pt x="94" y="75"/>
                </a:cubicBezTo>
                <a:cubicBezTo>
                  <a:pt x="114" y="75"/>
                  <a:pt x="114" y="75"/>
                  <a:pt x="114" y="75"/>
                </a:cubicBezTo>
                <a:cubicBezTo>
                  <a:pt x="112" y="65"/>
                  <a:pt x="104" y="57"/>
                  <a:pt x="94" y="56"/>
                </a:cubicBezTo>
                <a:close/>
                <a:moveTo>
                  <a:pt x="116" y="0"/>
                </a:moveTo>
                <a:cubicBezTo>
                  <a:pt x="24" y="0"/>
                  <a:pt x="24" y="0"/>
                  <a:pt x="24" y="0"/>
                </a:cubicBezTo>
                <a:cubicBezTo>
                  <a:pt x="11" y="0"/>
                  <a:pt x="0" y="11"/>
                  <a:pt x="0" y="25"/>
                </a:cubicBezTo>
                <a:cubicBezTo>
                  <a:pt x="0" y="163"/>
                  <a:pt x="0" y="163"/>
                  <a:pt x="0" y="163"/>
                </a:cubicBezTo>
                <a:cubicBezTo>
                  <a:pt x="0" y="177"/>
                  <a:pt x="11" y="188"/>
                  <a:pt x="24" y="188"/>
                </a:cubicBezTo>
                <a:cubicBezTo>
                  <a:pt x="116" y="188"/>
                  <a:pt x="116" y="188"/>
                  <a:pt x="116" y="188"/>
                </a:cubicBezTo>
                <a:cubicBezTo>
                  <a:pt x="129" y="188"/>
                  <a:pt x="140" y="177"/>
                  <a:pt x="140" y="163"/>
                </a:cubicBezTo>
                <a:cubicBezTo>
                  <a:pt x="140" y="25"/>
                  <a:pt x="140" y="25"/>
                  <a:pt x="140" y="25"/>
                </a:cubicBezTo>
                <a:cubicBezTo>
                  <a:pt x="140" y="11"/>
                  <a:pt x="129" y="0"/>
                  <a:pt x="116" y="0"/>
                </a:cubicBezTo>
                <a:close/>
                <a:moveTo>
                  <a:pt x="135" y="163"/>
                </a:moveTo>
                <a:cubicBezTo>
                  <a:pt x="135" y="174"/>
                  <a:pt x="126" y="183"/>
                  <a:pt x="116" y="183"/>
                </a:cubicBezTo>
                <a:cubicBezTo>
                  <a:pt x="24" y="183"/>
                  <a:pt x="24" y="183"/>
                  <a:pt x="24" y="183"/>
                </a:cubicBezTo>
                <a:cubicBezTo>
                  <a:pt x="14" y="183"/>
                  <a:pt x="5" y="174"/>
                  <a:pt x="5" y="163"/>
                </a:cubicBezTo>
                <a:cubicBezTo>
                  <a:pt x="5" y="25"/>
                  <a:pt x="5" y="25"/>
                  <a:pt x="5" y="25"/>
                </a:cubicBezTo>
                <a:cubicBezTo>
                  <a:pt x="5" y="14"/>
                  <a:pt x="14" y="5"/>
                  <a:pt x="24" y="5"/>
                </a:cubicBezTo>
                <a:cubicBezTo>
                  <a:pt x="116" y="5"/>
                  <a:pt x="116" y="5"/>
                  <a:pt x="116" y="5"/>
                </a:cubicBezTo>
                <a:cubicBezTo>
                  <a:pt x="126" y="5"/>
                  <a:pt x="135" y="14"/>
                  <a:pt x="135" y="25"/>
                </a:cubicBezTo>
                <a:lnTo>
                  <a:pt x="135" y="163"/>
                </a:lnTo>
                <a:close/>
                <a:moveTo>
                  <a:pt x="116" y="10"/>
                </a:moveTo>
                <a:cubicBezTo>
                  <a:pt x="24" y="10"/>
                  <a:pt x="24" y="10"/>
                  <a:pt x="24" y="10"/>
                </a:cubicBezTo>
                <a:cubicBezTo>
                  <a:pt x="16" y="10"/>
                  <a:pt x="10" y="17"/>
                  <a:pt x="10" y="25"/>
                </a:cubicBezTo>
                <a:cubicBezTo>
                  <a:pt x="10" y="163"/>
                  <a:pt x="10" y="163"/>
                  <a:pt x="10" y="163"/>
                </a:cubicBezTo>
                <a:cubicBezTo>
                  <a:pt x="10" y="171"/>
                  <a:pt x="16" y="178"/>
                  <a:pt x="24" y="178"/>
                </a:cubicBezTo>
                <a:cubicBezTo>
                  <a:pt x="116" y="178"/>
                  <a:pt x="116" y="178"/>
                  <a:pt x="116" y="178"/>
                </a:cubicBezTo>
                <a:cubicBezTo>
                  <a:pt x="124" y="178"/>
                  <a:pt x="130" y="171"/>
                  <a:pt x="130" y="163"/>
                </a:cubicBezTo>
                <a:cubicBezTo>
                  <a:pt x="130" y="25"/>
                  <a:pt x="130" y="25"/>
                  <a:pt x="130" y="25"/>
                </a:cubicBezTo>
                <a:cubicBezTo>
                  <a:pt x="130" y="17"/>
                  <a:pt x="124" y="10"/>
                  <a:pt x="116" y="10"/>
                </a:cubicBezTo>
                <a:close/>
                <a:moveTo>
                  <a:pt x="116" y="139"/>
                </a:moveTo>
                <a:cubicBezTo>
                  <a:pt x="77" y="139"/>
                  <a:pt x="77" y="139"/>
                  <a:pt x="77" y="139"/>
                </a:cubicBezTo>
                <a:cubicBezTo>
                  <a:pt x="72" y="139"/>
                  <a:pt x="68" y="134"/>
                  <a:pt x="68" y="129"/>
                </a:cubicBezTo>
                <a:cubicBezTo>
                  <a:pt x="68" y="124"/>
                  <a:pt x="72" y="119"/>
                  <a:pt x="77" y="119"/>
                </a:cubicBezTo>
                <a:cubicBezTo>
                  <a:pt x="116" y="119"/>
                  <a:pt x="116" y="119"/>
                  <a:pt x="116" y="119"/>
                </a:cubicBezTo>
                <a:lnTo>
                  <a:pt x="116" y="139"/>
                </a:lnTo>
                <a:close/>
                <a:moveTo>
                  <a:pt x="91" y="106"/>
                </a:moveTo>
                <a:cubicBezTo>
                  <a:pt x="76" y="106"/>
                  <a:pt x="63" y="93"/>
                  <a:pt x="63" y="78"/>
                </a:cubicBezTo>
                <a:cubicBezTo>
                  <a:pt x="63" y="63"/>
                  <a:pt x="76" y="50"/>
                  <a:pt x="91" y="50"/>
                </a:cubicBezTo>
                <a:cubicBezTo>
                  <a:pt x="107" y="50"/>
                  <a:pt x="119" y="63"/>
                  <a:pt x="119" y="78"/>
                </a:cubicBezTo>
                <a:cubicBezTo>
                  <a:pt x="119" y="93"/>
                  <a:pt x="107" y="106"/>
                  <a:pt x="91" y="10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06" name="Freeform 89"/>
          <p:cNvSpPr>
            <a:spLocks noEditPoints="1"/>
          </p:cNvSpPr>
          <p:nvPr/>
        </p:nvSpPr>
        <p:spPr bwMode="auto">
          <a:xfrm>
            <a:off x="2995084" y="2495551"/>
            <a:ext cx="387349" cy="184149"/>
          </a:xfrm>
          <a:custGeom>
            <a:avLst/>
            <a:gdLst>
              <a:gd name="T0" fmla="*/ 613669441 w 129"/>
              <a:gd name="T1" fmla="*/ 112778637 h 61"/>
              <a:gd name="T2" fmla="*/ 202865205 w 129"/>
              <a:gd name="T3" fmla="*/ 112778637 h 61"/>
              <a:gd name="T4" fmla="*/ 202865205 w 129"/>
              <a:gd name="T5" fmla="*/ 112778637 h 61"/>
              <a:gd name="T6" fmla="*/ 202865205 w 129"/>
              <a:gd name="T7" fmla="*/ 87148672 h 61"/>
              <a:gd name="T8" fmla="*/ 197793631 w 129"/>
              <a:gd name="T9" fmla="*/ 66642436 h 61"/>
              <a:gd name="T10" fmla="*/ 197793631 w 129"/>
              <a:gd name="T11" fmla="*/ 66642436 h 61"/>
              <a:gd name="T12" fmla="*/ 228223074 w 129"/>
              <a:gd name="T13" fmla="*/ 35884215 h 61"/>
              <a:gd name="T14" fmla="*/ 197793631 w 129"/>
              <a:gd name="T15" fmla="*/ 0 h 61"/>
              <a:gd name="T16" fmla="*/ 35501017 w 129"/>
              <a:gd name="T17" fmla="*/ 0 h 61"/>
              <a:gd name="T18" fmla="*/ 0 w 129"/>
              <a:gd name="T19" fmla="*/ 35884215 h 61"/>
              <a:gd name="T20" fmla="*/ 35501017 w 129"/>
              <a:gd name="T21" fmla="*/ 66642436 h 61"/>
              <a:gd name="T22" fmla="*/ 35501017 w 129"/>
              <a:gd name="T23" fmla="*/ 66642436 h 61"/>
              <a:gd name="T24" fmla="*/ 30429443 w 129"/>
              <a:gd name="T25" fmla="*/ 87148672 h 61"/>
              <a:gd name="T26" fmla="*/ 30429443 w 129"/>
              <a:gd name="T27" fmla="*/ 230685530 h 61"/>
              <a:gd name="T28" fmla="*/ 35501017 w 129"/>
              <a:gd name="T29" fmla="*/ 251189502 h 61"/>
              <a:gd name="T30" fmla="*/ 35501017 w 129"/>
              <a:gd name="T31" fmla="*/ 251189502 h 61"/>
              <a:gd name="T32" fmla="*/ 0 w 129"/>
              <a:gd name="T33" fmla="*/ 281947724 h 61"/>
              <a:gd name="T34" fmla="*/ 35501017 w 129"/>
              <a:gd name="T35" fmla="*/ 312705945 h 61"/>
              <a:gd name="T36" fmla="*/ 197793631 w 129"/>
              <a:gd name="T37" fmla="*/ 312705945 h 61"/>
              <a:gd name="T38" fmla="*/ 228223074 w 129"/>
              <a:gd name="T39" fmla="*/ 281947724 h 61"/>
              <a:gd name="T40" fmla="*/ 197793631 w 129"/>
              <a:gd name="T41" fmla="*/ 251189502 h 61"/>
              <a:gd name="T42" fmla="*/ 197793631 w 129"/>
              <a:gd name="T43" fmla="*/ 251189502 h 61"/>
              <a:gd name="T44" fmla="*/ 202865205 w 129"/>
              <a:gd name="T45" fmla="*/ 230685530 h 61"/>
              <a:gd name="T46" fmla="*/ 202865205 w 129"/>
              <a:gd name="T47" fmla="*/ 199927309 h 61"/>
              <a:gd name="T48" fmla="*/ 202865205 w 129"/>
              <a:gd name="T49" fmla="*/ 199927309 h 61"/>
              <a:gd name="T50" fmla="*/ 613669441 w 129"/>
              <a:gd name="T51" fmla="*/ 199927309 h 61"/>
              <a:gd name="T52" fmla="*/ 654242032 w 129"/>
              <a:gd name="T53" fmla="*/ 158917101 h 61"/>
              <a:gd name="T54" fmla="*/ 654242032 w 129"/>
              <a:gd name="T55" fmla="*/ 153788844 h 61"/>
              <a:gd name="T56" fmla="*/ 613669441 w 129"/>
              <a:gd name="T57" fmla="*/ 112778637 h 61"/>
              <a:gd name="T58" fmla="*/ 207936779 w 129"/>
              <a:gd name="T59" fmla="*/ 266569745 h 61"/>
              <a:gd name="T60" fmla="*/ 192722058 w 129"/>
              <a:gd name="T61" fmla="*/ 276821731 h 61"/>
              <a:gd name="T62" fmla="*/ 35501017 w 129"/>
              <a:gd name="T63" fmla="*/ 276821731 h 61"/>
              <a:gd name="T64" fmla="*/ 25357869 w 129"/>
              <a:gd name="T65" fmla="*/ 266569745 h 61"/>
              <a:gd name="T66" fmla="*/ 35501017 w 129"/>
              <a:gd name="T67" fmla="*/ 256315495 h 61"/>
              <a:gd name="T68" fmla="*/ 192722058 w 129"/>
              <a:gd name="T69" fmla="*/ 256315495 h 61"/>
              <a:gd name="T70" fmla="*/ 207936779 w 129"/>
              <a:gd name="T71" fmla="*/ 266569745 h 61"/>
              <a:gd name="T72" fmla="*/ 192722058 w 129"/>
              <a:gd name="T73" fmla="*/ 30758222 h 61"/>
              <a:gd name="T74" fmla="*/ 35501017 w 129"/>
              <a:gd name="T75" fmla="*/ 30758222 h 61"/>
              <a:gd name="T76" fmla="*/ 25357869 w 129"/>
              <a:gd name="T77" fmla="*/ 20506236 h 61"/>
              <a:gd name="T78" fmla="*/ 35501017 w 129"/>
              <a:gd name="T79" fmla="*/ 10251986 h 61"/>
              <a:gd name="T80" fmla="*/ 192722058 w 129"/>
              <a:gd name="T81" fmla="*/ 10251986 h 61"/>
              <a:gd name="T82" fmla="*/ 207936779 w 129"/>
              <a:gd name="T83" fmla="*/ 20506236 h 61"/>
              <a:gd name="T84" fmla="*/ 192722058 w 129"/>
              <a:gd name="T85" fmla="*/ 30758222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29" h="61">
                <a:moveTo>
                  <a:pt x="121" y="22"/>
                </a:moveTo>
                <a:cubicBezTo>
                  <a:pt x="40" y="22"/>
                  <a:pt x="40" y="22"/>
                  <a:pt x="40" y="22"/>
                </a:cubicBezTo>
                <a:cubicBezTo>
                  <a:pt x="40" y="22"/>
                  <a:pt x="40" y="22"/>
                  <a:pt x="40" y="22"/>
                </a:cubicBezTo>
                <a:cubicBezTo>
                  <a:pt x="40" y="17"/>
                  <a:pt x="40" y="17"/>
                  <a:pt x="40" y="17"/>
                </a:cubicBezTo>
                <a:cubicBezTo>
                  <a:pt x="40" y="15"/>
                  <a:pt x="39" y="14"/>
                  <a:pt x="39" y="13"/>
                </a:cubicBezTo>
                <a:cubicBezTo>
                  <a:pt x="39" y="13"/>
                  <a:pt x="39" y="13"/>
                  <a:pt x="39" y="13"/>
                </a:cubicBezTo>
                <a:cubicBezTo>
                  <a:pt x="43" y="13"/>
                  <a:pt x="45" y="10"/>
                  <a:pt x="45" y="7"/>
                </a:cubicBezTo>
                <a:cubicBezTo>
                  <a:pt x="45" y="3"/>
                  <a:pt x="43" y="0"/>
                  <a:pt x="39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0"/>
                  <a:pt x="3" y="13"/>
                  <a:pt x="7" y="13"/>
                </a:cubicBezTo>
                <a:cubicBezTo>
                  <a:pt x="7" y="13"/>
                  <a:pt x="7" y="13"/>
                  <a:pt x="7" y="13"/>
                </a:cubicBezTo>
                <a:cubicBezTo>
                  <a:pt x="6" y="14"/>
                  <a:pt x="6" y="15"/>
                  <a:pt x="6" y="17"/>
                </a:cubicBezTo>
                <a:cubicBezTo>
                  <a:pt x="6" y="45"/>
                  <a:pt x="6" y="45"/>
                  <a:pt x="6" y="45"/>
                </a:cubicBezTo>
                <a:cubicBezTo>
                  <a:pt x="6" y="46"/>
                  <a:pt x="6" y="48"/>
                  <a:pt x="7" y="49"/>
                </a:cubicBezTo>
                <a:cubicBezTo>
                  <a:pt x="7" y="49"/>
                  <a:pt x="7" y="49"/>
                  <a:pt x="7" y="49"/>
                </a:cubicBezTo>
                <a:cubicBezTo>
                  <a:pt x="3" y="49"/>
                  <a:pt x="0" y="51"/>
                  <a:pt x="0" y="55"/>
                </a:cubicBezTo>
                <a:cubicBezTo>
                  <a:pt x="0" y="58"/>
                  <a:pt x="3" y="61"/>
                  <a:pt x="7" y="61"/>
                </a:cubicBezTo>
                <a:cubicBezTo>
                  <a:pt x="39" y="61"/>
                  <a:pt x="39" y="61"/>
                  <a:pt x="39" y="61"/>
                </a:cubicBezTo>
                <a:cubicBezTo>
                  <a:pt x="43" y="61"/>
                  <a:pt x="45" y="58"/>
                  <a:pt x="45" y="55"/>
                </a:cubicBezTo>
                <a:cubicBezTo>
                  <a:pt x="45" y="51"/>
                  <a:pt x="43" y="49"/>
                  <a:pt x="39" y="49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48"/>
                  <a:pt x="40" y="46"/>
                  <a:pt x="40" y="45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39"/>
                  <a:pt x="40" y="39"/>
                  <a:pt x="40" y="39"/>
                </a:cubicBezTo>
                <a:cubicBezTo>
                  <a:pt x="121" y="39"/>
                  <a:pt x="121" y="39"/>
                  <a:pt x="121" y="39"/>
                </a:cubicBezTo>
                <a:cubicBezTo>
                  <a:pt x="125" y="39"/>
                  <a:pt x="129" y="36"/>
                  <a:pt x="129" y="31"/>
                </a:cubicBezTo>
                <a:cubicBezTo>
                  <a:pt x="129" y="30"/>
                  <a:pt x="129" y="30"/>
                  <a:pt x="129" y="30"/>
                </a:cubicBezTo>
                <a:cubicBezTo>
                  <a:pt x="129" y="26"/>
                  <a:pt x="125" y="22"/>
                  <a:pt x="121" y="22"/>
                </a:cubicBezTo>
                <a:close/>
                <a:moveTo>
                  <a:pt x="41" y="52"/>
                </a:moveTo>
                <a:cubicBezTo>
                  <a:pt x="41" y="53"/>
                  <a:pt x="40" y="54"/>
                  <a:pt x="38" y="54"/>
                </a:cubicBezTo>
                <a:cubicBezTo>
                  <a:pt x="7" y="54"/>
                  <a:pt x="7" y="54"/>
                  <a:pt x="7" y="54"/>
                </a:cubicBezTo>
                <a:cubicBezTo>
                  <a:pt x="6" y="54"/>
                  <a:pt x="5" y="53"/>
                  <a:pt x="5" y="52"/>
                </a:cubicBezTo>
                <a:cubicBezTo>
                  <a:pt x="5" y="51"/>
                  <a:pt x="6" y="50"/>
                  <a:pt x="7" y="50"/>
                </a:cubicBezTo>
                <a:cubicBezTo>
                  <a:pt x="38" y="50"/>
                  <a:pt x="38" y="50"/>
                  <a:pt x="38" y="50"/>
                </a:cubicBezTo>
                <a:cubicBezTo>
                  <a:pt x="40" y="50"/>
                  <a:pt x="41" y="51"/>
                  <a:pt x="41" y="52"/>
                </a:cubicBezTo>
                <a:close/>
                <a:moveTo>
                  <a:pt x="38" y="6"/>
                </a:moveTo>
                <a:cubicBezTo>
                  <a:pt x="7" y="6"/>
                  <a:pt x="7" y="6"/>
                  <a:pt x="7" y="6"/>
                </a:cubicBezTo>
                <a:cubicBezTo>
                  <a:pt x="6" y="6"/>
                  <a:pt x="5" y="5"/>
                  <a:pt x="5" y="4"/>
                </a:cubicBezTo>
                <a:cubicBezTo>
                  <a:pt x="5" y="3"/>
                  <a:pt x="6" y="2"/>
                  <a:pt x="7" y="2"/>
                </a:cubicBezTo>
                <a:cubicBezTo>
                  <a:pt x="38" y="2"/>
                  <a:pt x="38" y="2"/>
                  <a:pt x="38" y="2"/>
                </a:cubicBezTo>
                <a:cubicBezTo>
                  <a:pt x="40" y="2"/>
                  <a:pt x="41" y="3"/>
                  <a:pt x="41" y="4"/>
                </a:cubicBezTo>
                <a:cubicBezTo>
                  <a:pt x="41" y="5"/>
                  <a:pt x="40" y="6"/>
                  <a:pt x="38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07" name="Freeform 90"/>
          <p:cNvSpPr>
            <a:spLocks noEditPoints="1"/>
          </p:cNvSpPr>
          <p:nvPr/>
        </p:nvSpPr>
        <p:spPr bwMode="auto">
          <a:xfrm>
            <a:off x="2937934" y="2694517"/>
            <a:ext cx="249767" cy="48683"/>
          </a:xfrm>
          <a:custGeom>
            <a:avLst/>
            <a:gdLst>
              <a:gd name="T0" fmla="*/ 402403440 w 83"/>
              <a:gd name="T1" fmla="*/ 26037620 h 16"/>
              <a:gd name="T2" fmla="*/ 407497326 w 83"/>
              <a:gd name="T3" fmla="*/ 15622572 h 16"/>
              <a:gd name="T4" fmla="*/ 397309554 w 83"/>
              <a:gd name="T5" fmla="*/ 0 h 16"/>
              <a:gd name="T6" fmla="*/ 30563315 w 83"/>
              <a:gd name="T7" fmla="*/ 0 h 16"/>
              <a:gd name="T8" fmla="*/ 15281658 w 83"/>
              <a:gd name="T9" fmla="*/ 15622572 h 16"/>
              <a:gd name="T10" fmla="*/ 25469429 w 83"/>
              <a:gd name="T11" fmla="*/ 26037620 h 16"/>
              <a:gd name="T12" fmla="*/ 0 w 83"/>
              <a:gd name="T13" fmla="*/ 52077522 h 16"/>
              <a:gd name="T14" fmla="*/ 25469429 w 83"/>
              <a:gd name="T15" fmla="*/ 83322666 h 16"/>
              <a:gd name="T16" fmla="*/ 397309554 w 83"/>
              <a:gd name="T17" fmla="*/ 83322666 h 16"/>
              <a:gd name="T18" fmla="*/ 422778983 w 83"/>
              <a:gd name="T19" fmla="*/ 52077522 h 16"/>
              <a:gd name="T20" fmla="*/ 402403440 w 83"/>
              <a:gd name="T21" fmla="*/ 26037620 h 16"/>
              <a:gd name="T22" fmla="*/ 402403440 w 83"/>
              <a:gd name="T23" fmla="*/ 46869998 h 16"/>
              <a:gd name="T24" fmla="*/ 25469429 w 83"/>
              <a:gd name="T25" fmla="*/ 46869998 h 16"/>
              <a:gd name="T26" fmla="*/ 20375543 w 83"/>
              <a:gd name="T27" fmla="*/ 41662474 h 16"/>
              <a:gd name="T28" fmla="*/ 25469429 w 83"/>
              <a:gd name="T29" fmla="*/ 31245144 h 16"/>
              <a:gd name="T30" fmla="*/ 402403440 w 83"/>
              <a:gd name="T31" fmla="*/ 31245144 h 16"/>
              <a:gd name="T32" fmla="*/ 407497326 w 83"/>
              <a:gd name="T33" fmla="*/ 41662474 h 16"/>
              <a:gd name="T34" fmla="*/ 402403440 w 83"/>
              <a:gd name="T35" fmla="*/ 46869998 h 1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83" h="16">
                <a:moveTo>
                  <a:pt x="79" y="5"/>
                </a:moveTo>
                <a:cubicBezTo>
                  <a:pt x="80" y="5"/>
                  <a:pt x="80" y="4"/>
                  <a:pt x="80" y="3"/>
                </a:cubicBezTo>
                <a:cubicBezTo>
                  <a:pt x="80" y="1"/>
                  <a:pt x="79" y="0"/>
                  <a:pt x="78" y="0"/>
                </a:cubicBezTo>
                <a:cubicBezTo>
                  <a:pt x="6" y="0"/>
                  <a:pt x="6" y="0"/>
                  <a:pt x="6" y="0"/>
                </a:cubicBezTo>
                <a:cubicBezTo>
                  <a:pt x="4" y="0"/>
                  <a:pt x="3" y="1"/>
                  <a:pt x="3" y="3"/>
                </a:cubicBezTo>
                <a:cubicBezTo>
                  <a:pt x="3" y="4"/>
                  <a:pt x="4" y="5"/>
                  <a:pt x="5" y="5"/>
                </a:cubicBezTo>
                <a:cubicBezTo>
                  <a:pt x="2" y="5"/>
                  <a:pt x="0" y="8"/>
                  <a:pt x="0" y="10"/>
                </a:cubicBezTo>
                <a:cubicBezTo>
                  <a:pt x="0" y="13"/>
                  <a:pt x="3" y="16"/>
                  <a:pt x="5" y="16"/>
                </a:cubicBezTo>
                <a:cubicBezTo>
                  <a:pt x="78" y="16"/>
                  <a:pt x="78" y="16"/>
                  <a:pt x="78" y="16"/>
                </a:cubicBezTo>
                <a:cubicBezTo>
                  <a:pt x="81" y="16"/>
                  <a:pt x="83" y="13"/>
                  <a:pt x="83" y="10"/>
                </a:cubicBezTo>
                <a:cubicBezTo>
                  <a:pt x="83" y="8"/>
                  <a:pt x="81" y="5"/>
                  <a:pt x="79" y="5"/>
                </a:cubicBezTo>
                <a:close/>
                <a:moveTo>
                  <a:pt x="79" y="9"/>
                </a:moveTo>
                <a:cubicBezTo>
                  <a:pt x="5" y="9"/>
                  <a:pt x="5" y="9"/>
                  <a:pt x="5" y="9"/>
                </a:cubicBezTo>
                <a:cubicBezTo>
                  <a:pt x="4" y="9"/>
                  <a:pt x="4" y="8"/>
                  <a:pt x="4" y="8"/>
                </a:cubicBezTo>
                <a:cubicBezTo>
                  <a:pt x="4" y="7"/>
                  <a:pt x="4" y="6"/>
                  <a:pt x="5" y="6"/>
                </a:cubicBezTo>
                <a:cubicBezTo>
                  <a:pt x="79" y="6"/>
                  <a:pt x="79" y="6"/>
                  <a:pt x="79" y="6"/>
                </a:cubicBezTo>
                <a:cubicBezTo>
                  <a:pt x="79" y="6"/>
                  <a:pt x="80" y="7"/>
                  <a:pt x="80" y="8"/>
                </a:cubicBezTo>
                <a:cubicBezTo>
                  <a:pt x="80" y="8"/>
                  <a:pt x="79" y="9"/>
                  <a:pt x="79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08" name="Freeform 91"/>
          <p:cNvSpPr>
            <a:spLocks noEditPoints="1"/>
          </p:cNvSpPr>
          <p:nvPr/>
        </p:nvSpPr>
        <p:spPr bwMode="auto">
          <a:xfrm>
            <a:off x="3702051" y="2366434"/>
            <a:ext cx="529167" cy="472017"/>
          </a:xfrm>
          <a:custGeom>
            <a:avLst/>
            <a:gdLst>
              <a:gd name="T0" fmla="*/ 655950941 w 176"/>
              <a:gd name="T1" fmla="*/ 279640957 h 157"/>
              <a:gd name="T2" fmla="*/ 528829173 w 176"/>
              <a:gd name="T3" fmla="*/ 167784123 h 157"/>
              <a:gd name="T4" fmla="*/ 528829173 w 176"/>
              <a:gd name="T5" fmla="*/ 162701669 h 157"/>
              <a:gd name="T6" fmla="*/ 538999094 w 176"/>
              <a:gd name="T7" fmla="*/ 152532251 h 157"/>
              <a:gd name="T8" fmla="*/ 523744212 w 176"/>
              <a:gd name="T9" fmla="*/ 142362833 h 157"/>
              <a:gd name="T10" fmla="*/ 523744212 w 176"/>
              <a:gd name="T11" fmla="*/ 142362833 h 157"/>
              <a:gd name="T12" fmla="*/ 569508860 w 176"/>
              <a:gd name="T13" fmla="*/ 30505999 h 157"/>
              <a:gd name="T14" fmla="*/ 416962287 w 176"/>
              <a:gd name="T15" fmla="*/ 55927289 h 157"/>
              <a:gd name="T16" fmla="*/ 305093146 w 176"/>
              <a:gd name="T17" fmla="*/ 30505999 h 157"/>
              <a:gd name="T18" fmla="*/ 371197638 w 176"/>
              <a:gd name="T19" fmla="*/ 142362833 h 157"/>
              <a:gd name="T20" fmla="*/ 355942756 w 176"/>
              <a:gd name="T21" fmla="*/ 152532251 h 157"/>
              <a:gd name="T22" fmla="*/ 371197638 w 176"/>
              <a:gd name="T23" fmla="*/ 162701669 h 157"/>
              <a:gd name="T24" fmla="*/ 371197638 w 176"/>
              <a:gd name="T25" fmla="*/ 167784123 h 157"/>
              <a:gd name="T26" fmla="*/ 238990909 w 176"/>
              <a:gd name="T27" fmla="*/ 279640957 h 157"/>
              <a:gd name="T28" fmla="*/ 289838263 w 176"/>
              <a:gd name="T29" fmla="*/ 793164999 h 157"/>
              <a:gd name="T30" fmla="*/ 447472053 w 176"/>
              <a:gd name="T31" fmla="*/ 798249708 h 157"/>
              <a:gd name="T32" fmla="*/ 600018626 w 176"/>
              <a:gd name="T33" fmla="*/ 793164999 h 157"/>
              <a:gd name="T34" fmla="*/ 655950941 w 176"/>
              <a:gd name="T35" fmla="*/ 279640957 h 157"/>
              <a:gd name="T36" fmla="*/ 594933665 w 176"/>
              <a:gd name="T37" fmla="*/ 676223456 h 157"/>
              <a:gd name="T38" fmla="*/ 538999094 w 176"/>
              <a:gd name="T39" fmla="*/ 691477583 h 157"/>
              <a:gd name="T40" fmla="*/ 488149485 w 176"/>
              <a:gd name="T41" fmla="*/ 691477583 h 157"/>
              <a:gd name="T42" fmla="*/ 432217170 w 176"/>
              <a:gd name="T43" fmla="*/ 681308165 h 157"/>
              <a:gd name="T44" fmla="*/ 355942756 w 176"/>
              <a:gd name="T45" fmla="*/ 696562292 h 157"/>
              <a:gd name="T46" fmla="*/ 335602912 w 176"/>
              <a:gd name="T47" fmla="*/ 660971584 h 157"/>
              <a:gd name="T48" fmla="*/ 386452521 w 176"/>
              <a:gd name="T49" fmla="*/ 589790168 h 157"/>
              <a:gd name="T50" fmla="*/ 386452521 w 176"/>
              <a:gd name="T51" fmla="*/ 579620750 h 157"/>
              <a:gd name="T52" fmla="*/ 320348029 w 176"/>
              <a:gd name="T53" fmla="*/ 574536041 h 157"/>
              <a:gd name="T54" fmla="*/ 294923224 w 176"/>
              <a:gd name="T55" fmla="*/ 554199459 h 157"/>
              <a:gd name="T56" fmla="*/ 320348029 w 176"/>
              <a:gd name="T57" fmla="*/ 528775914 h 157"/>
              <a:gd name="T58" fmla="*/ 381367560 w 176"/>
              <a:gd name="T59" fmla="*/ 533860623 h 157"/>
              <a:gd name="T60" fmla="*/ 371197638 w 176"/>
              <a:gd name="T61" fmla="*/ 503354624 h 157"/>
              <a:gd name="T62" fmla="*/ 320348029 w 176"/>
              <a:gd name="T63" fmla="*/ 503354624 h 157"/>
              <a:gd name="T64" fmla="*/ 294923224 w 176"/>
              <a:gd name="T65" fmla="*/ 477933334 h 157"/>
              <a:gd name="T66" fmla="*/ 320348029 w 176"/>
              <a:gd name="T67" fmla="*/ 452512044 h 157"/>
              <a:gd name="T68" fmla="*/ 361027717 w 176"/>
              <a:gd name="T69" fmla="*/ 452512044 h 157"/>
              <a:gd name="T70" fmla="*/ 355942756 w 176"/>
              <a:gd name="T71" fmla="*/ 406751918 h 157"/>
              <a:gd name="T72" fmla="*/ 396622443 w 176"/>
              <a:gd name="T73" fmla="*/ 330485792 h 157"/>
              <a:gd name="T74" fmla="*/ 483064524 w 176"/>
              <a:gd name="T75" fmla="*/ 310146956 h 157"/>
              <a:gd name="T76" fmla="*/ 554253977 w 176"/>
              <a:gd name="T77" fmla="*/ 340655210 h 157"/>
              <a:gd name="T78" fmla="*/ 600018626 w 176"/>
              <a:gd name="T79" fmla="*/ 406751918 h 157"/>
              <a:gd name="T80" fmla="*/ 559338938 w 176"/>
              <a:gd name="T81" fmla="*/ 411836627 h 157"/>
              <a:gd name="T82" fmla="*/ 533914134 w 176"/>
              <a:gd name="T83" fmla="*/ 360991791 h 157"/>
              <a:gd name="T84" fmla="*/ 483064524 w 176"/>
              <a:gd name="T85" fmla="*/ 340655210 h 157"/>
              <a:gd name="T86" fmla="*/ 432217170 w 176"/>
              <a:gd name="T87" fmla="*/ 355907082 h 157"/>
              <a:gd name="T88" fmla="*/ 411877326 w 176"/>
              <a:gd name="T89" fmla="*/ 396582500 h 157"/>
              <a:gd name="T90" fmla="*/ 422047248 w 176"/>
              <a:gd name="T91" fmla="*/ 452512044 h 157"/>
              <a:gd name="T92" fmla="*/ 493234446 w 176"/>
              <a:gd name="T93" fmla="*/ 452512044 h 157"/>
              <a:gd name="T94" fmla="*/ 523744212 w 176"/>
              <a:gd name="T95" fmla="*/ 477933334 h 157"/>
              <a:gd name="T96" fmla="*/ 493234446 w 176"/>
              <a:gd name="T97" fmla="*/ 503354624 h 157"/>
              <a:gd name="T98" fmla="*/ 432217170 w 176"/>
              <a:gd name="T99" fmla="*/ 503354624 h 157"/>
              <a:gd name="T100" fmla="*/ 437302131 w 176"/>
              <a:gd name="T101" fmla="*/ 533860623 h 157"/>
              <a:gd name="T102" fmla="*/ 493234446 w 176"/>
              <a:gd name="T103" fmla="*/ 533860623 h 157"/>
              <a:gd name="T104" fmla="*/ 518659251 w 176"/>
              <a:gd name="T105" fmla="*/ 554199459 h 157"/>
              <a:gd name="T106" fmla="*/ 493234446 w 176"/>
              <a:gd name="T107" fmla="*/ 579620750 h 157"/>
              <a:gd name="T108" fmla="*/ 442387092 w 176"/>
              <a:gd name="T109" fmla="*/ 579620750 h 157"/>
              <a:gd name="T110" fmla="*/ 442387092 w 176"/>
              <a:gd name="T111" fmla="*/ 589790168 h 157"/>
              <a:gd name="T112" fmla="*/ 406792365 w 176"/>
              <a:gd name="T113" fmla="*/ 655886875 h 157"/>
              <a:gd name="T114" fmla="*/ 432217170 w 176"/>
              <a:gd name="T115" fmla="*/ 650802166 h 157"/>
              <a:gd name="T116" fmla="*/ 488149485 w 176"/>
              <a:gd name="T117" fmla="*/ 655886875 h 157"/>
              <a:gd name="T118" fmla="*/ 544084055 w 176"/>
              <a:gd name="T119" fmla="*/ 660971584 h 157"/>
              <a:gd name="T120" fmla="*/ 589848704 w 176"/>
              <a:gd name="T121" fmla="*/ 640632748 h 157"/>
              <a:gd name="T122" fmla="*/ 594933665 w 176"/>
              <a:gd name="T123" fmla="*/ 676223456 h 15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76" h="157">
                <a:moveTo>
                  <a:pt x="129" y="55"/>
                </a:moveTo>
                <a:cubicBezTo>
                  <a:pt x="122" y="48"/>
                  <a:pt x="105" y="38"/>
                  <a:pt x="104" y="33"/>
                </a:cubicBezTo>
                <a:cubicBezTo>
                  <a:pt x="104" y="33"/>
                  <a:pt x="104" y="32"/>
                  <a:pt x="104" y="32"/>
                </a:cubicBezTo>
                <a:cubicBezTo>
                  <a:pt x="105" y="32"/>
                  <a:pt x="106" y="31"/>
                  <a:pt x="106" y="30"/>
                </a:cubicBezTo>
                <a:cubicBezTo>
                  <a:pt x="106" y="29"/>
                  <a:pt x="105" y="28"/>
                  <a:pt x="103" y="28"/>
                </a:cubicBezTo>
                <a:cubicBezTo>
                  <a:pt x="103" y="28"/>
                  <a:pt x="103" y="28"/>
                  <a:pt x="103" y="28"/>
                </a:cubicBezTo>
                <a:cubicBezTo>
                  <a:pt x="103" y="23"/>
                  <a:pt x="108" y="21"/>
                  <a:pt x="112" y="6"/>
                </a:cubicBezTo>
                <a:cubicBezTo>
                  <a:pt x="95" y="1"/>
                  <a:pt x="95" y="5"/>
                  <a:pt x="82" y="11"/>
                </a:cubicBezTo>
                <a:cubicBezTo>
                  <a:pt x="72" y="13"/>
                  <a:pt x="73" y="0"/>
                  <a:pt x="60" y="6"/>
                </a:cubicBezTo>
                <a:cubicBezTo>
                  <a:pt x="67" y="19"/>
                  <a:pt x="72" y="23"/>
                  <a:pt x="73" y="28"/>
                </a:cubicBezTo>
                <a:cubicBezTo>
                  <a:pt x="71" y="28"/>
                  <a:pt x="70" y="29"/>
                  <a:pt x="70" y="30"/>
                </a:cubicBezTo>
                <a:cubicBezTo>
                  <a:pt x="70" y="31"/>
                  <a:pt x="71" y="32"/>
                  <a:pt x="73" y="32"/>
                </a:cubicBezTo>
                <a:cubicBezTo>
                  <a:pt x="73" y="32"/>
                  <a:pt x="73" y="32"/>
                  <a:pt x="73" y="33"/>
                </a:cubicBezTo>
                <a:cubicBezTo>
                  <a:pt x="71" y="38"/>
                  <a:pt x="54" y="48"/>
                  <a:pt x="47" y="55"/>
                </a:cubicBezTo>
                <a:cubicBezTo>
                  <a:pt x="31" y="70"/>
                  <a:pt x="0" y="154"/>
                  <a:pt x="57" y="156"/>
                </a:cubicBezTo>
                <a:cubicBezTo>
                  <a:pt x="84" y="157"/>
                  <a:pt x="88" y="157"/>
                  <a:pt x="88" y="157"/>
                </a:cubicBezTo>
                <a:cubicBezTo>
                  <a:pt x="88" y="157"/>
                  <a:pt x="91" y="157"/>
                  <a:pt x="118" y="156"/>
                </a:cubicBezTo>
                <a:cubicBezTo>
                  <a:pt x="176" y="154"/>
                  <a:pt x="144" y="70"/>
                  <a:pt x="129" y="55"/>
                </a:cubicBezTo>
                <a:close/>
                <a:moveTo>
                  <a:pt x="117" y="133"/>
                </a:moveTo>
                <a:cubicBezTo>
                  <a:pt x="113" y="136"/>
                  <a:pt x="109" y="136"/>
                  <a:pt x="106" y="136"/>
                </a:cubicBezTo>
                <a:cubicBezTo>
                  <a:pt x="104" y="137"/>
                  <a:pt x="101" y="137"/>
                  <a:pt x="96" y="136"/>
                </a:cubicBezTo>
                <a:cubicBezTo>
                  <a:pt x="91" y="135"/>
                  <a:pt x="87" y="134"/>
                  <a:pt x="85" y="134"/>
                </a:cubicBezTo>
                <a:cubicBezTo>
                  <a:pt x="79" y="134"/>
                  <a:pt x="74" y="136"/>
                  <a:pt x="70" y="137"/>
                </a:cubicBezTo>
                <a:cubicBezTo>
                  <a:pt x="66" y="137"/>
                  <a:pt x="63" y="133"/>
                  <a:pt x="66" y="130"/>
                </a:cubicBezTo>
                <a:cubicBezTo>
                  <a:pt x="70" y="127"/>
                  <a:pt x="76" y="123"/>
                  <a:pt x="76" y="116"/>
                </a:cubicBezTo>
                <a:cubicBezTo>
                  <a:pt x="76" y="115"/>
                  <a:pt x="76" y="115"/>
                  <a:pt x="76" y="114"/>
                </a:cubicBezTo>
                <a:cubicBezTo>
                  <a:pt x="63" y="113"/>
                  <a:pt x="63" y="113"/>
                  <a:pt x="63" y="113"/>
                </a:cubicBezTo>
                <a:cubicBezTo>
                  <a:pt x="61" y="113"/>
                  <a:pt x="59" y="111"/>
                  <a:pt x="58" y="109"/>
                </a:cubicBezTo>
                <a:cubicBezTo>
                  <a:pt x="58" y="106"/>
                  <a:pt x="60" y="104"/>
                  <a:pt x="63" y="104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3"/>
                  <a:pt x="74" y="101"/>
                  <a:pt x="73" y="99"/>
                </a:cubicBezTo>
                <a:cubicBezTo>
                  <a:pt x="63" y="99"/>
                  <a:pt x="63" y="99"/>
                  <a:pt x="63" y="99"/>
                </a:cubicBezTo>
                <a:cubicBezTo>
                  <a:pt x="60" y="99"/>
                  <a:pt x="58" y="97"/>
                  <a:pt x="58" y="94"/>
                </a:cubicBezTo>
                <a:cubicBezTo>
                  <a:pt x="58" y="92"/>
                  <a:pt x="60" y="89"/>
                  <a:pt x="63" y="89"/>
                </a:cubicBezTo>
                <a:cubicBezTo>
                  <a:pt x="71" y="89"/>
                  <a:pt x="71" y="89"/>
                  <a:pt x="71" y="89"/>
                </a:cubicBezTo>
                <a:cubicBezTo>
                  <a:pt x="70" y="86"/>
                  <a:pt x="70" y="83"/>
                  <a:pt x="70" y="80"/>
                </a:cubicBezTo>
                <a:cubicBezTo>
                  <a:pt x="71" y="73"/>
                  <a:pt x="74" y="69"/>
                  <a:pt x="78" y="65"/>
                </a:cubicBezTo>
                <a:cubicBezTo>
                  <a:pt x="83" y="62"/>
                  <a:pt x="89" y="61"/>
                  <a:pt x="95" y="61"/>
                </a:cubicBezTo>
                <a:cubicBezTo>
                  <a:pt x="101" y="62"/>
                  <a:pt x="105" y="63"/>
                  <a:pt x="109" y="67"/>
                </a:cubicBezTo>
                <a:cubicBezTo>
                  <a:pt x="114" y="70"/>
                  <a:pt x="116" y="75"/>
                  <a:pt x="118" y="80"/>
                </a:cubicBezTo>
                <a:cubicBezTo>
                  <a:pt x="117" y="83"/>
                  <a:pt x="114" y="85"/>
                  <a:pt x="110" y="81"/>
                </a:cubicBezTo>
                <a:cubicBezTo>
                  <a:pt x="109" y="76"/>
                  <a:pt x="108" y="74"/>
                  <a:pt x="105" y="71"/>
                </a:cubicBezTo>
                <a:cubicBezTo>
                  <a:pt x="102" y="69"/>
                  <a:pt x="99" y="67"/>
                  <a:pt x="95" y="67"/>
                </a:cubicBezTo>
                <a:cubicBezTo>
                  <a:pt x="91" y="67"/>
                  <a:pt x="88" y="68"/>
                  <a:pt x="85" y="70"/>
                </a:cubicBezTo>
                <a:cubicBezTo>
                  <a:pt x="83" y="72"/>
                  <a:pt x="81" y="75"/>
                  <a:pt x="81" y="78"/>
                </a:cubicBezTo>
                <a:cubicBezTo>
                  <a:pt x="81" y="80"/>
                  <a:pt x="82" y="84"/>
                  <a:pt x="83" y="89"/>
                </a:cubicBezTo>
                <a:cubicBezTo>
                  <a:pt x="97" y="89"/>
                  <a:pt x="97" y="89"/>
                  <a:pt x="97" y="89"/>
                </a:cubicBezTo>
                <a:cubicBezTo>
                  <a:pt x="100" y="89"/>
                  <a:pt x="102" y="91"/>
                  <a:pt x="103" y="94"/>
                </a:cubicBezTo>
                <a:cubicBezTo>
                  <a:pt x="103" y="96"/>
                  <a:pt x="100" y="99"/>
                  <a:pt x="97" y="99"/>
                </a:cubicBezTo>
                <a:cubicBezTo>
                  <a:pt x="85" y="99"/>
                  <a:pt x="85" y="99"/>
                  <a:pt x="85" y="99"/>
                </a:cubicBezTo>
                <a:cubicBezTo>
                  <a:pt x="86" y="101"/>
                  <a:pt x="86" y="103"/>
                  <a:pt x="86" y="105"/>
                </a:cubicBezTo>
                <a:cubicBezTo>
                  <a:pt x="97" y="105"/>
                  <a:pt x="97" y="105"/>
                  <a:pt x="97" y="105"/>
                </a:cubicBezTo>
                <a:cubicBezTo>
                  <a:pt x="100" y="105"/>
                  <a:pt x="102" y="107"/>
                  <a:pt x="102" y="109"/>
                </a:cubicBezTo>
                <a:cubicBezTo>
                  <a:pt x="102" y="112"/>
                  <a:pt x="100" y="114"/>
                  <a:pt x="97" y="114"/>
                </a:cubicBezTo>
                <a:cubicBezTo>
                  <a:pt x="87" y="114"/>
                  <a:pt x="87" y="114"/>
                  <a:pt x="87" y="114"/>
                </a:cubicBezTo>
                <a:cubicBezTo>
                  <a:pt x="87" y="115"/>
                  <a:pt x="87" y="116"/>
                  <a:pt x="87" y="116"/>
                </a:cubicBezTo>
                <a:cubicBezTo>
                  <a:pt x="86" y="121"/>
                  <a:pt x="84" y="125"/>
                  <a:pt x="80" y="129"/>
                </a:cubicBezTo>
                <a:cubicBezTo>
                  <a:pt x="82" y="128"/>
                  <a:pt x="83" y="128"/>
                  <a:pt x="85" y="128"/>
                </a:cubicBezTo>
                <a:cubicBezTo>
                  <a:pt x="88" y="128"/>
                  <a:pt x="92" y="129"/>
                  <a:pt x="96" y="129"/>
                </a:cubicBezTo>
                <a:cubicBezTo>
                  <a:pt x="101" y="130"/>
                  <a:pt x="105" y="130"/>
                  <a:pt x="107" y="130"/>
                </a:cubicBezTo>
                <a:cubicBezTo>
                  <a:pt x="109" y="129"/>
                  <a:pt x="113" y="128"/>
                  <a:pt x="116" y="126"/>
                </a:cubicBezTo>
                <a:cubicBezTo>
                  <a:pt x="119" y="125"/>
                  <a:pt x="121" y="127"/>
                  <a:pt x="117" y="1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09" name="Freeform 92"/>
          <p:cNvSpPr>
            <a:spLocks noEditPoints="1"/>
          </p:cNvSpPr>
          <p:nvPr/>
        </p:nvSpPr>
        <p:spPr bwMode="auto">
          <a:xfrm>
            <a:off x="5452534" y="2571751"/>
            <a:ext cx="378884" cy="347133"/>
          </a:xfrm>
          <a:custGeom>
            <a:avLst/>
            <a:gdLst>
              <a:gd name="T0" fmla="*/ 183102459 w 126"/>
              <a:gd name="T1" fmla="*/ 166231231 h 116"/>
              <a:gd name="T2" fmla="*/ 264481329 w 126"/>
              <a:gd name="T3" fmla="*/ 80596280 h 116"/>
              <a:gd name="T4" fmla="*/ 183102459 w 126"/>
              <a:gd name="T5" fmla="*/ 0 h 116"/>
              <a:gd name="T6" fmla="*/ 101723588 w 126"/>
              <a:gd name="T7" fmla="*/ 80596280 h 116"/>
              <a:gd name="T8" fmla="*/ 183102459 w 126"/>
              <a:gd name="T9" fmla="*/ 166231231 h 116"/>
              <a:gd name="T10" fmla="*/ 320429867 w 126"/>
              <a:gd name="T11" fmla="*/ 438247604 h 116"/>
              <a:gd name="T12" fmla="*/ 345860200 w 126"/>
              <a:gd name="T13" fmla="*/ 302239417 h 116"/>
              <a:gd name="T14" fmla="*/ 244136612 w 126"/>
              <a:gd name="T15" fmla="*/ 171267656 h 116"/>
              <a:gd name="T16" fmla="*/ 183102459 w 126"/>
              <a:gd name="T17" fmla="*/ 191417849 h 116"/>
              <a:gd name="T18" fmla="*/ 122068306 w 126"/>
              <a:gd name="T19" fmla="*/ 171267656 h 116"/>
              <a:gd name="T20" fmla="*/ 0 w 126"/>
              <a:gd name="T21" fmla="*/ 428172508 h 116"/>
              <a:gd name="T22" fmla="*/ 183102459 w 126"/>
              <a:gd name="T23" fmla="*/ 438247604 h 116"/>
              <a:gd name="T24" fmla="*/ 340774584 w 126"/>
              <a:gd name="T25" fmla="*/ 498693692 h 116"/>
              <a:gd name="T26" fmla="*/ 320429867 w 126"/>
              <a:gd name="T27" fmla="*/ 438247604 h 116"/>
              <a:gd name="T28" fmla="*/ 122068306 w 126"/>
              <a:gd name="T29" fmla="*/ 186381423 h 116"/>
              <a:gd name="T30" fmla="*/ 172931228 w 126"/>
              <a:gd name="T31" fmla="*/ 206529371 h 116"/>
              <a:gd name="T32" fmla="*/ 147498639 w 126"/>
              <a:gd name="T33" fmla="*/ 277052799 h 116"/>
              <a:gd name="T34" fmla="*/ 122068306 w 126"/>
              <a:gd name="T35" fmla="*/ 186381423 h 116"/>
              <a:gd name="T36" fmla="*/ 183102459 w 126"/>
              <a:gd name="T37" fmla="*/ 418097412 h 116"/>
              <a:gd name="T38" fmla="*/ 157672126 w 126"/>
              <a:gd name="T39" fmla="*/ 397947219 h 116"/>
              <a:gd name="T40" fmla="*/ 172931228 w 126"/>
              <a:gd name="T41" fmla="*/ 282089225 h 116"/>
              <a:gd name="T42" fmla="*/ 172931228 w 126"/>
              <a:gd name="T43" fmla="*/ 277052799 h 116"/>
              <a:gd name="T44" fmla="*/ 162757741 w 126"/>
              <a:gd name="T45" fmla="*/ 251866181 h 116"/>
              <a:gd name="T46" fmla="*/ 183102459 w 126"/>
              <a:gd name="T47" fmla="*/ 216604467 h 116"/>
              <a:gd name="T48" fmla="*/ 208532792 w 126"/>
              <a:gd name="T49" fmla="*/ 251866181 h 116"/>
              <a:gd name="T50" fmla="*/ 198361561 w 126"/>
              <a:gd name="T51" fmla="*/ 282089225 h 116"/>
              <a:gd name="T52" fmla="*/ 213620663 w 126"/>
              <a:gd name="T53" fmla="*/ 397947219 h 116"/>
              <a:gd name="T54" fmla="*/ 183102459 w 126"/>
              <a:gd name="T55" fmla="*/ 418097412 h 116"/>
              <a:gd name="T56" fmla="*/ 218706278 w 126"/>
              <a:gd name="T57" fmla="*/ 277052799 h 116"/>
              <a:gd name="T58" fmla="*/ 193275945 w 126"/>
              <a:gd name="T59" fmla="*/ 206529371 h 116"/>
              <a:gd name="T60" fmla="*/ 249222227 w 126"/>
              <a:gd name="T61" fmla="*/ 186381423 h 116"/>
              <a:gd name="T62" fmla="*/ 218706278 w 126"/>
              <a:gd name="T63" fmla="*/ 277052799 h 116"/>
              <a:gd name="T64" fmla="*/ 422153455 w 126"/>
              <a:gd name="T65" fmla="*/ 176306327 h 116"/>
              <a:gd name="T66" fmla="*/ 478101992 w 126"/>
              <a:gd name="T67" fmla="*/ 201492945 h 116"/>
              <a:gd name="T68" fmla="*/ 534050530 w 126"/>
              <a:gd name="T69" fmla="*/ 176306327 h 116"/>
              <a:gd name="T70" fmla="*/ 584911196 w 126"/>
              <a:gd name="T71" fmla="*/ 90671376 h 116"/>
              <a:gd name="T72" fmla="*/ 518791428 w 126"/>
              <a:gd name="T73" fmla="*/ 0 h 116"/>
              <a:gd name="T74" fmla="*/ 478101992 w 126"/>
              <a:gd name="T75" fmla="*/ 15111522 h 116"/>
              <a:gd name="T76" fmla="*/ 437412557 w 126"/>
              <a:gd name="T77" fmla="*/ 0 h 116"/>
              <a:gd name="T78" fmla="*/ 371292788 w 126"/>
              <a:gd name="T79" fmla="*/ 90671376 h 116"/>
              <a:gd name="T80" fmla="*/ 422153455 w 126"/>
              <a:gd name="T81" fmla="*/ 176306327 h 116"/>
              <a:gd name="T82" fmla="*/ 478101992 w 126"/>
              <a:gd name="T83" fmla="*/ 30223044 h 116"/>
              <a:gd name="T84" fmla="*/ 554395247 w 126"/>
              <a:gd name="T85" fmla="*/ 105782898 h 116"/>
              <a:gd name="T86" fmla="*/ 549307376 w 126"/>
              <a:gd name="T87" fmla="*/ 125933091 h 116"/>
              <a:gd name="T88" fmla="*/ 478101992 w 126"/>
              <a:gd name="T89" fmla="*/ 55409662 h 116"/>
              <a:gd name="T90" fmla="*/ 406894353 w 126"/>
              <a:gd name="T91" fmla="*/ 125933091 h 116"/>
              <a:gd name="T92" fmla="*/ 401808737 w 126"/>
              <a:gd name="T93" fmla="*/ 105782898 h 116"/>
              <a:gd name="T94" fmla="*/ 478101992 w 126"/>
              <a:gd name="T95" fmla="*/ 30223044 h 116"/>
              <a:gd name="T96" fmla="*/ 534050530 w 126"/>
              <a:gd name="T97" fmla="*/ 206529371 h 116"/>
              <a:gd name="T98" fmla="*/ 478101992 w 126"/>
              <a:gd name="T99" fmla="*/ 226679563 h 116"/>
              <a:gd name="T100" fmla="*/ 422153455 w 126"/>
              <a:gd name="T101" fmla="*/ 206529371 h 116"/>
              <a:gd name="T102" fmla="*/ 345860200 w 126"/>
              <a:gd name="T103" fmla="*/ 302239417 h 116"/>
              <a:gd name="T104" fmla="*/ 366204918 w 126"/>
              <a:gd name="T105" fmla="*/ 428172508 h 116"/>
              <a:gd name="T106" fmla="*/ 340774584 w 126"/>
              <a:gd name="T107" fmla="*/ 498693692 h 116"/>
              <a:gd name="T108" fmla="*/ 478101992 w 126"/>
              <a:gd name="T109" fmla="*/ 443284030 h 116"/>
              <a:gd name="T110" fmla="*/ 640859733 w 126"/>
              <a:gd name="T111" fmla="*/ 438247604 h 116"/>
              <a:gd name="T112" fmla="*/ 534050530 w 126"/>
              <a:gd name="T113" fmla="*/ 206529371 h 116"/>
              <a:gd name="T114" fmla="*/ 478101992 w 126"/>
              <a:gd name="T115" fmla="*/ 322387365 h 116"/>
              <a:gd name="T116" fmla="*/ 417067839 w 126"/>
              <a:gd name="T117" fmla="*/ 241791085 h 116"/>
              <a:gd name="T118" fmla="*/ 478101992 w 126"/>
              <a:gd name="T119" fmla="*/ 246827511 h 116"/>
              <a:gd name="T120" fmla="*/ 544221761 w 126"/>
              <a:gd name="T121" fmla="*/ 241791085 h 116"/>
              <a:gd name="T122" fmla="*/ 478101992 w 126"/>
              <a:gd name="T123" fmla="*/ 322387365 h 11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26" h="116">
                <a:moveTo>
                  <a:pt x="36" y="33"/>
                </a:moveTo>
                <a:cubicBezTo>
                  <a:pt x="45" y="33"/>
                  <a:pt x="52" y="25"/>
                  <a:pt x="52" y="16"/>
                </a:cubicBezTo>
                <a:cubicBezTo>
                  <a:pt x="52" y="7"/>
                  <a:pt x="45" y="0"/>
                  <a:pt x="36" y="0"/>
                </a:cubicBezTo>
                <a:cubicBezTo>
                  <a:pt x="27" y="0"/>
                  <a:pt x="20" y="7"/>
                  <a:pt x="20" y="16"/>
                </a:cubicBezTo>
                <a:cubicBezTo>
                  <a:pt x="20" y="25"/>
                  <a:pt x="27" y="33"/>
                  <a:pt x="36" y="33"/>
                </a:cubicBezTo>
                <a:close/>
                <a:moveTo>
                  <a:pt x="63" y="87"/>
                </a:moveTo>
                <a:cubicBezTo>
                  <a:pt x="63" y="77"/>
                  <a:pt x="64" y="68"/>
                  <a:pt x="68" y="60"/>
                </a:cubicBezTo>
                <a:cubicBezTo>
                  <a:pt x="64" y="48"/>
                  <a:pt x="57" y="38"/>
                  <a:pt x="48" y="34"/>
                </a:cubicBezTo>
                <a:cubicBezTo>
                  <a:pt x="45" y="36"/>
                  <a:pt x="41" y="38"/>
                  <a:pt x="36" y="38"/>
                </a:cubicBezTo>
                <a:cubicBezTo>
                  <a:pt x="31" y="38"/>
                  <a:pt x="27" y="36"/>
                  <a:pt x="24" y="34"/>
                </a:cubicBezTo>
                <a:cubicBezTo>
                  <a:pt x="10" y="41"/>
                  <a:pt x="0" y="62"/>
                  <a:pt x="0" y="85"/>
                </a:cubicBezTo>
                <a:cubicBezTo>
                  <a:pt x="0" y="116"/>
                  <a:pt x="16" y="87"/>
                  <a:pt x="36" y="87"/>
                </a:cubicBezTo>
                <a:cubicBezTo>
                  <a:pt x="49" y="87"/>
                  <a:pt x="61" y="99"/>
                  <a:pt x="67" y="99"/>
                </a:cubicBezTo>
                <a:cubicBezTo>
                  <a:pt x="64" y="99"/>
                  <a:pt x="63" y="96"/>
                  <a:pt x="63" y="87"/>
                </a:cubicBezTo>
                <a:close/>
                <a:moveTo>
                  <a:pt x="24" y="37"/>
                </a:moveTo>
                <a:cubicBezTo>
                  <a:pt x="24" y="37"/>
                  <a:pt x="27" y="41"/>
                  <a:pt x="34" y="41"/>
                </a:cubicBezTo>
                <a:cubicBezTo>
                  <a:pt x="29" y="45"/>
                  <a:pt x="29" y="55"/>
                  <a:pt x="29" y="55"/>
                </a:cubicBezTo>
                <a:lnTo>
                  <a:pt x="24" y="37"/>
                </a:lnTo>
                <a:close/>
                <a:moveTo>
                  <a:pt x="36" y="83"/>
                </a:moveTo>
                <a:cubicBezTo>
                  <a:pt x="31" y="79"/>
                  <a:pt x="31" y="79"/>
                  <a:pt x="31" y="79"/>
                </a:cubicBezTo>
                <a:cubicBezTo>
                  <a:pt x="34" y="56"/>
                  <a:pt x="34" y="56"/>
                  <a:pt x="34" y="56"/>
                </a:cubicBezTo>
                <a:cubicBezTo>
                  <a:pt x="34" y="55"/>
                  <a:pt x="34" y="55"/>
                  <a:pt x="34" y="55"/>
                </a:cubicBezTo>
                <a:cubicBezTo>
                  <a:pt x="33" y="54"/>
                  <a:pt x="32" y="52"/>
                  <a:pt x="32" y="50"/>
                </a:cubicBezTo>
                <a:cubicBezTo>
                  <a:pt x="32" y="46"/>
                  <a:pt x="34" y="43"/>
                  <a:pt x="36" y="43"/>
                </a:cubicBezTo>
                <a:cubicBezTo>
                  <a:pt x="39" y="43"/>
                  <a:pt x="41" y="46"/>
                  <a:pt x="41" y="50"/>
                </a:cubicBezTo>
                <a:cubicBezTo>
                  <a:pt x="41" y="53"/>
                  <a:pt x="40" y="55"/>
                  <a:pt x="39" y="56"/>
                </a:cubicBezTo>
                <a:cubicBezTo>
                  <a:pt x="42" y="79"/>
                  <a:pt x="42" y="79"/>
                  <a:pt x="42" y="79"/>
                </a:cubicBezTo>
                <a:lnTo>
                  <a:pt x="36" y="83"/>
                </a:lnTo>
                <a:close/>
                <a:moveTo>
                  <a:pt x="43" y="55"/>
                </a:moveTo>
                <a:cubicBezTo>
                  <a:pt x="43" y="55"/>
                  <a:pt x="43" y="45"/>
                  <a:pt x="38" y="41"/>
                </a:cubicBezTo>
                <a:cubicBezTo>
                  <a:pt x="45" y="41"/>
                  <a:pt x="49" y="37"/>
                  <a:pt x="49" y="37"/>
                </a:cubicBezTo>
                <a:lnTo>
                  <a:pt x="43" y="55"/>
                </a:lnTo>
                <a:close/>
                <a:moveTo>
                  <a:pt x="83" y="35"/>
                </a:moveTo>
                <a:cubicBezTo>
                  <a:pt x="86" y="38"/>
                  <a:pt x="90" y="40"/>
                  <a:pt x="94" y="40"/>
                </a:cubicBezTo>
                <a:cubicBezTo>
                  <a:pt x="99" y="40"/>
                  <a:pt x="103" y="38"/>
                  <a:pt x="105" y="35"/>
                </a:cubicBezTo>
                <a:cubicBezTo>
                  <a:pt x="118" y="33"/>
                  <a:pt x="116" y="26"/>
                  <a:pt x="115" y="18"/>
                </a:cubicBezTo>
                <a:cubicBezTo>
                  <a:pt x="113" y="10"/>
                  <a:pt x="107" y="1"/>
                  <a:pt x="102" y="0"/>
                </a:cubicBezTo>
                <a:cubicBezTo>
                  <a:pt x="99" y="0"/>
                  <a:pt x="96" y="1"/>
                  <a:pt x="94" y="3"/>
                </a:cubicBezTo>
                <a:cubicBezTo>
                  <a:pt x="92" y="1"/>
                  <a:pt x="89" y="0"/>
                  <a:pt x="86" y="0"/>
                </a:cubicBezTo>
                <a:cubicBezTo>
                  <a:pt x="81" y="1"/>
                  <a:pt x="75" y="10"/>
                  <a:pt x="73" y="18"/>
                </a:cubicBezTo>
                <a:cubicBezTo>
                  <a:pt x="72" y="26"/>
                  <a:pt x="70" y="33"/>
                  <a:pt x="83" y="35"/>
                </a:cubicBezTo>
                <a:close/>
                <a:moveTo>
                  <a:pt x="94" y="6"/>
                </a:moveTo>
                <a:cubicBezTo>
                  <a:pt x="102" y="6"/>
                  <a:pt x="109" y="13"/>
                  <a:pt x="109" y="21"/>
                </a:cubicBezTo>
                <a:cubicBezTo>
                  <a:pt x="109" y="22"/>
                  <a:pt x="109" y="24"/>
                  <a:pt x="108" y="25"/>
                </a:cubicBezTo>
                <a:cubicBezTo>
                  <a:pt x="108" y="17"/>
                  <a:pt x="102" y="11"/>
                  <a:pt x="94" y="11"/>
                </a:cubicBezTo>
                <a:cubicBezTo>
                  <a:pt x="86" y="11"/>
                  <a:pt x="80" y="17"/>
                  <a:pt x="80" y="25"/>
                </a:cubicBezTo>
                <a:cubicBezTo>
                  <a:pt x="79" y="24"/>
                  <a:pt x="79" y="22"/>
                  <a:pt x="79" y="21"/>
                </a:cubicBezTo>
                <a:cubicBezTo>
                  <a:pt x="79" y="13"/>
                  <a:pt x="86" y="6"/>
                  <a:pt x="94" y="6"/>
                </a:cubicBezTo>
                <a:close/>
                <a:moveTo>
                  <a:pt x="105" y="41"/>
                </a:moveTo>
                <a:cubicBezTo>
                  <a:pt x="102" y="44"/>
                  <a:pt x="98" y="45"/>
                  <a:pt x="94" y="45"/>
                </a:cubicBezTo>
                <a:cubicBezTo>
                  <a:pt x="90" y="45"/>
                  <a:pt x="86" y="44"/>
                  <a:pt x="83" y="41"/>
                </a:cubicBezTo>
                <a:cubicBezTo>
                  <a:pt x="77" y="45"/>
                  <a:pt x="72" y="51"/>
                  <a:pt x="68" y="60"/>
                </a:cubicBezTo>
                <a:cubicBezTo>
                  <a:pt x="70" y="68"/>
                  <a:pt x="72" y="76"/>
                  <a:pt x="72" y="85"/>
                </a:cubicBezTo>
                <a:cubicBezTo>
                  <a:pt x="72" y="96"/>
                  <a:pt x="70" y="99"/>
                  <a:pt x="67" y="99"/>
                </a:cubicBezTo>
                <a:cubicBezTo>
                  <a:pt x="72" y="100"/>
                  <a:pt x="83" y="88"/>
                  <a:pt x="94" y="88"/>
                </a:cubicBezTo>
                <a:cubicBezTo>
                  <a:pt x="112" y="88"/>
                  <a:pt x="126" y="114"/>
                  <a:pt x="126" y="87"/>
                </a:cubicBezTo>
                <a:cubicBezTo>
                  <a:pt x="126" y="66"/>
                  <a:pt x="117" y="48"/>
                  <a:pt x="105" y="41"/>
                </a:cubicBezTo>
                <a:close/>
                <a:moveTo>
                  <a:pt x="94" y="64"/>
                </a:moveTo>
                <a:cubicBezTo>
                  <a:pt x="94" y="64"/>
                  <a:pt x="82" y="57"/>
                  <a:pt x="82" y="48"/>
                </a:cubicBezTo>
                <a:cubicBezTo>
                  <a:pt x="83" y="42"/>
                  <a:pt x="87" y="49"/>
                  <a:pt x="94" y="49"/>
                </a:cubicBezTo>
                <a:cubicBezTo>
                  <a:pt x="101" y="49"/>
                  <a:pt x="105" y="42"/>
                  <a:pt x="107" y="48"/>
                </a:cubicBezTo>
                <a:cubicBezTo>
                  <a:pt x="107" y="57"/>
                  <a:pt x="94" y="64"/>
                  <a:pt x="94" y="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10" name="Freeform 93"/>
          <p:cNvSpPr>
            <a:spLocks/>
          </p:cNvSpPr>
          <p:nvPr/>
        </p:nvSpPr>
        <p:spPr bwMode="auto">
          <a:xfrm>
            <a:off x="5513917" y="2457451"/>
            <a:ext cx="251883" cy="10583"/>
          </a:xfrm>
          <a:custGeom>
            <a:avLst/>
            <a:gdLst>
              <a:gd name="T0" fmla="*/ 414738304 w 84"/>
              <a:gd name="T1" fmla="*/ 15750977 h 4"/>
              <a:gd name="T2" fmla="*/ 10115788 w 84"/>
              <a:gd name="T3" fmla="*/ 15750977 h 4"/>
              <a:gd name="T4" fmla="*/ 0 w 84"/>
              <a:gd name="T5" fmla="*/ 7875488 h 4"/>
              <a:gd name="T6" fmla="*/ 10115788 w 84"/>
              <a:gd name="T7" fmla="*/ 0 h 4"/>
              <a:gd name="T8" fmla="*/ 414738304 w 84"/>
              <a:gd name="T9" fmla="*/ 0 h 4"/>
              <a:gd name="T10" fmla="*/ 424854092 w 84"/>
              <a:gd name="T11" fmla="*/ 7875488 h 4"/>
              <a:gd name="T12" fmla="*/ 414738304 w 84"/>
              <a:gd name="T13" fmla="*/ 15750977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4" h="4">
                <a:moveTo>
                  <a:pt x="82" y="4"/>
                </a:move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83" y="0"/>
                  <a:pt x="84" y="1"/>
                  <a:pt x="84" y="2"/>
                </a:cubicBezTo>
                <a:cubicBezTo>
                  <a:pt x="84" y="3"/>
                  <a:pt x="83" y="4"/>
                  <a:pt x="82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11" name="Freeform 94"/>
          <p:cNvSpPr>
            <a:spLocks noEditPoints="1"/>
          </p:cNvSpPr>
          <p:nvPr/>
        </p:nvSpPr>
        <p:spPr bwMode="auto">
          <a:xfrm>
            <a:off x="5431368" y="2321985"/>
            <a:ext cx="436033" cy="207433"/>
          </a:xfrm>
          <a:custGeom>
            <a:avLst/>
            <a:gdLst>
              <a:gd name="T0" fmla="*/ 529004661 w 145"/>
              <a:gd name="T1" fmla="*/ 40670462 h 69"/>
              <a:gd name="T2" fmla="*/ 320455181 w 145"/>
              <a:gd name="T3" fmla="*/ 0 h 69"/>
              <a:gd name="T4" fmla="*/ 71212513 w 145"/>
              <a:gd name="T5" fmla="*/ 91507411 h 69"/>
              <a:gd name="T6" fmla="*/ 76298316 w 145"/>
              <a:gd name="T7" fmla="*/ 101673899 h 69"/>
              <a:gd name="T8" fmla="*/ 0 w 145"/>
              <a:gd name="T9" fmla="*/ 208432170 h 69"/>
              <a:gd name="T10" fmla="*/ 233983004 w 145"/>
              <a:gd name="T11" fmla="*/ 350776531 h 69"/>
              <a:gd name="T12" fmla="*/ 356060309 w 145"/>
              <a:gd name="T13" fmla="*/ 335525671 h 69"/>
              <a:gd name="T14" fmla="*/ 478137614 w 145"/>
              <a:gd name="T15" fmla="*/ 350776531 h 69"/>
              <a:gd name="T16" fmla="*/ 737554142 w 145"/>
              <a:gd name="T17" fmla="*/ 193181311 h 69"/>
              <a:gd name="T18" fmla="*/ 529004661 w 145"/>
              <a:gd name="T19" fmla="*/ 40670462 h 69"/>
              <a:gd name="T20" fmla="*/ 137336968 w 145"/>
              <a:gd name="T21" fmla="*/ 101673899 h 69"/>
              <a:gd name="T22" fmla="*/ 254328470 w 145"/>
              <a:gd name="T23" fmla="*/ 101673899 h 69"/>
              <a:gd name="T24" fmla="*/ 254328470 w 145"/>
              <a:gd name="T25" fmla="*/ 111842642 h 69"/>
              <a:gd name="T26" fmla="*/ 254328470 w 145"/>
              <a:gd name="T27" fmla="*/ 116924759 h 69"/>
              <a:gd name="T28" fmla="*/ 137336968 w 145"/>
              <a:gd name="T29" fmla="*/ 116924759 h 69"/>
              <a:gd name="T30" fmla="*/ 137336968 w 145"/>
              <a:gd name="T31" fmla="*/ 111842642 h 69"/>
              <a:gd name="T32" fmla="*/ 137336968 w 145"/>
              <a:gd name="T33" fmla="*/ 101673899 h 69"/>
              <a:gd name="T34" fmla="*/ 554438185 w 145"/>
              <a:gd name="T35" fmla="*/ 213516541 h 69"/>
              <a:gd name="T36" fmla="*/ 147510828 w 145"/>
              <a:gd name="T37" fmla="*/ 213516541 h 69"/>
              <a:gd name="T38" fmla="*/ 137336968 w 145"/>
              <a:gd name="T39" fmla="*/ 208432170 h 69"/>
              <a:gd name="T40" fmla="*/ 147510828 w 145"/>
              <a:gd name="T41" fmla="*/ 198265682 h 69"/>
              <a:gd name="T42" fmla="*/ 554438185 w 145"/>
              <a:gd name="T43" fmla="*/ 198265682 h 69"/>
              <a:gd name="T44" fmla="*/ 564609790 w 145"/>
              <a:gd name="T45" fmla="*/ 208432170 h 69"/>
              <a:gd name="T46" fmla="*/ 554438185 w 145"/>
              <a:gd name="T47" fmla="*/ 213516541 h 69"/>
              <a:gd name="T48" fmla="*/ 554438185 w 145"/>
              <a:gd name="T49" fmla="*/ 183014822 h 69"/>
              <a:gd name="T50" fmla="*/ 147510828 w 145"/>
              <a:gd name="T51" fmla="*/ 183014822 h 69"/>
              <a:gd name="T52" fmla="*/ 137336968 w 145"/>
              <a:gd name="T53" fmla="*/ 177930451 h 69"/>
              <a:gd name="T54" fmla="*/ 147510828 w 145"/>
              <a:gd name="T55" fmla="*/ 167761708 h 69"/>
              <a:gd name="T56" fmla="*/ 554438185 w 145"/>
              <a:gd name="T57" fmla="*/ 167761708 h 69"/>
              <a:gd name="T58" fmla="*/ 564609790 w 145"/>
              <a:gd name="T59" fmla="*/ 177930451 h 69"/>
              <a:gd name="T60" fmla="*/ 554438185 w 145"/>
              <a:gd name="T61" fmla="*/ 183014822 h 69"/>
              <a:gd name="T62" fmla="*/ 554438185 w 145"/>
              <a:gd name="T63" fmla="*/ 152510849 h 69"/>
              <a:gd name="T64" fmla="*/ 147510828 w 145"/>
              <a:gd name="T65" fmla="*/ 152510849 h 69"/>
              <a:gd name="T66" fmla="*/ 137336968 w 145"/>
              <a:gd name="T67" fmla="*/ 142344361 h 69"/>
              <a:gd name="T68" fmla="*/ 147510828 w 145"/>
              <a:gd name="T69" fmla="*/ 137259989 h 69"/>
              <a:gd name="T70" fmla="*/ 554438185 w 145"/>
              <a:gd name="T71" fmla="*/ 137259989 h 69"/>
              <a:gd name="T72" fmla="*/ 564609790 w 145"/>
              <a:gd name="T73" fmla="*/ 142344361 h 69"/>
              <a:gd name="T74" fmla="*/ 554438185 w 145"/>
              <a:gd name="T75" fmla="*/ 152510849 h 69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45" h="69">
                <a:moveTo>
                  <a:pt x="104" y="8"/>
                </a:moveTo>
                <a:cubicBezTo>
                  <a:pt x="95" y="3"/>
                  <a:pt x="80" y="0"/>
                  <a:pt x="63" y="0"/>
                </a:cubicBezTo>
                <a:cubicBezTo>
                  <a:pt x="36" y="0"/>
                  <a:pt x="14" y="8"/>
                  <a:pt x="14" y="18"/>
                </a:cubicBezTo>
                <a:cubicBezTo>
                  <a:pt x="14" y="18"/>
                  <a:pt x="14" y="19"/>
                  <a:pt x="15" y="20"/>
                </a:cubicBezTo>
                <a:cubicBezTo>
                  <a:pt x="6" y="25"/>
                  <a:pt x="0" y="33"/>
                  <a:pt x="0" y="41"/>
                </a:cubicBezTo>
                <a:cubicBezTo>
                  <a:pt x="0" y="57"/>
                  <a:pt x="21" y="69"/>
                  <a:pt x="46" y="69"/>
                </a:cubicBezTo>
                <a:cubicBezTo>
                  <a:pt x="55" y="69"/>
                  <a:pt x="63" y="68"/>
                  <a:pt x="70" y="66"/>
                </a:cubicBezTo>
                <a:cubicBezTo>
                  <a:pt x="77" y="68"/>
                  <a:pt x="85" y="69"/>
                  <a:pt x="94" y="69"/>
                </a:cubicBezTo>
                <a:cubicBezTo>
                  <a:pt x="122" y="69"/>
                  <a:pt x="145" y="55"/>
                  <a:pt x="145" y="38"/>
                </a:cubicBezTo>
                <a:cubicBezTo>
                  <a:pt x="145" y="23"/>
                  <a:pt x="128" y="11"/>
                  <a:pt x="104" y="8"/>
                </a:cubicBezTo>
                <a:close/>
                <a:moveTo>
                  <a:pt x="27" y="20"/>
                </a:moveTo>
                <a:cubicBezTo>
                  <a:pt x="50" y="20"/>
                  <a:pt x="50" y="20"/>
                  <a:pt x="50" y="20"/>
                </a:cubicBezTo>
                <a:cubicBezTo>
                  <a:pt x="50" y="20"/>
                  <a:pt x="50" y="21"/>
                  <a:pt x="50" y="22"/>
                </a:cubicBezTo>
                <a:cubicBezTo>
                  <a:pt x="50" y="23"/>
                  <a:pt x="50" y="23"/>
                  <a:pt x="50" y="23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3"/>
                  <a:pt x="27" y="23"/>
                  <a:pt x="27" y="22"/>
                </a:cubicBezTo>
                <a:cubicBezTo>
                  <a:pt x="27" y="21"/>
                  <a:pt x="27" y="20"/>
                  <a:pt x="27" y="20"/>
                </a:cubicBezTo>
                <a:close/>
                <a:moveTo>
                  <a:pt x="109" y="42"/>
                </a:moveTo>
                <a:cubicBezTo>
                  <a:pt x="29" y="42"/>
                  <a:pt x="29" y="42"/>
                  <a:pt x="29" y="42"/>
                </a:cubicBezTo>
                <a:cubicBezTo>
                  <a:pt x="28" y="42"/>
                  <a:pt x="27" y="42"/>
                  <a:pt x="27" y="41"/>
                </a:cubicBezTo>
                <a:cubicBezTo>
                  <a:pt x="27" y="40"/>
                  <a:pt x="28" y="39"/>
                  <a:pt x="29" y="39"/>
                </a:cubicBezTo>
                <a:cubicBezTo>
                  <a:pt x="109" y="39"/>
                  <a:pt x="109" y="39"/>
                  <a:pt x="109" y="39"/>
                </a:cubicBezTo>
                <a:cubicBezTo>
                  <a:pt x="110" y="39"/>
                  <a:pt x="111" y="40"/>
                  <a:pt x="111" y="41"/>
                </a:cubicBezTo>
                <a:cubicBezTo>
                  <a:pt x="111" y="42"/>
                  <a:pt x="110" y="42"/>
                  <a:pt x="109" y="42"/>
                </a:cubicBezTo>
                <a:close/>
                <a:moveTo>
                  <a:pt x="109" y="36"/>
                </a:moveTo>
                <a:cubicBezTo>
                  <a:pt x="29" y="36"/>
                  <a:pt x="29" y="36"/>
                  <a:pt x="29" y="36"/>
                </a:cubicBezTo>
                <a:cubicBezTo>
                  <a:pt x="28" y="36"/>
                  <a:pt x="27" y="35"/>
                  <a:pt x="27" y="35"/>
                </a:cubicBezTo>
                <a:cubicBezTo>
                  <a:pt x="27" y="34"/>
                  <a:pt x="28" y="33"/>
                  <a:pt x="29" y="33"/>
                </a:cubicBezTo>
                <a:cubicBezTo>
                  <a:pt x="109" y="33"/>
                  <a:pt x="109" y="33"/>
                  <a:pt x="109" y="33"/>
                </a:cubicBezTo>
                <a:cubicBezTo>
                  <a:pt x="110" y="33"/>
                  <a:pt x="111" y="34"/>
                  <a:pt x="111" y="35"/>
                </a:cubicBezTo>
                <a:cubicBezTo>
                  <a:pt x="111" y="35"/>
                  <a:pt x="110" y="36"/>
                  <a:pt x="109" y="36"/>
                </a:cubicBezTo>
                <a:close/>
                <a:moveTo>
                  <a:pt x="109" y="30"/>
                </a:moveTo>
                <a:cubicBezTo>
                  <a:pt x="29" y="30"/>
                  <a:pt x="29" y="30"/>
                  <a:pt x="29" y="30"/>
                </a:cubicBezTo>
                <a:cubicBezTo>
                  <a:pt x="28" y="30"/>
                  <a:pt x="27" y="29"/>
                  <a:pt x="27" y="28"/>
                </a:cubicBezTo>
                <a:cubicBezTo>
                  <a:pt x="27" y="27"/>
                  <a:pt x="28" y="27"/>
                  <a:pt x="29" y="27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10" y="27"/>
                  <a:pt x="111" y="27"/>
                  <a:pt x="111" y="28"/>
                </a:cubicBezTo>
                <a:cubicBezTo>
                  <a:pt x="111" y="29"/>
                  <a:pt x="110" y="30"/>
                  <a:pt x="109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12" name="Oval 95"/>
          <p:cNvSpPr>
            <a:spLocks noChangeArrowheads="1"/>
          </p:cNvSpPr>
          <p:nvPr/>
        </p:nvSpPr>
        <p:spPr bwMode="auto">
          <a:xfrm>
            <a:off x="5446184" y="2588685"/>
            <a:ext cx="48683" cy="296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13" name="Oval 96"/>
          <p:cNvSpPr>
            <a:spLocks noChangeArrowheads="1"/>
          </p:cNvSpPr>
          <p:nvPr/>
        </p:nvSpPr>
        <p:spPr bwMode="auto">
          <a:xfrm>
            <a:off x="5395384" y="2514600"/>
            <a:ext cx="99483" cy="5291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14" name="Oval 97"/>
          <p:cNvSpPr>
            <a:spLocks noChangeArrowheads="1"/>
          </p:cNvSpPr>
          <p:nvPr/>
        </p:nvSpPr>
        <p:spPr bwMode="auto">
          <a:xfrm>
            <a:off x="5825067" y="2588685"/>
            <a:ext cx="48684" cy="296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15" name="Oval 98"/>
          <p:cNvSpPr>
            <a:spLocks noChangeArrowheads="1"/>
          </p:cNvSpPr>
          <p:nvPr/>
        </p:nvSpPr>
        <p:spPr bwMode="auto">
          <a:xfrm>
            <a:off x="5825067" y="2514600"/>
            <a:ext cx="99484" cy="5291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16" name="Freeform 99"/>
          <p:cNvSpPr>
            <a:spLocks/>
          </p:cNvSpPr>
          <p:nvPr/>
        </p:nvSpPr>
        <p:spPr bwMode="auto">
          <a:xfrm>
            <a:off x="6231467" y="2357967"/>
            <a:ext cx="516467" cy="137584"/>
          </a:xfrm>
          <a:custGeom>
            <a:avLst/>
            <a:gdLst>
              <a:gd name="T0" fmla="*/ 307459063 w 244"/>
              <a:gd name="T1" fmla="*/ 0 h 65"/>
              <a:gd name="T2" fmla="*/ 461189388 w 244"/>
              <a:gd name="T3" fmla="*/ 80645391 h 65"/>
              <a:gd name="T4" fmla="*/ 614918125 w 244"/>
              <a:gd name="T5" fmla="*/ 163811744 h 65"/>
              <a:gd name="T6" fmla="*/ 307459063 w 244"/>
              <a:gd name="T7" fmla="*/ 163811744 h 65"/>
              <a:gd name="T8" fmla="*/ 0 w 244"/>
              <a:gd name="T9" fmla="*/ 163811744 h 65"/>
              <a:gd name="T10" fmla="*/ 153730325 w 244"/>
              <a:gd name="T11" fmla="*/ 80645391 h 65"/>
              <a:gd name="T12" fmla="*/ 307459063 w 244"/>
              <a:gd name="T13" fmla="*/ 0 h 6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4" h="65">
                <a:moveTo>
                  <a:pt x="122" y="0"/>
                </a:moveTo>
                <a:lnTo>
                  <a:pt x="183" y="32"/>
                </a:lnTo>
                <a:lnTo>
                  <a:pt x="244" y="65"/>
                </a:lnTo>
                <a:lnTo>
                  <a:pt x="122" y="65"/>
                </a:lnTo>
                <a:lnTo>
                  <a:pt x="0" y="65"/>
                </a:lnTo>
                <a:lnTo>
                  <a:pt x="61" y="32"/>
                </a:lnTo>
                <a:lnTo>
                  <a:pt x="12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17" name="Freeform 100"/>
          <p:cNvSpPr>
            <a:spLocks/>
          </p:cNvSpPr>
          <p:nvPr/>
        </p:nvSpPr>
        <p:spPr bwMode="auto">
          <a:xfrm>
            <a:off x="6294967" y="2514600"/>
            <a:ext cx="50800" cy="264584"/>
          </a:xfrm>
          <a:custGeom>
            <a:avLst/>
            <a:gdLst>
              <a:gd name="T0" fmla="*/ 85388824 w 17"/>
              <a:gd name="T1" fmla="*/ 427133285 h 88"/>
              <a:gd name="T2" fmla="*/ 70319153 w 17"/>
              <a:gd name="T3" fmla="*/ 447473180 h 88"/>
              <a:gd name="T4" fmla="*/ 15069671 w 17"/>
              <a:gd name="T5" fmla="*/ 447473180 h 88"/>
              <a:gd name="T6" fmla="*/ 0 w 17"/>
              <a:gd name="T7" fmla="*/ 427133285 h 88"/>
              <a:gd name="T8" fmla="*/ 0 w 17"/>
              <a:gd name="T9" fmla="*/ 20339895 h 88"/>
              <a:gd name="T10" fmla="*/ 15069671 w 17"/>
              <a:gd name="T11" fmla="*/ 0 h 88"/>
              <a:gd name="T12" fmla="*/ 70319153 w 17"/>
              <a:gd name="T13" fmla="*/ 0 h 88"/>
              <a:gd name="T14" fmla="*/ 85388824 w 17"/>
              <a:gd name="T15" fmla="*/ 20339895 h 88"/>
              <a:gd name="T16" fmla="*/ 85388824 w 17"/>
              <a:gd name="T17" fmla="*/ 427133285 h 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88">
                <a:moveTo>
                  <a:pt x="17" y="84"/>
                </a:moveTo>
                <a:cubicBezTo>
                  <a:pt x="17" y="86"/>
                  <a:pt x="16" y="88"/>
                  <a:pt x="14" y="88"/>
                </a:cubicBezTo>
                <a:cubicBezTo>
                  <a:pt x="3" y="88"/>
                  <a:pt x="3" y="88"/>
                  <a:pt x="3" y="88"/>
                </a:cubicBezTo>
                <a:cubicBezTo>
                  <a:pt x="2" y="88"/>
                  <a:pt x="0" y="86"/>
                  <a:pt x="0" y="84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3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6" y="0"/>
                  <a:pt x="17" y="2"/>
                  <a:pt x="17" y="4"/>
                </a:cubicBezTo>
                <a:lnTo>
                  <a:pt x="17" y="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18" name="Freeform 101"/>
          <p:cNvSpPr>
            <a:spLocks/>
          </p:cNvSpPr>
          <p:nvPr/>
        </p:nvSpPr>
        <p:spPr bwMode="auto">
          <a:xfrm>
            <a:off x="6269567" y="2504018"/>
            <a:ext cx="99484" cy="27516"/>
          </a:xfrm>
          <a:custGeom>
            <a:avLst/>
            <a:gdLst>
              <a:gd name="T0" fmla="*/ 168697732 w 33"/>
              <a:gd name="T1" fmla="*/ 36807236 h 9"/>
              <a:gd name="T2" fmla="*/ 158473490 w 33"/>
              <a:gd name="T3" fmla="*/ 47322934 h 9"/>
              <a:gd name="T4" fmla="*/ 10224242 w 33"/>
              <a:gd name="T5" fmla="*/ 47322934 h 9"/>
              <a:gd name="T6" fmla="*/ 0 w 33"/>
              <a:gd name="T7" fmla="*/ 36807236 h 9"/>
              <a:gd name="T8" fmla="*/ 0 w 33"/>
              <a:gd name="T9" fmla="*/ 15773547 h 9"/>
              <a:gd name="T10" fmla="*/ 10224242 w 33"/>
              <a:gd name="T11" fmla="*/ 0 h 9"/>
              <a:gd name="T12" fmla="*/ 158473490 w 33"/>
              <a:gd name="T13" fmla="*/ 0 h 9"/>
              <a:gd name="T14" fmla="*/ 168697732 w 33"/>
              <a:gd name="T15" fmla="*/ 15773547 h 9"/>
              <a:gd name="T16" fmla="*/ 168697732 w 33"/>
              <a:gd name="T17" fmla="*/ 36807236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9">
                <a:moveTo>
                  <a:pt x="33" y="7"/>
                </a:moveTo>
                <a:cubicBezTo>
                  <a:pt x="33" y="8"/>
                  <a:pt x="32" y="9"/>
                  <a:pt x="31" y="9"/>
                </a:cubicBezTo>
                <a:cubicBezTo>
                  <a:pt x="2" y="9"/>
                  <a:pt x="2" y="9"/>
                  <a:pt x="2" y="9"/>
                </a:cubicBezTo>
                <a:cubicBezTo>
                  <a:pt x="1" y="9"/>
                  <a:pt x="0" y="8"/>
                  <a:pt x="0" y="7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2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2" y="0"/>
                  <a:pt x="33" y="1"/>
                  <a:pt x="33" y="3"/>
                </a:cubicBezTo>
                <a:lnTo>
                  <a:pt x="33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19" name="Oval 102"/>
          <p:cNvSpPr>
            <a:spLocks noChangeArrowheads="1"/>
          </p:cNvSpPr>
          <p:nvPr/>
        </p:nvSpPr>
        <p:spPr bwMode="auto">
          <a:xfrm>
            <a:off x="6254751" y="2504017"/>
            <a:ext cx="46567" cy="486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20" name="Oval 103"/>
          <p:cNvSpPr>
            <a:spLocks noChangeArrowheads="1"/>
          </p:cNvSpPr>
          <p:nvPr/>
        </p:nvSpPr>
        <p:spPr bwMode="auto">
          <a:xfrm>
            <a:off x="6339418" y="2504017"/>
            <a:ext cx="44449" cy="486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21" name="Freeform 104"/>
          <p:cNvSpPr>
            <a:spLocks/>
          </p:cNvSpPr>
          <p:nvPr/>
        </p:nvSpPr>
        <p:spPr bwMode="auto">
          <a:xfrm>
            <a:off x="6462185" y="2514600"/>
            <a:ext cx="55033" cy="264584"/>
          </a:xfrm>
          <a:custGeom>
            <a:avLst/>
            <a:gdLst>
              <a:gd name="T0" fmla="*/ 94645868 w 18"/>
              <a:gd name="T1" fmla="*/ 427133285 h 88"/>
              <a:gd name="T2" fmla="*/ 73613963 w 18"/>
              <a:gd name="T3" fmla="*/ 447473180 h 88"/>
              <a:gd name="T4" fmla="*/ 21031906 w 18"/>
              <a:gd name="T5" fmla="*/ 447473180 h 88"/>
              <a:gd name="T6" fmla="*/ 0 w 18"/>
              <a:gd name="T7" fmla="*/ 427133285 h 88"/>
              <a:gd name="T8" fmla="*/ 0 w 18"/>
              <a:gd name="T9" fmla="*/ 20339895 h 88"/>
              <a:gd name="T10" fmla="*/ 21031906 w 18"/>
              <a:gd name="T11" fmla="*/ 0 h 88"/>
              <a:gd name="T12" fmla="*/ 73613963 w 18"/>
              <a:gd name="T13" fmla="*/ 0 h 88"/>
              <a:gd name="T14" fmla="*/ 94645868 w 18"/>
              <a:gd name="T15" fmla="*/ 20339895 h 88"/>
              <a:gd name="T16" fmla="*/ 94645868 w 18"/>
              <a:gd name="T17" fmla="*/ 427133285 h 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8" h="88">
                <a:moveTo>
                  <a:pt x="18" y="84"/>
                </a:moveTo>
                <a:cubicBezTo>
                  <a:pt x="18" y="86"/>
                  <a:pt x="16" y="88"/>
                  <a:pt x="14" y="88"/>
                </a:cubicBezTo>
                <a:cubicBezTo>
                  <a:pt x="4" y="88"/>
                  <a:pt x="4" y="88"/>
                  <a:pt x="4" y="88"/>
                </a:cubicBezTo>
                <a:cubicBezTo>
                  <a:pt x="2" y="88"/>
                  <a:pt x="0" y="86"/>
                  <a:pt x="0" y="84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6" y="0"/>
                  <a:pt x="18" y="2"/>
                  <a:pt x="18" y="4"/>
                </a:cubicBezTo>
                <a:lnTo>
                  <a:pt x="18" y="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22" name="Freeform 105"/>
          <p:cNvSpPr>
            <a:spLocks/>
          </p:cNvSpPr>
          <p:nvPr/>
        </p:nvSpPr>
        <p:spPr bwMode="auto">
          <a:xfrm>
            <a:off x="6441018" y="2504018"/>
            <a:ext cx="97367" cy="27516"/>
          </a:xfrm>
          <a:custGeom>
            <a:avLst/>
            <a:gdLst>
              <a:gd name="T0" fmla="*/ 166645332 w 32"/>
              <a:gd name="T1" fmla="*/ 36807236 h 9"/>
              <a:gd name="T2" fmla="*/ 156230141 w 32"/>
              <a:gd name="T3" fmla="*/ 47322934 h 9"/>
              <a:gd name="T4" fmla="*/ 10415191 w 32"/>
              <a:gd name="T5" fmla="*/ 47322934 h 9"/>
              <a:gd name="T6" fmla="*/ 0 w 32"/>
              <a:gd name="T7" fmla="*/ 36807236 h 9"/>
              <a:gd name="T8" fmla="*/ 0 w 32"/>
              <a:gd name="T9" fmla="*/ 15773547 h 9"/>
              <a:gd name="T10" fmla="*/ 10415191 w 32"/>
              <a:gd name="T11" fmla="*/ 0 h 9"/>
              <a:gd name="T12" fmla="*/ 156230141 w 32"/>
              <a:gd name="T13" fmla="*/ 0 h 9"/>
              <a:gd name="T14" fmla="*/ 166645332 w 32"/>
              <a:gd name="T15" fmla="*/ 15773547 h 9"/>
              <a:gd name="T16" fmla="*/ 166645332 w 32"/>
              <a:gd name="T17" fmla="*/ 36807236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2" h="9">
                <a:moveTo>
                  <a:pt x="32" y="7"/>
                </a:moveTo>
                <a:cubicBezTo>
                  <a:pt x="32" y="8"/>
                  <a:pt x="31" y="9"/>
                  <a:pt x="30" y="9"/>
                </a:cubicBezTo>
                <a:cubicBezTo>
                  <a:pt x="2" y="9"/>
                  <a:pt x="2" y="9"/>
                  <a:pt x="2" y="9"/>
                </a:cubicBezTo>
                <a:cubicBezTo>
                  <a:pt x="1" y="9"/>
                  <a:pt x="0" y="8"/>
                  <a:pt x="0" y="7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2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1" y="0"/>
                  <a:pt x="32" y="1"/>
                  <a:pt x="32" y="3"/>
                </a:cubicBezTo>
                <a:lnTo>
                  <a:pt x="32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23" name="Oval 106"/>
          <p:cNvSpPr>
            <a:spLocks noChangeArrowheads="1"/>
          </p:cNvSpPr>
          <p:nvPr/>
        </p:nvSpPr>
        <p:spPr bwMode="auto">
          <a:xfrm>
            <a:off x="6426200" y="2504017"/>
            <a:ext cx="42333" cy="486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24" name="Oval 107"/>
          <p:cNvSpPr>
            <a:spLocks noChangeArrowheads="1"/>
          </p:cNvSpPr>
          <p:nvPr/>
        </p:nvSpPr>
        <p:spPr bwMode="auto">
          <a:xfrm>
            <a:off x="6510867" y="2504017"/>
            <a:ext cx="42333" cy="486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25" name="Freeform 108"/>
          <p:cNvSpPr>
            <a:spLocks/>
          </p:cNvSpPr>
          <p:nvPr/>
        </p:nvSpPr>
        <p:spPr bwMode="auto">
          <a:xfrm>
            <a:off x="6633633" y="2514600"/>
            <a:ext cx="50800" cy="264584"/>
          </a:xfrm>
          <a:custGeom>
            <a:avLst/>
            <a:gdLst>
              <a:gd name="T0" fmla="*/ 85388824 w 17"/>
              <a:gd name="T1" fmla="*/ 427133285 h 88"/>
              <a:gd name="T2" fmla="*/ 70319153 w 17"/>
              <a:gd name="T3" fmla="*/ 447473180 h 88"/>
              <a:gd name="T4" fmla="*/ 15069671 w 17"/>
              <a:gd name="T5" fmla="*/ 447473180 h 88"/>
              <a:gd name="T6" fmla="*/ 0 w 17"/>
              <a:gd name="T7" fmla="*/ 427133285 h 88"/>
              <a:gd name="T8" fmla="*/ 0 w 17"/>
              <a:gd name="T9" fmla="*/ 20339895 h 88"/>
              <a:gd name="T10" fmla="*/ 15069671 w 17"/>
              <a:gd name="T11" fmla="*/ 0 h 88"/>
              <a:gd name="T12" fmla="*/ 70319153 w 17"/>
              <a:gd name="T13" fmla="*/ 0 h 88"/>
              <a:gd name="T14" fmla="*/ 85388824 w 17"/>
              <a:gd name="T15" fmla="*/ 20339895 h 88"/>
              <a:gd name="T16" fmla="*/ 85388824 w 17"/>
              <a:gd name="T17" fmla="*/ 427133285 h 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88">
                <a:moveTo>
                  <a:pt x="17" y="84"/>
                </a:moveTo>
                <a:cubicBezTo>
                  <a:pt x="17" y="86"/>
                  <a:pt x="15" y="88"/>
                  <a:pt x="14" y="88"/>
                </a:cubicBezTo>
                <a:cubicBezTo>
                  <a:pt x="3" y="88"/>
                  <a:pt x="3" y="88"/>
                  <a:pt x="3" y="88"/>
                </a:cubicBezTo>
                <a:cubicBezTo>
                  <a:pt x="1" y="88"/>
                  <a:pt x="0" y="86"/>
                  <a:pt x="0" y="84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5" y="0"/>
                  <a:pt x="17" y="2"/>
                  <a:pt x="17" y="4"/>
                </a:cubicBezTo>
                <a:lnTo>
                  <a:pt x="17" y="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26" name="Freeform 109"/>
          <p:cNvSpPr>
            <a:spLocks/>
          </p:cNvSpPr>
          <p:nvPr/>
        </p:nvSpPr>
        <p:spPr bwMode="auto">
          <a:xfrm>
            <a:off x="6610351" y="2504018"/>
            <a:ext cx="99483" cy="27516"/>
          </a:xfrm>
          <a:custGeom>
            <a:avLst/>
            <a:gdLst>
              <a:gd name="T0" fmla="*/ 168695471 w 33"/>
              <a:gd name="T1" fmla="*/ 36807236 h 9"/>
              <a:gd name="T2" fmla="*/ 158471366 w 33"/>
              <a:gd name="T3" fmla="*/ 47322934 h 9"/>
              <a:gd name="T4" fmla="*/ 10224105 w 33"/>
              <a:gd name="T5" fmla="*/ 47322934 h 9"/>
              <a:gd name="T6" fmla="*/ 0 w 33"/>
              <a:gd name="T7" fmla="*/ 36807236 h 9"/>
              <a:gd name="T8" fmla="*/ 0 w 33"/>
              <a:gd name="T9" fmla="*/ 15773547 h 9"/>
              <a:gd name="T10" fmla="*/ 10224105 w 33"/>
              <a:gd name="T11" fmla="*/ 0 h 9"/>
              <a:gd name="T12" fmla="*/ 158471366 w 33"/>
              <a:gd name="T13" fmla="*/ 0 h 9"/>
              <a:gd name="T14" fmla="*/ 168695471 w 33"/>
              <a:gd name="T15" fmla="*/ 15773547 h 9"/>
              <a:gd name="T16" fmla="*/ 168695471 w 33"/>
              <a:gd name="T17" fmla="*/ 36807236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9">
                <a:moveTo>
                  <a:pt x="33" y="7"/>
                </a:moveTo>
                <a:cubicBezTo>
                  <a:pt x="33" y="8"/>
                  <a:pt x="32" y="9"/>
                  <a:pt x="31" y="9"/>
                </a:cubicBezTo>
                <a:cubicBezTo>
                  <a:pt x="2" y="9"/>
                  <a:pt x="2" y="9"/>
                  <a:pt x="2" y="9"/>
                </a:cubicBezTo>
                <a:cubicBezTo>
                  <a:pt x="1" y="9"/>
                  <a:pt x="0" y="8"/>
                  <a:pt x="0" y="7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2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2" y="0"/>
                  <a:pt x="33" y="1"/>
                  <a:pt x="33" y="3"/>
                </a:cubicBezTo>
                <a:lnTo>
                  <a:pt x="33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27" name="Oval 110"/>
          <p:cNvSpPr>
            <a:spLocks noChangeArrowheads="1"/>
          </p:cNvSpPr>
          <p:nvPr/>
        </p:nvSpPr>
        <p:spPr bwMode="auto">
          <a:xfrm>
            <a:off x="6595533" y="2504017"/>
            <a:ext cx="44451" cy="486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28" name="Oval 111"/>
          <p:cNvSpPr>
            <a:spLocks noChangeArrowheads="1"/>
          </p:cNvSpPr>
          <p:nvPr/>
        </p:nvSpPr>
        <p:spPr bwMode="auto">
          <a:xfrm>
            <a:off x="6678085" y="2504017"/>
            <a:ext cx="46567" cy="486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29" name="Freeform 112"/>
          <p:cNvSpPr>
            <a:spLocks/>
          </p:cNvSpPr>
          <p:nvPr/>
        </p:nvSpPr>
        <p:spPr bwMode="auto">
          <a:xfrm>
            <a:off x="6282267" y="2789767"/>
            <a:ext cx="414867" cy="19051"/>
          </a:xfrm>
          <a:custGeom>
            <a:avLst/>
            <a:gdLst>
              <a:gd name="T0" fmla="*/ 701553062 w 138"/>
              <a:gd name="T1" fmla="*/ 17012245 h 6"/>
              <a:gd name="T2" fmla="*/ 686302202 w 138"/>
              <a:gd name="T3" fmla="*/ 34024491 h 6"/>
              <a:gd name="T4" fmla="*/ 15250859 w 138"/>
              <a:gd name="T5" fmla="*/ 34024491 h 6"/>
              <a:gd name="T6" fmla="*/ 0 w 138"/>
              <a:gd name="T7" fmla="*/ 17012245 h 6"/>
              <a:gd name="T8" fmla="*/ 0 w 138"/>
              <a:gd name="T9" fmla="*/ 17012245 h 6"/>
              <a:gd name="T10" fmla="*/ 15250859 w 138"/>
              <a:gd name="T11" fmla="*/ 0 h 6"/>
              <a:gd name="T12" fmla="*/ 686302202 w 138"/>
              <a:gd name="T13" fmla="*/ 0 h 6"/>
              <a:gd name="T14" fmla="*/ 701553062 w 138"/>
              <a:gd name="T15" fmla="*/ 17012245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8" h="6">
                <a:moveTo>
                  <a:pt x="138" y="3"/>
                </a:moveTo>
                <a:cubicBezTo>
                  <a:pt x="138" y="5"/>
                  <a:pt x="137" y="6"/>
                  <a:pt x="135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37" y="0"/>
                  <a:pt x="138" y="1"/>
                  <a:pt x="138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0" name="Freeform 113"/>
          <p:cNvSpPr>
            <a:spLocks/>
          </p:cNvSpPr>
          <p:nvPr/>
        </p:nvSpPr>
        <p:spPr bwMode="auto">
          <a:xfrm>
            <a:off x="6282267" y="2815167"/>
            <a:ext cx="414867" cy="16933"/>
          </a:xfrm>
          <a:custGeom>
            <a:avLst/>
            <a:gdLst>
              <a:gd name="T0" fmla="*/ 701553062 w 138"/>
              <a:gd name="T1" fmla="*/ 13440833 h 6"/>
              <a:gd name="T2" fmla="*/ 686302202 w 138"/>
              <a:gd name="T3" fmla="*/ 26881667 h 6"/>
              <a:gd name="T4" fmla="*/ 15250859 w 138"/>
              <a:gd name="T5" fmla="*/ 26881667 h 6"/>
              <a:gd name="T6" fmla="*/ 0 w 138"/>
              <a:gd name="T7" fmla="*/ 13440833 h 6"/>
              <a:gd name="T8" fmla="*/ 0 w 138"/>
              <a:gd name="T9" fmla="*/ 13440833 h 6"/>
              <a:gd name="T10" fmla="*/ 15250859 w 138"/>
              <a:gd name="T11" fmla="*/ 0 h 6"/>
              <a:gd name="T12" fmla="*/ 686302202 w 138"/>
              <a:gd name="T13" fmla="*/ 0 h 6"/>
              <a:gd name="T14" fmla="*/ 701553062 w 138"/>
              <a:gd name="T15" fmla="*/ 13440833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8" h="6">
                <a:moveTo>
                  <a:pt x="138" y="3"/>
                </a:moveTo>
                <a:cubicBezTo>
                  <a:pt x="138" y="5"/>
                  <a:pt x="137" y="6"/>
                  <a:pt x="135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5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37" y="0"/>
                  <a:pt x="138" y="1"/>
                  <a:pt x="138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1" name="Freeform 114"/>
          <p:cNvSpPr>
            <a:spLocks/>
          </p:cNvSpPr>
          <p:nvPr/>
        </p:nvSpPr>
        <p:spPr bwMode="auto">
          <a:xfrm>
            <a:off x="6282267" y="2838452"/>
            <a:ext cx="414867" cy="19049"/>
          </a:xfrm>
          <a:custGeom>
            <a:avLst/>
            <a:gdLst>
              <a:gd name="T0" fmla="*/ 701553062 w 138"/>
              <a:gd name="T1" fmla="*/ 17011055 h 6"/>
              <a:gd name="T2" fmla="*/ 686302202 w 138"/>
              <a:gd name="T3" fmla="*/ 34022109 h 6"/>
              <a:gd name="T4" fmla="*/ 15250859 w 138"/>
              <a:gd name="T5" fmla="*/ 34022109 h 6"/>
              <a:gd name="T6" fmla="*/ 0 w 138"/>
              <a:gd name="T7" fmla="*/ 17011055 h 6"/>
              <a:gd name="T8" fmla="*/ 0 w 138"/>
              <a:gd name="T9" fmla="*/ 17011055 h 6"/>
              <a:gd name="T10" fmla="*/ 15250859 w 138"/>
              <a:gd name="T11" fmla="*/ 0 h 6"/>
              <a:gd name="T12" fmla="*/ 686302202 w 138"/>
              <a:gd name="T13" fmla="*/ 0 h 6"/>
              <a:gd name="T14" fmla="*/ 701553062 w 138"/>
              <a:gd name="T15" fmla="*/ 17011055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8" h="6">
                <a:moveTo>
                  <a:pt x="138" y="3"/>
                </a:moveTo>
                <a:cubicBezTo>
                  <a:pt x="138" y="4"/>
                  <a:pt x="137" y="6"/>
                  <a:pt x="135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4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135" y="0"/>
                  <a:pt x="135" y="0"/>
                  <a:pt x="135" y="0"/>
                </a:cubicBezTo>
                <a:cubicBezTo>
                  <a:pt x="137" y="0"/>
                  <a:pt x="138" y="1"/>
                  <a:pt x="138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2" name="Freeform 115"/>
          <p:cNvSpPr>
            <a:spLocks/>
          </p:cNvSpPr>
          <p:nvPr/>
        </p:nvSpPr>
        <p:spPr bwMode="auto">
          <a:xfrm>
            <a:off x="7147985" y="2474384"/>
            <a:ext cx="317500" cy="313267"/>
          </a:xfrm>
          <a:custGeom>
            <a:avLst/>
            <a:gdLst>
              <a:gd name="T0" fmla="*/ 333076221 w 106"/>
              <a:gd name="T1" fmla="*/ 0 h 104"/>
              <a:gd name="T2" fmla="*/ 333076221 w 106"/>
              <a:gd name="T3" fmla="*/ 45932725 h 104"/>
              <a:gd name="T4" fmla="*/ 489519853 w 106"/>
              <a:gd name="T5" fmla="*/ 260288454 h 104"/>
              <a:gd name="T6" fmla="*/ 267470537 w 106"/>
              <a:gd name="T7" fmla="*/ 484850953 h 104"/>
              <a:gd name="T8" fmla="*/ 45418974 w 106"/>
              <a:gd name="T9" fmla="*/ 260288454 h 104"/>
              <a:gd name="T10" fmla="*/ 201862606 w 106"/>
              <a:gd name="T11" fmla="*/ 45932725 h 104"/>
              <a:gd name="T12" fmla="*/ 201862606 w 106"/>
              <a:gd name="T13" fmla="*/ 0 h 104"/>
              <a:gd name="T14" fmla="*/ 0 w 106"/>
              <a:gd name="T15" fmla="*/ 260288454 h 104"/>
              <a:gd name="T16" fmla="*/ 267470537 w 106"/>
              <a:gd name="T17" fmla="*/ 530783678 h 104"/>
              <a:gd name="T18" fmla="*/ 534938827 w 106"/>
              <a:gd name="T19" fmla="*/ 260288454 h 104"/>
              <a:gd name="T20" fmla="*/ 333076221 w 106"/>
              <a:gd name="T21" fmla="*/ 0 h 10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6" h="104">
                <a:moveTo>
                  <a:pt x="66" y="0"/>
                </a:moveTo>
                <a:cubicBezTo>
                  <a:pt x="66" y="9"/>
                  <a:pt x="66" y="9"/>
                  <a:pt x="66" y="9"/>
                </a:cubicBezTo>
                <a:cubicBezTo>
                  <a:pt x="84" y="15"/>
                  <a:pt x="97" y="31"/>
                  <a:pt x="97" y="51"/>
                </a:cubicBezTo>
                <a:cubicBezTo>
                  <a:pt x="97" y="75"/>
                  <a:pt x="77" y="95"/>
                  <a:pt x="53" y="95"/>
                </a:cubicBezTo>
                <a:cubicBezTo>
                  <a:pt x="29" y="95"/>
                  <a:pt x="9" y="75"/>
                  <a:pt x="9" y="51"/>
                </a:cubicBezTo>
                <a:cubicBezTo>
                  <a:pt x="9" y="31"/>
                  <a:pt x="22" y="15"/>
                  <a:pt x="40" y="9"/>
                </a:cubicBezTo>
                <a:cubicBezTo>
                  <a:pt x="40" y="0"/>
                  <a:pt x="40" y="0"/>
                  <a:pt x="40" y="0"/>
                </a:cubicBezTo>
                <a:cubicBezTo>
                  <a:pt x="17" y="6"/>
                  <a:pt x="0" y="26"/>
                  <a:pt x="0" y="51"/>
                </a:cubicBezTo>
                <a:cubicBezTo>
                  <a:pt x="0" y="80"/>
                  <a:pt x="24" y="104"/>
                  <a:pt x="53" y="104"/>
                </a:cubicBezTo>
                <a:cubicBezTo>
                  <a:pt x="82" y="104"/>
                  <a:pt x="106" y="80"/>
                  <a:pt x="106" y="51"/>
                </a:cubicBezTo>
                <a:cubicBezTo>
                  <a:pt x="106" y="26"/>
                  <a:pt x="89" y="6"/>
                  <a:pt x="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3" name="Freeform 116"/>
          <p:cNvSpPr>
            <a:spLocks/>
          </p:cNvSpPr>
          <p:nvPr/>
        </p:nvSpPr>
        <p:spPr bwMode="auto">
          <a:xfrm>
            <a:off x="7294033" y="2402418"/>
            <a:ext cx="25400" cy="169333"/>
          </a:xfrm>
          <a:custGeom>
            <a:avLst/>
            <a:gdLst>
              <a:gd name="T0" fmla="*/ 45362813 w 8"/>
              <a:gd name="T1" fmla="*/ 272587357 h 56"/>
              <a:gd name="T2" fmla="*/ 39693056 w 8"/>
              <a:gd name="T3" fmla="*/ 288017857 h 56"/>
              <a:gd name="T4" fmla="*/ 5669756 w 8"/>
              <a:gd name="T5" fmla="*/ 288017857 h 56"/>
              <a:gd name="T6" fmla="*/ 0 w 8"/>
              <a:gd name="T7" fmla="*/ 272587357 h 56"/>
              <a:gd name="T8" fmla="*/ 0 w 8"/>
              <a:gd name="T9" fmla="*/ 15430500 h 56"/>
              <a:gd name="T10" fmla="*/ 5669756 w 8"/>
              <a:gd name="T11" fmla="*/ 0 h 56"/>
              <a:gd name="T12" fmla="*/ 39693056 w 8"/>
              <a:gd name="T13" fmla="*/ 0 h 56"/>
              <a:gd name="T14" fmla="*/ 45362813 w 8"/>
              <a:gd name="T15" fmla="*/ 15430500 h 56"/>
              <a:gd name="T16" fmla="*/ 45362813 w 8"/>
              <a:gd name="T17" fmla="*/ 272587357 h 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" h="56">
                <a:moveTo>
                  <a:pt x="8" y="53"/>
                </a:moveTo>
                <a:cubicBezTo>
                  <a:pt x="8" y="55"/>
                  <a:pt x="8" y="56"/>
                  <a:pt x="7" y="56"/>
                </a:cubicBezTo>
                <a:cubicBezTo>
                  <a:pt x="1" y="56"/>
                  <a:pt x="1" y="56"/>
                  <a:pt x="1" y="56"/>
                </a:cubicBezTo>
                <a:cubicBezTo>
                  <a:pt x="0" y="56"/>
                  <a:pt x="0" y="55"/>
                  <a:pt x="0" y="53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0" y="0"/>
                  <a:pt x="1" y="0"/>
                </a:cubicBezTo>
                <a:cubicBezTo>
                  <a:pt x="7" y="0"/>
                  <a:pt x="7" y="0"/>
                  <a:pt x="7" y="0"/>
                </a:cubicBezTo>
                <a:cubicBezTo>
                  <a:pt x="8" y="0"/>
                  <a:pt x="8" y="2"/>
                  <a:pt x="8" y="3"/>
                </a:cubicBezTo>
                <a:lnTo>
                  <a:pt x="8" y="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4" name="Freeform 117"/>
          <p:cNvSpPr>
            <a:spLocks noEditPoints="1"/>
          </p:cNvSpPr>
          <p:nvPr/>
        </p:nvSpPr>
        <p:spPr bwMode="auto">
          <a:xfrm>
            <a:off x="8144934" y="2700867"/>
            <a:ext cx="342900" cy="135467"/>
          </a:xfrm>
          <a:custGeom>
            <a:avLst/>
            <a:gdLst>
              <a:gd name="T0" fmla="*/ 534364532 w 114"/>
              <a:gd name="T1" fmla="*/ 20389991 h 45"/>
              <a:gd name="T2" fmla="*/ 432579630 w 114"/>
              <a:gd name="T3" fmla="*/ 20389991 h 45"/>
              <a:gd name="T4" fmla="*/ 351154415 w 114"/>
              <a:gd name="T5" fmla="*/ 56074169 h 45"/>
              <a:gd name="T6" fmla="*/ 325707626 w 114"/>
              <a:gd name="T7" fmla="*/ 61169973 h 45"/>
              <a:gd name="T8" fmla="*/ 351154415 w 114"/>
              <a:gd name="T9" fmla="*/ 101952213 h 45"/>
              <a:gd name="T10" fmla="*/ 330796984 w 114"/>
              <a:gd name="T11" fmla="*/ 137634133 h 45"/>
              <a:gd name="T12" fmla="*/ 295171478 w 114"/>
              <a:gd name="T13" fmla="*/ 40779982 h 45"/>
              <a:gd name="T14" fmla="*/ 320618268 w 114"/>
              <a:gd name="T15" fmla="*/ 76464160 h 45"/>
              <a:gd name="T16" fmla="*/ 295171478 w 114"/>
              <a:gd name="T17" fmla="*/ 81559964 h 45"/>
              <a:gd name="T18" fmla="*/ 320618268 w 114"/>
              <a:gd name="T19" fmla="*/ 122342204 h 45"/>
              <a:gd name="T20" fmla="*/ 295171478 w 114"/>
              <a:gd name="T21" fmla="*/ 152926062 h 45"/>
              <a:gd name="T22" fmla="*/ 264637587 w 114"/>
              <a:gd name="T23" fmla="*/ 61169973 h 45"/>
              <a:gd name="T24" fmla="*/ 284995018 w 114"/>
              <a:gd name="T25" fmla="*/ 96854151 h 45"/>
              <a:gd name="T26" fmla="*/ 264637587 w 114"/>
              <a:gd name="T27" fmla="*/ 101952213 h 45"/>
              <a:gd name="T28" fmla="*/ 284995018 w 114"/>
              <a:gd name="T29" fmla="*/ 142732196 h 45"/>
              <a:gd name="T30" fmla="*/ 234101439 w 114"/>
              <a:gd name="T31" fmla="*/ 56074169 h 45"/>
              <a:gd name="T32" fmla="*/ 229012082 w 114"/>
              <a:gd name="T33" fmla="*/ 81559964 h 45"/>
              <a:gd name="T34" fmla="*/ 254458871 w 114"/>
              <a:gd name="T35" fmla="*/ 117244142 h 45"/>
              <a:gd name="T36" fmla="*/ 229012082 w 114"/>
              <a:gd name="T37" fmla="*/ 122342204 h 45"/>
              <a:gd name="T38" fmla="*/ 86516828 w 114"/>
              <a:gd name="T39" fmla="*/ 152926062 h 45"/>
              <a:gd name="T40" fmla="*/ 117050720 w 114"/>
              <a:gd name="T41" fmla="*/ 122342204 h 45"/>
              <a:gd name="T42" fmla="*/ 122140078 w 114"/>
              <a:gd name="T43" fmla="*/ 96854151 h 45"/>
              <a:gd name="T44" fmla="*/ 106872004 w 114"/>
              <a:gd name="T45" fmla="*/ 61169973 h 45"/>
              <a:gd name="T46" fmla="*/ 127229436 w 114"/>
              <a:gd name="T47" fmla="*/ 56074169 h 45"/>
              <a:gd name="T48" fmla="*/ 127229436 w 114"/>
              <a:gd name="T49" fmla="*/ 132536071 h 45"/>
              <a:gd name="T50" fmla="*/ 152676225 w 114"/>
              <a:gd name="T51" fmla="*/ 101952213 h 45"/>
              <a:gd name="T52" fmla="*/ 157765583 w 114"/>
              <a:gd name="T53" fmla="*/ 76464160 h 45"/>
              <a:gd name="T54" fmla="*/ 142497509 w 114"/>
              <a:gd name="T55" fmla="*/ 40779982 h 45"/>
              <a:gd name="T56" fmla="*/ 183210116 w 114"/>
              <a:gd name="T57" fmla="*/ 152926062 h 45"/>
              <a:gd name="T58" fmla="*/ 162852685 w 114"/>
              <a:gd name="T59" fmla="*/ 112146080 h 45"/>
              <a:gd name="T60" fmla="*/ 188299474 w 114"/>
              <a:gd name="T61" fmla="*/ 81559964 h 45"/>
              <a:gd name="T62" fmla="*/ 193388832 w 114"/>
              <a:gd name="T63" fmla="*/ 56074169 h 45"/>
              <a:gd name="T64" fmla="*/ 193388832 w 114"/>
              <a:gd name="T65" fmla="*/ 142732196 h 45"/>
              <a:gd name="T66" fmla="*/ 218835622 w 114"/>
              <a:gd name="T67" fmla="*/ 132536071 h 45"/>
              <a:gd name="T68" fmla="*/ 198478190 w 114"/>
              <a:gd name="T69" fmla="*/ 96854151 h 45"/>
              <a:gd name="T70" fmla="*/ 223924980 w 114"/>
              <a:gd name="T71" fmla="*/ 61169973 h 45"/>
              <a:gd name="T72" fmla="*/ 361330875 w 114"/>
              <a:gd name="T73" fmla="*/ 219194098 h 45"/>
              <a:gd name="T74" fmla="*/ 361330875 w 114"/>
              <a:gd name="T75" fmla="*/ 168220249 h 45"/>
              <a:gd name="T76" fmla="*/ 386777664 w 114"/>
              <a:gd name="T77" fmla="*/ 137634133 h 45"/>
              <a:gd name="T78" fmla="*/ 361330875 w 114"/>
              <a:gd name="T79" fmla="*/ 101952213 h 45"/>
              <a:gd name="T80" fmla="*/ 386777664 w 114"/>
              <a:gd name="T81" fmla="*/ 96854151 h 45"/>
              <a:gd name="T82" fmla="*/ 361330875 w 114"/>
              <a:gd name="T83" fmla="*/ 56074169 h 45"/>
              <a:gd name="T84" fmla="*/ 361330875 w 114"/>
              <a:gd name="T85" fmla="*/ 15291929 h 45"/>
              <a:gd name="T86" fmla="*/ 402045738 w 114"/>
              <a:gd name="T87" fmla="*/ 158024124 h 45"/>
              <a:gd name="T88" fmla="*/ 422400914 w 114"/>
              <a:gd name="T89" fmla="*/ 122342204 h 45"/>
              <a:gd name="T90" fmla="*/ 417313812 w 114"/>
              <a:gd name="T91" fmla="*/ 96854151 h 45"/>
              <a:gd name="T92" fmla="*/ 391867022 w 114"/>
              <a:gd name="T93" fmla="*/ 61169973 h 45"/>
              <a:gd name="T94" fmla="*/ 412224454 w 114"/>
              <a:gd name="T95" fmla="*/ 56074169 h 45"/>
              <a:gd name="T96" fmla="*/ 432579630 w 114"/>
              <a:gd name="T97" fmla="*/ 137634133 h 45"/>
              <a:gd name="T98" fmla="*/ 452937061 w 114"/>
              <a:gd name="T99" fmla="*/ 101952213 h 45"/>
              <a:gd name="T100" fmla="*/ 447847703 w 114"/>
              <a:gd name="T101" fmla="*/ 76464160 h 45"/>
              <a:gd name="T102" fmla="*/ 422400914 w 114"/>
              <a:gd name="T103" fmla="*/ 40779982 h 45"/>
              <a:gd name="T104" fmla="*/ 493649668 w 114"/>
              <a:gd name="T105" fmla="*/ 158024124 h 45"/>
              <a:gd name="T106" fmla="*/ 463115777 w 114"/>
              <a:gd name="T107" fmla="*/ 117244142 h 45"/>
              <a:gd name="T108" fmla="*/ 483470953 w 114"/>
              <a:gd name="T109" fmla="*/ 81559964 h 45"/>
              <a:gd name="T110" fmla="*/ 478383851 w 114"/>
              <a:gd name="T111" fmla="*/ 56074169 h 45"/>
              <a:gd name="T112" fmla="*/ 452937061 w 114"/>
              <a:gd name="T113" fmla="*/ 25488053 h 45"/>
              <a:gd name="T114" fmla="*/ 514007100 w 114"/>
              <a:gd name="T115" fmla="*/ 20389991 h 45"/>
              <a:gd name="T116" fmla="*/ 514007100 w 114"/>
              <a:gd name="T117" fmla="*/ 15291929 h 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14" h="45">
                <a:moveTo>
                  <a:pt x="16" y="0"/>
                </a:moveTo>
                <a:cubicBezTo>
                  <a:pt x="13" y="0"/>
                  <a:pt x="11" y="2"/>
                  <a:pt x="10" y="4"/>
                </a:cubicBezTo>
                <a:cubicBezTo>
                  <a:pt x="1" y="41"/>
                  <a:pt x="1" y="41"/>
                  <a:pt x="1" y="41"/>
                </a:cubicBezTo>
                <a:cubicBezTo>
                  <a:pt x="0" y="43"/>
                  <a:pt x="3" y="45"/>
                  <a:pt x="6" y="45"/>
                </a:cubicBezTo>
                <a:cubicBezTo>
                  <a:pt x="108" y="45"/>
                  <a:pt x="108" y="45"/>
                  <a:pt x="108" y="45"/>
                </a:cubicBezTo>
                <a:cubicBezTo>
                  <a:pt x="112" y="45"/>
                  <a:pt x="114" y="43"/>
                  <a:pt x="113" y="41"/>
                </a:cubicBezTo>
                <a:cubicBezTo>
                  <a:pt x="105" y="4"/>
                  <a:pt x="105" y="4"/>
                  <a:pt x="105" y="4"/>
                </a:cubicBezTo>
                <a:cubicBezTo>
                  <a:pt x="104" y="2"/>
                  <a:pt x="101" y="0"/>
                  <a:pt x="99" y="0"/>
                </a:cubicBezTo>
                <a:lnTo>
                  <a:pt x="16" y="0"/>
                </a:lnTo>
                <a:close/>
                <a:moveTo>
                  <a:pt x="79" y="3"/>
                </a:moveTo>
                <a:cubicBezTo>
                  <a:pt x="79" y="3"/>
                  <a:pt x="79" y="2"/>
                  <a:pt x="80" y="2"/>
                </a:cubicBezTo>
                <a:cubicBezTo>
                  <a:pt x="83" y="2"/>
                  <a:pt x="83" y="2"/>
                  <a:pt x="83" y="2"/>
                </a:cubicBezTo>
                <a:cubicBezTo>
                  <a:pt x="84" y="2"/>
                  <a:pt x="84" y="3"/>
                  <a:pt x="85" y="3"/>
                </a:cubicBezTo>
                <a:cubicBezTo>
                  <a:pt x="85" y="4"/>
                  <a:pt x="85" y="4"/>
                  <a:pt x="85" y="4"/>
                </a:cubicBezTo>
                <a:cubicBezTo>
                  <a:pt x="85" y="5"/>
                  <a:pt x="84" y="5"/>
                  <a:pt x="83" y="5"/>
                </a:cubicBezTo>
                <a:cubicBezTo>
                  <a:pt x="81" y="5"/>
                  <a:pt x="81" y="5"/>
                  <a:pt x="81" y="5"/>
                </a:cubicBezTo>
                <a:cubicBezTo>
                  <a:pt x="80" y="5"/>
                  <a:pt x="79" y="5"/>
                  <a:pt x="79" y="4"/>
                </a:cubicBezTo>
                <a:lnTo>
                  <a:pt x="79" y="3"/>
                </a:lnTo>
                <a:close/>
                <a:moveTo>
                  <a:pt x="64" y="8"/>
                </a:moveTo>
                <a:cubicBezTo>
                  <a:pt x="69" y="8"/>
                  <a:pt x="69" y="8"/>
                  <a:pt x="69" y="8"/>
                </a:cubicBezTo>
                <a:cubicBezTo>
                  <a:pt x="69" y="11"/>
                  <a:pt x="69" y="11"/>
                  <a:pt x="69" y="11"/>
                </a:cubicBezTo>
                <a:cubicBezTo>
                  <a:pt x="64" y="11"/>
                  <a:pt x="64" y="11"/>
                  <a:pt x="64" y="11"/>
                </a:cubicBezTo>
                <a:lnTo>
                  <a:pt x="64" y="8"/>
                </a:lnTo>
                <a:close/>
                <a:moveTo>
                  <a:pt x="64" y="12"/>
                </a:moveTo>
                <a:cubicBezTo>
                  <a:pt x="69" y="12"/>
                  <a:pt x="69" y="12"/>
                  <a:pt x="69" y="12"/>
                </a:cubicBezTo>
                <a:cubicBezTo>
                  <a:pt x="69" y="15"/>
                  <a:pt x="69" y="15"/>
                  <a:pt x="69" y="15"/>
                </a:cubicBezTo>
                <a:cubicBezTo>
                  <a:pt x="65" y="15"/>
                  <a:pt x="65" y="15"/>
                  <a:pt x="65" y="15"/>
                </a:cubicBezTo>
                <a:lnTo>
                  <a:pt x="64" y="12"/>
                </a:lnTo>
                <a:close/>
                <a:moveTo>
                  <a:pt x="65" y="16"/>
                </a:moveTo>
                <a:cubicBezTo>
                  <a:pt x="69" y="16"/>
                  <a:pt x="69" y="16"/>
                  <a:pt x="69" y="16"/>
                </a:cubicBezTo>
                <a:cubicBezTo>
                  <a:pt x="69" y="19"/>
                  <a:pt x="69" y="19"/>
                  <a:pt x="69" y="19"/>
                </a:cubicBezTo>
                <a:cubicBezTo>
                  <a:pt x="65" y="19"/>
                  <a:pt x="65" y="19"/>
                  <a:pt x="65" y="19"/>
                </a:cubicBezTo>
                <a:lnTo>
                  <a:pt x="65" y="16"/>
                </a:lnTo>
                <a:close/>
                <a:moveTo>
                  <a:pt x="65" y="20"/>
                </a:moveTo>
                <a:cubicBezTo>
                  <a:pt x="69" y="20"/>
                  <a:pt x="69" y="20"/>
                  <a:pt x="69" y="20"/>
                </a:cubicBezTo>
                <a:cubicBezTo>
                  <a:pt x="70" y="23"/>
                  <a:pt x="70" y="23"/>
                  <a:pt x="70" y="23"/>
                </a:cubicBezTo>
                <a:cubicBezTo>
                  <a:pt x="65" y="23"/>
                  <a:pt x="65" y="23"/>
                  <a:pt x="65" y="23"/>
                </a:cubicBezTo>
                <a:lnTo>
                  <a:pt x="65" y="20"/>
                </a:lnTo>
                <a:close/>
                <a:moveTo>
                  <a:pt x="65" y="24"/>
                </a:moveTo>
                <a:cubicBezTo>
                  <a:pt x="70" y="24"/>
                  <a:pt x="70" y="24"/>
                  <a:pt x="70" y="24"/>
                </a:cubicBezTo>
                <a:cubicBezTo>
                  <a:pt x="70" y="27"/>
                  <a:pt x="70" y="27"/>
                  <a:pt x="70" y="27"/>
                </a:cubicBezTo>
                <a:cubicBezTo>
                  <a:pt x="65" y="27"/>
                  <a:pt x="65" y="27"/>
                  <a:pt x="65" y="27"/>
                </a:cubicBezTo>
                <a:lnTo>
                  <a:pt x="65" y="24"/>
                </a:lnTo>
                <a:close/>
                <a:moveTo>
                  <a:pt x="65" y="28"/>
                </a:moveTo>
                <a:cubicBezTo>
                  <a:pt x="70" y="28"/>
                  <a:pt x="70" y="28"/>
                  <a:pt x="70" y="28"/>
                </a:cubicBezTo>
                <a:cubicBezTo>
                  <a:pt x="70" y="31"/>
                  <a:pt x="70" y="31"/>
                  <a:pt x="70" y="31"/>
                </a:cubicBezTo>
                <a:cubicBezTo>
                  <a:pt x="65" y="31"/>
                  <a:pt x="65" y="31"/>
                  <a:pt x="65" y="31"/>
                </a:cubicBezTo>
                <a:lnTo>
                  <a:pt x="65" y="28"/>
                </a:lnTo>
                <a:close/>
                <a:moveTo>
                  <a:pt x="58" y="8"/>
                </a:moveTo>
                <a:cubicBezTo>
                  <a:pt x="63" y="8"/>
                  <a:pt x="63" y="8"/>
                  <a:pt x="63" y="8"/>
                </a:cubicBezTo>
                <a:cubicBezTo>
                  <a:pt x="63" y="11"/>
                  <a:pt x="63" y="11"/>
                  <a:pt x="63" y="11"/>
                </a:cubicBezTo>
                <a:cubicBezTo>
                  <a:pt x="58" y="11"/>
                  <a:pt x="58" y="11"/>
                  <a:pt x="58" y="11"/>
                </a:cubicBezTo>
                <a:lnTo>
                  <a:pt x="58" y="8"/>
                </a:lnTo>
                <a:close/>
                <a:moveTo>
                  <a:pt x="58" y="12"/>
                </a:moveTo>
                <a:cubicBezTo>
                  <a:pt x="63" y="12"/>
                  <a:pt x="63" y="12"/>
                  <a:pt x="63" y="12"/>
                </a:cubicBezTo>
                <a:cubicBezTo>
                  <a:pt x="63" y="15"/>
                  <a:pt x="63" y="15"/>
                  <a:pt x="63" y="15"/>
                </a:cubicBezTo>
                <a:cubicBezTo>
                  <a:pt x="58" y="15"/>
                  <a:pt x="58" y="15"/>
                  <a:pt x="58" y="15"/>
                </a:cubicBezTo>
                <a:lnTo>
                  <a:pt x="58" y="12"/>
                </a:lnTo>
                <a:close/>
                <a:moveTo>
                  <a:pt x="58" y="16"/>
                </a:moveTo>
                <a:cubicBezTo>
                  <a:pt x="63" y="16"/>
                  <a:pt x="63" y="16"/>
                  <a:pt x="63" y="16"/>
                </a:cubicBezTo>
                <a:cubicBezTo>
                  <a:pt x="63" y="19"/>
                  <a:pt x="63" y="19"/>
                  <a:pt x="63" y="19"/>
                </a:cubicBezTo>
                <a:cubicBezTo>
                  <a:pt x="58" y="19"/>
                  <a:pt x="58" y="19"/>
                  <a:pt x="58" y="19"/>
                </a:cubicBezTo>
                <a:lnTo>
                  <a:pt x="58" y="16"/>
                </a:lnTo>
                <a:close/>
                <a:moveTo>
                  <a:pt x="58" y="20"/>
                </a:moveTo>
                <a:cubicBezTo>
                  <a:pt x="63" y="20"/>
                  <a:pt x="63" y="20"/>
                  <a:pt x="63" y="20"/>
                </a:cubicBezTo>
                <a:cubicBezTo>
                  <a:pt x="63" y="23"/>
                  <a:pt x="63" y="23"/>
                  <a:pt x="63" y="23"/>
                </a:cubicBezTo>
                <a:cubicBezTo>
                  <a:pt x="58" y="23"/>
                  <a:pt x="58" y="23"/>
                  <a:pt x="58" y="23"/>
                </a:cubicBezTo>
                <a:lnTo>
                  <a:pt x="58" y="20"/>
                </a:lnTo>
                <a:close/>
                <a:moveTo>
                  <a:pt x="58" y="24"/>
                </a:moveTo>
                <a:cubicBezTo>
                  <a:pt x="63" y="24"/>
                  <a:pt x="63" y="24"/>
                  <a:pt x="63" y="24"/>
                </a:cubicBezTo>
                <a:cubicBezTo>
                  <a:pt x="63" y="27"/>
                  <a:pt x="63" y="27"/>
                  <a:pt x="63" y="27"/>
                </a:cubicBezTo>
                <a:cubicBezTo>
                  <a:pt x="58" y="27"/>
                  <a:pt x="58" y="27"/>
                  <a:pt x="58" y="27"/>
                </a:cubicBezTo>
                <a:lnTo>
                  <a:pt x="58" y="24"/>
                </a:lnTo>
                <a:close/>
                <a:moveTo>
                  <a:pt x="58" y="28"/>
                </a:moveTo>
                <a:cubicBezTo>
                  <a:pt x="63" y="28"/>
                  <a:pt x="63" y="28"/>
                  <a:pt x="63" y="28"/>
                </a:cubicBezTo>
                <a:cubicBezTo>
                  <a:pt x="63" y="31"/>
                  <a:pt x="63" y="31"/>
                  <a:pt x="63" y="31"/>
                </a:cubicBezTo>
                <a:cubicBezTo>
                  <a:pt x="58" y="30"/>
                  <a:pt x="58" y="30"/>
                  <a:pt x="58" y="30"/>
                </a:cubicBezTo>
                <a:lnTo>
                  <a:pt x="58" y="28"/>
                </a:lnTo>
                <a:close/>
                <a:moveTo>
                  <a:pt x="52" y="8"/>
                </a:moveTo>
                <a:cubicBezTo>
                  <a:pt x="57" y="8"/>
                  <a:pt x="57" y="8"/>
                  <a:pt x="57" y="8"/>
                </a:cubicBezTo>
                <a:cubicBezTo>
                  <a:pt x="57" y="11"/>
                  <a:pt x="57" y="11"/>
                  <a:pt x="57" y="11"/>
                </a:cubicBezTo>
                <a:cubicBezTo>
                  <a:pt x="52" y="11"/>
                  <a:pt x="52" y="11"/>
                  <a:pt x="52" y="11"/>
                </a:cubicBezTo>
                <a:lnTo>
                  <a:pt x="52" y="8"/>
                </a:lnTo>
                <a:close/>
                <a:moveTo>
                  <a:pt x="52" y="12"/>
                </a:moveTo>
                <a:cubicBezTo>
                  <a:pt x="56" y="12"/>
                  <a:pt x="56" y="12"/>
                  <a:pt x="56" y="12"/>
                </a:cubicBezTo>
                <a:cubicBezTo>
                  <a:pt x="56" y="15"/>
                  <a:pt x="56" y="15"/>
                  <a:pt x="56" y="15"/>
                </a:cubicBezTo>
                <a:cubicBezTo>
                  <a:pt x="52" y="15"/>
                  <a:pt x="52" y="15"/>
                  <a:pt x="52" y="15"/>
                </a:cubicBezTo>
                <a:lnTo>
                  <a:pt x="52" y="12"/>
                </a:lnTo>
                <a:close/>
                <a:moveTo>
                  <a:pt x="52" y="16"/>
                </a:moveTo>
                <a:cubicBezTo>
                  <a:pt x="56" y="16"/>
                  <a:pt x="56" y="16"/>
                  <a:pt x="56" y="16"/>
                </a:cubicBezTo>
                <a:cubicBezTo>
                  <a:pt x="56" y="19"/>
                  <a:pt x="56" y="19"/>
                  <a:pt x="56" y="19"/>
                </a:cubicBezTo>
                <a:cubicBezTo>
                  <a:pt x="52" y="19"/>
                  <a:pt x="52" y="19"/>
                  <a:pt x="52" y="19"/>
                </a:cubicBezTo>
                <a:lnTo>
                  <a:pt x="52" y="16"/>
                </a:lnTo>
                <a:close/>
                <a:moveTo>
                  <a:pt x="52" y="20"/>
                </a:moveTo>
                <a:cubicBezTo>
                  <a:pt x="56" y="20"/>
                  <a:pt x="56" y="20"/>
                  <a:pt x="56" y="20"/>
                </a:cubicBezTo>
                <a:cubicBezTo>
                  <a:pt x="56" y="23"/>
                  <a:pt x="56" y="23"/>
                  <a:pt x="56" y="23"/>
                </a:cubicBezTo>
                <a:cubicBezTo>
                  <a:pt x="52" y="23"/>
                  <a:pt x="52" y="23"/>
                  <a:pt x="52" y="23"/>
                </a:cubicBezTo>
                <a:lnTo>
                  <a:pt x="52" y="20"/>
                </a:lnTo>
                <a:close/>
                <a:moveTo>
                  <a:pt x="52" y="24"/>
                </a:moveTo>
                <a:cubicBezTo>
                  <a:pt x="56" y="24"/>
                  <a:pt x="56" y="24"/>
                  <a:pt x="56" y="24"/>
                </a:cubicBezTo>
                <a:cubicBezTo>
                  <a:pt x="56" y="27"/>
                  <a:pt x="56" y="27"/>
                  <a:pt x="56" y="27"/>
                </a:cubicBezTo>
                <a:cubicBezTo>
                  <a:pt x="51" y="26"/>
                  <a:pt x="51" y="26"/>
                  <a:pt x="51" y="26"/>
                </a:cubicBezTo>
                <a:lnTo>
                  <a:pt x="52" y="24"/>
                </a:lnTo>
                <a:close/>
                <a:moveTo>
                  <a:pt x="51" y="28"/>
                </a:moveTo>
                <a:cubicBezTo>
                  <a:pt x="56" y="28"/>
                  <a:pt x="56" y="28"/>
                  <a:pt x="56" y="28"/>
                </a:cubicBezTo>
                <a:cubicBezTo>
                  <a:pt x="56" y="30"/>
                  <a:pt x="56" y="30"/>
                  <a:pt x="56" y="30"/>
                </a:cubicBezTo>
                <a:cubicBezTo>
                  <a:pt x="51" y="30"/>
                  <a:pt x="51" y="30"/>
                  <a:pt x="51" y="30"/>
                </a:cubicBezTo>
                <a:lnTo>
                  <a:pt x="51" y="28"/>
                </a:lnTo>
                <a:close/>
                <a:moveTo>
                  <a:pt x="46" y="8"/>
                </a:moveTo>
                <a:cubicBezTo>
                  <a:pt x="50" y="8"/>
                  <a:pt x="50" y="8"/>
                  <a:pt x="50" y="8"/>
                </a:cubicBezTo>
                <a:cubicBezTo>
                  <a:pt x="50" y="11"/>
                  <a:pt x="50" y="11"/>
                  <a:pt x="50" y="11"/>
                </a:cubicBezTo>
                <a:cubicBezTo>
                  <a:pt x="46" y="11"/>
                  <a:pt x="46" y="11"/>
                  <a:pt x="46" y="11"/>
                </a:cubicBezTo>
                <a:lnTo>
                  <a:pt x="46" y="8"/>
                </a:lnTo>
                <a:close/>
                <a:moveTo>
                  <a:pt x="46" y="12"/>
                </a:moveTo>
                <a:cubicBezTo>
                  <a:pt x="50" y="12"/>
                  <a:pt x="50" y="12"/>
                  <a:pt x="50" y="12"/>
                </a:cubicBezTo>
                <a:cubicBezTo>
                  <a:pt x="50" y="15"/>
                  <a:pt x="50" y="15"/>
                  <a:pt x="50" y="15"/>
                </a:cubicBezTo>
                <a:cubicBezTo>
                  <a:pt x="46" y="15"/>
                  <a:pt x="46" y="15"/>
                  <a:pt x="46" y="15"/>
                </a:cubicBezTo>
                <a:lnTo>
                  <a:pt x="46" y="12"/>
                </a:lnTo>
                <a:close/>
                <a:moveTo>
                  <a:pt x="45" y="16"/>
                </a:moveTo>
                <a:cubicBezTo>
                  <a:pt x="50" y="16"/>
                  <a:pt x="50" y="16"/>
                  <a:pt x="50" y="16"/>
                </a:cubicBezTo>
                <a:cubicBezTo>
                  <a:pt x="50" y="19"/>
                  <a:pt x="50" y="19"/>
                  <a:pt x="50" y="19"/>
                </a:cubicBezTo>
                <a:cubicBezTo>
                  <a:pt x="45" y="19"/>
                  <a:pt x="45" y="19"/>
                  <a:pt x="45" y="19"/>
                </a:cubicBezTo>
                <a:lnTo>
                  <a:pt x="45" y="16"/>
                </a:lnTo>
                <a:close/>
                <a:moveTo>
                  <a:pt x="45" y="20"/>
                </a:moveTo>
                <a:cubicBezTo>
                  <a:pt x="50" y="20"/>
                  <a:pt x="50" y="20"/>
                  <a:pt x="50" y="20"/>
                </a:cubicBezTo>
                <a:cubicBezTo>
                  <a:pt x="50" y="23"/>
                  <a:pt x="50" y="23"/>
                  <a:pt x="50" y="23"/>
                </a:cubicBezTo>
                <a:cubicBezTo>
                  <a:pt x="45" y="23"/>
                  <a:pt x="45" y="23"/>
                  <a:pt x="45" y="23"/>
                </a:cubicBezTo>
                <a:lnTo>
                  <a:pt x="45" y="20"/>
                </a:lnTo>
                <a:close/>
                <a:moveTo>
                  <a:pt x="45" y="24"/>
                </a:moveTo>
                <a:cubicBezTo>
                  <a:pt x="50" y="24"/>
                  <a:pt x="50" y="24"/>
                  <a:pt x="50" y="24"/>
                </a:cubicBezTo>
                <a:cubicBezTo>
                  <a:pt x="50" y="26"/>
                  <a:pt x="50" y="26"/>
                  <a:pt x="50" y="26"/>
                </a:cubicBezTo>
                <a:cubicBezTo>
                  <a:pt x="45" y="26"/>
                  <a:pt x="45" y="26"/>
                  <a:pt x="45" y="26"/>
                </a:cubicBezTo>
                <a:lnTo>
                  <a:pt x="45" y="24"/>
                </a:lnTo>
                <a:close/>
                <a:moveTo>
                  <a:pt x="45" y="28"/>
                </a:moveTo>
                <a:cubicBezTo>
                  <a:pt x="50" y="28"/>
                  <a:pt x="50" y="28"/>
                  <a:pt x="50" y="28"/>
                </a:cubicBezTo>
                <a:cubicBezTo>
                  <a:pt x="49" y="30"/>
                  <a:pt x="49" y="30"/>
                  <a:pt x="49" y="30"/>
                </a:cubicBezTo>
                <a:cubicBezTo>
                  <a:pt x="44" y="30"/>
                  <a:pt x="44" y="30"/>
                  <a:pt x="44" y="30"/>
                </a:cubicBezTo>
                <a:lnTo>
                  <a:pt x="45" y="28"/>
                </a:lnTo>
                <a:close/>
                <a:moveTo>
                  <a:pt x="22" y="30"/>
                </a:moveTo>
                <a:cubicBezTo>
                  <a:pt x="17" y="30"/>
                  <a:pt x="17" y="30"/>
                  <a:pt x="17" y="30"/>
                </a:cubicBezTo>
                <a:cubicBezTo>
                  <a:pt x="18" y="27"/>
                  <a:pt x="18" y="27"/>
                  <a:pt x="18" y="27"/>
                </a:cubicBezTo>
                <a:cubicBezTo>
                  <a:pt x="23" y="27"/>
                  <a:pt x="23" y="27"/>
                  <a:pt x="23" y="27"/>
                </a:cubicBezTo>
                <a:lnTo>
                  <a:pt x="22" y="30"/>
                </a:lnTo>
                <a:close/>
                <a:moveTo>
                  <a:pt x="23" y="26"/>
                </a:moveTo>
                <a:cubicBezTo>
                  <a:pt x="18" y="26"/>
                  <a:pt x="18" y="26"/>
                  <a:pt x="18" y="26"/>
                </a:cubicBezTo>
                <a:cubicBezTo>
                  <a:pt x="18" y="24"/>
                  <a:pt x="18" y="24"/>
                  <a:pt x="18" y="24"/>
                </a:cubicBezTo>
                <a:cubicBezTo>
                  <a:pt x="23" y="24"/>
                  <a:pt x="23" y="24"/>
                  <a:pt x="23" y="24"/>
                </a:cubicBezTo>
                <a:lnTo>
                  <a:pt x="23" y="26"/>
                </a:lnTo>
                <a:close/>
                <a:moveTo>
                  <a:pt x="23" y="22"/>
                </a:moveTo>
                <a:cubicBezTo>
                  <a:pt x="19" y="22"/>
                  <a:pt x="19" y="22"/>
                  <a:pt x="19" y="22"/>
                </a:cubicBezTo>
                <a:cubicBezTo>
                  <a:pt x="19" y="20"/>
                  <a:pt x="19" y="20"/>
                  <a:pt x="19" y="20"/>
                </a:cubicBezTo>
                <a:cubicBezTo>
                  <a:pt x="24" y="20"/>
                  <a:pt x="24" y="20"/>
                  <a:pt x="24" y="20"/>
                </a:cubicBezTo>
                <a:lnTo>
                  <a:pt x="23" y="22"/>
                </a:lnTo>
                <a:close/>
                <a:moveTo>
                  <a:pt x="24" y="19"/>
                </a:moveTo>
                <a:cubicBezTo>
                  <a:pt x="19" y="18"/>
                  <a:pt x="19" y="18"/>
                  <a:pt x="19" y="18"/>
                </a:cubicBezTo>
                <a:cubicBezTo>
                  <a:pt x="20" y="16"/>
                  <a:pt x="20" y="16"/>
                  <a:pt x="20" y="16"/>
                </a:cubicBezTo>
                <a:cubicBezTo>
                  <a:pt x="25" y="16"/>
                  <a:pt x="25" y="16"/>
                  <a:pt x="25" y="16"/>
                </a:cubicBezTo>
                <a:lnTo>
                  <a:pt x="24" y="19"/>
                </a:lnTo>
                <a:close/>
                <a:moveTo>
                  <a:pt x="25" y="15"/>
                </a:moveTo>
                <a:cubicBezTo>
                  <a:pt x="20" y="15"/>
                  <a:pt x="20" y="15"/>
                  <a:pt x="20" y="15"/>
                </a:cubicBezTo>
                <a:cubicBezTo>
                  <a:pt x="21" y="12"/>
                  <a:pt x="21" y="12"/>
                  <a:pt x="21" y="12"/>
                </a:cubicBezTo>
                <a:cubicBezTo>
                  <a:pt x="25" y="12"/>
                  <a:pt x="25" y="12"/>
                  <a:pt x="25" y="12"/>
                </a:cubicBezTo>
                <a:lnTo>
                  <a:pt x="25" y="15"/>
                </a:lnTo>
                <a:close/>
                <a:moveTo>
                  <a:pt x="25" y="11"/>
                </a:moveTo>
                <a:cubicBezTo>
                  <a:pt x="21" y="11"/>
                  <a:pt x="21" y="11"/>
                  <a:pt x="21" y="11"/>
                </a:cubicBezTo>
                <a:cubicBezTo>
                  <a:pt x="21" y="8"/>
                  <a:pt x="21" y="8"/>
                  <a:pt x="21" y="8"/>
                </a:cubicBezTo>
                <a:cubicBezTo>
                  <a:pt x="26" y="8"/>
                  <a:pt x="26" y="8"/>
                  <a:pt x="26" y="8"/>
                </a:cubicBezTo>
                <a:lnTo>
                  <a:pt x="25" y="11"/>
                </a:lnTo>
                <a:close/>
                <a:moveTo>
                  <a:pt x="29" y="30"/>
                </a:moveTo>
                <a:cubicBezTo>
                  <a:pt x="24" y="30"/>
                  <a:pt x="24" y="30"/>
                  <a:pt x="24" y="30"/>
                </a:cubicBezTo>
                <a:cubicBezTo>
                  <a:pt x="24" y="27"/>
                  <a:pt x="24" y="27"/>
                  <a:pt x="24" y="27"/>
                </a:cubicBezTo>
                <a:cubicBezTo>
                  <a:pt x="29" y="28"/>
                  <a:pt x="29" y="28"/>
                  <a:pt x="29" y="28"/>
                </a:cubicBezTo>
                <a:lnTo>
                  <a:pt x="29" y="30"/>
                </a:lnTo>
                <a:close/>
                <a:moveTo>
                  <a:pt x="29" y="26"/>
                </a:moveTo>
                <a:cubicBezTo>
                  <a:pt x="25" y="26"/>
                  <a:pt x="25" y="26"/>
                  <a:pt x="25" y="26"/>
                </a:cubicBezTo>
                <a:cubicBezTo>
                  <a:pt x="25" y="24"/>
                  <a:pt x="25" y="24"/>
                  <a:pt x="25" y="24"/>
                </a:cubicBezTo>
                <a:cubicBezTo>
                  <a:pt x="30" y="24"/>
                  <a:pt x="30" y="24"/>
                  <a:pt x="30" y="24"/>
                </a:cubicBezTo>
                <a:lnTo>
                  <a:pt x="29" y="26"/>
                </a:lnTo>
                <a:close/>
                <a:moveTo>
                  <a:pt x="30" y="22"/>
                </a:moveTo>
                <a:cubicBezTo>
                  <a:pt x="25" y="22"/>
                  <a:pt x="25" y="22"/>
                  <a:pt x="25" y="22"/>
                </a:cubicBezTo>
                <a:cubicBezTo>
                  <a:pt x="26" y="20"/>
                  <a:pt x="26" y="20"/>
                  <a:pt x="26" y="20"/>
                </a:cubicBezTo>
                <a:cubicBezTo>
                  <a:pt x="30" y="20"/>
                  <a:pt x="30" y="20"/>
                  <a:pt x="30" y="20"/>
                </a:cubicBezTo>
                <a:lnTo>
                  <a:pt x="30" y="22"/>
                </a:lnTo>
                <a:close/>
                <a:moveTo>
                  <a:pt x="31" y="19"/>
                </a:moveTo>
                <a:cubicBezTo>
                  <a:pt x="26" y="19"/>
                  <a:pt x="26" y="19"/>
                  <a:pt x="26" y="19"/>
                </a:cubicBezTo>
                <a:cubicBezTo>
                  <a:pt x="26" y="16"/>
                  <a:pt x="26" y="16"/>
                  <a:pt x="26" y="16"/>
                </a:cubicBezTo>
                <a:cubicBezTo>
                  <a:pt x="31" y="16"/>
                  <a:pt x="31" y="16"/>
                  <a:pt x="31" y="16"/>
                </a:cubicBezTo>
                <a:lnTo>
                  <a:pt x="31" y="19"/>
                </a:lnTo>
                <a:close/>
                <a:moveTo>
                  <a:pt x="31" y="15"/>
                </a:moveTo>
                <a:cubicBezTo>
                  <a:pt x="26" y="15"/>
                  <a:pt x="26" y="15"/>
                  <a:pt x="26" y="15"/>
                </a:cubicBezTo>
                <a:cubicBezTo>
                  <a:pt x="27" y="12"/>
                  <a:pt x="27" y="12"/>
                  <a:pt x="27" y="12"/>
                </a:cubicBezTo>
                <a:cubicBezTo>
                  <a:pt x="31" y="12"/>
                  <a:pt x="31" y="12"/>
                  <a:pt x="31" y="12"/>
                </a:cubicBezTo>
                <a:lnTo>
                  <a:pt x="31" y="15"/>
                </a:lnTo>
                <a:close/>
                <a:moveTo>
                  <a:pt x="32" y="11"/>
                </a:moveTo>
                <a:cubicBezTo>
                  <a:pt x="27" y="11"/>
                  <a:pt x="27" y="11"/>
                  <a:pt x="27" y="11"/>
                </a:cubicBezTo>
                <a:cubicBezTo>
                  <a:pt x="28" y="8"/>
                  <a:pt x="28" y="8"/>
                  <a:pt x="28" y="8"/>
                </a:cubicBezTo>
                <a:cubicBezTo>
                  <a:pt x="32" y="8"/>
                  <a:pt x="32" y="8"/>
                  <a:pt x="32" y="8"/>
                </a:cubicBezTo>
                <a:lnTo>
                  <a:pt x="32" y="11"/>
                </a:lnTo>
                <a:close/>
                <a:moveTo>
                  <a:pt x="36" y="30"/>
                </a:moveTo>
                <a:cubicBezTo>
                  <a:pt x="31" y="30"/>
                  <a:pt x="31" y="30"/>
                  <a:pt x="31" y="30"/>
                </a:cubicBezTo>
                <a:cubicBezTo>
                  <a:pt x="31" y="28"/>
                  <a:pt x="31" y="28"/>
                  <a:pt x="31" y="28"/>
                </a:cubicBezTo>
                <a:cubicBezTo>
                  <a:pt x="36" y="28"/>
                  <a:pt x="36" y="28"/>
                  <a:pt x="36" y="28"/>
                </a:cubicBezTo>
                <a:lnTo>
                  <a:pt x="36" y="30"/>
                </a:lnTo>
                <a:close/>
                <a:moveTo>
                  <a:pt x="36" y="26"/>
                </a:moveTo>
                <a:cubicBezTo>
                  <a:pt x="31" y="26"/>
                  <a:pt x="31" y="26"/>
                  <a:pt x="31" y="26"/>
                </a:cubicBezTo>
                <a:cubicBezTo>
                  <a:pt x="32" y="24"/>
                  <a:pt x="32" y="24"/>
                  <a:pt x="32" y="24"/>
                </a:cubicBezTo>
                <a:cubicBezTo>
                  <a:pt x="36" y="24"/>
                  <a:pt x="36" y="24"/>
                  <a:pt x="36" y="24"/>
                </a:cubicBezTo>
                <a:lnTo>
                  <a:pt x="36" y="26"/>
                </a:lnTo>
                <a:close/>
                <a:moveTo>
                  <a:pt x="37" y="22"/>
                </a:moveTo>
                <a:cubicBezTo>
                  <a:pt x="32" y="22"/>
                  <a:pt x="32" y="22"/>
                  <a:pt x="32" y="22"/>
                </a:cubicBezTo>
                <a:cubicBezTo>
                  <a:pt x="32" y="20"/>
                  <a:pt x="32" y="20"/>
                  <a:pt x="32" y="20"/>
                </a:cubicBezTo>
                <a:cubicBezTo>
                  <a:pt x="37" y="20"/>
                  <a:pt x="37" y="20"/>
                  <a:pt x="37" y="20"/>
                </a:cubicBezTo>
                <a:lnTo>
                  <a:pt x="37" y="22"/>
                </a:lnTo>
                <a:close/>
                <a:moveTo>
                  <a:pt x="37" y="19"/>
                </a:moveTo>
                <a:cubicBezTo>
                  <a:pt x="32" y="19"/>
                  <a:pt x="32" y="19"/>
                  <a:pt x="32" y="19"/>
                </a:cubicBezTo>
                <a:cubicBezTo>
                  <a:pt x="33" y="16"/>
                  <a:pt x="33" y="16"/>
                  <a:pt x="33" y="16"/>
                </a:cubicBezTo>
                <a:cubicBezTo>
                  <a:pt x="37" y="16"/>
                  <a:pt x="37" y="16"/>
                  <a:pt x="37" y="16"/>
                </a:cubicBezTo>
                <a:lnTo>
                  <a:pt x="37" y="19"/>
                </a:lnTo>
                <a:close/>
                <a:moveTo>
                  <a:pt x="37" y="15"/>
                </a:moveTo>
                <a:cubicBezTo>
                  <a:pt x="33" y="15"/>
                  <a:pt x="33" y="15"/>
                  <a:pt x="33" y="15"/>
                </a:cubicBezTo>
                <a:cubicBezTo>
                  <a:pt x="33" y="12"/>
                  <a:pt x="33" y="12"/>
                  <a:pt x="33" y="12"/>
                </a:cubicBezTo>
                <a:cubicBezTo>
                  <a:pt x="38" y="12"/>
                  <a:pt x="38" y="12"/>
                  <a:pt x="38" y="12"/>
                </a:cubicBezTo>
                <a:lnTo>
                  <a:pt x="37" y="15"/>
                </a:lnTo>
                <a:close/>
                <a:moveTo>
                  <a:pt x="38" y="11"/>
                </a:moveTo>
                <a:cubicBezTo>
                  <a:pt x="33" y="11"/>
                  <a:pt x="33" y="11"/>
                  <a:pt x="33" y="11"/>
                </a:cubicBezTo>
                <a:cubicBezTo>
                  <a:pt x="34" y="8"/>
                  <a:pt x="34" y="8"/>
                  <a:pt x="34" y="8"/>
                </a:cubicBezTo>
                <a:cubicBezTo>
                  <a:pt x="38" y="8"/>
                  <a:pt x="38" y="8"/>
                  <a:pt x="38" y="8"/>
                </a:cubicBezTo>
                <a:lnTo>
                  <a:pt x="38" y="11"/>
                </a:lnTo>
                <a:close/>
                <a:moveTo>
                  <a:pt x="43" y="30"/>
                </a:moveTo>
                <a:cubicBezTo>
                  <a:pt x="38" y="30"/>
                  <a:pt x="38" y="30"/>
                  <a:pt x="38" y="30"/>
                </a:cubicBezTo>
                <a:cubicBezTo>
                  <a:pt x="38" y="28"/>
                  <a:pt x="38" y="28"/>
                  <a:pt x="38" y="28"/>
                </a:cubicBezTo>
                <a:cubicBezTo>
                  <a:pt x="43" y="28"/>
                  <a:pt x="43" y="28"/>
                  <a:pt x="43" y="28"/>
                </a:cubicBezTo>
                <a:lnTo>
                  <a:pt x="43" y="30"/>
                </a:lnTo>
                <a:close/>
                <a:moveTo>
                  <a:pt x="43" y="26"/>
                </a:moveTo>
                <a:cubicBezTo>
                  <a:pt x="38" y="26"/>
                  <a:pt x="38" y="26"/>
                  <a:pt x="38" y="26"/>
                </a:cubicBezTo>
                <a:cubicBezTo>
                  <a:pt x="38" y="24"/>
                  <a:pt x="38" y="24"/>
                  <a:pt x="38" y="24"/>
                </a:cubicBezTo>
                <a:cubicBezTo>
                  <a:pt x="43" y="24"/>
                  <a:pt x="43" y="24"/>
                  <a:pt x="43" y="24"/>
                </a:cubicBezTo>
                <a:lnTo>
                  <a:pt x="43" y="26"/>
                </a:lnTo>
                <a:close/>
                <a:moveTo>
                  <a:pt x="43" y="23"/>
                </a:moveTo>
                <a:cubicBezTo>
                  <a:pt x="38" y="22"/>
                  <a:pt x="38" y="22"/>
                  <a:pt x="38" y="22"/>
                </a:cubicBezTo>
                <a:cubicBezTo>
                  <a:pt x="39" y="20"/>
                  <a:pt x="39" y="20"/>
                  <a:pt x="39" y="20"/>
                </a:cubicBezTo>
                <a:cubicBezTo>
                  <a:pt x="43" y="20"/>
                  <a:pt x="43" y="20"/>
                  <a:pt x="43" y="20"/>
                </a:cubicBezTo>
                <a:lnTo>
                  <a:pt x="43" y="23"/>
                </a:lnTo>
                <a:close/>
                <a:moveTo>
                  <a:pt x="43" y="19"/>
                </a:moveTo>
                <a:cubicBezTo>
                  <a:pt x="39" y="19"/>
                  <a:pt x="39" y="19"/>
                  <a:pt x="39" y="19"/>
                </a:cubicBezTo>
                <a:cubicBezTo>
                  <a:pt x="39" y="16"/>
                  <a:pt x="39" y="16"/>
                  <a:pt x="39" y="16"/>
                </a:cubicBezTo>
                <a:cubicBezTo>
                  <a:pt x="44" y="16"/>
                  <a:pt x="44" y="16"/>
                  <a:pt x="44" y="16"/>
                </a:cubicBezTo>
                <a:lnTo>
                  <a:pt x="43" y="19"/>
                </a:lnTo>
                <a:close/>
                <a:moveTo>
                  <a:pt x="44" y="15"/>
                </a:moveTo>
                <a:cubicBezTo>
                  <a:pt x="39" y="15"/>
                  <a:pt x="39" y="15"/>
                  <a:pt x="39" y="15"/>
                </a:cubicBezTo>
                <a:cubicBezTo>
                  <a:pt x="39" y="12"/>
                  <a:pt x="39" y="12"/>
                  <a:pt x="39" y="12"/>
                </a:cubicBezTo>
                <a:cubicBezTo>
                  <a:pt x="44" y="12"/>
                  <a:pt x="44" y="12"/>
                  <a:pt x="44" y="12"/>
                </a:cubicBezTo>
                <a:lnTo>
                  <a:pt x="44" y="15"/>
                </a:lnTo>
                <a:close/>
                <a:moveTo>
                  <a:pt x="44" y="11"/>
                </a:moveTo>
                <a:cubicBezTo>
                  <a:pt x="40" y="11"/>
                  <a:pt x="40" y="11"/>
                  <a:pt x="40" y="11"/>
                </a:cubicBezTo>
                <a:cubicBezTo>
                  <a:pt x="40" y="8"/>
                  <a:pt x="40" y="8"/>
                  <a:pt x="40" y="8"/>
                </a:cubicBezTo>
                <a:cubicBezTo>
                  <a:pt x="44" y="8"/>
                  <a:pt x="44" y="8"/>
                  <a:pt x="44" y="8"/>
                </a:cubicBezTo>
                <a:lnTo>
                  <a:pt x="44" y="11"/>
                </a:lnTo>
                <a:close/>
                <a:moveTo>
                  <a:pt x="71" y="43"/>
                </a:moveTo>
                <a:cubicBezTo>
                  <a:pt x="71" y="44"/>
                  <a:pt x="71" y="44"/>
                  <a:pt x="70" y="44"/>
                </a:cubicBezTo>
                <a:cubicBezTo>
                  <a:pt x="45" y="44"/>
                  <a:pt x="45" y="44"/>
                  <a:pt x="45" y="44"/>
                </a:cubicBezTo>
                <a:cubicBezTo>
                  <a:pt x="44" y="44"/>
                  <a:pt x="43" y="44"/>
                  <a:pt x="43" y="43"/>
                </a:cubicBezTo>
                <a:cubicBezTo>
                  <a:pt x="44" y="33"/>
                  <a:pt x="44" y="33"/>
                  <a:pt x="44" y="33"/>
                </a:cubicBezTo>
                <a:cubicBezTo>
                  <a:pt x="44" y="32"/>
                  <a:pt x="44" y="32"/>
                  <a:pt x="45" y="32"/>
                </a:cubicBezTo>
                <a:cubicBezTo>
                  <a:pt x="69" y="32"/>
                  <a:pt x="69" y="32"/>
                  <a:pt x="69" y="32"/>
                </a:cubicBezTo>
                <a:cubicBezTo>
                  <a:pt x="70" y="32"/>
                  <a:pt x="71" y="32"/>
                  <a:pt x="71" y="33"/>
                </a:cubicBezTo>
                <a:lnTo>
                  <a:pt x="71" y="43"/>
                </a:lnTo>
                <a:close/>
                <a:moveTo>
                  <a:pt x="77" y="31"/>
                </a:moveTo>
                <a:cubicBezTo>
                  <a:pt x="72" y="31"/>
                  <a:pt x="72" y="31"/>
                  <a:pt x="72" y="31"/>
                </a:cubicBezTo>
                <a:cubicBezTo>
                  <a:pt x="72" y="28"/>
                  <a:pt x="72" y="28"/>
                  <a:pt x="72" y="28"/>
                </a:cubicBezTo>
                <a:cubicBezTo>
                  <a:pt x="77" y="28"/>
                  <a:pt x="77" y="28"/>
                  <a:pt x="77" y="28"/>
                </a:cubicBezTo>
                <a:lnTo>
                  <a:pt x="77" y="31"/>
                </a:lnTo>
                <a:close/>
                <a:moveTo>
                  <a:pt x="76" y="27"/>
                </a:moveTo>
                <a:cubicBezTo>
                  <a:pt x="72" y="27"/>
                  <a:pt x="72" y="27"/>
                  <a:pt x="72" y="27"/>
                </a:cubicBezTo>
                <a:cubicBezTo>
                  <a:pt x="71" y="24"/>
                  <a:pt x="71" y="24"/>
                  <a:pt x="71" y="24"/>
                </a:cubicBezTo>
                <a:cubicBezTo>
                  <a:pt x="76" y="24"/>
                  <a:pt x="76" y="24"/>
                  <a:pt x="76" y="24"/>
                </a:cubicBezTo>
                <a:lnTo>
                  <a:pt x="76" y="27"/>
                </a:lnTo>
                <a:close/>
                <a:moveTo>
                  <a:pt x="76" y="23"/>
                </a:moveTo>
                <a:cubicBezTo>
                  <a:pt x="71" y="23"/>
                  <a:pt x="71" y="23"/>
                  <a:pt x="71" y="23"/>
                </a:cubicBezTo>
                <a:cubicBezTo>
                  <a:pt x="71" y="20"/>
                  <a:pt x="71" y="20"/>
                  <a:pt x="71" y="20"/>
                </a:cubicBezTo>
                <a:cubicBezTo>
                  <a:pt x="76" y="20"/>
                  <a:pt x="76" y="20"/>
                  <a:pt x="76" y="20"/>
                </a:cubicBezTo>
                <a:lnTo>
                  <a:pt x="76" y="23"/>
                </a:lnTo>
                <a:close/>
                <a:moveTo>
                  <a:pt x="76" y="19"/>
                </a:moveTo>
                <a:cubicBezTo>
                  <a:pt x="71" y="19"/>
                  <a:pt x="71" y="19"/>
                  <a:pt x="71" y="19"/>
                </a:cubicBezTo>
                <a:cubicBezTo>
                  <a:pt x="71" y="16"/>
                  <a:pt x="71" y="16"/>
                  <a:pt x="71" y="16"/>
                </a:cubicBezTo>
                <a:cubicBezTo>
                  <a:pt x="76" y="16"/>
                  <a:pt x="76" y="16"/>
                  <a:pt x="76" y="16"/>
                </a:cubicBezTo>
                <a:lnTo>
                  <a:pt x="76" y="19"/>
                </a:lnTo>
                <a:close/>
                <a:moveTo>
                  <a:pt x="75" y="15"/>
                </a:moveTo>
                <a:cubicBezTo>
                  <a:pt x="71" y="15"/>
                  <a:pt x="71" y="15"/>
                  <a:pt x="71" y="15"/>
                </a:cubicBezTo>
                <a:cubicBezTo>
                  <a:pt x="71" y="12"/>
                  <a:pt x="71" y="12"/>
                  <a:pt x="71" y="12"/>
                </a:cubicBezTo>
                <a:cubicBezTo>
                  <a:pt x="75" y="12"/>
                  <a:pt x="75" y="12"/>
                  <a:pt x="75" y="12"/>
                </a:cubicBezTo>
                <a:lnTo>
                  <a:pt x="75" y="15"/>
                </a:lnTo>
                <a:close/>
                <a:moveTo>
                  <a:pt x="75" y="11"/>
                </a:moveTo>
                <a:cubicBezTo>
                  <a:pt x="71" y="11"/>
                  <a:pt x="71" y="11"/>
                  <a:pt x="71" y="11"/>
                </a:cubicBezTo>
                <a:cubicBezTo>
                  <a:pt x="70" y="8"/>
                  <a:pt x="70" y="8"/>
                  <a:pt x="70" y="8"/>
                </a:cubicBezTo>
                <a:cubicBezTo>
                  <a:pt x="75" y="8"/>
                  <a:pt x="75" y="8"/>
                  <a:pt x="75" y="8"/>
                </a:cubicBezTo>
                <a:lnTo>
                  <a:pt x="75" y="11"/>
                </a:lnTo>
                <a:close/>
                <a:moveTo>
                  <a:pt x="75" y="5"/>
                </a:moveTo>
                <a:cubicBezTo>
                  <a:pt x="72" y="5"/>
                  <a:pt x="72" y="5"/>
                  <a:pt x="72" y="5"/>
                </a:cubicBezTo>
                <a:cubicBezTo>
                  <a:pt x="72" y="5"/>
                  <a:pt x="71" y="5"/>
                  <a:pt x="71" y="4"/>
                </a:cubicBezTo>
                <a:cubicBezTo>
                  <a:pt x="71" y="3"/>
                  <a:pt x="71" y="3"/>
                  <a:pt x="71" y="3"/>
                </a:cubicBezTo>
                <a:cubicBezTo>
                  <a:pt x="71" y="3"/>
                  <a:pt x="71" y="2"/>
                  <a:pt x="72" y="2"/>
                </a:cubicBezTo>
                <a:cubicBezTo>
                  <a:pt x="75" y="2"/>
                  <a:pt x="75" y="2"/>
                  <a:pt x="75" y="2"/>
                </a:cubicBezTo>
                <a:cubicBezTo>
                  <a:pt x="76" y="2"/>
                  <a:pt x="76" y="3"/>
                  <a:pt x="76" y="3"/>
                </a:cubicBezTo>
                <a:cubicBezTo>
                  <a:pt x="77" y="4"/>
                  <a:pt x="77" y="4"/>
                  <a:pt x="77" y="4"/>
                </a:cubicBezTo>
                <a:cubicBezTo>
                  <a:pt x="77" y="5"/>
                  <a:pt x="76" y="5"/>
                  <a:pt x="75" y="5"/>
                </a:cubicBezTo>
                <a:close/>
                <a:moveTo>
                  <a:pt x="84" y="31"/>
                </a:moveTo>
                <a:cubicBezTo>
                  <a:pt x="79" y="31"/>
                  <a:pt x="79" y="31"/>
                  <a:pt x="79" y="31"/>
                </a:cubicBezTo>
                <a:cubicBezTo>
                  <a:pt x="78" y="28"/>
                  <a:pt x="78" y="28"/>
                  <a:pt x="78" y="28"/>
                </a:cubicBezTo>
                <a:cubicBezTo>
                  <a:pt x="83" y="28"/>
                  <a:pt x="83" y="28"/>
                  <a:pt x="83" y="28"/>
                </a:cubicBezTo>
                <a:lnTo>
                  <a:pt x="84" y="31"/>
                </a:lnTo>
                <a:close/>
                <a:moveTo>
                  <a:pt x="83" y="27"/>
                </a:moveTo>
                <a:cubicBezTo>
                  <a:pt x="78" y="27"/>
                  <a:pt x="78" y="27"/>
                  <a:pt x="78" y="27"/>
                </a:cubicBezTo>
                <a:cubicBezTo>
                  <a:pt x="78" y="24"/>
                  <a:pt x="78" y="24"/>
                  <a:pt x="78" y="24"/>
                </a:cubicBezTo>
                <a:cubicBezTo>
                  <a:pt x="83" y="24"/>
                  <a:pt x="83" y="24"/>
                  <a:pt x="83" y="24"/>
                </a:cubicBezTo>
                <a:lnTo>
                  <a:pt x="83" y="27"/>
                </a:lnTo>
                <a:close/>
                <a:moveTo>
                  <a:pt x="83" y="23"/>
                </a:moveTo>
                <a:cubicBezTo>
                  <a:pt x="78" y="23"/>
                  <a:pt x="78" y="23"/>
                  <a:pt x="78" y="23"/>
                </a:cubicBezTo>
                <a:cubicBezTo>
                  <a:pt x="78" y="20"/>
                  <a:pt x="78" y="20"/>
                  <a:pt x="78" y="20"/>
                </a:cubicBezTo>
                <a:cubicBezTo>
                  <a:pt x="82" y="20"/>
                  <a:pt x="82" y="20"/>
                  <a:pt x="82" y="20"/>
                </a:cubicBezTo>
                <a:lnTo>
                  <a:pt x="83" y="23"/>
                </a:lnTo>
                <a:close/>
                <a:moveTo>
                  <a:pt x="82" y="19"/>
                </a:moveTo>
                <a:cubicBezTo>
                  <a:pt x="78" y="19"/>
                  <a:pt x="78" y="19"/>
                  <a:pt x="78" y="19"/>
                </a:cubicBezTo>
                <a:cubicBezTo>
                  <a:pt x="77" y="16"/>
                  <a:pt x="77" y="16"/>
                  <a:pt x="77" y="16"/>
                </a:cubicBezTo>
                <a:cubicBezTo>
                  <a:pt x="82" y="16"/>
                  <a:pt x="82" y="16"/>
                  <a:pt x="82" y="16"/>
                </a:cubicBezTo>
                <a:lnTo>
                  <a:pt x="82" y="19"/>
                </a:lnTo>
                <a:close/>
                <a:moveTo>
                  <a:pt x="82" y="15"/>
                </a:moveTo>
                <a:cubicBezTo>
                  <a:pt x="77" y="15"/>
                  <a:pt x="77" y="15"/>
                  <a:pt x="77" y="15"/>
                </a:cubicBezTo>
                <a:cubicBezTo>
                  <a:pt x="77" y="12"/>
                  <a:pt x="77" y="12"/>
                  <a:pt x="77" y="12"/>
                </a:cubicBezTo>
                <a:cubicBezTo>
                  <a:pt x="81" y="12"/>
                  <a:pt x="81" y="12"/>
                  <a:pt x="81" y="12"/>
                </a:cubicBezTo>
                <a:lnTo>
                  <a:pt x="82" y="15"/>
                </a:lnTo>
                <a:close/>
                <a:moveTo>
                  <a:pt x="81" y="11"/>
                </a:moveTo>
                <a:cubicBezTo>
                  <a:pt x="77" y="11"/>
                  <a:pt x="77" y="11"/>
                  <a:pt x="77" y="11"/>
                </a:cubicBezTo>
                <a:cubicBezTo>
                  <a:pt x="77" y="8"/>
                  <a:pt x="77" y="8"/>
                  <a:pt x="77" y="8"/>
                </a:cubicBezTo>
                <a:cubicBezTo>
                  <a:pt x="81" y="8"/>
                  <a:pt x="81" y="8"/>
                  <a:pt x="81" y="8"/>
                </a:cubicBezTo>
                <a:lnTo>
                  <a:pt x="81" y="11"/>
                </a:lnTo>
                <a:close/>
                <a:moveTo>
                  <a:pt x="90" y="31"/>
                </a:moveTo>
                <a:cubicBezTo>
                  <a:pt x="85" y="31"/>
                  <a:pt x="85" y="31"/>
                  <a:pt x="85" y="31"/>
                </a:cubicBezTo>
                <a:cubicBezTo>
                  <a:pt x="85" y="28"/>
                  <a:pt x="85" y="28"/>
                  <a:pt x="85" y="28"/>
                </a:cubicBezTo>
                <a:cubicBezTo>
                  <a:pt x="90" y="28"/>
                  <a:pt x="90" y="28"/>
                  <a:pt x="90" y="28"/>
                </a:cubicBezTo>
                <a:lnTo>
                  <a:pt x="90" y="31"/>
                </a:lnTo>
                <a:close/>
                <a:moveTo>
                  <a:pt x="90" y="27"/>
                </a:moveTo>
                <a:cubicBezTo>
                  <a:pt x="85" y="27"/>
                  <a:pt x="85" y="27"/>
                  <a:pt x="85" y="27"/>
                </a:cubicBezTo>
                <a:cubicBezTo>
                  <a:pt x="85" y="24"/>
                  <a:pt x="85" y="24"/>
                  <a:pt x="85" y="24"/>
                </a:cubicBezTo>
                <a:cubicBezTo>
                  <a:pt x="89" y="24"/>
                  <a:pt x="89" y="24"/>
                  <a:pt x="89" y="24"/>
                </a:cubicBezTo>
                <a:lnTo>
                  <a:pt x="90" y="27"/>
                </a:lnTo>
                <a:close/>
                <a:moveTo>
                  <a:pt x="89" y="23"/>
                </a:moveTo>
                <a:cubicBezTo>
                  <a:pt x="84" y="23"/>
                  <a:pt x="84" y="23"/>
                  <a:pt x="84" y="23"/>
                </a:cubicBezTo>
                <a:cubicBezTo>
                  <a:pt x="84" y="20"/>
                  <a:pt x="84" y="20"/>
                  <a:pt x="84" y="20"/>
                </a:cubicBezTo>
                <a:cubicBezTo>
                  <a:pt x="89" y="20"/>
                  <a:pt x="89" y="20"/>
                  <a:pt x="89" y="20"/>
                </a:cubicBezTo>
                <a:lnTo>
                  <a:pt x="89" y="23"/>
                </a:lnTo>
                <a:close/>
                <a:moveTo>
                  <a:pt x="89" y="19"/>
                </a:moveTo>
                <a:cubicBezTo>
                  <a:pt x="84" y="19"/>
                  <a:pt x="84" y="19"/>
                  <a:pt x="84" y="19"/>
                </a:cubicBezTo>
                <a:cubicBezTo>
                  <a:pt x="84" y="16"/>
                  <a:pt x="84" y="16"/>
                  <a:pt x="84" y="16"/>
                </a:cubicBezTo>
                <a:cubicBezTo>
                  <a:pt x="88" y="16"/>
                  <a:pt x="88" y="16"/>
                  <a:pt x="88" y="16"/>
                </a:cubicBezTo>
                <a:lnTo>
                  <a:pt x="89" y="19"/>
                </a:lnTo>
                <a:close/>
                <a:moveTo>
                  <a:pt x="88" y="15"/>
                </a:moveTo>
                <a:cubicBezTo>
                  <a:pt x="84" y="15"/>
                  <a:pt x="84" y="15"/>
                  <a:pt x="84" y="15"/>
                </a:cubicBezTo>
                <a:cubicBezTo>
                  <a:pt x="83" y="12"/>
                  <a:pt x="83" y="12"/>
                  <a:pt x="83" y="12"/>
                </a:cubicBezTo>
                <a:cubicBezTo>
                  <a:pt x="88" y="12"/>
                  <a:pt x="88" y="12"/>
                  <a:pt x="88" y="12"/>
                </a:cubicBezTo>
                <a:lnTo>
                  <a:pt x="88" y="15"/>
                </a:lnTo>
                <a:close/>
                <a:moveTo>
                  <a:pt x="88" y="11"/>
                </a:moveTo>
                <a:cubicBezTo>
                  <a:pt x="83" y="11"/>
                  <a:pt x="83" y="11"/>
                  <a:pt x="83" y="11"/>
                </a:cubicBezTo>
                <a:cubicBezTo>
                  <a:pt x="83" y="8"/>
                  <a:pt x="83" y="8"/>
                  <a:pt x="83" y="8"/>
                </a:cubicBezTo>
                <a:cubicBezTo>
                  <a:pt x="87" y="8"/>
                  <a:pt x="87" y="8"/>
                  <a:pt x="87" y="8"/>
                </a:cubicBezTo>
                <a:lnTo>
                  <a:pt x="88" y="11"/>
                </a:lnTo>
                <a:close/>
                <a:moveTo>
                  <a:pt x="97" y="31"/>
                </a:moveTo>
                <a:cubicBezTo>
                  <a:pt x="92" y="31"/>
                  <a:pt x="92" y="31"/>
                  <a:pt x="92" y="31"/>
                </a:cubicBezTo>
                <a:cubicBezTo>
                  <a:pt x="92" y="28"/>
                  <a:pt x="92" y="28"/>
                  <a:pt x="92" y="28"/>
                </a:cubicBezTo>
                <a:cubicBezTo>
                  <a:pt x="97" y="28"/>
                  <a:pt x="97" y="28"/>
                  <a:pt x="97" y="28"/>
                </a:cubicBezTo>
                <a:lnTo>
                  <a:pt x="97" y="31"/>
                </a:lnTo>
                <a:close/>
                <a:moveTo>
                  <a:pt x="97" y="27"/>
                </a:moveTo>
                <a:cubicBezTo>
                  <a:pt x="92" y="27"/>
                  <a:pt x="92" y="27"/>
                  <a:pt x="92" y="27"/>
                </a:cubicBezTo>
                <a:cubicBezTo>
                  <a:pt x="91" y="24"/>
                  <a:pt x="91" y="24"/>
                  <a:pt x="91" y="24"/>
                </a:cubicBezTo>
                <a:cubicBezTo>
                  <a:pt x="96" y="24"/>
                  <a:pt x="96" y="24"/>
                  <a:pt x="96" y="24"/>
                </a:cubicBezTo>
                <a:lnTo>
                  <a:pt x="97" y="27"/>
                </a:lnTo>
                <a:close/>
                <a:moveTo>
                  <a:pt x="96" y="23"/>
                </a:moveTo>
                <a:cubicBezTo>
                  <a:pt x="91" y="23"/>
                  <a:pt x="91" y="23"/>
                  <a:pt x="91" y="23"/>
                </a:cubicBezTo>
                <a:cubicBezTo>
                  <a:pt x="91" y="20"/>
                  <a:pt x="91" y="20"/>
                  <a:pt x="91" y="20"/>
                </a:cubicBezTo>
                <a:cubicBezTo>
                  <a:pt x="95" y="20"/>
                  <a:pt x="95" y="20"/>
                  <a:pt x="95" y="20"/>
                </a:cubicBezTo>
                <a:lnTo>
                  <a:pt x="96" y="23"/>
                </a:lnTo>
                <a:close/>
                <a:moveTo>
                  <a:pt x="95" y="19"/>
                </a:moveTo>
                <a:cubicBezTo>
                  <a:pt x="90" y="19"/>
                  <a:pt x="90" y="19"/>
                  <a:pt x="90" y="19"/>
                </a:cubicBezTo>
                <a:cubicBezTo>
                  <a:pt x="90" y="16"/>
                  <a:pt x="90" y="16"/>
                  <a:pt x="90" y="16"/>
                </a:cubicBezTo>
                <a:cubicBezTo>
                  <a:pt x="95" y="16"/>
                  <a:pt x="95" y="16"/>
                  <a:pt x="95" y="16"/>
                </a:cubicBezTo>
                <a:lnTo>
                  <a:pt x="95" y="19"/>
                </a:lnTo>
                <a:close/>
                <a:moveTo>
                  <a:pt x="94" y="15"/>
                </a:moveTo>
                <a:cubicBezTo>
                  <a:pt x="90" y="15"/>
                  <a:pt x="90" y="15"/>
                  <a:pt x="90" y="15"/>
                </a:cubicBezTo>
                <a:cubicBezTo>
                  <a:pt x="89" y="12"/>
                  <a:pt x="89" y="12"/>
                  <a:pt x="89" y="12"/>
                </a:cubicBezTo>
                <a:cubicBezTo>
                  <a:pt x="94" y="12"/>
                  <a:pt x="94" y="12"/>
                  <a:pt x="94" y="12"/>
                </a:cubicBezTo>
                <a:lnTo>
                  <a:pt x="94" y="15"/>
                </a:lnTo>
                <a:close/>
                <a:moveTo>
                  <a:pt x="94" y="11"/>
                </a:moveTo>
                <a:cubicBezTo>
                  <a:pt x="89" y="11"/>
                  <a:pt x="89" y="11"/>
                  <a:pt x="89" y="11"/>
                </a:cubicBezTo>
                <a:cubicBezTo>
                  <a:pt x="89" y="8"/>
                  <a:pt x="89" y="8"/>
                  <a:pt x="89" y="8"/>
                </a:cubicBezTo>
                <a:cubicBezTo>
                  <a:pt x="93" y="8"/>
                  <a:pt x="93" y="8"/>
                  <a:pt x="93" y="8"/>
                </a:cubicBezTo>
                <a:lnTo>
                  <a:pt x="94" y="11"/>
                </a:lnTo>
                <a:close/>
                <a:moveTo>
                  <a:pt x="93" y="4"/>
                </a:moveTo>
                <a:cubicBezTo>
                  <a:pt x="93" y="5"/>
                  <a:pt x="92" y="5"/>
                  <a:pt x="91" y="5"/>
                </a:cubicBezTo>
                <a:cubicBezTo>
                  <a:pt x="89" y="5"/>
                  <a:pt x="89" y="5"/>
                  <a:pt x="89" y="5"/>
                </a:cubicBezTo>
                <a:cubicBezTo>
                  <a:pt x="88" y="5"/>
                  <a:pt x="87" y="5"/>
                  <a:pt x="87" y="4"/>
                </a:cubicBezTo>
                <a:cubicBezTo>
                  <a:pt x="87" y="3"/>
                  <a:pt x="87" y="3"/>
                  <a:pt x="87" y="3"/>
                </a:cubicBezTo>
                <a:cubicBezTo>
                  <a:pt x="87" y="3"/>
                  <a:pt x="87" y="2"/>
                  <a:pt x="88" y="2"/>
                </a:cubicBezTo>
                <a:cubicBezTo>
                  <a:pt x="91" y="2"/>
                  <a:pt x="91" y="2"/>
                  <a:pt x="91" y="2"/>
                </a:cubicBezTo>
                <a:cubicBezTo>
                  <a:pt x="92" y="2"/>
                  <a:pt x="92" y="3"/>
                  <a:pt x="92" y="3"/>
                </a:cubicBezTo>
                <a:lnTo>
                  <a:pt x="93" y="4"/>
                </a:lnTo>
                <a:close/>
                <a:moveTo>
                  <a:pt x="101" y="4"/>
                </a:moveTo>
                <a:cubicBezTo>
                  <a:pt x="101" y="5"/>
                  <a:pt x="100" y="5"/>
                  <a:pt x="100" y="5"/>
                </a:cubicBezTo>
                <a:cubicBezTo>
                  <a:pt x="97" y="5"/>
                  <a:pt x="97" y="5"/>
                  <a:pt x="97" y="5"/>
                </a:cubicBezTo>
                <a:cubicBezTo>
                  <a:pt x="96" y="5"/>
                  <a:pt x="95" y="5"/>
                  <a:pt x="95" y="4"/>
                </a:cubicBezTo>
                <a:cubicBezTo>
                  <a:pt x="95" y="3"/>
                  <a:pt x="95" y="3"/>
                  <a:pt x="95" y="3"/>
                </a:cubicBezTo>
                <a:cubicBezTo>
                  <a:pt x="95" y="3"/>
                  <a:pt x="95" y="2"/>
                  <a:pt x="96" y="2"/>
                </a:cubicBezTo>
                <a:cubicBezTo>
                  <a:pt x="99" y="2"/>
                  <a:pt x="99" y="2"/>
                  <a:pt x="99" y="2"/>
                </a:cubicBezTo>
                <a:cubicBezTo>
                  <a:pt x="100" y="2"/>
                  <a:pt x="100" y="3"/>
                  <a:pt x="101" y="3"/>
                </a:cubicBezTo>
                <a:lnTo>
                  <a:pt x="101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5" name="Freeform 118"/>
          <p:cNvSpPr>
            <a:spLocks noEditPoints="1"/>
          </p:cNvSpPr>
          <p:nvPr/>
        </p:nvSpPr>
        <p:spPr bwMode="auto">
          <a:xfrm>
            <a:off x="8180918" y="2497667"/>
            <a:ext cx="273049" cy="196851"/>
          </a:xfrm>
          <a:custGeom>
            <a:avLst/>
            <a:gdLst>
              <a:gd name="T0" fmla="*/ 450724935 w 91"/>
              <a:gd name="T1" fmla="*/ 0 h 65"/>
              <a:gd name="T2" fmla="*/ 10129080 w 91"/>
              <a:gd name="T3" fmla="*/ 0 h 65"/>
              <a:gd name="T4" fmla="*/ 0 w 91"/>
              <a:gd name="T5" fmla="*/ 10318761 h 65"/>
              <a:gd name="T6" fmla="*/ 0 w 91"/>
              <a:gd name="T7" fmla="*/ 325019379 h 65"/>
              <a:gd name="T8" fmla="*/ 10129080 w 91"/>
              <a:gd name="T9" fmla="*/ 335338139 h 65"/>
              <a:gd name="T10" fmla="*/ 450724935 w 91"/>
              <a:gd name="T11" fmla="*/ 335338139 h 65"/>
              <a:gd name="T12" fmla="*/ 460854015 w 91"/>
              <a:gd name="T13" fmla="*/ 325019379 h 65"/>
              <a:gd name="T14" fmla="*/ 460854015 w 91"/>
              <a:gd name="T15" fmla="*/ 10318761 h 65"/>
              <a:gd name="T16" fmla="*/ 450724935 w 91"/>
              <a:gd name="T17" fmla="*/ 0 h 65"/>
              <a:gd name="T18" fmla="*/ 440595855 w 91"/>
              <a:gd name="T19" fmla="*/ 304384129 h 65"/>
              <a:gd name="T20" fmla="*/ 430469025 w 91"/>
              <a:gd name="T21" fmla="*/ 314702889 h 65"/>
              <a:gd name="T22" fmla="*/ 30384990 w 91"/>
              <a:gd name="T23" fmla="*/ 314702889 h 65"/>
              <a:gd name="T24" fmla="*/ 20258160 w 91"/>
              <a:gd name="T25" fmla="*/ 304384129 h 65"/>
              <a:gd name="T26" fmla="*/ 20258160 w 91"/>
              <a:gd name="T27" fmla="*/ 30954010 h 65"/>
              <a:gd name="T28" fmla="*/ 30384990 w 91"/>
              <a:gd name="T29" fmla="*/ 20635250 h 65"/>
              <a:gd name="T30" fmla="*/ 430469025 w 91"/>
              <a:gd name="T31" fmla="*/ 20635250 h 65"/>
              <a:gd name="T32" fmla="*/ 440595855 w 91"/>
              <a:gd name="T33" fmla="*/ 30954010 h 65"/>
              <a:gd name="T34" fmla="*/ 440595855 w 91"/>
              <a:gd name="T35" fmla="*/ 304384129 h 6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91" h="65">
                <a:moveTo>
                  <a:pt x="89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4"/>
                  <a:pt x="1" y="65"/>
                  <a:pt x="2" y="65"/>
                </a:cubicBezTo>
                <a:cubicBezTo>
                  <a:pt x="89" y="65"/>
                  <a:pt x="89" y="65"/>
                  <a:pt x="89" y="65"/>
                </a:cubicBezTo>
                <a:cubicBezTo>
                  <a:pt x="90" y="65"/>
                  <a:pt x="91" y="64"/>
                  <a:pt x="91" y="63"/>
                </a:cubicBezTo>
                <a:cubicBezTo>
                  <a:pt x="91" y="2"/>
                  <a:pt x="91" y="2"/>
                  <a:pt x="91" y="2"/>
                </a:cubicBezTo>
                <a:cubicBezTo>
                  <a:pt x="91" y="1"/>
                  <a:pt x="90" y="0"/>
                  <a:pt x="89" y="0"/>
                </a:cubicBezTo>
                <a:close/>
                <a:moveTo>
                  <a:pt x="87" y="59"/>
                </a:moveTo>
                <a:cubicBezTo>
                  <a:pt x="87" y="60"/>
                  <a:pt x="86" y="61"/>
                  <a:pt x="85" y="61"/>
                </a:cubicBezTo>
                <a:cubicBezTo>
                  <a:pt x="6" y="61"/>
                  <a:pt x="6" y="61"/>
                  <a:pt x="6" y="61"/>
                </a:cubicBezTo>
                <a:cubicBezTo>
                  <a:pt x="5" y="61"/>
                  <a:pt x="4" y="60"/>
                  <a:pt x="4" y="59"/>
                </a:cubicBezTo>
                <a:cubicBezTo>
                  <a:pt x="4" y="6"/>
                  <a:pt x="4" y="6"/>
                  <a:pt x="4" y="6"/>
                </a:cubicBezTo>
                <a:cubicBezTo>
                  <a:pt x="4" y="5"/>
                  <a:pt x="5" y="4"/>
                  <a:pt x="6" y="4"/>
                </a:cubicBezTo>
                <a:cubicBezTo>
                  <a:pt x="85" y="4"/>
                  <a:pt x="85" y="4"/>
                  <a:pt x="85" y="4"/>
                </a:cubicBezTo>
                <a:cubicBezTo>
                  <a:pt x="86" y="4"/>
                  <a:pt x="87" y="5"/>
                  <a:pt x="87" y="6"/>
                </a:cubicBezTo>
                <a:lnTo>
                  <a:pt x="87" y="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6" name="Freeform 119"/>
          <p:cNvSpPr>
            <a:spLocks/>
          </p:cNvSpPr>
          <p:nvPr/>
        </p:nvSpPr>
        <p:spPr bwMode="auto">
          <a:xfrm>
            <a:off x="8153400" y="2836334"/>
            <a:ext cx="321733" cy="4233"/>
          </a:xfrm>
          <a:custGeom>
            <a:avLst/>
            <a:gdLst>
              <a:gd name="T0" fmla="*/ 544165327 w 107"/>
              <a:gd name="T1" fmla="*/ 5040313 h 2"/>
              <a:gd name="T2" fmla="*/ 539079986 w 107"/>
              <a:gd name="T3" fmla="*/ 5040313 h 2"/>
              <a:gd name="T4" fmla="*/ 10170682 w 107"/>
              <a:gd name="T5" fmla="*/ 5040313 h 2"/>
              <a:gd name="T6" fmla="*/ 0 w 107"/>
              <a:gd name="T7" fmla="*/ 5040313 h 2"/>
              <a:gd name="T8" fmla="*/ 0 w 107"/>
              <a:gd name="T9" fmla="*/ 2520950 h 2"/>
              <a:gd name="T10" fmla="*/ 10170682 w 107"/>
              <a:gd name="T11" fmla="*/ 0 h 2"/>
              <a:gd name="T12" fmla="*/ 539079986 w 107"/>
              <a:gd name="T13" fmla="*/ 0 h 2"/>
              <a:gd name="T14" fmla="*/ 544165327 w 107"/>
              <a:gd name="T15" fmla="*/ 2520950 h 2"/>
              <a:gd name="T16" fmla="*/ 544165327 w 107"/>
              <a:gd name="T17" fmla="*/ 5040313 h 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7" h="2">
                <a:moveTo>
                  <a:pt x="107" y="2"/>
                </a:moveTo>
                <a:cubicBezTo>
                  <a:pt x="107" y="2"/>
                  <a:pt x="107" y="2"/>
                  <a:pt x="106" y="2"/>
                </a:cubicBezTo>
                <a:cubicBezTo>
                  <a:pt x="2" y="2"/>
                  <a:pt x="2" y="2"/>
                  <a:pt x="2" y="2"/>
                </a:cubicBezTo>
                <a:cubicBezTo>
                  <a:pt x="1" y="2"/>
                  <a:pt x="0" y="2"/>
                  <a:pt x="0" y="2"/>
                </a:cubicBezTo>
                <a:cubicBezTo>
                  <a:pt x="0" y="1"/>
                  <a:pt x="0" y="1"/>
                  <a:pt x="0" y="1"/>
                </a:cubicBezTo>
                <a:cubicBezTo>
                  <a:pt x="0" y="1"/>
                  <a:pt x="1" y="0"/>
                  <a:pt x="2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7" y="0"/>
                  <a:pt x="107" y="1"/>
                  <a:pt x="107" y="1"/>
                </a:cubicBezTo>
                <a:lnTo>
                  <a:pt x="107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7" name="Freeform 120"/>
          <p:cNvSpPr>
            <a:spLocks/>
          </p:cNvSpPr>
          <p:nvPr/>
        </p:nvSpPr>
        <p:spPr bwMode="auto">
          <a:xfrm>
            <a:off x="8204200" y="2518834"/>
            <a:ext cx="110067" cy="97367"/>
          </a:xfrm>
          <a:custGeom>
            <a:avLst/>
            <a:gdLst>
              <a:gd name="T0" fmla="*/ 0 w 36"/>
              <a:gd name="T1" fmla="*/ 166645332 h 32"/>
              <a:gd name="T2" fmla="*/ 0 w 36"/>
              <a:gd name="T3" fmla="*/ 5207595 h 32"/>
              <a:gd name="T4" fmla="*/ 189291736 w 36"/>
              <a:gd name="T5" fmla="*/ 10415191 h 32"/>
              <a:gd name="T6" fmla="*/ 15773929 w 36"/>
              <a:gd name="T7" fmla="*/ 26037977 h 32"/>
              <a:gd name="T8" fmla="*/ 0 w 36"/>
              <a:gd name="T9" fmla="*/ 166645332 h 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6" h="32">
                <a:moveTo>
                  <a:pt x="0" y="32"/>
                </a:moveTo>
                <a:cubicBezTo>
                  <a:pt x="0" y="32"/>
                  <a:pt x="0" y="3"/>
                  <a:pt x="0" y="1"/>
                </a:cubicBezTo>
                <a:cubicBezTo>
                  <a:pt x="1" y="0"/>
                  <a:pt x="36" y="2"/>
                  <a:pt x="36" y="2"/>
                </a:cubicBezTo>
                <a:cubicBezTo>
                  <a:pt x="36" y="2"/>
                  <a:pt x="4" y="3"/>
                  <a:pt x="3" y="5"/>
                </a:cubicBezTo>
                <a:cubicBezTo>
                  <a:pt x="2" y="7"/>
                  <a:pt x="0" y="32"/>
                  <a:pt x="0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8" name="Freeform 121"/>
          <p:cNvSpPr>
            <a:spLocks/>
          </p:cNvSpPr>
          <p:nvPr/>
        </p:nvSpPr>
        <p:spPr bwMode="auto">
          <a:xfrm>
            <a:off x="8322733" y="2575985"/>
            <a:ext cx="110067" cy="97367"/>
          </a:xfrm>
          <a:custGeom>
            <a:avLst/>
            <a:gdLst>
              <a:gd name="T0" fmla="*/ 184175743 w 37"/>
              <a:gd name="T1" fmla="*/ 0 h 32"/>
              <a:gd name="T2" fmla="*/ 179198201 w 37"/>
              <a:gd name="T3" fmla="*/ 156230141 h 32"/>
              <a:gd name="T4" fmla="*/ 0 w 37"/>
              <a:gd name="T5" fmla="*/ 156230141 h 32"/>
              <a:gd name="T6" fmla="*/ 164265576 w 37"/>
              <a:gd name="T7" fmla="*/ 140607355 h 32"/>
              <a:gd name="T8" fmla="*/ 184175743 w 37"/>
              <a:gd name="T9" fmla="*/ 0 h 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7" h="32">
                <a:moveTo>
                  <a:pt x="37" y="0"/>
                </a:moveTo>
                <a:cubicBezTo>
                  <a:pt x="37" y="0"/>
                  <a:pt x="37" y="29"/>
                  <a:pt x="36" y="30"/>
                </a:cubicBezTo>
                <a:cubicBezTo>
                  <a:pt x="36" y="32"/>
                  <a:pt x="0" y="30"/>
                  <a:pt x="0" y="30"/>
                </a:cubicBezTo>
                <a:cubicBezTo>
                  <a:pt x="0" y="30"/>
                  <a:pt x="32" y="29"/>
                  <a:pt x="33" y="27"/>
                </a:cubicBezTo>
                <a:cubicBezTo>
                  <a:pt x="34" y="25"/>
                  <a:pt x="37" y="0"/>
                  <a:pt x="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39" name="Freeform 122"/>
          <p:cNvSpPr>
            <a:spLocks noEditPoints="1"/>
          </p:cNvSpPr>
          <p:nvPr/>
        </p:nvSpPr>
        <p:spPr bwMode="auto">
          <a:xfrm>
            <a:off x="7884585" y="2347384"/>
            <a:ext cx="461433" cy="488949"/>
          </a:xfrm>
          <a:custGeom>
            <a:avLst/>
            <a:gdLst>
              <a:gd name="T0" fmla="*/ 424207049 w 154"/>
              <a:gd name="T1" fmla="*/ 702006742 h 162"/>
              <a:gd name="T2" fmla="*/ 424207049 w 154"/>
              <a:gd name="T3" fmla="*/ 666139139 h 162"/>
              <a:gd name="T4" fmla="*/ 469657484 w 154"/>
              <a:gd name="T5" fmla="*/ 522661937 h 162"/>
              <a:gd name="T6" fmla="*/ 469657484 w 154"/>
              <a:gd name="T7" fmla="*/ 430427078 h 162"/>
              <a:gd name="T8" fmla="*/ 424207049 w 154"/>
              <a:gd name="T9" fmla="*/ 312572180 h 162"/>
              <a:gd name="T10" fmla="*/ 424207049 w 154"/>
              <a:gd name="T11" fmla="*/ 276704577 h 162"/>
              <a:gd name="T12" fmla="*/ 525209263 w 154"/>
              <a:gd name="T13" fmla="*/ 194717281 h 162"/>
              <a:gd name="T14" fmla="*/ 545409706 w 154"/>
              <a:gd name="T15" fmla="*/ 153724765 h 162"/>
              <a:gd name="T16" fmla="*/ 676711459 w 154"/>
              <a:gd name="T17" fmla="*/ 230587147 h 162"/>
              <a:gd name="T18" fmla="*/ 676711459 w 154"/>
              <a:gd name="T19" fmla="*/ 143474938 h 162"/>
              <a:gd name="T20" fmla="*/ 777713673 w 154"/>
              <a:gd name="T21" fmla="*/ 230587147 h 162"/>
              <a:gd name="T22" fmla="*/ 691862353 w 154"/>
              <a:gd name="T23" fmla="*/ 112732249 h 162"/>
              <a:gd name="T24" fmla="*/ 151502197 w 154"/>
              <a:gd name="T25" fmla="*/ 92234859 h 162"/>
              <a:gd name="T26" fmla="*/ 45450434 w 154"/>
              <a:gd name="T27" fmla="*/ 220337321 h 162"/>
              <a:gd name="T28" fmla="*/ 60601328 w 154"/>
              <a:gd name="T29" fmla="*/ 640519099 h 162"/>
              <a:gd name="T30" fmla="*/ 409056156 w 154"/>
              <a:gd name="T31" fmla="*/ 830111467 h 162"/>
              <a:gd name="T32" fmla="*/ 626211476 w 154"/>
              <a:gd name="T33" fmla="*/ 102482422 h 162"/>
              <a:gd name="T34" fmla="*/ 631261025 w 154"/>
              <a:gd name="T35" fmla="*/ 102482422 h 162"/>
              <a:gd name="T36" fmla="*/ 494909722 w 154"/>
              <a:gd name="T37" fmla="*/ 51242343 h 162"/>
              <a:gd name="T38" fmla="*/ 459558386 w 154"/>
              <a:gd name="T39" fmla="*/ 56364993 h 162"/>
              <a:gd name="T40" fmla="*/ 424207049 w 154"/>
              <a:gd name="T41" fmla="*/ 30744953 h 162"/>
              <a:gd name="T42" fmla="*/ 242405312 w 154"/>
              <a:gd name="T43" fmla="*/ 112732249 h 162"/>
              <a:gd name="T44" fmla="*/ 242405312 w 154"/>
              <a:gd name="T45" fmla="*/ 532911764 h 162"/>
              <a:gd name="T46" fmla="*/ 237353516 w 154"/>
              <a:gd name="T47" fmla="*/ 430427078 h 162"/>
              <a:gd name="T48" fmla="*/ 181803984 w 154"/>
              <a:gd name="T49" fmla="*/ 281827227 h 162"/>
              <a:gd name="T50" fmla="*/ 146452648 w 154"/>
              <a:gd name="T51" fmla="*/ 399684389 h 162"/>
              <a:gd name="T52" fmla="*/ 272704853 w 154"/>
              <a:gd name="T53" fmla="*/ 676386702 h 162"/>
              <a:gd name="T54" fmla="*/ 191903082 w 154"/>
              <a:gd name="T55" fmla="*/ 579029193 h 162"/>
              <a:gd name="T56" fmla="*/ 222204870 w 154"/>
              <a:gd name="T57" fmla="*/ 143474938 h 162"/>
              <a:gd name="T58" fmla="*/ 247454861 w 154"/>
              <a:gd name="T59" fmla="*/ 266454750 h 162"/>
              <a:gd name="T60" fmla="*/ 186853533 w 154"/>
              <a:gd name="T61" fmla="*/ 102482422 h 162"/>
              <a:gd name="T62" fmla="*/ 156551745 w 154"/>
              <a:gd name="T63" fmla="*/ 128104725 h 162"/>
              <a:gd name="T64" fmla="*/ 141403099 w 154"/>
              <a:gd name="T65" fmla="*/ 235709797 h 162"/>
              <a:gd name="T66" fmla="*/ 141403099 w 154"/>
              <a:gd name="T67" fmla="*/ 143474938 h 162"/>
              <a:gd name="T68" fmla="*/ 111101311 w 154"/>
              <a:gd name="T69" fmla="*/ 399684389 h 162"/>
              <a:gd name="T70" fmla="*/ 30299540 w 154"/>
              <a:gd name="T71" fmla="*/ 430427078 h 162"/>
              <a:gd name="T72" fmla="*/ 126252205 w 154"/>
              <a:gd name="T73" fmla="*/ 568779367 h 162"/>
              <a:gd name="T74" fmla="*/ 141403099 w 154"/>
              <a:gd name="T75" fmla="*/ 686636529 h 162"/>
              <a:gd name="T76" fmla="*/ 186853533 w 154"/>
              <a:gd name="T77" fmla="*/ 691759179 h 162"/>
              <a:gd name="T78" fmla="*/ 186853533 w 154"/>
              <a:gd name="T79" fmla="*/ 727629045 h 162"/>
              <a:gd name="T80" fmla="*/ 242405312 w 154"/>
              <a:gd name="T81" fmla="*/ 763496648 h 162"/>
              <a:gd name="T82" fmla="*/ 282803950 w 154"/>
              <a:gd name="T83" fmla="*/ 707131655 h 162"/>
              <a:gd name="T84" fmla="*/ 393907509 w 154"/>
              <a:gd name="T85" fmla="*/ 799366514 h 162"/>
              <a:gd name="T86" fmla="*/ 393907509 w 154"/>
              <a:gd name="T87" fmla="*/ 702006742 h 162"/>
              <a:gd name="T88" fmla="*/ 308056189 w 154"/>
              <a:gd name="T89" fmla="*/ 671264052 h 162"/>
              <a:gd name="T90" fmla="*/ 393907509 w 154"/>
              <a:gd name="T91" fmla="*/ 553406890 h 162"/>
              <a:gd name="T92" fmla="*/ 272704853 w 154"/>
              <a:gd name="T93" fmla="*/ 527786851 h 162"/>
              <a:gd name="T94" fmla="*/ 393907509 w 154"/>
              <a:gd name="T95" fmla="*/ 517539287 h 162"/>
              <a:gd name="T96" fmla="*/ 272704853 w 154"/>
              <a:gd name="T97" fmla="*/ 302324616 h 162"/>
              <a:gd name="T98" fmla="*/ 393907509 w 154"/>
              <a:gd name="T99" fmla="*/ 276704577 h 162"/>
              <a:gd name="T100" fmla="*/ 393907509 w 154"/>
              <a:gd name="T101" fmla="*/ 163972328 h 162"/>
              <a:gd name="T102" fmla="*/ 358556172 w 154"/>
              <a:gd name="T103" fmla="*/ 56364993 h 162"/>
              <a:gd name="T104" fmla="*/ 318155287 w 154"/>
              <a:gd name="T105" fmla="*/ 128104725 h 16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54" h="162">
                <a:moveTo>
                  <a:pt x="81" y="162"/>
                </a:moveTo>
                <a:cubicBezTo>
                  <a:pt x="84" y="150"/>
                  <a:pt x="84" y="150"/>
                  <a:pt x="84" y="150"/>
                </a:cubicBezTo>
                <a:cubicBezTo>
                  <a:pt x="84" y="137"/>
                  <a:pt x="84" y="137"/>
                  <a:pt x="84" y="137"/>
                </a:cubicBezTo>
                <a:cubicBezTo>
                  <a:pt x="85" y="137"/>
                  <a:pt x="86" y="137"/>
                  <a:pt x="87" y="137"/>
                </a:cubicBezTo>
                <a:cubicBezTo>
                  <a:pt x="89" y="130"/>
                  <a:pt x="89" y="130"/>
                  <a:pt x="89" y="130"/>
                </a:cubicBezTo>
                <a:cubicBezTo>
                  <a:pt x="87" y="130"/>
                  <a:pt x="86" y="130"/>
                  <a:pt x="84" y="130"/>
                </a:cubicBezTo>
                <a:cubicBezTo>
                  <a:pt x="84" y="108"/>
                  <a:pt x="84" y="108"/>
                  <a:pt x="84" y="108"/>
                </a:cubicBezTo>
                <a:cubicBezTo>
                  <a:pt x="87" y="108"/>
                  <a:pt x="90" y="108"/>
                  <a:pt x="93" y="108"/>
                </a:cubicBezTo>
                <a:cubicBezTo>
                  <a:pt x="93" y="102"/>
                  <a:pt x="93" y="102"/>
                  <a:pt x="93" y="102"/>
                </a:cubicBezTo>
                <a:cubicBezTo>
                  <a:pt x="90" y="102"/>
                  <a:pt x="87" y="101"/>
                  <a:pt x="84" y="101"/>
                </a:cubicBezTo>
                <a:cubicBezTo>
                  <a:pt x="84" y="84"/>
                  <a:pt x="84" y="84"/>
                  <a:pt x="84" y="84"/>
                </a:cubicBezTo>
                <a:cubicBezTo>
                  <a:pt x="93" y="84"/>
                  <a:pt x="93" y="84"/>
                  <a:pt x="93" y="84"/>
                </a:cubicBezTo>
                <a:cubicBezTo>
                  <a:pt x="93" y="78"/>
                  <a:pt x="93" y="78"/>
                  <a:pt x="93" y="78"/>
                </a:cubicBezTo>
                <a:cubicBezTo>
                  <a:pt x="84" y="78"/>
                  <a:pt x="84" y="78"/>
                  <a:pt x="84" y="78"/>
                </a:cubicBezTo>
                <a:cubicBezTo>
                  <a:pt x="84" y="61"/>
                  <a:pt x="84" y="61"/>
                  <a:pt x="84" y="61"/>
                </a:cubicBezTo>
                <a:cubicBezTo>
                  <a:pt x="87" y="60"/>
                  <a:pt x="90" y="60"/>
                  <a:pt x="93" y="60"/>
                </a:cubicBezTo>
                <a:cubicBezTo>
                  <a:pt x="93" y="54"/>
                  <a:pt x="93" y="54"/>
                  <a:pt x="93" y="54"/>
                </a:cubicBezTo>
                <a:cubicBezTo>
                  <a:pt x="90" y="54"/>
                  <a:pt x="87" y="54"/>
                  <a:pt x="84" y="54"/>
                </a:cubicBezTo>
                <a:cubicBezTo>
                  <a:pt x="84" y="32"/>
                  <a:pt x="84" y="32"/>
                  <a:pt x="84" y="32"/>
                </a:cubicBezTo>
                <a:cubicBezTo>
                  <a:pt x="90" y="32"/>
                  <a:pt x="96" y="31"/>
                  <a:pt x="101" y="31"/>
                </a:cubicBezTo>
                <a:cubicBezTo>
                  <a:pt x="102" y="33"/>
                  <a:pt x="103" y="35"/>
                  <a:pt x="104" y="38"/>
                </a:cubicBezTo>
                <a:cubicBezTo>
                  <a:pt x="104" y="40"/>
                  <a:pt x="105" y="42"/>
                  <a:pt x="105" y="45"/>
                </a:cubicBezTo>
                <a:cubicBezTo>
                  <a:pt x="112" y="45"/>
                  <a:pt x="112" y="45"/>
                  <a:pt x="112" y="45"/>
                </a:cubicBezTo>
                <a:cubicBezTo>
                  <a:pt x="111" y="39"/>
                  <a:pt x="109" y="34"/>
                  <a:pt x="108" y="30"/>
                </a:cubicBezTo>
                <a:cubicBezTo>
                  <a:pt x="111" y="29"/>
                  <a:pt x="115" y="29"/>
                  <a:pt x="118" y="28"/>
                </a:cubicBezTo>
                <a:cubicBezTo>
                  <a:pt x="122" y="33"/>
                  <a:pt x="125" y="39"/>
                  <a:pt x="127" y="45"/>
                </a:cubicBezTo>
                <a:cubicBezTo>
                  <a:pt x="134" y="45"/>
                  <a:pt x="134" y="45"/>
                  <a:pt x="134" y="45"/>
                </a:cubicBezTo>
                <a:cubicBezTo>
                  <a:pt x="131" y="38"/>
                  <a:pt x="128" y="32"/>
                  <a:pt x="125" y="26"/>
                </a:cubicBezTo>
                <a:cubicBezTo>
                  <a:pt x="127" y="26"/>
                  <a:pt x="129" y="25"/>
                  <a:pt x="131" y="25"/>
                </a:cubicBezTo>
                <a:cubicBezTo>
                  <a:pt x="132" y="26"/>
                  <a:pt x="133" y="27"/>
                  <a:pt x="134" y="28"/>
                </a:cubicBezTo>
                <a:cubicBezTo>
                  <a:pt x="138" y="32"/>
                  <a:pt x="142" y="36"/>
                  <a:pt x="145" y="41"/>
                </a:cubicBezTo>
                <a:cubicBezTo>
                  <a:pt x="142" y="42"/>
                  <a:pt x="140" y="44"/>
                  <a:pt x="137" y="45"/>
                </a:cubicBezTo>
                <a:cubicBezTo>
                  <a:pt x="154" y="45"/>
                  <a:pt x="154" y="45"/>
                  <a:pt x="154" y="45"/>
                </a:cubicBezTo>
                <a:cubicBezTo>
                  <a:pt x="154" y="44"/>
                  <a:pt x="153" y="43"/>
                  <a:pt x="153" y="43"/>
                </a:cubicBezTo>
                <a:cubicBezTo>
                  <a:pt x="152" y="41"/>
                  <a:pt x="151" y="39"/>
                  <a:pt x="150" y="37"/>
                </a:cubicBezTo>
                <a:cubicBezTo>
                  <a:pt x="146" y="32"/>
                  <a:pt x="142" y="27"/>
                  <a:pt x="137" y="22"/>
                </a:cubicBezTo>
                <a:cubicBezTo>
                  <a:pt x="136" y="21"/>
                  <a:pt x="134" y="19"/>
                  <a:pt x="132" y="18"/>
                </a:cubicBezTo>
                <a:cubicBezTo>
                  <a:pt x="118" y="6"/>
                  <a:pt x="100" y="0"/>
                  <a:pt x="81" y="0"/>
                </a:cubicBezTo>
                <a:cubicBezTo>
                  <a:pt x="62" y="0"/>
                  <a:pt x="44" y="6"/>
                  <a:pt x="30" y="18"/>
                </a:cubicBezTo>
                <a:cubicBezTo>
                  <a:pt x="28" y="19"/>
                  <a:pt x="26" y="21"/>
                  <a:pt x="25" y="22"/>
                </a:cubicBezTo>
                <a:cubicBezTo>
                  <a:pt x="20" y="27"/>
                  <a:pt x="16" y="32"/>
                  <a:pt x="12" y="37"/>
                </a:cubicBezTo>
                <a:cubicBezTo>
                  <a:pt x="11" y="39"/>
                  <a:pt x="10" y="41"/>
                  <a:pt x="9" y="43"/>
                </a:cubicBezTo>
                <a:cubicBezTo>
                  <a:pt x="3" y="54"/>
                  <a:pt x="0" y="67"/>
                  <a:pt x="0" y="81"/>
                </a:cubicBezTo>
                <a:cubicBezTo>
                  <a:pt x="0" y="95"/>
                  <a:pt x="3" y="108"/>
                  <a:pt x="9" y="119"/>
                </a:cubicBezTo>
                <a:cubicBezTo>
                  <a:pt x="10" y="121"/>
                  <a:pt x="11" y="123"/>
                  <a:pt x="12" y="125"/>
                </a:cubicBezTo>
                <a:cubicBezTo>
                  <a:pt x="16" y="130"/>
                  <a:pt x="20" y="135"/>
                  <a:pt x="25" y="140"/>
                </a:cubicBezTo>
                <a:cubicBezTo>
                  <a:pt x="26" y="141"/>
                  <a:pt x="28" y="143"/>
                  <a:pt x="30" y="144"/>
                </a:cubicBezTo>
                <a:cubicBezTo>
                  <a:pt x="44" y="156"/>
                  <a:pt x="62" y="162"/>
                  <a:pt x="81" y="162"/>
                </a:cubicBezTo>
                <a:cubicBezTo>
                  <a:pt x="81" y="162"/>
                  <a:pt x="81" y="162"/>
                  <a:pt x="81" y="162"/>
                </a:cubicBezTo>
                <a:close/>
                <a:moveTo>
                  <a:pt x="125" y="20"/>
                </a:moveTo>
                <a:cubicBezTo>
                  <a:pt x="125" y="20"/>
                  <a:pt x="124" y="20"/>
                  <a:pt x="124" y="20"/>
                </a:cubicBezTo>
                <a:cubicBezTo>
                  <a:pt x="123" y="21"/>
                  <a:pt x="122" y="21"/>
                  <a:pt x="121" y="21"/>
                </a:cubicBezTo>
                <a:cubicBezTo>
                  <a:pt x="119" y="18"/>
                  <a:pt x="116" y="16"/>
                  <a:pt x="114" y="13"/>
                </a:cubicBezTo>
                <a:cubicBezTo>
                  <a:pt x="118" y="15"/>
                  <a:pt x="121" y="17"/>
                  <a:pt x="125" y="20"/>
                </a:cubicBezTo>
                <a:close/>
                <a:moveTo>
                  <a:pt x="114" y="22"/>
                </a:moveTo>
                <a:cubicBezTo>
                  <a:pt x="111" y="23"/>
                  <a:pt x="108" y="23"/>
                  <a:pt x="106" y="24"/>
                </a:cubicBezTo>
                <a:cubicBezTo>
                  <a:pt x="103" y="18"/>
                  <a:pt x="101" y="14"/>
                  <a:pt x="98" y="10"/>
                </a:cubicBezTo>
                <a:cubicBezTo>
                  <a:pt x="104" y="13"/>
                  <a:pt x="109" y="17"/>
                  <a:pt x="114" y="22"/>
                </a:cubicBezTo>
                <a:close/>
                <a:moveTo>
                  <a:pt x="84" y="6"/>
                </a:moveTo>
                <a:cubicBezTo>
                  <a:pt x="86" y="7"/>
                  <a:pt x="89" y="9"/>
                  <a:pt x="91" y="11"/>
                </a:cubicBezTo>
                <a:cubicBezTo>
                  <a:pt x="94" y="14"/>
                  <a:pt x="97" y="19"/>
                  <a:pt x="99" y="25"/>
                </a:cubicBezTo>
                <a:cubicBezTo>
                  <a:pt x="94" y="25"/>
                  <a:pt x="89" y="25"/>
                  <a:pt x="84" y="25"/>
                </a:cubicBezTo>
                <a:lnTo>
                  <a:pt x="84" y="6"/>
                </a:lnTo>
                <a:close/>
                <a:moveTo>
                  <a:pt x="64" y="10"/>
                </a:moveTo>
                <a:cubicBezTo>
                  <a:pt x="61" y="14"/>
                  <a:pt x="59" y="18"/>
                  <a:pt x="56" y="24"/>
                </a:cubicBezTo>
                <a:cubicBezTo>
                  <a:pt x="54" y="23"/>
                  <a:pt x="51" y="23"/>
                  <a:pt x="48" y="22"/>
                </a:cubicBezTo>
                <a:cubicBezTo>
                  <a:pt x="53" y="17"/>
                  <a:pt x="58" y="13"/>
                  <a:pt x="64" y="10"/>
                </a:cubicBezTo>
                <a:close/>
                <a:moveTo>
                  <a:pt x="47" y="84"/>
                </a:moveTo>
                <a:cubicBezTo>
                  <a:pt x="47" y="91"/>
                  <a:pt x="48" y="98"/>
                  <a:pt x="48" y="104"/>
                </a:cubicBezTo>
                <a:cubicBezTo>
                  <a:pt x="42" y="105"/>
                  <a:pt x="37" y="107"/>
                  <a:pt x="32" y="108"/>
                </a:cubicBezTo>
                <a:cubicBezTo>
                  <a:pt x="30" y="101"/>
                  <a:pt x="29" y="92"/>
                  <a:pt x="29" y="84"/>
                </a:cubicBezTo>
                <a:lnTo>
                  <a:pt x="47" y="84"/>
                </a:lnTo>
                <a:close/>
                <a:moveTo>
                  <a:pt x="29" y="78"/>
                </a:moveTo>
                <a:cubicBezTo>
                  <a:pt x="29" y="69"/>
                  <a:pt x="30" y="61"/>
                  <a:pt x="32" y="54"/>
                </a:cubicBezTo>
                <a:cubicBezTo>
                  <a:pt x="33" y="54"/>
                  <a:pt x="35" y="55"/>
                  <a:pt x="36" y="55"/>
                </a:cubicBezTo>
                <a:cubicBezTo>
                  <a:pt x="40" y="56"/>
                  <a:pt x="44" y="57"/>
                  <a:pt x="48" y="58"/>
                </a:cubicBezTo>
                <a:cubicBezTo>
                  <a:pt x="48" y="64"/>
                  <a:pt x="47" y="71"/>
                  <a:pt x="47" y="78"/>
                </a:cubicBezTo>
                <a:lnTo>
                  <a:pt x="29" y="78"/>
                </a:lnTo>
                <a:close/>
                <a:moveTo>
                  <a:pt x="38" y="113"/>
                </a:moveTo>
                <a:cubicBezTo>
                  <a:pt x="42" y="112"/>
                  <a:pt x="45" y="111"/>
                  <a:pt x="49" y="110"/>
                </a:cubicBezTo>
                <a:cubicBezTo>
                  <a:pt x="50" y="118"/>
                  <a:pt x="52" y="126"/>
                  <a:pt x="54" y="132"/>
                </a:cubicBezTo>
                <a:cubicBezTo>
                  <a:pt x="51" y="133"/>
                  <a:pt x="47" y="133"/>
                  <a:pt x="44" y="134"/>
                </a:cubicBezTo>
                <a:cubicBezTo>
                  <a:pt x="40" y="128"/>
                  <a:pt x="36" y="121"/>
                  <a:pt x="34" y="114"/>
                </a:cubicBezTo>
                <a:cubicBezTo>
                  <a:pt x="35" y="114"/>
                  <a:pt x="37" y="113"/>
                  <a:pt x="38" y="113"/>
                </a:cubicBezTo>
                <a:close/>
                <a:moveTo>
                  <a:pt x="49" y="52"/>
                </a:moveTo>
                <a:cubicBezTo>
                  <a:pt x="44" y="51"/>
                  <a:pt x="38" y="49"/>
                  <a:pt x="34" y="48"/>
                </a:cubicBezTo>
                <a:cubicBezTo>
                  <a:pt x="36" y="40"/>
                  <a:pt x="40" y="34"/>
                  <a:pt x="44" y="28"/>
                </a:cubicBezTo>
                <a:cubicBezTo>
                  <a:pt x="47" y="29"/>
                  <a:pt x="51" y="29"/>
                  <a:pt x="54" y="30"/>
                </a:cubicBezTo>
                <a:cubicBezTo>
                  <a:pt x="54" y="32"/>
                  <a:pt x="53" y="34"/>
                  <a:pt x="52" y="36"/>
                </a:cubicBezTo>
                <a:cubicBezTo>
                  <a:pt x="51" y="41"/>
                  <a:pt x="50" y="46"/>
                  <a:pt x="49" y="52"/>
                </a:cubicBezTo>
                <a:close/>
                <a:moveTo>
                  <a:pt x="48" y="13"/>
                </a:moveTo>
                <a:cubicBezTo>
                  <a:pt x="46" y="16"/>
                  <a:pt x="43" y="18"/>
                  <a:pt x="41" y="21"/>
                </a:cubicBezTo>
                <a:cubicBezTo>
                  <a:pt x="40" y="21"/>
                  <a:pt x="38" y="20"/>
                  <a:pt x="37" y="20"/>
                </a:cubicBezTo>
                <a:cubicBezTo>
                  <a:pt x="41" y="17"/>
                  <a:pt x="44" y="15"/>
                  <a:pt x="48" y="13"/>
                </a:cubicBezTo>
                <a:close/>
                <a:moveTo>
                  <a:pt x="28" y="28"/>
                </a:moveTo>
                <a:cubicBezTo>
                  <a:pt x="29" y="27"/>
                  <a:pt x="30" y="26"/>
                  <a:pt x="31" y="25"/>
                </a:cubicBezTo>
                <a:cubicBezTo>
                  <a:pt x="33" y="25"/>
                  <a:pt x="35" y="26"/>
                  <a:pt x="36" y="26"/>
                </a:cubicBezTo>
                <a:cubicBezTo>
                  <a:pt x="37" y="26"/>
                  <a:pt x="37" y="26"/>
                  <a:pt x="37" y="26"/>
                </a:cubicBezTo>
                <a:cubicBezTo>
                  <a:pt x="34" y="32"/>
                  <a:pt x="30" y="39"/>
                  <a:pt x="28" y="46"/>
                </a:cubicBezTo>
                <a:cubicBezTo>
                  <a:pt x="28" y="46"/>
                  <a:pt x="27" y="46"/>
                  <a:pt x="27" y="46"/>
                </a:cubicBezTo>
                <a:cubicBezTo>
                  <a:pt x="23" y="44"/>
                  <a:pt x="20" y="43"/>
                  <a:pt x="17" y="41"/>
                </a:cubicBezTo>
                <a:cubicBezTo>
                  <a:pt x="20" y="36"/>
                  <a:pt x="24" y="32"/>
                  <a:pt x="28" y="28"/>
                </a:cubicBezTo>
                <a:close/>
                <a:moveTo>
                  <a:pt x="14" y="46"/>
                </a:moveTo>
                <a:cubicBezTo>
                  <a:pt x="18" y="48"/>
                  <a:pt x="22" y="50"/>
                  <a:pt x="26" y="52"/>
                </a:cubicBezTo>
                <a:cubicBezTo>
                  <a:pt x="24" y="60"/>
                  <a:pt x="23" y="69"/>
                  <a:pt x="22" y="78"/>
                </a:cubicBezTo>
                <a:cubicBezTo>
                  <a:pt x="6" y="78"/>
                  <a:pt x="6" y="78"/>
                  <a:pt x="6" y="78"/>
                </a:cubicBezTo>
                <a:cubicBezTo>
                  <a:pt x="6" y="67"/>
                  <a:pt x="9" y="56"/>
                  <a:pt x="14" y="46"/>
                </a:cubicBezTo>
                <a:close/>
                <a:moveTo>
                  <a:pt x="6" y="84"/>
                </a:moveTo>
                <a:cubicBezTo>
                  <a:pt x="22" y="84"/>
                  <a:pt x="22" y="84"/>
                  <a:pt x="22" y="84"/>
                </a:cubicBezTo>
                <a:cubicBezTo>
                  <a:pt x="23" y="93"/>
                  <a:pt x="24" y="102"/>
                  <a:pt x="26" y="110"/>
                </a:cubicBezTo>
                <a:cubicBezTo>
                  <a:pt x="26" y="110"/>
                  <a:pt x="25" y="110"/>
                  <a:pt x="25" y="111"/>
                </a:cubicBezTo>
                <a:cubicBezTo>
                  <a:pt x="21" y="112"/>
                  <a:pt x="17" y="114"/>
                  <a:pt x="14" y="116"/>
                </a:cubicBezTo>
                <a:cubicBezTo>
                  <a:pt x="9" y="106"/>
                  <a:pt x="6" y="95"/>
                  <a:pt x="6" y="84"/>
                </a:cubicBezTo>
                <a:close/>
                <a:moveTo>
                  <a:pt x="28" y="134"/>
                </a:moveTo>
                <a:cubicBezTo>
                  <a:pt x="24" y="130"/>
                  <a:pt x="20" y="126"/>
                  <a:pt x="17" y="121"/>
                </a:cubicBezTo>
                <a:cubicBezTo>
                  <a:pt x="20" y="119"/>
                  <a:pt x="24" y="118"/>
                  <a:pt x="28" y="116"/>
                </a:cubicBezTo>
                <a:cubicBezTo>
                  <a:pt x="30" y="123"/>
                  <a:pt x="34" y="130"/>
                  <a:pt x="37" y="135"/>
                </a:cubicBezTo>
                <a:cubicBezTo>
                  <a:pt x="35" y="136"/>
                  <a:pt x="33" y="137"/>
                  <a:pt x="31" y="137"/>
                </a:cubicBezTo>
                <a:cubicBezTo>
                  <a:pt x="30" y="136"/>
                  <a:pt x="29" y="135"/>
                  <a:pt x="28" y="134"/>
                </a:cubicBezTo>
                <a:close/>
                <a:moveTo>
                  <a:pt x="37" y="142"/>
                </a:moveTo>
                <a:cubicBezTo>
                  <a:pt x="37" y="142"/>
                  <a:pt x="38" y="142"/>
                  <a:pt x="38" y="142"/>
                </a:cubicBezTo>
                <a:cubicBezTo>
                  <a:pt x="39" y="141"/>
                  <a:pt x="40" y="141"/>
                  <a:pt x="41" y="141"/>
                </a:cubicBezTo>
                <a:cubicBezTo>
                  <a:pt x="43" y="144"/>
                  <a:pt x="46" y="146"/>
                  <a:pt x="48" y="149"/>
                </a:cubicBezTo>
                <a:cubicBezTo>
                  <a:pt x="44" y="147"/>
                  <a:pt x="41" y="145"/>
                  <a:pt x="37" y="142"/>
                </a:cubicBezTo>
                <a:close/>
                <a:moveTo>
                  <a:pt x="48" y="139"/>
                </a:moveTo>
                <a:cubicBezTo>
                  <a:pt x="51" y="139"/>
                  <a:pt x="54" y="138"/>
                  <a:pt x="56" y="138"/>
                </a:cubicBezTo>
                <a:cubicBezTo>
                  <a:pt x="59" y="144"/>
                  <a:pt x="61" y="148"/>
                  <a:pt x="64" y="152"/>
                </a:cubicBezTo>
                <a:cubicBezTo>
                  <a:pt x="58" y="149"/>
                  <a:pt x="53" y="145"/>
                  <a:pt x="48" y="139"/>
                </a:cubicBezTo>
                <a:close/>
                <a:moveTo>
                  <a:pt x="78" y="156"/>
                </a:moveTo>
                <a:cubicBezTo>
                  <a:pt x="76" y="155"/>
                  <a:pt x="73" y="153"/>
                  <a:pt x="71" y="151"/>
                </a:cubicBezTo>
                <a:cubicBezTo>
                  <a:pt x="68" y="148"/>
                  <a:pt x="65" y="143"/>
                  <a:pt x="63" y="137"/>
                </a:cubicBezTo>
                <a:cubicBezTo>
                  <a:pt x="68" y="137"/>
                  <a:pt x="73" y="137"/>
                  <a:pt x="78" y="137"/>
                </a:cubicBezTo>
                <a:lnTo>
                  <a:pt x="78" y="156"/>
                </a:lnTo>
                <a:close/>
                <a:moveTo>
                  <a:pt x="78" y="130"/>
                </a:moveTo>
                <a:cubicBezTo>
                  <a:pt x="72" y="130"/>
                  <a:pt x="66" y="131"/>
                  <a:pt x="61" y="131"/>
                </a:cubicBezTo>
                <a:cubicBezTo>
                  <a:pt x="60" y="129"/>
                  <a:pt x="59" y="127"/>
                  <a:pt x="58" y="124"/>
                </a:cubicBezTo>
                <a:cubicBezTo>
                  <a:pt x="57" y="119"/>
                  <a:pt x="56" y="114"/>
                  <a:pt x="55" y="109"/>
                </a:cubicBezTo>
                <a:cubicBezTo>
                  <a:pt x="62" y="108"/>
                  <a:pt x="70" y="108"/>
                  <a:pt x="78" y="108"/>
                </a:cubicBezTo>
                <a:lnTo>
                  <a:pt x="78" y="130"/>
                </a:lnTo>
                <a:close/>
                <a:moveTo>
                  <a:pt x="78" y="101"/>
                </a:moveTo>
                <a:cubicBezTo>
                  <a:pt x="70" y="102"/>
                  <a:pt x="62" y="102"/>
                  <a:pt x="54" y="103"/>
                </a:cubicBezTo>
                <a:cubicBezTo>
                  <a:pt x="54" y="97"/>
                  <a:pt x="53" y="91"/>
                  <a:pt x="53" y="84"/>
                </a:cubicBezTo>
                <a:cubicBezTo>
                  <a:pt x="78" y="84"/>
                  <a:pt x="78" y="84"/>
                  <a:pt x="78" y="84"/>
                </a:cubicBezTo>
                <a:lnTo>
                  <a:pt x="78" y="101"/>
                </a:lnTo>
                <a:close/>
                <a:moveTo>
                  <a:pt x="78" y="78"/>
                </a:moveTo>
                <a:cubicBezTo>
                  <a:pt x="53" y="78"/>
                  <a:pt x="53" y="78"/>
                  <a:pt x="53" y="78"/>
                </a:cubicBezTo>
                <a:cubicBezTo>
                  <a:pt x="53" y="71"/>
                  <a:pt x="54" y="65"/>
                  <a:pt x="54" y="59"/>
                </a:cubicBezTo>
                <a:cubicBezTo>
                  <a:pt x="62" y="60"/>
                  <a:pt x="70" y="60"/>
                  <a:pt x="78" y="61"/>
                </a:cubicBezTo>
                <a:lnTo>
                  <a:pt x="78" y="78"/>
                </a:lnTo>
                <a:close/>
                <a:moveTo>
                  <a:pt x="78" y="54"/>
                </a:moveTo>
                <a:cubicBezTo>
                  <a:pt x="70" y="54"/>
                  <a:pt x="62" y="54"/>
                  <a:pt x="55" y="53"/>
                </a:cubicBezTo>
                <a:cubicBezTo>
                  <a:pt x="57" y="44"/>
                  <a:pt x="58" y="37"/>
                  <a:pt x="61" y="31"/>
                </a:cubicBezTo>
                <a:cubicBezTo>
                  <a:pt x="66" y="31"/>
                  <a:pt x="72" y="32"/>
                  <a:pt x="78" y="32"/>
                </a:cubicBezTo>
                <a:lnTo>
                  <a:pt x="78" y="54"/>
                </a:lnTo>
                <a:close/>
                <a:moveTo>
                  <a:pt x="63" y="25"/>
                </a:moveTo>
                <a:cubicBezTo>
                  <a:pt x="65" y="19"/>
                  <a:pt x="68" y="14"/>
                  <a:pt x="71" y="11"/>
                </a:cubicBezTo>
                <a:cubicBezTo>
                  <a:pt x="73" y="9"/>
                  <a:pt x="76" y="7"/>
                  <a:pt x="78" y="6"/>
                </a:cubicBezTo>
                <a:cubicBezTo>
                  <a:pt x="78" y="25"/>
                  <a:pt x="78" y="25"/>
                  <a:pt x="78" y="25"/>
                </a:cubicBezTo>
                <a:cubicBezTo>
                  <a:pt x="73" y="25"/>
                  <a:pt x="68" y="25"/>
                  <a:pt x="63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0" name="Freeform 123"/>
          <p:cNvSpPr>
            <a:spLocks noEditPoints="1"/>
          </p:cNvSpPr>
          <p:nvPr/>
        </p:nvSpPr>
        <p:spPr bwMode="auto">
          <a:xfrm>
            <a:off x="8917518" y="2360085"/>
            <a:ext cx="315383" cy="512233"/>
          </a:xfrm>
          <a:custGeom>
            <a:avLst/>
            <a:gdLst>
              <a:gd name="T0" fmla="*/ 182692168 w 105"/>
              <a:gd name="T1" fmla="*/ 403447026 h 170"/>
              <a:gd name="T2" fmla="*/ 213142364 w 105"/>
              <a:gd name="T3" fmla="*/ 306415720 h 170"/>
              <a:gd name="T4" fmla="*/ 213142364 w 105"/>
              <a:gd name="T5" fmla="*/ 240025760 h 170"/>
              <a:gd name="T6" fmla="*/ 50747324 w 105"/>
              <a:gd name="T7" fmla="*/ 505585599 h 170"/>
              <a:gd name="T8" fmla="*/ 213142364 w 105"/>
              <a:gd name="T9" fmla="*/ 561763284 h 170"/>
              <a:gd name="T10" fmla="*/ 213142364 w 105"/>
              <a:gd name="T11" fmla="*/ 495373324 h 170"/>
              <a:gd name="T12" fmla="*/ 182692168 w 105"/>
              <a:gd name="T13" fmla="*/ 403447026 h 170"/>
              <a:gd name="T14" fmla="*/ 258814280 w 105"/>
              <a:gd name="T15" fmla="*/ 403447026 h 170"/>
              <a:gd name="T16" fmla="*/ 233441744 w 105"/>
              <a:gd name="T17" fmla="*/ 495373324 h 170"/>
              <a:gd name="T18" fmla="*/ 233441744 w 105"/>
              <a:gd name="T19" fmla="*/ 561763284 h 170"/>
              <a:gd name="T20" fmla="*/ 395834532 w 105"/>
              <a:gd name="T21" fmla="*/ 505585599 h 170"/>
              <a:gd name="T22" fmla="*/ 233441744 w 105"/>
              <a:gd name="T23" fmla="*/ 240025760 h 170"/>
              <a:gd name="T24" fmla="*/ 233441744 w 105"/>
              <a:gd name="T25" fmla="*/ 306415720 h 170"/>
              <a:gd name="T26" fmla="*/ 258814280 w 105"/>
              <a:gd name="T27" fmla="*/ 403447026 h 170"/>
              <a:gd name="T28" fmla="*/ 197918392 w 105"/>
              <a:gd name="T29" fmla="*/ 357486137 h 170"/>
              <a:gd name="T30" fmla="*/ 197918392 w 105"/>
              <a:gd name="T31" fmla="*/ 444302907 h 170"/>
              <a:gd name="T32" fmla="*/ 213142364 w 105"/>
              <a:gd name="T33" fmla="*/ 459624710 h 170"/>
              <a:gd name="T34" fmla="*/ 233441744 w 105"/>
              <a:gd name="T35" fmla="*/ 459624710 h 170"/>
              <a:gd name="T36" fmla="*/ 243590308 w 105"/>
              <a:gd name="T37" fmla="*/ 444302907 h 170"/>
              <a:gd name="T38" fmla="*/ 243590308 w 105"/>
              <a:gd name="T39" fmla="*/ 357486137 h 170"/>
              <a:gd name="T40" fmla="*/ 233441744 w 105"/>
              <a:gd name="T41" fmla="*/ 342164334 h 170"/>
              <a:gd name="T42" fmla="*/ 213142364 w 105"/>
              <a:gd name="T43" fmla="*/ 342164334 h 170"/>
              <a:gd name="T44" fmla="*/ 197918392 w 105"/>
              <a:gd name="T45" fmla="*/ 357486137 h 170"/>
              <a:gd name="T46" fmla="*/ 304488448 w 105"/>
              <a:gd name="T47" fmla="*/ 148101722 h 170"/>
              <a:gd name="T48" fmla="*/ 416133912 w 105"/>
              <a:gd name="T49" fmla="*/ 163421265 h 170"/>
              <a:gd name="T50" fmla="*/ 522706221 w 105"/>
              <a:gd name="T51" fmla="*/ 35748614 h 170"/>
              <a:gd name="T52" fmla="*/ 477032052 w 105"/>
              <a:gd name="T53" fmla="*/ 35748614 h 170"/>
              <a:gd name="T54" fmla="*/ 436433292 w 105"/>
              <a:gd name="T55" fmla="*/ 112353109 h 170"/>
              <a:gd name="T56" fmla="*/ 334936392 w 105"/>
              <a:gd name="T57" fmla="*/ 102138573 h 170"/>
              <a:gd name="T58" fmla="*/ 202991548 w 105"/>
              <a:gd name="T59" fmla="*/ 199169879 h 170"/>
              <a:gd name="T60" fmla="*/ 0 w 105"/>
              <a:gd name="T61" fmla="*/ 541334213 h 170"/>
              <a:gd name="T62" fmla="*/ 223290928 w 105"/>
              <a:gd name="T63" fmla="*/ 868179004 h 170"/>
              <a:gd name="T64" fmla="*/ 441508701 w 105"/>
              <a:gd name="T65" fmla="*/ 541334213 h 170"/>
              <a:gd name="T66" fmla="*/ 253741124 w 105"/>
              <a:gd name="T67" fmla="*/ 204277147 h 170"/>
              <a:gd name="T68" fmla="*/ 304488448 w 105"/>
              <a:gd name="T69" fmla="*/ 148101722 h 170"/>
              <a:gd name="T70" fmla="*/ 416133912 w 105"/>
              <a:gd name="T71" fmla="*/ 520907402 h 170"/>
              <a:gd name="T72" fmla="*/ 223290928 w 105"/>
              <a:gd name="T73" fmla="*/ 577082827 h 170"/>
              <a:gd name="T74" fmla="*/ 30447944 w 105"/>
              <a:gd name="T75" fmla="*/ 520907402 h 170"/>
              <a:gd name="T76" fmla="*/ 223290928 w 105"/>
              <a:gd name="T77" fmla="*/ 219598950 h 170"/>
              <a:gd name="T78" fmla="*/ 416133912 w 105"/>
              <a:gd name="T79" fmla="*/ 520907402 h 17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05" h="170">
                <a:moveTo>
                  <a:pt x="36" y="79"/>
                </a:moveTo>
                <a:cubicBezTo>
                  <a:pt x="36" y="70"/>
                  <a:pt x="39" y="63"/>
                  <a:pt x="42" y="60"/>
                </a:cubicBezTo>
                <a:cubicBezTo>
                  <a:pt x="42" y="47"/>
                  <a:pt x="42" y="47"/>
                  <a:pt x="42" y="47"/>
                </a:cubicBezTo>
                <a:cubicBezTo>
                  <a:pt x="24" y="48"/>
                  <a:pt x="10" y="67"/>
                  <a:pt x="10" y="99"/>
                </a:cubicBezTo>
                <a:cubicBezTo>
                  <a:pt x="10" y="132"/>
                  <a:pt x="24" y="111"/>
                  <a:pt x="42" y="110"/>
                </a:cubicBezTo>
                <a:cubicBezTo>
                  <a:pt x="42" y="97"/>
                  <a:pt x="42" y="97"/>
                  <a:pt x="42" y="97"/>
                </a:cubicBezTo>
                <a:cubicBezTo>
                  <a:pt x="39" y="95"/>
                  <a:pt x="36" y="87"/>
                  <a:pt x="36" y="79"/>
                </a:cubicBezTo>
                <a:close/>
                <a:moveTo>
                  <a:pt x="51" y="79"/>
                </a:moveTo>
                <a:cubicBezTo>
                  <a:pt x="51" y="87"/>
                  <a:pt x="49" y="95"/>
                  <a:pt x="46" y="97"/>
                </a:cubicBezTo>
                <a:cubicBezTo>
                  <a:pt x="46" y="110"/>
                  <a:pt x="46" y="110"/>
                  <a:pt x="46" y="110"/>
                </a:cubicBezTo>
                <a:cubicBezTo>
                  <a:pt x="64" y="111"/>
                  <a:pt x="78" y="132"/>
                  <a:pt x="78" y="99"/>
                </a:cubicBezTo>
                <a:cubicBezTo>
                  <a:pt x="78" y="67"/>
                  <a:pt x="64" y="48"/>
                  <a:pt x="46" y="47"/>
                </a:cubicBezTo>
                <a:cubicBezTo>
                  <a:pt x="46" y="60"/>
                  <a:pt x="46" y="60"/>
                  <a:pt x="46" y="60"/>
                </a:cubicBezTo>
                <a:cubicBezTo>
                  <a:pt x="49" y="63"/>
                  <a:pt x="51" y="70"/>
                  <a:pt x="51" y="79"/>
                </a:cubicBezTo>
                <a:close/>
                <a:moveTo>
                  <a:pt x="39" y="70"/>
                </a:moveTo>
                <a:cubicBezTo>
                  <a:pt x="39" y="87"/>
                  <a:pt x="39" y="87"/>
                  <a:pt x="39" y="87"/>
                </a:cubicBezTo>
                <a:cubicBezTo>
                  <a:pt x="39" y="89"/>
                  <a:pt x="41" y="90"/>
                  <a:pt x="42" y="90"/>
                </a:cubicBezTo>
                <a:cubicBezTo>
                  <a:pt x="46" y="90"/>
                  <a:pt x="46" y="90"/>
                  <a:pt x="46" y="90"/>
                </a:cubicBezTo>
                <a:cubicBezTo>
                  <a:pt x="47" y="90"/>
                  <a:pt x="48" y="89"/>
                  <a:pt x="48" y="87"/>
                </a:cubicBezTo>
                <a:cubicBezTo>
                  <a:pt x="48" y="70"/>
                  <a:pt x="48" y="70"/>
                  <a:pt x="48" y="70"/>
                </a:cubicBezTo>
                <a:cubicBezTo>
                  <a:pt x="48" y="68"/>
                  <a:pt x="47" y="67"/>
                  <a:pt x="46" y="67"/>
                </a:cubicBezTo>
                <a:cubicBezTo>
                  <a:pt x="42" y="67"/>
                  <a:pt x="42" y="67"/>
                  <a:pt x="42" y="67"/>
                </a:cubicBezTo>
                <a:cubicBezTo>
                  <a:pt x="41" y="67"/>
                  <a:pt x="39" y="68"/>
                  <a:pt x="39" y="70"/>
                </a:cubicBezTo>
                <a:close/>
                <a:moveTo>
                  <a:pt x="60" y="29"/>
                </a:moveTo>
                <a:cubicBezTo>
                  <a:pt x="67" y="29"/>
                  <a:pt x="74" y="32"/>
                  <a:pt x="82" y="32"/>
                </a:cubicBezTo>
                <a:cubicBezTo>
                  <a:pt x="97" y="33"/>
                  <a:pt x="105" y="20"/>
                  <a:pt x="103" y="7"/>
                </a:cubicBezTo>
                <a:cubicBezTo>
                  <a:pt x="103" y="0"/>
                  <a:pt x="93" y="0"/>
                  <a:pt x="94" y="7"/>
                </a:cubicBezTo>
                <a:cubicBezTo>
                  <a:pt x="94" y="13"/>
                  <a:pt x="93" y="20"/>
                  <a:pt x="86" y="22"/>
                </a:cubicBezTo>
                <a:cubicBezTo>
                  <a:pt x="80" y="24"/>
                  <a:pt x="72" y="21"/>
                  <a:pt x="66" y="20"/>
                </a:cubicBezTo>
                <a:cubicBezTo>
                  <a:pt x="52" y="18"/>
                  <a:pt x="43" y="27"/>
                  <a:pt x="40" y="39"/>
                </a:cubicBezTo>
                <a:cubicBezTo>
                  <a:pt x="18" y="42"/>
                  <a:pt x="0" y="65"/>
                  <a:pt x="0" y="106"/>
                </a:cubicBezTo>
                <a:cubicBezTo>
                  <a:pt x="0" y="148"/>
                  <a:pt x="20" y="170"/>
                  <a:pt x="44" y="170"/>
                </a:cubicBezTo>
                <a:cubicBezTo>
                  <a:pt x="68" y="170"/>
                  <a:pt x="87" y="148"/>
                  <a:pt x="87" y="106"/>
                </a:cubicBezTo>
                <a:cubicBezTo>
                  <a:pt x="87" y="67"/>
                  <a:pt x="71" y="44"/>
                  <a:pt x="50" y="40"/>
                </a:cubicBezTo>
                <a:cubicBezTo>
                  <a:pt x="52" y="35"/>
                  <a:pt x="54" y="30"/>
                  <a:pt x="60" y="29"/>
                </a:cubicBezTo>
                <a:close/>
                <a:moveTo>
                  <a:pt x="82" y="102"/>
                </a:moveTo>
                <a:cubicBezTo>
                  <a:pt x="82" y="139"/>
                  <a:pt x="65" y="113"/>
                  <a:pt x="44" y="113"/>
                </a:cubicBezTo>
                <a:cubicBezTo>
                  <a:pt x="23" y="113"/>
                  <a:pt x="6" y="139"/>
                  <a:pt x="6" y="102"/>
                </a:cubicBezTo>
                <a:cubicBezTo>
                  <a:pt x="6" y="64"/>
                  <a:pt x="23" y="43"/>
                  <a:pt x="44" y="43"/>
                </a:cubicBezTo>
                <a:cubicBezTo>
                  <a:pt x="65" y="43"/>
                  <a:pt x="82" y="64"/>
                  <a:pt x="82" y="1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1" name="Freeform 124"/>
          <p:cNvSpPr>
            <a:spLocks noEditPoints="1"/>
          </p:cNvSpPr>
          <p:nvPr/>
        </p:nvSpPr>
        <p:spPr bwMode="auto">
          <a:xfrm>
            <a:off x="1100667" y="3236384"/>
            <a:ext cx="154517" cy="378883"/>
          </a:xfrm>
          <a:custGeom>
            <a:avLst/>
            <a:gdLst>
              <a:gd name="T0" fmla="*/ 19865878 w 52"/>
              <a:gd name="T1" fmla="*/ 0 h 126"/>
              <a:gd name="T2" fmla="*/ 0 w 52"/>
              <a:gd name="T3" fmla="*/ 615429490 h 126"/>
              <a:gd name="T4" fmla="*/ 238401674 w 52"/>
              <a:gd name="T5" fmla="*/ 640859733 h 126"/>
              <a:gd name="T6" fmla="*/ 258267551 w 52"/>
              <a:gd name="T7" fmla="*/ 25430244 h 126"/>
              <a:gd name="T8" fmla="*/ 238401674 w 52"/>
              <a:gd name="T9" fmla="*/ 595084844 h 126"/>
              <a:gd name="T10" fmla="*/ 44699339 w 52"/>
              <a:gd name="T11" fmla="*/ 620515087 h 126"/>
              <a:gd name="T12" fmla="*/ 19865878 w 52"/>
              <a:gd name="T13" fmla="*/ 417066372 h 126"/>
              <a:gd name="T14" fmla="*/ 44699339 w 52"/>
              <a:gd name="T15" fmla="*/ 610341637 h 126"/>
              <a:gd name="T16" fmla="*/ 223501151 w 52"/>
              <a:gd name="T17" fmla="*/ 595084844 h 126"/>
              <a:gd name="T18" fmla="*/ 238401674 w 52"/>
              <a:gd name="T19" fmla="*/ 595084844 h 126"/>
              <a:gd name="T20" fmla="*/ 188734751 w 52"/>
              <a:gd name="T21" fmla="*/ 167845021 h 126"/>
              <a:gd name="T22" fmla="*/ 208600629 w 52"/>
              <a:gd name="T23" fmla="*/ 208534313 h 126"/>
              <a:gd name="T24" fmla="*/ 69532800 w 52"/>
              <a:gd name="T25" fmla="*/ 228878959 h 126"/>
              <a:gd name="T26" fmla="*/ 49666922 w 52"/>
              <a:gd name="T27" fmla="*/ 183101814 h 126"/>
              <a:gd name="T28" fmla="*/ 49666922 w 52"/>
              <a:gd name="T29" fmla="*/ 127155729 h 126"/>
              <a:gd name="T30" fmla="*/ 69532800 w 52"/>
              <a:gd name="T31" fmla="*/ 81378584 h 126"/>
              <a:gd name="T32" fmla="*/ 208600629 w 52"/>
              <a:gd name="T33" fmla="*/ 101723230 h 126"/>
              <a:gd name="T34" fmla="*/ 188734751 w 52"/>
              <a:gd name="T35" fmla="*/ 142412522 h 126"/>
              <a:gd name="T36" fmla="*/ 49666922 w 52"/>
              <a:gd name="T37" fmla="*/ 127155729 h 126"/>
              <a:gd name="T38" fmla="*/ 84433322 w 52"/>
              <a:gd name="T39" fmla="*/ 417066372 h 126"/>
              <a:gd name="T40" fmla="*/ 168866645 w 52"/>
              <a:gd name="T41" fmla="*/ 417066372 h 126"/>
              <a:gd name="T42" fmla="*/ 149000767 w 52"/>
              <a:gd name="T43" fmla="*/ 518791857 h 126"/>
              <a:gd name="T44" fmla="*/ 109266784 w 52"/>
              <a:gd name="T45" fmla="*/ 518791857 h 126"/>
              <a:gd name="T46" fmla="*/ 149000767 w 52"/>
              <a:gd name="T47" fmla="*/ 518791857 h 126"/>
              <a:gd name="T48" fmla="*/ 99333845 w 52"/>
              <a:gd name="T49" fmla="*/ 289912898 h 126"/>
              <a:gd name="T50" fmla="*/ 188734751 w 52"/>
              <a:gd name="T51" fmla="*/ 279739447 h 126"/>
              <a:gd name="T52" fmla="*/ 188734751 w 52"/>
              <a:gd name="T53" fmla="*/ 300084093 h 126"/>
              <a:gd name="T54" fmla="*/ 238401674 w 52"/>
              <a:gd name="T55" fmla="*/ 223793362 h 126"/>
              <a:gd name="T56" fmla="*/ 213568212 w 52"/>
              <a:gd name="T57" fmla="*/ 30518097 h 126"/>
              <a:gd name="T58" fmla="*/ 34766400 w 52"/>
              <a:gd name="T59" fmla="*/ 40689292 h 126"/>
              <a:gd name="T60" fmla="*/ 19865878 w 52"/>
              <a:gd name="T61" fmla="*/ 40689292 h 126"/>
              <a:gd name="T62" fmla="*/ 213568212 w 52"/>
              <a:gd name="T63" fmla="*/ 20344646 h 126"/>
              <a:gd name="T64" fmla="*/ 238401674 w 52"/>
              <a:gd name="T65" fmla="*/ 223793362 h 126"/>
              <a:gd name="T66" fmla="*/ 158933706 w 52"/>
              <a:gd name="T67" fmla="*/ 142412522 h 126"/>
              <a:gd name="T68" fmla="*/ 158933706 w 52"/>
              <a:gd name="T69" fmla="*/ 127155729 h 126"/>
              <a:gd name="T70" fmla="*/ 149000767 w 52"/>
              <a:gd name="T71" fmla="*/ 132241327 h 126"/>
              <a:gd name="T72" fmla="*/ 178799584 w 52"/>
              <a:gd name="T73" fmla="*/ 142412522 h 126"/>
              <a:gd name="T74" fmla="*/ 188734751 w 52"/>
              <a:gd name="T75" fmla="*/ 132241327 h 126"/>
              <a:gd name="T76" fmla="*/ 178799584 w 52"/>
              <a:gd name="T77" fmla="*/ 127155729 h 126"/>
              <a:gd name="T78" fmla="*/ 178799584 w 52"/>
              <a:gd name="T79" fmla="*/ 142412522 h 126"/>
              <a:gd name="T80" fmla="*/ 158933706 w 52"/>
              <a:gd name="T81" fmla="*/ 218705509 h 126"/>
              <a:gd name="T82" fmla="*/ 158933706 w 52"/>
              <a:gd name="T83" fmla="*/ 203446460 h 126"/>
              <a:gd name="T84" fmla="*/ 149000767 w 52"/>
              <a:gd name="T85" fmla="*/ 213619911 h 126"/>
              <a:gd name="T86" fmla="*/ 178799584 w 52"/>
              <a:gd name="T87" fmla="*/ 218705509 h 126"/>
              <a:gd name="T88" fmla="*/ 193700106 w 52"/>
              <a:gd name="T89" fmla="*/ 213619911 h 126"/>
              <a:gd name="T90" fmla="*/ 178799584 w 52"/>
              <a:gd name="T91" fmla="*/ 203446460 h 126"/>
              <a:gd name="T92" fmla="*/ 178799584 w 52"/>
              <a:gd name="T93" fmla="*/ 218705509 h 1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52" h="126">
                <a:moveTo>
                  <a:pt x="48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24"/>
                  <a:pt x="2" y="126"/>
                  <a:pt x="4" y="126"/>
                </a:cubicBezTo>
                <a:cubicBezTo>
                  <a:pt x="48" y="126"/>
                  <a:pt x="48" y="126"/>
                  <a:pt x="48" y="126"/>
                </a:cubicBezTo>
                <a:cubicBezTo>
                  <a:pt x="50" y="126"/>
                  <a:pt x="52" y="124"/>
                  <a:pt x="52" y="121"/>
                </a:cubicBezTo>
                <a:cubicBezTo>
                  <a:pt x="52" y="5"/>
                  <a:pt x="52" y="5"/>
                  <a:pt x="52" y="5"/>
                </a:cubicBezTo>
                <a:cubicBezTo>
                  <a:pt x="52" y="2"/>
                  <a:pt x="50" y="0"/>
                  <a:pt x="48" y="0"/>
                </a:cubicBezTo>
                <a:close/>
                <a:moveTo>
                  <a:pt x="48" y="117"/>
                </a:moveTo>
                <a:cubicBezTo>
                  <a:pt x="48" y="120"/>
                  <a:pt x="46" y="122"/>
                  <a:pt x="43" y="122"/>
                </a:cubicBezTo>
                <a:cubicBezTo>
                  <a:pt x="9" y="122"/>
                  <a:pt x="9" y="122"/>
                  <a:pt x="9" y="122"/>
                </a:cubicBezTo>
                <a:cubicBezTo>
                  <a:pt x="6" y="122"/>
                  <a:pt x="4" y="120"/>
                  <a:pt x="4" y="117"/>
                </a:cubicBezTo>
                <a:cubicBezTo>
                  <a:pt x="4" y="82"/>
                  <a:pt x="4" y="82"/>
                  <a:pt x="4" y="82"/>
                </a:cubicBezTo>
                <a:cubicBezTo>
                  <a:pt x="7" y="117"/>
                  <a:pt x="7" y="117"/>
                  <a:pt x="7" y="117"/>
                </a:cubicBezTo>
                <a:cubicBezTo>
                  <a:pt x="7" y="119"/>
                  <a:pt x="8" y="120"/>
                  <a:pt x="9" y="120"/>
                </a:cubicBezTo>
                <a:cubicBezTo>
                  <a:pt x="43" y="120"/>
                  <a:pt x="43" y="120"/>
                  <a:pt x="43" y="120"/>
                </a:cubicBezTo>
                <a:cubicBezTo>
                  <a:pt x="44" y="120"/>
                  <a:pt x="45" y="119"/>
                  <a:pt x="45" y="117"/>
                </a:cubicBezTo>
                <a:cubicBezTo>
                  <a:pt x="48" y="82"/>
                  <a:pt x="48" y="82"/>
                  <a:pt x="48" y="82"/>
                </a:cubicBezTo>
                <a:lnTo>
                  <a:pt x="48" y="117"/>
                </a:lnTo>
                <a:close/>
                <a:moveTo>
                  <a:pt x="14" y="33"/>
                </a:moveTo>
                <a:cubicBezTo>
                  <a:pt x="38" y="33"/>
                  <a:pt x="38" y="33"/>
                  <a:pt x="38" y="33"/>
                </a:cubicBezTo>
                <a:cubicBezTo>
                  <a:pt x="40" y="33"/>
                  <a:pt x="42" y="34"/>
                  <a:pt x="42" y="36"/>
                </a:cubicBezTo>
                <a:cubicBezTo>
                  <a:pt x="42" y="41"/>
                  <a:pt x="42" y="41"/>
                  <a:pt x="42" y="41"/>
                </a:cubicBezTo>
                <a:cubicBezTo>
                  <a:pt x="42" y="43"/>
                  <a:pt x="40" y="45"/>
                  <a:pt x="38" y="45"/>
                </a:cubicBezTo>
                <a:cubicBezTo>
                  <a:pt x="14" y="45"/>
                  <a:pt x="14" y="45"/>
                  <a:pt x="14" y="45"/>
                </a:cubicBezTo>
                <a:cubicBezTo>
                  <a:pt x="12" y="45"/>
                  <a:pt x="10" y="43"/>
                  <a:pt x="10" y="41"/>
                </a:cubicBezTo>
                <a:cubicBezTo>
                  <a:pt x="10" y="36"/>
                  <a:pt x="10" y="36"/>
                  <a:pt x="10" y="36"/>
                </a:cubicBezTo>
                <a:cubicBezTo>
                  <a:pt x="10" y="34"/>
                  <a:pt x="12" y="33"/>
                  <a:pt x="14" y="33"/>
                </a:cubicBezTo>
                <a:close/>
                <a:moveTo>
                  <a:pt x="10" y="25"/>
                </a:moveTo>
                <a:cubicBezTo>
                  <a:pt x="10" y="20"/>
                  <a:pt x="10" y="20"/>
                  <a:pt x="10" y="20"/>
                </a:cubicBezTo>
                <a:cubicBezTo>
                  <a:pt x="10" y="18"/>
                  <a:pt x="12" y="16"/>
                  <a:pt x="14" y="16"/>
                </a:cubicBezTo>
                <a:cubicBezTo>
                  <a:pt x="38" y="16"/>
                  <a:pt x="38" y="16"/>
                  <a:pt x="38" y="16"/>
                </a:cubicBezTo>
                <a:cubicBezTo>
                  <a:pt x="40" y="16"/>
                  <a:pt x="42" y="18"/>
                  <a:pt x="42" y="20"/>
                </a:cubicBezTo>
                <a:cubicBezTo>
                  <a:pt x="42" y="25"/>
                  <a:pt x="42" y="25"/>
                  <a:pt x="42" y="25"/>
                </a:cubicBezTo>
                <a:cubicBezTo>
                  <a:pt x="42" y="27"/>
                  <a:pt x="40" y="28"/>
                  <a:pt x="38" y="28"/>
                </a:cubicBezTo>
                <a:cubicBezTo>
                  <a:pt x="14" y="28"/>
                  <a:pt x="14" y="28"/>
                  <a:pt x="14" y="28"/>
                </a:cubicBezTo>
                <a:cubicBezTo>
                  <a:pt x="12" y="28"/>
                  <a:pt x="10" y="27"/>
                  <a:pt x="10" y="25"/>
                </a:cubicBezTo>
                <a:close/>
                <a:moveTo>
                  <a:pt x="26" y="90"/>
                </a:moveTo>
                <a:cubicBezTo>
                  <a:pt x="21" y="90"/>
                  <a:pt x="17" y="86"/>
                  <a:pt x="17" y="82"/>
                </a:cubicBezTo>
                <a:cubicBezTo>
                  <a:pt x="17" y="77"/>
                  <a:pt x="21" y="73"/>
                  <a:pt x="26" y="73"/>
                </a:cubicBezTo>
                <a:cubicBezTo>
                  <a:pt x="30" y="73"/>
                  <a:pt x="34" y="77"/>
                  <a:pt x="34" y="82"/>
                </a:cubicBezTo>
                <a:cubicBezTo>
                  <a:pt x="34" y="86"/>
                  <a:pt x="30" y="90"/>
                  <a:pt x="26" y="90"/>
                </a:cubicBezTo>
                <a:close/>
                <a:moveTo>
                  <a:pt x="30" y="102"/>
                </a:moveTo>
                <a:cubicBezTo>
                  <a:pt x="30" y="105"/>
                  <a:pt x="28" y="106"/>
                  <a:pt x="26" y="106"/>
                </a:cubicBezTo>
                <a:cubicBezTo>
                  <a:pt x="24" y="106"/>
                  <a:pt x="22" y="105"/>
                  <a:pt x="22" y="102"/>
                </a:cubicBezTo>
                <a:cubicBezTo>
                  <a:pt x="22" y="100"/>
                  <a:pt x="24" y="98"/>
                  <a:pt x="26" y="98"/>
                </a:cubicBezTo>
                <a:cubicBezTo>
                  <a:pt x="28" y="98"/>
                  <a:pt x="30" y="100"/>
                  <a:pt x="30" y="102"/>
                </a:cubicBezTo>
                <a:close/>
                <a:moveTo>
                  <a:pt x="22" y="59"/>
                </a:moveTo>
                <a:cubicBezTo>
                  <a:pt x="21" y="59"/>
                  <a:pt x="20" y="58"/>
                  <a:pt x="20" y="57"/>
                </a:cubicBezTo>
                <a:cubicBezTo>
                  <a:pt x="20" y="56"/>
                  <a:pt x="21" y="55"/>
                  <a:pt x="22" y="55"/>
                </a:cubicBezTo>
                <a:cubicBezTo>
                  <a:pt x="38" y="55"/>
                  <a:pt x="38" y="55"/>
                  <a:pt x="38" y="55"/>
                </a:cubicBezTo>
                <a:cubicBezTo>
                  <a:pt x="40" y="55"/>
                  <a:pt x="41" y="56"/>
                  <a:pt x="41" y="57"/>
                </a:cubicBezTo>
                <a:cubicBezTo>
                  <a:pt x="41" y="58"/>
                  <a:pt x="40" y="59"/>
                  <a:pt x="38" y="59"/>
                </a:cubicBezTo>
                <a:lnTo>
                  <a:pt x="22" y="59"/>
                </a:lnTo>
                <a:close/>
                <a:moveTo>
                  <a:pt x="48" y="44"/>
                </a:moveTo>
                <a:cubicBezTo>
                  <a:pt x="45" y="8"/>
                  <a:pt x="45" y="8"/>
                  <a:pt x="45" y="8"/>
                </a:cubicBezTo>
                <a:cubicBezTo>
                  <a:pt x="45" y="7"/>
                  <a:pt x="44" y="6"/>
                  <a:pt x="43" y="6"/>
                </a:cubicBezTo>
                <a:cubicBezTo>
                  <a:pt x="9" y="6"/>
                  <a:pt x="9" y="6"/>
                  <a:pt x="9" y="6"/>
                </a:cubicBezTo>
                <a:cubicBezTo>
                  <a:pt x="8" y="6"/>
                  <a:pt x="7" y="7"/>
                  <a:pt x="7" y="8"/>
                </a:cubicBezTo>
                <a:cubicBezTo>
                  <a:pt x="4" y="44"/>
                  <a:pt x="4" y="44"/>
                  <a:pt x="4" y="44"/>
                </a:cubicBezTo>
                <a:cubicBezTo>
                  <a:pt x="4" y="8"/>
                  <a:pt x="4" y="8"/>
                  <a:pt x="4" y="8"/>
                </a:cubicBezTo>
                <a:cubicBezTo>
                  <a:pt x="4" y="6"/>
                  <a:pt x="6" y="4"/>
                  <a:pt x="9" y="4"/>
                </a:cubicBezTo>
                <a:cubicBezTo>
                  <a:pt x="43" y="4"/>
                  <a:pt x="43" y="4"/>
                  <a:pt x="43" y="4"/>
                </a:cubicBezTo>
                <a:cubicBezTo>
                  <a:pt x="46" y="4"/>
                  <a:pt x="48" y="6"/>
                  <a:pt x="48" y="8"/>
                </a:cubicBezTo>
                <a:lnTo>
                  <a:pt x="48" y="44"/>
                </a:lnTo>
                <a:close/>
                <a:moveTo>
                  <a:pt x="31" y="28"/>
                </a:moveTo>
                <a:cubicBezTo>
                  <a:pt x="32" y="28"/>
                  <a:pt x="32" y="28"/>
                  <a:pt x="32" y="28"/>
                </a:cubicBezTo>
                <a:cubicBezTo>
                  <a:pt x="33" y="28"/>
                  <a:pt x="34" y="27"/>
                  <a:pt x="34" y="26"/>
                </a:cubicBezTo>
                <a:cubicBezTo>
                  <a:pt x="34" y="25"/>
                  <a:pt x="33" y="25"/>
                  <a:pt x="32" y="25"/>
                </a:cubicBezTo>
                <a:cubicBezTo>
                  <a:pt x="31" y="25"/>
                  <a:pt x="31" y="25"/>
                  <a:pt x="31" y="25"/>
                </a:cubicBezTo>
                <a:cubicBezTo>
                  <a:pt x="31" y="25"/>
                  <a:pt x="30" y="25"/>
                  <a:pt x="30" y="26"/>
                </a:cubicBezTo>
                <a:cubicBezTo>
                  <a:pt x="30" y="27"/>
                  <a:pt x="31" y="28"/>
                  <a:pt x="31" y="28"/>
                </a:cubicBezTo>
                <a:close/>
                <a:moveTo>
                  <a:pt x="36" y="28"/>
                </a:moveTo>
                <a:cubicBezTo>
                  <a:pt x="37" y="28"/>
                  <a:pt x="37" y="28"/>
                  <a:pt x="37" y="28"/>
                </a:cubicBezTo>
                <a:cubicBezTo>
                  <a:pt x="38" y="28"/>
                  <a:pt x="38" y="27"/>
                  <a:pt x="38" y="26"/>
                </a:cubicBezTo>
                <a:cubicBezTo>
                  <a:pt x="38" y="25"/>
                  <a:pt x="38" y="25"/>
                  <a:pt x="37" y="25"/>
                </a:cubicBezTo>
                <a:cubicBezTo>
                  <a:pt x="36" y="25"/>
                  <a:pt x="36" y="25"/>
                  <a:pt x="36" y="25"/>
                </a:cubicBezTo>
                <a:cubicBezTo>
                  <a:pt x="35" y="25"/>
                  <a:pt x="35" y="25"/>
                  <a:pt x="35" y="26"/>
                </a:cubicBezTo>
                <a:cubicBezTo>
                  <a:pt x="35" y="27"/>
                  <a:pt x="35" y="28"/>
                  <a:pt x="36" y="28"/>
                </a:cubicBezTo>
                <a:close/>
                <a:moveTo>
                  <a:pt x="32" y="43"/>
                </a:moveTo>
                <a:cubicBezTo>
                  <a:pt x="32" y="43"/>
                  <a:pt x="32" y="43"/>
                  <a:pt x="32" y="43"/>
                </a:cubicBezTo>
                <a:cubicBezTo>
                  <a:pt x="33" y="43"/>
                  <a:pt x="34" y="43"/>
                  <a:pt x="34" y="42"/>
                </a:cubicBezTo>
                <a:cubicBezTo>
                  <a:pt x="34" y="41"/>
                  <a:pt x="33" y="40"/>
                  <a:pt x="32" y="40"/>
                </a:cubicBezTo>
                <a:cubicBezTo>
                  <a:pt x="32" y="40"/>
                  <a:pt x="32" y="40"/>
                  <a:pt x="32" y="40"/>
                </a:cubicBezTo>
                <a:cubicBezTo>
                  <a:pt x="31" y="40"/>
                  <a:pt x="30" y="41"/>
                  <a:pt x="30" y="42"/>
                </a:cubicBezTo>
                <a:cubicBezTo>
                  <a:pt x="30" y="43"/>
                  <a:pt x="31" y="43"/>
                  <a:pt x="32" y="43"/>
                </a:cubicBezTo>
                <a:close/>
                <a:moveTo>
                  <a:pt x="36" y="43"/>
                </a:moveTo>
                <a:cubicBezTo>
                  <a:pt x="37" y="43"/>
                  <a:pt x="37" y="43"/>
                  <a:pt x="37" y="43"/>
                </a:cubicBezTo>
                <a:cubicBezTo>
                  <a:pt x="38" y="43"/>
                  <a:pt x="39" y="43"/>
                  <a:pt x="39" y="42"/>
                </a:cubicBezTo>
                <a:cubicBezTo>
                  <a:pt x="39" y="41"/>
                  <a:pt x="38" y="40"/>
                  <a:pt x="37" y="40"/>
                </a:cubicBezTo>
                <a:cubicBezTo>
                  <a:pt x="36" y="40"/>
                  <a:pt x="36" y="40"/>
                  <a:pt x="36" y="40"/>
                </a:cubicBezTo>
                <a:cubicBezTo>
                  <a:pt x="36" y="40"/>
                  <a:pt x="35" y="41"/>
                  <a:pt x="35" y="42"/>
                </a:cubicBezTo>
                <a:cubicBezTo>
                  <a:pt x="35" y="43"/>
                  <a:pt x="36" y="43"/>
                  <a:pt x="36" y="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2" name="Freeform 125"/>
          <p:cNvSpPr>
            <a:spLocks/>
          </p:cNvSpPr>
          <p:nvPr/>
        </p:nvSpPr>
        <p:spPr bwMode="auto">
          <a:xfrm>
            <a:off x="1325034" y="3316817"/>
            <a:ext cx="309033" cy="186267"/>
          </a:xfrm>
          <a:custGeom>
            <a:avLst/>
            <a:gdLst>
              <a:gd name="T0" fmla="*/ 298751224 w 103"/>
              <a:gd name="T1" fmla="*/ 213234024 h 62"/>
              <a:gd name="T2" fmla="*/ 0 w 103"/>
              <a:gd name="T3" fmla="*/ 304622610 h 62"/>
              <a:gd name="T4" fmla="*/ 0 w 103"/>
              <a:gd name="T5" fmla="*/ 20308324 h 62"/>
              <a:gd name="T6" fmla="*/ 20254435 w 103"/>
              <a:gd name="T7" fmla="*/ 0 h 62"/>
              <a:gd name="T8" fmla="*/ 501295571 w 103"/>
              <a:gd name="T9" fmla="*/ 0 h 62"/>
              <a:gd name="T10" fmla="*/ 521550006 w 103"/>
              <a:gd name="T11" fmla="*/ 20308324 h 62"/>
              <a:gd name="T12" fmla="*/ 298751224 w 103"/>
              <a:gd name="T13" fmla="*/ 213234024 h 6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03" h="62">
                <a:moveTo>
                  <a:pt x="59" y="42"/>
                </a:moveTo>
                <a:cubicBezTo>
                  <a:pt x="35" y="53"/>
                  <a:pt x="0" y="62"/>
                  <a:pt x="0" y="60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1" y="0"/>
                  <a:pt x="4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02" y="0"/>
                  <a:pt x="103" y="2"/>
                  <a:pt x="103" y="4"/>
                </a:cubicBezTo>
                <a:cubicBezTo>
                  <a:pt x="103" y="4"/>
                  <a:pt x="83" y="31"/>
                  <a:pt x="59" y="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3" name="Freeform 126"/>
          <p:cNvSpPr>
            <a:spLocks noEditPoints="1"/>
          </p:cNvSpPr>
          <p:nvPr/>
        </p:nvSpPr>
        <p:spPr bwMode="auto">
          <a:xfrm>
            <a:off x="1291167" y="3293534"/>
            <a:ext cx="372533" cy="249767"/>
          </a:xfrm>
          <a:custGeom>
            <a:avLst/>
            <a:gdLst>
              <a:gd name="T0" fmla="*/ 604166448 w 124"/>
              <a:gd name="T1" fmla="*/ 0 h 83"/>
              <a:gd name="T2" fmla="*/ 25384842 w 124"/>
              <a:gd name="T3" fmla="*/ 0 h 83"/>
              <a:gd name="T4" fmla="*/ 0 w 124"/>
              <a:gd name="T5" fmla="*/ 25469429 h 83"/>
              <a:gd name="T6" fmla="*/ 0 w 124"/>
              <a:gd name="T7" fmla="*/ 402403440 h 83"/>
              <a:gd name="T8" fmla="*/ 25384842 w 124"/>
              <a:gd name="T9" fmla="*/ 422778983 h 83"/>
              <a:gd name="T10" fmla="*/ 604166448 w 124"/>
              <a:gd name="T11" fmla="*/ 422778983 h 83"/>
              <a:gd name="T12" fmla="*/ 629551290 w 124"/>
              <a:gd name="T13" fmla="*/ 402403440 h 83"/>
              <a:gd name="T14" fmla="*/ 629551290 w 124"/>
              <a:gd name="T15" fmla="*/ 25469429 h 83"/>
              <a:gd name="T16" fmla="*/ 604166448 w 124"/>
              <a:gd name="T17" fmla="*/ 0 h 83"/>
              <a:gd name="T18" fmla="*/ 594011160 w 124"/>
              <a:gd name="T19" fmla="*/ 382030154 h 83"/>
              <a:gd name="T20" fmla="*/ 573705089 w 124"/>
              <a:gd name="T21" fmla="*/ 402403440 h 83"/>
              <a:gd name="T22" fmla="*/ 55846202 w 124"/>
              <a:gd name="T23" fmla="*/ 402403440 h 83"/>
              <a:gd name="T24" fmla="*/ 35540131 w 124"/>
              <a:gd name="T25" fmla="*/ 382030154 h 83"/>
              <a:gd name="T26" fmla="*/ 35540131 w 124"/>
              <a:gd name="T27" fmla="*/ 45842716 h 83"/>
              <a:gd name="T28" fmla="*/ 55846202 w 124"/>
              <a:gd name="T29" fmla="*/ 25469429 h 83"/>
              <a:gd name="T30" fmla="*/ 573705089 w 124"/>
              <a:gd name="T31" fmla="*/ 25469429 h 83"/>
              <a:gd name="T32" fmla="*/ 594011160 w 124"/>
              <a:gd name="T33" fmla="*/ 45842716 h 83"/>
              <a:gd name="T34" fmla="*/ 594011160 w 124"/>
              <a:gd name="T35" fmla="*/ 382030154 h 8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24" h="83">
                <a:moveTo>
                  <a:pt x="119" y="0"/>
                </a:move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81"/>
                  <a:pt x="2" y="83"/>
                  <a:pt x="5" y="83"/>
                </a:cubicBezTo>
                <a:cubicBezTo>
                  <a:pt x="119" y="83"/>
                  <a:pt x="119" y="83"/>
                  <a:pt x="119" y="83"/>
                </a:cubicBezTo>
                <a:cubicBezTo>
                  <a:pt x="122" y="83"/>
                  <a:pt x="124" y="81"/>
                  <a:pt x="124" y="79"/>
                </a:cubicBezTo>
                <a:cubicBezTo>
                  <a:pt x="124" y="5"/>
                  <a:pt x="124" y="5"/>
                  <a:pt x="124" y="5"/>
                </a:cubicBezTo>
                <a:cubicBezTo>
                  <a:pt x="124" y="2"/>
                  <a:pt x="122" y="0"/>
                  <a:pt x="119" y="0"/>
                </a:cubicBezTo>
                <a:close/>
                <a:moveTo>
                  <a:pt x="117" y="75"/>
                </a:moveTo>
                <a:cubicBezTo>
                  <a:pt x="117" y="77"/>
                  <a:pt x="115" y="79"/>
                  <a:pt x="113" y="79"/>
                </a:cubicBezTo>
                <a:cubicBezTo>
                  <a:pt x="11" y="79"/>
                  <a:pt x="11" y="79"/>
                  <a:pt x="11" y="79"/>
                </a:cubicBezTo>
                <a:cubicBezTo>
                  <a:pt x="9" y="79"/>
                  <a:pt x="7" y="77"/>
                  <a:pt x="7" y="75"/>
                </a:cubicBezTo>
                <a:cubicBezTo>
                  <a:pt x="7" y="9"/>
                  <a:pt x="7" y="9"/>
                  <a:pt x="7" y="9"/>
                </a:cubicBezTo>
                <a:cubicBezTo>
                  <a:pt x="7" y="7"/>
                  <a:pt x="9" y="5"/>
                  <a:pt x="11" y="5"/>
                </a:cubicBezTo>
                <a:cubicBezTo>
                  <a:pt x="113" y="5"/>
                  <a:pt x="113" y="5"/>
                  <a:pt x="113" y="5"/>
                </a:cubicBezTo>
                <a:cubicBezTo>
                  <a:pt x="115" y="5"/>
                  <a:pt x="117" y="7"/>
                  <a:pt x="117" y="9"/>
                </a:cubicBezTo>
                <a:lnTo>
                  <a:pt x="117" y="7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4" name="Freeform 127"/>
          <p:cNvSpPr>
            <a:spLocks noEditPoints="1"/>
          </p:cNvSpPr>
          <p:nvPr/>
        </p:nvSpPr>
        <p:spPr bwMode="auto">
          <a:xfrm>
            <a:off x="1375834" y="3566584"/>
            <a:ext cx="205317" cy="48683"/>
          </a:xfrm>
          <a:custGeom>
            <a:avLst/>
            <a:gdLst>
              <a:gd name="T0" fmla="*/ 174355178 w 68"/>
              <a:gd name="T1" fmla="*/ 0 h 16"/>
              <a:gd name="T2" fmla="*/ 0 w 68"/>
              <a:gd name="T3" fmla="*/ 83322666 h 16"/>
              <a:gd name="T4" fmla="*/ 348708091 w 68"/>
              <a:gd name="T5" fmla="*/ 83322666 h 16"/>
              <a:gd name="T6" fmla="*/ 174355178 w 68"/>
              <a:gd name="T7" fmla="*/ 0 h 16"/>
              <a:gd name="T8" fmla="*/ 66665481 w 68"/>
              <a:gd name="T9" fmla="*/ 72907618 h 16"/>
              <a:gd name="T10" fmla="*/ 25641267 w 68"/>
              <a:gd name="T11" fmla="*/ 72907618 h 16"/>
              <a:gd name="T12" fmla="*/ 148713911 w 68"/>
              <a:gd name="T13" fmla="*/ 10415048 h 16"/>
              <a:gd name="T14" fmla="*/ 66665481 w 68"/>
              <a:gd name="T15" fmla="*/ 72907618 h 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8" h="16">
                <a:moveTo>
                  <a:pt x="34" y="0"/>
                </a:moveTo>
                <a:cubicBezTo>
                  <a:pt x="19" y="0"/>
                  <a:pt x="6" y="7"/>
                  <a:pt x="0" y="16"/>
                </a:cubicBezTo>
                <a:cubicBezTo>
                  <a:pt x="68" y="16"/>
                  <a:pt x="68" y="16"/>
                  <a:pt x="68" y="16"/>
                </a:cubicBezTo>
                <a:cubicBezTo>
                  <a:pt x="63" y="7"/>
                  <a:pt x="49" y="0"/>
                  <a:pt x="34" y="0"/>
                </a:cubicBezTo>
                <a:close/>
                <a:moveTo>
                  <a:pt x="13" y="14"/>
                </a:moveTo>
                <a:cubicBezTo>
                  <a:pt x="5" y="14"/>
                  <a:pt x="5" y="14"/>
                  <a:pt x="5" y="14"/>
                </a:cubicBezTo>
                <a:cubicBezTo>
                  <a:pt x="5" y="14"/>
                  <a:pt x="12" y="4"/>
                  <a:pt x="29" y="2"/>
                </a:cubicBezTo>
                <a:cubicBezTo>
                  <a:pt x="14" y="7"/>
                  <a:pt x="13" y="14"/>
                  <a:pt x="13" y="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5" name="Freeform 128"/>
          <p:cNvSpPr>
            <a:spLocks noEditPoints="1"/>
          </p:cNvSpPr>
          <p:nvPr/>
        </p:nvSpPr>
        <p:spPr bwMode="auto">
          <a:xfrm>
            <a:off x="2017184" y="3109384"/>
            <a:ext cx="533400" cy="607483"/>
          </a:xfrm>
          <a:custGeom>
            <a:avLst/>
            <a:gdLst>
              <a:gd name="T0" fmla="*/ 277812250 w 178"/>
              <a:gd name="T1" fmla="*/ 971676044 h 202"/>
              <a:gd name="T2" fmla="*/ 631391274 w 178"/>
              <a:gd name="T3" fmla="*/ 971676044 h 202"/>
              <a:gd name="T4" fmla="*/ 479857728 w 178"/>
              <a:gd name="T5" fmla="*/ 925891549 h 202"/>
              <a:gd name="T6" fmla="*/ 454600638 w 178"/>
              <a:gd name="T7" fmla="*/ 1017462794 h 202"/>
              <a:gd name="T8" fmla="*/ 424295727 w 178"/>
              <a:gd name="T9" fmla="*/ 925891549 h 202"/>
              <a:gd name="T10" fmla="*/ 146483477 w 178"/>
              <a:gd name="T11" fmla="*/ 178056327 h 202"/>
              <a:gd name="T12" fmla="*/ 5050069 w 178"/>
              <a:gd name="T13" fmla="*/ 681699305 h 202"/>
              <a:gd name="T14" fmla="*/ 141431160 w 178"/>
              <a:gd name="T15" fmla="*/ 819057301 h 202"/>
              <a:gd name="T16" fmla="*/ 282862320 w 178"/>
              <a:gd name="T17" fmla="*/ 686787724 h 202"/>
              <a:gd name="T18" fmla="*/ 151533546 w 178"/>
              <a:gd name="T19" fmla="*/ 178056327 h 202"/>
              <a:gd name="T20" fmla="*/ 146483477 w 178"/>
              <a:gd name="T21" fmla="*/ 178056327 h 202"/>
              <a:gd name="T22" fmla="*/ 146483477 w 178"/>
              <a:gd name="T23" fmla="*/ 178056327 h 202"/>
              <a:gd name="T24" fmla="*/ 136381090 w 178"/>
              <a:gd name="T25" fmla="*/ 264541409 h 202"/>
              <a:gd name="T26" fmla="*/ 20204772 w 178"/>
              <a:gd name="T27" fmla="*/ 696962307 h 202"/>
              <a:gd name="T28" fmla="*/ 15152456 w 178"/>
              <a:gd name="T29" fmla="*/ 717311473 h 202"/>
              <a:gd name="T30" fmla="*/ 136381090 w 178"/>
              <a:gd name="T31" fmla="*/ 803796555 h 202"/>
              <a:gd name="T32" fmla="*/ 156585863 w 178"/>
              <a:gd name="T33" fmla="*/ 259452990 h 202"/>
              <a:gd name="T34" fmla="*/ 156585863 w 178"/>
              <a:gd name="T35" fmla="*/ 696962307 h 202"/>
              <a:gd name="T36" fmla="*/ 495010183 w 178"/>
              <a:gd name="T37" fmla="*/ 152618742 h 202"/>
              <a:gd name="T38" fmla="*/ 454600638 w 178"/>
              <a:gd name="T39" fmla="*/ 0 h 202"/>
              <a:gd name="T40" fmla="*/ 414193341 w 178"/>
              <a:gd name="T41" fmla="*/ 152618742 h 202"/>
              <a:gd name="T42" fmla="*/ 146483477 w 178"/>
              <a:gd name="T43" fmla="*/ 178056327 h 202"/>
              <a:gd name="T44" fmla="*/ 439448183 w 178"/>
              <a:gd name="T45" fmla="*/ 228929241 h 202"/>
              <a:gd name="T46" fmla="*/ 454600638 w 178"/>
              <a:gd name="T47" fmla="*/ 976764463 h 202"/>
              <a:gd name="T48" fmla="*/ 464703024 w 178"/>
              <a:gd name="T49" fmla="*/ 228929241 h 202"/>
              <a:gd name="T50" fmla="*/ 757669978 w 178"/>
              <a:gd name="T51" fmla="*/ 178056327 h 202"/>
              <a:gd name="T52" fmla="*/ 495010183 w 178"/>
              <a:gd name="T53" fmla="*/ 152618742 h 202"/>
              <a:gd name="T54" fmla="*/ 772822433 w 178"/>
              <a:gd name="T55" fmla="*/ 193317074 h 202"/>
              <a:gd name="T56" fmla="*/ 762720047 w 178"/>
              <a:gd name="T57" fmla="*/ 178056327 h 202"/>
              <a:gd name="T58" fmla="*/ 757669978 w 178"/>
              <a:gd name="T59" fmla="*/ 178056327 h 202"/>
              <a:gd name="T60" fmla="*/ 747567592 w 178"/>
              <a:gd name="T61" fmla="*/ 193317074 h 202"/>
              <a:gd name="T62" fmla="*/ 611186501 w 178"/>
              <a:gd name="T63" fmla="*/ 696962307 h 202"/>
              <a:gd name="T64" fmla="*/ 899101138 w 178"/>
              <a:gd name="T65" fmla="*/ 696962307 h 202"/>
              <a:gd name="T66" fmla="*/ 631391274 w 178"/>
              <a:gd name="T67" fmla="*/ 691873888 h 202"/>
              <a:gd name="T68" fmla="*/ 747567592 w 178"/>
              <a:gd name="T69" fmla="*/ 696962307 h 202"/>
              <a:gd name="T70" fmla="*/ 631391274 w 178"/>
              <a:gd name="T71" fmla="*/ 691873888 h 202"/>
              <a:gd name="T72" fmla="*/ 666748502 w 178"/>
              <a:gd name="T73" fmla="*/ 717311473 h 202"/>
              <a:gd name="T74" fmla="*/ 626341204 w 178"/>
              <a:gd name="T75" fmla="*/ 717311473 h 202"/>
              <a:gd name="T76" fmla="*/ 767772364 w 178"/>
              <a:gd name="T77" fmla="*/ 259452990 h 202"/>
              <a:gd name="T78" fmla="*/ 767772364 w 178"/>
              <a:gd name="T79" fmla="*/ 696962307 h 202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78" h="202">
                <a:moveTo>
                  <a:pt x="84" y="180"/>
                </a:moveTo>
                <a:cubicBezTo>
                  <a:pt x="68" y="181"/>
                  <a:pt x="55" y="185"/>
                  <a:pt x="55" y="191"/>
                </a:cubicBezTo>
                <a:cubicBezTo>
                  <a:pt x="55" y="197"/>
                  <a:pt x="71" y="202"/>
                  <a:pt x="90" y="202"/>
                </a:cubicBezTo>
                <a:cubicBezTo>
                  <a:pt x="109" y="202"/>
                  <a:pt x="125" y="197"/>
                  <a:pt x="125" y="191"/>
                </a:cubicBezTo>
                <a:cubicBezTo>
                  <a:pt x="125" y="185"/>
                  <a:pt x="112" y="180"/>
                  <a:pt x="95" y="180"/>
                </a:cubicBezTo>
                <a:cubicBezTo>
                  <a:pt x="95" y="182"/>
                  <a:pt x="95" y="182"/>
                  <a:pt x="95" y="182"/>
                </a:cubicBezTo>
                <a:cubicBezTo>
                  <a:pt x="108" y="183"/>
                  <a:pt x="118" y="186"/>
                  <a:pt x="118" y="191"/>
                </a:cubicBezTo>
                <a:cubicBezTo>
                  <a:pt x="118" y="196"/>
                  <a:pt x="105" y="200"/>
                  <a:pt x="90" y="200"/>
                </a:cubicBezTo>
                <a:cubicBezTo>
                  <a:pt x="74" y="200"/>
                  <a:pt x="62" y="196"/>
                  <a:pt x="62" y="191"/>
                </a:cubicBezTo>
                <a:cubicBezTo>
                  <a:pt x="62" y="186"/>
                  <a:pt x="71" y="183"/>
                  <a:pt x="84" y="182"/>
                </a:cubicBezTo>
                <a:lnTo>
                  <a:pt x="84" y="180"/>
                </a:lnTo>
                <a:close/>
                <a:moveTo>
                  <a:pt x="29" y="35"/>
                </a:moveTo>
                <a:cubicBezTo>
                  <a:pt x="28" y="35"/>
                  <a:pt x="27" y="36"/>
                  <a:pt x="27" y="38"/>
                </a:cubicBezTo>
                <a:cubicBezTo>
                  <a:pt x="1" y="134"/>
                  <a:pt x="1" y="134"/>
                  <a:pt x="1" y="134"/>
                </a:cubicBezTo>
                <a:cubicBezTo>
                  <a:pt x="0" y="134"/>
                  <a:pt x="0" y="136"/>
                  <a:pt x="0" y="137"/>
                </a:cubicBezTo>
                <a:cubicBezTo>
                  <a:pt x="0" y="150"/>
                  <a:pt x="13" y="161"/>
                  <a:pt x="28" y="161"/>
                </a:cubicBezTo>
                <a:cubicBezTo>
                  <a:pt x="44" y="161"/>
                  <a:pt x="57" y="150"/>
                  <a:pt x="57" y="137"/>
                </a:cubicBezTo>
                <a:cubicBezTo>
                  <a:pt x="57" y="137"/>
                  <a:pt x="56" y="136"/>
                  <a:pt x="56" y="135"/>
                </a:cubicBezTo>
                <a:cubicBezTo>
                  <a:pt x="32" y="38"/>
                  <a:pt x="32" y="38"/>
                  <a:pt x="32" y="38"/>
                </a:cubicBezTo>
                <a:cubicBezTo>
                  <a:pt x="31" y="36"/>
                  <a:pt x="31" y="35"/>
                  <a:pt x="30" y="35"/>
                </a:cubicBezTo>
                <a:cubicBezTo>
                  <a:pt x="30" y="35"/>
                  <a:pt x="30" y="35"/>
                  <a:pt x="30" y="35"/>
                </a:cubicBezTo>
                <a:cubicBezTo>
                  <a:pt x="30" y="35"/>
                  <a:pt x="30" y="35"/>
                  <a:pt x="29" y="35"/>
                </a:cubicBezTo>
                <a:cubicBezTo>
                  <a:pt x="29" y="35"/>
                  <a:pt x="29" y="35"/>
                  <a:pt x="29" y="35"/>
                </a:cubicBezTo>
                <a:cubicBezTo>
                  <a:pt x="29" y="35"/>
                  <a:pt x="29" y="35"/>
                  <a:pt x="29" y="35"/>
                </a:cubicBezTo>
                <a:close/>
                <a:moveTo>
                  <a:pt x="4" y="136"/>
                </a:moveTo>
                <a:cubicBezTo>
                  <a:pt x="27" y="52"/>
                  <a:pt x="27" y="52"/>
                  <a:pt x="27" y="52"/>
                </a:cubicBezTo>
                <a:cubicBezTo>
                  <a:pt x="27" y="137"/>
                  <a:pt x="27" y="137"/>
                  <a:pt x="27" y="137"/>
                </a:cubicBezTo>
                <a:cubicBezTo>
                  <a:pt x="4" y="137"/>
                  <a:pt x="4" y="137"/>
                  <a:pt x="4" y="137"/>
                </a:cubicBezTo>
                <a:cubicBezTo>
                  <a:pt x="4" y="137"/>
                  <a:pt x="4" y="136"/>
                  <a:pt x="4" y="136"/>
                </a:cubicBezTo>
                <a:close/>
                <a:moveTo>
                  <a:pt x="3" y="141"/>
                </a:moveTo>
                <a:cubicBezTo>
                  <a:pt x="11" y="141"/>
                  <a:pt x="11" y="141"/>
                  <a:pt x="11" y="141"/>
                </a:cubicBezTo>
                <a:cubicBezTo>
                  <a:pt x="11" y="141"/>
                  <a:pt x="9" y="150"/>
                  <a:pt x="27" y="158"/>
                </a:cubicBezTo>
                <a:cubicBezTo>
                  <a:pt x="7" y="156"/>
                  <a:pt x="3" y="141"/>
                  <a:pt x="3" y="141"/>
                </a:cubicBezTo>
                <a:close/>
                <a:moveTo>
                  <a:pt x="31" y="51"/>
                </a:moveTo>
                <a:cubicBezTo>
                  <a:pt x="53" y="137"/>
                  <a:pt x="53" y="137"/>
                  <a:pt x="53" y="137"/>
                </a:cubicBezTo>
                <a:cubicBezTo>
                  <a:pt x="31" y="137"/>
                  <a:pt x="31" y="137"/>
                  <a:pt x="31" y="137"/>
                </a:cubicBezTo>
                <a:lnTo>
                  <a:pt x="31" y="51"/>
                </a:lnTo>
                <a:close/>
                <a:moveTo>
                  <a:pt x="98" y="30"/>
                </a:moveTo>
                <a:cubicBezTo>
                  <a:pt x="96" y="27"/>
                  <a:pt x="94" y="25"/>
                  <a:pt x="91" y="25"/>
                </a:cubicBezTo>
                <a:cubicBezTo>
                  <a:pt x="90" y="0"/>
                  <a:pt x="90" y="0"/>
                  <a:pt x="90" y="0"/>
                </a:cubicBezTo>
                <a:cubicBezTo>
                  <a:pt x="88" y="25"/>
                  <a:pt x="88" y="25"/>
                  <a:pt x="88" y="25"/>
                </a:cubicBezTo>
                <a:cubicBezTo>
                  <a:pt x="86" y="25"/>
                  <a:pt x="83" y="27"/>
                  <a:pt x="82" y="30"/>
                </a:cubicBezTo>
                <a:cubicBezTo>
                  <a:pt x="52" y="27"/>
                  <a:pt x="52" y="27"/>
                  <a:pt x="52" y="27"/>
                </a:cubicBezTo>
                <a:cubicBezTo>
                  <a:pt x="29" y="35"/>
                  <a:pt x="29" y="35"/>
                  <a:pt x="29" y="35"/>
                </a:cubicBezTo>
                <a:cubicBezTo>
                  <a:pt x="82" y="39"/>
                  <a:pt x="82" y="39"/>
                  <a:pt x="82" y="39"/>
                </a:cubicBezTo>
                <a:cubicBezTo>
                  <a:pt x="82" y="42"/>
                  <a:pt x="85" y="44"/>
                  <a:pt x="87" y="45"/>
                </a:cubicBezTo>
                <a:cubicBezTo>
                  <a:pt x="84" y="96"/>
                  <a:pt x="84" y="96"/>
                  <a:pt x="84" y="96"/>
                </a:cubicBezTo>
                <a:cubicBezTo>
                  <a:pt x="90" y="192"/>
                  <a:pt x="90" y="192"/>
                  <a:pt x="90" y="192"/>
                </a:cubicBezTo>
                <a:cubicBezTo>
                  <a:pt x="95" y="96"/>
                  <a:pt x="95" y="96"/>
                  <a:pt x="95" y="96"/>
                </a:cubicBezTo>
                <a:cubicBezTo>
                  <a:pt x="92" y="45"/>
                  <a:pt x="92" y="45"/>
                  <a:pt x="92" y="45"/>
                </a:cubicBezTo>
                <a:cubicBezTo>
                  <a:pt x="95" y="44"/>
                  <a:pt x="97" y="42"/>
                  <a:pt x="98" y="39"/>
                </a:cubicBezTo>
                <a:cubicBezTo>
                  <a:pt x="150" y="35"/>
                  <a:pt x="150" y="35"/>
                  <a:pt x="150" y="35"/>
                </a:cubicBezTo>
                <a:cubicBezTo>
                  <a:pt x="127" y="27"/>
                  <a:pt x="127" y="27"/>
                  <a:pt x="127" y="27"/>
                </a:cubicBezTo>
                <a:lnTo>
                  <a:pt x="98" y="30"/>
                </a:lnTo>
                <a:close/>
                <a:moveTo>
                  <a:pt x="177" y="135"/>
                </a:moveTo>
                <a:cubicBezTo>
                  <a:pt x="153" y="38"/>
                  <a:pt x="153" y="38"/>
                  <a:pt x="153" y="38"/>
                </a:cubicBezTo>
                <a:cubicBezTo>
                  <a:pt x="152" y="36"/>
                  <a:pt x="152" y="35"/>
                  <a:pt x="151" y="35"/>
                </a:cubicBezTo>
                <a:cubicBezTo>
                  <a:pt x="151" y="35"/>
                  <a:pt x="151" y="35"/>
                  <a:pt x="151" y="35"/>
                </a:cubicBezTo>
                <a:cubicBezTo>
                  <a:pt x="151" y="35"/>
                  <a:pt x="151" y="35"/>
                  <a:pt x="150" y="35"/>
                </a:cubicBezTo>
                <a:cubicBezTo>
                  <a:pt x="150" y="35"/>
                  <a:pt x="150" y="35"/>
                  <a:pt x="150" y="35"/>
                </a:cubicBezTo>
                <a:cubicBezTo>
                  <a:pt x="150" y="35"/>
                  <a:pt x="150" y="35"/>
                  <a:pt x="150" y="35"/>
                </a:cubicBezTo>
                <a:cubicBezTo>
                  <a:pt x="149" y="35"/>
                  <a:pt x="149" y="36"/>
                  <a:pt x="148" y="38"/>
                </a:cubicBezTo>
                <a:cubicBezTo>
                  <a:pt x="122" y="134"/>
                  <a:pt x="122" y="134"/>
                  <a:pt x="122" y="134"/>
                </a:cubicBezTo>
                <a:cubicBezTo>
                  <a:pt x="121" y="134"/>
                  <a:pt x="121" y="136"/>
                  <a:pt x="121" y="137"/>
                </a:cubicBezTo>
                <a:cubicBezTo>
                  <a:pt x="121" y="150"/>
                  <a:pt x="134" y="161"/>
                  <a:pt x="150" y="161"/>
                </a:cubicBezTo>
                <a:cubicBezTo>
                  <a:pt x="165" y="161"/>
                  <a:pt x="178" y="150"/>
                  <a:pt x="178" y="137"/>
                </a:cubicBezTo>
                <a:cubicBezTo>
                  <a:pt x="178" y="137"/>
                  <a:pt x="178" y="136"/>
                  <a:pt x="177" y="135"/>
                </a:cubicBezTo>
                <a:close/>
                <a:moveTo>
                  <a:pt x="125" y="136"/>
                </a:moveTo>
                <a:cubicBezTo>
                  <a:pt x="148" y="52"/>
                  <a:pt x="148" y="52"/>
                  <a:pt x="148" y="52"/>
                </a:cubicBezTo>
                <a:cubicBezTo>
                  <a:pt x="148" y="137"/>
                  <a:pt x="148" y="137"/>
                  <a:pt x="148" y="137"/>
                </a:cubicBezTo>
                <a:cubicBezTo>
                  <a:pt x="125" y="137"/>
                  <a:pt x="125" y="137"/>
                  <a:pt x="125" y="137"/>
                </a:cubicBezTo>
                <a:cubicBezTo>
                  <a:pt x="125" y="137"/>
                  <a:pt x="125" y="136"/>
                  <a:pt x="125" y="136"/>
                </a:cubicBezTo>
                <a:close/>
                <a:moveTo>
                  <a:pt x="124" y="141"/>
                </a:moveTo>
                <a:cubicBezTo>
                  <a:pt x="132" y="141"/>
                  <a:pt x="132" y="141"/>
                  <a:pt x="132" y="141"/>
                </a:cubicBezTo>
                <a:cubicBezTo>
                  <a:pt x="132" y="141"/>
                  <a:pt x="130" y="151"/>
                  <a:pt x="149" y="159"/>
                </a:cubicBezTo>
                <a:cubicBezTo>
                  <a:pt x="128" y="156"/>
                  <a:pt x="124" y="141"/>
                  <a:pt x="124" y="141"/>
                </a:cubicBezTo>
                <a:close/>
                <a:moveTo>
                  <a:pt x="152" y="137"/>
                </a:moveTo>
                <a:cubicBezTo>
                  <a:pt x="152" y="51"/>
                  <a:pt x="152" y="51"/>
                  <a:pt x="152" y="51"/>
                </a:cubicBezTo>
                <a:cubicBezTo>
                  <a:pt x="174" y="137"/>
                  <a:pt x="174" y="137"/>
                  <a:pt x="174" y="137"/>
                </a:cubicBezTo>
                <a:lnTo>
                  <a:pt x="152" y="1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6" name="Freeform 129"/>
          <p:cNvSpPr>
            <a:spLocks noEditPoints="1"/>
          </p:cNvSpPr>
          <p:nvPr/>
        </p:nvSpPr>
        <p:spPr bwMode="auto">
          <a:xfrm>
            <a:off x="2988733" y="3261784"/>
            <a:ext cx="247651" cy="378883"/>
          </a:xfrm>
          <a:custGeom>
            <a:avLst/>
            <a:gdLst>
              <a:gd name="T0" fmla="*/ 0 w 82"/>
              <a:gd name="T1" fmla="*/ 0 h 126"/>
              <a:gd name="T2" fmla="*/ 420712426 w 82"/>
              <a:gd name="T3" fmla="*/ 640859733 h 126"/>
              <a:gd name="T4" fmla="*/ 318098976 w 82"/>
              <a:gd name="T5" fmla="*/ 0 h 126"/>
              <a:gd name="T6" fmla="*/ 128265680 w 82"/>
              <a:gd name="T7" fmla="*/ 137326925 h 126"/>
              <a:gd name="T8" fmla="*/ 128265680 w 82"/>
              <a:gd name="T9" fmla="*/ 157671571 h 126"/>
              <a:gd name="T10" fmla="*/ 30784941 w 82"/>
              <a:gd name="T11" fmla="*/ 147500375 h 126"/>
              <a:gd name="T12" fmla="*/ 379666593 w 82"/>
              <a:gd name="T13" fmla="*/ 569652345 h 126"/>
              <a:gd name="T14" fmla="*/ 30784941 w 82"/>
              <a:gd name="T15" fmla="*/ 559481149 h 126"/>
              <a:gd name="T16" fmla="*/ 379666593 w 82"/>
              <a:gd name="T17" fmla="*/ 549307699 h 126"/>
              <a:gd name="T18" fmla="*/ 379666593 w 82"/>
              <a:gd name="T19" fmla="*/ 569652345 h 126"/>
              <a:gd name="T20" fmla="*/ 35915387 w 82"/>
              <a:gd name="T21" fmla="*/ 523877455 h 126"/>
              <a:gd name="T22" fmla="*/ 35915387 w 82"/>
              <a:gd name="T23" fmla="*/ 503532809 h 126"/>
              <a:gd name="T24" fmla="*/ 384797039 w 82"/>
              <a:gd name="T25" fmla="*/ 513704004 h 126"/>
              <a:gd name="T26" fmla="*/ 30784941 w 82"/>
              <a:gd name="T27" fmla="*/ 462843517 h 126"/>
              <a:gd name="T28" fmla="*/ 220618237 w 82"/>
              <a:gd name="T29" fmla="*/ 452670066 h 126"/>
              <a:gd name="T30" fmla="*/ 220618237 w 82"/>
              <a:gd name="T31" fmla="*/ 478102565 h 126"/>
              <a:gd name="T32" fmla="*/ 30784941 w 82"/>
              <a:gd name="T33" fmla="*/ 462843517 h 126"/>
              <a:gd name="T34" fmla="*/ 35915387 w 82"/>
              <a:gd name="T35" fmla="*/ 427239822 h 126"/>
              <a:gd name="T36" fmla="*/ 35915387 w 82"/>
              <a:gd name="T37" fmla="*/ 406895176 h 126"/>
              <a:gd name="T38" fmla="*/ 384797039 w 82"/>
              <a:gd name="T39" fmla="*/ 417066372 h 126"/>
              <a:gd name="T40" fmla="*/ 379666593 w 82"/>
              <a:gd name="T41" fmla="*/ 381464932 h 126"/>
              <a:gd name="T42" fmla="*/ 30784941 w 82"/>
              <a:gd name="T43" fmla="*/ 371291482 h 126"/>
              <a:gd name="T44" fmla="*/ 379666593 w 82"/>
              <a:gd name="T45" fmla="*/ 361120286 h 126"/>
              <a:gd name="T46" fmla="*/ 379666593 w 82"/>
              <a:gd name="T47" fmla="*/ 381464932 h 126"/>
              <a:gd name="T48" fmla="*/ 35915387 w 82"/>
              <a:gd name="T49" fmla="*/ 335687787 h 126"/>
              <a:gd name="T50" fmla="*/ 35915387 w 82"/>
              <a:gd name="T51" fmla="*/ 315343141 h 126"/>
              <a:gd name="T52" fmla="*/ 384797039 w 82"/>
              <a:gd name="T53" fmla="*/ 325516592 h 126"/>
              <a:gd name="T54" fmla="*/ 379666593 w 82"/>
              <a:gd name="T55" fmla="*/ 294998495 h 126"/>
              <a:gd name="T56" fmla="*/ 30784941 w 82"/>
              <a:gd name="T57" fmla="*/ 284827300 h 126"/>
              <a:gd name="T58" fmla="*/ 379666593 w 82"/>
              <a:gd name="T59" fmla="*/ 274653849 h 126"/>
              <a:gd name="T60" fmla="*/ 379666593 w 82"/>
              <a:gd name="T61" fmla="*/ 294998495 h 126"/>
              <a:gd name="T62" fmla="*/ 35915387 w 82"/>
              <a:gd name="T63" fmla="*/ 249223606 h 126"/>
              <a:gd name="T64" fmla="*/ 35915387 w 82"/>
              <a:gd name="T65" fmla="*/ 228878959 h 126"/>
              <a:gd name="T66" fmla="*/ 384797039 w 82"/>
              <a:gd name="T67" fmla="*/ 239050155 h 126"/>
              <a:gd name="T68" fmla="*/ 379666593 w 82"/>
              <a:gd name="T69" fmla="*/ 203446460 h 126"/>
              <a:gd name="T70" fmla="*/ 30784941 w 82"/>
              <a:gd name="T71" fmla="*/ 193275265 h 126"/>
              <a:gd name="T72" fmla="*/ 379666593 w 82"/>
              <a:gd name="T73" fmla="*/ 183101814 h 126"/>
              <a:gd name="T74" fmla="*/ 379666593 w 82"/>
              <a:gd name="T75" fmla="*/ 203446460 h 126"/>
              <a:gd name="T76" fmla="*/ 302707638 w 82"/>
              <a:gd name="T77" fmla="*/ 122067876 h 126"/>
              <a:gd name="T78" fmla="*/ 354014363 w 82"/>
              <a:gd name="T79" fmla="*/ 71207389 h 126"/>
              <a:gd name="T80" fmla="*/ 354014363 w 82"/>
              <a:gd name="T81" fmla="*/ 122067876 h 12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82" h="126">
                <a:moveTo>
                  <a:pt x="6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2" y="20"/>
                  <a:pt x="82" y="20"/>
                  <a:pt x="82" y="20"/>
                </a:cubicBezTo>
                <a:lnTo>
                  <a:pt x="62" y="0"/>
                </a:lnTo>
                <a:close/>
                <a:moveTo>
                  <a:pt x="7" y="27"/>
                </a:moveTo>
                <a:cubicBezTo>
                  <a:pt x="25" y="27"/>
                  <a:pt x="25" y="27"/>
                  <a:pt x="25" y="27"/>
                </a:cubicBezTo>
                <a:cubicBezTo>
                  <a:pt x="25" y="27"/>
                  <a:pt x="25" y="28"/>
                  <a:pt x="25" y="29"/>
                </a:cubicBezTo>
                <a:cubicBezTo>
                  <a:pt x="25" y="30"/>
                  <a:pt x="25" y="31"/>
                  <a:pt x="25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6" y="31"/>
                  <a:pt x="6" y="30"/>
                  <a:pt x="6" y="29"/>
                </a:cubicBezTo>
                <a:cubicBezTo>
                  <a:pt x="6" y="28"/>
                  <a:pt x="6" y="27"/>
                  <a:pt x="7" y="27"/>
                </a:cubicBezTo>
                <a:close/>
                <a:moveTo>
                  <a:pt x="74" y="112"/>
                </a:moveTo>
                <a:cubicBezTo>
                  <a:pt x="7" y="112"/>
                  <a:pt x="7" y="112"/>
                  <a:pt x="7" y="112"/>
                </a:cubicBezTo>
                <a:cubicBezTo>
                  <a:pt x="7" y="112"/>
                  <a:pt x="6" y="111"/>
                  <a:pt x="6" y="110"/>
                </a:cubicBezTo>
                <a:cubicBezTo>
                  <a:pt x="6" y="109"/>
                  <a:pt x="7" y="108"/>
                  <a:pt x="7" y="108"/>
                </a:cubicBezTo>
                <a:cubicBezTo>
                  <a:pt x="74" y="108"/>
                  <a:pt x="74" y="108"/>
                  <a:pt x="74" y="108"/>
                </a:cubicBezTo>
                <a:cubicBezTo>
                  <a:pt x="74" y="108"/>
                  <a:pt x="75" y="109"/>
                  <a:pt x="75" y="110"/>
                </a:cubicBezTo>
                <a:cubicBezTo>
                  <a:pt x="75" y="111"/>
                  <a:pt x="74" y="112"/>
                  <a:pt x="74" y="112"/>
                </a:cubicBezTo>
                <a:close/>
                <a:moveTo>
                  <a:pt x="74" y="103"/>
                </a:moveTo>
                <a:cubicBezTo>
                  <a:pt x="7" y="103"/>
                  <a:pt x="7" y="103"/>
                  <a:pt x="7" y="103"/>
                </a:cubicBezTo>
                <a:cubicBezTo>
                  <a:pt x="7" y="103"/>
                  <a:pt x="6" y="102"/>
                  <a:pt x="6" y="101"/>
                </a:cubicBezTo>
                <a:cubicBezTo>
                  <a:pt x="6" y="100"/>
                  <a:pt x="7" y="99"/>
                  <a:pt x="7" y="99"/>
                </a:cubicBezTo>
                <a:cubicBezTo>
                  <a:pt x="74" y="99"/>
                  <a:pt x="74" y="99"/>
                  <a:pt x="74" y="99"/>
                </a:cubicBezTo>
                <a:cubicBezTo>
                  <a:pt x="74" y="99"/>
                  <a:pt x="75" y="100"/>
                  <a:pt x="75" y="101"/>
                </a:cubicBezTo>
                <a:cubicBezTo>
                  <a:pt x="75" y="102"/>
                  <a:pt x="74" y="103"/>
                  <a:pt x="74" y="103"/>
                </a:cubicBezTo>
                <a:close/>
                <a:moveTo>
                  <a:pt x="6" y="91"/>
                </a:moveTo>
                <a:cubicBezTo>
                  <a:pt x="6" y="90"/>
                  <a:pt x="6" y="89"/>
                  <a:pt x="7" y="89"/>
                </a:cubicBezTo>
                <a:cubicBezTo>
                  <a:pt x="43" y="89"/>
                  <a:pt x="43" y="89"/>
                  <a:pt x="43" y="89"/>
                </a:cubicBezTo>
                <a:cubicBezTo>
                  <a:pt x="43" y="89"/>
                  <a:pt x="43" y="90"/>
                  <a:pt x="43" y="91"/>
                </a:cubicBezTo>
                <a:cubicBezTo>
                  <a:pt x="43" y="93"/>
                  <a:pt x="43" y="94"/>
                  <a:pt x="43" y="94"/>
                </a:cubicBezTo>
                <a:cubicBezTo>
                  <a:pt x="7" y="94"/>
                  <a:pt x="7" y="94"/>
                  <a:pt x="7" y="94"/>
                </a:cubicBezTo>
                <a:cubicBezTo>
                  <a:pt x="6" y="94"/>
                  <a:pt x="6" y="93"/>
                  <a:pt x="6" y="91"/>
                </a:cubicBezTo>
                <a:close/>
                <a:moveTo>
                  <a:pt x="74" y="84"/>
                </a:moveTo>
                <a:cubicBezTo>
                  <a:pt x="7" y="84"/>
                  <a:pt x="7" y="84"/>
                  <a:pt x="7" y="84"/>
                </a:cubicBezTo>
                <a:cubicBezTo>
                  <a:pt x="7" y="84"/>
                  <a:pt x="6" y="83"/>
                  <a:pt x="6" y="82"/>
                </a:cubicBezTo>
                <a:cubicBezTo>
                  <a:pt x="6" y="81"/>
                  <a:pt x="7" y="80"/>
                  <a:pt x="7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4" y="80"/>
                  <a:pt x="75" y="81"/>
                  <a:pt x="75" y="82"/>
                </a:cubicBezTo>
                <a:cubicBezTo>
                  <a:pt x="75" y="83"/>
                  <a:pt x="74" y="84"/>
                  <a:pt x="74" y="84"/>
                </a:cubicBezTo>
                <a:close/>
                <a:moveTo>
                  <a:pt x="74" y="75"/>
                </a:moveTo>
                <a:cubicBezTo>
                  <a:pt x="7" y="75"/>
                  <a:pt x="7" y="75"/>
                  <a:pt x="7" y="75"/>
                </a:cubicBezTo>
                <a:cubicBezTo>
                  <a:pt x="7" y="75"/>
                  <a:pt x="6" y="74"/>
                  <a:pt x="6" y="73"/>
                </a:cubicBezTo>
                <a:cubicBezTo>
                  <a:pt x="6" y="72"/>
                  <a:pt x="7" y="71"/>
                  <a:pt x="7" y="71"/>
                </a:cubicBezTo>
                <a:cubicBezTo>
                  <a:pt x="74" y="71"/>
                  <a:pt x="74" y="71"/>
                  <a:pt x="74" y="71"/>
                </a:cubicBezTo>
                <a:cubicBezTo>
                  <a:pt x="74" y="71"/>
                  <a:pt x="75" y="72"/>
                  <a:pt x="75" y="73"/>
                </a:cubicBezTo>
                <a:cubicBezTo>
                  <a:pt x="75" y="74"/>
                  <a:pt x="74" y="75"/>
                  <a:pt x="74" y="75"/>
                </a:cubicBezTo>
                <a:close/>
                <a:moveTo>
                  <a:pt x="74" y="66"/>
                </a:moveTo>
                <a:cubicBezTo>
                  <a:pt x="7" y="66"/>
                  <a:pt x="7" y="66"/>
                  <a:pt x="7" y="66"/>
                </a:cubicBezTo>
                <a:cubicBezTo>
                  <a:pt x="7" y="66"/>
                  <a:pt x="6" y="65"/>
                  <a:pt x="6" y="64"/>
                </a:cubicBezTo>
                <a:cubicBezTo>
                  <a:pt x="6" y="63"/>
                  <a:pt x="7" y="62"/>
                  <a:pt x="7" y="62"/>
                </a:cubicBezTo>
                <a:cubicBezTo>
                  <a:pt x="74" y="62"/>
                  <a:pt x="74" y="62"/>
                  <a:pt x="74" y="62"/>
                </a:cubicBezTo>
                <a:cubicBezTo>
                  <a:pt x="74" y="62"/>
                  <a:pt x="75" y="63"/>
                  <a:pt x="75" y="64"/>
                </a:cubicBezTo>
                <a:cubicBezTo>
                  <a:pt x="75" y="65"/>
                  <a:pt x="74" y="66"/>
                  <a:pt x="74" y="66"/>
                </a:cubicBezTo>
                <a:close/>
                <a:moveTo>
                  <a:pt x="74" y="58"/>
                </a:moveTo>
                <a:cubicBezTo>
                  <a:pt x="7" y="58"/>
                  <a:pt x="7" y="58"/>
                  <a:pt x="7" y="58"/>
                </a:cubicBezTo>
                <a:cubicBezTo>
                  <a:pt x="7" y="58"/>
                  <a:pt x="6" y="57"/>
                  <a:pt x="6" y="56"/>
                </a:cubicBezTo>
                <a:cubicBezTo>
                  <a:pt x="6" y="55"/>
                  <a:pt x="7" y="54"/>
                  <a:pt x="7" y="54"/>
                </a:cubicBezTo>
                <a:cubicBezTo>
                  <a:pt x="74" y="54"/>
                  <a:pt x="74" y="54"/>
                  <a:pt x="74" y="54"/>
                </a:cubicBezTo>
                <a:cubicBezTo>
                  <a:pt x="74" y="54"/>
                  <a:pt x="75" y="55"/>
                  <a:pt x="75" y="56"/>
                </a:cubicBezTo>
                <a:cubicBezTo>
                  <a:pt x="75" y="57"/>
                  <a:pt x="74" y="58"/>
                  <a:pt x="74" y="58"/>
                </a:cubicBezTo>
                <a:close/>
                <a:moveTo>
                  <a:pt x="74" y="49"/>
                </a:moveTo>
                <a:cubicBezTo>
                  <a:pt x="7" y="49"/>
                  <a:pt x="7" y="49"/>
                  <a:pt x="7" y="49"/>
                </a:cubicBezTo>
                <a:cubicBezTo>
                  <a:pt x="7" y="49"/>
                  <a:pt x="6" y="48"/>
                  <a:pt x="6" y="47"/>
                </a:cubicBezTo>
                <a:cubicBezTo>
                  <a:pt x="6" y="46"/>
                  <a:pt x="7" y="45"/>
                  <a:pt x="7" y="45"/>
                </a:cubicBezTo>
                <a:cubicBezTo>
                  <a:pt x="74" y="45"/>
                  <a:pt x="74" y="45"/>
                  <a:pt x="74" y="45"/>
                </a:cubicBezTo>
                <a:cubicBezTo>
                  <a:pt x="74" y="45"/>
                  <a:pt x="75" y="46"/>
                  <a:pt x="75" y="47"/>
                </a:cubicBezTo>
                <a:cubicBezTo>
                  <a:pt x="75" y="48"/>
                  <a:pt x="74" y="49"/>
                  <a:pt x="74" y="49"/>
                </a:cubicBezTo>
                <a:close/>
                <a:moveTo>
                  <a:pt x="74" y="40"/>
                </a:moveTo>
                <a:cubicBezTo>
                  <a:pt x="7" y="40"/>
                  <a:pt x="7" y="40"/>
                  <a:pt x="7" y="40"/>
                </a:cubicBezTo>
                <a:cubicBezTo>
                  <a:pt x="7" y="40"/>
                  <a:pt x="6" y="39"/>
                  <a:pt x="6" y="38"/>
                </a:cubicBezTo>
                <a:cubicBezTo>
                  <a:pt x="6" y="37"/>
                  <a:pt x="7" y="36"/>
                  <a:pt x="7" y="36"/>
                </a:cubicBezTo>
                <a:cubicBezTo>
                  <a:pt x="74" y="36"/>
                  <a:pt x="74" y="36"/>
                  <a:pt x="74" y="36"/>
                </a:cubicBezTo>
                <a:cubicBezTo>
                  <a:pt x="74" y="36"/>
                  <a:pt x="75" y="37"/>
                  <a:pt x="75" y="38"/>
                </a:cubicBezTo>
                <a:cubicBezTo>
                  <a:pt x="75" y="39"/>
                  <a:pt x="74" y="40"/>
                  <a:pt x="74" y="40"/>
                </a:cubicBezTo>
                <a:close/>
                <a:moveTo>
                  <a:pt x="69" y="24"/>
                </a:moveTo>
                <a:cubicBezTo>
                  <a:pt x="59" y="24"/>
                  <a:pt x="59" y="24"/>
                  <a:pt x="59" y="24"/>
                </a:cubicBezTo>
                <a:cubicBezTo>
                  <a:pt x="59" y="4"/>
                  <a:pt x="59" y="4"/>
                  <a:pt x="59" y="4"/>
                </a:cubicBezTo>
                <a:cubicBezTo>
                  <a:pt x="69" y="14"/>
                  <a:pt x="69" y="14"/>
                  <a:pt x="69" y="14"/>
                </a:cubicBezTo>
                <a:cubicBezTo>
                  <a:pt x="79" y="24"/>
                  <a:pt x="79" y="24"/>
                  <a:pt x="79" y="24"/>
                </a:cubicBezTo>
                <a:lnTo>
                  <a:pt x="69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7" name="Freeform 130"/>
          <p:cNvSpPr>
            <a:spLocks noEditPoints="1"/>
          </p:cNvSpPr>
          <p:nvPr/>
        </p:nvSpPr>
        <p:spPr bwMode="auto">
          <a:xfrm>
            <a:off x="3060700" y="3183467"/>
            <a:ext cx="247651" cy="381000"/>
          </a:xfrm>
          <a:custGeom>
            <a:avLst/>
            <a:gdLst>
              <a:gd name="T0" fmla="*/ 294858281 w 117"/>
              <a:gd name="T1" fmla="*/ 75604688 h 180"/>
              <a:gd name="T2" fmla="*/ 221774347 w 117"/>
              <a:gd name="T3" fmla="*/ 0 h 180"/>
              <a:gd name="T4" fmla="*/ 0 w 117"/>
              <a:gd name="T5" fmla="*/ 0 h 180"/>
              <a:gd name="T6" fmla="*/ 0 w 117"/>
              <a:gd name="T7" fmla="*/ 75604688 h 180"/>
              <a:gd name="T8" fmla="*/ 161290434 w 117"/>
              <a:gd name="T9" fmla="*/ 75604688 h 180"/>
              <a:gd name="T10" fmla="*/ 234374368 w 117"/>
              <a:gd name="T11" fmla="*/ 148690013 h 180"/>
              <a:gd name="T12" fmla="*/ 234374368 w 117"/>
              <a:gd name="T13" fmla="*/ 453628125 h 180"/>
              <a:gd name="T14" fmla="*/ 294858281 w 117"/>
              <a:gd name="T15" fmla="*/ 453628125 h 180"/>
              <a:gd name="T16" fmla="*/ 294858281 w 117"/>
              <a:gd name="T17" fmla="*/ 75604688 h 180"/>
              <a:gd name="T18" fmla="*/ 252016303 w 117"/>
              <a:gd name="T19" fmla="*/ 88206263 h 180"/>
              <a:gd name="T20" fmla="*/ 216734021 w 117"/>
              <a:gd name="T21" fmla="*/ 88206263 h 180"/>
              <a:gd name="T22" fmla="*/ 216734021 w 117"/>
              <a:gd name="T23" fmla="*/ 15120938 h 180"/>
              <a:gd name="T24" fmla="*/ 252016303 w 117"/>
              <a:gd name="T25" fmla="*/ 50403125 h 180"/>
              <a:gd name="T26" fmla="*/ 284777629 w 117"/>
              <a:gd name="T27" fmla="*/ 88206263 h 180"/>
              <a:gd name="T28" fmla="*/ 252016303 w 117"/>
              <a:gd name="T29" fmla="*/ 88206263 h 18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7" h="180">
                <a:moveTo>
                  <a:pt x="117" y="30"/>
                </a:moveTo>
                <a:lnTo>
                  <a:pt x="88" y="0"/>
                </a:lnTo>
                <a:lnTo>
                  <a:pt x="0" y="0"/>
                </a:lnTo>
                <a:lnTo>
                  <a:pt x="0" y="30"/>
                </a:lnTo>
                <a:lnTo>
                  <a:pt x="64" y="30"/>
                </a:lnTo>
                <a:lnTo>
                  <a:pt x="93" y="59"/>
                </a:lnTo>
                <a:lnTo>
                  <a:pt x="93" y="180"/>
                </a:lnTo>
                <a:lnTo>
                  <a:pt x="117" y="180"/>
                </a:lnTo>
                <a:lnTo>
                  <a:pt x="117" y="30"/>
                </a:lnTo>
                <a:close/>
                <a:moveTo>
                  <a:pt x="100" y="35"/>
                </a:moveTo>
                <a:lnTo>
                  <a:pt x="86" y="35"/>
                </a:lnTo>
                <a:lnTo>
                  <a:pt x="86" y="6"/>
                </a:lnTo>
                <a:lnTo>
                  <a:pt x="100" y="20"/>
                </a:lnTo>
                <a:lnTo>
                  <a:pt x="113" y="35"/>
                </a:lnTo>
                <a:lnTo>
                  <a:pt x="100" y="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8" name="Freeform 131"/>
          <p:cNvSpPr>
            <a:spLocks noEditPoints="1"/>
          </p:cNvSpPr>
          <p:nvPr/>
        </p:nvSpPr>
        <p:spPr bwMode="auto">
          <a:xfrm>
            <a:off x="3879851" y="3236384"/>
            <a:ext cx="245533" cy="378883"/>
          </a:xfrm>
          <a:custGeom>
            <a:avLst/>
            <a:gdLst>
              <a:gd name="T0" fmla="*/ 0 w 82"/>
              <a:gd name="T1" fmla="*/ 0 h 126"/>
              <a:gd name="T2" fmla="*/ 413551494 w 82"/>
              <a:gd name="T3" fmla="*/ 640859733 h 126"/>
              <a:gd name="T4" fmla="*/ 312684454 w 82"/>
              <a:gd name="T5" fmla="*/ 0 h 126"/>
              <a:gd name="T6" fmla="*/ 126082115 w 82"/>
              <a:gd name="T7" fmla="*/ 137326925 h 126"/>
              <a:gd name="T8" fmla="*/ 126082115 w 82"/>
              <a:gd name="T9" fmla="*/ 157671571 h 126"/>
              <a:gd name="T10" fmla="*/ 30258989 w 82"/>
              <a:gd name="T11" fmla="*/ 147500375 h 126"/>
              <a:gd name="T12" fmla="*/ 373204678 w 82"/>
              <a:gd name="T13" fmla="*/ 569652345 h 126"/>
              <a:gd name="T14" fmla="*/ 30258989 w 82"/>
              <a:gd name="T15" fmla="*/ 559481149 h 126"/>
              <a:gd name="T16" fmla="*/ 373204678 w 82"/>
              <a:gd name="T17" fmla="*/ 549307699 h 126"/>
              <a:gd name="T18" fmla="*/ 373204678 w 82"/>
              <a:gd name="T19" fmla="*/ 569652345 h 126"/>
              <a:gd name="T20" fmla="*/ 40346816 w 82"/>
              <a:gd name="T21" fmla="*/ 523877455 h 126"/>
              <a:gd name="T22" fmla="*/ 40346816 w 82"/>
              <a:gd name="T23" fmla="*/ 503532809 h 126"/>
              <a:gd name="T24" fmla="*/ 378248591 w 82"/>
              <a:gd name="T25" fmla="*/ 513704004 h 126"/>
              <a:gd name="T26" fmla="*/ 30258989 w 82"/>
              <a:gd name="T27" fmla="*/ 462843517 h 126"/>
              <a:gd name="T28" fmla="*/ 216861328 w 82"/>
              <a:gd name="T29" fmla="*/ 452670066 h 126"/>
              <a:gd name="T30" fmla="*/ 216861328 w 82"/>
              <a:gd name="T31" fmla="*/ 478102565 h 126"/>
              <a:gd name="T32" fmla="*/ 30258989 w 82"/>
              <a:gd name="T33" fmla="*/ 462843517 h 126"/>
              <a:gd name="T34" fmla="*/ 40346816 w 82"/>
              <a:gd name="T35" fmla="*/ 427239822 h 126"/>
              <a:gd name="T36" fmla="*/ 40346816 w 82"/>
              <a:gd name="T37" fmla="*/ 406895176 h 126"/>
              <a:gd name="T38" fmla="*/ 378248591 w 82"/>
              <a:gd name="T39" fmla="*/ 417066372 h 126"/>
              <a:gd name="T40" fmla="*/ 373204678 w 82"/>
              <a:gd name="T41" fmla="*/ 381464932 h 126"/>
              <a:gd name="T42" fmla="*/ 30258989 w 82"/>
              <a:gd name="T43" fmla="*/ 371291482 h 126"/>
              <a:gd name="T44" fmla="*/ 373204678 w 82"/>
              <a:gd name="T45" fmla="*/ 361120286 h 126"/>
              <a:gd name="T46" fmla="*/ 373204678 w 82"/>
              <a:gd name="T47" fmla="*/ 381464932 h 126"/>
              <a:gd name="T48" fmla="*/ 40346816 w 82"/>
              <a:gd name="T49" fmla="*/ 335687787 h 126"/>
              <a:gd name="T50" fmla="*/ 40346816 w 82"/>
              <a:gd name="T51" fmla="*/ 315343141 h 126"/>
              <a:gd name="T52" fmla="*/ 378248591 w 82"/>
              <a:gd name="T53" fmla="*/ 325516592 h 126"/>
              <a:gd name="T54" fmla="*/ 373204678 w 82"/>
              <a:gd name="T55" fmla="*/ 294998495 h 126"/>
              <a:gd name="T56" fmla="*/ 30258989 w 82"/>
              <a:gd name="T57" fmla="*/ 284827300 h 126"/>
              <a:gd name="T58" fmla="*/ 373204678 w 82"/>
              <a:gd name="T59" fmla="*/ 274653849 h 126"/>
              <a:gd name="T60" fmla="*/ 373204678 w 82"/>
              <a:gd name="T61" fmla="*/ 294998495 h 126"/>
              <a:gd name="T62" fmla="*/ 40346816 w 82"/>
              <a:gd name="T63" fmla="*/ 249223606 h 126"/>
              <a:gd name="T64" fmla="*/ 40346816 w 82"/>
              <a:gd name="T65" fmla="*/ 228878959 h 126"/>
              <a:gd name="T66" fmla="*/ 378248591 w 82"/>
              <a:gd name="T67" fmla="*/ 239050155 h 126"/>
              <a:gd name="T68" fmla="*/ 373204678 w 82"/>
              <a:gd name="T69" fmla="*/ 203446460 h 126"/>
              <a:gd name="T70" fmla="*/ 30258989 w 82"/>
              <a:gd name="T71" fmla="*/ 193275265 h 126"/>
              <a:gd name="T72" fmla="*/ 373204678 w 82"/>
              <a:gd name="T73" fmla="*/ 183101814 h 126"/>
              <a:gd name="T74" fmla="*/ 373204678 w 82"/>
              <a:gd name="T75" fmla="*/ 203446460 h 126"/>
              <a:gd name="T76" fmla="*/ 302598873 w 82"/>
              <a:gd name="T77" fmla="*/ 122067876 h 126"/>
              <a:gd name="T78" fmla="*/ 347987357 w 82"/>
              <a:gd name="T79" fmla="*/ 71207389 h 126"/>
              <a:gd name="T80" fmla="*/ 347987357 w 82"/>
              <a:gd name="T81" fmla="*/ 122067876 h 12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82" h="126">
                <a:moveTo>
                  <a:pt x="6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82" y="126"/>
                  <a:pt x="82" y="126"/>
                  <a:pt x="82" y="126"/>
                </a:cubicBezTo>
                <a:cubicBezTo>
                  <a:pt x="82" y="20"/>
                  <a:pt x="82" y="20"/>
                  <a:pt x="82" y="20"/>
                </a:cubicBezTo>
                <a:lnTo>
                  <a:pt x="62" y="0"/>
                </a:lnTo>
                <a:close/>
                <a:moveTo>
                  <a:pt x="7" y="27"/>
                </a:moveTo>
                <a:cubicBezTo>
                  <a:pt x="25" y="27"/>
                  <a:pt x="25" y="27"/>
                  <a:pt x="25" y="27"/>
                </a:cubicBezTo>
                <a:cubicBezTo>
                  <a:pt x="25" y="27"/>
                  <a:pt x="26" y="28"/>
                  <a:pt x="26" y="29"/>
                </a:cubicBezTo>
                <a:cubicBezTo>
                  <a:pt x="26" y="30"/>
                  <a:pt x="25" y="31"/>
                  <a:pt x="25" y="31"/>
                </a:cubicBezTo>
                <a:cubicBezTo>
                  <a:pt x="7" y="31"/>
                  <a:pt x="7" y="31"/>
                  <a:pt x="7" y="31"/>
                </a:cubicBezTo>
                <a:cubicBezTo>
                  <a:pt x="7" y="31"/>
                  <a:pt x="6" y="30"/>
                  <a:pt x="6" y="29"/>
                </a:cubicBezTo>
                <a:cubicBezTo>
                  <a:pt x="6" y="28"/>
                  <a:pt x="7" y="27"/>
                  <a:pt x="7" y="27"/>
                </a:cubicBezTo>
                <a:close/>
                <a:moveTo>
                  <a:pt x="74" y="112"/>
                </a:moveTo>
                <a:cubicBezTo>
                  <a:pt x="8" y="112"/>
                  <a:pt x="8" y="112"/>
                  <a:pt x="8" y="112"/>
                </a:cubicBezTo>
                <a:cubicBezTo>
                  <a:pt x="7" y="112"/>
                  <a:pt x="6" y="111"/>
                  <a:pt x="6" y="110"/>
                </a:cubicBezTo>
                <a:cubicBezTo>
                  <a:pt x="6" y="109"/>
                  <a:pt x="7" y="108"/>
                  <a:pt x="8" y="108"/>
                </a:cubicBezTo>
                <a:cubicBezTo>
                  <a:pt x="74" y="108"/>
                  <a:pt x="74" y="108"/>
                  <a:pt x="74" y="108"/>
                </a:cubicBezTo>
                <a:cubicBezTo>
                  <a:pt x="75" y="108"/>
                  <a:pt x="75" y="109"/>
                  <a:pt x="75" y="110"/>
                </a:cubicBezTo>
                <a:cubicBezTo>
                  <a:pt x="75" y="111"/>
                  <a:pt x="75" y="112"/>
                  <a:pt x="74" y="112"/>
                </a:cubicBezTo>
                <a:close/>
                <a:moveTo>
                  <a:pt x="74" y="103"/>
                </a:moveTo>
                <a:cubicBezTo>
                  <a:pt x="8" y="103"/>
                  <a:pt x="8" y="103"/>
                  <a:pt x="8" y="103"/>
                </a:cubicBezTo>
                <a:cubicBezTo>
                  <a:pt x="7" y="103"/>
                  <a:pt x="6" y="102"/>
                  <a:pt x="6" y="101"/>
                </a:cubicBezTo>
                <a:cubicBezTo>
                  <a:pt x="6" y="100"/>
                  <a:pt x="7" y="99"/>
                  <a:pt x="8" y="99"/>
                </a:cubicBezTo>
                <a:cubicBezTo>
                  <a:pt x="74" y="99"/>
                  <a:pt x="74" y="99"/>
                  <a:pt x="74" y="99"/>
                </a:cubicBezTo>
                <a:cubicBezTo>
                  <a:pt x="75" y="99"/>
                  <a:pt x="75" y="100"/>
                  <a:pt x="75" y="101"/>
                </a:cubicBezTo>
                <a:cubicBezTo>
                  <a:pt x="75" y="102"/>
                  <a:pt x="75" y="103"/>
                  <a:pt x="74" y="103"/>
                </a:cubicBezTo>
                <a:close/>
                <a:moveTo>
                  <a:pt x="6" y="91"/>
                </a:moveTo>
                <a:cubicBezTo>
                  <a:pt x="6" y="90"/>
                  <a:pt x="7" y="89"/>
                  <a:pt x="7" y="89"/>
                </a:cubicBezTo>
                <a:cubicBezTo>
                  <a:pt x="43" y="89"/>
                  <a:pt x="43" y="89"/>
                  <a:pt x="43" y="89"/>
                </a:cubicBezTo>
                <a:cubicBezTo>
                  <a:pt x="43" y="89"/>
                  <a:pt x="43" y="90"/>
                  <a:pt x="43" y="91"/>
                </a:cubicBezTo>
                <a:cubicBezTo>
                  <a:pt x="43" y="93"/>
                  <a:pt x="43" y="94"/>
                  <a:pt x="43" y="94"/>
                </a:cubicBezTo>
                <a:cubicBezTo>
                  <a:pt x="7" y="94"/>
                  <a:pt x="7" y="94"/>
                  <a:pt x="7" y="94"/>
                </a:cubicBezTo>
                <a:cubicBezTo>
                  <a:pt x="7" y="94"/>
                  <a:pt x="6" y="93"/>
                  <a:pt x="6" y="91"/>
                </a:cubicBezTo>
                <a:close/>
                <a:moveTo>
                  <a:pt x="74" y="84"/>
                </a:moveTo>
                <a:cubicBezTo>
                  <a:pt x="8" y="84"/>
                  <a:pt x="8" y="84"/>
                  <a:pt x="8" y="84"/>
                </a:cubicBezTo>
                <a:cubicBezTo>
                  <a:pt x="7" y="84"/>
                  <a:pt x="6" y="83"/>
                  <a:pt x="6" y="82"/>
                </a:cubicBezTo>
                <a:cubicBezTo>
                  <a:pt x="6" y="81"/>
                  <a:pt x="7" y="80"/>
                  <a:pt x="8" y="80"/>
                </a:cubicBezTo>
                <a:cubicBezTo>
                  <a:pt x="74" y="80"/>
                  <a:pt x="74" y="80"/>
                  <a:pt x="74" y="80"/>
                </a:cubicBezTo>
                <a:cubicBezTo>
                  <a:pt x="75" y="80"/>
                  <a:pt x="75" y="81"/>
                  <a:pt x="75" y="82"/>
                </a:cubicBezTo>
                <a:cubicBezTo>
                  <a:pt x="75" y="83"/>
                  <a:pt x="75" y="84"/>
                  <a:pt x="74" y="84"/>
                </a:cubicBezTo>
                <a:close/>
                <a:moveTo>
                  <a:pt x="74" y="75"/>
                </a:moveTo>
                <a:cubicBezTo>
                  <a:pt x="8" y="75"/>
                  <a:pt x="8" y="75"/>
                  <a:pt x="8" y="75"/>
                </a:cubicBezTo>
                <a:cubicBezTo>
                  <a:pt x="7" y="75"/>
                  <a:pt x="6" y="74"/>
                  <a:pt x="6" y="73"/>
                </a:cubicBezTo>
                <a:cubicBezTo>
                  <a:pt x="6" y="72"/>
                  <a:pt x="7" y="71"/>
                  <a:pt x="8" y="71"/>
                </a:cubicBezTo>
                <a:cubicBezTo>
                  <a:pt x="74" y="71"/>
                  <a:pt x="74" y="71"/>
                  <a:pt x="74" y="71"/>
                </a:cubicBezTo>
                <a:cubicBezTo>
                  <a:pt x="75" y="71"/>
                  <a:pt x="75" y="72"/>
                  <a:pt x="75" y="73"/>
                </a:cubicBezTo>
                <a:cubicBezTo>
                  <a:pt x="75" y="74"/>
                  <a:pt x="75" y="75"/>
                  <a:pt x="74" y="75"/>
                </a:cubicBezTo>
                <a:close/>
                <a:moveTo>
                  <a:pt x="74" y="66"/>
                </a:moveTo>
                <a:cubicBezTo>
                  <a:pt x="8" y="66"/>
                  <a:pt x="8" y="66"/>
                  <a:pt x="8" y="66"/>
                </a:cubicBezTo>
                <a:cubicBezTo>
                  <a:pt x="7" y="66"/>
                  <a:pt x="6" y="65"/>
                  <a:pt x="6" y="64"/>
                </a:cubicBezTo>
                <a:cubicBezTo>
                  <a:pt x="6" y="63"/>
                  <a:pt x="7" y="62"/>
                  <a:pt x="8" y="62"/>
                </a:cubicBezTo>
                <a:cubicBezTo>
                  <a:pt x="74" y="62"/>
                  <a:pt x="74" y="62"/>
                  <a:pt x="74" y="62"/>
                </a:cubicBezTo>
                <a:cubicBezTo>
                  <a:pt x="75" y="62"/>
                  <a:pt x="75" y="63"/>
                  <a:pt x="75" y="64"/>
                </a:cubicBezTo>
                <a:cubicBezTo>
                  <a:pt x="75" y="65"/>
                  <a:pt x="75" y="66"/>
                  <a:pt x="74" y="66"/>
                </a:cubicBezTo>
                <a:close/>
                <a:moveTo>
                  <a:pt x="74" y="58"/>
                </a:moveTo>
                <a:cubicBezTo>
                  <a:pt x="8" y="58"/>
                  <a:pt x="8" y="58"/>
                  <a:pt x="8" y="58"/>
                </a:cubicBezTo>
                <a:cubicBezTo>
                  <a:pt x="7" y="58"/>
                  <a:pt x="6" y="57"/>
                  <a:pt x="6" y="56"/>
                </a:cubicBezTo>
                <a:cubicBezTo>
                  <a:pt x="6" y="55"/>
                  <a:pt x="7" y="54"/>
                  <a:pt x="8" y="54"/>
                </a:cubicBezTo>
                <a:cubicBezTo>
                  <a:pt x="74" y="54"/>
                  <a:pt x="74" y="54"/>
                  <a:pt x="74" y="54"/>
                </a:cubicBezTo>
                <a:cubicBezTo>
                  <a:pt x="75" y="54"/>
                  <a:pt x="75" y="55"/>
                  <a:pt x="75" y="56"/>
                </a:cubicBezTo>
                <a:cubicBezTo>
                  <a:pt x="75" y="57"/>
                  <a:pt x="75" y="58"/>
                  <a:pt x="74" y="58"/>
                </a:cubicBezTo>
                <a:close/>
                <a:moveTo>
                  <a:pt x="74" y="49"/>
                </a:moveTo>
                <a:cubicBezTo>
                  <a:pt x="8" y="49"/>
                  <a:pt x="8" y="49"/>
                  <a:pt x="8" y="49"/>
                </a:cubicBezTo>
                <a:cubicBezTo>
                  <a:pt x="7" y="49"/>
                  <a:pt x="6" y="48"/>
                  <a:pt x="6" y="47"/>
                </a:cubicBezTo>
                <a:cubicBezTo>
                  <a:pt x="6" y="46"/>
                  <a:pt x="7" y="45"/>
                  <a:pt x="8" y="45"/>
                </a:cubicBezTo>
                <a:cubicBezTo>
                  <a:pt x="74" y="45"/>
                  <a:pt x="74" y="45"/>
                  <a:pt x="74" y="45"/>
                </a:cubicBezTo>
                <a:cubicBezTo>
                  <a:pt x="75" y="45"/>
                  <a:pt x="75" y="46"/>
                  <a:pt x="75" y="47"/>
                </a:cubicBezTo>
                <a:cubicBezTo>
                  <a:pt x="75" y="48"/>
                  <a:pt x="75" y="49"/>
                  <a:pt x="74" y="49"/>
                </a:cubicBezTo>
                <a:close/>
                <a:moveTo>
                  <a:pt x="74" y="40"/>
                </a:moveTo>
                <a:cubicBezTo>
                  <a:pt x="8" y="40"/>
                  <a:pt x="8" y="40"/>
                  <a:pt x="8" y="40"/>
                </a:cubicBezTo>
                <a:cubicBezTo>
                  <a:pt x="7" y="40"/>
                  <a:pt x="6" y="39"/>
                  <a:pt x="6" y="38"/>
                </a:cubicBezTo>
                <a:cubicBezTo>
                  <a:pt x="6" y="37"/>
                  <a:pt x="7" y="36"/>
                  <a:pt x="8" y="36"/>
                </a:cubicBezTo>
                <a:cubicBezTo>
                  <a:pt x="74" y="36"/>
                  <a:pt x="74" y="36"/>
                  <a:pt x="74" y="36"/>
                </a:cubicBezTo>
                <a:cubicBezTo>
                  <a:pt x="75" y="36"/>
                  <a:pt x="75" y="37"/>
                  <a:pt x="75" y="38"/>
                </a:cubicBezTo>
                <a:cubicBezTo>
                  <a:pt x="75" y="39"/>
                  <a:pt x="75" y="40"/>
                  <a:pt x="74" y="40"/>
                </a:cubicBezTo>
                <a:close/>
                <a:moveTo>
                  <a:pt x="69" y="24"/>
                </a:moveTo>
                <a:cubicBezTo>
                  <a:pt x="60" y="24"/>
                  <a:pt x="60" y="24"/>
                  <a:pt x="60" y="24"/>
                </a:cubicBezTo>
                <a:cubicBezTo>
                  <a:pt x="60" y="4"/>
                  <a:pt x="60" y="4"/>
                  <a:pt x="60" y="4"/>
                </a:cubicBezTo>
                <a:cubicBezTo>
                  <a:pt x="69" y="14"/>
                  <a:pt x="69" y="14"/>
                  <a:pt x="69" y="14"/>
                </a:cubicBezTo>
                <a:cubicBezTo>
                  <a:pt x="79" y="24"/>
                  <a:pt x="79" y="24"/>
                  <a:pt x="79" y="24"/>
                </a:cubicBezTo>
                <a:lnTo>
                  <a:pt x="69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49" name="Freeform 132"/>
          <p:cNvSpPr>
            <a:spLocks noEditPoints="1"/>
          </p:cNvSpPr>
          <p:nvPr/>
        </p:nvSpPr>
        <p:spPr bwMode="auto">
          <a:xfrm>
            <a:off x="4612217" y="3230034"/>
            <a:ext cx="421216" cy="423333"/>
          </a:xfrm>
          <a:custGeom>
            <a:avLst/>
            <a:gdLst>
              <a:gd name="T0" fmla="*/ 0 w 140"/>
              <a:gd name="T1" fmla="*/ 583105638 h 141"/>
              <a:gd name="T2" fmla="*/ 127296740 w 140"/>
              <a:gd name="T3" fmla="*/ 659161525 h 141"/>
              <a:gd name="T4" fmla="*/ 50918245 w 140"/>
              <a:gd name="T5" fmla="*/ 304228050 h 141"/>
              <a:gd name="T6" fmla="*/ 0 w 140"/>
              <a:gd name="T7" fmla="*/ 410709894 h 141"/>
              <a:gd name="T8" fmla="*/ 50918245 w 140"/>
              <a:gd name="T9" fmla="*/ 304228050 h 141"/>
              <a:gd name="T10" fmla="*/ 50918245 w 140"/>
              <a:gd name="T11" fmla="*/ 131832305 h 141"/>
              <a:gd name="T12" fmla="*/ 127296740 w 140"/>
              <a:gd name="T13" fmla="*/ 0 h 141"/>
              <a:gd name="T14" fmla="*/ 50918245 w 140"/>
              <a:gd name="T15" fmla="*/ 441131348 h 141"/>
              <a:gd name="T16" fmla="*/ 0 w 140"/>
              <a:gd name="T17" fmla="*/ 547610940 h 141"/>
              <a:gd name="T18" fmla="*/ 50918245 w 140"/>
              <a:gd name="T19" fmla="*/ 441131348 h 141"/>
              <a:gd name="T20" fmla="*/ 0 w 140"/>
              <a:gd name="T21" fmla="*/ 167327004 h 141"/>
              <a:gd name="T22" fmla="*/ 50918245 w 140"/>
              <a:gd name="T23" fmla="*/ 273806596 h 141"/>
              <a:gd name="T24" fmla="*/ 712859941 w 140"/>
              <a:gd name="T25" fmla="*/ 212959184 h 141"/>
              <a:gd name="T26" fmla="*/ 712859941 w 140"/>
              <a:gd name="T27" fmla="*/ 273806596 h 141"/>
              <a:gd name="T28" fmla="*/ 544828605 w 140"/>
              <a:gd name="T29" fmla="*/ 45634433 h 141"/>
              <a:gd name="T30" fmla="*/ 442992115 w 140"/>
              <a:gd name="T31" fmla="*/ 0 h 141"/>
              <a:gd name="T32" fmla="*/ 534644956 w 140"/>
              <a:gd name="T33" fmla="*/ 50705426 h 141"/>
              <a:gd name="T34" fmla="*/ 162938384 w 140"/>
              <a:gd name="T35" fmla="*/ 714937943 h 141"/>
              <a:gd name="T36" fmla="*/ 269867826 w 140"/>
              <a:gd name="T37" fmla="*/ 664232518 h 141"/>
              <a:gd name="T38" fmla="*/ 162938384 w 140"/>
              <a:gd name="T39" fmla="*/ 714937943 h 141"/>
              <a:gd name="T40" fmla="*/ 712859941 w 140"/>
              <a:gd name="T41" fmla="*/ 547610940 h 141"/>
              <a:gd name="T42" fmla="*/ 661941696 w 140"/>
              <a:gd name="T43" fmla="*/ 441131348 h 141"/>
              <a:gd name="T44" fmla="*/ 585563201 w 140"/>
              <a:gd name="T45" fmla="*/ 659161525 h 141"/>
              <a:gd name="T46" fmla="*/ 712859941 w 140"/>
              <a:gd name="T47" fmla="*/ 583105638 h 141"/>
              <a:gd name="T48" fmla="*/ 585563201 w 140"/>
              <a:gd name="T49" fmla="*/ 659161525 h 141"/>
              <a:gd name="T50" fmla="*/ 661941696 w 140"/>
              <a:gd name="T51" fmla="*/ 410709894 h 141"/>
              <a:gd name="T52" fmla="*/ 712859941 w 140"/>
              <a:gd name="T53" fmla="*/ 304228050 h 141"/>
              <a:gd name="T54" fmla="*/ 162938384 w 140"/>
              <a:gd name="T55" fmla="*/ 50705426 h 141"/>
              <a:gd name="T56" fmla="*/ 269867826 w 140"/>
              <a:gd name="T57" fmla="*/ 0 h 141"/>
              <a:gd name="T58" fmla="*/ 162938384 w 140"/>
              <a:gd name="T59" fmla="*/ 50705426 h 141"/>
              <a:gd name="T60" fmla="*/ 407348215 w 140"/>
              <a:gd name="T61" fmla="*/ 50705426 h 141"/>
              <a:gd name="T62" fmla="*/ 305511726 w 140"/>
              <a:gd name="T63" fmla="*/ 0 h 141"/>
              <a:gd name="T64" fmla="*/ 305511726 w 140"/>
              <a:gd name="T65" fmla="*/ 714937943 h 141"/>
              <a:gd name="T66" fmla="*/ 407348215 w 140"/>
              <a:gd name="T67" fmla="*/ 664232518 h 141"/>
              <a:gd name="T68" fmla="*/ 305511726 w 140"/>
              <a:gd name="T69" fmla="*/ 714937943 h 141"/>
              <a:gd name="T70" fmla="*/ 544828605 w 140"/>
              <a:gd name="T71" fmla="*/ 714937943 h 141"/>
              <a:gd name="T72" fmla="*/ 442992115 w 140"/>
              <a:gd name="T73" fmla="*/ 664232518 h 14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40" h="141">
                <a:moveTo>
                  <a:pt x="10" y="115"/>
                </a:moveTo>
                <a:cubicBezTo>
                  <a:pt x="0" y="115"/>
                  <a:pt x="0" y="115"/>
                  <a:pt x="0" y="115"/>
                </a:cubicBezTo>
                <a:cubicBezTo>
                  <a:pt x="0" y="129"/>
                  <a:pt x="11" y="140"/>
                  <a:pt x="25" y="140"/>
                </a:cubicBezTo>
                <a:cubicBezTo>
                  <a:pt x="25" y="130"/>
                  <a:pt x="25" y="130"/>
                  <a:pt x="25" y="130"/>
                </a:cubicBezTo>
                <a:cubicBezTo>
                  <a:pt x="17" y="130"/>
                  <a:pt x="10" y="124"/>
                  <a:pt x="10" y="115"/>
                </a:cubicBezTo>
                <a:close/>
                <a:moveTo>
                  <a:pt x="10" y="60"/>
                </a:moveTo>
                <a:cubicBezTo>
                  <a:pt x="0" y="60"/>
                  <a:pt x="0" y="60"/>
                  <a:pt x="0" y="60"/>
                </a:cubicBezTo>
                <a:cubicBezTo>
                  <a:pt x="0" y="81"/>
                  <a:pt x="0" y="81"/>
                  <a:pt x="0" y="81"/>
                </a:cubicBezTo>
                <a:cubicBezTo>
                  <a:pt x="10" y="81"/>
                  <a:pt x="10" y="81"/>
                  <a:pt x="10" y="81"/>
                </a:cubicBezTo>
                <a:lnTo>
                  <a:pt x="10" y="60"/>
                </a:lnTo>
                <a:close/>
                <a:moveTo>
                  <a:pt x="0" y="26"/>
                </a:moveTo>
                <a:cubicBezTo>
                  <a:pt x="10" y="26"/>
                  <a:pt x="10" y="26"/>
                  <a:pt x="10" y="26"/>
                </a:cubicBezTo>
                <a:cubicBezTo>
                  <a:pt x="10" y="17"/>
                  <a:pt x="17" y="10"/>
                  <a:pt x="25" y="10"/>
                </a:cubicBezTo>
                <a:cubicBezTo>
                  <a:pt x="25" y="0"/>
                  <a:pt x="25" y="0"/>
                  <a:pt x="25" y="0"/>
                </a:cubicBezTo>
                <a:cubicBezTo>
                  <a:pt x="11" y="0"/>
                  <a:pt x="0" y="12"/>
                  <a:pt x="0" y="26"/>
                </a:cubicBezTo>
                <a:close/>
                <a:moveTo>
                  <a:pt x="10" y="87"/>
                </a:moveTo>
                <a:cubicBezTo>
                  <a:pt x="0" y="87"/>
                  <a:pt x="0" y="87"/>
                  <a:pt x="0" y="87"/>
                </a:cubicBezTo>
                <a:cubicBezTo>
                  <a:pt x="0" y="108"/>
                  <a:pt x="0" y="108"/>
                  <a:pt x="0" y="108"/>
                </a:cubicBezTo>
                <a:cubicBezTo>
                  <a:pt x="10" y="108"/>
                  <a:pt x="10" y="108"/>
                  <a:pt x="10" y="108"/>
                </a:cubicBezTo>
                <a:lnTo>
                  <a:pt x="10" y="87"/>
                </a:lnTo>
                <a:close/>
                <a:moveTo>
                  <a:pt x="10" y="33"/>
                </a:moveTo>
                <a:cubicBezTo>
                  <a:pt x="0" y="33"/>
                  <a:pt x="0" y="33"/>
                  <a:pt x="0" y="33"/>
                </a:cubicBezTo>
                <a:cubicBezTo>
                  <a:pt x="0" y="54"/>
                  <a:pt x="0" y="54"/>
                  <a:pt x="0" y="54"/>
                </a:cubicBezTo>
                <a:cubicBezTo>
                  <a:pt x="10" y="54"/>
                  <a:pt x="10" y="54"/>
                  <a:pt x="10" y="54"/>
                </a:cubicBezTo>
                <a:lnTo>
                  <a:pt x="10" y="33"/>
                </a:lnTo>
                <a:close/>
                <a:moveTo>
                  <a:pt x="140" y="42"/>
                </a:moveTo>
                <a:cubicBezTo>
                  <a:pt x="137" y="46"/>
                  <a:pt x="135" y="50"/>
                  <a:pt x="132" y="54"/>
                </a:cubicBezTo>
                <a:cubicBezTo>
                  <a:pt x="140" y="54"/>
                  <a:pt x="140" y="54"/>
                  <a:pt x="140" y="54"/>
                </a:cubicBezTo>
                <a:lnTo>
                  <a:pt x="140" y="42"/>
                </a:lnTo>
                <a:close/>
                <a:moveTo>
                  <a:pt x="107" y="9"/>
                </a:moveTo>
                <a:cubicBezTo>
                  <a:pt x="107" y="0"/>
                  <a:pt x="107" y="0"/>
                  <a:pt x="107" y="0"/>
                </a:cubicBezTo>
                <a:cubicBezTo>
                  <a:pt x="87" y="0"/>
                  <a:pt x="87" y="0"/>
                  <a:pt x="87" y="0"/>
                </a:cubicBezTo>
                <a:cubicBezTo>
                  <a:pt x="87" y="10"/>
                  <a:pt x="87" y="10"/>
                  <a:pt x="87" y="10"/>
                </a:cubicBezTo>
                <a:cubicBezTo>
                  <a:pt x="105" y="10"/>
                  <a:pt x="105" y="10"/>
                  <a:pt x="105" y="10"/>
                </a:cubicBezTo>
                <a:cubicBezTo>
                  <a:pt x="106" y="10"/>
                  <a:pt x="106" y="9"/>
                  <a:pt x="107" y="9"/>
                </a:cubicBezTo>
                <a:close/>
                <a:moveTo>
                  <a:pt x="32" y="141"/>
                </a:moveTo>
                <a:cubicBezTo>
                  <a:pt x="53" y="141"/>
                  <a:pt x="53" y="141"/>
                  <a:pt x="53" y="141"/>
                </a:cubicBezTo>
                <a:cubicBezTo>
                  <a:pt x="53" y="131"/>
                  <a:pt x="53" y="131"/>
                  <a:pt x="53" y="131"/>
                </a:cubicBezTo>
                <a:cubicBezTo>
                  <a:pt x="32" y="131"/>
                  <a:pt x="32" y="131"/>
                  <a:pt x="32" y="131"/>
                </a:cubicBezTo>
                <a:lnTo>
                  <a:pt x="32" y="141"/>
                </a:lnTo>
                <a:close/>
                <a:moveTo>
                  <a:pt x="130" y="108"/>
                </a:moveTo>
                <a:cubicBezTo>
                  <a:pt x="140" y="108"/>
                  <a:pt x="140" y="108"/>
                  <a:pt x="140" y="108"/>
                </a:cubicBezTo>
                <a:cubicBezTo>
                  <a:pt x="140" y="87"/>
                  <a:pt x="140" y="87"/>
                  <a:pt x="140" y="87"/>
                </a:cubicBezTo>
                <a:cubicBezTo>
                  <a:pt x="130" y="87"/>
                  <a:pt x="130" y="87"/>
                  <a:pt x="130" y="87"/>
                </a:cubicBezTo>
                <a:lnTo>
                  <a:pt x="130" y="108"/>
                </a:lnTo>
                <a:close/>
                <a:moveTo>
                  <a:pt x="115" y="130"/>
                </a:moveTo>
                <a:cubicBezTo>
                  <a:pt x="115" y="140"/>
                  <a:pt x="115" y="140"/>
                  <a:pt x="115" y="140"/>
                </a:cubicBezTo>
                <a:cubicBezTo>
                  <a:pt x="129" y="140"/>
                  <a:pt x="140" y="129"/>
                  <a:pt x="140" y="115"/>
                </a:cubicBezTo>
                <a:cubicBezTo>
                  <a:pt x="130" y="115"/>
                  <a:pt x="130" y="115"/>
                  <a:pt x="130" y="115"/>
                </a:cubicBezTo>
                <a:cubicBezTo>
                  <a:pt x="130" y="124"/>
                  <a:pt x="123" y="130"/>
                  <a:pt x="115" y="130"/>
                </a:cubicBezTo>
                <a:close/>
                <a:moveTo>
                  <a:pt x="130" y="60"/>
                </a:moveTo>
                <a:cubicBezTo>
                  <a:pt x="130" y="81"/>
                  <a:pt x="130" y="81"/>
                  <a:pt x="130" y="81"/>
                </a:cubicBezTo>
                <a:cubicBezTo>
                  <a:pt x="140" y="81"/>
                  <a:pt x="140" y="81"/>
                  <a:pt x="140" y="81"/>
                </a:cubicBezTo>
                <a:cubicBezTo>
                  <a:pt x="140" y="60"/>
                  <a:pt x="140" y="60"/>
                  <a:pt x="140" y="60"/>
                </a:cubicBezTo>
                <a:lnTo>
                  <a:pt x="130" y="60"/>
                </a:lnTo>
                <a:close/>
                <a:moveTo>
                  <a:pt x="32" y="10"/>
                </a:moveTo>
                <a:cubicBezTo>
                  <a:pt x="53" y="10"/>
                  <a:pt x="53" y="10"/>
                  <a:pt x="53" y="10"/>
                </a:cubicBezTo>
                <a:cubicBezTo>
                  <a:pt x="53" y="0"/>
                  <a:pt x="53" y="0"/>
                  <a:pt x="53" y="0"/>
                </a:cubicBezTo>
                <a:cubicBezTo>
                  <a:pt x="32" y="0"/>
                  <a:pt x="32" y="0"/>
                  <a:pt x="32" y="0"/>
                </a:cubicBezTo>
                <a:lnTo>
                  <a:pt x="32" y="10"/>
                </a:lnTo>
                <a:close/>
                <a:moveTo>
                  <a:pt x="60" y="10"/>
                </a:moveTo>
                <a:cubicBezTo>
                  <a:pt x="80" y="10"/>
                  <a:pt x="80" y="10"/>
                  <a:pt x="80" y="10"/>
                </a:cubicBezTo>
                <a:cubicBezTo>
                  <a:pt x="80" y="0"/>
                  <a:pt x="80" y="0"/>
                  <a:pt x="80" y="0"/>
                </a:cubicBezTo>
                <a:cubicBezTo>
                  <a:pt x="60" y="0"/>
                  <a:pt x="60" y="0"/>
                  <a:pt x="60" y="0"/>
                </a:cubicBezTo>
                <a:lnTo>
                  <a:pt x="60" y="10"/>
                </a:lnTo>
                <a:close/>
                <a:moveTo>
                  <a:pt x="60" y="141"/>
                </a:moveTo>
                <a:cubicBezTo>
                  <a:pt x="80" y="141"/>
                  <a:pt x="80" y="141"/>
                  <a:pt x="80" y="141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60" y="131"/>
                  <a:pt x="60" y="131"/>
                  <a:pt x="60" y="131"/>
                </a:cubicBezTo>
                <a:lnTo>
                  <a:pt x="60" y="141"/>
                </a:lnTo>
                <a:close/>
                <a:moveTo>
                  <a:pt x="87" y="141"/>
                </a:moveTo>
                <a:cubicBezTo>
                  <a:pt x="107" y="141"/>
                  <a:pt x="107" y="141"/>
                  <a:pt x="107" y="141"/>
                </a:cubicBezTo>
                <a:cubicBezTo>
                  <a:pt x="107" y="131"/>
                  <a:pt x="107" y="131"/>
                  <a:pt x="107" y="131"/>
                </a:cubicBezTo>
                <a:cubicBezTo>
                  <a:pt x="87" y="131"/>
                  <a:pt x="87" y="131"/>
                  <a:pt x="87" y="131"/>
                </a:cubicBezTo>
                <a:lnTo>
                  <a:pt x="87" y="1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0" name="Freeform 133"/>
          <p:cNvSpPr>
            <a:spLocks/>
          </p:cNvSpPr>
          <p:nvPr/>
        </p:nvSpPr>
        <p:spPr bwMode="auto">
          <a:xfrm>
            <a:off x="4660901" y="3172885"/>
            <a:ext cx="461433" cy="400049"/>
          </a:xfrm>
          <a:custGeom>
            <a:avLst/>
            <a:gdLst>
              <a:gd name="T0" fmla="*/ 757513230 w 154"/>
              <a:gd name="T1" fmla="*/ 0 h 133"/>
              <a:gd name="T2" fmla="*/ 272704853 w 154"/>
              <a:gd name="T3" fmla="*/ 427491815 h 133"/>
              <a:gd name="T4" fmla="*/ 85851320 w 154"/>
              <a:gd name="T5" fmla="*/ 274815845 h 133"/>
              <a:gd name="T6" fmla="*/ 0 w 154"/>
              <a:gd name="T7" fmla="*/ 346064481 h 133"/>
              <a:gd name="T8" fmla="*/ 328256632 w 154"/>
              <a:gd name="T9" fmla="*/ 676860913 h 133"/>
              <a:gd name="T10" fmla="*/ 777713673 w 154"/>
              <a:gd name="T11" fmla="*/ 45801889 h 133"/>
              <a:gd name="T12" fmla="*/ 757513230 w 154"/>
              <a:gd name="T13" fmla="*/ 0 h 1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54" h="133">
                <a:moveTo>
                  <a:pt x="150" y="0"/>
                </a:moveTo>
                <a:cubicBezTo>
                  <a:pt x="104" y="29"/>
                  <a:pt x="69" y="65"/>
                  <a:pt x="54" y="84"/>
                </a:cubicBezTo>
                <a:cubicBezTo>
                  <a:pt x="17" y="54"/>
                  <a:pt x="17" y="54"/>
                  <a:pt x="17" y="54"/>
                </a:cubicBezTo>
                <a:cubicBezTo>
                  <a:pt x="0" y="68"/>
                  <a:pt x="0" y="68"/>
                  <a:pt x="0" y="68"/>
                </a:cubicBezTo>
                <a:cubicBezTo>
                  <a:pt x="65" y="133"/>
                  <a:pt x="65" y="133"/>
                  <a:pt x="65" y="133"/>
                </a:cubicBezTo>
                <a:cubicBezTo>
                  <a:pt x="76" y="105"/>
                  <a:pt x="111" y="49"/>
                  <a:pt x="154" y="9"/>
                </a:cubicBezTo>
                <a:lnTo>
                  <a:pt x="15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1" name="Freeform 134"/>
          <p:cNvSpPr>
            <a:spLocks/>
          </p:cNvSpPr>
          <p:nvPr/>
        </p:nvSpPr>
        <p:spPr bwMode="auto">
          <a:xfrm>
            <a:off x="5410201" y="3145367"/>
            <a:ext cx="522817" cy="499533"/>
          </a:xfrm>
          <a:custGeom>
            <a:avLst/>
            <a:gdLst>
              <a:gd name="T0" fmla="*/ 883633406 w 174"/>
              <a:gd name="T1" fmla="*/ 708027563 h 166"/>
              <a:gd name="T2" fmla="*/ 776987684 w 174"/>
              <a:gd name="T3" fmla="*/ 641809304 h 166"/>
              <a:gd name="T4" fmla="*/ 639872078 w 174"/>
              <a:gd name="T5" fmla="*/ 585778817 h 166"/>
              <a:gd name="T6" fmla="*/ 599245565 w 174"/>
              <a:gd name="T7" fmla="*/ 570497159 h 166"/>
              <a:gd name="T8" fmla="*/ 563696240 w 174"/>
              <a:gd name="T9" fmla="*/ 509372786 h 166"/>
              <a:gd name="T10" fmla="*/ 538305797 w 174"/>
              <a:gd name="T11" fmla="*/ 509372786 h 166"/>
              <a:gd name="T12" fmla="*/ 563696240 w 174"/>
              <a:gd name="T13" fmla="*/ 458433927 h 166"/>
              <a:gd name="T14" fmla="*/ 573852868 w 174"/>
              <a:gd name="T15" fmla="*/ 402403440 h 166"/>
              <a:gd name="T16" fmla="*/ 599245565 w 174"/>
              <a:gd name="T17" fmla="*/ 376936268 h 166"/>
              <a:gd name="T18" fmla="*/ 614481634 w 174"/>
              <a:gd name="T19" fmla="*/ 341279067 h 166"/>
              <a:gd name="T20" fmla="*/ 609402194 w 174"/>
              <a:gd name="T21" fmla="*/ 275060808 h 166"/>
              <a:gd name="T22" fmla="*/ 599245565 w 174"/>
              <a:gd name="T23" fmla="*/ 249591379 h 166"/>
              <a:gd name="T24" fmla="*/ 604325006 w 174"/>
              <a:gd name="T25" fmla="*/ 162999833 h 166"/>
              <a:gd name="T26" fmla="*/ 599245565 w 174"/>
              <a:gd name="T27" fmla="*/ 101875460 h 166"/>
              <a:gd name="T28" fmla="*/ 573852868 w 174"/>
              <a:gd name="T29" fmla="*/ 66218259 h 166"/>
              <a:gd name="T30" fmla="*/ 548462425 w 174"/>
              <a:gd name="T31" fmla="*/ 61124373 h 166"/>
              <a:gd name="T32" fmla="*/ 528149169 w 174"/>
              <a:gd name="T33" fmla="*/ 45842716 h 166"/>
              <a:gd name="T34" fmla="*/ 340250422 w 174"/>
              <a:gd name="T35" fmla="*/ 45842716 h 166"/>
              <a:gd name="T36" fmla="*/ 274231212 w 174"/>
              <a:gd name="T37" fmla="*/ 244499750 h 166"/>
              <a:gd name="T38" fmla="*/ 264074584 w 174"/>
              <a:gd name="T39" fmla="*/ 290342465 h 166"/>
              <a:gd name="T40" fmla="*/ 289465028 w 174"/>
              <a:gd name="T41" fmla="*/ 387124039 h 166"/>
              <a:gd name="T42" fmla="*/ 304701097 w 174"/>
              <a:gd name="T43" fmla="*/ 392215668 h 166"/>
              <a:gd name="T44" fmla="*/ 314857725 w 174"/>
              <a:gd name="T45" fmla="*/ 463527813 h 166"/>
              <a:gd name="T46" fmla="*/ 340250422 w 174"/>
              <a:gd name="T47" fmla="*/ 504278900 h 166"/>
              <a:gd name="T48" fmla="*/ 319937166 w 174"/>
              <a:gd name="T49" fmla="*/ 509372786 h 166"/>
              <a:gd name="T50" fmla="*/ 284387841 w 174"/>
              <a:gd name="T51" fmla="*/ 570497159 h 166"/>
              <a:gd name="T52" fmla="*/ 243761328 w 174"/>
              <a:gd name="T53" fmla="*/ 585778817 h 166"/>
              <a:gd name="T54" fmla="*/ 106645722 w 174"/>
              <a:gd name="T55" fmla="*/ 641809304 h 166"/>
              <a:gd name="T56" fmla="*/ 0 w 174"/>
              <a:gd name="T57" fmla="*/ 708027563 h 166"/>
              <a:gd name="T58" fmla="*/ 0 w 174"/>
              <a:gd name="T59" fmla="*/ 845557967 h 166"/>
              <a:gd name="T60" fmla="*/ 385954122 w 174"/>
              <a:gd name="T61" fmla="*/ 845557967 h 166"/>
              <a:gd name="T62" fmla="*/ 416424006 w 174"/>
              <a:gd name="T63" fmla="*/ 646903190 h 166"/>
              <a:gd name="T64" fmla="*/ 391033562 w 174"/>
              <a:gd name="T65" fmla="*/ 595966588 h 166"/>
              <a:gd name="T66" fmla="*/ 446896144 w 174"/>
              <a:gd name="T67" fmla="*/ 570497159 h 166"/>
              <a:gd name="T68" fmla="*/ 492599844 w 174"/>
              <a:gd name="T69" fmla="*/ 595966588 h 166"/>
              <a:gd name="T70" fmla="*/ 467209400 w 174"/>
              <a:gd name="T71" fmla="*/ 651997076 h 166"/>
              <a:gd name="T72" fmla="*/ 512913100 w 174"/>
              <a:gd name="T73" fmla="*/ 845557967 h 166"/>
              <a:gd name="T74" fmla="*/ 883633406 w 174"/>
              <a:gd name="T75" fmla="*/ 845557967 h 166"/>
              <a:gd name="T76" fmla="*/ 883633406 w 174"/>
              <a:gd name="T77" fmla="*/ 708027563 h 16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74" h="166">
                <a:moveTo>
                  <a:pt x="174" y="139"/>
                </a:moveTo>
                <a:cubicBezTo>
                  <a:pt x="171" y="131"/>
                  <a:pt x="161" y="129"/>
                  <a:pt x="153" y="126"/>
                </a:cubicBezTo>
                <a:cubicBezTo>
                  <a:pt x="144" y="122"/>
                  <a:pt x="135" y="118"/>
                  <a:pt x="126" y="115"/>
                </a:cubicBezTo>
                <a:cubicBezTo>
                  <a:pt x="123" y="114"/>
                  <a:pt x="121" y="113"/>
                  <a:pt x="118" y="112"/>
                </a:cubicBezTo>
                <a:cubicBezTo>
                  <a:pt x="115" y="110"/>
                  <a:pt x="113" y="104"/>
                  <a:pt x="111" y="100"/>
                </a:cubicBezTo>
                <a:cubicBezTo>
                  <a:pt x="109" y="100"/>
                  <a:pt x="108" y="100"/>
                  <a:pt x="106" y="100"/>
                </a:cubicBezTo>
                <a:cubicBezTo>
                  <a:pt x="106" y="94"/>
                  <a:pt x="110" y="94"/>
                  <a:pt x="111" y="90"/>
                </a:cubicBezTo>
                <a:cubicBezTo>
                  <a:pt x="112" y="86"/>
                  <a:pt x="111" y="82"/>
                  <a:pt x="113" y="79"/>
                </a:cubicBezTo>
                <a:cubicBezTo>
                  <a:pt x="114" y="76"/>
                  <a:pt x="117" y="76"/>
                  <a:pt x="118" y="74"/>
                </a:cubicBezTo>
                <a:cubicBezTo>
                  <a:pt x="120" y="73"/>
                  <a:pt x="120" y="69"/>
                  <a:pt x="121" y="67"/>
                </a:cubicBezTo>
                <a:cubicBezTo>
                  <a:pt x="122" y="63"/>
                  <a:pt x="122" y="58"/>
                  <a:pt x="120" y="54"/>
                </a:cubicBezTo>
                <a:cubicBezTo>
                  <a:pt x="119" y="52"/>
                  <a:pt x="119" y="51"/>
                  <a:pt x="118" y="49"/>
                </a:cubicBezTo>
                <a:cubicBezTo>
                  <a:pt x="118" y="45"/>
                  <a:pt x="119" y="35"/>
                  <a:pt x="119" y="32"/>
                </a:cubicBezTo>
                <a:cubicBezTo>
                  <a:pt x="119" y="26"/>
                  <a:pt x="119" y="26"/>
                  <a:pt x="118" y="20"/>
                </a:cubicBezTo>
                <a:cubicBezTo>
                  <a:pt x="118" y="20"/>
                  <a:pt x="116" y="14"/>
                  <a:pt x="113" y="13"/>
                </a:cubicBezTo>
                <a:cubicBezTo>
                  <a:pt x="108" y="12"/>
                  <a:pt x="108" y="12"/>
                  <a:pt x="108" y="12"/>
                </a:cubicBezTo>
                <a:cubicBezTo>
                  <a:pt x="104" y="9"/>
                  <a:pt x="104" y="9"/>
                  <a:pt x="104" y="9"/>
                </a:cubicBezTo>
                <a:cubicBezTo>
                  <a:pt x="90" y="0"/>
                  <a:pt x="75" y="6"/>
                  <a:pt x="67" y="9"/>
                </a:cubicBezTo>
                <a:cubicBezTo>
                  <a:pt x="56" y="13"/>
                  <a:pt x="49" y="24"/>
                  <a:pt x="54" y="48"/>
                </a:cubicBezTo>
                <a:cubicBezTo>
                  <a:pt x="55" y="52"/>
                  <a:pt x="51" y="54"/>
                  <a:pt x="52" y="57"/>
                </a:cubicBezTo>
                <a:cubicBezTo>
                  <a:pt x="52" y="61"/>
                  <a:pt x="52" y="73"/>
                  <a:pt x="57" y="76"/>
                </a:cubicBezTo>
                <a:cubicBezTo>
                  <a:pt x="57" y="76"/>
                  <a:pt x="61" y="77"/>
                  <a:pt x="60" y="77"/>
                </a:cubicBezTo>
                <a:cubicBezTo>
                  <a:pt x="61" y="82"/>
                  <a:pt x="61" y="87"/>
                  <a:pt x="62" y="91"/>
                </a:cubicBezTo>
                <a:cubicBezTo>
                  <a:pt x="63" y="94"/>
                  <a:pt x="66" y="95"/>
                  <a:pt x="67" y="99"/>
                </a:cubicBezTo>
                <a:cubicBezTo>
                  <a:pt x="63" y="100"/>
                  <a:pt x="63" y="100"/>
                  <a:pt x="63" y="100"/>
                </a:cubicBezTo>
                <a:cubicBezTo>
                  <a:pt x="61" y="104"/>
                  <a:pt x="59" y="110"/>
                  <a:pt x="56" y="112"/>
                </a:cubicBezTo>
                <a:cubicBezTo>
                  <a:pt x="53" y="113"/>
                  <a:pt x="51" y="114"/>
                  <a:pt x="48" y="115"/>
                </a:cubicBezTo>
                <a:cubicBezTo>
                  <a:pt x="39" y="118"/>
                  <a:pt x="30" y="122"/>
                  <a:pt x="21" y="126"/>
                </a:cubicBezTo>
                <a:cubicBezTo>
                  <a:pt x="13" y="129"/>
                  <a:pt x="3" y="131"/>
                  <a:pt x="0" y="139"/>
                </a:cubicBezTo>
                <a:cubicBezTo>
                  <a:pt x="0" y="145"/>
                  <a:pt x="0" y="158"/>
                  <a:pt x="0" y="166"/>
                </a:cubicBezTo>
                <a:cubicBezTo>
                  <a:pt x="76" y="166"/>
                  <a:pt x="76" y="166"/>
                  <a:pt x="76" y="166"/>
                </a:cubicBezTo>
                <a:cubicBezTo>
                  <a:pt x="82" y="127"/>
                  <a:pt x="82" y="127"/>
                  <a:pt x="82" y="127"/>
                </a:cubicBezTo>
                <a:cubicBezTo>
                  <a:pt x="77" y="117"/>
                  <a:pt x="77" y="117"/>
                  <a:pt x="77" y="117"/>
                </a:cubicBezTo>
                <a:cubicBezTo>
                  <a:pt x="88" y="112"/>
                  <a:pt x="88" y="112"/>
                  <a:pt x="88" y="112"/>
                </a:cubicBezTo>
                <a:cubicBezTo>
                  <a:pt x="97" y="117"/>
                  <a:pt x="97" y="117"/>
                  <a:pt x="97" y="117"/>
                </a:cubicBezTo>
                <a:cubicBezTo>
                  <a:pt x="92" y="128"/>
                  <a:pt x="92" y="128"/>
                  <a:pt x="92" y="128"/>
                </a:cubicBezTo>
                <a:cubicBezTo>
                  <a:pt x="101" y="166"/>
                  <a:pt x="101" y="166"/>
                  <a:pt x="101" y="166"/>
                </a:cubicBezTo>
                <a:cubicBezTo>
                  <a:pt x="174" y="166"/>
                  <a:pt x="174" y="166"/>
                  <a:pt x="174" y="166"/>
                </a:cubicBezTo>
                <a:cubicBezTo>
                  <a:pt x="174" y="158"/>
                  <a:pt x="174" y="145"/>
                  <a:pt x="174" y="1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2" name="Freeform 135"/>
          <p:cNvSpPr>
            <a:spLocks/>
          </p:cNvSpPr>
          <p:nvPr/>
        </p:nvSpPr>
        <p:spPr bwMode="auto">
          <a:xfrm>
            <a:off x="6191251" y="3151718"/>
            <a:ext cx="543983" cy="546100"/>
          </a:xfrm>
          <a:custGeom>
            <a:avLst/>
            <a:gdLst>
              <a:gd name="T0" fmla="*/ 909470645 w 181"/>
              <a:gd name="T1" fmla="*/ 607721534 h 182"/>
              <a:gd name="T2" fmla="*/ 894228611 w 181"/>
              <a:gd name="T3" fmla="*/ 521627519 h 182"/>
              <a:gd name="T4" fmla="*/ 807852579 w 181"/>
              <a:gd name="T5" fmla="*/ 506434987 h 182"/>
              <a:gd name="T6" fmla="*/ 685914056 w 181"/>
              <a:gd name="T7" fmla="*/ 379826803 h 182"/>
              <a:gd name="T8" fmla="*/ 721478801 w 181"/>
              <a:gd name="T9" fmla="*/ 344376061 h 182"/>
              <a:gd name="T10" fmla="*/ 584295990 w 181"/>
              <a:gd name="T11" fmla="*/ 202573095 h 182"/>
              <a:gd name="T12" fmla="*/ 543650567 w 181"/>
              <a:gd name="T13" fmla="*/ 243089514 h 182"/>
              <a:gd name="T14" fmla="*/ 426790467 w 181"/>
              <a:gd name="T15" fmla="*/ 126608184 h 182"/>
              <a:gd name="T16" fmla="*/ 411548433 w 181"/>
              <a:gd name="T17" fmla="*/ 35450742 h 182"/>
              <a:gd name="T18" fmla="*/ 299769012 w 181"/>
              <a:gd name="T19" fmla="*/ 35450742 h 182"/>
              <a:gd name="T20" fmla="*/ 299769012 w 181"/>
              <a:gd name="T21" fmla="*/ 146866394 h 182"/>
              <a:gd name="T22" fmla="*/ 381062112 w 181"/>
              <a:gd name="T23" fmla="*/ 167124603 h 182"/>
              <a:gd name="T24" fmla="*/ 492841534 w 181"/>
              <a:gd name="T25" fmla="*/ 278540255 h 182"/>
              <a:gd name="T26" fmla="*/ 350578045 w 181"/>
              <a:gd name="T27" fmla="*/ 248152941 h 182"/>
              <a:gd name="T28" fmla="*/ 132102133 w 181"/>
              <a:gd name="T29" fmla="*/ 319054424 h 182"/>
              <a:gd name="T30" fmla="*/ 30484067 w 181"/>
              <a:gd name="T31" fmla="*/ 334246956 h 182"/>
              <a:gd name="T32" fmla="*/ 30484067 w 181"/>
              <a:gd name="T33" fmla="*/ 445662608 h 182"/>
              <a:gd name="T34" fmla="*/ 147344167 w 181"/>
              <a:gd name="T35" fmla="*/ 445662608 h 182"/>
              <a:gd name="T36" fmla="*/ 167666878 w 181"/>
              <a:gd name="T37" fmla="*/ 364634271 h 182"/>
              <a:gd name="T38" fmla="*/ 350578045 w 181"/>
              <a:gd name="T39" fmla="*/ 303861892 h 182"/>
              <a:gd name="T40" fmla="*/ 462357466 w 181"/>
              <a:gd name="T41" fmla="*/ 324117851 h 182"/>
              <a:gd name="T42" fmla="*/ 442032501 w 181"/>
              <a:gd name="T43" fmla="*/ 344376061 h 182"/>
              <a:gd name="T44" fmla="*/ 584295990 w 181"/>
              <a:gd name="T45" fmla="*/ 486179027 h 182"/>
              <a:gd name="T46" fmla="*/ 609701633 w 181"/>
              <a:gd name="T47" fmla="*/ 455791713 h 182"/>
              <a:gd name="T48" fmla="*/ 655427734 w 181"/>
              <a:gd name="T49" fmla="*/ 607721534 h 182"/>
              <a:gd name="T50" fmla="*/ 614782311 w 181"/>
              <a:gd name="T51" fmla="*/ 754587928 h 182"/>
              <a:gd name="T52" fmla="*/ 533489211 w 181"/>
              <a:gd name="T53" fmla="*/ 774846137 h 182"/>
              <a:gd name="T54" fmla="*/ 533489211 w 181"/>
              <a:gd name="T55" fmla="*/ 891327467 h 182"/>
              <a:gd name="T56" fmla="*/ 645266379 w 181"/>
              <a:gd name="T57" fmla="*/ 891327467 h 182"/>
              <a:gd name="T58" fmla="*/ 660508412 w 181"/>
              <a:gd name="T59" fmla="*/ 795104347 h 182"/>
              <a:gd name="T60" fmla="*/ 711317445 w 181"/>
              <a:gd name="T61" fmla="*/ 607721534 h 182"/>
              <a:gd name="T62" fmla="*/ 680833378 w 181"/>
              <a:gd name="T63" fmla="*/ 465920818 h 182"/>
              <a:gd name="T64" fmla="*/ 762126478 w 181"/>
              <a:gd name="T65" fmla="*/ 546951406 h 182"/>
              <a:gd name="T66" fmla="*/ 777368512 w 181"/>
              <a:gd name="T67" fmla="*/ 638108848 h 182"/>
              <a:gd name="T68" fmla="*/ 894228611 w 181"/>
              <a:gd name="T69" fmla="*/ 638108848 h 182"/>
              <a:gd name="T70" fmla="*/ 909470645 w 181"/>
              <a:gd name="T71" fmla="*/ 607721534 h 182"/>
              <a:gd name="T72" fmla="*/ 909470645 w 181"/>
              <a:gd name="T73" fmla="*/ 607721534 h 18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1" h="182">
                <a:moveTo>
                  <a:pt x="179" y="120"/>
                </a:moveTo>
                <a:cubicBezTo>
                  <a:pt x="181" y="114"/>
                  <a:pt x="180" y="108"/>
                  <a:pt x="176" y="103"/>
                </a:cubicBezTo>
                <a:cubicBezTo>
                  <a:pt x="171" y="99"/>
                  <a:pt x="165" y="98"/>
                  <a:pt x="159" y="100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42" y="68"/>
                  <a:pt x="142" y="68"/>
                  <a:pt x="142" y="68"/>
                </a:cubicBezTo>
                <a:cubicBezTo>
                  <a:pt x="115" y="40"/>
                  <a:pt x="115" y="40"/>
                  <a:pt x="115" y="40"/>
                </a:cubicBezTo>
                <a:cubicBezTo>
                  <a:pt x="107" y="48"/>
                  <a:pt x="107" y="48"/>
                  <a:pt x="107" y="48"/>
                </a:cubicBezTo>
                <a:cubicBezTo>
                  <a:pt x="84" y="25"/>
                  <a:pt x="84" y="25"/>
                  <a:pt x="84" y="25"/>
                </a:cubicBezTo>
                <a:cubicBezTo>
                  <a:pt x="87" y="19"/>
                  <a:pt x="86" y="11"/>
                  <a:pt x="81" y="7"/>
                </a:cubicBezTo>
                <a:cubicBezTo>
                  <a:pt x="75" y="0"/>
                  <a:pt x="65" y="0"/>
                  <a:pt x="59" y="7"/>
                </a:cubicBezTo>
                <a:cubicBezTo>
                  <a:pt x="52" y="13"/>
                  <a:pt x="52" y="23"/>
                  <a:pt x="59" y="29"/>
                </a:cubicBezTo>
                <a:cubicBezTo>
                  <a:pt x="63" y="34"/>
                  <a:pt x="70" y="35"/>
                  <a:pt x="75" y="33"/>
                </a:cubicBezTo>
                <a:cubicBezTo>
                  <a:pt x="97" y="55"/>
                  <a:pt x="97" y="55"/>
                  <a:pt x="97" y="55"/>
                </a:cubicBezTo>
                <a:cubicBezTo>
                  <a:pt x="88" y="51"/>
                  <a:pt x="78" y="49"/>
                  <a:pt x="69" y="49"/>
                </a:cubicBezTo>
                <a:cubicBezTo>
                  <a:pt x="54" y="49"/>
                  <a:pt x="38" y="54"/>
                  <a:pt x="26" y="63"/>
                </a:cubicBezTo>
                <a:cubicBezTo>
                  <a:pt x="20" y="60"/>
                  <a:pt x="12" y="61"/>
                  <a:pt x="6" y="66"/>
                </a:cubicBezTo>
                <a:cubicBezTo>
                  <a:pt x="0" y="72"/>
                  <a:pt x="0" y="82"/>
                  <a:pt x="6" y="88"/>
                </a:cubicBezTo>
                <a:cubicBezTo>
                  <a:pt x="13" y="95"/>
                  <a:pt x="23" y="95"/>
                  <a:pt x="29" y="88"/>
                </a:cubicBezTo>
                <a:cubicBezTo>
                  <a:pt x="33" y="84"/>
                  <a:pt x="35" y="77"/>
                  <a:pt x="33" y="72"/>
                </a:cubicBezTo>
                <a:cubicBezTo>
                  <a:pt x="43" y="64"/>
                  <a:pt x="56" y="60"/>
                  <a:pt x="69" y="60"/>
                </a:cubicBezTo>
                <a:cubicBezTo>
                  <a:pt x="76" y="60"/>
                  <a:pt x="84" y="62"/>
                  <a:pt x="91" y="64"/>
                </a:cubicBezTo>
                <a:cubicBezTo>
                  <a:pt x="87" y="68"/>
                  <a:pt x="87" y="68"/>
                  <a:pt x="87" y="68"/>
                </a:cubicBezTo>
                <a:cubicBezTo>
                  <a:pt x="115" y="96"/>
                  <a:pt x="115" y="96"/>
                  <a:pt x="115" y="96"/>
                </a:cubicBezTo>
                <a:cubicBezTo>
                  <a:pt x="120" y="90"/>
                  <a:pt x="120" y="90"/>
                  <a:pt x="120" y="90"/>
                </a:cubicBezTo>
                <a:cubicBezTo>
                  <a:pt x="126" y="99"/>
                  <a:pt x="129" y="110"/>
                  <a:pt x="129" y="120"/>
                </a:cubicBezTo>
                <a:cubicBezTo>
                  <a:pt x="129" y="130"/>
                  <a:pt x="126" y="140"/>
                  <a:pt x="121" y="149"/>
                </a:cubicBezTo>
                <a:cubicBezTo>
                  <a:pt x="116" y="147"/>
                  <a:pt x="109" y="148"/>
                  <a:pt x="105" y="153"/>
                </a:cubicBezTo>
                <a:cubicBezTo>
                  <a:pt x="98" y="159"/>
                  <a:pt x="98" y="169"/>
                  <a:pt x="105" y="176"/>
                </a:cubicBezTo>
                <a:cubicBezTo>
                  <a:pt x="111" y="182"/>
                  <a:pt x="121" y="182"/>
                  <a:pt x="127" y="176"/>
                </a:cubicBezTo>
                <a:cubicBezTo>
                  <a:pt x="132" y="170"/>
                  <a:pt x="133" y="163"/>
                  <a:pt x="130" y="157"/>
                </a:cubicBezTo>
                <a:cubicBezTo>
                  <a:pt x="137" y="146"/>
                  <a:pt x="140" y="133"/>
                  <a:pt x="140" y="120"/>
                </a:cubicBezTo>
                <a:cubicBezTo>
                  <a:pt x="140" y="111"/>
                  <a:pt x="138" y="101"/>
                  <a:pt x="134" y="92"/>
                </a:cubicBezTo>
                <a:cubicBezTo>
                  <a:pt x="150" y="108"/>
                  <a:pt x="150" y="108"/>
                  <a:pt x="150" y="108"/>
                </a:cubicBezTo>
                <a:cubicBezTo>
                  <a:pt x="147" y="114"/>
                  <a:pt x="148" y="121"/>
                  <a:pt x="153" y="126"/>
                </a:cubicBezTo>
                <a:cubicBezTo>
                  <a:pt x="159" y="132"/>
                  <a:pt x="169" y="132"/>
                  <a:pt x="176" y="126"/>
                </a:cubicBezTo>
                <a:cubicBezTo>
                  <a:pt x="177" y="124"/>
                  <a:pt x="179" y="122"/>
                  <a:pt x="179" y="120"/>
                </a:cubicBezTo>
                <a:cubicBezTo>
                  <a:pt x="179" y="120"/>
                  <a:pt x="179" y="120"/>
                  <a:pt x="179" y="12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3" name="Freeform 136"/>
          <p:cNvSpPr>
            <a:spLocks/>
          </p:cNvSpPr>
          <p:nvPr/>
        </p:nvSpPr>
        <p:spPr bwMode="auto">
          <a:xfrm>
            <a:off x="7268633" y="3181351"/>
            <a:ext cx="315384" cy="355600"/>
          </a:xfrm>
          <a:custGeom>
            <a:avLst/>
            <a:gdLst>
              <a:gd name="T0" fmla="*/ 162393474 w 105"/>
              <a:gd name="T1" fmla="*/ 602787203 h 118"/>
              <a:gd name="T2" fmla="*/ 5075430 w 105"/>
              <a:gd name="T3" fmla="*/ 536378903 h 118"/>
              <a:gd name="T4" fmla="*/ 5075430 w 105"/>
              <a:gd name="T5" fmla="*/ 536378903 h 118"/>
              <a:gd name="T6" fmla="*/ 0 w 105"/>
              <a:gd name="T7" fmla="*/ 531270920 h 118"/>
              <a:gd name="T8" fmla="*/ 96421900 w 105"/>
              <a:gd name="T9" fmla="*/ 434210202 h 118"/>
              <a:gd name="T10" fmla="*/ 101497329 w 105"/>
              <a:gd name="T11" fmla="*/ 439320445 h 118"/>
              <a:gd name="T12" fmla="*/ 162393474 w 105"/>
              <a:gd name="T13" fmla="*/ 464860360 h 118"/>
              <a:gd name="T14" fmla="*/ 162393474 w 105"/>
              <a:gd name="T15" fmla="*/ 464860360 h 118"/>
              <a:gd name="T16" fmla="*/ 218218695 w 105"/>
              <a:gd name="T17" fmla="*/ 439320445 h 118"/>
              <a:gd name="T18" fmla="*/ 218218695 w 105"/>
              <a:gd name="T19" fmla="*/ 439320445 h 118"/>
              <a:gd name="T20" fmla="*/ 375536740 w 105"/>
              <a:gd name="T21" fmla="*/ 286067392 h 118"/>
              <a:gd name="T22" fmla="*/ 400911635 w 105"/>
              <a:gd name="T23" fmla="*/ 224767075 h 118"/>
              <a:gd name="T24" fmla="*/ 400911635 w 105"/>
              <a:gd name="T25" fmla="*/ 224767075 h 118"/>
              <a:gd name="T26" fmla="*/ 375536740 w 105"/>
              <a:gd name="T27" fmla="*/ 168577002 h 118"/>
              <a:gd name="T28" fmla="*/ 375536740 w 105"/>
              <a:gd name="T29" fmla="*/ 168577002 h 118"/>
              <a:gd name="T30" fmla="*/ 370463563 w 105"/>
              <a:gd name="T31" fmla="*/ 158358775 h 118"/>
              <a:gd name="T32" fmla="*/ 309565165 w 105"/>
              <a:gd name="T33" fmla="*/ 137926843 h 118"/>
              <a:gd name="T34" fmla="*/ 309565165 w 105"/>
              <a:gd name="T35" fmla="*/ 137926843 h 118"/>
              <a:gd name="T36" fmla="*/ 248666768 w 105"/>
              <a:gd name="T37" fmla="*/ 158358775 h 118"/>
              <a:gd name="T38" fmla="*/ 248666768 w 105"/>
              <a:gd name="T39" fmla="*/ 158358775 h 118"/>
              <a:gd name="T40" fmla="*/ 187768370 w 105"/>
              <a:gd name="T41" fmla="*/ 224767075 h 118"/>
              <a:gd name="T42" fmla="*/ 91346470 w 105"/>
              <a:gd name="T43" fmla="*/ 224767075 h 118"/>
              <a:gd name="T44" fmla="*/ 91346470 w 105"/>
              <a:gd name="T45" fmla="*/ 224767075 h 118"/>
              <a:gd name="T46" fmla="*/ 91346470 w 105"/>
              <a:gd name="T47" fmla="*/ 127708617 h 118"/>
              <a:gd name="T48" fmla="*/ 91346470 w 105"/>
              <a:gd name="T49" fmla="*/ 127708617 h 118"/>
              <a:gd name="T50" fmla="*/ 157320297 w 105"/>
              <a:gd name="T51" fmla="*/ 66408300 h 118"/>
              <a:gd name="T52" fmla="*/ 309565165 w 105"/>
              <a:gd name="T53" fmla="*/ 0 h 118"/>
              <a:gd name="T54" fmla="*/ 309565165 w 105"/>
              <a:gd name="T55" fmla="*/ 0 h 118"/>
              <a:gd name="T56" fmla="*/ 461810033 w 105"/>
              <a:gd name="T57" fmla="*/ 66408300 h 118"/>
              <a:gd name="T58" fmla="*/ 461810033 w 105"/>
              <a:gd name="T59" fmla="*/ 66408300 h 118"/>
              <a:gd name="T60" fmla="*/ 471958640 w 105"/>
              <a:gd name="T61" fmla="*/ 71516283 h 118"/>
              <a:gd name="T62" fmla="*/ 532857037 w 105"/>
              <a:gd name="T63" fmla="*/ 224767075 h 118"/>
              <a:gd name="T64" fmla="*/ 532857037 w 105"/>
              <a:gd name="T65" fmla="*/ 224767075 h 118"/>
              <a:gd name="T66" fmla="*/ 471958640 w 105"/>
              <a:gd name="T67" fmla="*/ 378020128 h 118"/>
              <a:gd name="T68" fmla="*/ 471958640 w 105"/>
              <a:gd name="T69" fmla="*/ 378020128 h 118"/>
              <a:gd name="T70" fmla="*/ 314638342 w 105"/>
              <a:gd name="T71" fmla="*/ 536378903 h 118"/>
              <a:gd name="T72" fmla="*/ 162393474 w 105"/>
              <a:gd name="T73" fmla="*/ 602787203 h 118"/>
              <a:gd name="T74" fmla="*/ 162393474 w 105"/>
              <a:gd name="T75" fmla="*/ 602787203 h 118"/>
              <a:gd name="T76" fmla="*/ 162393474 w 105"/>
              <a:gd name="T77" fmla="*/ 602787203 h 11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05" h="118">
                <a:moveTo>
                  <a:pt x="32" y="118"/>
                </a:moveTo>
                <a:cubicBezTo>
                  <a:pt x="21" y="118"/>
                  <a:pt x="10" y="113"/>
                  <a:pt x="1" y="105"/>
                </a:cubicBezTo>
                <a:cubicBezTo>
                  <a:pt x="1" y="105"/>
                  <a:pt x="1" y="105"/>
                  <a:pt x="1" y="105"/>
                </a:cubicBezTo>
                <a:cubicBezTo>
                  <a:pt x="0" y="104"/>
                  <a:pt x="0" y="104"/>
                  <a:pt x="0" y="104"/>
                </a:cubicBezTo>
                <a:cubicBezTo>
                  <a:pt x="19" y="85"/>
                  <a:pt x="19" y="85"/>
                  <a:pt x="19" y="85"/>
                </a:cubicBezTo>
                <a:cubicBezTo>
                  <a:pt x="20" y="86"/>
                  <a:pt x="20" y="86"/>
                  <a:pt x="20" y="86"/>
                </a:cubicBezTo>
                <a:cubicBezTo>
                  <a:pt x="23" y="90"/>
                  <a:pt x="27" y="91"/>
                  <a:pt x="32" y="91"/>
                </a:cubicBezTo>
                <a:cubicBezTo>
                  <a:pt x="32" y="91"/>
                  <a:pt x="32" y="91"/>
                  <a:pt x="32" y="91"/>
                </a:cubicBezTo>
                <a:cubicBezTo>
                  <a:pt x="36" y="91"/>
                  <a:pt x="40" y="90"/>
                  <a:pt x="43" y="86"/>
                </a:cubicBezTo>
                <a:cubicBezTo>
                  <a:pt x="43" y="86"/>
                  <a:pt x="43" y="86"/>
                  <a:pt x="43" y="86"/>
                </a:cubicBezTo>
                <a:cubicBezTo>
                  <a:pt x="74" y="56"/>
                  <a:pt x="74" y="56"/>
                  <a:pt x="74" y="56"/>
                </a:cubicBezTo>
                <a:cubicBezTo>
                  <a:pt x="77" y="53"/>
                  <a:pt x="79" y="48"/>
                  <a:pt x="79" y="44"/>
                </a:cubicBezTo>
                <a:cubicBezTo>
                  <a:pt x="79" y="44"/>
                  <a:pt x="79" y="44"/>
                  <a:pt x="79" y="44"/>
                </a:cubicBezTo>
                <a:cubicBezTo>
                  <a:pt x="79" y="40"/>
                  <a:pt x="77" y="36"/>
                  <a:pt x="74" y="33"/>
                </a:cubicBezTo>
                <a:cubicBezTo>
                  <a:pt x="74" y="33"/>
                  <a:pt x="74" y="33"/>
                  <a:pt x="74" y="33"/>
                </a:cubicBezTo>
                <a:cubicBezTo>
                  <a:pt x="73" y="31"/>
                  <a:pt x="73" y="31"/>
                  <a:pt x="73" y="31"/>
                </a:cubicBezTo>
                <a:cubicBezTo>
                  <a:pt x="69" y="28"/>
                  <a:pt x="65" y="27"/>
                  <a:pt x="61" y="27"/>
                </a:cubicBezTo>
                <a:cubicBezTo>
                  <a:pt x="61" y="27"/>
                  <a:pt x="61" y="27"/>
                  <a:pt x="61" y="27"/>
                </a:cubicBezTo>
                <a:cubicBezTo>
                  <a:pt x="57" y="27"/>
                  <a:pt x="53" y="28"/>
                  <a:pt x="49" y="31"/>
                </a:cubicBezTo>
                <a:cubicBezTo>
                  <a:pt x="49" y="31"/>
                  <a:pt x="49" y="31"/>
                  <a:pt x="49" y="31"/>
                </a:cubicBezTo>
                <a:cubicBezTo>
                  <a:pt x="37" y="44"/>
                  <a:pt x="37" y="44"/>
                  <a:pt x="37" y="44"/>
                </a:cubicBezTo>
                <a:cubicBezTo>
                  <a:pt x="32" y="49"/>
                  <a:pt x="23" y="49"/>
                  <a:pt x="18" y="44"/>
                </a:cubicBezTo>
                <a:cubicBezTo>
                  <a:pt x="18" y="44"/>
                  <a:pt x="18" y="44"/>
                  <a:pt x="18" y="44"/>
                </a:cubicBezTo>
                <a:cubicBezTo>
                  <a:pt x="13" y="39"/>
                  <a:pt x="13" y="30"/>
                  <a:pt x="18" y="25"/>
                </a:cubicBezTo>
                <a:cubicBezTo>
                  <a:pt x="18" y="25"/>
                  <a:pt x="18" y="25"/>
                  <a:pt x="18" y="25"/>
                </a:cubicBezTo>
                <a:cubicBezTo>
                  <a:pt x="31" y="13"/>
                  <a:pt x="31" y="13"/>
                  <a:pt x="31" y="13"/>
                </a:cubicBezTo>
                <a:cubicBezTo>
                  <a:pt x="39" y="4"/>
                  <a:pt x="50" y="0"/>
                  <a:pt x="61" y="0"/>
                </a:cubicBezTo>
                <a:cubicBezTo>
                  <a:pt x="61" y="0"/>
                  <a:pt x="61" y="0"/>
                  <a:pt x="61" y="0"/>
                </a:cubicBezTo>
                <a:cubicBezTo>
                  <a:pt x="72" y="0"/>
                  <a:pt x="83" y="4"/>
                  <a:pt x="91" y="13"/>
                </a:cubicBezTo>
                <a:cubicBezTo>
                  <a:pt x="91" y="13"/>
                  <a:pt x="91" y="13"/>
                  <a:pt x="91" y="13"/>
                </a:cubicBezTo>
                <a:cubicBezTo>
                  <a:pt x="93" y="14"/>
                  <a:pt x="93" y="14"/>
                  <a:pt x="93" y="14"/>
                </a:cubicBezTo>
                <a:cubicBezTo>
                  <a:pt x="101" y="22"/>
                  <a:pt x="105" y="33"/>
                  <a:pt x="105" y="44"/>
                </a:cubicBezTo>
                <a:cubicBezTo>
                  <a:pt x="105" y="44"/>
                  <a:pt x="105" y="44"/>
                  <a:pt x="105" y="44"/>
                </a:cubicBezTo>
                <a:cubicBezTo>
                  <a:pt x="105" y="55"/>
                  <a:pt x="101" y="66"/>
                  <a:pt x="93" y="74"/>
                </a:cubicBezTo>
                <a:cubicBezTo>
                  <a:pt x="93" y="74"/>
                  <a:pt x="93" y="74"/>
                  <a:pt x="93" y="74"/>
                </a:cubicBezTo>
                <a:cubicBezTo>
                  <a:pt x="62" y="105"/>
                  <a:pt x="62" y="105"/>
                  <a:pt x="62" y="105"/>
                </a:cubicBezTo>
                <a:cubicBezTo>
                  <a:pt x="54" y="114"/>
                  <a:pt x="42" y="118"/>
                  <a:pt x="32" y="118"/>
                </a:cubicBezTo>
                <a:cubicBezTo>
                  <a:pt x="32" y="118"/>
                  <a:pt x="32" y="118"/>
                  <a:pt x="32" y="118"/>
                </a:cubicBezTo>
                <a:cubicBezTo>
                  <a:pt x="32" y="118"/>
                  <a:pt x="32" y="118"/>
                  <a:pt x="32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4" name="Freeform 137"/>
          <p:cNvSpPr>
            <a:spLocks/>
          </p:cNvSpPr>
          <p:nvPr/>
        </p:nvSpPr>
        <p:spPr bwMode="auto">
          <a:xfrm>
            <a:off x="7103533" y="3337984"/>
            <a:ext cx="315384" cy="355600"/>
          </a:xfrm>
          <a:custGeom>
            <a:avLst/>
            <a:gdLst>
              <a:gd name="T0" fmla="*/ 223291872 w 105"/>
              <a:gd name="T1" fmla="*/ 602787203 h 118"/>
              <a:gd name="T2" fmla="*/ 71047004 w 105"/>
              <a:gd name="T3" fmla="*/ 536378903 h 118"/>
              <a:gd name="T4" fmla="*/ 71047004 w 105"/>
              <a:gd name="T5" fmla="*/ 536378903 h 118"/>
              <a:gd name="T6" fmla="*/ 60898398 w 105"/>
              <a:gd name="T7" fmla="*/ 531270920 h 118"/>
              <a:gd name="T8" fmla="*/ 0 w 105"/>
              <a:gd name="T9" fmla="*/ 378020128 h 118"/>
              <a:gd name="T10" fmla="*/ 0 w 105"/>
              <a:gd name="T11" fmla="*/ 378020128 h 118"/>
              <a:gd name="T12" fmla="*/ 60898398 w 105"/>
              <a:gd name="T13" fmla="*/ 224767075 h 118"/>
              <a:gd name="T14" fmla="*/ 60898398 w 105"/>
              <a:gd name="T15" fmla="*/ 224767075 h 118"/>
              <a:gd name="T16" fmla="*/ 218218695 w 105"/>
              <a:gd name="T17" fmla="*/ 66408300 h 118"/>
              <a:gd name="T18" fmla="*/ 370463563 w 105"/>
              <a:gd name="T19" fmla="*/ 0 h 118"/>
              <a:gd name="T20" fmla="*/ 370463563 w 105"/>
              <a:gd name="T21" fmla="*/ 0 h 118"/>
              <a:gd name="T22" fmla="*/ 497333535 w 105"/>
              <a:gd name="T23" fmla="*/ 40866125 h 118"/>
              <a:gd name="T24" fmla="*/ 497333535 w 105"/>
              <a:gd name="T25" fmla="*/ 40866125 h 118"/>
              <a:gd name="T26" fmla="*/ 512557571 w 105"/>
              <a:gd name="T27" fmla="*/ 51084351 h 118"/>
              <a:gd name="T28" fmla="*/ 512557571 w 105"/>
              <a:gd name="T29" fmla="*/ 51084351 h 118"/>
              <a:gd name="T30" fmla="*/ 527781608 w 105"/>
              <a:gd name="T31" fmla="*/ 66408300 h 118"/>
              <a:gd name="T32" fmla="*/ 532857037 w 105"/>
              <a:gd name="T33" fmla="*/ 71516283 h 118"/>
              <a:gd name="T34" fmla="*/ 532857037 w 105"/>
              <a:gd name="T35" fmla="*/ 71516283 h 118"/>
              <a:gd name="T36" fmla="*/ 532857037 w 105"/>
              <a:gd name="T37" fmla="*/ 71516283 h 118"/>
              <a:gd name="T38" fmla="*/ 436435137 w 105"/>
              <a:gd name="T39" fmla="*/ 168577002 h 118"/>
              <a:gd name="T40" fmla="*/ 436435137 w 105"/>
              <a:gd name="T41" fmla="*/ 168577002 h 118"/>
              <a:gd name="T42" fmla="*/ 431359708 w 105"/>
              <a:gd name="T43" fmla="*/ 163466758 h 118"/>
              <a:gd name="T44" fmla="*/ 370463563 w 105"/>
              <a:gd name="T45" fmla="*/ 137926843 h 118"/>
              <a:gd name="T46" fmla="*/ 370463563 w 105"/>
              <a:gd name="T47" fmla="*/ 137926843 h 118"/>
              <a:gd name="T48" fmla="*/ 314638342 w 105"/>
              <a:gd name="T49" fmla="*/ 163466758 h 118"/>
              <a:gd name="T50" fmla="*/ 314638342 w 105"/>
              <a:gd name="T51" fmla="*/ 163466758 h 118"/>
              <a:gd name="T52" fmla="*/ 157320297 w 105"/>
              <a:gd name="T53" fmla="*/ 316719811 h 118"/>
              <a:gd name="T54" fmla="*/ 131945402 w 105"/>
              <a:gd name="T55" fmla="*/ 378020128 h 118"/>
              <a:gd name="T56" fmla="*/ 131945402 w 105"/>
              <a:gd name="T57" fmla="*/ 378020128 h 118"/>
              <a:gd name="T58" fmla="*/ 157320297 w 105"/>
              <a:gd name="T59" fmla="*/ 434210202 h 118"/>
              <a:gd name="T60" fmla="*/ 157320297 w 105"/>
              <a:gd name="T61" fmla="*/ 434210202 h 118"/>
              <a:gd name="T62" fmla="*/ 162393474 w 105"/>
              <a:gd name="T63" fmla="*/ 444428428 h 118"/>
              <a:gd name="T64" fmla="*/ 223291872 w 105"/>
              <a:gd name="T65" fmla="*/ 464860360 h 118"/>
              <a:gd name="T66" fmla="*/ 223291872 w 105"/>
              <a:gd name="T67" fmla="*/ 464860360 h 118"/>
              <a:gd name="T68" fmla="*/ 284190270 w 105"/>
              <a:gd name="T69" fmla="*/ 444428428 h 118"/>
              <a:gd name="T70" fmla="*/ 284190270 w 105"/>
              <a:gd name="T71" fmla="*/ 444428428 h 118"/>
              <a:gd name="T72" fmla="*/ 350164097 w 105"/>
              <a:gd name="T73" fmla="*/ 372909885 h 118"/>
              <a:gd name="T74" fmla="*/ 441510567 w 105"/>
              <a:gd name="T75" fmla="*/ 372909885 h 118"/>
              <a:gd name="T76" fmla="*/ 441510567 w 105"/>
              <a:gd name="T77" fmla="*/ 372909885 h 118"/>
              <a:gd name="T78" fmla="*/ 441510567 w 105"/>
              <a:gd name="T79" fmla="*/ 469970603 h 118"/>
              <a:gd name="T80" fmla="*/ 441510567 w 105"/>
              <a:gd name="T81" fmla="*/ 469970603 h 118"/>
              <a:gd name="T82" fmla="*/ 375536740 w 105"/>
              <a:gd name="T83" fmla="*/ 536378903 h 118"/>
              <a:gd name="T84" fmla="*/ 223291872 w 105"/>
              <a:gd name="T85" fmla="*/ 602787203 h 118"/>
              <a:gd name="T86" fmla="*/ 223291872 w 105"/>
              <a:gd name="T87" fmla="*/ 602787203 h 118"/>
              <a:gd name="T88" fmla="*/ 223291872 w 105"/>
              <a:gd name="T89" fmla="*/ 602787203 h 11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05" h="118">
                <a:moveTo>
                  <a:pt x="44" y="118"/>
                </a:moveTo>
                <a:cubicBezTo>
                  <a:pt x="33" y="118"/>
                  <a:pt x="22" y="114"/>
                  <a:pt x="14" y="105"/>
                </a:cubicBezTo>
                <a:cubicBezTo>
                  <a:pt x="14" y="105"/>
                  <a:pt x="14" y="105"/>
                  <a:pt x="14" y="105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4" y="96"/>
                  <a:pt x="0" y="85"/>
                  <a:pt x="0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63"/>
                  <a:pt x="4" y="52"/>
                  <a:pt x="12" y="44"/>
                </a:cubicBezTo>
                <a:cubicBezTo>
                  <a:pt x="12" y="44"/>
                  <a:pt x="12" y="44"/>
                  <a:pt x="12" y="44"/>
                </a:cubicBezTo>
                <a:cubicBezTo>
                  <a:pt x="43" y="13"/>
                  <a:pt x="43" y="13"/>
                  <a:pt x="43" y="13"/>
                </a:cubicBezTo>
                <a:cubicBezTo>
                  <a:pt x="51" y="5"/>
                  <a:pt x="62" y="0"/>
                  <a:pt x="73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82" y="0"/>
                  <a:pt x="91" y="3"/>
                  <a:pt x="98" y="8"/>
                </a:cubicBezTo>
                <a:cubicBezTo>
                  <a:pt x="98" y="8"/>
                  <a:pt x="98" y="8"/>
                  <a:pt x="98" y="8"/>
                </a:cubicBezTo>
                <a:cubicBezTo>
                  <a:pt x="99" y="9"/>
                  <a:pt x="100" y="9"/>
                  <a:pt x="101" y="10"/>
                </a:cubicBezTo>
                <a:cubicBezTo>
                  <a:pt x="101" y="10"/>
                  <a:pt x="101" y="10"/>
                  <a:pt x="101" y="10"/>
                </a:cubicBezTo>
                <a:cubicBezTo>
                  <a:pt x="104" y="13"/>
                  <a:pt x="104" y="13"/>
                  <a:pt x="104" y="13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86" y="33"/>
                  <a:pt x="86" y="33"/>
                  <a:pt x="86" y="33"/>
                </a:cubicBezTo>
                <a:cubicBezTo>
                  <a:pt x="86" y="33"/>
                  <a:pt x="86" y="33"/>
                  <a:pt x="86" y="33"/>
                </a:cubicBezTo>
                <a:cubicBezTo>
                  <a:pt x="85" y="32"/>
                  <a:pt x="85" y="32"/>
                  <a:pt x="85" y="32"/>
                </a:cubicBezTo>
                <a:cubicBezTo>
                  <a:pt x="82" y="28"/>
                  <a:pt x="78" y="27"/>
                  <a:pt x="73" y="27"/>
                </a:cubicBezTo>
                <a:cubicBezTo>
                  <a:pt x="73" y="27"/>
                  <a:pt x="73" y="27"/>
                  <a:pt x="73" y="27"/>
                </a:cubicBezTo>
                <a:cubicBezTo>
                  <a:pt x="69" y="27"/>
                  <a:pt x="65" y="28"/>
                  <a:pt x="62" y="32"/>
                </a:cubicBezTo>
                <a:cubicBezTo>
                  <a:pt x="62" y="32"/>
                  <a:pt x="62" y="32"/>
                  <a:pt x="62" y="32"/>
                </a:cubicBezTo>
                <a:cubicBezTo>
                  <a:pt x="31" y="62"/>
                  <a:pt x="31" y="62"/>
                  <a:pt x="31" y="62"/>
                </a:cubicBezTo>
                <a:cubicBezTo>
                  <a:pt x="28" y="65"/>
                  <a:pt x="26" y="70"/>
                  <a:pt x="26" y="74"/>
                </a:cubicBezTo>
                <a:cubicBezTo>
                  <a:pt x="26" y="74"/>
                  <a:pt x="26" y="74"/>
                  <a:pt x="26" y="74"/>
                </a:cubicBezTo>
                <a:cubicBezTo>
                  <a:pt x="26" y="78"/>
                  <a:pt x="28" y="82"/>
                  <a:pt x="31" y="85"/>
                </a:cubicBezTo>
                <a:cubicBezTo>
                  <a:pt x="31" y="85"/>
                  <a:pt x="31" y="85"/>
                  <a:pt x="31" y="85"/>
                </a:cubicBezTo>
                <a:cubicBezTo>
                  <a:pt x="32" y="87"/>
                  <a:pt x="32" y="87"/>
                  <a:pt x="32" y="87"/>
                </a:cubicBezTo>
                <a:cubicBezTo>
                  <a:pt x="36" y="90"/>
                  <a:pt x="40" y="91"/>
                  <a:pt x="44" y="91"/>
                </a:cubicBezTo>
                <a:cubicBezTo>
                  <a:pt x="44" y="91"/>
                  <a:pt x="44" y="91"/>
                  <a:pt x="44" y="91"/>
                </a:cubicBezTo>
                <a:cubicBezTo>
                  <a:pt x="48" y="91"/>
                  <a:pt x="52" y="90"/>
                  <a:pt x="56" y="87"/>
                </a:cubicBezTo>
                <a:cubicBezTo>
                  <a:pt x="56" y="87"/>
                  <a:pt x="56" y="87"/>
                  <a:pt x="56" y="87"/>
                </a:cubicBezTo>
                <a:cubicBezTo>
                  <a:pt x="69" y="73"/>
                  <a:pt x="69" y="73"/>
                  <a:pt x="69" y="73"/>
                </a:cubicBezTo>
                <a:cubicBezTo>
                  <a:pt x="74" y="68"/>
                  <a:pt x="82" y="68"/>
                  <a:pt x="87" y="73"/>
                </a:cubicBezTo>
                <a:cubicBezTo>
                  <a:pt x="87" y="73"/>
                  <a:pt x="87" y="73"/>
                  <a:pt x="87" y="73"/>
                </a:cubicBezTo>
                <a:cubicBezTo>
                  <a:pt x="93" y="79"/>
                  <a:pt x="93" y="87"/>
                  <a:pt x="87" y="92"/>
                </a:cubicBezTo>
                <a:cubicBezTo>
                  <a:pt x="87" y="92"/>
                  <a:pt x="87" y="92"/>
                  <a:pt x="87" y="92"/>
                </a:cubicBezTo>
                <a:cubicBezTo>
                  <a:pt x="74" y="105"/>
                  <a:pt x="74" y="105"/>
                  <a:pt x="74" y="105"/>
                </a:cubicBezTo>
                <a:cubicBezTo>
                  <a:pt x="66" y="114"/>
                  <a:pt x="55" y="118"/>
                  <a:pt x="44" y="118"/>
                </a:cubicBezTo>
                <a:cubicBezTo>
                  <a:pt x="44" y="118"/>
                  <a:pt x="44" y="118"/>
                  <a:pt x="44" y="118"/>
                </a:cubicBezTo>
                <a:cubicBezTo>
                  <a:pt x="44" y="118"/>
                  <a:pt x="44" y="118"/>
                  <a:pt x="44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5" name="Freeform 138"/>
          <p:cNvSpPr>
            <a:spLocks noEditPoints="1"/>
          </p:cNvSpPr>
          <p:nvPr/>
        </p:nvSpPr>
        <p:spPr bwMode="auto">
          <a:xfrm>
            <a:off x="8034867" y="3238501"/>
            <a:ext cx="298451" cy="444500"/>
          </a:xfrm>
          <a:custGeom>
            <a:avLst/>
            <a:gdLst>
              <a:gd name="T0" fmla="*/ 410845695 w 100"/>
              <a:gd name="T1" fmla="*/ 187735176 h 148"/>
              <a:gd name="T2" fmla="*/ 410845695 w 100"/>
              <a:gd name="T3" fmla="*/ 0 h 148"/>
              <a:gd name="T4" fmla="*/ 90186569 w 100"/>
              <a:gd name="T5" fmla="*/ 0 h 148"/>
              <a:gd name="T6" fmla="*/ 90186569 w 100"/>
              <a:gd name="T7" fmla="*/ 187735176 h 148"/>
              <a:gd name="T8" fmla="*/ 0 w 100"/>
              <a:gd name="T9" fmla="*/ 385618016 h 148"/>
              <a:gd name="T10" fmla="*/ 90186569 w 100"/>
              <a:gd name="T11" fmla="*/ 583498604 h 148"/>
              <a:gd name="T12" fmla="*/ 90186569 w 100"/>
              <a:gd name="T13" fmla="*/ 750938450 h 148"/>
              <a:gd name="T14" fmla="*/ 410845695 w 100"/>
              <a:gd name="T15" fmla="*/ 750938450 h 148"/>
              <a:gd name="T16" fmla="*/ 410845695 w 100"/>
              <a:gd name="T17" fmla="*/ 583498604 h 148"/>
              <a:gd name="T18" fmla="*/ 501032264 w 100"/>
              <a:gd name="T19" fmla="*/ 385618016 h 148"/>
              <a:gd name="T20" fmla="*/ 410845695 w 100"/>
              <a:gd name="T21" fmla="*/ 187735176 h 148"/>
              <a:gd name="T22" fmla="*/ 390805479 w 100"/>
              <a:gd name="T23" fmla="*/ 527687574 h 148"/>
              <a:gd name="T24" fmla="*/ 250517251 w 100"/>
              <a:gd name="T25" fmla="*/ 583498604 h 148"/>
              <a:gd name="T26" fmla="*/ 110226785 w 100"/>
              <a:gd name="T27" fmla="*/ 527687574 h 148"/>
              <a:gd name="T28" fmla="*/ 55113392 w 100"/>
              <a:gd name="T29" fmla="*/ 385618016 h 148"/>
              <a:gd name="T30" fmla="*/ 110226785 w 100"/>
              <a:gd name="T31" fmla="*/ 243548458 h 148"/>
              <a:gd name="T32" fmla="*/ 250517251 w 100"/>
              <a:gd name="T33" fmla="*/ 187735176 h 148"/>
              <a:gd name="T34" fmla="*/ 390805479 w 100"/>
              <a:gd name="T35" fmla="*/ 243548458 h 148"/>
              <a:gd name="T36" fmla="*/ 445918872 w 100"/>
              <a:gd name="T37" fmla="*/ 385618016 h 148"/>
              <a:gd name="T38" fmla="*/ 390805479 w 100"/>
              <a:gd name="T39" fmla="*/ 527687574 h 148"/>
              <a:gd name="T40" fmla="*/ 275566962 w 100"/>
              <a:gd name="T41" fmla="*/ 355172769 h 148"/>
              <a:gd name="T42" fmla="*/ 275566962 w 100"/>
              <a:gd name="T43" fmla="*/ 253696122 h 148"/>
              <a:gd name="T44" fmla="*/ 220453569 w 100"/>
              <a:gd name="T45" fmla="*/ 253696122 h 148"/>
              <a:gd name="T46" fmla="*/ 220453569 w 100"/>
              <a:gd name="T47" fmla="*/ 410986052 h 148"/>
              <a:gd name="T48" fmla="*/ 405836201 w 100"/>
              <a:gd name="T49" fmla="*/ 410986052 h 148"/>
              <a:gd name="T50" fmla="*/ 405836201 w 100"/>
              <a:gd name="T51" fmla="*/ 355172769 h 148"/>
              <a:gd name="T52" fmla="*/ 275566962 w 100"/>
              <a:gd name="T53" fmla="*/ 355172769 h 14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148">
                <a:moveTo>
                  <a:pt x="82" y="37"/>
                </a:moveTo>
                <a:cubicBezTo>
                  <a:pt x="82" y="0"/>
                  <a:pt x="82" y="0"/>
                  <a:pt x="82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8" y="37"/>
                  <a:pt x="18" y="37"/>
                  <a:pt x="18" y="37"/>
                </a:cubicBezTo>
                <a:cubicBezTo>
                  <a:pt x="7" y="46"/>
                  <a:pt x="0" y="60"/>
                  <a:pt x="0" y="76"/>
                </a:cubicBezTo>
                <a:cubicBezTo>
                  <a:pt x="0" y="92"/>
                  <a:pt x="7" y="106"/>
                  <a:pt x="18" y="115"/>
                </a:cubicBezTo>
                <a:cubicBezTo>
                  <a:pt x="18" y="148"/>
                  <a:pt x="18" y="148"/>
                  <a:pt x="18" y="148"/>
                </a:cubicBezTo>
                <a:cubicBezTo>
                  <a:pt x="82" y="148"/>
                  <a:pt x="82" y="148"/>
                  <a:pt x="82" y="148"/>
                </a:cubicBezTo>
                <a:cubicBezTo>
                  <a:pt x="82" y="115"/>
                  <a:pt x="82" y="115"/>
                  <a:pt x="82" y="115"/>
                </a:cubicBezTo>
                <a:cubicBezTo>
                  <a:pt x="93" y="106"/>
                  <a:pt x="100" y="92"/>
                  <a:pt x="100" y="76"/>
                </a:cubicBezTo>
                <a:cubicBezTo>
                  <a:pt x="100" y="60"/>
                  <a:pt x="93" y="46"/>
                  <a:pt x="82" y="37"/>
                </a:cubicBezTo>
                <a:close/>
                <a:moveTo>
                  <a:pt x="78" y="104"/>
                </a:moveTo>
                <a:cubicBezTo>
                  <a:pt x="71" y="111"/>
                  <a:pt x="61" y="115"/>
                  <a:pt x="50" y="115"/>
                </a:cubicBezTo>
                <a:cubicBezTo>
                  <a:pt x="39" y="115"/>
                  <a:pt x="29" y="111"/>
                  <a:pt x="22" y="104"/>
                </a:cubicBezTo>
                <a:cubicBezTo>
                  <a:pt x="15" y="97"/>
                  <a:pt x="11" y="87"/>
                  <a:pt x="11" y="76"/>
                </a:cubicBezTo>
                <a:cubicBezTo>
                  <a:pt x="11" y="65"/>
                  <a:pt x="15" y="55"/>
                  <a:pt x="22" y="48"/>
                </a:cubicBezTo>
                <a:cubicBezTo>
                  <a:pt x="29" y="41"/>
                  <a:pt x="39" y="37"/>
                  <a:pt x="50" y="37"/>
                </a:cubicBezTo>
                <a:cubicBezTo>
                  <a:pt x="61" y="37"/>
                  <a:pt x="71" y="41"/>
                  <a:pt x="78" y="48"/>
                </a:cubicBezTo>
                <a:cubicBezTo>
                  <a:pt x="85" y="55"/>
                  <a:pt x="89" y="65"/>
                  <a:pt x="89" y="76"/>
                </a:cubicBezTo>
                <a:cubicBezTo>
                  <a:pt x="89" y="87"/>
                  <a:pt x="85" y="97"/>
                  <a:pt x="78" y="104"/>
                </a:cubicBezTo>
                <a:close/>
                <a:moveTo>
                  <a:pt x="55" y="70"/>
                </a:moveTo>
                <a:cubicBezTo>
                  <a:pt x="55" y="50"/>
                  <a:pt x="55" y="50"/>
                  <a:pt x="55" y="50"/>
                </a:cubicBezTo>
                <a:cubicBezTo>
                  <a:pt x="44" y="50"/>
                  <a:pt x="44" y="50"/>
                  <a:pt x="44" y="50"/>
                </a:cubicBezTo>
                <a:cubicBezTo>
                  <a:pt x="44" y="81"/>
                  <a:pt x="44" y="81"/>
                  <a:pt x="44" y="81"/>
                </a:cubicBezTo>
                <a:cubicBezTo>
                  <a:pt x="81" y="81"/>
                  <a:pt x="81" y="81"/>
                  <a:pt x="81" y="81"/>
                </a:cubicBezTo>
                <a:cubicBezTo>
                  <a:pt x="81" y="70"/>
                  <a:pt x="81" y="70"/>
                  <a:pt x="81" y="70"/>
                </a:cubicBezTo>
                <a:lnTo>
                  <a:pt x="55" y="7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6" name="Freeform 139"/>
          <p:cNvSpPr>
            <a:spLocks noEditPoints="1"/>
          </p:cNvSpPr>
          <p:nvPr/>
        </p:nvSpPr>
        <p:spPr bwMode="auto">
          <a:xfrm>
            <a:off x="8788401" y="3230033"/>
            <a:ext cx="522817" cy="391584"/>
          </a:xfrm>
          <a:custGeom>
            <a:avLst/>
            <a:gdLst>
              <a:gd name="T0" fmla="*/ 812537009 w 174"/>
              <a:gd name="T1" fmla="*/ 495058566 h 130"/>
              <a:gd name="T2" fmla="*/ 71096397 w 174"/>
              <a:gd name="T3" fmla="*/ 495058566 h 130"/>
              <a:gd name="T4" fmla="*/ 15236069 w 174"/>
              <a:gd name="T5" fmla="*/ 602236613 h 130"/>
              <a:gd name="T6" fmla="*/ 868397337 w 174"/>
              <a:gd name="T7" fmla="*/ 602236613 h 130"/>
              <a:gd name="T8" fmla="*/ 812537009 w 174"/>
              <a:gd name="T9" fmla="*/ 495058566 h 130"/>
              <a:gd name="T10" fmla="*/ 350407050 w 174"/>
              <a:gd name="T11" fmla="*/ 576719644 h 130"/>
              <a:gd name="T12" fmla="*/ 370720306 w 174"/>
              <a:gd name="T13" fmla="*/ 535890234 h 130"/>
              <a:gd name="T14" fmla="*/ 512913100 w 174"/>
              <a:gd name="T15" fmla="*/ 535890234 h 130"/>
              <a:gd name="T16" fmla="*/ 533226356 w 174"/>
              <a:gd name="T17" fmla="*/ 576719644 h 130"/>
              <a:gd name="T18" fmla="*/ 350407050 w 174"/>
              <a:gd name="T19" fmla="*/ 576719644 h 130"/>
              <a:gd name="T20" fmla="*/ 797300940 w 174"/>
              <a:gd name="T21" fmla="*/ 469541597 h 130"/>
              <a:gd name="T22" fmla="*/ 797300940 w 174"/>
              <a:gd name="T23" fmla="*/ 469541597 h 130"/>
              <a:gd name="T24" fmla="*/ 797300940 w 174"/>
              <a:gd name="T25" fmla="*/ 464438203 h 130"/>
              <a:gd name="T26" fmla="*/ 797300940 w 174"/>
              <a:gd name="T27" fmla="*/ 20415834 h 130"/>
              <a:gd name="T28" fmla="*/ 776987684 w 174"/>
              <a:gd name="T29" fmla="*/ 0 h 130"/>
              <a:gd name="T30" fmla="*/ 106645722 w 174"/>
              <a:gd name="T31" fmla="*/ 0 h 130"/>
              <a:gd name="T32" fmla="*/ 86332466 w 174"/>
              <a:gd name="T33" fmla="*/ 20415834 h 130"/>
              <a:gd name="T34" fmla="*/ 86332466 w 174"/>
              <a:gd name="T35" fmla="*/ 464438203 h 130"/>
              <a:gd name="T36" fmla="*/ 86332466 w 174"/>
              <a:gd name="T37" fmla="*/ 469541597 h 130"/>
              <a:gd name="T38" fmla="*/ 86332466 w 174"/>
              <a:gd name="T39" fmla="*/ 469541597 h 130"/>
              <a:gd name="T40" fmla="*/ 81253025 w 174"/>
              <a:gd name="T41" fmla="*/ 469541597 h 130"/>
              <a:gd name="T42" fmla="*/ 802380381 w 174"/>
              <a:gd name="T43" fmla="*/ 469541597 h 130"/>
              <a:gd name="T44" fmla="*/ 797300940 w 174"/>
              <a:gd name="T45" fmla="*/ 469541597 h 130"/>
              <a:gd name="T46" fmla="*/ 746517800 w 174"/>
              <a:gd name="T47" fmla="*/ 433815581 h 130"/>
              <a:gd name="T48" fmla="*/ 137115606 w 174"/>
              <a:gd name="T49" fmla="*/ 433815581 h 130"/>
              <a:gd name="T50" fmla="*/ 137115606 w 174"/>
              <a:gd name="T51" fmla="*/ 51036197 h 130"/>
              <a:gd name="T52" fmla="*/ 746517800 w 174"/>
              <a:gd name="T53" fmla="*/ 51036197 h 130"/>
              <a:gd name="T54" fmla="*/ 746517800 w 174"/>
              <a:gd name="T55" fmla="*/ 433815581 h 130"/>
              <a:gd name="T56" fmla="*/ 878553965 w 174"/>
              <a:gd name="T57" fmla="*/ 627755841 h 130"/>
              <a:gd name="T58" fmla="*/ 5079441 w 174"/>
              <a:gd name="T59" fmla="*/ 627755841 h 130"/>
              <a:gd name="T60" fmla="*/ 0 w 174"/>
              <a:gd name="T61" fmla="*/ 632859235 h 130"/>
              <a:gd name="T62" fmla="*/ 20313256 w 174"/>
              <a:gd name="T63" fmla="*/ 663481856 h 130"/>
              <a:gd name="T64" fmla="*/ 863320150 w 174"/>
              <a:gd name="T65" fmla="*/ 663481856 h 130"/>
              <a:gd name="T66" fmla="*/ 883633406 w 174"/>
              <a:gd name="T67" fmla="*/ 632859235 h 130"/>
              <a:gd name="T68" fmla="*/ 878553965 w 174"/>
              <a:gd name="T69" fmla="*/ 627755841 h 13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74" h="130">
                <a:moveTo>
                  <a:pt x="160" y="97"/>
                </a:moveTo>
                <a:cubicBezTo>
                  <a:pt x="14" y="97"/>
                  <a:pt x="14" y="97"/>
                  <a:pt x="14" y="97"/>
                </a:cubicBezTo>
                <a:cubicBezTo>
                  <a:pt x="3" y="118"/>
                  <a:pt x="3" y="118"/>
                  <a:pt x="3" y="118"/>
                </a:cubicBezTo>
                <a:cubicBezTo>
                  <a:pt x="171" y="118"/>
                  <a:pt x="171" y="118"/>
                  <a:pt x="171" y="118"/>
                </a:cubicBezTo>
                <a:lnTo>
                  <a:pt x="160" y="97"/>
                </a:lnTo>
                <a:close/>
                <a:moveTo>
                  <a:pt x="69" y="113"/>
                </a:moveTo>
                <a:cubicBezTo>
                  <a:pt x="73" y="105"/>
                  <a:pt x="73" y="105"/>
                  <a:pt x="73" y="105"/>
                </a:cubicBezTo>
                <a:cubicBezTo>
                  <a:pt x="101" y="105"/>
                  <a:pt x="101" y="105"/>
                  <a:pt x="101" y="105"/>
                </a:cubicBezTo>
                <a:cubicBezTo>
                  <a:pt x="105" y="113"/>
                  <a:pt x="105" y="113"/>
                  <a:pt x="105" y="113"/>
                </a:cubicBezTo>
                <a:lnTo>
                  <a:pt x="69" y="113"/>
                </a:lnTo>
                <a:close/>
                <a:moveTo>
                  <a:pt x="157" y="92"/>
                </a:moveTo>
                <a:cubicBezTo>
                  <a:pt x="157" y="92"/>
                  <a:pt x="157" y="92"/>
                  <a:pt x="157" y="92"/>
                </a:cubicBezTo>
                <a:cubicBezTo>
                  <a:pt x="157" y="92"/>
                  <a:pt x="157" y="92"/>
                  <a:pt x="157" y="91"/>
                </a:cubicBezTo>
                <a:cubicBezTo>
                  <a:pt x="157" y="4"/>
                  <a:pt x="157" y="4"/>
                  <a:pt x="157" y="4"/>
                </a:cubicBezTo>
                <a:cubicBezTo>
                  <a:pt x="157" y="2"/>
                  <a:pt x="156" y="0"/>
                  <a:pt x="153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18" y="0"/>
                  <a:pt x="17" y="2"/>
                  <a:pt x="17" y="4"/>
                </a:cubicBezTo>
                <a:cubicBezTo>
                  <a:pt x="17" y="91"/>
                  <a:pt x="17" y="91"/>
                  <a:pt x="17" y="91"/>
                </a:cubicBezTo>
                <a:cubicBezTo>
                  <a:pt x="17" y="92"/>
                  <a:pt x="17" y="92"/>
                  <a:pt x="17" y="92"/>
                </a:cubicBezTo>
                <a:cubicBezTo>
                  <a:pt x="17" y="92"/>
                  <a:pt x="17" y="92"/>
                  <a:pt x="17" y="92"/>
                </a:cubicBezTo>
                <a:cubicBezTo>
                  <a:pt x="16" y="92"/>
                  <a:pt x="16" y="92"/>
                  <a:pt x="16" y="92"/>
                </a:cubicBezTo>
                <a:cubicBezTo>
                  <a:pt x="158" y="92"/>
                  <a:pt x="158" y="92"/>
                  <a:pt x="158" y="92"/>
                </a:cubicBezTo>
                <a:lnTo>
                  <a:pt x="157" y="92"/>
                </a:lnTo>
                <a:close/>
                <a:moveTo>
                  <a:pt x="147" y="85"/>
                </a:moveTo>
                <a:cubicBezTo>
                  <a:pt x="27" y="85"/>
                  <a:pt x="27" y="85"/>
                  <a:pt x="27" y="85"/>
                </a:cubicBezTo>
                <a:cubicBezTo>
                  <a:pt x="27" y="10"/>
                  <a:pt x="27" y="10"/>
                  <a:pt x="27" y="10"/>
                </a:cubicBezTo>
                <a:cubicBezTo>
                  <a:pt x="147" y="10"/>
                  <a:pt x="147" y="10"/>
                  <a:pt x="147" y="10"/>
                </a:cubicBezTo>
                <a:lnTo>
                  <a:pt x="147" y="85"/>
                </a:lnTo>
                <a:close/>
                <a:moveTo>
                  <a:pt x="173" y="123"/>
                </a:moveTo>
                <a:cubicBezTo>
                  <a:pt x="1" y="123"/>
                  <a:pt x="1" y="123"/>
                  <a:pt x="1" y="123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126"/>
                  <a:pt x="2" y="130"/>
                  <a:pt x="4" y="130"/>
                </a:cubicBezTo>
                <a:cubicBezTo>
                  <a:pt x="170" y="130"/>
                  <a:pt x="170" y="130"/>
                  <a:pt x="170" y="130"/>
                </a:cubicBezTo>
                <a:cubicBezTo>
                  <a:pt x="172" y="130"/>
                  <a:pt x="174" y="126"/>
                  <a:pt x="174" y="124"/>
                </a:cubicBezTo>
                <a:lnTo>
                  <a:pt x="173" y="1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7" name="Freeform 140"/>
          <p:cNvSpPr>
            <a:spLocks/>
          </p:cNvSpPr>
          <p:nvPr/>
        </p:nvSpPr>
        <p:spPr bwMode="auto">
          <a:xfrm>
            <a:off x="9770533" y="3204633"/>
            <a:ext cx="338667" cy="416984"/>
          </a:xfrm>
          <a:custGeom>
            <a:avLst/>
            <a:gdLst>
              <a:gd name="T0" fmla="*/ 545675168 w 113"/>
              <a:gd name="T1" fmla="*/ 303009129 h 138"/>
              <a:gd name="T2" fmla="*/ 510308478 w 113"/>
              <a:gd name="T3" fmla="*/ 287601117 h 138"/>
              <a:gd name="T4" fmla="*/ 495149398 w 113"/>
              <a:gd name="T5" fmla="*/ 292736365 h 138"/>
              <a:gd name="T6" fmla="*/ 495149398 w 113"/>
              <a:gd name="T7" fmla="*/ 292736365 h 138"/>
              <a:gd name="T8" fmla="*/ 495149398 w 113"/>
              <a:gd name="T9" fmla="*/ 292736365 h 138"/>
              <a:gd name="T10" fmla="*/ 495149398 w 113"/>
              <a:gd name="T11" fmla="*/ 287601117 h 138"/>
              <a:gd name="T12" fmla="*/ 500202425 w 113"/>
              <a:gd name="T13" fmla="*/ 272195371 h 138"/>
              <a:gd name="T14" fmla="*/ 449676655 w 113"/>
              <a:gd name="T15" fmla="*/ 220836086 h 138"/>
              <a:gd name="T16" fmla="*/ 434519823 w 113"/>
              <a:gd name="T17" fmla="*/ 220836086 h 138"/>
              <a:gd name="T18" fmla="*/ 394097858 w 113"/>
              <a:gd name="T19" fmla="*/ 256787359 h 138"/>
              <a:gd name="T20" fmla="*/ 394097858 w 113"/>
              <a:gd name="T21" fmla="*/ 256787359 h 138"/>
              <a:gd name="T22" fmla="*/ 389047080 w 113"/>
              <a:gd name="T23" fmla="*/ 225973601 h 138"/>
              <a:gd name="T24" fmla="*/ 389047080 w 113"/>
              <a:gd name="T25" fmla="*/ 225973601 h 138"/>
              <a:gd name="T26" fmla="*/ 389047080 w 113"/>
              <a:gd name="T27" fmla="*/ 225973601 h 138"/>
              <a:gd name="T28" fmla="*/ 343574336 w 113"/>
              <a:gd name="T29" fmla="*/ 190022328 h 138"/>
              <a:gd name="T30" fmla="*/ 333468283 w 113"/>
              <a:gd name="T31" fmla="*/ 190022328 h 138"/>
              <a:gd name="T32" fmla="*/ 282942513 w 113"/>
              <a:gd name="T33" fmla="*/ 236244098 h 138"/>
              <a:gd name="T34" fmla="*/ 282942513 w 113"/>
              <a:gd name="T35" fmla="*/ 241379347 h 138"/>
              <a:gd name="T36" fmla="*/ 277889487 w 113"/>
              <a:gd name="T37" fmla="*/ 246514595 h 138"/>
              <a:gd name="T38" fmla="*/ 277889487 w 113"/>
              <a:gd name="T39" fmla="*/ 51357019 h 138"/>
              <a:gd name="T40" fmla="*/ 277889487 w 113"/>
              <a:gd name="T41" fmla="*/ 51357019 h 138"/>
              <a:gd name="T42" fmla="*/ 277889487 w 113"/>
              <a:gd name="T43" fmla="*/ 51357019 h 138"/>
              <a:gd name="T44" fmla="*/ 222312938 w 113"/>
              <a:gd name="T45" fmla="*/ 0 h 138"/>
              <a:gd name="T46" fmla="*/ 222312938 w 113"/>
              <a:gd name="T47" fmla="*/ 0 h 138"/>
              <a:gd name="T48" fmla="*/ 181890973 w 113"/>
              <a:gd name="T49" fmla="*/ 15408012 h 138"/>
              <a:gd name="T50" fmla="*/ 171787168 w 113"/>
              <a:gd name="T51" fmla="*/ 56492267 h 138"/>
              <a:gd name="T52" fmla="*/ 171787168 w 113"/>
              <a:gd name="T53" fmla="*/ 303009129 h 138"/>
              <a:gd name="T54" fmla="*/ 166734142 w 113"/>
              <a:gd name="T55" fmla="*/ 415995929 h 138"/>
              <a:gd name="T56" fmla="*/ 161681115 w 113"/>
              <a:gd name="T57" fmla="*/ 410858414 h 138"/>
              <a:gd name="T58" fmla="*/ 90945487 w 113"/>
              <a:gd name="T59" fmla="*/ 354366147 h 138"/>
              <a:gd name="T60" fmla="*/ 55578796 w 113"/>
              <a:gd name="T61" fmla="*/ 344095650 h 138"/>
              <a:gd name="T62" fmla="*/ 15156832 w 113"/>
              <a:gd name="T63" fmla="*/ 359501396 h 138"/>
              <a:gd name="T64" fmla="*/ 0 w 113"/>
              <a:gd name="T65" fmla="*/ 400587917 h 138"/>
              <a:gd name="T66" fmla="*/ 20209858 w 113"/>
              <a:gd name="T67" fmla="*/ 436536924 h 138"/>
              <a:gd name="T68" fmla="*/ 146524283 w 113"/>
              <a:gd name="T69" fmla="*/ 544388476 h 138"/>
              <a:gd name="T70" fmla="*/ 222312938 w 113"/>
              <a:gd name="T71" fmla="*/ 636832015 h 138"/>
              <a:gd name="T72" fmla="*/ 222312938 w 113"/>
              <a:gd name="T73" fmla="*/ 693324282 h 138"/>
              <a:gd name="T74" fmla="*/ 222312938 w 113"/>
              <a:gd name="T75" fmla="*/ 708732295 h 138"/>
              <a:gd name="T76" fmla="*/ 479992566 w 113"/>
              <a:gd name="T77" fmla="*/ 708732295 h 138"/>
              <a:gd name="T78" fmla="*/ 479992566 w 113"/>
              <a:gd name="T79" fmla="*/ 693324282 h 138"/>
              <a:gd name="T80" fmla="*/ 479992566 w 113"/>
              <a:gd name="T81" fmla="*/ 636832015 h 138"/>
              <a:gd name="T82" fmla="*/ 555781221 w 113"/>
              <a:gd name="T83" fmla="*/ 395452669 h 138"/>
              <a:gd name="T84" fmla="*/ 555781221 w 113"/>
              <a:gd name="T85" fmla="*/ 395452669 h 138"/>
              <a:gd name="T86" fmla="*/ 555781221 w 113"/>
              <a:gd name="T87" fmla="*/ 395452669 h 138"/>
              <a:gd name="T88" fmla="*/ 555781221 w 113"/>
              <a:gd name="T89" fmla="*/ 385179905 h 138"/>
              <a:gd name="T90" fmla="*/ 545675168 w 113"/>
              <a:gd name="T91" fmla="*/ 303009129 h 13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13" h="138">
                <a:moveTo>
                  <a:pt x="108" y="59"/>
                </a:moveTo>
                <a:cubicBezTo>
                  <a:pt x="106" y="58"/>
                  <a:pt x="104" y="56"/>
                  <a:pt x="101" y="56"/>
                </a:cubicBezTo>
                <a:cubicBezTo>
                  <a:pt x="100" y="56"/>
                  <a:pt x="99" y="57"/>
                  <a:pt x="98" y="57"/>
                </a:cubicBezTo>
                <a:cubicBezTo>
                  <a:pt x="98" y="57"/>
                  <a:pt x="98" y="57"/>
                  <a:pt x="98" y="57"/>
                </a:cubicBezTo>
                <a:cubicBezTo>
                  <a:pt x="98" y="57"/>
                  <a:pt x="98" y="57"/>
                  <a:pt x="98" y="57"/>
                </a:cubicBezTo>
                <a:cubicBezTo>
                  <a:pt x="98" y="56"/>
                  <a:pt x="98" y="56"/>
                  <a:pt x="98" y="56"/>
                </a:cubicBezTo>
                <a:cubicBezTo>
                  <a:pt x="99" y="53"/>
                  <a:pt x="99" y="53"/>
                  <a:pt x="99" y="53"/>
                </a:cubicBezTo>
                <a:cubicBezTo>
                  <a:pt x="99" y="51"/>
                  <a:pt x="99" y="45"/>
                  <a:pt x="89" y="43"/>
                </a:cubicBezTo>
                <a:cubicBezTo>
                  <a:pt x="88" y="43"/>
                  <a:pt x="86" y="43"/>
                  <a:pt x="86" y="43"/>
                </a:cubicBezTo>
                <a:cubicBezTo>
                  <a:pt x="81" y="43"/>
                  <a:pt x="78" y="45"/>
                  <a:pt x="78" y="50"/>
                </a:cubicBezTo>
                <a:cubicBezTo>
                  <a:pt x="78" y="50"/>
                  <a:pt x="78" y="50"/>
                  <a:pt x="78" y="50"/>
                </a:cubicBezTo>
                <a:cubicBezTo>
                  <a:pt x="77" y="44"/>
                  <a:pt x="77" y="44"/>
                  <a:pt x="77" y="44"/>
                </a:cubicBezTo>
                <a:cubicBezTo>
                  <a:pt x="77" y="44"/>
                  <a:pt x="77" y="44"/>
                  <a:pt x="77" y="44"/>
                </a:cubicBezTo>
                <a:cubicBezTo>
                  <a:pt x="77" y="44"/>
                  <a:pt x="77" y="44"/>
                  <a:pt x="77" y="44"/>
                </a:cubicBezTo>
                <a:cubicBezTo>
                  <a:pt x="77" y="41"/>
                  <a:pt x="76" y="37"/>
                  <a:pt x="68" y="37"/>
                </a:cubicBezTo>
                <a:cubicBezTo>
                  <a:pt x="67" y="37"/>
                  <a:pt x="67" y="37"/>
                  <a:pt x="66" y="37"/>
                </a:cubicBezTo>
                <a:cubicBezTo>
                  <a:pt x="57" y="37"/>
                  <a:pt x="56" y="43"/>
                  <a:pt x="56" y="46"/>
                </a:cubicBezTo>
                <a:cubicBezTo>
                  <a:pt x="56" y="47"/>
                  <a:pt x="56" y="47"/>
                  <a:pt x="56" y="47"/>
                </a:cubicBezTo>
                <a:cubicBezTo>
                  <a:pt x="56" y="48"/>
                  <a:pt x="55" y="48"/>
                  <a:pt x="55" y="48"/>
                </a:cubicBezTo>
                <a:cubicBezTo>
                  <a:pt x="55" y="35"/>
                  <a:pt x="55" y="11"/>
                  <a:pt x="55" y="10"/>
                </a:cubicBezTo>
                <a:cubicBezTo>
                  <a:pt x="55" y="10"/>
                  <a:pt x="55" y="10"/>
                  <a:pt x="55" y="10"/>
                </a:cubicBezTo>
                <a:cubicBezTo>
                  <a:pt x="55" y="10"/>
                  <a:pt x="55" y="10"/>
                  <a:pt x="55" y="10"/>
                </a:cubicBezTo>
                <a:cubicBezTo>
                  <a:pt x="55" y="4"/>
                  <a:pt x="50" y="0"/>
                  <a:pt x="44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1" y="0"/>
                  <a:pt x="38" y="1"/>
                  <a:pt x="36" y="3"/>
                </a:cubicBezTo>
                <a:cubicBezTo>
                  <a:pt x="35" y="5"/>
                  <a:pt x="34" y="8"/>
                  <a:pt x="34" y="11"/>
                </a:cubicBezTo>
                <a:cubicBezTo>
                  <a:pt x="34" y="59"/>
                  <a:pt x="34" y="59"/>
                  <a:pt x="34" y="59"/>
                </a:cubicBezTo>
                <a:cubicBezTo>
                  <a:pt x="34" y="71"/>
                  <a:pt x="34" y="78"/>
                  <a:pt x="33" y="81"/>
                </a:cubicBezTo>
                <a:cubicBezTo>
                  <a:pt x="33" y="81"/>
                  <a:pt x="32" y="81"/>
                  <a:pt x="32" y="80"/>
                </a:cubicBezTo>
                <a:cubicBezTo>
                  <a:pt x="18" y="69"/>
                  <a:pt x="18" y="69"/>
                  <a:pt x="18" y="69"/>
                </a:cubicBezTo>
                <a:cubicBezTo>
                  <a:pt x="16" y="67"/>
                  <a:pt x="13" y="67"/>
                  <a:pt x="11" y="67"/>
                </a:cubicBezTo>
                <a:cubicBezTo>
                  <a:pt x="8" y="67"/>
                  <a:pt x="5" y="68"/>
                  <a:pt x="3" y="70"/>
                </a:cubicBezTo>
                <a:cubicBezTo>
                  <a:pt x="1" y="73"/>
                  <a:pt x="0" y="75"/>
                  <a:pt x="0" y="78"/>
                </a:cubicBezTo>
                <a:cubicBezTo>
                  <a:pt x="0" y="81"/>
                  <a:pt x="2" y="84"/>
                  <a:pt x="4" y="85"/>
                </a:cubicBezTo>
                <a:cubicBezTo>
                  <a:pt x="29" y="106"/>
                  <a:pt x="29" y="106"/>
                  <a:pt x="29" y="106"/>
                </a:cubicBezTo>
                <a:cubicBezTo>
                  <a:pt x="35" y="117"/>
                  <a:pt x="41" y="122"/>
                  <a:pt x="44" y="124"/>
                </a:cubicBezTo>
                <a:cubicBezTo>
                  <a:pt x="44" y="135"/>
                  <a:pt x="44" y="135"/>
                  <a:pt x="44" y="135"/>
                </a:cubicBezTo>
                <a:cubicBezTo>
                  <a:pt x="44" y="138"/>
                  <a:pt x="44" y="138"/>
                  <a:pt x="44" y="138"/>
                </a:cubicBezTo>
                <a:cubicBezTo>
                  <a:pt x="95" y="138"/>
                  <a:pt x="95" y="138"/>
                  <a:pt x="95" y="138"/>
                </a:cubicBezTo>
                <a:cubicBezTo>
                  <a:pt x="95" y="135"/>
                  <a:pt x="95" y="135"/>
                  <a:pt x="95" y="135"/>
                </a:cubicBezTo>
                <a:cubicBezTo>
                  <a:pt x="95" y="124"/>
                  <a:pt x="95" y="124"/>
                  <a:pt x="95" y="124"/>
                </a:cubicBezTo>
                <a:cubicBezTo>
                  <a:pt x="110" y="77"/>
                  <a:pt x="110" y="77"/>
                  <a:pt x="110" y="77"/>
                </a:cubicBezTo>
                <a:cubicBezTo>
                  <a:pt x="110" y="77"/>
                  <a:pt x="110" y="77"/>
                  <a:pt x="110" y="77"/>
                </a:cubicBezTo>
                <a:cubicBezTo>
                  <a:pt x="110" y="77"/>
                  <a:pt x="110" y="77"/>
                  <a:pt x="110" y="77"/>
                </a:cubicBezTo>
                <a:cubicBezTo>
                  <a:pt x="110" y="75"/>
                  <a:pt x="110" y="75"/>
                  <a:pt x="110" y="75"/>
                </a:cubicBezTo>
                <a:cubicBezTo>
                  <a:pt x="112" y="68"/>
                  <a:pt x="113" y="62"/>
                  <a:pt x="108" y="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8" name="Freeform 141"/>
          <p:cNvSpPr>
            <a:spLocks noEditPoints="1"/>
          </p:cNvSpPr>
          <p:nvPr/>
        </p:nvSpPr>
        <p:spPr bwMode="auto">
          <a:xfrm>
            <a:off x="10538884" y="3183467"/>
            <a:ext cx="440267" cy="482600"/>
          </a:xfrm>
          <a:custGeom>
            <a:avLst/>
            <a:gdLst>
              <a:gd name="T0" fmla="*/ 398972066 w 146"/>
              <a:gd name="T1" fmla="*/ 86996945 h 160"/>
              <a:gd name="T2" fmla="*/ 434778411 w 146"/>
              <a:gd name="T3" fmla="*/ 358224177 h 160"/>
              <a:gd name="T4" fmla="*/ 485927748 w 146"/>
              <a:gd name="T5" fmla="*/ 133055082 h 160"/>
              <a:gd name="T6" fmla="*/ 526847670 w 146"/>
              <a:gd name="T7" fmla="*/ 102350411 h 160"/>
              <a:gd name="T8" fmla="*/ 521734093 w 146"/>
              <a:gd name="T9" fmla="*/ 353107109 h 160"/>
              <a:gd name="T10" fmla="*/ 521734093 w 146"/>
              <a:gd name="T11" fmla="*/ 353107109 h 160"/>
              <a:gd name="T12" fmla="*/ 537079347 w 146"/>
              <a:gd name="T13" fmla="*/ 383811780 h 160"/>
              <a:gd name="T14" fmla="*/ 547308762 w 146"/>
              <a:gd name="T15" fmla="*/ 373577644 h 160"/>
              <a:gd name="T16" fmla="*/ 644493859 w 146"/>
              <a:gd name="T17" fmla="*/ 220052027 h 160"/>
              <a:gd name="T18" fmla="*/ 675184366 w 146"/>
              <a:gd name="T19" fmla="*/ 281461369 h 160"/>
              <a:gd name="T20" fmla="*/ 506388840 w 146"/>
              <a:gd name="T21" fmla="*/ 701097150 h 160"/>
              <a:gd name="T22" fmla="*/ 281325877 w 146"/>
              <a:gd name="T23" fmla="*/ 767623560 h 160"/>
              <a:gd name="T24" fmla="*/ 199486033 w 146"/>
              <a:gd name="T25" fmla="*/ 603863807 h 160"/>
              <a:gd name="T26" fmla="*/ 61381014 w 146"/>
              <a:gd name="T27" fmla="*/ 440104054 h 160"/>
              <a:gd name="T28" fmla="*/ 117646189 w 146"/>
              <a:gd name="T29" fmla="*/ 434986986 h 160"/>
              <a:gd name="T30" fmla="*/ 219947125 w 146"/>
              <a:gd name="T31" fmla="*/ 501513396 h 160"/>
              <a:gd name="T32" fmla="*/ 163681949 w 146"/>
              <a:gd name="T33" fmla="*/ 168876821 h 160"/>
              <a:gd name="T34" fmla="*/ 204601871 w 146"/>
              <a:gd name="T35" fmla="*/ 117701616 h 160"/>
              <a:gd name="T36" fmla="*/ 301786968 w 146"/>
              <a:gd name="T37" fmla="*/ 347990041 h 160"/>
              <a:gd name="T38" fmla="*/ 332477475 w 146"/>
              <a:gd name="T39" fmla="*/ 383811780 h 160"/>
              <a:gd name="T40" fmla="*/ 322248060 w 146"/>
              <a:gd name="T41" fmla="*/ 92114013 h 160"/>
              <a:gd name="T42" fmla="*/ 358052144 w 146"/>
              <a:gd name="T43" fmla="*/ 51175206 h 160"/>
              <a:gd name="T44" fmla="*/ 352936305 w 146"/>
              <a:gd name="T45" fmla="*/ 0 h 160"/>
              <a:gd name="T46" fmla="*/ 271096462 w 146"/>
              <a:gd name="T47" fmla="*/ 97233343 h 160"/>
              <a:gd name="T48" fmla="*/ 173911364 w 146"/>
              <a:gd name="T49" fmla="*/ 71645740 h 160"/>
              <a:gd name="T50" fmla="*/ 117646189 w 146"/>
              <a:gd name="T51" fmla="*/ 184230288 h 160"/>
              <a:gd name="T52" fmla="*/ 189256618 w 146"/>
              <a:gd name="T53" fmla="*/ 424752849 h 160"/>
              <a:gd name="T54" fmla="*/ 92071521 w 146"/>
              <a:gd name="T55" fmla="*/ 373577644 h 160"/>
              <a:gd name="T56" fmla="*/ 25574668 w 146"/>
              <a:gd name="T57" fmla="*/ 404282315 h 160"/>
              <a:gd name="T58" fmla="*/ 35806345 w 146"/>
              <a:gd name="T59" fmla="*/ 532220329 h 160"/>
              <a:gd name="T60" fmla="*/ 230176540 w 146"/>
              <a:gd name="T61" fmla="*/ 721565423 h 160"/>
              <a:gd name="T62" fmla="*/ 230176540 w 146"/>
              <a:gd name="T63" fmla="*/ 818798766 h 160"/>
              <a:gd name="T64" fmla="*/ 506388840 w 146"/>
              <a:gd name="T65" fmla="*/ 818798766 h 160"/>
              <a:gd name="T66" fmla="*/ 557538177 w 146"/>
              <a:gd name="T67" fmla="*/ 772740628 h 160"/>
              <a:gd name="T68" fmla="*/ 613803352 w 146"/>
              <a:gd name="T69" fmla="*/ 532220329 h 160"/>
              <a:gd name="T70" fmla="*/ 690529619 w 146"/>
              <a:gd name="T71" fmla="*/ 184230288 h 160"/>
              <a:gd name="T72" fmla="*/ 608689775 w 146"/>
              <a:gd name="T73" fmla="*/ 179113220 h 160"/>
              <a:gd name="T74" fmla="*/ 537079347 w 146"/>
              <a:gd name="T75" fmla="*/ 51175206 h 160"/>
              <a:gd name="T76" fmla="*/ 450123664 w 146"/>
              <a:gd name="T77" fmla="*/ 86996945 h 160"/>
              <a:gd name="T78" fmla="*/ 358052144 w 146"/>
              <a:gd name="T79" fmla="*/ 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46" h="160">
                <a:moveTo>
                  <a:pt x="70" y="10"/>
                </a:moveTo>
                <a:cubicBezTo>
                  <a:pt x="74" y="10"/>
                  <a:pt x="78" y="13"/>
                  <a:pt x="78" y="17"/>
                </a:cubicBezTo>
                <a:cubicBezTo>
                  <a:pt x="82" y="66"/>
                  <a:pt x="82" y="66"/>
                  <a:pt x="82" y="66"/>
                </a:cubicBezTo>
                <a:cubicBezTo>
                  <a:pt x="83" y="69"/>
                  <a:pt x="84" y="70"/>
                  <a:pt x="85" y="70"/>
                </a:cubicBezTo>
                <a:cubicBezTo>
                  <a:pt x="86" y="70"/>
                  <a:pt x="87" y="68"/>
                  <a:pt x="87" y="68"/>
                </a:cubicBezTo>
                <a:cubicBezTo>
                  <a:pt x="95" y="26"/>
                  <a:pt x="95" y="26"/>
                  <a:pt x="95" y="26"/>
                </a:cubicBezTo>
                <a:cubicBezTo>
                  <a:pt x="95" y="23"/>
                  <a:pt x="98" y="20"/>
                  <a:pt x="102" y="20"/>
                </a:cubicBezTo>
                <a:cubicBezTo>
                  <a:pt x="103" y="20"/>
                  <a:pt x="103" y="20"/>
                  <a:pt x="103" y="20"/>
                </a:cubicBezTo>
                <a:cubicBezTo>
                  <a:pt x="108" y="21"/>
                  <a:pt x="110" y="25"/>
                  <a:pt x="110" y="29"/>
                </a:cubicBezTo>
                <a:cubicBezTo>
                  <a:pt x="102" y="69"/>
                  <a:pt x="102" y="69"/>
                  <a:pt x="102" y="69"/>
                </a:cubicBezTo>
                <a:cubicBezTo>
                  <a:pt x="102" y="69"/>
                  <a:pt x="102" y="69"/>
                  <a:pt x="102" y="69"/>
                </a:cubicBezTo>
                <a:cubicBezTo>
                  <a:pt x="102" y="69"/>
                  <a:pt x="102" y="69"/>
                  <a:pt x="102" y="69"/>
                </a:cubicBezTo>
                <a:cubicBezTo>
                  <a:pt x="102" y="69"/>
                  <a:pt x="102" y="69"/>
                  <a:pt x="102" y="69"/>
                </a:cubicBezTo>
                <a:cubicBezTo>
                  <a:pt x="102" y="70"/>
                  <a:pt x="103" y="75"/>
                  <a:pt x="105" y="75"/>
                </a:cubicBezTo>
                <a:cubicBezTo>
                  <a:pt x="105" y="75"/>
                  <a:pt x="106" y="75"/>
                  <a:pt x="107" y="73"/>
                </a:cubicBezTo>
                <a:cubicBezTo>
                  <a:pt x="107" y="73"/>
                  <a:pt x="107" y="73"/>
                  <a:pt x="107" y="73"/>
                </a:cubicBezTo>
                <a:cubicBezTo>
                  <a:pt x="119" y="47"/>
                  <a:pt x="119" y="47"/>
                  <a:pt x="119" y="47"/>
                </a:cubicBezTo>
                <a:cubicBezTo>
                  <a:pt x="121" y="44"/>
                  <a:pt x="123" y="43"/>
                  <a:pt x="126" y="43"/>
                </a:cubicBezTo>
                <a:cubicBezTo>
                  <a:pt x="127" y="43"/>
                  <a:pt x="129" y="44"/>
                  <a:pt x="130" y="44"/>
                </a:cubicBezTo>
                <a:cubicBezTo>
                  <a:pt x="133" y="47"/>
                  <a:pt x="135" y="51"/>
                  <a:pt x="132" y="55"/>
                </a:cubicBezTo>
                <a:cubicBezTo>
                  <a:pt x="111" y="101"/>
                  <a:pt x="111" y="101"/>
                  <a:pt x="111" y="101"/>
                </a:cubicBezTo>
                <a:cubicBezTo>
                  <a:pt x="111" y="101"/>
                  <a:pt x="108" y="120"/>
                  <a:pt x="99" y="137"/>
                </a:cubicBezTo>
                <a:cubicBezTo>
                  <a:pt x="99" y="150"/>
                  <a:pt x="99" y="150"/>
                  <a:pt x="99" y="150"/>
                </a:cubicBezTo>
                <a:cubicBezTo>
                  <a:pt x="55" y="150"/>
                  <a:pt x="55" y="150"/>
                  <a:pt x="55" y="150"/>
                </a:cubicBezTo>
                <a:cubicBezTo>
                  <a:pt x="55" y="136"/>
                  <a:pt x="55" y="136"/>
                  <a:pt x="55" y="136"/>
                </a:cubicBezTo>
                <a:cubicBezTo>
                  <a:pt x="55" y="136"/>
                  <a:pt x="46" y="131"/>
                  <a:pt x="39" y="118"/>
                </a:cubicBezTo>
                <a:cubicBezTo>
                  <a:pt x="13" y="96"/>
                  <a:pt x="13" y="96"/>
                  <a:pt x="13" y="96"/>
                </a:cubicBezTo>
                <a:cubicBezTo>
                  <a:pt x="10" y="94"/>
                  <a:pt x="10" y="89"/>
                  <a:pt x="12" y="86"/>
                </a:cubicBezTo>
                <a:cubicBezTo>
                  <a:pt x="14" y="84"/>
                  <a:pt x="16" y="83"/>
                  <a:pt x="18" y="83"/>
                </a:cubicBezTo>
                <a:cubicBezTo>
                  <a:pt x="20" y="83"/>
                  <a:pt x="22" y="84"/>
                  <a:pt x="23" y="85"/>
                </a:cubicBezTo>
                <a:cubicBezTo>
                  <a:pt x="38" y="96"/>
                  <a:pt x="38" y="96"/>
                  <a:pt x="38" y="96"/>
                </a:cubicBezTo>
                <a:cubicBezTo>
                  <a:pt x="39" y="97"/>
                  <a:pt x="41" y="98"/>
                  <a:pt x="43" y="98"/>
                </a:cubicBezTo>
                <a:cubicBezTo>
                  <a:pt x="47" y="98"/>
                  <a:pt x="51" y="93"/>
                  <a:pt x="45" y="73"/>
                </a:cubicBezTo>
                <a:cubicBezTo>
                  <a:pt x="32" y="33"/>
                  <a:pt x="32" y="33"/>
                  <a:pt x="32" y="33"/>
                </a:cubicBezTo>
                <a:cubicBezTo>
                  <a:pt x="31" y="29"/>
                  <a:pt x="33" y="25"/>
                  <a:pt x="37" y="23"/>
                </a:cubicBezTo>
                <a:cubicBezTo>
                  <a:pt x="38" y="23"/>
                  <a:pt x="39" y="23"/>
                  <a:pt x="40" y="23"/>
                </a:cubicBezTo>
                <a:cubicBezTo>
                  <a:pt x="43" y="23"/>
                  <a:pt x="46" y="25"/>
                  <a:pt x="47" y="28"/>
                </a:cubicBezTo>
                <a:cubicBezTo>
                  <a:pt x="59" y="68"/>
                  <a:pt x="59" y="68"/>
                  <a:pt x="59" y="68"/>
                </a:cubicBezTo>
                <a:cubicBezTo>
                  <a:pt x="59" y="68"/>
                  <a:pt x="59" y="68"/>
                  <a:pt x="59" y="69"/>
                </a:cubicBezTo>
                <a:cubicBezTo>
                  <a:pt x="60" y="71"/>
                  <a:pt x="63" y="75"/>
                  <a:pt x="65" y="75"/>
                </a:cubicBezTo>
                <a:cubicBezTo>
                  <a:pt x="66" y="75"/>
                  <a:pt x="67" y="73"/>
                  <a:pt x="67" y="67"/>
                </a:cubicBezTo>
                <a:cubicBezTo>
                  <a:pt x="63" y="18"/>
                  <a:pt x="63" y="18"/>
                  <a:pt x="63" y="18"/>
                </a:cubicBezTo>
                <a:cubicBezTo>
                  <a:pt x="62" y="14"/>
                  <a:pt x="65" y="10"/>
                  <a:pt x="70" y="10"/>
                </a:cubicBezTo>
                <a:cubicBezTo>
                  <a:pt x="70" y="10"/>
                  <a:pt x="70" y="10"/>
                  <a:pt x="70" y="10"/>
                </a:cubicBezTo>
                <a:moveTo>
                  <a:pt x="70" y="0"/>
                </a:moveTo>
                <a:cubicBezTo>
                  <a:pt x="70" y="0"/>
                  <a:pt x="69" y="0"/>
                  <a:pt x="69" y="0"/>
                </a:cubicBezTo>
                <a:cubicBezTo>
                  <a:pt x="59" y="0"/>
                  <a:pt x="52" y="9"/>
                  <a:pt x="53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49" y="15"/>
                  <a:pt x="45" y="13"/>
                  <a:pt x="40" y="13"/>
                </a:cubicBezTo>
                <a:cubicBezTo>
                  <a:pt x="38" y="13"/>
                  <a:pt x="36" y="13"/>
                  <a:pt x="34" y="14"/>
                </a:cubicBezTo>
                <a:cubicBezTo>
                  <a:pt x="30" y="15"/>
                  <a:pt x="26" y="18"/>
                  <a:pt x="24" y="22"/>
                </a:cubicBezTo>
                <a:cubicBezTo>
                  <a:pt x="22" y="27"/>
                  <a:pt x="21" y="31"/>
                  <a:pt x="23" y="36"/>
                </a:cubicBezTo>
                <a:cubicBezTo>
                  <a:pt x="35" y="76"/>
                  <a:pt x="35" y="76"/>
                  <a:pt x="35" y="76"/>
                </a:cubicBezTo>
                <a:cubicBezTo>
                  <a:pt x="36" y="78"/>
                  <a:pt x="36" y="81"/>
                  <a:pt x="37" y="83"/>
                </a:cubicBezTo>
                <a:cubicBezTo>
                  <a:pt x="29" y="77"/>
                  <a:pt x="29" y="77"/>
                  <a:pt x="29" y="77"/>
                </a:cubicBezTo>
                <a:cubicBezTo>
                  <a:pt x="26" y="74"/>
                  <a:pt x="22" y="73"/>
                  <a:pt x="18" y="73"/>
                </a:cubicBezTo>
                <a:cubicBezTo>
                  <a:pt x="18" y="73"/>
                  <a:pt x="18" y="73"/>
                  <a:pt x="18" y="73"/>
                </a:cubicBezTo>
                <a:cubicBezTo>
                  <a:pt x="13" y="73"/>
                  <a:pt x="8" y="75"/>
                  <a:pt x="5" y="79"/>
                </a:cubicBezTo>
                <a:cubicBezTo>
                  <a:pt x="2" y="83"/>
                  <a:pt x="0" y="87"/>
                  <a:pt x="1" y="92"/>
                </a:cubicBezTo>
                <a:cubicBezTo>
                  <a:pt x="1" y="97"/>
                  <a:pt x="3" y="101"/>
                  <a:pt x="7" y="104"/>
                </a:cubicBezTo>
                <a:cubicBezTo>
                  <a:pt x="31" y="124"/>
                  <a:pt x="31" y="124"/>
                  <a:pt x="31" y="124"/>
                </a:cubicBezTo>
                <a:cubicBezTo>
                  <a:pt x="36" y="133"/>
                  <a:pt x="41" y="138"/>
                  <a:pt x="45" y="141"/>
                </a:cubicBezTo>
                <a:cubicBezTo>
                  <a:pt x="45" y="151"/>
                  <a:pt x="45" y="151"/>
                  <a:pt x="45" y="151"/>
                </a:cubicBezTo>
                <a:cubicBezTo>
                  <a:pt x="45" y="160"/>
                  <a:pt x="45" y="160"/>
                  <a:pt x="45" y="160"/>
                </a:cubicBezTo>
                <a:cubicBezTo>
                  <a:pt x="55" y="160"/>
                  <a:pt x="55" y="160"/>
                  <a:pt x="55" y="160"/>
                </a:cubicBezTo>
                <a:cubicBezTo>
                  <a:pt x="99" y="160"/>
                  <a:pt x="99" y="160"/>
                  <a:pt x="99" y="160"/>
                </a:cubicBezTo>
                <a:cubicBezTo>
                  <a:pt x="109" y="160"/>
                  <a:pt x="109" y="160"/>
                  <a:pt x="109" y="160"/>
                </a:cubicBezTo>
                <a:cubicBezTo>
                  <a:pt x="109" y="151"/>
                  <a:pt x="109" y="151"/>
                  <a:pt x="109" y="151"/>
                </a:cubicBezTo>
                <a:cubicBezTo>
                  <a:pt x="109" y="139"/>
                  <a:pt x="109" y="139"/>
                  <a:pt x="109" y="139"/>
                </a:cubicBezTo>
                <a:cubicBezTo>
                  <a:pt x="117" y="125"/>
                  <a:pt x="120" y="109"/>
                  <a:pt x="120" y="104"/>
                </a:cubicBezTo>
                <a:cubicBezTo>
                  <a:pt x="141" y="60"/>
                  <a:pt x="141" y="60"/>
                  <a:pt x="141" y="60"/>
                </a:cubicBezTo>
                <a:cubicBezTo>
                  <a:pt x="146" y="51"/>
                  <a:pt x="143" y="41"/>
                  <a:pt x="135" y="36"/>
                </a:cubicBezTo>
                <a:cubicBezTo>
                  <a:pt x="132" y="34"/>
                  <a:pt x="129" y="33"/>
                  <a:pt x="126" y="33"/>
                </a:cubicBezTo>
                <a:cubicBezTo>
                  <a:pt x="123" y="33"/>
                  <a:pt x="121" y="34"/>
                  <a:pt x="119" y="35"/>
                </a:cubicBezTo>
                <a:cubicBezTo>
                  <a:pt x="119" y="31"/>
                  <a:pt x="119" y="31"/>
                  <a:pt x="119" y="31"/>
                </a:cubicBezTo>
                <a:cubicBezTo>
                  <a:pt x="121" y="21"/>
                  <a:pt x="115" y="12"/>
                  <a:pt x="105" y="10"/>
                </a:cubicBezTo>
                <a:cubicBezTo>
                  <a:pt x="104" y="10"/>
                  <a:pt x="103" y="10"/>
                  <a:pt x="102" y="10"/>
                </a:cubicBezTo>
                <a:cubicBezTo>
                  <a:pt x="96" y="10"/>
                  <a:pt x="91" y="13"/>
                  <a:pt x="88" y="17"/>
                </a:cubicBezTo>
                <a:cubicBezTo>
                  <a:pt x="88" y="16"/>
                  <a:pt x="88" y="16"/>
                  <a:pt x="88" y="16"/>
                </a:cubicBezTo>
                <a:cubicBezTo>
                  <a:pt x="87" y="7"/>
                  <a:pt x="79" y="0"/>
                  <a:pt x="7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59" name="Freeform 142"/>
          <p:cNvSpPr>
            <a:spLocks noEditPoints="1"/>
          </p:cNvSpPr>
          <p:nvPr/>
        </p:nvSpPr>
        <p:spPr bwMode="auto">
          <a:xfrm>
            <a:off x="1100667" y="4032251"/>
            <a:ext cx="590551" cy="412749"/>
          </a:xfrm>
          <a:custGeom>
            <a:avLst/>
            <a:gdLst>
              <a:gd name="T0" fmla="*/ 899754152 w 197"/>
              <a:gd name="T1" fmla="*/ 270602380 h 137"/>
              <a:gd name="T2" fmla="*/ 672287975 w 197"/>
              <a:gd name="T3" fmla="*/ 25528697 h 137"/>
              <a:gd name="T4" fmla="*/ 495370087 w 197"/>
              <a:gd name="T5" fmla="*/ 71479448 h 137"/>
              <a:gd name="T6" fmla="*/ 343725219 w 197"/>
              <a:gd name="T7" fmla="*/ 25528697 h 137"/>
              <a:gd name="T8" fmla="*/ 106150733 w 197"/>
              <a:gd name="T9" fmla="*/ 214440602 h 137"/>
              <a:gd name="T10" fmla="*/ 96040176 w 197"/>
              <a:gd name="T11" fmla="*/ 633106260 h 137"/>
              <a:gd name="T12" fmla="*/ 358889931 w 197"/>
              <a:gd name="T13" fmla="*/ 490147365 h 137"/>
              <a:gd name="T14" fmla="*/ 611629129 w 197"/>
              <a:gd name="T15" fmla="*/ 485040722 h 137"/>
              <a:gd name="T16" fmla="*/ 869424729 w 197"/>
              <a:gd name="T17" fmla="*/ 648423930 h 137"/>
              <a:gd name="T18" fmla="*/ 899754152 w 197"/>
              <a:gd name="T19" fmla="*/ 270602380 h 137"/>
              <a:gd name="T20" fmla="*/ 313398044 w 197"/>
              <a:gd name="T21" fmla="*/ 388032578 h 137"/>
              <a:gd name="T22" fmla="*/ 192082600 w 197"/>
              <a:gd name="T23" fmla="*/ 260391353 h 137"/>
              <a:gd name="T24" fmla="*/ 313398044 w 197"/>
              <a:gd name="T25" fmla="*/ 137854511 h 137"/>
              <a:gd name="T26" fmla="*/ 434711240 w 197"/>
              <a:gd name="T27" fmla="*/ 260391353 h 137"/>
              <a:gd name="T28" fmla="*/ 313398044 w 197"/>
              <a:gd name="T29" fmla="*/ 388032578 h 137"/>
              <a:gd name="T30" fmla="*/ 692506841 w 197"/>
              <a:gd name="T31" fmla="*/ 158276565 h 137"/>
              <a:gd name="T32" fmla="*/ 748109285 w 197"/>
              <a:gd name="T33" fmla="*/ 158276565 h 137"/>
              <a:gd name="T34" fmla="*/ 748109285 w 197"/>
              <a:gd name="T35" fmla="*/ 209333959 h 137"/>
              <a:gd name="T36" fmla="*/ 692506841 w 197"/>
              <a:gd name="T37" fmla="*/ 209333959 h 137"/>
              <a:gd name="T38" fmla="*/ 692506841 w 197"/>
              <a:gd name="T39" fmla="*/ 158276565 h 137"/>
              <a:gd name="T40" fmla="*/ 626793840 w 197"/>
              <a:gd name="T41" fmla="*/ 280813406 h 137"/>
              <a:gd name="T42" fmla="*/ 626793840 w 197"/>
              <a:gd name="T43" fmla="*/ 229756013 h 137"/>
              <a:gd name="T44" fmla="*/ 677342129 w 197"/>
              <a:gd name="T45" fmla="*/ 229756013 h 137"/>
              <a:gd name="T46" fmla="*/ 677342129 w 197"/>
              <a:gd name="T47" fmla="*/ 280813406 h 137"/>
              <a:gd name="T48" fmla="*/ 626793840 w 197"/>
              <a:gd name="T49" fmla="*/ 280813406 h 137"/>
              <a:gd name="T50" fmla="*/ 743055130 w 197"/>
              <a:gd name="T51" fmla="*/ 347188470 h 137"/>
              <a:gd name="T52" fmla="*/ 692506841 w 197"/>
              <a:gd name="T53" fmla="*/ 347188470 h 137"/>
              <a:gd name="T54" fmla="*/ 692506841 w 197"/>
              <a:gd name="T55" fmla="*/ 296131076 h 137"/>
              <a:gd name="T56" fmla="*/ 743055130 w 197"/>
              <a:gd name="T57" fmla="*/ 296131076 h 137"/>
              <a:gd name="T58" fmla="*/ 743055130 w 197"/>
              <a:gd name="T59" fmla="*/ 347188470 h 137"/>
              <a:gd name="T60" fmla="*/ 813822286 w 197"/>
              <a:gd name="T61" fmla="*/ 275709023 h 137"/>
              <a:gd name="T62" fmla="*/ 763273996 w 197"/>
              <a:gd name="T63" fmla="*/ 275709023 h 137"/>
              <a:gd name="T64" fmla="*/ 763273996 w 197"/>
              <a:gd name="T65" fmla="*/ 224651629 h 137"/>
              <a:gd name="T66" fmla="*/ 813822286 w 197"/>
              <a:gd name="T67" fmla="*/ 224651629 h 137"/>
              <a:gd name="T68" fmla="*/ 813822286 w 197"/>
              <a:gd name="T69" fmla="*/ 275709023 h 137"/>
              <a:gd name="T70" fmla="*/ 313398044 w 197"/>
              <a:gd name="T71" fmla="*/ 188911905 h 137"/>
              <a:gd name="T72" fmla="*/ 242630889 w 197"/>
              <a:gd name="T73" fmla="*/ 260391353 h 137"/>
              <a:gd name="T74" fmla="*/ 313398044 w 197"/>
              <a:gd name="T75" fmla="*/ 336977443 h 137"/>
              <a:gd name="T76" fmla="*/ 384165200 w 197"/>
              <a:gd name="T77" fmla="*/ 260391353 h 137"/>
              <a:gd name="T78" fmla="*/ 313398044 w 197"/>
              <a:gd name="T79" fmla="*/ 188911905 h 137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97" h="137">
                <a:moveTo>
                  <a:pt x="178" y="53"/>
                </a:moveTo>
                <a:cubicBezTo>
                  <a:pt x="172" y="28"/>
                  <a:pt x="163" y="1"/>
                  <a:pt x="133" y="5"/>
                </a:cubicBezTo>
                <a:cubicBezTo>
                  <a:pt x="121" y="7"/>
                  <a:pt x="112" y="14"/>
                  <a:pt x="98" y="14"/>
                </a:cubicBezTo>
                <a:cubicBezTo>
                  <a:pt x="87" y="14"/>
                  <a:pt x="79" y="7"/>
                  <a:pt x="68" y="5"/>
                </a:cubicBezTo>
                <a:cubicBezTo>
                  <a:pt x="38" y="0"/>
                  <a:pt x="30" y="15"/>
                  <a:pt x="21" y="42"/>
                </a:cubicBezTo>
                <a:cubicBezTo>
                  <a:pt x="16" y="58"/>
                  <a:pt x="0" y="112"/>
                  <a:pt x="19" y="124"/>
                </a:cubicBezTo>
                <a:cubicBezTo>
                  <a:pt x="37" y="137"/>
                  <a:pt x="57" y="102"/>
                  <a:pt x="71" y="96"/>
                </a:cubicBezTo>
                <a:cubicBezTo>
                  <a:pt x="84" y="91"/>
                  <a:pt x="110" y="92"/>
                  <a:pt x="121" y="95"/>
                </a:cubicBezTo>
                <a:cubicBezTo>
                  <a:pt x="138" y="100"/>
                  <a:pt x="154" y="131"/>
                  <a:pt x="172" y="127"/>
                </a:cubicBezTo>
                <a:cubicBezTo>
                  <a:pt x="197" y="122"/>
                  <a:pt x="182" y="69"/>
                  <a:pt x="178" y="53"/>
                </a:cubicBezTo>
                <a:close/>
                <a:moveTo>
                  <a:pt x="62" y="76"/>
                </a:moveTo>
                <a:cubicBezTo>
                  <a:pt x="48" y="76"/>
                  <a:pt x="38" y="65"/>
                  <a:pt x="38" y="51"/>
                </a:cubicBezTo>
                <a:cubicBezTo>
                  <a:pt x="38" y="38"/>
                  <a:pt x="48" y="27"/>
                  <a:pt x="62" y="27"/>
                </a:cubicBezTo>
                <a:cubicBezTo>
                  <a:pt x="75" y="27"/>
                  <a:pt x="86" y="38"/>
                  <a:pt x="86" y="51"/>
                </a:cubicBezTo>
                <a:cubicBezTo>
                  <a:pt x="86" y="65"/>
                  <a:pt x="75" y="76"/>
                  <a:pt x="62" y="76"/>
                </a:cubicBezTo>
                <a:close/>
                <a:moveTo>
                  <a:pt x="137" y="31"/>
                </a:moveTo>
                <a:cubicBezTo>
                  <a:pt x="140" y="28"/>
                  <a:pt x="145" y="28"/>
                  <a:pt x="148" y="31"/>
                </a:cubicBezTo>
                <a:cubicBezTo>
                  <a:pt x="150" y="34"/>
                  <a:pt x="150" y="39"/>
                  <a:pt x="148" y="41"/>
                </a:cubicBezTo>
                <a:cubicBezTo>
                  <a:pt x="145" y="44"/>
                  <a:pt x="140" y="44"/>
                  <a:pt x="137" y="41"/>
                </a:cubicBezTo>
                <a:cubicBezTo>
                  <a:pt x="135" y="39"/>
                  <a:pt x="135" y="34"/>
                  <a:pt x="137" y="31"/>
                </a:cubicBezTo>
                <a:close/>
                <a:moveTo>
                  <a:pt x="124" y="55"/>
                </a:moveTo>
                <a:cubicBezTo>
                  <a:pt x="121" y="52"/>
                  <a:pt x="121" y="48"/>
                  <a:pt x="124" y="45"/>
                </a:cubicBezTo>
                <a:cubicBezTo>
                  <a:pt x="127" y="42"/>
                  <a:pt x="131" y="42"/>
                  <a:pt x="134" y="45"/>
                </a:cubicBezTo>
                <a:cubicBezTo>
                  <a:pt x="137" y="48"/>
                  <a:pt x="137" y="52"/>
                  <a:pt x="134" y="55"/>
                </a:cubicBezTo>
                <a:cubicBezTo>
                  <a:pt x="131" y="58"/>
                  <a:pt x="127" y="58"/>
                  <a:pt x="124" y="55"/>
                </a:cubicBezTo>
                <a:close/>
                <a:moveTo>
                  <a:pt x="147" y="68"/>
                </a:moveTo>
                <a:cubicBezTo>
                  <a:pt x="144" y="71"/>
                  <a:pt x="140" y="71"/>
                  <a:pt x="137" y="68"/>
                </a:cubicBezTo>
                <a:cubicBezTo>
                  <a:pt x="134" y="65"/>
                  <a:pt x="134" y="61"/>
                  <a:pt x="137" y="58"/>
                </a:cubicBezTo>
                <a:cubicBezTo>
                  <a:pt x="140" y="55"/>
                  <a:pt x="144" y="55"/>
                  <a:pt x="147" y="58"/>
                </a:cubicBezTo>
                <a:cubicBezTo>
                  <a:pt x="150" y="61"/>
                  <a:pt x="150" y="65"/>
                  <a:pt x="147" y="68"/>
                </a:cubicBezTo>
                <a:close/>
                <a:moveTo>
                  <a:pt x="161" y="54"/>
                </a:moveTo>
                <a:cubicBezTo>
                  <a:pt x="158" y="57"/>
                  <a:pt x="153" y="57"/>
                  <a:pt x="151" y="54"/>
                </a:cubicBezTo>
                <a:cubicBezTo>
                  <a:pt x="148" y="52"/>
                  <a:pt x="148" y="47"/>
                  <a:pt x="151" y="44"/>
                </a:cubicBezTo>
                <a:cubicBezTo>
                  <a:pt x="153" y="42"/>
                  <a:pt x="158" y="42"/>
                  <a:pt x="161" y="44"/>
                </a:cubicBezTo>
                <a:cubicBezTo>
                  <a:pt x="163" y="47"/>
                  <a:pt x="163" y="52"/>
                  <a:pt x="161" y="54"/>
                </a:cubicBezTo>
                <a:close/>
                <a:moveTo>
                  <a:pt x="62" y="37"/>
                </a:moveTo>
                <a:cubicBezTo>
                  <a:pt x="54" y="37"/>
                  <a:pt x="48" y="44"/>
                  <a:pt x="48" y="51"/>
                </a:cubicBezTo>
                <a:cubicBezTo>
                  <a:pt x="48" y="59"/>
                  <a:pt x="54" y="66"/>
                  <a:pt x="62" y="66"/>
                </a:cubicBezTo>
                <a:cubicBezTo>
                  <a:pt x="70" y="66"/>
                  <a:pt x="76" y="59"/>
                  <a:pt x="76" y="51"/>
                </a:cubicBezTo>
                <a:cubicBezTo>
                  <a:pt x="76" y="44"/>
                  <a:pt x="70" y="37"/>
                  <a:pt x="62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0" name="Freeform 143"/>
          <p:cNvSpPr>
            <a:spLocks noEditPoints="1"/>
          </p:cNvSpPr>
          <p:nvPr/>
        </p:nvSpPr>
        <p:spPr bwMode="auto">
          <a:xfrm>
            <a:off x="2019301" y="4072468"/>
            <a:ext cx="529167" cy="294217"/>
          </a:xfrm>
          <a:custGeom>
            <a:avLst/>
            <a:gdLst>
              <a:gd name="T0" fmla="*/ 279668342 w 176"/>
              <a:gd name="T1" fmla="*/ 177449079 h 98"/>
              <a:gd name="T2" fmla="*/ 127121768 w 176"/>
              <a:gd name="T3" fmla="*/ 177449079 h 98"/>
              <a:gd name="T4" fmla="*/ 127121768 w 176"/>
              <a:gd name="T5" fmla="*/ 0 h 98"/>
              <a:gd name="T6" fmla="*/ 0 w 176"/>
              <a:gd name="T7" fmla="*/ 0 h 98"/>
              <a:gd name="T8" fmla="*/ 0 w 176"/>
              <a:gd name="T9" fmla="*/ 496858771 h 98"/>
              <a:gd name="T10" fmla="*/ 127121768 w 176"/>
              <a:gd name="T11" fmla="*/ 496858771 h 98"/>
              <a:gd name="T12" fmla="*/ 127121768 w 176"/>
              <a:gd name="T13" fmla="*/ 288989722 h 98"/>
              <a:gd name="T14" fmla="*/ 279668342 w 176"/>
              <a:gd name="T15" fmla="*/ 288989722 h 98"/>
              <a:gd name="T16" fmla="*/ 279668342 w 176"/>
              <a:gd name="T17" fmla="*/ 496858771 h 98"/>
              <a:gd name="T18" fmla="*/ 406792365 w 176"/>
              <a:gd name="T19" fmla="*/ 496858771 h 98"/>
              <a:gd name="T20" fmla="*/ 406792365 w 176"/>
              <a:gd name="T21" fmla="*/ 0 h 98"/>
              <a:gd name="T22" fmla="*/ 279668342 w 176"/>
              <a:gd name="T23" fmla="*/ 0 h 98"/>
              <a:gd name="T24" fmla="*/ 279668342 w 176"/>
              <a:gd name="T25" fmla="*/ 177449079 h 98"/>
              <a:gd name="T26" fmla="*/ 889856889 w 176"/>
              <a:gd name="T27" fmla="*/ 157170599 h 98"/>
              <a:gd name="T28" fmla="*/ 854262163 w 176"/>
              <a:gd name="T29" fmla="*/ 76049927 h 98"/>
              <a:gd name="T30" fmla="*/ 762735121 w 176"/>
              <a:gd name="T31" fmla="*/ 10139240 h 98"/>
              <a:gd name="T32" fmla="*/ 686460707 w 176"/>
              <a:gd name="T33" fmla="*/ 0 h 98"/>
              <a:gd name="T34" fmla="*/ 467809641 w 176"/>
              <a:gd name="T35" fmla="*/ 0 h 98"/>
              <a:gd name="T36" fmla="*/ 467809641 w 176"/>
              <a:gd name="T37" fmla="*/ 496858771 h 98"/>
              <a:gd name="T38" fmla="*/ 686460707 w 176"/>
              <a:gd name="T39" fmla="*/ 496858771 h 98"/>
              <a:gd name="T40" fmla="*/ 686460707 w 176"/>
              <a:gd name="T41" fmla="*/ 496858771 h 98"/>
              <a:gd name="T42" fmla="*/ 859347124 w 176"/>
              <a:gd name="T43" fmla="*/ 400528113 h 98"/>
              <a:gd name="T44" fmla="*/ 894941850 w 176"/>
              <a:gd name="T45" fmla="*/ 238289020 h 98"/>
              <a:gd name="T46" fmla="*/ 889856889 w 176"/>
              <a:gd name="T47" fmla="*/ 157170599 h 98"/>
              <a:gd name="T48" fmla="*/ 752565199 w 176"/>
              <a:gd name="T49" fmla="*/ 329548932 h 98"/>
              <a:gd name="T50" fmla="*/ 722055433 w 176"/>
              <a:gd name="T51" fmla="*/ 370108143 h 98"/>
              <a:gd name="T52" fmla="*/ 671205824 w 176"/>
              <a:gd name="T53" fmla="*/ 385318128 h 98"/>
              <a:gd name="T54" fmla="*/ 594933665 w 176"/>
              <a:gd name="T55" fmla="*/ 385318128 h 98"/>
              <a:gd name="T56" fmla="*/ 594933665 w 176"/>
              <a:gd name="T57" fmla="*/ 111540643 h 98"/>
              <a:gd name="T58" fmla="*/ 671205824 w 176"/>
              <a:gd name="T59" fmla="*/ 111540643 h 98"/>
              <a:gd name="T60" fmla="*/ 722055433 w 176"/>
              <a:gd name="T61" fmla="*/ 121679883 h 98"/>
              <a:gd name="T62" fmla="*/ 747480238 w 176"/>
              <a:gd name="T63" fmla="*/ 141960614 h 98"/>
              <a:gd name="T64" fmla="*/ 767820082 w 176"/>
              <a:gd name="T65" fmla="*/ 243359766 h 98"/>
              <a:gd name="T66" fmla="*/ 752565199 w 176"/>
              <a:gd name="T67" fmla="*/ 329548932 h 9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76" h="98">
                <a:moveTo>
                  <a:pt x="55" y="35"/>
                </a:moveTo>
                <a:cubicBezTo>
                  <a:pt x="25" y="35"/>
                  <a:pt x="25" y="35"/>
                  <a:pt x="25" y="35"/>
                </a:cubicBezTo>
                <a:cubicBezTo>
                  <a:pt x="25" y="0"/>
                  <a:pt x="25" y="0"/>
                  <a:pt x="2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98"/>
                  <a:pt x="0" y="98"/>
                  <a:pt x="0" y="98"/>
                </a:cubicBezTo>
                <a:cubicBezTo>
                  <a:pt x="25" y="98"/>
                  <a:pt x="25" y="98"/>
                  <a:pt x="25" y="98"/>
                </a:cubicBezTo>
                <a:cubicBezTo>
                  <a:pt x="25" y="57"/>
                  <a:pt x="25" y="57"/>
                  <a:pt x="25" y="57"/>
                </a:cubicBezTo>
                <a:cubicBezTo>
                  <a:pt x="55" y="57"/>
                  <a:pt x="55" y="57"/>
                  <a:pt x="55" y="57"/>
                </a:cubicBezTo>
                <a:cubicBezTo>
                  <a:pt x="55" y="98"/>
                  <a:pt x="55" y="98"/>
                  <a:pt x="55" y="98"/>
                </a:cubicBezTo>
                <a:cubicBezTo>
                  <a:pt x="80" y="98"/>
                  <a:pt x="80" y="98"/>
                  <a:pt x="80" y="98"/>
                </a:cubicBezTo>
                <a:cubicBezTo>
                  <a:pt x="80" y="0"/>
                  <a:pt x="80" y="0"/>
                  <a:pt x="80" y="0"/>
                </a:cubicBezTo>
                <a:cubicBezTo>
                  <a:pt x="55" y="0"/>
                  <a:pt x="55" y="0"/>
                  <a:pt x="55" y="0"/>
                </a:cubicBezTo>
                <a:lnTo>
                  <a:pt x="55" y="35"/>
                </a:lnTo>
                <a:close/>
                <a:moveTo>
                  <a:pt x="175" y="31"/>
                </a:moveTo>
                <a:cubicBezTo>
                  <a:pt x="173" y="25"/>
                  <a:pt x="171" y="20"/>
                  <a:pt x="168" y="15"/>
                </a:cubicBezTo>
                <a:cubicBezTo>
                  <a:pt x="163" y="9"/>
                  <a:pt x="157" y="4"/>
                  <a:pt x="150" y="2"/>
                </a:cubicBezTo>
                <a:cubicBezTo>
                  <a:pt x="146" y="1"/>
                  <a:pt x="141" y="0"/>
                  <a:pt x="135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92" y="98"/>
                  <a:pt x="92" y="98"/>
                  <a:pt x="92" y="98"/>
                </a:cubicBezTo>
                <a:cubicBezTo>
                  <a:pt x="135" y="98"/>
                  <a:pt x="135" y="98"/>
                  <a:pt x="135" y="98"/>
                </a:cubicBezTo>
                <a:cubicBezTo>
                  <a:pt x="135" y="98"/>
                  <a:pt x="135" y="98"/>
                  <a:pt x="135" y="98"/>
                </a:cubicBezTo>
                <a:cubicBezTo>
                  <a:pt x="150" y="98"/>
                  <a:pt x="162" y="92"/>
                  <a:pt x="169" y="79"/>
                </a:cubicBezTo>
                <a:cubicBezTo>
                  <a:pt x="174" y="70"/>
                  <a:pt x="176" y="59"/>
                  <a:pt x="176" y="47"/>
                </a:cubicBezTo>
                <a:cubicBezTo>
                  <a:pt x="176" y="42"/>
                  <a:pt x="176" y="36"/>
                  <a:pt x="175" y="31"/>
                </a:cubicBezTo>
                <a:close/>
                <a:moveTo>
                  <a:pt x="148" y="65"/>
                </a:moveTo>
                <a:cubicBezTo>
                  <a:pt x="146" y="69"/>
                  <a:pt x="144" y="71"/>
                  <a:pt x="142" y="73"/>
                </a:cubicBezTo>
                <a:cubicBezTo>
                  <a:pt x="139" y="75"/>
                  <a:pt x="136" y="76"/>
                  <a:pt x="132" y="76"/>
                </a:cubicBezTo>
                <a:cubicBezTo>
                  <a:pt x="117" y="76"/>
                  <a:pt x="117" y="76"/>
                  <a:pt x="117" y="76"/>
                </a:cubicBezTo>
                <a:cubicBezTo>
                  <a:pt x="117" y="22"/>
                  <a:pt x="117" y="22"/>
                  <a:pt x="117" y="22"/>
                </a:cubicBezTo>
                <a:cubicBezTo>
                  <a:pt x="132" y="22"/>
                  <a:pt x="132" y="22"/>
                  <a:pt x="132" y="22"/>
                </a:cubicBezTo>
                <a:cubicBezTo>
                  <a:pt x="136" y="22"/>
                  <a:pt x="139" y="23"/>
                  <a:pt x="142" y="24"/>
                </a:cubicBezTo>
                <a:cubicBezTo>
                  <a:pt x="144" y="25"/>
                  <a:pt x="146" y="26"/>
                  <a:pt x="147" y="28"/>
                </a:cubicBezTo>
                <a:cubicBezTo>
                  <a:pt x="149" y="32"/>
                  <a:pt x="151" y="39"/>
                  <a:pt x="151" y="48"/>
                </a:cubicBezTo>
                <a:cubicBezTo>
                  <a:pt x="151" y="55"/>
                  <a:pt x="150" y="60"/>
                  <a:pt x="148" y="6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1" name="Freeform 144"/>
          <p:cNvSpPr>
            <a:spLocks noEditPoints="1"/>
          </p:cNvSpPr>
          <p:nvPr/>
        </p:nvSpPr>
        <p:spPr bwMode="auto">
          <a:xfrm>
            <a:off x="3007785" y="3966634"/>
            <a:ext cx="281516" cy="505884"/>
          </a:xfrm>
          <a:custGeom>
            <a:avLst/>
            <a:gdLst>
              <a:gd name="T0" fmla="*/ 403610837 w 94"/>
              <a:gd name="T1" fmla="*/ 71406430 h 168"/>
              <a:gd name="T2" fmla="*/ 302707566 w 94"/>
              <a:gd name="T3" fmla="*/ 10201241 h 168"/>
              <a:gd name="T4" fmla="*/ 237122574 w 94"/>
              <a:gd name="T5" fmla="*/ 0 h 168"/>
              <a:gd name="T6" fmla="*/ 70632065 w 94"/>
              <a:gd name="T7" fmla="*/ 71406430 h 168"/>
              <a:gd name="T8" fmla="*/ 0 w 94"/>
              <a:gd name="T9" fmla="*/ 239719005 h 168"/>
              <a:gd name="T10" fmla="*/ 0 w 94"/>
              <a:gd name="T11" fmla="*/ 265220979 h 168"/>
              <a:gd name="T12" fmla="*/ 30271206 w 94"/>
              <a:gd name="T13" fmla="*/ 357029891 h 168"/>
              <a:gd name="T14" fmla="*/ 116037751 w 94"/>
              <a:gd name="T15" fmla="*/ 622250870 h 168"/>
              <a:gd name="T16" fmla="*/ 121082577 w 94"/>
              <a:gd name="T17" fmla="*/ 652854594 h 168"/>
              <a:gd name="T18" fmla="*/ 151353783 w 94"/>
              <a:gd name="T19" fmla="*/ 683456059 h 168"/>
              <a:gd name="T20" fmla="*/ 322889119 w 94"/>
              <a:gd name="T21" fmla="*/ 683456059 h 168"/>
              <a:gd name="T22" fmla="*/ 353160325 w 94"/>
              <a:gd name="T23" fmla="*/ 652854594 h 168"/>
              <a:gd name="T24" fmla="*/ 358205151 w 94"/>
              <a:gd name="T25" fmla="*/ 622250870 h 168"/>
              <a:gd name="T26" fmla="*/ 443971696 w 94"/>
              <a:gd name="T27" fmla="*/ 357029891 h 168"/>
              <a:gd name="T28" fmla="*/ 474242902 w 94"/>
              <a:gd name="T29" fmla="*/ 265220979 h 168"/>
              <a:gd name="T30" fmla="*/ 474242902 w 94"/>
              <a:gd name="T31" fmla="*/ 239719005 h 168"/>
              <a:gd name="T32" fmla="*/ 403610837 w 94"/>
              <a:gd name="T33" fmla="*/ 71406430 h 168"/>
              <a:gd name="T34" fmla="*/ 413700490 w 94"/>
              <a:gd name="T35" fmla="*/ 260121488 h 168"/>
              <a:gd name="T36" fmla="*/ 393521184 w 94"/>
              <a:gd name="T37" fmla="*/ 326426168 h 168"/>
              <a:gd name="T38" fmla="*/ 297662740 w 94"/>
              <a:gd name="T39" fmla="*/ 617151379 h 168"/>
              <a:gd name="T40" fmla="*/ 297662740 w 94"/>
              <a:gd name="T41" fmla="*/ 622250870 h 168"/>
              <a:gd name="T42" fmla="*/ 267391534 w 94"/>
              <a:gd name="T43" fmla="*/ 622250870 h 168"/>
              <a:gd name="T44" fmla="*/ 267391534 w 94"/>
              <a:gd name="T45" fmla="*/ 510041734 h 168"/>
              <a:gd name="T46" fmla="*/ 206851368 w 94"/>
              <a:gd name="T47" fmla="*/ 510041734 h 168"/>
              <a:gd name="T48" fmla="*/ 206851368 w 94"/>
              <a:gd name="T49" fmla="*/ 622250870 h 168"/>
              <a:gd name="T50" fmla="*/ 176580162 w 94"/>
              <a:gd name="T51" fmla="*/ 622250870 h 168"/>
              <a:gd name="T52" fmla="*/ 176580162 w 94"/>
              <a:gd name="T53" fmla="*/ 617151379 h 168"/>
              <a:gd name="T54" fmla="*/ 85766545 w 94"/>
              <a:gd name="T55" fmla="*/ 341729159 h 168"/>
              <a:gd name="T56" fmla="*/ 85766545 w 94"/>
              <a:gd name="T57" fmla="*/ 336627409 h 168"/>
              <a:gd name="T58" fmla="*/ 80721718 w 94"/>
              <a:gd name="T59" fmla="*/ 326426168 h 168"/>
              <a:gd name="T60" fmla="*/ 60542412 w 94"/>
              <a:gd name="T61" fmla="*/ 260121488 h 168"/>
              <a:gd name="T62" fmla="*/ 60542412 w 94"/>
              <a:gd name="T63" fmla="*/ 239719005 h 168"/>
              <a:gd name="T64" fmla="*/ 110992924 w 94"/>
              <a:gd name="T65" fmla="*/ 117308628 h 168"/>
              <a:gd name="T66" fmla="*/ 237122574 w 94"/>
              <a:gd name="T67" fmla="*/ 61205189 h 168"/>
              <a:gd name="T68" fmla="*/ 287573086 w 94"/>
              <a:gd name="T69" fmla="*/ 71406430 h 168"/>
              <a:gd name="T70" fmla="*/ 363249978 w 94"/>
              <a:gd name="T71" fmla="*/ 117308628 h 168"/>
              <a:gd name="T72" fmla="*/ 413700490 w 94"/>
              <a:gd name="T73" fmla="*/ 239719005 h 168"/>
              <a:gd name="T74" fmla="*/ 413700490 w 94"/>
              <a:gd name="T75" fmla="*/ 260121488 h 168"/>
              <a:gd name="T76" fmla="*/ 141264130 w 94"/>
              <a:gd name="T77" fmla="*/ 785463954 h 168"/>
              <a:gd name="T78" fmla="*/ 332978772 w 94"/>
              <a:gd name="T79" fmla="*/ 785463954 h 168"/>
              <a:gd name="T80" fmla="*/ 332978772 w 94"/>
              <a:gd name="T81" fmla="*/ 724258766 h 168"/>
              <a:gd name="T82" fmla="*/ 141264130 w 94"/>
              <a:gd name="T83" fmla="*/ 724258766 h 168"/>
              <a:gd name="T84" fmla="*/ 141264130 w 94"/>
              <a:gd name="T85" fmla="*/ 785463954 h 168"/>
              <a:gd name="T86" fmla="*/ 181624989 w 94"/>
              <a:gd name="T87" fmla="*/ 856870384 h 168"/>
              <a:gd name="T88" fmla="*/ 292617913 w 94"/>
              <a:gd name="T89" fmla="*/ 856870384 h 168"/>
              <a:gd name="T90" fmla="*/ 292617913 w 94"/>
              <a:gd name="T91" fmla="*/ 821167169 h 168"/>
              <a:gd name="T92" fmla="*/ 181624989 w 94"/>
              <a:gd name="T93" fmla="*/ 821167169 h 168"/>
              <a:gd name="T94" fmla="*/ 181624989 w 94"/>
              <a:gd name="T95" fmla="*/ 856870384 h 16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94" h="168">
                <a:moveTo>
                  <a:pt x="80" y="14"/>
                </a:moveTo>
                <a:cubicBezTo>
                  <a:pt x="75" y="9"/>
                  <a:pt x="68" y="4"/>
                  <a:pt x="60" y="2"/>
                </a:cubicBezTo>
                <a:cubicBezTo>
                  <a:pt x="56" y="1"/>
                  <a:pt x="52" y="0"/>
                  <a:pt x="47" y="0"/>
                </a:cubicBezTo>
                <a:cubicBezTo>
                  <a:pt x="34" y="0"/>
                  <a:pt x="23" y="5"/>
                  <a:pt x="14" y="14"/>
                </a:cubicBezTo>
                <a:cubicBezTo>
                  <a:pt x="5" y="23"/>
                  <a:pt x="0" y="35"/>
                  <a:pt x="0" y="47"/>
                </a:cubicBezTo>
                <a:cubicBezTo>
                  <a:pt x="0" y="52"/>
                  <a:pt x="0" y="52"/>
                  <a:pt x="0" y="52"/>
                </a:cubicBezTo>
                <a:cubicBezTo>
                  <a:pt x="1" y="58"/>
                  <a:pt x="3" y="64"/>
                  <a:pt x="6" y="70"/>
                </a:cubicBezTo>
                <a:cubicBezTo>
                  <a:pt x="6" y="70"/>
                  <a:pt x="23" y="102"/>
                  <a:pt x="23" y="122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5" y="132"/>
                  <a:pt x="27" y="134"/>
                  <a:pt x="30" y="134"/>
                </a:cubicBezTo>
                <a:cubicBezTo>
                  <a:pt x="64" y="134"/>
                  <a:pt x="64" y="134"/>
                  <a:pt x="64" y="134"/>
                </a:cubicBezTo>
                <a:cubicBezTo>
                  <a:pt x="67" y="134"/>
                  <a:pt x="69" y="132"/>
                  <a:pt x="70" y="128"/>
                </a:cubicBezTo>
                <a:cubicBezTo>
                  <a:pt x="71" y="122"/>
                  <a:pt x="71" y="122"/>
                  <a:pt x="71" y="122"/>
                </a:cubicBezTo>
                <a:cubicBezTo>
                  <a:pt x="71" y="102"/>
                  <a:pt x="88" y="70"/>
                  <a:pt x="88" y="70"/>
                </a:cubicBezTo>
                <a:cubicBezTo>
                  <a:pt x="91" y="64"/>
                  <a:pt x="93" y="58"/>
                  <a:pt x="94" y="52"/>
                </a:cubicBezTo>
                <a:cubicBezTo>
                  <a:pt x="94" y="47"/>
                  <a:pt x="94" y="47"/>
                  <a:pt x="94" y="47"/>
                </a:cubicBezTo>
                <a:cubicBezTo>
                  <a:pt x="94" y="35"/>
                  <a:pt x="89" y="23"/>
                  <a:pt x="80" y="14"/>
                </a:cubicBezTo>
                <a:close/>
                <a:moveTo>
                  <a:pt x="82" y="51"/>
                </a:moveTo>
                <a:cubicBezTo>
                  <a:pt x="81" y="56"/>
                  <a:pt x="80" y="60"/>
                  <a:pt x="78" y="64"/>
                </a:cubicBezTo>
                <a:cubicBezTo>
                  <a:pt x="76" y="68"/>
                  <a:pt x="59" y="99"/>
                  <a:pt x="59" y="121"/>
                </a:cubicBezTo>
                <a:cubicBezTo>
                  <a:pt x="59" y="122"/>
                  <a:pt x="59" y="122"/>
                  <a:pt x="59" y="122"/>
                </a:cubicBezTo>
                <a:cubicBezTo>
                  <a:pt x="53" y="122"/>
                  <a:pt x="53" y="122"/>
                  <a:pt x="53" y="122"/>
                </a:cubicBezTo>
                <a:cubicBezTo>
                  <a:pt x="53" y="100"/>
                  <a:pt x="53" y="100"/>
                  <a:pt x="53" y="100"/>
                </a:cubicBezTo>
                <a:cubicBezTo>
                  <a:pt x="41" y="100"/>
                  <a:pt x="41" y="100"/>
                  <a:pt x="41" y="100"/>
                </a:cubicBezTo>
                <a:cubicBezTo>
                  <a:pt x="41" y="122"/>
                  <a:pt x="41" y="122"/>
                  <a:pt x="41" y="122"/>
                </a:cubicBezTo>
                <a:cubicBezTo>
                  <a:pt x="35" y="122"/>
                  <a:pt x="35" y="122"/>
                  <a:pt x="35" y="122"/>
                </a:cubicBezTo>
                <a:cubicBezTo>
                  <a:pt x="35" y="121"/>
                  <a:pt x="35" y="121"/>
                  <a:pt x="35" y="121"/>
                </a:cubicBezTo>
                <a:cubicBezTo>
                  <a:pt x="35" y="105"/>
                  <a:pt x="26" y="83"/>
                  <a:pt x="17" y="67"/>
                </a:cubicBezTo>
                <a:cubicBezTo>
                  <a:pt x="17" y="66"/>
                  <a:pt x="17" y="66"/>
                  <a:pt x="17" y="66"/>
                </a:cubicBezTo>
                <a:cubicBezTo>
                  <a:pt x="16" y="64"/>
                  <a:pt x="16" y="64"/>
                  <a:pt x="16" y="64"/>
                </a:cubicBezTo>
                <a:cubicBezTo>
                  <a:pt x="14" y="60"/>
                  <a:pt x="13" y="56"/>
                  <a:pt x="12" y="51"/>
                </a:cubicBezTo>
                <a:cubicBezTo>
                  <a:pt x="12" y="47"/>
                  <a:pt x="12" y="47"/>
                  <a:pt x="12" y="47"/>
                </a:cubicBezTo>
                <a:cubicBezTo>
                  <a:pt x="12" y="38"/>
                  <a:pt x="16" y="29"/>
                  <a:pt x="22" y="23"/>
                </a:cubicBezTo>
                <a:cubicBezTo>
                  <a:pt x="29" y="16"/>
                  <a:pt x="38" y="12"/>
                  <a:pt x="47" y="12"/>
                </a:cubicBezTo>
                <a:cubicBezTo>
                  <a:pt x="50" y="12"/>
                  <a:pt x="54" y="13"/>
                  <a:pt x="57" y="14"/>
                </a:cubicBezTo>
                <a:cubicBezTo>
                  <a:pt x="63" y="15"/>
                  <a:pt x="68" y="18"/>
                  <a:pt x="72" y="23"/>
                </a:cubicBezTo>
                <a:cubicBezTo>
                  <a:pt x="78" y="29"/>
                  <a:pt x="82" y="38"/>
                  <a:pt x="82" y="47"/>
                </a:cubicBezTo>
                <a:lnTo>
                  <a:pt x="82" y="51"/>
                </a:lnTo>
                <a:close/>
                <a:moveTo>
                  <a:pt x="28" y="154"/>
                </a:moveTo>
                <a:cubicBezTo>
                  <a:pt x="66" y="154"/>
                  <a:pt x="66" y="154"/>
                  <a:pt x="66" y="154"/>
                </a:cubicBezTo>
                <a:cubicBezTo>
                  <a:pt x="66" y="142"/>
                  <a:pt x="66" y="142"/>
                  <a:pt x="66" y="142"/>
                </a:cubicBezTo>
                <a:cubicBezTo>
                  <a:pt x="28" y="142"/>
                  <a:pt x="28" y="142"/>
                  <a:pt x="28" y="142"/>
                </a:cubicBezTo>
                <a:lnTo>
                  <a:pt x="28" y="154"/>
                </a:lnTo>
                <a:close/>
                <a:moveTo>
                  <a:pt x="36" y="168"/>
                </a:moveTo>
                <a:cubicBezTo>
                  <a:pt x="58" y="168"/>
                  <a:pt x="58" y="168"/>
                  <a:pt x="58" y="168"/>
                </a:cubicBezTo>
                <a:cubicBezTo>
                  <a:pt x="58" y="161"/>
                  <a:pt x="58" y="161"/>
                  <a:pt x="58" y="161"/>
                </a:cubicBezTo>
                <a:cubicBezTo>
                  <a:pt x="36" y="161"/>
                  <a:pt x="36" y="161"/>
                  <a:pt x="36" y="161"/>
                </a:cubicBezTo>
                <a:lnTo>
                  <a:pt x="36" y="1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2" name="Freeform 145"/>
          <p:cNvSpPr>
            <a:spLocks noEditPoints="1"/>
          </p:cNvSpPr>
          <p:nvPr/>
        </p:nvSpPr>
        <p:spPr bwMode="auto">
          <a:xfrm>
            <a:off x="3740151" y="4023785"/>
            <a:ext cx="522816" cy="366183"/>
          </a:xfrm>
          <a:custGeom>
            <a:avLst/>
            <a:gdLst>
              <a:gd name="T0" fmla="*/ 0 w 247"/>
              <a:gd name="T1" fmla="*/ 435987031 h 173"/>
              <a:gd name="T2" fmla="*/ 622477006 w 247"/>
              <a:gd name="T3" fmla="*/ 0 h 173"/>
              <a:gd name="T4" fmla="*/ 587194864 w 247"/>
              <a:gd name="T5" fmla="*/ 400704908 h 173"/>
              <a:gd name="T6" fmla="*/ 35282143 w 247"/>
              <a:gd name="T7" fmla="*/ 35282123 h 173"/>
              <a:gd name="T8" fmla="*/ 587194864 w 247"/>
              <a:gd name="T9" fmla="*/ 400704908 h 173"/>
              <a:gd name="T10" fmla="*/ 168849460 w 247"/>
              <a:gd name="T11" fmla="*/ 103327012 h 173"/>
              <a:gd name="T12" fmla="*/ 226813773 w 247"/>
              <a:gd name="T13" fmla="*/ 163810652 h 173"/>
              <a:gd name="T14" fmla="*/ 320058642 w 247"/>
              <a:gd name="T15" fmla="*/ 103327012 h 173"/>
              <a:gd name="T16" fmla="*/ 262095916 w 247"/>
              <a:gd name="T17" fmla="*/ 163810652 h 173"/>
              <a:gd name="T18" fmla="*/ 320058642 w 247"/>
              <a:gd name="T19" fmla="*/ 103327012 h 173"/>
              <a:gd name="T20" fmla="*/ 355340784 w 247"/>
              <a:gd name="T21" fmla="*/ 103327012 h 173"/>
              <a:gd name="T22" fmla="*/ 415824457 w 247"/>
              <a:gd name="T23" fmla="*/ 163810652 h 173"/>
              <a:gd name="T24" fmla="*/ 400703539 w 247"/>
              <a:gd name="T25" fmla="*/ 262095773 h 173"/>
              <a:gd name="T26" fmla="*/ 458667853 w 247"/>
              <a:gd name="T27" fmla="*/ 201612133 h 173"/>
              <a:gd name="T28" fmla="*/ 400703539 w 247"/>
              <a:gd name="T29" fmla="*/ 262095773 h 173"/>
              <a:gd name="T30" fmla="*/ 73083644 w 247"/>
              <a:gd name="T31" fmla="*/ 103327012 h 173"/>
              <a:gd name="T32" fmla="*/ 128527011 w 247"/>
              <a:gd name="T33" fmla="*/ 161289706 h 173"/>
              <a:gd name="T34" fmla="*/ 183970378 w 247"/>
              <a:gd name="T35" fmla="*/ 201612133 h 173"/>
              <a:gd name="T36" fmla="*/ 73083644 w 247"/>
              <a:gd name="T37" fmla="*/ 262095773 h 173"/>
              <a:gd name="T38" fmla="*/ 183970378 w 247"/>
              <a:gd name="T39" fmla="*/ 201612133 h 173"/>
              <a:gd name="T40" fmla="*/ 219252520 w 247"/>
              <a:gd name="T41" fmla="*/ 262095773 h 173"/>
              <a:gd name="T42" fmla="*/ 277216834 w 247"/>
              <a:gd name="T43" fmla="*/ 201612133 h 173"/>
              <a:gd name="T44" fmla="*/ 312498977 w 247"/>
              <a:gd name="T45" fmla="*/ 201612133 h 173"/>
              <a:gd name="T46" fmla="*/ 372982649 w 247"/>
              <a:gd name="T47" fmla="*/ 262095773 h 173"/>
              <a:gd name="T48" fmla="*/ 312498977 w 247"/>
              <a:gd name="T49" fmla="*/ 201612133 h 173"/>
              <a:gd name="T50" fmla="*/ 133567317 w 247"/>
              <a:gd name="T51" fmla="*/ 357861536 h 173"/>
              <a:gd name="T52" fmla="*/ 73083644 w 247"/>
              <a:gd name="T53" fmla="*/ 297377896 h 173"/>
              <a:gd name="T54" fmla="*/ 166330100 w 247"/>
              <a:gd name="T55" fmla="*/ 357861536 h 173"/>
              <a:gd name="T56" fmla="*/ 456146906 w 247"/>
              <a:gd name="T57" fmla="*/ 297377896 h 173"/>
              <a:gd name="T58" fmla="*/ 166330100 w 247"/>
              <a:gd name="T59" fmla="*/ 357861536 h 173"/>
              <a:gd name="T60" fmla="*/ 551912721 w 247"/>
              <a:gd name="T61" fmla="*/ 262095773 h 173"/>
              <a:gd name="T62" fmla="*/ 451106600 w 247"/>
              <a:gd name="T63" fmla="*/ 103327012 h 173"/>
              <a:gd name="T64" fmla="*/ 491429048 w 247"/>
              <a:gd name="T65" fmla="*/ 163810652 h 173"/>
              <a:gd name="T66" fmla="*/ 491429048 w 247"/>
              <a:gd name="T67" fmla="*/ 357861536 h 173"/>
              <a:gd name="T68" fmla="*/ 546872415 w 247"/>
              <a:gd name="T69" fmla="*/ 297377896 h 173"/>
              <a:gd name="T70" fmla="*/ 491429048 w 247"/>
              <a:gd name="T71" fmla="*/ 357861536 h 17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47" h="173">
                <a:moveTo>
                  <a:pt x="0" y="0"/>
                </a:moveTo>
                <a:lnTo>
                  <a:pt x="0" y="173"/>
                </a:lnTo>
                <a:lnTo>
                  <a:pt x="247" y="173"/>
                </a:lnTo>
                <a:lnTo>
                  <a:pt x="247" y="0"/>
                </a:lnTo>
                <a:lnTo>
                  <a:pt x="0" y="0"/>
                </a:lnTo>
                <a:close/>
                <a:moveTo>
                  <a:pt x="233" y="159"/>
                </a:moveTo>
                <a:lnTo>
                  <a:pt x="14" y="159"/>
                </a:lnTo>
                <a:lnTo>
                  <a:pt x="14" y="14"/>
                </a:lnTo>
                <a:lnTo>
                  <a:pt x="233" y="14"/>
                </a:lnTo>
                <a:lnTo>
                  <a:pt x="233" y="159"/>
                </a:lnTo>
                <a:close/>
                <a:moveTo>
                  <a:pt x="90" y="41"/>
                </a:moveTo>
                <a:lnTo>
                  <a:pt x="67" y="41"/>
                </a:lnTo>
                <a:lnTo>
                  <a:pt x="67" y="65"/>
                </a:lnTo>
                <a:lnTo>
                  <a:pt x="90" y="65"/>
                </a:lnTo>
                <a:lnTo>
                  <a:pt x="90" y="41"/>
                </a:lnTo>
                <a:close/>
                <a:moveTo>
                  <a:pt x="127" y="41"/>
                </a:moveTo>
                <a:lnTo>
                  <a:pt x="104" y="41"/>
                </a:lnTo>
                <a:lnTo>
                  <a:pt x="104" y="65"/>
                </a:lnTo>
                <a:lnTo>
                  <a:pt x="127" y="65"/>
                </a:lnTo>
                <a:lnTo>
                  <a:pt x="127" y="41"/>
                </a:lnTo>
                <a:close/>
                <a:moveTo>
                  <a:pt x="165" y="41"/>
                </a:moveTo>
                <a:lnTo>
                  <a:pt x="141" y="41"/>
                </a:lnTo>
                <a:lnTo>
                  <a:pt x="141" y="65"/>
                </a:lnTo>
                <a:lnTo>
                  <a:pt x="165" y="65"/>
                </a:lnTo>
                <a:lnTo>
                  <a:pt x="165" y="41"/>
                </a:lnTo>
                <a:close/>
                <a:moveTo>
                  <a:pt x="159" y="104"/>
                </a:moveTo>
                <a:lnTo>
                  <a:pt x="182" y="104"/>
                </a:lnTo>
                <a:lnTo>
                  <a:pt x="182" y="80"/>
                </a:lnTo>
                <a:lnTo>
                  <a:pt x="159" y="80"/>
                </a:lnTo>
                <a:lnTo>
                  <a:pt x="159" y="104"/>
                </a:lnTo>
                <a:close/>
                <a:moveTo>
                  <a:pt x="51" y="41"/>
                </a:moveTo>
                <a:lnTo>
                  <a:pt x="29" y="41"/>
                </a:lnTo>
                <a:lnTo>
                  <a:pt x="29" y="64"/>
                </a:lnTo>
                <a:lnTo>
                  <a:pt x="51" y="64"/>
                </a:lnTo>
                <a:lnTo>
                  <a:pt x="51" y="41"/>
                </a:lnTo>
                <a:close/>
                <a:moveTo>
                  <a:pt x="73" y="80"/>
                </a:moveTo>
                <a:lnTo>
                  <a:pt x="29" y="80"/>
                </a:lnTo>
                <a:lnTo>
                  <a:pt x="29" y="104"/>
                </a:lnTo>
                <a:lnTo>
                  <a:pt x="73" y="104"/>
                </a:lnTo>
                <a:lnTo>
                  <a:pt x="73" y="80"/>
                </a:lnTo>
                <a:close/>
                <a:moveTo>
                  <a:pt x="87" y="80"/>
                </a:moveTo>
                <a:lnTo>
                  <a:pt x="87" y="104"/>
                </a:lnTo>
                <a:lnTo>
                  <a:pt x="110" y="104"/>
                </a:lnTo>
                <a:lnTo>
                  <a:pt x="110" y="80"/>
                </a:lnTo>
                <a:lnTo>
                  <a:pt x="87" y="80"/>
                </a:lnTo>
                <a:close/>
                <a:moveTo>
                  <a:pt x="124" y="80"/>
                </a:moveTo>
                <a:lnTo>
                  <a:pt x="124" y="104"/>
                </a:lnTo>
                <a:lnTo>
                  <a:pt x="148" y="104"/>
                </a:lnTo>
                <a:lnTo>
                  <a:pt x="148" y="80"/>
                </a:lnTo>
                <a:lnTo>
                  <a:pt x="124" y="80"/>
                </a:lnTo>
                <a:close/>
                <a:moveTo>
                  <a:pt x="29" y="142"/>
                </a:moveTo>
                <a:lnTo>
                  <a:pt x="53" y="142"/>
                </a:lnTo>
                <a:lnTo>
                  <a:pt x="53" y="118"/>
                </a:lnTo>
                <a:lnTo>
                  <a:pt x="29" y="118"/>
                </a:lnTo>
                <a:lnTo>
                  <a:pt x="29" y="142"/>
                </a:lnTo>
                <a:close/>
                <a:moveTo>
                  <a:pt x="66" y="142"/>
                </a:moveTo>
                <a:lnTo>
                  <a:pt x="181" y="142"/>
                </a:lnTo>
                <a:lnTo>
                  <a:pt x="181" y="118"/>
                </a:lnTo>
                <a:lnTo>
                  <a:pt x="66" y="118"/>
                </a:lnTo>
                <a:lnTo>
                  <a:pt x="66" y="142"/>
                </a:lnTo>
                <a:close/>
                <a:moveTo>
                  <a:pt x="195" y="104"/>
                </a:moveTo>
                <a:lnTo>
                  <a:pt x="219" y="104"/>
                </a:lnTo>
                <a:lnTo>
                  <a:pt x="219" y="41"/>
                </a:lnTo>
                <a:lnTo>
                  <a:pt x="179" y="41"/>
                </a:lnTo>
                <a:lnTo>
                  <a:pt x="179" y="65"/>
                </a:lnTo>
                <a:lnTo>
                  <a:pt x="195" y="65"/>
                </a:lnTo>
                <a:lnTo>
                  <a:pt x="195" y="104"/>
                </a:lnTo>
                <a:close/>
                <a:moveTo>
                  <a:pt x="195" y="142"/>
                </a:moveTo>
                <a:lnTo>
                  <a:pt x="217" y="142"/>
                </a:lnTo>
                <a:lnTo>
                  <a:pt x="217" y="118"/>
                </a:lnTo>
                <a:lnTo>
                  <a:pt x="195" y="118"/>
                </a:lnTo>
                <a:lnTo>
                  <a:pt x="195" y="1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3" name="Freeform 146"/>
          <p:cNvSpPr>
            <a:spLocks noEditPoints="1"/>
          </p:cNvSpPr>
          <p:nvPr/>
        </p:nvSpPr>
        <p:spPr bwMode="auto">
          <a:xfrm>
            <a:off x="4546601" y="3958168"/>
            <a:ext cx="522817" cy="522817"/>
          </a:xfrm>
          <a:custGeom>
            <a:avLst/>
            <a:gdLst>
              <a:gd name="T0" fmla="*/ 431660075 w 174"/>
              <a:gd name="T1" fmla="*/ 365643119 h 174"/>
              <a:gd name="T2" fmla="*/ 604325006 w 174"/>
              <a:gd name="T3" fmla="*/ 553541866 h 174"/>
              <a:gd name="T4" fmla="*/ 441816703 w 174"/>
              <a:gd name="T5" fmla="*/ 0 h 174"/>
              <a:gd name="T6" fmla="*/ 441816703 w 174"/>
              <a:gd name="T7" fmla="*/ 0 h 174"/>
              <a:gd name="T8" fmla="*/ 655108147 w 174"/>
              <a:gd name="T9" fmla="*/ 192978188 h 174"/>
              <a:gd name="T10" fmla="*/ 563696240 w 174"/>
              <a:gd name="T11" fmla="*/ 182821559 h 174"/>
              <a:gd name="T12" fmla="*/ 573852868 w 174"/>
              <a:gd name="T13" fmla="*/ 142195047 h 174"/>
              <a:gd name="T14" fmla="*/ 523069728 w 174"/>
              <a:gd name="T15" fmla="*/ 137115606 h 174"/>
              <a:gd name="T16" fmla="*/ 507835913 w 174"/>
              <a:gd name="T17" fmla="*/ 152351675 h 174"/>
              <a:gd name="T18" fmla="*/ 472286587 w 174"/>
              <a:gd name="T19" fmla="*/ 137115606 h 174"/>
              <a:gd name="T20" fmla="*/ 416424006 w 174"/>
              <a:gd name="T21" fmla="*/ 126958978 h 174"/>
              <a:gd name="T22" fmla="*/ 401190191 w 174"/>
              <a:gd name="T23" fmla="*/ 126958978 h 174"/>
              <a:gd name="T24" fmla="*/ 396110750 w 174"/>
              <a:gd name="T25" fmla="*/ 208212003 h 174"/>
              <a:gd name="T26" fmla="*/ 441816703 w 174"/>
              <a:gd name="T27" fmla="*/ 223448072 h 174"/>
              <a:gd name="T28" fmla="*/ 487522656 w 174"/>
              <a:gd name="T29" fmla="*/ 162508303 h 174"/>
              <a:gd name="T30" fmla="*/ 543382984 w 174"/>
              <a:gd name="T31" fmla="*/ 192978188 h 174"/>
              <a:gd name="T32" fmla="*/ 497679284 w 174"/>
              <a:gd name="T33" fmla="*/ 264074584 h 174"/>
              <a:gd name="T34" fmla="*/ 548462425 w 174"/>
              <a:gd name="T35" fmla="*/ 274231212 h 174"/>
              <a:gd name="T36" fmla="*/ 594168378 w 174"/>
              <a:gd name="T37" fmla="*/ 269154025 h 174"/>
              <a:gd name="T38" fmla="*/ 528149169 w 174"/>
              <a:gd name="T39" fmla="*/ 279310653 h 174"/>
              <a:gd name="T40" fmla="*/ 472286587 w 174"/>
              <a:gd name="T41" fmla="*/ 325014353 h 174"/>
              <a:gd name="T42" fmla="*/ 446896144 w 174"/>
              <a:gd name="T43" fmla="*/ 355486491 h 174"/>
              <a:gd name="T44" fmla="*/ 365640865 w 174"/>
              <a:gd name="T45" fmla="*/ 380876934 h 174"/>
              <a:gd name="T46" fmla="*/ 391033562 w 174"/>
              <a:gd name="T47" fmla="*/ 451975585 h 174"/>
              <a:gd name="T48" fmla="*/ 426580634 w 174"/>
              <a:gd name="T49" fmla="*/ 492602097 h 174"/>
              <a:gd name="T50" fmla="*/ 507835913 w 174"/>
              <a:gd name="T51" fmla="*/ 482445469 h 174"/>
              <a:gd name="T52" fmla="*/ 589088937 w 174"/>
              <a:gd name="T53" fmla="*/ 517992541 h 174"/>
              <a:gd name="T54" fmla="*/ 614481634 w 174"/>
              <a:gd name="T55" fmla="*/ 553541866 h 174"/>
              <a:gd name="T56" fmla="*/ 695734659 w 174"/>
              <a:gd name="T57" fmla="*/ 578934563 h 174"/>
              <a:gd name="T58" fmla="*/ 660185334 w 174"/>
              <a:gd name="T59" fmla="*/ 670344216 h 174"/>
              <a:gd name="T60" fmla="*/ 619558822 w 174"/>
              <a:gd name="T61" fmla="*/ 705893541 h 174"/>
              <a:gd name="T62" fmla="*/ 573852868 w 174"/>
              <a:gd name="T63" fmla="*/ 751597241 h 174"/>
              <a:gd name="T64" fmla="*/ 512913100 w 174"/>
              <a:gd name="T65" fmla="*/ 817616450 h 174"/>
              <a:gd name="T66" fmla="*/ 477366028 w 174"/>
              <a:gd name="T67" fmla="*/ 807459822 h 174"/>
              <a:gd name="T68" fmla="*/ 492599844 w 174"/>
              <a:gd name="T69" fmla="*/ 690657472 h 174"/>
              <a:gd name="T70" fmla="*/ 436737262 w 174"/>
              <a:gd name="T71" fmla="*/ 578934563 h 174"/>
              <a:gd name="T72" fmla="*/ 446896144 w 174"/>
              <a:gd name="T73" fmla="*/ 502758725 h 174"/>
              <a:gd name="T74" fmla="*/ 380876934 w 174"/>
              <a:gd name="T75" fmla="*/ 472288841 h 174"/>
              <a:gd name="T76" fmla="*/ 284387841 w 174"/>
              <a:gd name="T77" fmla="*/ 416426260 h 174"/>
              <a:gd name="T78" fmla="*/ 264074584 w 174"/>
              <a:gd name="T79" fmla="*/ 401190191 h 174"/>
              <a:gd name="T80" fmla="*/ 203134816 w 174"/>
              <a:gd name="T81" fmla="*/ 340250422 h 174"/>
              <a:gd name="T82" fmla="*/ 172664931 w 174"/>
              <a:gd name="T83" fmla="*/ 233604700 h 174"/>
              <a:gd name="T84" fmla="*/ 299623910 w 174"/>
              <a:gd name="T85" fmla="*/ 86332466 h 174"/>
              <a:gd name="T86" fmla="*/ 279308400 w 174"/>
              <a:gd name="T87" fmla="*/ 111725163 h 174"/>
              <a:gd name="T88" fmla="*/ 330093794 w 174"/>
              <a:gd name="T89" fmla="*/ 106645722 h 174"/>
              <a:gd name="T90" fmla="*/ 370720306 w 174"/>
              <a:gd name="T91" fmla="*/ 96489094 h 174"/>
              <a:gd name="T92" fmla="*/ 385954122 w 174"/>
              <a:gd name="T93" fmla="*/ 71096397 h 174"/>
              <a:gd name="T94" fmla="*/ 360563678 w 174"/>
              <a:gd name="T95" fmla="*/ 55862581 h 174"/>
              <a:gd name="T96" fmla="*/ 487522656 w 174"/>
              <a:gd name="T97" fmla="*/ 60939769 h 174"/>
              <a:gd name="T98" fmla="*/ 517992541 w 174"/>
              <a:gd name="T99" fmla="*/ 55862581 h 174"/>
              <a:gd name="T100" fmla="*/ 802380381 w 174"/>
              <a:gd name="T101" fmla="*/ 325014353 h 174"/>
              <a:gd name="T102" fmla="*/ 827770825 w 174"/>
              <a:gd name="T103" fmla="*/ 365643119 h 174"/>
              <a:gd name="T104" fmla="*/ 797300940 w 174"/>
              <a:gd name="T105" fmla="*/ 350407050 h 174"/>
              <a:gd name="T106" fmla="*/ 782067125 w 174"/>
              <a:gd name="T107" fmla="*/ 507835913 h 174"/>
              <a:gd name="T108" fmla="*/ 792223753 w 174"/>
              <a:gd name="T109" fmla="*/ 426582888 h 174"/>
              <a:gd name="T110" fmla="*/ 832850266 w 174"/>
              <a:gd name="T111" fmla="*/ 441818957 h 17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74" h="174">
                <a:moveTo>
                  <a:pt x="85" y="72"/>
                </a:moveTo>
                <a:cubicBezTo>
                  <a:pt x="85" y="72"/>
                  <a:pt x="85" y="72"/>
                  <a:pt x="85" y="72"/>
                </a:cubicBezTo>
                <a:cubicBezTo>
                  <a:pt x="85" y="72"/>
                  <a:pt x="85" y="72"/>
                  <a:pt x="85" y="72"/>
                </a:cubicBezTo>
                <a:cubicBezTo>
                  <a:pt x="85" y="72"/>
                  <a:pt x="85" y="72"/>
                  <a:pt x="85" y="72"/>
                </a:cubicBezTo>
                <a:close/>
                <a:moveTo>
                  <a:pt x="119" y="109"/>
                </a:moveTo>
                <a:cubicBezTo>
                  <a:pt x="119" y="109"/>
                  <a:pt x="119" y="109"/>
                  <a:pt x="119" y="109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119" y="109"/>
                  <a:pt x="119" y="109"/>
                  <a:pt x="119" y="109"/>
                </a:cubicBezTo>
                <a:close/>
                <a:moveTo>
                  <a:pt x="120" y="109"/>
                </a:moveTo>
                <a:cubicBezTo>
                  <a:pt x="119" y="109"/>
                  <a:pt x="119" y="109"/>
                  <a:pt x="119" y="109"/>
                </a:cubicBezTo>
                <a:cubicBezTo>
                  <a:pt x="119" y="109"/>
                  <a:pt x="119" y="109"/>
                  <a:pt x="120" y="109"/>
                </a:cubicBezTo>
                <a:close/>
                <a:moveTo>
                  <a:pt x="87" y="0"/>
                </a:moveTo>
                <a:cubicBezTo>
                  <a:pt x="39" y="0"/>
                  <a:pt x="0" y="39"/>
                  <a:pt x="0" y="87"/>
                </a:cubicBezTo>
                <a:cubicBezTo>
                  <a:pt x="0" y="135"/>
                  <a:pt x="39" y="174"/>
                  <a:pt x="87" y="174"/>
                </a:cubicBezTo>
                <a:cubicBezTo>
                  <a:pt x="135" y="174"/>
                  <a:pt x="174" y="135"/>
                  <a:pt x="174" y="87"/>
                </a:cubicBezTo>
                <a:cubicBezTo>
                  <a:pt x="174" y="39"/>
                  <a:pt x="135" y="0"/>
                  <a:pt x="87" y="0"/>
                </a:cubicBezTo>
                <a:close/>
                <a:moveTo>
                  <a:pt x="143" y="34"/>
                </a:moveTo>
                <a:cubicBezTo>
                  <a:pt x="140" y="34"/>
                  <a:pt x="138" y="34"/>
                  <a:pt x="135" y="36"/>
                </a:cubicBezTo>
                <a:cubicBezTo>
                  <a:pt x="134" y="36"/>
                  <a:pt x="134" y="37"/>
                  <a:pt x="132" y="37"/>
                </a:cubicBezTo>
                <a:cubicBezTo>
                  <a:pt x="131" y="38"/>
                  <a:pt x="130" y="37"/>
                  <a:pt x="129" y="38"/>
                </a:cubicBezTo>
                <a:cubicBezTo>
                  <a:pt x="125" y="39"/>
                  <a:pt x="126" y="48"/>
                  <a:pt x="120" y="46"/>
                </a:cubicBezTo>
                <a:cubicBezTo>
                  <a:pt x="118" y="46"/>
                  <a:pt x="116" y="43"/>
                  <a:pt x="115" y="41"/>
                </a:cubicBezTo>
                <a:cubicBezTo>
                  <a:pt x="114" y="39"/>
                  <a:pt x="112" y="38"/>
                  <a:pt x="113" y="36"/>
                </a:cubicBezTo>
                <a:cubicBezTo>
                  <a:pt x="113" y="36"/>
                  <a:pt x="112" y="36"/>
                  <a:pt x="111" y="36"/>
                </a:cubicBezTo>
                <a:cubicBezTo>
                  <a:pt x="112" y="34"/>
                  <a:pt x="115" y="34"/>
                  <a:pt x="116" y="33"/>
                </a:cubicBezTo>
                <a:cubicBezTo>
                  <a:pt x="117" y="31"/>
                  <a:pt x="112" y="31"/>
                  <a:pt x="111" y="30"/>
                </a:cubicBezTo>
                <a:cubicBezTo>
                  <a:pt x="113" y="29"/>
                  <a:pt x="113" y="31"/>
                  <a:pt x="115" y="31"/>
                </a:cubicBezTo>
                <a:cubicBezTo>
                  <a:pt x="116" y="30"/>
                  <a:pt x="114" y="28"/>
                  <a:pt x="113" y="28"/>
                </a:cubicBezTo>
                <a:cubicBezTo>
                  <a:pt x="113" y="28"/>
                  <a:pt x="108" y="30"/>
                  <a:pt x="111" y="27"/>
                </a:cubicBezTo>
                <a:cubicBezTo>
                  <a:pt x="107" y="25"/>
                  <a:pt x="104" y="22"/>
                  <a:pt x="100" y="20"/>
                </a:cubicBezTo>
                <a:cubicBezTo>
                  <a:pt x="100" y="23"/>
                  <a:pt x="105" y="24"/>
                  <a:pt x="107" y="25"/>
                </a:cubicBezTo>
                <a:cubicBezTo>
                  <a:pt x="106" y="26"/>
                  <a:pt x="105" y="28"/>
                  <a:pt x="103" y="27"/>
                </a:cubicBezTo>
                <a:cubicBezTo>
                  <a:pt x="102" y="27"/>
                  <a:pt x="103" y="25"/>
                  <a:pt x="101" y="25"/>
                </a:cubicBezTo>
                <a:cubicBezTo>
                  <a:pt x="100" y="28"/>
                  <a:pt x="104" y="27"/>
                  <a:pt x="104" y="29"/>
                </a:cubicBezTo>
                <a:cubicBezTo>
                  <a:pt x="104" y="31"/>
                  <a:pt x="103" y="30"/>
                  <a:pt x="102" y="30"/>
                </a:cubicBezTo>
                <a:cubicBezTo>
                  <a:pt x="102" y="30"/>
                  <a:pt x="100" y="29"/>
                  <a:pt x="100" y="30"/>
                </a:cubicBezTo>
                <a:cubicBezTo>
                  <a:pt x="100" y="31"/>
                  <a:pt x="102" y="30"/>
                  <a:pt x="103" y="32"/>
                </a:cubicBezTo>
                <a:cubicBezTo>
                  <a:pt x="100" y="32"/>
                  <a:pt x="99" y="31"/>
                  <a:pt x="96" y="29"/>
                </a:cubicBezTo>
                <a:cubicBezTo>
                  <a:pt x="94" y="28"/>
                  <a:pt x="93" y="28"/>
                  <a:pt x="90" y="28"/>
                </a:cubicBezTo>
                <a:cubicBezTo>
                  <a:pt x="90" y="28"/>
                  <a:pt x="92" y="27"/>
                  <a:pt x="93" y="27"/>
                </a:cubicBezTo>
                <a:cubicBezTo>
                  <a:pt x="93" y="26"/>
                  <a:pt x="95" y="25"/>
                  <a:pt x="95" y="24"/>
                </a:cubicBezTo>
                <a:cubicBezTo>
                  <a:pt x="95" y="23"/>
                  <a:pt x="95" y="23"/>
                  <a:pt x="93" y="22"/>
                </a:cubicBezTo>
                <a:cubicBezTo>
                  <a:pt x="92" y="21"/>
                  <a:pt x="90" y="19"/>
                  <a:pt x="89" y="19"/>
                </a:cubicBezTo>
                <a:cubicBezTo>
                  <a:pt x="83" y="18"/>
                  <a:pt x="87" y="24"/>
                  <a:pt x="82" y="25"/>
                </a:cubicBezTo>
                <a:cubicBezTo>
                  <a:pt x="82" y="25"/>
                  <a:pt x="83" y="25"/>
                  <a:pt x="83" y="25"/>
                </a:cubicBezTo>
                <a:cubicBezTo>
                  <a:pt x="82" y="25"/>
                  <a:pt x="82" y="25"/>
                  <a:pt x="82" y="25"/>
                </a:cubicBezTo>
                <a:cubicBezTo>
                  <a:pt x="82" y="25"/>
                  <a:pt x="82" y="25"/>
                  <a:pt x="82" y="25"/>
                </a:cubicBezTo>
                <a:cubicBezTo>
                  <a:pt x="81" y="25"/>
                  <a:pt x="79" y="25"/>
                  <a:pt x="79" y="25"/>
                </a:cubicBezTo>
                <a:cubicBezTo>
                  <a:pt x="78" y="26"/>
                  <a:pt x="78" y="27"/>
                  <a:pt x="78" y="28"/>
                </a:cubicBezTo>
                <a:cubicBezTo>
                  <a:pt x="77" y="29"/>
                  <a:pt x="75" y="29"/>
                  <a:pt x="74" y="30"/>
                </a:cubicBezTo>
                <a:cubicBezTo>
                  <a:pt x="73" y="31"/>
                  <a:pt x="71" y="32"/>
                  <a:pt x="70" y="34"/>
                </a:cubicBezTo>
                <a:cubicBezTo>
                  <a:pt x="68" y="38"/>
                  <a:pt x="75" y="39"/>
                  <a:pt x="78" y="41"/>
                </a:cubicBezTo>
                <a:cubicBezTo>
                  <a:pt x="80" y="41"/>
                  <a:pt x="84" y="42"/>
                  <a:pt x="84" y="43"/>
                </a:cubicBezTo>
                <a:cubicBezTo>
                  <a:pt x="85" y="44"/>
                  <a:pt x="83" y="46"/>
                  <a:pt x="85" y="47"/>
                </a:cubicBezTo>
                <a:cubicBezTo>
                  <a:pt x="86" y="47"/>
                  <a:pt x="87" y="47"/>
                  <a:pt x="88" y="46"/>
                </a:cubicBezTo>
                <a:cubicBezTo>
                  <a:pt x="89" y="45"/>
                  <a:pt x="88" y="45"/>
                  <a:pt x="87" y="44"/>
                </a:cubicBezTo>
                <a:cubicBezTo>
                  <a:pt x="87" y="42"/>
                  <a:pt x="88" y="43"/>
                  <a:pt x="89" y="42"/>
                </a:cubicBezTo>
                <a:cubicBezTo>
                  <a:pt x="91" y="40"/>
                  <a:pt x="90" y="40"/>
                  <a:pt x="90" y="37"/>
                </a:cubicBezTo>
                <a:cubicBezTo>
                  <a:pt x="89" y="36"/>
                  <a:pt x="88" y="33"/>
                  <a:pt x="89" y="32"/>
                </a:cubicBezTo>
                <a:cubicBezTo>
                  <a:pt x="91" y="30"/>
                  <a:pt x="94" y="32"/>
                  <a:pt x="96" y="32"/>
                </a:cubicBezTo>
                <a:cubicBezTo>
                  <a:pt x="97" y="33"/>
                  <a:pt x="98" y="35"/>
                  <a:pt x="99" y="36"/>
                </a:cubicBezTo>
                <a:cubicBezTo>
                  <a:pt x="99" y="36"/>
                  <a:pt x="100" y="37"/>
                  <a:pt x="101" y="37"/>
                </a:cubicBezTo>
                <a:cubicBezTo>
                  <a:pt x="103" y="37"/>
                  <a:pt x="102" y="36"/>
                  <a:pt x="103" y="35"/>
                </a:cubicBezTo>
                <a:cubicBezTo>
                  <a:pt x="105" y="33"/>
                  <a:pt x="106" y="36"/>
                  <a:pt x="107" y="38"/>
                </a:cubicBezTo>
                <a:cubicBezTo>
                  <a:pt x="108" y="40"/>
                  <a:pt x="108" y="41"/>
                  <a:pt x="110" y="42"/>
                </a:cubicBezTo>
                <a:cubicBezTo>
                  <a:pt x="111" y="42"/>
                  <a:pt x="114" y="45"/>
                  <a:pt x="113" y="46"/>
                </a:cubicBezTo>
                <a:cubicBezTo>
                  <a:pt x="113" y="47"/>
                  <a:pt x="110" y="48"/>
                  <a:pt x="109" y="49"/>
                </a:cubicBezTo>
                <a:cubicBezTo>
                  <a:pt x="105" y="50"/>
                  <a:pt x="99" y="47"/>
                  <a:pt x="98" y="52"/>
                </a:cubicBezTo>
                <a:cubicBezTo>
                  <a:pt x="99" y="52"/>
                  <a:pt x="103" y="49"/>
                  <a:pt x="104" y="50"/>
                </a:cubicBezTo>
                <a:cubicBezTo>
                  <a:pt x="105" y="51"/>
                  <a:pt x="104" y="52"/>
                  <a:pt x="104" y="53"/>
                </a:cubicBezTo>
                <a:cubicBezTo>
                  <a:pt x="105" y="55"/>
                  <a:pt x="106" y="54"/>
                  <a:pt x="108" y="53"/>
                </a:cubicBezTo>
                <a:cubicBezTo>
                  <a:pt x="108" y="54"/>
                  <a:pt x="108" y="54"/>
                  <a:pt x="108" y="54"/>
                </a:cubicBezTo>
                <a:cubicBezTo>
                  <a:pt x="110" y="53"/>
                  <a:pt x="110" y="53"/>
                  <a:pt x="111" y="51"/>
                </a:cubicBezTo>
                <a:cubicBezTo>
                  <a:pt x="111" y="50"/>
                  <a:pt x="112" y="49"/>
                  <a:pt x="112" y="48"/>
                </a:cubicBezTo>
                <a:cubicBezTo>
                  <a:pt x="114" y="47"/>
                  <a:pt x="114" y="48"/>
                  <a:pt x="115" y="49"/>
                </a:cubicBezTo>
                <a:cubicBezTo>
                  <a:pt x="115" y="49"/>
                  <a:pt x="118" y="53"/>
                  <a:pt x="117" y="53"/>
                </a:cubicBezTo>
                <a:cubicBezTo>
                  <a:pt x="114" y="52"/>
                  <a:pt x="111" y="52"/>
                  <a:pt x="109" y="54"/>
                </a:cubicBezTo>
                <a:cubicBezTo>
                  <a:pt x="107" y="55"/>
                  <a:pt x="106" y="56"/>
                  <a:pt x="104" y="57"/>
                </a:cubicBezTo>
                <a:cubicBezTo>
                  <a:pt x="104" y="57"/>
                  <a:pt x="101" y="57"/>
                  <a:pt x="101" y="57"/>
                </a:cubicBezTo>
                <a:cubicBezTo>
                  <a:pt x="102" y="56"/>
                  <a:pt x="104" y="55"/>
                  <a:pt x="104" y="55"/>
                </a:cubicBezTo>
                <a:cubicBezTo>
                  <a:pt x="102" y="54"/>
                  <a:pt x="101" y="55"/>
                  <a:pt x="99" y="57"/>
                </a:cubicBezTo>
                <a:cubicBezTo>
                  <a:pt x="98" y="57"/>
                  <a:pt x="97" y="59"/>
                  <a:pt x="96" y="60"/>
                </a:cubicBezTo>
                <a:cubicBezTo>
                  <a:pt x="95" y="60"/>
                  <a:pt x="94" y="61"/>
                  <a:pt x="94" y="61"/>
                </a:cubicBezTo>
                <a:cubicBezTo>
                  <a:pt x="93" y="62"/>
                  <a:pt x="93" y="63"/>
                  <a:pt x="93" y="64"/>
                </a:cubicBezTo>
                <a:cubicBezTo>
                  <a:pt x="92" y="64"/>
                  <a:pt x="91" y="64"/>
                  <a:pt x="91" y="64"/>
                </a:cubicBezTo>
                <a:cubicBezTo>
                  <a:pt x="90" y="65"/>
                  <a:pt x="91" y="66"/>
                  <a:pt x="91" y="67"/>
                </a:cubicBezTo>
                <a:cubicBezTo>
                  <a:pt x="91" y="68"/>
                  <a:pt x="88" y="69"/>
                  <a:pt x="88" y="70"/>
                </a:cubicBezTo>
                <a:cubicBezTo>
                  <a:pt x="88" y="70"/>
                  <a:pt x="88" y="70"/>
                  <a:pt x="88" y="70"/>
                </a:cubicBezTo>
                <a:cubicBezTo>
                  <a:pt x="87" y="70"/>
                  <a:pt x="86" y="71"/>
                  <a:pt x="85" y="72"/>
                </a:cubicBezTo>
                <a:cubicBezTo>
                  <a:pt x="86" y="74"/>
                  <a:pt x="87" y="77"/>
                  <a:pt x="86" y="78"/>
                </a:cubicBezTo>
                <a:cubicBezTo>
                  <a:pt x="85" y="81"/>
                  <a:pt x="84" y="76"/>
                  <a:pt x="83" y="75"/>
                </a:cubicBezTo>
                <a:cubicBezTo>
                  <a:pt x="81" y="72"/>
                  <a:pt x="76" y="74"/>
                  <a:pt x="72" y="75"/>
                </a:cubicBezTo>
                <a:cubicBezTo>
                  <a:pt x="68" y="75"/>
                  <a:pt x="64" y="80"/>
                  <a:pt x="67" y="85"/>
                </a:cubicBezTo>
                <a:cubicBezTo>
                  <a:pt x="68" y="87"/>
                  <a:pt x="70" y="88"/>
                  <a:pt x="72" y="87"/>
                </a:cubicBezTo>
                <a:cubicBezTo>
                  <a:pt x="75" y="87"/>
                  <a:pt x="75" y="84"/>
                  <a:pt x="77" y="84"/>
                </a:cubicBezTo>
                <a:cubicBezTo>
                  <a:pt x="81" y="84"/>
                  <a:pt x="77" y="87"/>
                  <a:pt x="77" y="89"/>
                </a:cubicBezTo>
                <a:cubicBezTo>
                  <a:pt x="77" y="90"/>
                  <a:pt x="77" y="90"/>
                  <a:pt x="79" y="90"/>
                </a:cubicBezTo>
                <a:cubicBezTo>
                  <a:pt x="80" y="91"/>
                  <a:pt x="81" y="90"/>
                  <a:pt x="82" y="91"/>
                </a:cubicBezTo>
                <a:cubicBezTo>
                  <a:pt x="82" y="91"/>
                  <a:pt x="82" y="93"/>
                  <a:pt x="83" y="92"/>
                </a:cubicBezTo>
                <a:cubicBezTo>
                  <a:pt x="82" y="93"/>
                  <a:pt x="82" y="96"/>
                  <a:pt x="84" y="97"/>
                </a:cubicBezTo>
                <a:cubicBezTo>
                  <a:pt x="85" y="98"/>
                  <a:pt x="87" y="97"/>
                  <a:pt x="89" y="98"/>
                </a:cubicBezTo>
                <a:cubicBezTo>
                  <a:pt x="92" y="99"/>
                  <a:pt x="90" y="98"/>
                  <a:pt x="93" y="96"/>
                </a:cubicBezTo>
                <a:cubicBezTo>
                  <a:pt x="95" y="95"/>
                  <a:pt x="95" y="96"/>
                  <a:pt x="97" y="96"/>
                </a:cubicBezTo>
                <a:cubicBezTo>
                  <a:pt x="98" y="96"/>
                  <a:pt x="98" y="95"/>
                  <a:pt x="100" y="95"/>
                </a:cubicBezTo>
                <a:cubicBezTo>
                  <a:pt x="101" y="95"/>
                  <a:pt x="101" y="96"/>
                  <a:pt x="103" y="97"/>
                </a:cubicBezTo>
                <a:cubicBezTo>
                  <a:pt x="103" y="97"/>
                  <a:pt x="104" y="96"/>
                  <a:pt x="105" y="96"/>
                </a:cubicBezTo>
                <a:cubicBezTo>
                  <a:pt x="107" y="97"/>
                  <a:pt x="109" y="98"/>
                  <a:pt x="111" y="100"/>
                </a:cubicBezTo>
                <a:cubicBezTo>
                  <a:pt x="113" y="101"/>
                  <a:pt x="114" y="101"/>
                  <a:pt x="116" y="102"/>
                </a:cubicBezTo>
                <a:cubicBezTo>
                  <a:pt x="118" y="102"/>
                  <a:pt x="120" y="104"/>
                  <a:pt x="120" y="106"/>
                </a:cubicBezTo>
                <a:cubicBezTo>
                  <a:pt x="120" y="106"/>
                  <a:pt x="119" y="108"/>
                  <a:pt x="119" y="109"/>
                </a:cubicBezTo>
                <a:cubicBezTo>
                  <a:pt x="119" y="109"/>
                  <a:pt x="122" y="108"/>
                  <a:pt x="123" y="108"/>
                </a:cubicBezTo>
                <a:cubicBezTo>
                  <a:pt x="122" y="109"/>
                  <a:pt x="121" y="110"/>
                  <a:pt x="121" y="109"/>
                </a:cubicBezTo>
                <a:cubicBezTo>
                  <a:pt x="121" y="110"/>
                  <a:pt x="122" y="110"/>
                  <a:pt x="122" y="111"/>
                </a:cubicBezTo>
                <a:cubicBezTo>
                  <a:pt x="123" y="108"/>
                  <a:pt x="125" y="109"/>
                  <a:pt x="126" y="110"/>
                </a:cubicBezTo>
                <a:cubicBezTo>
                  <a:pt x="128" y="111"/>
                  <a:pt x="130" y="111"/>
                  <a:pt x="132" y="111"/>
                </a:cubicBezTo>
                <a:cubicBezTo>
                  <a:pt x="133" y="112"/>
                  <a:pt x="136" y="113"/>
                  <a:pt x="137" y="114"/>
                </a:cubicBezTo>
                <a:cubicBezTo>
                  <a:pt x="138" y="115"/>
                  <a:pt x="138" y="117"/>
                  <a:pt x="137" y="119"/>
                </a:cubicBezTo>
                <a:cubicBezTo>
                  <a:pt x="135" y="121"/>
                  <a:pt x="134" y="121"/>
                  <a:pt x="133" y="123"/>
                </a:cubicBezTo>
                <a:cubicBezTo>
                  <a:pt x="132" y="125"/>
                  <a:pt x="133" y="127"/>
                  <a:pt x="132" y="129"/>
                </a:cubicBezTo>
                <a:cubicBezTo>
                  <a:pt x="132" y="131"/>
                  <a:pt x="131" y="130"/>
                  <a:pt x="130" y="132"/>
                </a:cubicBezTo>
                <a:cubicBezTo>
                  <a:pt x="128" y="133"/>
                  <a:pt x="130" y="133"/>
                  <a:pt x="128" y="134"/>
                </a:cubicBezTo>
                <a:cubicBezTo>
                  <a:pt x="126" y="135"/>
                  <a:pt x="124" y="134"/>
                  <a:pt x="123" y="137"/>
                </a:cubicBezTo>
                <a:cubicBezTo>
                  <a:pt x="123" y="136"/>
                  <a:pt x="123" y="136"/>
                  <a:pt x="123" y="136"/>
                </a:cubicBezTo>
                <a:cubicBezTo>
                  <a:pt x="123" y="137"/>
                  <a:pt x="122" y="138"/>
                  <a:pt x="122" y="139"/>
                </a:cubicBezTo>
                <a:cubicBezTo>
                  <a:pt x="121" y="140"/>
                  <a:pt x="121" y="141"/>
                  <a:pt x="120" y="142"/>
                </a:cubicBezTo>
                <a:cubicBezTo>
                  <a:pt x="119" y="143"/>
                  <a:pt x="115" y="148"/>
                  <a:pt x="115" y="147"/>
                </a:cubicBezTo>
                <a:cubicBezTo>
                  <a:pt x="115" y="147"/>
                  <a:pt x="112" y="148"/>
                  <a:pt x="112" y="147"/>
                </a:cubicBezTo>
                <a:cubicBezTo>
                  <a:pt x="112" y="148"/>
                  <a:pt x="112" y="148"/>
                  <a:pt x="113" y="148"/>
                </a:cubicBezTo>
                <a:cubicBezTo>
                  <a:pt x="112" y="152"/>
                  <a:pt x="110" y="153"/>
                  <a:pt x="106" y="153"/>
                </a:cubicBezTo>
                <a:cubicBezTo>
                  <a:pt x="107" y="155"/>
                  <a:pt x="105" y="154"/>
                  <a:pt x="104" y="155"/>
                </a:cubicBezTo>
                <a:cubicBezTo>
                  <a:pt x="103" y="156"/>
                  <a:pt x="103" y="158"/>
                  <a:pt x="103" y="158"/>
                </a:cubicBezTo>
                <a:cubicBezTo>
                  <a:pt x="103" y="159"/>
                  <a:pt x="101" y="161"/>
                  <a:pt x="101" y="161"/>
                </a:cubicBezTo>
                <a:cubicBezTo>
                  <a:pt x="101" y="162"/>
                  <a:pt x="102" y="162"/>
                  <a:pt x="102" y="163"/>
                </a:cubicBezTo>
                <a:cubicBezTo>
                  <a:pt x="99" y="163"/>
                  <a:pt x="96" y="164"/>
                  <a:pt x="93" y="164"/>
                </a:cubicBezTo>
                <a:cubicBezTo>
                  <a:pt x="94" y="163"/>
                  <a:pt x="94" y="163"/>
                  <a:pt x="92" y="163"/>
                </a:cubicBezTo>
                <a:cubicBezTo>
                  <a:pt x="93" y="161"/>
                  <a:pt x="94" y="161"/>
                  <a:pt x="94" y="159"/>
                </a:cubicBezTo>
                <a:cubicBezTo>
                  <a:pt x="94" y="159"/>
                  <a:pt x="94" y="159"/>
                  <a:pt x="94" y="158"/>
                </a:cubicBezTo>
                <a:cubicBezTo>
                  <a:pt x="95" y="156"/>
                  <a:pt x="95" y="157"/>
                  <a:pt x="94" y="155"/>
                </a:cubicBezTo>
                <a:cubicBezTo>
                  <a:pt x="94" y="152"/>
                  <a:pt x="95" y="151"/>
                  <a:pt x="96" y="147"/>
                </a:cubicBezTo>
                <a:cubicBezTo>
                  <a:pt x="97" y="144"/>
                  <a:pt x="97" y="139"/>
                  <a:pt x="97" y="136"/>
                </a:cubicBezTo>
                <a:cubicBezTo>
                  <a:pt x="98" y="134"/>
                  <a:pt x="98" y="130"/>
                  <a:pt x="98" y="129"/>
                </a:cubicBezTo>
                <a:cubicBezTo>
                  <a:pt x="97" y="127"/>
                  <a:pt x="94" y="125"/>
                  <a:pt x="92" y="124"/>
                </a:cubicBezTo>
                <a:cubicBezTo>
                  <a:pt x="90" y="122"/>
                  <a:pt x="89" y="120"/>
                  <a:pt x="88" y="118"/>
                </a:cubicBezTo>
                <a:cubicBezTo>
                  <a:pt x="87" y="117"/>
                  <a:pt x="86" y="116"/>
                  <a:pt x="86" y="114"/>
                </a:cubicBezTo>
                <a:cubicBezTo>
                  <a:pt x="85" y="112"/>
                  <a:pt x="86" y="113"/>
                  <a:pt x="86" y="112"/>
                </a:cubicBezTo>
                <a:cubicBezTo>
                  <a:pt x="86" y="110"/>
                  <a:pt x="86" y="109"/>
                  <a:pt x="86" y="107"/>
                </a:cubicBezTo>
                <a:cubicBezTo>
                  <a:pt x="87" y="106"/>
                  <a:pt x="89" y="105"/>
                  <a:pt x="89" y="103"/>
                </a:cubicBezTo>
                <a:cubicBezTo>
                  <a:pt x="90" y="101"/>
                  <a:pt x="89" y="99"/>
                  <a:pt x="88" y="99"/>
                </a:cubicBezTo>
                <a:cubicBezTo>
                  <a:pt x="87" y="99"/>
                  <a:pt x="86" y="99"/>
                  <a:pt x="85" y="99"/>
                </a:cubicBezTo>
                <a:cubicBezTo>
                  <a:pt x="84" y="99"/>
                  <a:pt x="82" y="98"/>
                  <a:pt x="81" y="97"/>
                </a:cubicBezTo>
                <a:cubicBezTo>
                  <a:pt x="80" y="96"/>
                  <a:pt x="79" y="94"/>
                  <a:pt x="78" y="93"/>
                </a:cubicBezTo>
                <a:cubicBezTo>
                  <a:pt x="77" y="93"/>
                  <a:pt x="76" y="93"/>
                  <a:pt x="75" y="93"/>
                </a:cubicBezTo>
                <a:cubicBezTo>
                  <a:pt x="73" y="92"/>
                  <a:pt x="72" y="91"/>
                  <a:pt x="71" y="90"/>
                </a:cubicBezTo>
                <a:cubicBezTo>
                  <a:pt x="70" y="89"/>
                  <a:pt x="69" y="90"/>
                  <a:pt x="67" y="90"/>
                </a:cubicBezTo>
                <a:cubicBezTo>
                  <a:pt x="65" y="90"/>
                  <a:pt x="63" y="88"/>
                  <a:pt x="62" y="88"/>
                </a:cubicBezTo>
                <a:cubicBezTo>
                  <a:pt x="59" y="87"/>
                  <a:pt x="57" y="85"/>
                  <a:pt x="56" y="82"/>
                </a:cubicBezTo>
                <a:cubicBezTo>
                  <a:pt x="55" y="80"/>
                  <a:pt x="54" y="79"/>
                  <a:pt x="52" y="77"/>
                </a:cubicBezTo>
                <a:cubicBezTo>
                  <a:pt x="51" y="75"/>
                  <a:pt x="50" y="73"/>
                  <a:pt x="47" y="72"/>
                </a:cubicBezTo>
                <a:cubicBezTo>
                  <a:pt x="47" y="72"/>
                  <a:pt x="48" y="74"/>
                  <a:pt x="48" y="75"/>
                </a:cubicBezTo>
                <a:cubicBezTo>
                  <a:pt x="49" y="76"/>
                  <a:pt x="50" y="78"/>
                  <a:pt x="52" y="79"/>
                </a:cubicBezTo>
                <a:cubicBezTo>
                  <a:pt x="53" y="82"/>
                  <a:pt x="52" y="82"/>
                  <a:pt x="51" y="80"/>
                </a:cubicBezTo>
                <a:cubicBezTo>
                  <a:pt x="49" y="77"/>
                  <a:pt x="47" y="75"/>
                  <a:pt x="45" y="72"/>
                </a:cubicBezTo>
                <a:cubicBezTo>
                  <a:pt x="44" y="71"/>
                  <a:pt x="45" y="70"/>
                  <a:pt x="44" y="69"/>
                </a:cubicBezTo>
                <a:cubicBezTo>
                  <a:pt x="43" y="68"/>
                  <a:pt x="41" y="68"/>
                  <a:pt x="40" y="67"/>
                </a:cubicBezTo>
                <a:cubicBezTo>
                  <a:pt x="37" y="64"/>
                  <a:pt x="36" y="59"/>
                  <a:pt x="36" y="55"/>
                </a:cubicBezTo>
                <a:cubicBezTo>
                  <a:pt x="36" y="53"/>
                  <a:pt x="37" y="52"/>
                  <a:pt x="37" y="51"/>
                </a:cubicBezTo>
                <a:cubicBezTo>
                  <a:pt x="37" y="49"/>
                  <a:pt x="36" y="48"/>
                  <a:pt x="35" y="48"/>
                </a:cubicBezTo>
                <a:cubicBezTo>
                  <a:pt x="35" y="47"/>
                  <a:pt x="34" y="46"/>
                  <a:pt x="34" y="46"/>
                </a:cubicBezTo>
                <a:cubicBezTo>
                  <a:pt x="33" y="45"/>
                  <a:pt x="32" y="43"/>
                  <a:pt x="31" y="42"/>
                </a:cubicBezTo>
                <a:cubicBezTo>
                  <a:pt x="30" y="41"/>
                  <a:pt x="28" y="40"/>
                  <a:pt x="27" y="39"/>
                </a:cubicBezTo>
                <a:cubicBezTo>
                  <a:pt x="35" y="29"/>
                  <a:pt x="46" y="20"/>
                  <a:pt x="58" y="15"/>
                </a:cubicBezTo>
                <a:cubicBezTo>
                  <a:pt x="58" y="16"/>
                  <a:pt x="58" y="17"/>
                  <a:pt x="59" y="17"/>
                </a:cubicBezTo>
                <a:cubicBezTo>
                  <a:pt x="60" y="19"/>
                  <a:pt x="61" y="19"/>
                  <a:pt x="63" y="19"/>
                </a:cubicBezTo>
                <a:cubicBezTo>
                  <a:pt x="62" y="21"/>
                  <a:pt x="60" y="21"/>
                  <a:pt x="58" y="21"/>
                </a:cubicBezTo>
                <a:cubicBezTo>
                  <a:pt x="56" y="21"/>
                  <a:pt x="53" y="20"/>
                  <a:pt x="52" y="22"/>
                </a:cubicBezTo>
                <a:cubicBezTo>
                  <a:pt x="53" y="23"/>
                  <a:pt x="55" y="25"/>
                  <a:pt x="55" y="22"/>
                </a:cubicBezTo>
                <a:cubicBezTo>
                  <a:pt x="57" y="22"/>
                  <a:pt x="59" y="22"/>
                  <a:pt x="61" y="23"/>
                </a:cubicBezTo>
                <a:cubicBezTo>
                  <a:pt x="62" y="23"/>
                  <a:pt x="65" y="24"/>
                  <a:pt x="65" y="23"/>
                </a:cubicBezTo>
                <a:cubicBezTo>
                  <a:pt x="66" y="23"/>
                  <a:pt x="66" y="21"/>
                  <a:pt x="66" y="21"/>
                </a:cubicBezTo>
                <a:cubicBezTo>
                  <a:pt x="66" y="21"/>
                  <a:pt x="65" y="21"/>
                  <a:pt x="65" y="21"/>
                </a:cubicBezTo>
                <a:cubicBezTo>
                  <a:pt x="66" y="19"/>
                  <a:pt x="67" y="20"/>
                  <a:pt x="69" y="21"/>
                </a:cubicBezTo>
                <a:cubicBezTo>
                  <a:pt x="67" y="22"/>
                  <a:pt x="68" y="25"/>
                  <a:pt x="70" y="23"/>
                </a:cubicBezTo>
                <a:cubicBezTo>
                  <a:pt x="72" y="21"/>
                  <a:pt x="70" y="20"/>
                  <a:pt x="68" y="19"/>
                </a:cubicBezTo>
                <a:cubicBezTo>
                  <a:pt x="70" y="16"/>
                  <a:pt x="71" y="16"/>
                  <a:pt x="73" y="19"/>
                </a:cubicBezTo>
                <a:cubicBezTo>
                  <a:pt x="73" y="17"/>
                  <a:pt x="74" y="18"/>
                  <a:pt x="76" y="18"/>
                </a:cubicBezTo>
                <a:cubicBezTo>
                  <a:pt x="76" y="17"/>
                  <a:pt x="76" y="17"/>
                  <a:pt x="76" y="17"/>
                </a:cubicBezTo>
                <a:cubicBezTo>
                  <a:pt x="75" y="17"/>
                  <a:pt x="74" y="17"/>
                  <a:pt x="74" y="17"/>
                </a:cubicBezTo>
                <a:cubicBezTo>
                  <a:pt x="75" y="15"/>
                  <a:pt x="74" y="14"/>
                  <a:pt x="76" y="14"/>
                </a:cubicBezTo>
                <a:cubicBezTo>
                  <a:pt x="78" y="13"/>
                  <a:pt x="83" y="13"/>
                  <a:pt x="83" y="12"/>
                </a:cubicBezTo>
                <a:cubicBezTo>
                  <a:pt x="80" y="13"/>
                  <a:pt x="76" y="13"/>
                  <a:pt x="73" y="14"/>
                </a:cubicBezTo>
                <a:cubicBezTo>
                  <a:pt x="72" y="15"/>
                  <a:pt x="70" y="17"/>
                  <a:pt x="69" y="16"/>
                </a:cubicBezTo>
                <a:cubicBezTo>
                  <a:pt x="68" y="14"/>
                  <a:pt x="70" y="12"/>
                  <a:pt x="71" y="11"/>
                </a:cubicBezTo>
                <a:cubicBezTo>
                  <a:pt x="71" y="11"/>
                  <a:pt x="71" y="11"/>
                  <a:pt x="71" y="11"/>
                </a:cubicBezTo>
                <a:cubicBezTo>
                  <a:pt x="76" y="10"/>
                  <a:pt x="81" y="10"/>
                  <a:pt x="87" y="10"/>
                </a:cubicBezTo>
                <a:cubicBezTo>
                  <a:pt x="91" y="10"/>
                  <a:pt x="94" y="10"/>
                  <a:pt x="98" y="10"/>
                </a:cubicBezTo>
                <a:cubicBezTo>
                  <a:pt x="96" y="11"/>
                  <a:pt x="97" y="11"/>
                  <a:pt x="96" y="12"/>
                </a:cubicBezTo>
                <a:cubicBezTo>
                  <a:pt x="95" y="13"/>
                  <a:pt x="92" y="14"/>
                  <a:pt x="90" y="15"/>
                </a:cubicBezTo>
                <a:cubicBezTo>
                  <a:pt x="92" y="15"/>
                  <a:pt x="98" y="17"/>
                  <a:pt x="100" y="14"/>
                </a:cubicBezTo>
                <a:cubicBezTo>
                  <a:pt x="99" y="14"/>
                  <a:pt x="98" y="14"/>
                  <a:pt x="97" y="14"/>
                </a:cubicBezTo>
                <a:cubicBezTo>
                  <a:pt x="99" y="13"/>
                  <a:pt x="100" y="12"/>
                  <a:pt x="102" y="11"/>
                </a:cubicBezTo>
                <a:cubicBezTo>
                  <a:pt x="118" y="14"/>
                  <a:pt x="132" y="22"/>
                  <a:pt x="143" y="34"/>
                </a:cubicBezTo>
                <a:cubicBezTo>
                  <a:pt x="143" y="34"/>
                  <a:pt x="143" y="34"/>
                  <a:pt x="143" y="34"/>
                </a:cubicBezTo>
                <a:close/>
                <a:moveTo>
                  <a:pt x="157" y="64"/>
                </a:moveTo>
                <a:cubicBezTo>
                  <a:pt x="157" y="64"/>
                  <a:pt x="157" y="64"/>
                  <a:pt x="158" y="64"/>
                </a:cubicBezTo>
                <a:cubicBezTo>
                  <a:pt x="158" y="63"/>
                  <a:pt x="158" y="63"/>
                  <a:pt x="158" y="62"/>
                </a:cubicBezTo>
                <a:cubicBezTo>
                  <a:pt x="159" y="62"/>
                  <a:pt x="159" y="62"/>
                  <a:pt x="159" y="61"/>
                </a:cubicBezTo>
                <a:cubicBezTo>
                  <a:pt x="160" y="61"/>
                  <a:pt x="160" y="61"/>
                  <a:pt x="160" y="61"/>
                </a:cubicBezTo>
                <a:cubicBezTo>
                  <a:pt x="161" y="65"/>
                  <a:pt x="162" y="68"/>
                  <a:pt x="163" y="72"/>
                </a:cubicBezTo>
                <a:cubicBezTo>
                  <a:pt x="163" y="72"/>
                  <a:pt x="163" y="72"/>
                  <a:pt x="163" y="72"/>
                </a:cubicBezTo>
                <a:cubicBezTo>
                  <a:pt x="163" y="72"/>
                  <a:pt x="161" y="73"/>
                  <a:pt x="161" y="73"/>
                </a:cubicBezTo>
                <a:cubicBezTo>
                  <a:pt x="160" y="73"/>
                  <a:pt x="160" y="72"/>
                  <a:pt x="159" y="71"/>
                </a:cubicBezTo>
                <a:cubicBezTo>
                  <a:pt x="158" y="71"/>
                  <a:pt x="158" y="70"/>
                  <a:pt x="157" y="69"/>
                </a:cubicBezTo>
                <a:cubicBezTo>
                  <a:pt x="157" y="69"/>
                  <a:pt x="157" y="68"/>
                  <a:pt x="157" y="67"/>
                </a:cubicBezTo>
                <a:cubicBezTo>
                  <a:pt x="157" y="66"/>
                  <a:pt x="157" y="65"/>
                  <a:pt x="157" y="64"/>
                </a:cubicBezTo>
                <a:close/>
                <a:moveTo>
                  <a:pt x="158" y="104"/>
                </a:moveTo>
                <a:cubicBezTo>
                  <a:pt x="156" y="103"/>
                  <a:pt x="155" y="101"/>
                  <a:pt x="154" y="100"/>
                </a:cubicBezTo>
                <a:cubicBezTo>
                  <a:pt x="152" y="98"/>
                  <a:pt x="153" y="96"/>
                  <a:pt x="153" y="94"/>
                </a:cubicBezTo>
                <a:cubicBezTo>
                  <a:pt x="153" y="92"/>
                  <a:pt x="152" y="90"/>
                  <a:pt x="153" y="88"/>
                </a:cubicBezTo>
                <a:cubicBezTo>
                  <a:pt x="154" y="88"/>
                  <a:pt x="154" y="87"/>
                  <a:pt x="155" y="87"/>
                </a:cubicBezTo>
                <a:cubicBezTo>
                  <a:pt x="155" y="86"/>
                  <a:pt x="155" y="85"/>
                  <a:pt x="156" y="84"/>
                </a:cubicBezTo>
                <a:cubicBezTo>
                  <a:pt x="157" y="82"/>
                  <a:pt x="158" y="82"/>
                  <a:pt x="159" y="81"/>
                </a:cubicBezTo>
                <a:cubicBezTo>
                  <a:pt x="160" y="80"/>
                  <a:pt x="160" y="80"/>
                  <a:pt x="161" y="78"/>
                </a:cubicBezTo>
                <a:cubicBezTo>
                  <a:pt x="161" y="78"/>
                  <a:pt x="162" y="76"/>
                  <a:pt x="163" y="75"/>
                </a:cubicBezTo>
                <a:cubicBezTo>
                  <a:pt x="164" y="79"/>
                  <a:pt x="164" y="83"/>
                  <a:pt x="164" y="87"/>
                </a:cubicBezTo>
                <a:cubicBezTo>
                  <a:pt x="164" y="94"/>
                  <a:pt x="163" y="101"/>
                  <a:pt x="162" y="107"/>
                </a:cubicBezTo>
                <a:cubicBezTo>
                  <a:pt x="160" y="107"/>
                  <a:pt x="159" y="105"/>
                  <a:pt x="158" y="10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4" name="Freeform 147"/>
          <p:cNvSpPr>
            <a:spLocks/>
          </p:cNvSpPr>
          <p:nvPr/>
        </p:nvSpPr>
        <p:spPr bwMode="auto">
          <a:xfrm>
            <a:off x="5389033" y="3917951"/>
            <a:ext cx="518584" cy="533400"/>
          </a:xfrm>
          <a:custGeom>
            <a:avLst/>
            <a:gdLst>
              <a:gd name="T0" fmla="*/ 772112029 w 172"/>
              <a:gd name="T1" fmla="*/ 280959409 h 177"/>
              <a:gd name="T2" fmla="*/ 751656604 w 172"/>
              <a:gd name="T3" fmla="*/ 219659092 h 177"/>
              <a:gd name="T4" fmla="*/ 720977989 w 172"/>
              <a:gd name="T5" fmla="*/ 194116917 h 177"/>
              <a:gd name="T6" fmla="*/ 352818775 w 172"/>
              <a:gd name="T7" fmla="*/ 112384668 h 177"/>
              <a:gd name="T8" fmla="*/ 363046488 w 172"/>
              <a:gd name="T9" fmla="*/ 122600634 h 177"/>
              <a:gd name="T10" fmla="*/ 439746418 w 172"/>
              <a:gd name="T11" fmla="*/ 112384668 h 177"/>
              <a:gd name="T12" fmla="*/ 378384665 w 172"/>
              <a:gd name="T13" fmla="*/ 137926843 h 177"/>
              <a:gd name="T14" fmla="*/ 388612377 w 172"/>
              <a:gd name="T15" fmla="*/ 153250792 h 177"/>
              <a:gd name="T16" fmla="*/ 572690854 w 172"/>
              <a:gd name="T17" fmla="*/ 260527477 h 177"/>
              <a:gd name="T18" fmla="*/ 424405980 w 172"/>
              <a:gd name="T19" fmla="*/ 408670286 h 177"/>
              <a:gd name="T20" fmla="*/ 424405980 w 172"/>
              <a:gd name="T21" fmla="*/ 408670286 h 177"/>
              <a:gd name="T22" fmla="*/ 388612377 w 172"/>
              <a:gd name="T23" fmla="*/ 423994236 h 177"/>
              <a:gd name="T24" fmla="*/ 0 w 172"/>
              <a:gd name="T25" fmla="*/ 781580171 h 177"/>
              <a:gd name="T26" fmla="*/ 122718984 w 172"/>
              <a:gd name="T27" fmla="*/ 904180805 h 177"/>
              <a:gd name="T28" fmla="*/ 480652746 w 172"/>
              <a:gd name="T29" fmla="*/ 515944711 h 177"/>
              <a:gd name="T30" fmla="*/ 501105910 w 172"/>
              <a:gd name="T31" fmla="*/ 480186569 h 177"/>
              <a:gd name="T32" fmla="*/ 501105910 w 172"/>
              <a:gd name="T33" fmla="*/ 475078586 h 177"/>
              <a:gd name="T34" fmla="*/ 659618497 w 172"/>
              <a:gd name="T35" fmla="*/ 321827794 h 177"/>
              <a:gd name="T36" fmla="*/ 659618497 w 172"/>
              <a:gd name="T37" fmla="*/ 321827794 h 177"/>
              <a:gd name="T38" fmla="*/ 715865263 w 172"/>
              <a:gd name="T39" fmla="*/ 342259726 h 177"/>
              <a:gd name="T40" fmla="*/ 736318427 w 172"/>
              <a:gd name="T41" fmla="*/ 398452060 h 177"/>
              <a:gd name="T42" fmla="*/ 782337481 w 172"/>
              <a:gd name="T43" fmla="*/ 444428428 h 177"/>
              <a:gd name="T44" fmla="*/ 879490575 w 172"/>
              <a:gd name="T45" fmla="*/ 347369969 h 177"/>
              <a:gd name="T46" fmla="*/ 833471521 w 172"/>
              <a:gd name="T47" fmla="*/ 306501585 h 177"/>
              <a:gd name="T48" fmla="*/ 772112029 w 172"/>
              <a:gd name="T49" fmla="*/ 280959409 h 17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72" h="177">
                <a:moveTo>
                  <a:pt x="151" y="55"/>
                </a:moveTo>
                <a:cubicBezTo>
                  <a:pt x="148" y="52"/>
                  <a:pt x="147" y="48"/>
                  <a:pt x="147" y="43"/>
                </a:cubicBezTo>
                <a:cubicBezTo>
                  <a:pt x="141" y="38"/>
                  <a:pt x="141" y="38"/>
                  <a:pt x="141" y="38"/>
                </a:cubicBezTo>
                <a:cubicBezTo>
                  <a:pt x="141" y="38"/>
                  <a:pt x="108" y="0"/>
                  <a:pt x="69" y="22"/>
                </a:cubicBezTo>
                <a:cubicBezTo>
                  <a:pt x="71" y="24"/>
                  <a:pt x="71" y="24"/>
                  <a:pt x="71" y="24"/>
                </a:cubicBezTo>
                <a:cubicBezTo>
                  <a:pt x="86" y="22"/>
                  <a:pt x="86" y="22"/>
                  <a:pt x="86" y="22"/>
                </a:cubicBezTo>
                <a:cubicBezTo>
                  <a:pt x="74" y="27"/>
                  <a:pt x="74" y="27"/>
                  <a:pt x="74" y="27"/>
                </a:cubicBezTo>
                <a:cubicBezTo>
                  <a:pt x="76" y="30"/>
                  <a:pt x="76" y="30"/>
                  <a:pt x="76" y="30"/>
                </a:cubicBezTo>
                <a:cubicBezTo>
                  <a:pt x="92" y="28"/>
                  <a:pt x="121" y="39"/>
                  <a:pt x="112" y="51"/>
                </a:cubicBezTo>
                <a:cubicBezTo>
                  <a:pt x="83" y="80"/>
                  <a:pt x="83" y="80"/>
                  <a:pt x="83" y="80"/>
                </a:cubicBezTo>
                <a:cubicBezTo>
                  <a:pt x="83" y="80"/>
                  <a:pt x="83" y="80"/>
                  <a:pt x="83" y="80"/>
                </a:cubicBezTo>
                <a:cubicBezTo>
                  <a:pt x="81" y="82"/>
                  <a:pt x="79" y="83"/>
                  <a:pt x="76" y="83"/>
                </a:cubicBezTo>
                <a:cubicBezTo>
                  <a:pt x="0" y="153"/>
                  <a:pt x="0" y="153"/>
                  <a:pt x="0" y="153"/>
                </a:cubicBezTo>
                <a:cubicBezTo>
                  <a:pt x="24" y="177"/>
                  <a:pt x="24" y="177"/>
                  <a:pt x="24" y="177"/>
                </a:cubicBezTo>
                <a:cubicBezTo>
                  <a:pt x="94" y="101"/>
                  <a:pt x="94" y="101"/>
                  <a:pt x="94" y="101"/>
                </a:cubicBezTo>
                <a:cubicBezTo>
                  <a:pt x="94" y="98"/>
                  <a:pt x="96" y="96"/>
                  <a:pt x="98" y="94"/>
                </a:cubicBezTo>
                <a:cubicBezTo>
                  <a:pt x="98" y="93"/>
                  <a:pt x="98" y="93"/>
                  <a:pt x="98" y="93"/>
                </a:cubicBezTo>
                <a:cubicBezTo>
                  <a:pt x="129" y="63"/>
                  <a:pt x="129" y="63"/>
                  <a:pt x="129" y="63"/>
                </a:cubicBezTo>
                <a:cubicBezTo>
                  <a:pt x="129" y="63"/>
                  <a:pt x="129" y="63"/>
                  <a:pt x="129" y="63"/>
                </a:cubicBezTo>
                <a:cubicBezTo>
                  <a:pt x="133" y="63"/>
                  <a:pt x="137" y="64"/>
                  <a:pt x="140" y="67"/>
                </a:cubicBezTo>
                <a:cubicBezTo>
                  <a:pt x="143" y="70"/>
                  <a:pt x="144" y="74"/>
                  <a:pt x="144" y="78"/>
                </a:cubicBezTo>
                <a:cubicBezTo>
                  <a:pt x="153" y="87"/>
                  <a:pt x="153" y="87"/>
                  <a:pt x="153" y="87"/>
                </a:cubicBezTo>
                <a:cubicBezTo>
                  <a:pt x="172" y="68"/>
                  <a:pt x="172" y="68"/>
                  <a:pt x="172" y="68"/>
                </a:cubicBezTo>
                <a:cubicBezTo>
                  <a:pt x="163" y="60"/>
                  <a:pt x="163" y="60"/>
                  <a:pt x="163" y="60"/>
                </a:cubicBezTo>
                <a:cubicBezTo>
                  <a:pt x="159" y="60"/>
                  <a:pt x="155" y="59"/>
                  <a:pt x="151" y="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5" name="Freeform 148"/>
          <p:cNvSpPr>
            <a:spLocks noEditPoints="1"/>
          </p:cNvSpPr>
          <p:nvPr/>
        </p:nvSpPr>
        <p:spPr bwMode="auto">
          <a:xfrm>
            <a:off x="6229351" y="3945468"/>
            <a:ext cx="520700" cy="522817"/>
          </a:xfrm>
          <a:custGeom>
            <a:avLst/>
            <a:gdLst>
              <a:gd name="T0" fmla="*/ 669963593 w 174"/>
              <a:gd name="T1" fmla="*/ 147272234 h 174"/>
              <a:gd name="T2" fmla="*/ 735448351 w 174"/>
              <a:gd name="T3" fmla="*/ 213291444 h 174"/>
              <a:gd name="T4" fmla="*/ 800933109 w 174"/>
              <a:gd name="T5" fmla="*/ 142195047 h 174"/>
              <a:gd name="T6" fmla="*/ 876492963 w 174"/>
              <a:gd name="T7" fmla="*/ 218368631 h 174"/>
              <a:gd name="T8" fmla="*/ 876492963 w 174"/>
              <a:gd name="T9" fmla="*/ 0 h 174"/>
              <a:gd name="T10" fmla="*/ 664924922 w 174"/>
              <a:gd name="T11" fmla="*/ 0 h 174"/>
              <a:gd name="T12" fmla="*/ 740484777 w 174"/>
              <a:gd name="T13" fmla="*/ 76175838 h 174"/>
              <a:gd name="T14" fmla="*/ 669963593 w 174"/>
              <a:gd name="T15" fmla="*/ 147272234 h 174"/>
              <a:gd name="T16" fmla="*/ 800933109 w 174"/>
              <a:gd name="T17" fmla="*/ 741440613 h 174"/>
              <a:gd name="T18" fmla="*/ 730411925 w 174"/>
              <a:gd name="T19" fmla="*/ 670344216 h 174"/>
              <a:gd name="T20" fmla="*/ 664924922 w 174"/>
              <a:gd name="T21" fmla="*/ 736363425 h 174"/>
              <a:gd name="T22" fmla="*/ 735448351 w 174"/>
              <a:gd name="T23" fmla="*/ 807459822 h 174"/>
              <a:gd name="T24" fmla="*/ 664924922 w 174"/>
              <a:gd name="T25" fmla="*/ 883635660 h 174"/>
              <a:gd name="T26" fmla="*/ 876492963 w 174"/>
              <a:gd name="T27" fmla="*/ 883635660 h 174"/>
              <a:gd name="T28" fmla="*/ 876492963 w 174"/>
              <a:gd name="T29" fmla="*/ 665267028 h 174"/>
              <a:gd name="T30" fmla="*/ 800933109 w 174"/>
              <a:gd name="T31" fmla="*/ 741440613 h 174"/>
              <a:gd name="T32" fmla="*/ 206529371 w 174"/>
              <a:gd name="T33" fmla="*/ 736363425 h 174"/>
              <a:gd name="T34" fmla="*/ 141044613 w 174"/>
              <a:gd name="T35" fmla="*/ 670344216 h 174"/>
              <a:gd name="T36" fmla="*/ 75559854 w 174"/>
              <a:gd name="T37" fmla="*/ 741440613 h 174"/>
              <a:gd name="T38" fmla="*/ 0 w 174"/>
              <a:gd name="T39" fmla="*/ 665267028 h 174"/>
              <a:gd name="T40" fmla="*/ 0 w 174"/>
              <a:gd name="T41" fmla="*/ 883635660 h 174"/>
              <a:gd name="T42" fmla="*/ 211568041 w 174"/>
              <a:gd name="T43" fmla="*/ 883635660 h 174"/>
              <a:gd name="T44" fmla="*/ 136008187 w 174"/>
              <a:gd name="T45" fmla="*/ 807459822 h 174"/>
              <a:gd name="T46" fmla="*/ 206529371 w 174"/>
              <a:gd name="T47" fmla="*/ 736363425 h 174"/>
              <a:gd name="T48" fmla="*/ 146083283 w 174"/>
              <a:gd name="T49" fmla="*/ 213291444 h 174"/>
              <a:gd name="T50" fmla="*/ 211568041 w 174"/>
              <a:gd name="T51" fmla="*/ 147272234 h 174"/>
              <a:gd name="T52" fmla="*/ 141044613 w 174"/>
              <a:gd name="T53" fmla="*/ 76175838 h 174"/>
              <a:gd name="T54" fmla="*/ 211568041 w 174"/>
              <a:gd name="T55" fmla="*/ 0 h 174"/>
              <a:gd name="T56" fmla="*/ 0 w 174"/>
              <a:gd name="T57" fmla="*/ 0 h 174"/>
              <a:gd name="T58" fmla="*/ 0 w 174"/>
              <a:gd name="T59" fmla="*/ 218368631 h 174"/>
              <a:gd name="T60" fmla="*/ 75559854 w 174"/>
              <a:gd name="T61" fmla="*/ 142195047 h 174"/>
              <a:gd name="T62" fmla="*/ 146083283 w 174"/>
              <a:gd name="T63" fmla="*/ 213291444 h 174"/>
              <a:gd name="T64" fmla="*/ 705225307 w 174"/>
              <a:gd name="T65" fmla="*/ 533228610 h 174"/>
              <a:gd name="T66" fmla="*/ 705225307 w 174"/>
              <a:gd name="T67" fmla="*/ 355486491 h 174"/>
              <a:gd name="T68" fmla="*/ 574253546 w 174"/>
              <a:gd name="T69" fmla="*/ 223448072 h 174"/>
              <a:gd name="T70" fmla="*/ 302239417 w 174"/>
              <a:gd name="T71" fmla="*/ 223448072 h 174"/>
              <a:gd name="T72" fmla="*/ 171267656 w 174"/>
              <a:gd name="T73" fmla="*/ 355486491 h 174"/>
              <a:gd name="T74" fmla="*/ 171267656 w 174"/>
              <a:gd name="T75" fmla="*/ 533228610 h 174"/>
              <a:gd name="T76" fmla="*/ 302239417 w 174"/>
              <a:gd name="T77" fmla="*/ 665267028 h 174"/>
              <a:gd name="T78" fmla="*/ 574253546 w 174"/>
              <a:gd name="T79" fmla="*/ 665267028 h 174"/>
              <a:gd name="T80" fmla="*/ 705225307 w 174"/>
              <a:gd name="T81" fmla="*/ 533228610 h 17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74" h="174">
                <a:moveTo>
                  <a:pt x="133" y="29"/>
                </a:moveTo>
                <a:cubicBezTo>
                  <a:pt x="146" y="42"/>
                  <a:pt x="146" y="42"/>
                  <a:pt x="146" y="42"/>
                </a:cubicBezTo>
                <a:cubicBezTo>
                  <a:pt x="159" y="28"/>
                  <a:pt x="159" y="28"/>
                  <a:pt x="159" y="28"/>
                </a:cubicBezTo>
                <a:cubicBezTo>
                  <a:pt x="174" y="43"/>
                  <a:pt x="174" y="43"/>
                  <a:pt x="174" y="43"/>
                </a:cubicBezTo>
                <a:cubicBezTo>
                  <a:pt x="174" y="0"/>
                  <a:pt x="174" y="0"/>
                  <a:pt x="174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47" y="15"/>
                  <a:pt x="147" y="15"/>
                  <a:pt x="147" y="15"/>
                </a:cubicBezTo>
                <a:lnTo>
                  <a:pt x="133" y="29"/>
                </a:lnTo>
                <a:close/>
                <a:moveTo>
                  <a:pt x="159" y="146"/>
                </a:moveTo>
                <a:cubicBezTo>
                  <a:pt x="145" y="132"/>
                  <a:pt x="145" y="132"/>
                  <a:pt x="145" y="132"/>
                </a:cubicBezTo>
                <a:cubicBezTo>
                  <a:pt x="132" y="145"/>
                  <a:pt x="132" y="145"/>
                  <a:pt x="132" y="145"/>
                </a:cubicBezTo>
                <a:cubicBezTo>
                  <a:pt x="146" y="159"/>
                  <a:pt x="146" y="159"/>
                  <a:pt x="146" y="159"/>
                </a:cubicBezTo>
                <a:cubicBezTo>
                  <a:pt x="132" y="174"/>
                  <a:pt x="132" y="174"/>
                  <a:pt x="132" y="174"/>
                </a:cubicBezTo>
                <a:cubicBezTo>
                  <a:pt x="174" y="174"/>
                  <a:pt x="174" y="174"/>
                  <a:pt x="174" y="174"/>
                </a:cubicBezTo>
                <a:cubicBezTo>
                  <a:pt x="174" y="131"/>
                  <a:pt x="174" y="131"/>
                  <a:pt x="174" y="131"/>
                </a:cubicBezTo>
                <a:lnTo>
                  <a:pt x="159" y="146"/>
                </a:lnTo>
                <a:close/>
                <a:moveTo>
                  <a:pt x="41" y="145"/>
                </a:moveTo>
                <a:cubicBezTo>
                  <a:pt x="28" y="132"/>
                  <a:pt x="28" y="132"/>
                  <a:pt x="28" y="132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0" y="131"/>
                  <a:pt x="0" y="131"/>
                  <a:pt x="0" y="131"/>
                </a:cubicBezTo>
                <a:cubicBezTo>
                  <a:pt x="0" y="174"/>
                  <a:pt x="0" y="174"/>
                  <a:pt x="0" y="174"/>
                </a:cubicBezTo>
                <a:cubicBezTo>
                  <a:pt x="42" y="174"/>
                  <a:pt x="42" y="174"/>
                  <a:pt x="42" y="174"/>
                </a:cubicBezTo>
                <a:cubicBezTo>
                  <a:pt x="27" y="159"/>
                  <a:pt x="27" y="159"/>
                  <a:pt x="27" y="159"/>
                </a:cubicBezTo>
                <a:lnTo>
                  <a:pt x="41" y="145"/>
                </a:lnTo>
                <a:close/>
                <a:moveTo>
                  <a:pt x="29" y="42"/>
                </a:moveTo>
                <a:cubicBezTo>
                  <a:pt x="42" y="29"/>
                  <a:pt x="42" y="29"/>
                  <a:pt x="42" y="29"/>
                </a:cubicBezTo>
                <a:cubicBezTo>
                  <a:pt x="28" y="15"/>
                  <a:pt x="28" y="15"/>
                  <a:pt x="28" y="15"/>
                </a:cubicBezTo>
                <a:cubicBezTo>
                  <a:pt x="42" y="0"/>
                  <a:pt x="42" y="0"/>
                  <a:pt x="4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3"/>
                  <a:pt x="0" y="43"/>
                  <a:pt x="0" y="43"/>
                </a:cubicBezTo>
                <a:cubicBezTo>
                  <a:pt x="15" y="28"/>
                  <a:pt x="15" y="28"/>
                  <a:pt x="15" y="28"/>
                </a:cubicBezTo>
                <a:lnTo>
                  <a:pt x="29" y="42"/>
                </a:lnTo>
                <a:close/>
                <a:moveTo>
                  <a:pt x="140" y="105"/>
                </a:moveTo>
                <a:cubicBezTo>
                  <a:pt x="140" y="70"/>
                  <a:pt x="140" y="70"/>
                  <a:pt x="140" y="70"/>
                </a:cubicBezTo>
                <a:cubicBezTo>
                  <a:pt x="140" y="56"/>
                  <a:pt x="128" y="44"/>
                  <a:pt x="114" y="44"/>
                </a:cubicBezTo>
                <a:cubicBezTo>
                  <a:pt x="60" y="44"/>
                  <a:pt x="60" y="44"/>
                  <a:pt x="60" y="44"/>
                </a:cubicBezTo>
                <a:cubicBezTo>
                  <a:pt x="45" y="44"/>
                  <a:pt x="34" y="56"/>
                  <a:pt x="34" y="70"/>
                </a:cubicBezTo>
                <a:cubicBezTo>
                  <a:pt x="34" y="105"/>
                  <a:pt x="34" y="105"/>
                  <a:pt x="34" y="105"/>
                </a:cubicBezTo>
                <a:cubicBezTo>
                  <a:pt x="34" y="119"/>
                  <a:pt x="45" y="131"/>
                  <a:pt x="60" y="131"/>
                </a:cubicBezTo>
                <a:cubicBezTo>
                  <a:pt x="114" y="131"/>
                  <a:pt x="114" y="131"/>
                  <a:pt x="114" y="131"/>
                </a:cubicBezTo>
                <a:cubicBezTo>
                  <a:pt x="128" y="131"/>
                  <a:pt x="140" y="119"/>
                  <a:pt x="140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6" name="Freeform 149"/>
          <p:cNvSpPr>
            <a:spLocks/>
          </p:cNvSpPr>
          <p:nvPr/>
        </p:nvSpPr>
        <p:spPr bwMode="auto">
          <a:xfrm>
            <a:off x="7135285" y="3937000"/>
            <a:ext cx="342900" cy="541867"/>
          </a:xfrm>
          <a:custGeom>
            <a:avLst/>
            <a:gdLst>
              <a:gd name="T0" fmla="*/ 408265313 w 162"/>
              <a:gd name="T1" fmla="*/ 0 h 256"/>
              <a:gd name="T2" fmla="*/ 0 w 162"/>
              <a:gd name="T3" fmla="*/ 365423450 h 256"/>
              <a:gd name="T4" fmla="*/ 136088438 w 162"/>
              <a:gd name="T5" fmla="*/ 365423450 h 256"/>
              <a:gd name="T6" fmla="*/ 0 w 162"/>
              <a:gd name="T7" fmla="*/ 645160000 h 256"/>
              <a:gd name="T8" fmla="*/ 408265313 w 162"/>
              <a:gd name="T9" fmla="*/ 279738138 h 256"/>
              <a:gd name="T10" fmla="*/ 272176875 w 162"/>
              <a:gd name="T11" fmla="*/ 279738138 h 256"/>
              <a:gd name="T12" fmla="*/ 408265313 w 162"/>
              <a:gd name="T13" fmla="*/ 0 h 2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62" h="256">
                <a:moveTo>
                  <a:pt x="162" y="0"/>
                </a:moveTo>
                <a:lnTo>
                  <a:pt x="0" y="145"/>
                </a:lnTo>
                <a:lnTo>
                  <a:pt x="54" y="145"/>
                </a:lnTo>
                <a:lnTo>
                  <a:pt x="0" y="256"/>
                </a:lnTo>
                <a:lnTo>
                  <a:pt x="162" y="111"/>
                </a:lnTo>
                <a:lnTo>
                  <a:pt x="108" y="111"/>
                </a:lnTo>
                <a:lnTo>
                  <a:pt x="16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7" name="Freeform 150"/>
          <p:cNvSpPr>
            <a:spLocks noEditPoints="1"/>
          </p:cNvSpPr>
          <p:nvPr/>
        </p:nvSpPr>
        <p:spPr bwMode="auto">
          <a:xfrm>
            <a:off x="7988301" y="3968752"/>
            <a:ext cx="385233" cy="476249"/>
          </a:xfrm>
          <a:custGeom>
            <a:avLst/>
            <a:gdLst>
              <a:gd name="T0" fmla="*/ 310799783 w 128"/>
              <a:gd name="T1" fmla="*/ 86882347 h 158"/>
              <a:gd name="T2" fmla="*/ 326085721 w 128"/>
              <a:gd name="T3" fmla="*/ 342415735 h 158"/>
              <a:gd name="T4" fmla="*/ 346463962 w 128"/>
              <a:gd name="T5" fmla="*/ 270865301 h 158"/>
              <a:gd name="T6" fmla="*/ 392319520 w 128"/>
              <a:gd name="T7" fmla="*/ 240201475 h 158"/>
              <a:gd name="T8" fmla="*/ 427985957 w 128"/>
              <a:gd name="T9" fmla="*/ 306640518 h 158"/>
              <a:gd name="T10" fmla="*/ 453461016 w 128"/>
              <a:gd name="T11" fmla="*/ 311751909 h 158"/>
              <a:gd name="T12" fmla="*/ 478936075 w 128"/>
              <a:gd name="T13" fmla="*/ 270865301 h 158"/>
              <a:gd name="T14" fmla="*/ 534983010 w 128"/>
              <a:gd name="T15" fmla="*/ 306640518 h 158"/>
              <a:gd name="T16" fmla="*/ 529888450 w 128"/>
              <a:gd name="T17" fmla="*/ 321972431 h 158"/>
              <a:gd name="T18" fmla="*/ 529888450 w 128"/>
              <a:gd name="T19" fmla="*/ 362859039 h 158"/>
              <a:gd name="T20" fmla="*/ 540077571 w 128"/>
              <a:gd name="T21" fmla="*/ 352636257 h 158"/>
              <a:gd name="T22" fmla="*/ 591027689 w 128"/>
              <a:gd name="T23" fmla="*/ 352636257 h 158"/>
              <a:gd name="T24" fmla="*/ 514602512 w 128"/>
              <a:gd name="T25" fmla="*/ 669499557 h 158"/>
              <a:gd name="T26" fmla="*/ 285324724 w 128"/>
              <a:gd name="T27" fmla="*/ 756379643 h 158"/>
              <a:gd name="T28" fmla="*/ 203802729 w 128"/>
              <a:gd name="T29" fmla="*/ 572396689 h 158"/>
              <a:gd name="T30" fmla="*/ 71330617 w 128"/>
              <a:gd name="T31" fmla="*/ 408854778 h 158"/>
              <a:gd name="T32" fmla="*/ 127377552 w 128"/>
              <a:gd name="T33" fmla="*/ 403743387 h 158"/>
              <a:gd name="T34" fmla="*/ 213994107 w 128"/>
              <a:gd name="T35" fmla="*/ 465071038 h 158"/>
              <a:gd name="T36" fmla="*/ 234372348 w 128"/>
              <a:gd name="T37" fmla="*/ 91991477 h 158"/>
              <a:gd name="T38" fmla="*/ 270038785 w 128"/>
              <a:gd name="T39" fmla="*/ 51107130 h 158"/>
              <a:gd name="T40" fmla="*/ 270038785 w 128"/>
              <a:gd name="T41" fmla="*/ 0 h 158"/>
              <a:gd name="T42" fmla="*/ 183422230 w 128"/>
              <a:gd name="T43" fmla="*/ 91991477 h 158"/>
              <a:gd name="T44" fmla="*/ 183422230 w 128"/>
              <a:gd name="T45" fmla="*/ 383300083 h 158"/>
              <a:gd name="T46" fmla="*/ 101902493 w 128"/>
              <a:gd name="T47" fmla="*/ 342415735 h 158"/>
              <a:gd name="T48" fmla="*/ 40760997 w 128"/>
              <a:gd name="T49" fmla="*/ 500846255 h 158"/>
              <a:gd name="T50" fmla="*/ 234372348 w 128"/>
              <a:gd name="T51" fmla="*/ 689940601 h 158"/>
              <a:gd name="T52" fmla="*/ 234372348 w 128"/>
              <a:gd name="T53" fmla="*/ 807486773 h 158"/>
              <a:gd name="T54" fmla="*/ 514602512 w 128"/>
              <a:gd name="T55" fmla="*/ 807486773 h 158"/>
              <a:gd name="T56" fmla="*/ 565552630 w 128"/>
              <a:gd name="T57" fmla="*/ 756379643 h 158"/>
              <a:gd name="T58" fmla="*/ 636883246 w 128"/>
              <a:gd name="T59" fmla="*/ 444627734 h 158"/>
              <a:gd name="T60" fmla="*/ 636883246 w 128"/>
              <a:gd name="T61" fmla="*/ 439518604 h 158"/>
              <a:gd name="T62" fmla="*/ 652169185 w 128"/>
              <a:gd name="T63" fmla="*/ 378190952 h 158"/>
              <a:gd name="T64" fmla="*/ 585933128 w 128"/>
              <a:gd name="T65" fmla="*/ 291308605 h 158"/>
              <a:gd name="T66" fmla="*/ 478936075 w 128"/>
              <a:gd name="T67" fmla="*/ 219758171 h 158"/>
              <a:gd name="T68" fmla="*/ 392319520 w 128"/>
              <a:gd name="T69" fmla="*/ 189094346 h 158"/>
              <a:gd name="T70" fmla="*/ 361749901 w 128"/>
              <a:gd name="T71" fmla="*/ 194205737 h 158"/>
              <a:gd name="T72" fmla="*/ 361749901 w 128"/>
              <a:gd name="T73" fmla="*/ 86882347 h 158"/>
              <a:gd name="T74" fmla="*/ 270038785 w 128"/>
              <a:gd name="T75" fmla="*/ 0 h 15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28" h="158">
                <a:moveTo>
                  <a:pt x="53" y="10"/>
                </a:moveTo>
                <a:cubicBezTo>
                  <a:pt x="57" y="10"/>
                  <a:pt x="61" y="13"/>
                  <a:pt x="61" y="17"/>
                </a:cubicBezTo>
                <a:cubicBezTo>
                  <a:pt x="61" y="17"/>
                  <a:pt x="61" y="63"/>
                  <a:pt x="61" y="64"/>
                </a:cubicBezTo>
                <a:cubicBezTo>
                  <a:pt x="61" y="66"/>
                  <a:pt x="62" y="67"/>
                  <a:pt x="64" y="67"/>
                </a:cubicBezTo>
                <a:cubicBezTo>
                  <a:pt x="66" y="67"/>
                  <a:pt x="68" y="65"/>
                  <a:pt x="68" y="60"/>
                </a:cubicBezTo>
                <a:cubicBezTo>
                  <a:pt x="68" y="53"/>
                  <a:pt x="68" y="53"/>
                  <a:pt x="68" y="53"/>
                </a:cubicBezTo>
                <a:cubicBezTo>
                  <a:pt x="68" y="49"/>
                  <a:pt x="71" y="47"/>
                  <a:pt x="75" y="47"/>
                </a:cubicBezTo>
                <a:cubicBezTo>
                  <a:pt x="76" y="47"/>
                  <a:pt x="76" y="47"/>
                  <a:pt x="77" y="47"/>
                </a:cubicBezTo>
                <a:cubicBezTo>
                  <a:pt x="80" y="47"/>
                  <a:pt x="83" y="48"/>
                  <a:pt x="83" y="52"/>
                </a:cubicBezTo>
                <a:cubicBezTo>
                  <a:pt x="84" y="60"/>
                  <a:pt x="84" y="60"/>
                  <a:pt x="84" y="60"/>
                </a:cubicBezTo>
                <a:cubicBezTo>
                  <a:pt x="84" y="63"/>
                  <a:pt x="85" y="63"/>
                  <a:pt x="86" y="63"/>
                </a:cubicBezTo>
                <a:cubicBezTo>
                  <a:pt x="87" y="63"/>
                  <a:pt x="89" y="61"/>
                  <a:pt x="89" y="61"/>
                </a:cubicBezTo>
                <a:cubicBezTo>
                  <a:pt x="89" y="58"/>
                  <a:pt x="89" y="58"/>
                  <a:pt x="89" y="58"/>
                </a:cubicBezTo>
                <a:cubicBezTo>
                  <a:pt x="90" y="54"/>
                  <a:pt x="92" y="53"/>
                  <a:pt x="94" y="53"/>
                </a:cubicBezTo>
                <a:cubicBezTo>
                  <a:pt x="95" y="53"/>
                  <a:pt x="96" y="53"/>
                  <a:pt x="97" y="54"/>
                </a:cubicBezTo>
                <a:cubicBezTo>
                  <a:pt x="101" y="54"/>
                  <a:pt x="105" y="56"/>
                  <a:pt x="105" y="60"/>
                </a:cubicBezTo>
                <a:cubicBezTo>
                  <a:pt x="104" y="63"/>
                  <a:pt x="104" y="63"/>
                  <a:pt x="104" y="63"/>
                </a:cubicBezTo>
                <a:cubicBezTo>
                  <a:pt x="104" y="63"/>
                  <a:pt x="104" y="63"/>
                  <a:pt x="104" y="63"/>
                </a:cubicBezTo>
                <a:cubicBezTo>
                  <a:pt x="104" y="63"/>
                  <a:pt x="101" y="72"/>
                  <a:pt x="103" y="72"/>
                </a:cubicBezTo>
                <a:cubicBezTo>
                  <a:pt x="104" y="72"/>
                  <a:pt x="104" y="72"/>
                  <a:pt x="104" y="71"/>
                </a:cubicBezTo>
                <a:cubicBezTo>
                  <a:pt x="104" y="71"/>
                  <a:pt x="104" y="71"/>
                  <a:pt x="104" y="71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7" y="67"/>
                  <a:pt x="109" y="67"/>
                  <a:pt x="110" y="67"/>
                </a:cubicBezTo>
                <a:cubicBezTo>
                  <a:pt x="112" y="67"/>
                  <a:pt x="113" y="68"/>
                  <a:pt x="116" y="69"/>
                </a:cubicBezTo>
                <a:cubicBezTo>
                  <a:pt x="119" y="71"/>
                  <a:pt x="118" y="75"/>
                  <a:pt x="116" y="83"/>
                </a:cubicBezTo>
                <a:cubicBezTo>
                  <a:pt x="101" y="131"/>
                  <a:pt x="101" y="131"/>
                  <a:pt x="101" y="131"/>
                </a:cubicBezTo>
                <a:cubicBezTo>
                  <a:pt x="101" y="148"/>
                  <a:pt x="101" y="148"/>
                  <a:pt x="101" y="148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30"/>
                  <a:pt x="56" y="130"/>
                  <a:pt x="56" y="130"/>
                </a:cubicBezTo>
                <a:cubicBezTo>
                  <a:pt x="56" y="130"/>
                  <a:pt x="48" y="125"/>
                  <a:pt x="40" y="112"/>
                </a:cubicBezTo>
                <a:cubicBezTo>
                  <a:pt x="15" y="90"/>
                  <a:pt x="15" y="90"/>
                  <a:pt x="15" y="90"/>
                </a:cubicBezTo>
                <a:cubicBezTo>
                  <a:pt x="12" y="88"/>
                  <a:pt x="11" y="83"/>
                  <a:pt x="14" y="80"/>
                </a:cubicBezTo>
                <a:cubicBezTo>
                  <a:pt x="15" y="78"/>
                  <a:pt x="18" y="77"/>
                  <a:pt x="20" y="77"/>
                </a:cubicBezTo>
                <a:cubicBezTo>
                  <a:pt x="22" y="77"/>
                  <a:pt x="23" y="77"/>
                  <a:pt x="25" y="79"/>
                </a:cubicBezTo>
                <a:cubicBezTo>
                  <a:pt x="39" y="90"/>
                  <a:pt x="39" y="90"/>
                  <a:pt x="39" y="90"/>
                </a:cubicBezTo>
                <a:cubicBezTo>
                  <a:pt x="40" y="91"/>
                  <a:pt x="41" y="91"/>
                  <a:pt x="42" y="91"/>
                </a:cubicBezTo>
                <a:cubicBezTo>
                  <a:pt x="45" y="91"/>
                  <a:pt x="46" y="84"/>
                  <a:pt x="46" y="67"/>
                </a:cubicBezTo>
                <a:cubicBezTo>
                  <a:pt x="46" y="18"/>
                  <a:pt x="46" y="18"/>
                  <a:pt x="46" y="18"/>
                </a:cubicBezTo>
                <a:cubicBezTo>
                  <a:pt x="45" y="14"/>
                  <a:pt x="49" y="10"/>
                  <a:pt x="53" y="10"/>
                </a:cubicBezTo>
                <a:cubicBezTo>
                  <a:pt x="53" y="10"/>
                  <a:pt x="53" y="10"/>
                  <a:pt x="53" y="10"/>
                </a:cubicBezTo>
                <a:moveTo>
                  <a:pt x="53" y="0"/>
                </a:moveTo>
                <a:cubicBezTo>
                  <a:pt x="53" y="0"/>
                  <a:pt x="53" y="0"/>
                  <a:pt x="53" y="0"/>
                </a:cubicBezTo>
                <a:cubicBezTo>
                  <a:pt x="48" y="0"/>
                  <a:pt x="43" y="2"/>
                  <a:pt x="40" y="6"/>
                </a:cubicBezTo>
                <a:cubicBezTo>
                  <a:pt x="37" y="9"/>
                  <a:pt x="35" y="13"/>
                  <a:pt x="36" y="18"/>
                </a:cubicBezTo>
                <a:cubicBezTo>
                  <a:pt x="36" y="67"/>
                  <a:pt x="36" y="67"/>
                  <a:pt x="36" y="67"/>
                </a:cubicBezTo>
                <a:cubicBezTo>
                  <a:pt x="36" y="70"/>
                  <a:pt x="36" y="73"/>
                  <a:pt x="36" y="75"/>
                </a:cubicBezTo>
                <a:cubicBezTo>
                  <a:pt x="31" y="71"/>
                  <a:pt x="31" y="71"/>
                  <a:pt x="31" y="71"/>
                </a:cubicBezTo>
                <a:cubicBezTo>
                  <a:pt x="28" y="68"/>
                  <a:pt x="24" y="67"/>
                  <a:pt x="20" y="67"/>
                </a:cubicBezTo>
                <a:cubicBezTo>
                  <a:pt x="15" y="67"/>
                  <a:pt x="10" y="69"/>
                  <a:pt x="6" y="73"/>
                </a:cubicBezTo>
                <a:cubicBezTo>
                  <a:pt x="0" y="81"/>
                  <a:pt x="1" y="92"/>
                  <a:pt x="8" y="98"/>
                </a:cubicBezTo>
                <a:cubicBezTo>
                  <a:pt x="32" y="118"/>
                  <a:pt x="32" y="118"/>
                  <a:pt x="32" y="118"/>
                </a:cubicBezTo>
                <a:cubicBezTo>
                  <a:pt x="37" y="127"/>
                  <a:pt x="42" y="132"/>
                  <a:pt x="46" y="135"/>
                </a:cubicBezTo>
                <a:cubicBezTo>
                  <a:pt x="46" y="148"/>
                  <a:pt x="46" y="148"/>
                  <a:pt x="46" y="148"/>
                </a:cubicBezTo>
                <a:cubicBezTo>
                  <a:pt x="46" y="158"/>
                  <a:pt x="46" y="158"/>
                  <a:pt x="46" y="158"/>
                </a:cubicBezTo>
                <a:cubicBezTo>
                  <a:pt x="56" y="158"/>
                  <a:pt x="56" y="158"/>
                  <a:pt x="56" y="158"/>
                </a:cubicBezTo>
                <a:cubicBezTo>
                  <a:pt x="101" y="158"/>
                  <a:pt x="101" y="158"/>
                  <a:pt x="101" y="158"/>
                </a:cubicBezTo>
                <a:cubicBezTo>
                  <a:pt x="110" y="158"/>
                  <a:pt x="110" y="158"/>
                  <a:pt x="110" y="158"/>
                </a:cubicBezTo>
                <a:cubicBezTo>
                  <a:pt x="111" y="148"/>
                  <a:pt x="111" y="148"/>
                  <a:pt x="111" y="148"/>
                </a:cubicBezTo>
                <a:cubicBezTo>
                  <a:pt x="111" y="132"/>
                  <a:pt x="111" y="132"/>
                  <a:pt x="111" y="132"/>
                </a:cubicBezTo>
                <a:cubicBezTo>
                  <a:pt x="125" y="87"/>
                  <a:pt x="125" y="87"/>
                  <a:pt x="125" y="87"/>
                </a:cubicBezTo>
                <a:cubicBezTo>
                  <a:pt x="125" y="86"/>
                  <a:pt x="125" y="86"/>
                  <a:pt x="125" y="86"/>
                </a:cubicBezTo>
                <a:cubicBezTo>
                  <a:pt x="125" y="86"/>
                  <a:pt x="125" y="86"/>
                  <a:pt x="125" y="86"/>
                </a:cubicBezTo>
                <a:cubicBezTo>
                  <a:pt x="126" y="85"/>
                  <a:pt x="126" y="85"/>
                  <a:pt x="126" y="85"/>
                </a:cubicBezTo>
                <a:cubicBezTo>
                  <a:pt x="127" y="80"/>
                  <a:pt x="128" y="77"/>
                  <a:pt x="128" y="74"/>
                </a:cubicBezTo>
                <a:cubicBezTo>
                  <a:pt x="128" y="66"/>
                  <a:pt x="124" y="62"/>
                  <a:pt x="121" y="61"/>
                </a:cubicBezTo>
                <a:cubicBezTo>
                  <a:pt x="119" y="59"/>
                  <a:pt x="117" y="58"/>
                  <a:pt x="115" y="57"/>
                </a:cubicBezTo>
                <a:cubicBezTo>
                  <a:pt x="114" y="52"/>
                  <a:pt x="109" y="46"/>
                  <a:pt x="99" y="44"/>
                </a:cubicBezTo>
                <a:cubicBezTo>
                  <a:pt x="97" y="43"/>
                  <a:pt x="96" y="43"/>
                  <a:pt x="94" y="43"/>
                </a:cubicBezTo>
                <a:cubicBezTo>
                  <a:pt x="93" y="43"/>
                  <a:pt x="92" y="43"/>
                  <a:pt x="91" y="44"/>
                </a:cubicBezTo>
                <a:cubicBezTo>
                  <a:pt x="88" y="40"/>
                  <a:pt x="84" y="37"/>
                  <a:pt x="77" y="37"/>
                </a:cubicBezTo>
                <a:cubicBezTo>
                  <a:pt x="76" y="37"/>
                  <a:pt x="75" y="37"/>
                  <a:pt x="75" y="37"/>
                </a:cubicBezTo>
                <a:cubicBezTo>
                  <a:pt x="73" y="37"/>
                  <a:pt x="72" y="37"/>
                  <a:pt x="71" y="38"/>
                </a:cubicBezTo>
                <a:cubicBezTo>
                  <a:pt x="71" y="28"/>
                  <a:pt x="71" y="19"/>
                  <a:pt x="71" y="17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17"/>
                  <a:pt x="71" y="17"/>
                  <a:pt x="71" y="17"/>
                </a:cubicBezTo>
                <a:cubicBezTo>
                  <a:pt x="71" y="7"/>
                  <a:pt x="63" y="0"/>
                  <a:pt x="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8" name="Freeform 151"/>
          <p:cNvSpPr>
            <a:spLocks noEditPoints="1"/>
          </p:cNvSpPr>
          <p:nvPr/>
        </p:nvSpPr>
        <p:spPr bwMode="auto">
          <a:xfrm>
            <a:off x="8763001" y="3945468"/>
            <a:ext cx="522817" cy="522817"/>
          </a:xfrm>
          <a:custGeom>
            <a:avLst/>
            <a:gdLst>
              <a:gd name="T0" fmla="*/ 746517800 w 174"/>
              <a:gd name="T1" fmla="*/ 126958978 h 174"/>
              <a:gd name="T2" fmla="*/ 746517800 w 174"/>
              <a:gd name="T3" fmla="*/ 492602097 h 174"/>
              <a:gd name="T4" fmla="*/ 558619053 w 174"/>
              <a:gd name="T5" fmla="*/ 391033562 h 174"/>
              <a:gd name="T6" fmla="*/ 558619053 w 174"/>
              <a:gd name="T7" fmla="*/ 517992541 h 174"/>
              <a:gd name="T8" fmla="*/ 289465028 w 174"/>
              <a:gd name="T9" fmla="*/ 391033562 h 174"/>
              <a:gd name="T10" fmla="*/ 289465028 w 174"/>
              <a:gd name="T11" fmla="*/ 528149169 h 174"/>
              <a:gd name="T12" fmla="*/ 0 w 174"/>
              <a:gd name="T13" fmla="*/ 391033562 h 174"/>
              <a:gd name="T14" fmla="*/ 0 w 174"/>
              <a:gd name="T15" fmla="*/ 883635660 h 174"/>
              <a:gd name="T16" fmla="*/ 883633406 w 174"/>
              <a:gd name="T17" fmla="*/ 883635660 h 174"/>
              <a:gd name="T18" fmla="*/ 883633406 w 174"/>
              <a:gd name="T19" fmla="*/ 126958978 h 174"/>
              <a:gd name="T20" fmla="*/ 746517800 w 174"/>
              <a:gd name="T21" fmla="*/ 126958978 h 174"/>
              <a:gd name="T22" fmla="*/ 700811847 w 174"/>
              <a:gd name="T23" fmla="*/ 50783141 h 174"/>
              <a:gd name="T24" fmla="*/ 771910497 w 174"/>
              <a:gd name="T25" fmla="*/ 76175838 h 174"/>
              <a:gd name="T26" fmla="*/ 792223753 w 174"/>
              <a:gd name="T27" fmla="*/ 91409653 h 174"/>
              <a:gd name="T28" fmla="*/ 797300940 w 174"/>
              <a:gd name="T29" fmla="*/ 96489094 h 174"/>
              <a:gd name="T30" fmla="*/ 797300940 w 174"/>
              <a:gd name="T31" fmla="*/ 96489094 h 174"/>
              <a:gd name="T32" fmla="*/ 797300940 w 174"/>
              <a:gd name="T33" fmla="*/ 96489094 h 174"/>
              <a:gd name="T34" fmla="*/ 797300940 w 174"/>
              <a:gd name="T35" fmla="*/ 96489094 h 174"/>
              <a:gd name="T36" fmla="*/ 797300940 w 174"/>
              <a:gd name="T37" fmla="*/ 96489094 h 174"/>
              <a:gd name="T38" fmla="*/ 802380381 w 174"/>
              <a:gd name="T39" fmla="*/ 96489094 h 174"/>
              <a:gd name="T40" fmla="*/ 837927453 w 174"/>
              <a:gd name="T41" fmla="*/ 66019209 h 174"/>
              <a:gd name="T42" fmla="*/ 837927453 w 174"/>
              <a:gd name="T43" fmla="*/ 66019209 h 174"/>
              <a:gd name="T44" fmla="*/ 802380381 w 174"/>
              <a:gd name="T45" fmla="*/ 30469884 h 174"/>
              <a:gd name="T46" fmla="*/ 700811847 w 174"/>
              <a:gd name="T47" fmla="*/ 0 h 174"/>
              <a:gd name="T48" fmla="*/ 563696240 w 174"/>
              <a:gd name="T49" fmla="*/ 66019209 h 174"/>
              <a:gd name="T50" fmla="*/ 599245565 w 174"/>
              <a:gd name="T51" fmla="*/ 101566281 h 174"/>
              <a:gd name="T52" fmla="*/ 700811847 w 174"/>
              <a:gd name="T53" fmla="*/ 50783141 h 174"/>
              <a:gd name="T54" fmla="*/ 325014353 w 174"/>
              <a:gd name="T55" fmla="*/ 172664931 h 174"/>
              <a:gd name="T56" fmla="*/ 421503447 w 174"/>
              <a:gd name="T57" fmla="*/ 208212003 h 174"/>
              <a:gd name="T58" fmla="*/ 421503447 w 174"/>
              <a:gd name="T59" fmla="*/ 208212003 h 174"/>
              <a:gd name="T60" fmla="*/ 558619053 w 174"/>
              <a:gd name="T61" fmla="*/ 142195047 h 174"/>
              <a:gd name="T62" fmla="*/ 523069728 w 174"/>
              <a:gd name="T63" fmla="*/ 106645722 h 174"/>
              <a:gd name="T64" fmla="*/ 421503447 w 174"/>
              <a:gd name="T65" fmla="*/ 157428862 h 174"/>
              <a:gd name="T66" fmla="*/ 350407050 w 174"/>
              <a:gd name="T67" fmla="*/ 132038419 h 174"/>
              <a:gd name="T68" fmla="*/ 335170981 w 174"/>
              <a:gd name="T69" fmla="*/ 111725163 h 174"/>
              <a:gd name="T70" fmla="*/ 330093794 w 174"/>
              <a:gd name="T71" fmla="*/ 106645722 h 174"/>
              <a:gd name="T72" fmla="*/ 325014353 w 174"/>
              <a:gd name="T73" fmla="*/ 106645722 h 174"/>
              <a:gd name="T74" fmla="*/ 325014353 w 174"/>
              <a:gd name="T75" fmla="*/ 106645722 h 174"/>
              <a:gd name="T76" fmla="*/ 284387841 w 174"/>
              <a:gd name="T77" fmla="*/ 137115606 h 174"/>
              <a:gd name="T78" fmla="*/ 325014353 w 174"/>
              <a:gd name="T79" fmla="*/ 172664931 h 174"/>
              <a:gd name="T80" fmla="*/ 325014353 w 174"/>
              <a:gd name="T81" fmla="*/ 106645722 h 174"/>
              <a:gd name="T82" fmla="*/ 319937166 w 174"/>
              <a:gd name="T83" fmla="*/ 111725163 h 174"/>
              <a:gd name="T84" fmla="*/ 325014353 w 174"/>
              <a:gd name="T85" fmla="*/ 106645722 h 174"/>
              <a:gd name="T86" fmla="*/ 325014353 w 174"/>
              <a:gd name="T87" fmla="*/ 106645722 h 174"/>
              <a:gd name="T88" fmla="*/ 152351675 w 174"/>
              <a:gd name="T89" fmla="*/ 50783141 h 174"/>
              <a:gd name="T90" fmla="*/ 223448072 w 174"/>
              <a:gd name="T91" fmla="*/ 76175838 h 174"/>
              <a:gd name="T92" fmla="*/ 243761328 w 174"/>
              <a:gd name="T93" fmla="*/ 91409653 h 174"/>
              <a:gd name="T94" fmla="*/ 248838515 w 174"/>
              <a:gd name="T95" fmla="*/ 96489094 h 174"/>
              <a:gd name="T96" fmla="*/ 248838515 w 174"/>
              <a:gd name="T97" fmla="*/ 96489094 h 174"/>
              <a:gd name="T98" fmla="*/ 248838515 w 174"/>
              <a:gd name="T99" fmla="*/ 96489094 h 174"/>
              <a:gd name="T100" fmla="*/ 289465028 w 174"/>
              <a:gd name="T101" fmla="*/ 66019209 h 174"/>
              <a:gd name="T102" fmla="*/ 289465028 w 174"/>
              <a:gd name="T103" fmla="*/ 66019209 h 174"/>
              <a:gd name="T104" fmla="*/ 253917956 w 174"/>
              <a:gd name="T105" fmla="*/ 30469884 h 174"/>
              <a:gd name="T106" fmla="*/ 152351675 w 174"/>
              <a:gd name="T107" fmla="*/ 0 h 174"/>
              <a:gd name="T108" fmla="*/ 15236069 w 174"/>
              <a:gd name="T109" fmla="*/ 66019209 h 174"/>
              <a:gd name="T110" fmla="*/ 50783141 w 174"/>
              <a:gd name="T111" fmla="*/ 101566281 h 174"/>
              <a:gd name="T112" fmla="*/ 152351675 w 174"/>
              <a:gd name="T113" fmla="*/ 50783141 h 174"/>
              <a:gd name="T114" fmla="*/ 253917956 w 174"/>
              <a:gd name="T115" fmla="*/ 96489094 h 174"/>
              <a:gd name="T116" fmla="*/ 248838515 w 174"/>
              <a:gd name="T117" fmla="*/ 96489094 h 174"/>
              <a:gd name="T118" fmla="*/ 248838515 w 174"/>
              <a:gd name="T119" fmla="*/ 96489094 h 174"/>
              <a:gd name="T120" fmla="*/ 253917956 w 174"/>
              <a:gd name="T121" fmla="*/ 96489094 h 17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4" h="174">
                <a:moveTo>
                  <a:pt x="147" y="25"/>
                </a:moveTo>
                <a:cubicBezTo>
                  <a:pt x="147" y="97"/>
                  <a:pt x="147" y="97"/>
                  <a:pt x="147" y="97"/>
                </a:cubicBezTo>
                <a:cubicBezTo>
                  <a:pt x="110" y="77"/>
                  <a:pt x="110" y="77"/>
                  <a:pt x="110" y="77"/>
                </a:cubicBezTo>
                <a:cubicBezTo>
                  <a:pt x="110" y="102"/>
                  <a:pt x="110" y="102"/>
                  <a:pt x="110" y="102"/>
                </a:cubicBezTo>
                <a:cubicBezTo>
                  <a:pt x="57" y="77"/>
                  <a:pt x="57" y="77"/>
                  <a:pt x="57" y="77"/>
                </a:cubicBezTo>
                <a:cubicBezTo>
                  <a:pt x="57" y="104"/>
                  <a:pt x="57" y="104"/>
                  <a:pt x="57" y="104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74"/>
                  <a:pt x="0" y="174"/>
                  <a:pt x="0" y="174"/>
                </a:cubicBezTo>
                <a:cubicBezTo>
                  <a:pt x="174" y="174"/>
                  <a:pt x="174" y="174"/>
                  <a:pt x="174" y="174"/>
                </a:cubicBezTo>
                <a:cubicBezTo>
                  <a:pt x="174" y="25"/>
                  <a:pt x="174" y="25"/>
                  <a:pt x="174" y="25"/>
                </a:cubicBezTo>
                <a:lnTo>
                  <a:pt x="147" y="25"/>
                </a:lnTo>
                <a:close/>
                <a:moveTo>
                  <a:pt x="138" y="10"/>
                </a:moveTo>
                <a:cubicBezTo>
                  <a:pt x="144" y="10"/>
                  <a:pt x="148" y="12"/>
                  <a:pt x="152" y="15"/>
                </a:cubicBezTo>
                <a:cubicBezTo>
                  <a:pt x="154" y="16"/>
                  <a:pt x="155" y="17"/>
                  <a:pt x="156" y="18"/>
                </a:cubicBezTo>
                <a:cubicBezTo>
                  <a:pt x="156" y="18"/>
                  <a:pt x="157" y="19"/>
                  <a:pt x="157" y="19"/>
                </a:cubicBezTo>
                <a:cubicBezTo>
                  <a:pt x="157" y="19"/>
                  <a:pt x="157" y="19"/>
                  <a:pt x="157" y="19"/>
                </a:cubicBezTo>
                <a:cubicBezTo>
                  <a:pt x="157" y="19"/>
                  <a:pt x="157" y="19"/>
                  <a:pt x="157" y="19"/>
                </a:cubicBezTo>
                <a:cubicBezTo>
                  <a:pt x="157" y="19"/>
                  <a:pt x="157" y="19"/>
                  <a:pt x="157" y="19"/>
                </a:cubicBezTo>
                <a:cubicBezTo>
                  <a:pt x="157" y="19"/>
                  <a:pt x="157" y="19"/>
                  <a:pt x="157" y="19"/>
                </a:cubicBezTo>
                <a:cubicBezTo>
                  <a:pt x="158" y="19"/>
                  <a:pt x="158" y="19"/>
                  <a:pt x="158" y="19"/>
                </a:cubicBezTo>
                <a:cubicBezTo>
                  <a:pt x="165" y="13"/>
                  <a:pt x="165" y="13"/>
                  <a:pt x="165" y="13"/>
                </a:cubicBezTo>
                <a:cubicBezTo>
                  <a:pt x="165" y="13"/>
                  <a:pt x="165" y="13"/>
                  <a:pt x="165" y="13"/>
                </a:cubicBezTo>
                <a:cubicBezTo>
                  <a:pt x="165" y="13"/>
                  <a:pt x="162" y="10"/>
                  <a:pt x="158" y="6"/>
                </a:cubicBezTo>
                <a:cubicBezTo>
                  <a:pt x="153" y="3"/>
                  <a:pt x="147" y="0"/>
                  <a:pt x="138" y="0"/>
                </a:cubicBezTo>
                <a:cubicBezTo>
                  <a:pt x="130" y="0"/>
                  <a:pt x="120" y="3"/>
                  <a:pt x="111" y="13"/>
                </a:cubicBezTo>
                <a:cubicBezTo>
                  <a:pt x="118" y="20"/>
                  <a:pt x="118" y="20"/>
                  <a:pt x="118" y="20"/>
                </a:cubicBezTo>
                <a:cubicBezTo>
                  <a:pt x="126" y="12"/>
                  <a:pt x="133" y="10"/>
                  <a:pt x="138" y="10"/>
                </a:cubicBezTo>
                <a:close/>
                <a:moveTo>
                  <a:pt x="64" y="34"/>
                </a:moveTo>
                <a:cubicBezTo>
                  <a:pt x="68" y="37"/>
                  <a:pt x="75" y="41"/>
                  <a:pt x="83" y="41"/>
                </a:cubicBezTo>
                <a:cubicBezTo>
                  <a:pt x="83" y="41"/>
                  <a:pt x="83" y="41"/>
                  <a:pt x="83" y="41"/>
                </a:cubicBezTo>
                <a:cubicBezTo>
                  <a:pt x="92" y="41"/>
                  <a:pt x="101" y="37"/>
                  <a:pt x="110" y="28"/>
                </a:cubicBezTo>
                <a:cubicBezTo>
                  <a:pt x="103" y="21"/>
                  <a:pt x="103" y="21"/>
                  <a:pt x="103" y="21"/>
                </a:cubicBezTo>
                <a:cubicBezTo>
                  <a:pt x="95" y="29"/>
                  <a:pt x="89" y="31"/>
                  <a:pt x="83" y="31"/>
                </a:cubicBezTo>
                <a:cubicBezTo>
                  <a:pt x="78" y="31"/>
                  <a:pt x="73" y="28"/>
                  <a:pt x="69" y="26"/>
                </a:cubicBezTo>
                <a:cubicBezTo>
                  <a:pt x="68" y="25"/>
                  <a:pt x="66" y="23"/>
                  <a:pt x="66" y="22"/>
                </a:cubicBezTo>
                <a:cubicBezTo>
                  <a:pt x="65" y="22"/>
                  <a:pt x="65" y="22"/>
                  <a:pt x="65" y="21"/>
                </a:cubicBezTo>
                <a:cubicBezTo>
                  <a:pt x="64" y="21"/>
                  <a:pt x="64" y="21"/>
                  <a:pt x="64" y="21"/>
                </a:cubicBezTo>
                <a:cubicBezTo>
                  <a:pt x="64" y="21"/>
                  <a:pt x="64" y="21"/>
                  <a:pt x="64" y="21"/>
                </a:cubicBezTo>
                <a:cubicBezTo>
                  <a:pt x="56" y="27"/>
                  <a:pt x="56" y="27"/>
                  <a:pt x="56" y="27"/>
                </a:cubicBezTo>
                <a:cubicBezTo>
                  <a:pt x="57" y="27"/>
                  <a:pt x="59" y="31"/>
                  <a:pt x="64" y="34"/>
                </a:cubicBezTo>
                <a:close/>
                <a:moveTo>
                  <a:pt x="64" y="21"/>
                </a:moveTo>
                <a:cubicBezTo>
                  <a:pt x="63" y="22"/>
                  <a:pt x="63" y="22"/>
                  <a:pt x="63" y="22"/>
                </a:cubicBezTo>
                <a:cubicBezTo>
                  <a:pt x="64" y="21"/>
                  <a:pt x="64" y="21"/>
                  <a:pt x="64" y="21"/>
                </a:cubicBezTo>
                <a:cubicBezTo>
                  <a:pt x="64" y="21"/>
                  <a:pt x="64" y="21"/>
                  <a:pt x="64" y="21"/>
                </a:cubicBezTo>
                <a:close/>
                <a:moveTo>
                  <a:pt x="30" y="10"/>
                </a:moveTo>
                <a:cubicBezTo>
                  <a:pt x="36" y="10"/>
                  <a:pt x="40" y="12"/>
                  <a:pt x="44" y="15"/>
                </a:cubicBezTo>
                <a:cubicBezTo>
                  <a:pt x="46" y="16"/>
                  <a:pt x="47" y="17"/>
                  <a:pt x="48" y="18"/>
                </a:cubicBezTo>
                <a:cubicBezTo>
                  <a:pt x="48" y="18"/>
                  <a:pt x="49" y="19"/>
                  <a:pt x="49" y="19"/>
                </a:cubicBezTo>
                <a:cubicBezTo>
                  <a:pt x="49" y="19"/>
                  <a:pt x="49" y="19"/>
                  <a:pt x="49" y="19"/>
                </a:cubicBezTo>
                <a:cubicBezTo>
                  <a:pt x="49" y="19"/>
                  <a:pt x="49" y="19"/>
                  <a:pt x="49" y="19"/>
                </a:cubicBezTo>
                <a:cubicBezTo>
                  <a:pt x="57" y="13"/>
                  <a:pt x="57" y="13"/>
                  <a:pt x="57" y="13"/>
                </a:cubicBezTo>
                <a:cubicBezTo>
                  <a:pt x="57" y="13"/>
                  <a:pt x="57" y="13"/>
                  <a:pt x="57" y="13"/>
                </a:cubicBezTo>
                <a:cubicBezTo>
                  <a:pt x="57" y="13"/>
                  <a:pt x="54" y="10"/>
                  <a:pt x="50" y="6"/>
                </a:cubicBezTo>
                <a:cubicBezTo>
                  <a:pt x="45" y="3"/>
                  <a:pt x="39" y="0"/>
                  <a:pt x="30" y="0"/>
                </a:cubicBezTo>
                <a:cubicBezTo>
                  <a:pt x="22" y="0"/>
                  <a:pt x="12" y="3"/>
                  <a:pt x="3" y="13"/>
                </a:cubicBezTo>
                <a:cubicBezTo>
                  <a:pt x="10" y="20"/>
                  <a:pt x="10" y="20"/>
                  <a:pt x="10" y="20"/>
                </a:cubicBezTo>
                <a:cubicBezTo>
                  <a:pt x="18" y="12"/>
                  <a:pt x="25" y="10"/>
                  <a:pt x="30" y="10"/>
                </a:cubicBezTo>
                <a:close/>
                <a:moveTo>
                  <a:pt x="50" y="19"/>
                </a:moveTo>
                <a:cubicBezTo>
                  <a:pt x="49" y="19"/>
                  <a:pt x="49" y="19"/>
                  <a:pt x="49" y="19"/>
                </a:cubicBezTo>
                <a:cubicBezTo>
                  <a:pt x="49" y="19"/>
                  <a:pt x="49" y="19"/>
                  <a:pt x="49" y="19"/>
                </a:cubicBezTo>
                <a:lnTo>
                  <a:pt x="50" y="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69" name="Freeform 152"/>
          <p:cNvSpPr>
            <a:spLocks noEditPoints="1"/>
          </p:cNvSpPr>
          <p:nvPr/>
        </p:nvSpPr>
        <p:spPr bwMode="auto">
          <a:xfrm>
            <a:off x="9690100" y="3981452"/>
            <a:ext cx="474133" cy="476249"/>
          </a:xfrm>
          <a:custGeom>
            <a:avLst/>
            <a:gdLst>
              <a:gd name="T0" fmla="*/ 400162532 w 158"/>
              <a:gd name="T1" fmla="*/ 0 h 158"/>
              <a:gd name="T2" fmla="*/ 0 w 158"/>
              <a:gd name="T3" fmla="*/ 403743387 h 158"/>
              <a:gd name="T4" fmla="*/ 400162532 w 158"/>
              <a:gd name="T5" fmla="*/ 807486773 h 158"/>
              <a:gd name="T6" fmla="*/ 800325063 w 158"/>
              <a:gd name="T7" fmla="*/ 403743387 h 158"/>
              <a:gd name="T8" fmla="*/ 400162532 w 158"/>
              <a:gd name="T9" fmla="*/ 0 h 158"/>
              <a:gd name="T10" fmla="*/ 379900084 w 158"/>
              <a:gd name="T11" fmla="*/ 76659564 h 158"/>
              <a:gd name="T12" fmla="*/ 430555078 w 158"/>
              <a:gd name="T13" fmla="*/ 76659564 h 158"/>
              <a:gd name="T14" fmla="*/ 430555078 w 158"/>
              <a:gd name="T15" fmla="*/ 178873824 h 158"/>
              <a:gd name="T16" fmla="*/ 379900084 w 158"/>
              <a:gd name="T17" fmla="*/ 178873824 h 158"/>
              <a:gd name="T18" fmla="*/ 379900084 w 158"/>
              <a:gd name="T19" fmla="*/ 76659564 h 158"/>
              <a:gd name="T20" fmla="*/ 227939600 w 158"/>
              <a:gd name="T21" fmla="*/ 265756171 h 158"/>
              <a:gd name="T22" fmla="*/ 157026658 w 158"/>
              <a:gd name="T23" fmla="*/ 194205737 h 158"/>
              <a:gd name="T24" fmla="*/ 192483129 w 158"/>
              <a:gd name="T25" fmla="*/ 158430520 h 158"/>
              <a:gd name="T26" fmla="*/ 263398322 w 158"/>
              <a:gd name="T27" fmla="*/ 229980954 h 158"/>
              <a:gd name="T28" fmla="*/ 227939600 w 158"/>
              <a:gd name="T29" fmla="*/ 265756171 h 158"/>
              <a:gd name="T30" fmla="*/ 253268223 w 158"/>
              <a:gd name="T31" fmla="*/ 112434781 h 158"/>
              <a:gd name="T32" fmla="*/ 298854792 w 158"/>
              <a:gd name="T33" fmla="*/ 91991477 h 158"/>
              <a:gd name="T34" fmla="*/ 344443613 w 158"/>
              <a:gd name="T35" fmla="*/ 183985215 h 158"/>
              <a:gd name="T36" fmla="*/ 298854792 w 158"/>
              <a:gd name="T37" fmla="*/ 204426259 h 158"/>
              <a:gd name="T38" fmla="*/ 253268223 w 158"/>
              <a:gd name="T39" fmla="*/ 112434781 h 158"/>
              <a:gd name="T40" fmla="*/ 405228706 w 158"/>
              <a:gd name="T41" fmla="*/ 695051992 h 158"/>
              <a:gd name="T42" fmla="*/ 329247339 w 158"/>
              <a:gd name="T43" fmla="*/ 618392427 h 158"/>
              <a:gd name="T44" fmla="*/ 379900084 w 158"/>
              <a:gd name="T45" fmla="*/ 541730602 h 158"/>
              <a:gd name="T46" fmla="*/ 379900084 w 158"/>
              <a:gd name="T47" fmla="*/ 311751909 h 158"/>
              <a:gd name="T48" fmla="*/ 430555078 w 158"/>
              <a:gd name="T49" fmla="*/ 311751909 h 158"/>
              <a:gd name="T50" fmla="*/ 430555078 w 158"/>
              <a:gd name="T51" fmla="*/ 541730602 h 158"/>
              <a:gd name="T52" fmla="*/ 486273997 w 158"/>
              <a:gd name="T53" fmla="*/ 618392427 h 158"/>
              <a:gd name="T54" fmla="*/ 405228706 w 158"/>
              <a:gd name="T55" fmla="*/ 695051992 h 158"/>
              <a:gd name="T56" fmla="*/ 466011549 w 158"/>
              <a:gd name="T57" fmla="*/ 183985215 h 158"/>
              <a:gd name="T58" fmla="*/ 506534195 w 158"/>
              <a:gd name="T59" fmla="*/ 91991477 h 158"/>
              <a:gd name="T60" fmla="*/ 557189190 w 158"/>
              <a:gd name="T61" fmla="*/ 112434781 h 158"/>
              <a:gd name="T62" fmla="*/ 511600370 w 158"/>
              <a:gd name="T63" fmla="*/ 204426259 h 158"/>
              <a:gd name="T64" fmla="*/ 466011549 w 158"/>
              <a:gd name="T65" fmla="*/ 183985215 h 158"/>
              <a:gd name="T66" fmla="*/ 577449387 w 158"/>
              <a:gd name="T67" fmla="*/ 265756171 h 158"/>
              <a:gd name="T68" fmla="*/ 541992916 w 158"/>
              <a:gd name="T69" fmla="*/ 229980954 h 158"/>
              <a:gd name="T70" fmla="*/ 612908109 w 158"/>
              <a:gd name="T71" fmla="*/ 158430520 h 158"/>
              <a:gd name="T72" fmla="*/ 648364580 w 158"/>
              <a:gd name="T73" fmla="*/ 194205737 h 158"/>
              <a:gd name="T74" fmla="*/ 577449387 w 158"/>
              <a:gd name="T75" fmla="*/ 265756171 h 15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58" h="158">
                <a:moveTo>
                  <a:pt x="79" y="0"/>
                </a:moveTo>
                <a:cubicBezTo>
                  <a:pt x="35" y="0"/>
                  <a:pt x="0" y="35"/>
                  <a:pt x="0" y="79"/>
                </a:cubicBezTo>
                <a:cubicBezTo>
                  <a:pt x="0" y="123"/>
                  <a:pt x="35" y="158"/>
                  <a:pt x="79" y="158"/>
                </a:cubicBezTo>
                <a:cubicBezTo>
                  <a:pt x="123" y="158"/>
                  <a:pt x="158" y="123"/>
                  <a:pt x="158" y="79"/>
                </a:cubicBezTo>
                <a:cubicBezTo>
                  <a:pt x="158" y="35"/>
                  <a:pt x="123" y="0"/>
                  <a:pt x="79" y="0"/>
                </a:cubicBezTo>
                <a:close/>
                <a:moveTo>
                  <a:pt x="75" y="15"/>
                </a:moveTo>
                <a:cubicBezTo>
                  <a:pt x="85" y="15"/>
                  <a:pt x="85" y="15"/>
                  <a:pt x="85" y="15"/>
                </a:cubicBezTo>
                <a:cubicBezTo>
                  <a:pt x="85" y="35"/>
                  <a:pt x="85" y="35"/>
                  <a:pt x="85" y="35"/>
                </a:cubicBezTo>
                <a:cubicBezTo>
                  <a:pt x="75" y="35"/>
                  <a:pt x="75" y="35"/>
                  <a:pt x="75" y="35"/>
                </a:cubicBezTo>
                <a:lnTo>
                  <a:pt x="75" y="15"/>
                </a:lnTo>
                <a:close/>
                <a:moveTo>
                  <a:pt x="45" y="52"/>
                </a:moveTo>
                <a:cubicBezTo>
                  <a:pt x="31" y="38"/>
                  <a:pt x="31" y="38"/>
                  <a:pt x="31" y="38"/>
                </a:cubicBezTo>
                <a:cubicBezTo>
                  <a:pt x="38" y="31"/>
                  <a:pt x="38" y="31"/>
                  <a:pt x="38" y="31"/>
                </a:cubicBezTo>
                <a:cubicBezTo>
                  <a:pt x="52" y="45"/>
                  <a:pt x="52" y="45"/>
                  <a:pt x="52" y="45"/>
                </a:cubicBezTo>
                <a:lnTo>
                  <a:pt x="45" y="52"/>
                </a:lnTo>
                <a:close/>
                <a:moveTo>
                  <a:pt x="50" y="22"/>
                </a:moveTo>
                <a:cubicBezTo>
                  <a:pt x="59" y="18"/>
                  <a:pt x="59" y="18"/>
                  <a:pt x="59" y="18"/>
                </a:cubicBezTo>
                <a:cubicBezTo>
                  <a:pt x="68" y="36"/>
                  <a:pt x="68" y="36"/>
                  <a:pt x="68" y="36"/>
                </a:cubicBezTo>
                <a:cubicBezTo>
                  <a:pt x="59" y="40"/>
                  <a:pt x="59" y="40"/>
                  <a:pt x="59" y="40"/>
                </a:cubicBezTo>
                <a:lnTo>
                  <a:pt x="50" y="22"/>
                </a:lnTo>
                <a:close/>
                <a:moveTo>
                  <a:pt x="80" y="136"/>
                </a:moveTo>
                <a:cubicBezTo>
                  <a:pt x="72" y="136"/>
                  <a:pt x="65" y="129"/>
                  <a:pt x="65" y="121"/>
                </a:cubicBezTo>
                <a:cubicBezTo>
                  <a:pt x="65" y="114"/>
                  <a:pt x="69" y="108"/>
                  <a:pt x="75" y="106"/>
                </a:cubicBezTo>
                <a:cubicBezTo>
                  <a:pt x="75" y="61"/>
                  <a:pt x="75" y="61"/>
                  <a:pt x="75" y="61"/>
                </a:cubicBezTo>
                <a:cubicBezTo>
                  <a:pt x="85" y="61"/>
                  <a:pt x="85" y="61"/>
                  <a:pt x="85" y="61"/>
                </a:cubicBezTo>
                <a:cubicBezTo>
                  <a:pt x="85" y="106"/>
                  <a:pt x="85" y="106"/>
                  <a:pt x="85" y="106"/>
                </a:cubicBezTo>
                <a:cubicBezTo>
                  <a:pt x="91" y="108"/>
                  <a:pt x="96" y="114"/>
                  <a:pt x="96" y="121"/>
                </a:cubicBezTo>
                <a:cubicBezTo>
                  <a:pt x="96" y="129"/>
                  <a:pt x="89" y="136"/>
                  <a:pt x="80" y="136"/>
                </a:cubicBezTo>
                <a:close/>
                <a:moveTo>
                  <a:pt x="92" y="36"/>
                </a:moveTo>
                <a:cubicBezTo>
                  <a:pt x="100" y="18"/>
                  <a:pt x="100" y="18"/>
                  <a:pt x="100" y="18"/>
                </a:cubicBezTo>
                <a:cubicBezTo>
                  <a:pt x="110" y="22"/>
                  <a:pt x="110" y="22"/>
                  <a:pt x="110" y="22"/>
                </a:cubicBezTo>
                <a:cubicBezTo>
                  <a:pt x="101" y="40"/>
                  <a:pt x="101" y="40"/>
                  <a:pt x="101" y="40"/>
                </a:cubicBezTo>
                <a:lnTo>
                  <a:pt x="92" y="36"/>
                </a:lnTo>
                <a:close/>
                <a:moveTo>
                  <a:pt x="114" y="52"/>
                </a:moveTo>
                <a:cubicBezTo>
                  <a:pt x="107" y="45"/>
                  <a:pt x="107" y="45"/>
                  <a:pt x="107" y="45"/>
                </a:cubicBezTo>
                <a:cubicBezTo>
                  <a:pt x="121" y="31"/>
                  <a:pt x="121" y="31"/>
                  <a:pt x="121" y="31"/>
                </a:cubicBezTo>
                <a:cubicBezTo>
                  <a:pt x="128" y="38"/>
                  <a:pt x="128" y="38"/>
                  <a:pt x="128" y="38"/>
                </a:cubicBezTo>
                <a:lnTo>
                  <a:pt x="114" y="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70" name="Freeform 153"/>
          <p:cNvSpPr>
            <a:spLocks noEditPoints="1"/>
          </p:cNvSpPr>
          <p:nvPr/>
        </p:nvSpPr>
        <p:spPr bwMode="auto">
          <a:xfrm>
            <a:off x="10496551" y="3922185"/>
            <a:ext cx="539749" cy="594783"/>
          </a:xfrm>
          <a:custGeom>
            <a:avLst/>
            <a:gdLst>
              <a:gd name="T0" fmla="*/ 20457706 w 179"/>
              <a:gd name="T1" fmla="*/ 203034921 h 198"/>
              <a:gd name="T2" fmla="*/ 10228853 w 179"/>
              <a:gd name="T3" fmla="*/ 218262709 h 198"/>
              <a:gd name="T4" fmla="*/ 0 w 179"/>
              <a:gd name="T5" fmla="*/ 248718285 h 198"/>
              <a:gd name="T6" fmla="*/ 15344410 w 179"/>
              <a:gd name="T7" fmla="*/ 284247538 h 198"/>
              <a:gd name="T8" fmla="*/ 71601971 w 179"/>
              <a:gd name="T9" fmla="*/ 335006831 h 198"/>
              <a:gd name="T10" fmla="*/ 322212260 w 179"/>
              <a:gd name="T11" fmla="*/ 507586176 h 198"/>
              <a:gd name="T12" fmla="*/ 322212260 w 179"/>
              <a:gd name="T13" fmla="*/ 370538337 h 198"/>
              <a:gd name="T14" fmla="*/ 20457706 w 179"/>
              <a:gd name="T15" fmla="*/ 203034921 h 198"/>
              <a:gd name="T16" fmla="*/ 746713049 w 179"/>
              <a:gd name="T17" fmla="*/ 741076673 h 198"/>
              <a:gd name="T18" fmla="*/ 746713049 w 179"/>
              <a:gd name="T19" fmla="*/ 741076673 h 198"/>
              <a:gd name="T20" fmla="*/ 797857314 w 179"/>
              <a:gd name="T21" fmla="*/ 756302208 h 198"/>
              <a:gd name="T22" fmla="*/ 849001578 w 179"/>
              <a:gd name="T23" fmla="*/ 746152602 h 198"/>
              <a:gd name="T24" fmla="*/ 905261400 w 179"/>
              <a:gd name="T25" fmla="*/ 675089591 h 198"/>
              <a:gd name="T26" fmla="*/ 879688137 w 179"/>
              <a:gd name="T27" fmla="*/ 558345469 h 198"/>
              <a:gd name="T28" fmla="*/ 879688137 w 179"/>
              <a:gd name="T29" fmla="*/ 553269540 h 198"/>
              <a:gd name="T30" fmla="*/ 782512904 w 179"/>
              <a:gd name="T31" fmla="*/ 482206529 h 198"/>
              <a:gd name="T32" fmla="*/ 675111079 w 179"/>
              <a:gd name="T33" fmla="*/ 507586176 h 198"/>
              <a:gd name="T34" fmla="*/ 618851257 w 179"/>
              <a:gd name="T35" fmla="*/ 527889893 h 198"/>
              <a:gd name="T36" fmla="*/ 577935845 w 179"/>
              <a:gd name="T37" fmla="*/ 522813964 h 198"/>
              <a:gd name="T38" fmla="*/ 521676023 w 179"/>
              <a:gd name="T39" fmla="*/ 492358388 h 198"/>
              <a:gd name="T40" fmla="*/ 526791580 w 179"/>
              <a:gd name="T41" fmla="*/ 598950651 h 198"/>
              <a:gd name="T42" fmla="*/ 746713049 w 179"/>
              <a:gd name="T43" fmla="*/ 741076673 h 198"/>
              <a:gd name="T44" fmla="*/ 782512904 w 179"/>
              <a:gd name="T45" fmla="*/ 558345469 h 198"/>
              <a:gd name="T46" fmla="*/ 813201724 w 179"/>
              <a:gd name="T47" fmla="*/ 695393309 h 198"/>
              <a:gd name="T48" fmla="*/ 644422258 w 179"/>
              <a:gd name="T49" fmla="*/ 593874722 h 198"/>
              <a:gd name="T50" fmla="*/ 782512904 w 179"/>
              <a:gd name="T51" fmla="*/ 558345469 h 198"/>
              <a:gd name="T52" fmla="*/ 378469820 w 179"/>
              <a:gd name="T53" fmla="*/ 639558086 h 198"/>
              <a:gd name="T54" fmla="*/ 363127672 w 179"/>
              <a:gd name="T55" fmla="*/ 680165521 h 198"/>
              <a:gd name="T56" fmla="*/ 317096703 w 179"/>
              <a:gd name="T57" fmla="*/ 715697026 h 198"/>
              <a:gd name="T58" fmla="*/ 245494732 w 179"/>
              <a:gd name="T59" fmla="*/ 796909643 h 198"/>
              <a:gd name="T60" fmla="*/ 265952438 w 179"/>
              <a:gd name="T61" fmla="*/ 918731947 h 198"/>
              <a:gd name="T62" fmla="*/ 352898819 w 179"/>
              <a:gd name="T63" fmla="*/ 999944564 h 198"/>
              <a:gd name="T64" fmla="*/ 444958495 w 179"/>
              <a:gd name="T65" fmla="*/ 979640846 h 198"/>
              <a:gd name="T66" fmla="*/ 480760611 w 179"/>
              <a:gd name="T67" fmla="*/ 944109341 h 198"/>
              <a:gd name="T68" fmla="*/ 485873907 w 179"/>
              <a:gd name="T69" fmla="*/ 893352301 h 198"/>
              <a:gd name="T70" fmla="*/ 485873907 w 179"/>
              <a:gd name="T71" fmla="*/ 893352301 h 198"/>
              <a:gd name="T72" fmla="*/ 470531758 w 179"/>
              <a:gd name="T73" fmla="*/ 609102510 h 198"/>
              <a:gd name="T74" fmla="*/ 465416201 w 179"/>
              <a:gd name="T75" fmla="*/ 588798793 h 198"/>
              <a:gd name="T76" fmla="*/ 480760611 w 179"/>
              <a:gd name="T77" fmla="*/ 573573257 h 198"/>
              <a:gd name="T78" fmla="*/ 485873907 w 179"/>
              <a:gd name="T79" fmla="*/ 573573257 h 198"/>
              <a:gd name="T80" fmla="*/ 485873907 w 179"/>
              <a:gd name="T81" fmla="*/ 573573257 h 198"/>
              <a:gd name="T82" fmla="*/ 485873907 w 179"/>
              <a:gd name="T83" fmla="*/ 573573257 h 198"/>
              <a:gd name="T84" fmla="*/ 480760611 w 179"/>
              <a:gd name="T85" fmla="*/ 294399396 h 198"/>
              <a:gd name="T86" fmla="*/ 460302905 w 179"/>
              <a:gd name="T87" fmla="*/ 111668193 h 198"/>
              <a:gd name="T88" fmla="*/ 439845199 w 179"/>
              <a:gd name="T89" fmla="*/ 30455576 h 198"/>
              <a:gd name="T90" fmla="*/ 414271936 w 179"/>
              <a:gd name="T91" fmla="*/ 5075929 h 198"/>
              <a:gd name="T92" fmla="*/ 383585377 w 179"/>
              <a:gd name="T93" fmla="*/ 0 h 198"/>
              <a:gd name="T94" fmla="*/ 363127672 w 179"/>
              <a:gd name="T95" fmla="*/ 0 h 198"/>
              <a:gd name="T96" fmla="*/ 378469820 w 179"/>
              <a:gd name="T97" fmla="*/ 543117681 h 198"/>
              <a:gd name="T98" fmla="*/ 378469820 w 179"/>
              <a:gd name="T99" fmla="*/ 639558086 h 198"/>
              <a:gd name="T100" fmla="*/ 409158641 w 179"/>
              <a:gd name="T101" fmla="*/ 730924814 h 198"/>
              <a:gd name="T102" fmla="*/ 419387494 w 179"/>
              <a:gd name="T103" fmla="*/ 923805624 h 198"/>
              <a:gd name="T104" fmla="*/ 317096703 w 179"/>
              <a:gd name="T105" fmla="*/ 832441148 h 198"/>
              <a:gd name="T106" fmla="*/ 409158641 w 179"/>
              <a:gd name="T107" fmla="*/ 730924814 h 19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79" h="198">
                <a:moveTo>
                  <a:pt x="4" y="40"/>
                </a:moveTo>
                <a:cubicBezTo>
                  <a:pt x="2" y="43"/>
                  <a:pt x="2" y="43"/>
                  <a:pt x="2" y="43"/>
                </a:cubicBezTo>
                <a:cubicBezTo>
                  <a:pt x="1" y="44"/>
                  <a:pt x="0" y="46"/>
                  <a:pt x="0" y="49"/>
                </a:cubicBezTo>
                <a:cubicBezTo>
                  <a:pt x="0" y="51"/>
                  <a:pt x="1" y="53"/>
                  <a:pt x="3" y="56"/>
                </a:cubicBezTo>
                <a:cubicBezTo>
                  <a:pt x="5" y="59"/>
                  <a:pt x="8" y="63"/>
                  <a:pt x="14" y="66"/>
                </a:cubicBezTo>
                <a:cubicBezTo>
                  <a:pt x="63" y="100"/>
                  <a:pt x="63" y="100"/>
                  <a:pt x="63" y="100"/>
                </a:cubicBezTo>
                <a:cubicBezTo>
                  <a:pt x="63" y="73"/>
                  <a:pt x="63" y="73"/>
                  <a:pt x="63" y="73"/>
                </a:cubicBezTo>
                <a:lnTo>
                  <a:pt x="4" y="40"/>
                </a:lnTo>
                <a:close/>
                <a:moveTo>
                  <a:pt x="146" y="146"/>
                </a:moveTo>
                <a:cubicBezTo>
                  <a:pt x="146" y="146"/>
                  <a:pt x="146" y="146"/>
                  <a:pt x="146" y="146"/>
                </a:cubicBezTo>
                <a:cubicBezTo>
                  <a:pt x="150" y="148"/>
                  <a:pt x="153" y="149"/>
                  <a:pt x="156" y="149"/>
                </a:cubicBezTo>
                <a:cubicBezTo>
                  <a:pt x="160" y="150"/>
                  <a:pt x="163" y="149"/>
                  <a:pt x="166" y="147"/>
                </a:cubicBezTo>
                <a:cubicBezTo>
                  <a:pt x="171" y="144"/>
                  <a:pt x="176" y="139"/>
                  <a:pt x="177" y="133"/>
                </a:cubicBezTo>
                <a:cubicBezTo>
                  <a:pt x="179" y="126"/>
                  <a:pt x="177" y="118"/>
                  <a:pt x="172" y="110"/>
                </a:cubicBezTo>
                <a:cubicBezTo>
                  <a:pt x="172" y="110"/>
                  <a:pt x="172" y="110"/>
                  <a:pt x="172" y="109"/>
                </a:cubicBezTo>
                <a:cubicBezTo>
                  <a:pt x="167" y="101"/>
                  <a:pt x="160" y="96"/>
                  <a:pt x="153" y="95"/>
                </a:cubicBezTo>
                <a:cubicBezTo>
                  <a:pt x="145" y="94"/>
                  <a:pt x="138" y="97"/>
                  <a:pt x="132" y="100"/>
                </a:cubicBezTo>
                <a:cubicBezTo>
                  <a:pt x="127" y="102"/>
                  <a:pt x="124" y="104"/>
                  <a:pt x="121" y="104"/>
                </a:cubicBezTo>
                <a:cubicBezTo>
                  <a:pt x="118" y="105"/>
                  <a:pt x="116" y="105"/>
                  <a:pt x="113" y="103"/>
                </a:cubicBezTo>
                <a:cubicBezTo>
                  <a:pt x="102" y="97"/>
                  <a:pt x="102" y="97"/>
                  <a:pt x="102" y="97"/>
                </a:cubicBezTo>
                <a:cubicBezTo>
                  <a:pt x="103" y="118"/>
                  <a:pt x="103" y="118"/>
                  <a:pt x="103" y="118"/>
                </a:cubicBezTo>
                <a:lnTo>
                  <a:pt x="146" y="146"/>
                </a:lnTo>
                <a:close/>
                <a:moveTo>
                  <a:pt x="153" y="110"/>
                </a:moveTo>
                <a:cubicBezTo>
                  <a:pt x="162" y="116"/>
                  <a:pt x="165" y="128"/>
                  <a:pt x="159" y="137"/>
                </a:cubicBezTo>
                <a:cubicBezTo>
                  <a:pt x="126" y="117"/>
                  <a:pt x="126" y="117"/>
                  <a:pt x="126" y="117"/>
                </a:cubicBezTo>
                <a:cubicBezTo>
                  <a:pt x="132" y="108"/>
                  <a:pt x="144" y="105"/>
                  <a:pt x="153" y="110"/>
                </a:cubicBezTo>
                <a:close/>
                <a:moveTo>
                  <a:pt x="74" y="126"/>
                </a:moveTo>
                <a:cubicBezTo>
                  <a:pt x="74" y="130"/>
                  <a:pt x="73" y="132"/>
                  <a:pt x="71" y="134"/>
                </a:cubicBezTo>
                <a:cubicBezTo>
                  <a:pt x="70" y="136"/>
                  <a:pt x="67" y="138"/>
                  <a:pt x="62" y="141"/>
                </a:cubicBezTo>
                <a:cubicBezTo>
                  <a:pt x="57" y="145"/>
                  <a:pt x="51" y="150"/>
                  <a:pt x="48" y="157"/>
                </a:cubicBezTo>
                <a:cubicBezTo>
                  <a:pt x="46" y="164"/>
                  <a:pt x="46" y="172"/>
                  <a:pt x="52" y="181"/>
                </a:cubicBezTo>
                <a:cubicBezTo>
                  <a:pt x="57" y="190"/>
                  <a:pt x="63" y="195"/>
                  <a:pt x="69" y="197"/>
                </a:cubicBezTo>
                <a:cubicBezTo>
                  <a:pt x="76" y="198"/>
                  <a:pt x="82" y="196"/>
                  <a:pt x="87" y="193"/>
                </a:cubicBezTo>
                <a:cubicBezTo>
                  <a:pt x="90" y="192"/>
                  <a:pt x="93" y="189"/>
                  <a:pt x="94" y="186"/>
                </a:cubicBezTo>
                <a:cubicBezTo>
                  <a:pt x="95" y="183"/>
                  <a:pt x="96" y="180"/>
                  <a:pt x="95" y="176"/>
                </a:cubicBezTo>
                <a:cubicBezTo>
                  <a:pt x="95" y="176"/>
                  <a:pt x="95" y="176"/>
                  <a:pt x="95" y="176"/>
                </a:cubicBezTo>
                <a:cubicBezTo>
                  <a:pt x="92" y="120"/>
                  <a:pt x="92" y="120"/>
                  <a:pt x="92" y="120"/>
                </a:cubicBezTo>
                <a:cubicBezTo>
                  <a:pt x="91" y="116"/>
                  <a:pt x="91" y="116"/>
                  <a:pt x="91" y="116"/>
                </a:cubicBezTo>
                <a:cubicBezTo>
                  <a:pt x="91" y="115"/>
                  <a:pt x="93" y="113"/>
                  <a:pt x="94" y="113"/>
                </a:cubicBezTo>
                <a:cubicBezTo>
                  <a:pt x="94" y="113"/>
                  <a:pt x="95" y="113"/>
                  <a:pt x="95" y="113"/>
                </a:cubicBezTo>
                <a:cubicBezTo>
                  <a:pt x="95" y="113"/>
                  <a:pt x="95" y="113"/>
                  <a:pt x="95" y="113"/>
                </a:cubicBezTo>
                <a:cubicBezTo>
                  <a:pt x="95" y="113"/>
                  <a:pt x="95" y="113"/>
                  <a:pt x="95" y="113"/>
                </a:cubicBezTo>
                <a:cubicBezTo>
                  <a:pt x="94" y="58"/>
                  <a:pt x="94" y="58"/>
                  <a:pt x="94" y="58"/>
                </a:cubicBezTo>
                <a:cubicBezTo>
                  <a:pt x="90" y="22"/>
                  <a:pt x="90" y="22"/>
                  <a:pt x="90" y="22"/>
                </a:cubicBezTo>
                <a:cubicBezTo>
                  <a:pt x="89" y="15"/>
                  <a:pt x="88" y="10"/>
                  <a:pt x="86" y="6"/>
                </a:cubicBezTo>
                <a:cubicBezTo>
                  <a:pt x="85" y="4"/>
                  <a:pt x="83" y="2"/>
                  <a:pt x="81" y="1"/>
                </a:cubicBezTo>
                <a:cubicBezTo>
                  <a:pt x="79" y="0"/>
                  <a:pt x="77" y="0"/>
                  <a:pt x="75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4" y="107"/>
                  <a:pt x="74" y="107"/>
                  <a:pt x="74" y="107"/>
                </a:cubicBezTo>
                <a:lnTo>
                  <a:pt x="74" y="126"/>
                </a:lnTo>
                <a:close/>
                <a:moveTo>
                  <a:pt x="80" y="144"/>
                </a:moveTo>
                <a:cubicBezTo>
                  <a:pt x="82" y="182"/>
                  <a:pt x="82" y="182"/>
                  <a:pt x="82" y="182"/>
                </a:cubicBezTo>
                <a:cubicBezTo>
                  <a:pt x="71" y="183"/>
                  <a:pt x="62" y="174"/>
                  <a:pt x="62" y="164"/>
                </a:cubicBezTo>
                <a:cubicBezTo>
                  <a:pt x="61" y="153"/>
                  <a:pt x="70" y="144"/>
                  <a:pt x="80" y="1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71" name="Freeform 154"/>
          <p:cNvSpPr>
            <a:spLocks noEditPoints="1"/>
          </p:cNvSpPr>
          <p:nvPr/>
        </p:nvSpPr>
        <p:spPr bwMode="auto">
          <a:xfrm>
            <a:off x="1132417" y="4726518"/>
            <a:ext cx="522816" cy="524933"/>
          </a:xfrm>
          <a:custGeom>
            <a:avLst/>
            <a:gdLst>
              <a:gd name="T0" fmla="*/ 441815576 w 174"/>
              <a:gd name="T1" fmla="*/ 0 h 174"/>
              <a:gd name="T2" fmla="*/ 883631153 w 174"/>
              <a:gd name="T3" fmla="*/ 445401408 h 174"/>
              <a:gd name="T4" fmla="*/ 441815576 w 174"/>
              <a:gd name="T5" fmla="*/ 890802816 h 174"/>
              <a:gd name="T6" fmla="*/ 0 w 174"/>
              <a:gd name="T7" fmla="*/ 445401408 h 174"/>
              <a:gd name="T8" fmla="*/ 441815576 w 174"/>
              <a:gd name="T9" fmla="*/ 0 h 174"/>
              <a:gd name="T10" fmla="*/ 441815576 w 174"/>
              <a:gd name="T11" fmla="*/ 235500479 h 174"/>
              <a:gd name="T12" fmla="*/ 233604104 w 174"/>
              <a:gd name="T13" fmla="*/ 445401408 h 174"/>
              <a:gd name="T14" fmla="*/ 441815576 w 174"/>
              <a:gd name="T15" fmla="*/ 655302337 h 174"/>
              <a:gd name="T16" fmla="*/ 650027048 w 174"/>
              <a:gd name="T17" fmla="*/ 445401408 h 174"/>
              <a:gd name="T18" fmla="*/ 441815576 w 174"/>
              <a:gd name="T19" fmla="*/ 235500479 h 17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74" h="174">
                <a:moveTo>
                  <a:pt x="87" y="0"/>
                </a:moveTo>
                <a:cubicBezTo>
                  <a:pt x="135" y="0"/>
                  <a:pt x="174" y="39"/>
                  <a:pt x="174" y="87"/>
                </a:cubicBezTo>
                <a:cubicBezTo>
                  <a:pt x="174" y="135"/>
                  <a:pt x="135" y="174"/>
                  <a:pt x="87" y="174"/>
                </a:cubicBezTo>
                <a:cubicBezTo>
                  <a:pt x="39" y="174"/>
                  <a:pt x="0" y="135"/>
                  <a:pt x="0" y="87"/>
                </a:cubicBezTo>
                <a:cubicBezTo>
                  <a:pt x="0" y="39"/>
                  <a:pt x="39" y="0"/>
                  <a:pt x="87" y="0"/>
                </a:cubicBezTo>
                <a:moveTo>
                  <a:pt x="87" y="46"/>
                </a:moveTo>
                <a:cubicBezTo>
                  <a:pt x="64" y="46"/>
                  <a:pt x="46" y="64"/>
                  <a:pt x="46" y="87"/>
                </a:cubicBezTo>
                <a:cubicBezTo>
                  <a:pt x="46" y="110"/>
                  <a:pt x="64" y="128"/>
                  <a:pt x="87" y="128"/>
                </a:cubicBezTo>
                <a:cubicBezTo>
                  <a:pt x="110" y="128"/>
                  <a:pt x="128" y="110"/>
                  <a:pt x="128" y="87"/>
                </a:cubicBezTo>
                <a:cubicBezTo>
                  <a:pt x="128" y="64"/>
                  <a:pt x="110" y="46"/>
                  <a:pt x="87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72" name="Freeform 155"/>
          <p:cNvSpPr>
            <a:spLocks noEditPoints="1"/>
          </p:cNvSpPr>
          <p:nvPr/>
        </p:nvSpPr>
        <p:spPr bwMode="auto">
          <a:xfrm>
            <a:off x="1308101" y="4902201"/>
            <a:ext cx="173567" cy="173567"/>
          </a:xfrm>
          <a:custGeom>
            <a:avLst/>
            <a:gdLst>
              <a:gd name="T0" fmla="*/ 146083283 w 58"/>
              <a:gd name="T1" fmla="*/ 0 h 58"/>
              <a:gd name="T2" fmla="*/ 0 w 58"/>
              <a:gd name="T3" fmla="*/ 146083283 h 58"/>
              <a:gd name="T4" fmla="*/ 146083283 w 58"/>
              <a:gd name="T5" fmla="*/ 292164321 h 58"/>
              <a:gd name="T6" fmla="*/ 292164321 w 58"/>
              <a:gd name="T7" fmla="*/ 146083283 h 58"/>
              <a:gd name="T8" fmla="*/ 146083283 w 58"/>
              <a:gd name="T9" fmla="*/ 0 h 58"/>
              <a:gd name="T10" fmla="*/ 146083283 w 58"/>
              <a:gd name="T11" fmla="*/ 196454275 h 58"/>
              <a:gd name="T12" fmla="*/ 95710047 w 58"/>
              <a:gd name="T13" fmla="*/ 146083283 h 58"/>
              <a:gd name="T14" fmla="*/ 146083283 w 58"/>
              <a:gd name="T15" fmla="*/ 95710047 h 58"/>
              <a:gd name="T16" fmla="*/ 196454275 w 58"/>
              <a:gd name="T17" fmla="*/ 146083283 h 58"/>
              <a:gd name="T18" fmla="*/ 146083283 w 58"/>
              <a:gd name="T19" fmla="*/ 196454275 h 5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8" h="58">
                <a:moveTo>
                  <a:pt x="29" y="0"/>
                </a:moveTo>
                <a:cubicBezTo>
                  <a:pt x="13" y="0"/>
                  <a:pt x="0" y="13"/>
                  <a:pt x="0" y="29"/>
                </a:cubicBezTo>
                <a:cubicBezTo>
                  <a:pt x="0" y="45"/>
                  <a:pt x="13" y="58"/>
                  <a:pt x="29" y="58"/>
                </a:cubicBezTo>
                <a:cubicBezTo>
                  <a:pt x="45" y="58"/>
                  <a:pt x="58" y="45"/>
                  <a:pt x="58" y="29"/>
                </a:cubicBezTo>
                <a:cubicBezTo>
                  <a:pt x="58" y="13"/>
                  <a:pt x="45" y="0"/>
                  <a:pt x="29" y="0"/>
                </a:cubicBezTo>
                <a:close/>
                <a:moveTo>
                  <a:pt x="29" y="39"/>
                </a:moveTo>
                <a:cubicBezTo>
                  <a:pt x="23" y="39"/>
                  <a:pt x="19" y="35"/>
                  <a:pt x="19" y="29"/>
                </a:cubicBezTo>
                <a:cubicBezTo>
                  <a:pt x="19" y="23"/>
                  <a:pt x="23" y="19"/>
                  <a:pt x="29" y="19"/>
                </a:cubicBezTo>
                <a:cubicBezTo>
                  <a:pt x="35" y="19"/>
                  <a:pt x="39" y="23"/>
                  <a:pt x="39" y="29"/>
                </a:cubicBezTo>
                <a:cubicBezTo>
                  <a:pt x="39" y="35"/>
                  <a:pt x="35" y="39"/>
                  <a:pt x="29" y="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73" name="Freeform 156"/>
          <p:cNvSpPr>
            <a:spLocks noEditPoints="1"/>
          </p:cNvSpPr>
          <p:nvPr/>
        </p:nvSpPr>
        <p:spPr bwMode="auto">
          <a:xfrm>
            <a:off x="2067984" y="4730751"/>
            <a:ext cx="431800" cy="493183"/>
          </a:xfrm>
          <a:custGeom>
            <a:avLst/>
            <a:gdLst>
              <a:gd name="T0" fmla="*/ 257055938 w 204"/>
              <a:gd name="T1" fmla="*/ 0 h 233"/>
              <a:gd name="T2" fmla="*/ 20161250 w 204"/>
              <a:gd name="T3" fmla="*/ 136088254 h 233"/>
              <a:gd name="T4" fmla="*/ 257055938 w 204"/>
              <a:gd name="T5" fmla="*/ 274697454 h 233"/>
              <a:gd name="T6" fmla="*/ 493950625 w 204"/>
              <a:gd name="T7" fmla="*/ 138609200 h 233"/>
              <a:gd name="T8" fmla="*/ 257055938 w 204"/>
              <a:gd name="T9" fmla="*/ 0 h 233"/>
              <a:gd name="T10" fmla="*/ 0 w 204"/>
              <a:gd name="T11" fmla="*/ 448587206 h 233"/>
              <a:gd name="T12" fmla="*/ 234375325 w 204"/>
              <a:gd name="T13" fmla="*/ 587196406 h 233"/>
              <a:gd name="T14" fmla="*/ 234375325 w 204"/>
              <a:gd name="T15" fmla="*/ 312498953 h 233"/>
              <a:gd name="T16" fmla="*/ 0 w 204"/>
              <a:gd name="T17" fmla="*/ 176410699 h 233"/>
              <a:gd name="T18" fmla="*/ 0 w 204"/>
              <a:gd name="T19" fmla="*/ 448587206 h 233"/>
              <a:gd name="T20" fmla="*/ 277217188 w 204"/>
              <a:gd name="T21" fmla="*/ 315019899 h 233"/>
              <a:gd name="T22" fmla="*/ 277217188 w 204"/>
              <a:gd name="T23" fmla="*/ 587196406 h 233"/>
              <a:gd name="T24" fmla="*/ 514111875 w 204"/>
              <a:gd name="T25" fmla="*/ 448587206 h 233"/>
              <a:gd name="T26" fmla="*/ 514111875 w 204"/>
              <a:gd name="T27" fmla="*/ 176410699 h 233"/>
              <a:gd name="T28" fmla="*/ 277217188 w 204"/>
              <a:gd name="T29" fmla="*/ 315019899 h 23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4" h="233">
                <a:moveTo>
                  <a:pt x="102" y="0"/>
                </a:moveTo>
                <a:lnTo>
                  <a:pt x="8" y="54"/>
                </a:lnTo>
                <a:lnTo>
                  <a:pt x="102" y="109"/>
                </a:lnTo>
                <a:lnTo>
                  <a:pt x="196" y="55"/>
                </a:lnTo>
                <a:lnTo>
                  <a:pt x="102" y="0"/>
                </a:lnTo>
                <a:close/>
                <a:moveTo>
                  <a:pt x="0" y="178"/>
                </a:moveTo>
                <a:lnTo>
                  <a:pt x="93" y="233"/>
                </a:lnTo>
                <a:lnTo>
                  <a:pt x="93" y="124"/>
                </a:lnTo>
                <a:lnTo>
                  <a:pt x="0" y="70"/>
                </a:lnTo>
                <a:lnTo>
                  <a:pt x="0" y="178"/>
                </a:lnTo>
                <a:close/>
                <a:moveTo>
                  <a:pt x="110" y="125"/>
                </a:moveTo>
                <a:lnTo>
                  <a:pt x="110" y="233"/>
                </a:lnTo>
                <a:lnTo>
                  <a:pt x="204" y="178"/>
                </a:lnTo>
                <a:lnTo>
                  <a:pt x="204" y="70"/>
                </a:lnTo>
                <a:lnTo>
                  <a:pt x="110" y="1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74" name="Freeform 157"/>
          <p:cNvSpPr>
            <a:spLocks noEditPoints="1"/>
          </p:cNvSpPr>
          <p:nvPr/>
        </p:nvSpPr>
        <p:spPr bwMode="auto">
          <a:xfrm>
            <a:off x="2893485" y="4747684"/>
            <a:ext cx="442383" cy="505883"/>
          </a:xfrm>
          <a:custGeom>
            <a:avLst/>
            <a:gdLst>
              <a:gd name="T0" fmla="*/ 0 w 147"/>
              <a:gd name="T1" fmla="*/ 51003813 h 168"/>
              <a:gd name="T2" fmla="*/ 0 w 147"/>
              <a:gd name="T3" fmla="*/ 805864313 h 168"/>
              <a:gd name="T4" fmla="*/ 50943975 w 147"/>
              <a:gd name="T5" fmla="*/ 856868126 h 168"/>
              <a:gd name="T6" fmla="*/ 112074037 w 147"/>
              <a:gd name="T7" fmla="*/ 856868126 h 168"/>
              <a:gd name="T8" fmla="*/ 112074037 w 147"/>
              <a:gd name="T9" fmla="*/ 0 h 168"/>
              <a:gd name="T10" fmla="*/ 50943975 w 147"/>
              <a:gd name="T11" fmla="*/ 0 h 168"/>
              <a:gd name="T12" fmla="*/ 0 w 147"/>
              <a:gd name="T13" fmla="*/ 51003813 h 168"/>
              <a:gd name="T14" fmla="*/ 173206356 w 147"/>
              <a:gd name="T15" fmla="*/ 0 h 168"/>
              <a:gd name="T16" fmla="*/ 173206356 w 147"/>
              <a:gd name="T17" fmla="*/ 856868126 h 168"/>
              <a:gd name="T18" fmla="*/ 748861315 w 147"/>
              <a:gd name="T19" fmla="*/ 856868126 h 168"/>
              <a:gd name="T20" fmla="*/ 748861315 w 147"/>
              <a:gd name="T21" fmla="*/ 0 h 168"/>
              <a:gd name="T22" fmla="*/ 173206356 w 147"/>
              <a:gd name="T23" fmla="*/ 0 h 168"/>
              <a:gd name="T24" fmla="*/ 682634825 w 147"/>
              <a:gd name="T25" fmla="*/ 632450445 h 168"/>
              <a:gd name="T26" fmla="*/ 239432847 w 147"/>
              <a:gd name="T27" fmla="*/ 632450445 h 168"/>
              <a:gd name="T28" fmla="*/ 239432847 w 147"/>
              <a:gd name="T29" fmla="*/ 566145939 h 168"/>
              <a:gd name="T30" fmla="*/ 295468737 w 147"/>
              <a:gd name="T31" fmla="*/ 530442818 h 168"/>
              <a:gd name="T32" fmla="*/ 361695228 w 147"/>
              <a:gd name="T33" fmla="*/ 504940912 h 168"/>
              <a:gd name="T34" fmla="*/ 382071915 w 147"/>
              <a:gd name="T35" fmla="*/ 499839176 h 168"/>
              <a:gd name="T36" fmla="*/ 402448603 w 147"/>
              <a:gd name="T37" fmla="*/ 469237791 h 168"/>
              <a:gd name="T38" fmla="*/ 407542775 w 147"/>
              <a:gd name="T39" fmla="*/ 464136055 h 168"/>
              <a:gd name="T40" fmla="*/ 397354431 w 147"/>
              <a:gd name="T41" fmla="*/ 443735884 h 168"/>
              <a:gd name="T42" fmla="*/ 392260259 w 147"/>
              <a:gd name="T43" fmla="*/ 408032764 h 168"/>
              <a:gd name="T44" fmla="*/ 387166087 w 147"/>
              <a:gd name="T45" fmla="*/ 408032764 h 168"/>
              <a:gd name="T46" fmla="*/ 371883572 w 147"/>
              <a:gd name="T47" fmla="*/ 357028950 h 168"/>
              <a:gd name="T48" fmla="*/ 376977744 w 147"/>
              <a:gd name="T49" fmla="*/ 336626522 h 168"/>
              <a:gd name="T50" fmla="*/ 412636946 w 147"/>
              <a:gd name="T51" fmla="*/ 234618896 h 168"/>
              <a:gd name="T52" fmla="*/ 504334296 w 147"/>
              <a:gd name="T53" fmla="*/ 234618896 h 168"/>
              <a:gd name="T54" fmla="*/ 514522640 w 147"/>
              <a:gd name="T55" fmla="*/ 244820110 h 168"/>
              <a:gd name="T56" fmla="*/ 529807413 w 147"/>
              <a:gd name="T57" fmla="*/ 244820110 h 168"/>
              <a:gd name="T58" fmla="*/ 539995756 w 147"/>
              <a:gd name="T59" fmla="*/ 265220280 h 168"/>
              <a:gd name="T60" fmla="*/ 545089928 w 147"/>
              <a:gd name="T61" fmla="*/ 295823923 h 168"/>
              <a:gd name="T62" fmla="*/ 539995756 w 147"/>
              <a:gd name="T63" fmla="*/ 336626522 h 168"/>
              <a:gd name="T64" fmla="*/ 545089928 w 147"/>
              <a:gd name="T65" fmla="*/ 351927214 h 168"/>
              <a:gd name="T66" fmla="*/ 545089928 w 147"/>
              <a:gd name="T67" fmla="*/ 382530857 h 168"/>
              <a:gd name="T68" fmla="*/ 539995756 w 147"/>
              <a:gd name="T69" fmla="*/ 402931027 h 168"/>
              <a:gd name="T70" fmla="*/ 524713241 w 147"/>
              <a:gd name="T71" fmla="*/ 413132242 h 168"/>
              <a:gd name="T72" fmla="*/ 524713241 w 147"/>
              <a:gd name="T73" fmla="*/ 438634148 h 168"/>
              <a:gd name="T74" fmla="*/ 509428468 w 147"/>
              <a:gd name="T75" fmla="*/ 464136055 h 168"/>
              <a:gd name="T76" fmla="*/ 524713241 w 147"/>
              <a:gd name="T77" fmla="*/ 469237791 h 168"/>
              <a:gd name="T78" fmla="*/ 539995756 w 147"/>
              <a:gd name="T79" fmla="*/ 499839176 h 168"/>
              <a:gd name="T80" fmla="*/ 560372444 w 147"/>
              <a:gd name="T81" fmla="*/ 504940912 h 168"/>
              <a:gd name="T82" fmla="*/ 631693106 w 147"/>
              <a:gd name="T83" fmla="*/ 530442818 h 168"/>
              <a:gd name="T84" fmla="*/ 682634825 w 147"/>
              <a:gd name="T85" fmla="*/ 566145939 h 168"/>
              <a:gd name="T86" fmla="*/ 682634825 w 147"/>
              <a:gd name="T87" fmla="*/ 632450445 h 16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47" h="168">
                <a:moveTo>
                  <a:pt x="0" y="10"/>
                </a:moveTo>
                <a:cubicBezTo>
                  <a:pt x="0" y="158"/>
                  <a:pt x="0" y="158"/>
                  <a:pt x="0" y="158"/>
                </a:cubicBezTo>
                <a:cubicBezTo>
                  <a:pt x="0" y="164"/>
                  <a:pt x="4" y="168"/>
                  <a:pt x="10" y="168"/>
                </a:cubicBezTo>
                <a:cubicBezTo>
                  <a:pt x="22" y="168"/>
                  <a:pt x="22" y="168"/>
                  <a:pt x="22" y="168"/>
                </a:cubicBez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4"/>
                  <a:pt x="0" y="10"/>
                </a:cubicBezTo>
                <a:close/>
                <a:moveTo>
                  <a:pt x="34" y="0"/>
                </a:moveTo>
                <a:cubicBezTo>
                  <a:pt x="34" y="168"/>
                  <a:pt x="34" y="168"/>
                  <a:pt x="34" y="168"/>
                </a:cubicBezTo>
                <a:cubicBezTo>
                  <a:pt x="147" y="168"/>
                  <a:pt x="147" y="168"/>
                  <a:pt x="147" y="168"/>
                </a:cubicBezTo>
                <a:cubicBezTo>
                  <a:pt x="147" y="0"/>
                  <a:pt x="147" y="0"/>
                  <a:pt x="147" y="0"/>
                </a:cubicBezTo>
                <a:lnTo>
                  <a:pt x="34" y="0"/>
                </a:lnTo>
                <a:close/>
                <a:moveTo>
                  <a:pt x="134" y="124"/>
                </a:moveTo>
                <a:cubicBezTo>
                  <a:pt x="47" y="124"/>
                  <a:pt x="47" y="124"/>
                  <a:pt x="47" y="124"/>
                </a:cubicBezTo>
                <a:cubicBezTo>
                  <a:pt x="47" y="120"/>
                  <a:pt x="47" y="114"/>
                  <a:pt x="47" y="111"/>
                </a:cubicBezTo>
                <a:cubicBezTo>
                  <a:pt x="49" y="107"/>
                  <a:pt x="54" y="106"/>
                  <a:pt x="58" y="104"/>
                </a:cubicBezTo>
                <a:cubicBezTo>
                  <a:pt x="62" y="103"/>
                  <a:pt x="67" y="100"/>
                  <a:pt x="71" y="99"/>
                </a:cubicBezTo>
                <a:cubicBezTo>
                  <a:pt x="72" y="98"/>
                  <a:pt x="74" y="98"/>
                  <a:pt x="75" y="98"/>
                </a:cubicBezTo>
                <a:cubicBezTo>
                  <a:pt x="76" y="97"/>
                  <a:pt x="78" y="93"/>
                  <a:pt x="79" y="92"/>
                </a:cubicBezTo>
                <a:cubicBezTo>
                  <a:pt x="80" y="91"/>
                  <a:pt x="80" y="91"/>
                  <a:pt x="80" y="91"/>
                </a:cubicBezTo>
                <a:cubicBezTo>
                  <a:pt x="80" y="89"/>
                  <a:pt x="79" y="89"/>
                  <a:pt x="78" y="87"/>
                </a:cubicBezTo>
                <a:cubicBezTo>
                  <a:pt x="78" y="85"/>
                  <a:pt x="78" y="82"/>
                  <a:pt x="77" y="80"/>
                </a:cubicBezTo>
                <a:cubicBezTo>
                  <a:pt x="77" y="80"/>
                  <a:pt x="76" y="80"/>
                  <a:pt x="76" y="80"/>
                </a:cubicBezTo>
                <a:cubicBezTo>
                  <a:pt x="73" y="78"/>
                  <a:pt x="73" y="72"/>
                  <a:pt x="73" y="70"/>
                </a:cubicBezTo>
                <a:cubicBezTo>
                  <a:pt x="73" y="69"/>
                  <a:pt x="74" y="68"/>
                  <a:pt x="74" y="66"/>
                </a:cubicBezTo>
                <a:cubicBezTo>
                  <a:pt x="71" y="54"/>
                  <a:pt x="75" y="48"/>
                  <a:pt x="81" y="46"/>
                </a:cubicBezTo>
                <a:cubicBezTo>
                  <a:pt x="85" y="45"/>
                  <a:pt x="92" y="42"/>
                  <a:pt x="99" y="46"/>
                </a:cubicBezTo>
                <a:cubicBezTo>
                  <a:pt x="101" y="48"/>
                  <a:pt x="101" y="48"/>
                  <a:pt x="101" y="48"/>
                </a:cubicBezTo>
                <a:cubicBezTo>
                  <a:pt x="104" y="48"/>
                  <a:pt x="104" y="48"/>
                  <a:pt x="104" y="48"/>
                </a:cubicBezTo>
                <a:cubicBezTo>
                  <a:pt x="105" y="49"/>
                  <a:pt x="106" y="52"/>
                  <a:pt x="106" y="52"/>
                </a:cubicBezTo>
                <a:cubicBezTo>
                  <a:pt x="107" y="54"/>
                  <a:pt x="107" y="55"/>
                  <a:pt x="107" y="58"/>
                </a:cubicBezTo>
                <a:cubicBezTo>
                  <a:pt x="107" y="59"/>
                  <a:pt x="106" y="64"/>
                  <a:pt x="106" y="66"/>
                </a:cubicBezTo>
                <a:cubicBezTo>
                  <a:pt x="106" y="67"/>
                  <a:pt x="107" y="67"/>
                  <a:pt x="107" y="69"/>
                </a:cubicBezTo>
                <a:cubicBezTo>
                  <a:pt x="108" y="71"/>
                  <a:pt x="108" y="73"/>
                  <a:pt x="107" y="75"/>
                </a:cubicBezTo>
                <a:cubicBezTo>
                  <a:pt x="107" y="76"/>
                  <a:pt x="107" y="78"/>
                  <a:pt x="106" y="79"/>
                </a:cubicBezTo>
                <a:cubicBezTo>
                  <a:pt x="105" y="80"/>
                  <a:pt x="104" y="80"/>
                  <a:pt x="103" y="81"/>
                </a:cubicBezTo>
                <a:cubicBezTo>
                  <a:pt x="103" y="82"/>
                  <a:pt x="103" y="85"/>
                  <a:pt x="103" y="86"/>
                </a:cubicBezTo>
                <a:cubicBezTo>
                  <a:pt x="102" y="88"/>
                  <a:pt x="100" y="89"/>
                  <a:pt x="100" y="91"/>
                </a:cubicBezTo>
                <a:cubicBezTo>
                  <a:pt x="101" y="91"/>
                  <a:pt x="102" y="91"/>
                  <a:pt x="103" y="92"/>
                </a:cubicBezTo>
                <a:cubicBezTo>
                  <a:pt x="103" y="93"/>
                  <a:pt x="105" y="97"/>
                  <a:pt x="106" y="98"/>
                </a:cubicBezTo>
                <a:cubicBezTo>
                  <a:pt x="108" y="98"/>
                  <a:pt x="109" y="98"/>
                  <a:pt x="110" y="99"/>
                </a:cubicBezTo>
                <a:cubicBezTo>
                  <a:pt x="114" y="100"/>
                  <a:pt x="119" y="103"/>
                  <a:pt x="124" y="104"/>
                </a:cubicBezTo>
                <a:cubicBezTo>
                  <a:pt x="128" y="106"/>
                  <a:pt x="132" y="107"/>
                  <a:pt x="134" y="111"/>
                </a:cubicBezTo>
                <a:cubicBezTo>
                  <a:pt x="134" y="114"/>
                  <a:pt x="134" y="120"/>
                  <a:pt x="134" y="1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75" name="Rectangle 158"/>
          <p:cNvSpPr>
            <a:spLocks noChangeArrowheads="1"/>
          </p:cNvSpPr>
          <p:nvPr/>
        </p:nvSpPr>
        <p:spPr bwMode="auto">
          <a:xfrm>
            <a:off x="3359152" y="4747685"/>
            <a:ext cx="44449" cy="1143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76" name="Rectangle 159"/>
          <p:cNvSpPr>
            <a:spLocks noChangeArrowheads="1"/>
          </p:cNvSpPr>
          <p:nvPr/>
        </p:nvSpPr>
        <p:spPr bwMode="auto">
          <a:xfrm>
            <a:off x="3359152" y="4893734"/>
            <a:ext cx="44449" cy="1164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77" name="Rectangle 160"/>
          <p:cNvSpPr>
            <a:spLocks noChangeArrowheads="1"/>
          </p:cNvSpPr>
          <p:nvPr/>
        </p:nvSpPr>
        <p:spPr bwMode="auto">
          <a:xfrm>
            <a:off x="3359152" y="5039784"/>
            <a:ext cx="44449" cy="1185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478" name="Freeform 161"/>
          <p:cNvSpPr>
            <a:spLocks noEditPoints="1"/>
          </p:cNvSpPr>
          <p:nvPr/>
        </p:nvSpPr>
        <p:spPr bwMode="auto">
          <a:xfrm>
            <a:off x="3738034" y="4747684"/>
            <a:ext cx="529167" cy="457200"/>
          </a:xfrm>
          <a:custGeom>
            <a:avLst/>
            <a:gdLst>
              <a:gd name="T0" fmla="*/ 315020325 w 250"/>
              <a:gd name="T1" fmla="*/ 0 h 216"/>
              <a:gd name="T2" fmla="*/ 0 w 250"/>
              <a:gd name="T3" fmla="*/ 544353750 h 216"/>
              <a:gd name="T4" fmla="*/ 630039063 w 250"/>
              <a:gd name="T5" fmla="*/ 544353750 h 216"/>
              <a:gd name="T6" fmla="*/ 315020325 w 250"/>
              <a:gd name="T7" fmla="*/ 0 h 216"/>
              <a:gd name="T8" fmla="*/ 347781563 w 250"/>
              <a:gd name="T9" fmla="*/ 476310325 h 216"/>
              <a:gd name="T10" fmla="*/ 279738138 w 250"/>
              <a:gd name="T11" fmla="*/ 476310325 h 216"/>
              <a:gd name="T12" fmla="*/ 279738138 w 250"/>
              <a:gd name="T13" fmla="*/ 413305625 h 216"/>
              <a:gd name="T14" fmla="*/ 347781563 w 250"/>
              <a:gd name="T15" fmla="*/ 413305625 h 216"/>
              <a:gd name="T16" fmla="*/ 347781563 w 250"/>
              <a:gd name="T17" fmla="*/ 476310325 h 216"/>
              <a:gd name="T18" fmla="*/ 327620313 w 250"/>
              <a:gd name="T19" fmla="*/ 388104063 h 216"/>
              <a:gd name="T20" fmla="*/ 297378438 w 250"/>
              <a:gd name="T21" fmla="*/ 388104063 h 216"/>
              <a:gd name="T22" fmla="*/ 279738138 w 250"/>
              <a:gd name="T23" fmla="*/ 234375325 h 216"/>
              <a:gd name="T24" fmla="*/ 279738138 w 250"/>
              <a:gd name="T25" fmla="*/ 151209375 h 216"/>
              <a:gd name="T26" fmla="*/ 347781563 w 250"/>
              <a:gd name="T27" fmla="*/ 151209375 h 216"/>
              <a:gd name="T28" fmla="*/ 347781563 w 250"/>
              <a:gd name="T29" fmla="*/ 234375325 h 216"/>
              <a:gd name="T30" fmla="*/ 327620313 w 250"/>
              <a:gd name="T31" fmla="*/ 388104063 h 21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250" h="216">
                <a:moveTo>
                  <a:pt x="125" y="0"/>
                </a:moveTo>
                <a:lnTo>
                  <a:pt x="0" y="216"/>
                </a:lnTo>
                <a:lnTo>
                  <a:pt x="250" y="216"/>
                </a:lnTo>
                <a:lnTo>
                  <a:pt x="125" y="0"/>
                </a:lnTo>
                <a:close/>
                <a:moveTo>
                  <a:pt x="138" y="189"/>
                </a:moveTo>
                <a:lnTo>
                  <a:pt x="111" y="189"/>
                </a:lnTo>
                <a:lnTo>
                  <a:pt x="111" y="164"/>
                </a:lnTo>
                <a:lnTo>
                  <a:pt x="138" y="164"/>
                </a:lnTo>
                <a:lnTo>
                  <a:pt x="138" y="189"/>
                </a:lnTo>
                <a:close/>
                <a:moveTo>
                  <a:pt x="130" y="154"/>
                </a:moveTo>
                <a:lnTo>
                  <a:pt x="118" y="154"/>
                </a:lnTo>
                <a:lnTo>
                  <a:pt x="111" y="93"/>
                </a:lnTo>
                <a:lnTo>
                  <a:pt x="111" y="60"/>
                </a:lnTo>
                <a:lnTo>
                  <a:pt x="138" y="60"/>
                </a:lnTo>
                <a:lnTo>
                  <a:pt x="138" y="93"/>
                </a:lnTo>
                <a:lnTo>
                  <a:pt x="130" y="1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79" name="Freeform 162"/>
          <p:cNvSpPr>
            <a:spLocks noEditPoints="1"/>
          </p:cNvSpPr>
          <p:nvPr/>
        </p:nvSpPr>
        <p:spPr bwMode="auto">
          <a:xfrm>
            <a:off x="4603751" y="4773084"/>
            <a:ext cx="455083" cy="457200"/>
          </a:xfrm>
          <a:custGeom>
            <a:avLst/>
            <a:gdLst>
              <a:gd name="T0" fmla="*/ 383203557 w 152"/>
              <a:gd name="T1" fmla="*/ 0 h 152"/>
              <a:gd name="T2" fmla="*/ 0 w 152"/>
              <a:gd name="T3" fmla="*/ 386777664 h 152"/>
              <a:gd name="T4" fmla="*/ 383203557 w 152"/>
              <a:gd name="T5" fmla="*/ 773555329 h 152"/>
              <a:gd name="T6" fmla="*/ 766407114 w 152"/>
              <a:gd name="T7" fmla="*/ 386777664 h 152"/>
              <a:gd name="T8" fmla="*/ 383203557 w 152"/>
              <a:gd name="T9" fmla="*/ 0 h 152"/>
              <a:gd name="T10" fmla="*/ 453794513 w 152"/>
              <a:gd name="T11" fmla="*/ 458026419 h 152"/>
              <a:gd name="T12" fmla="*/ 453794513 w 152"/>
              <a:gd name="T13" fmla="*/ 666683325 h 152"/>
              <a:gd name="T14" fmla="*/ 312612601 w 152"/>
              <a:gd name="T15" fmla="*/ 666683325 h 152"/>
              <a:gd name="T16" fmla="*/ 312612601 w 152"/>
              <a:gd name="T17" fmla="*/ 458026419 h 152"/>
              <a:gd name="T18" fmla="*/ 105885312 w 152"/>
              <a:gd name="T19" fmla="*/ 458026419 h 152"/>
              <a:gd name="T20" fmla="*/ 105885312 w 152"/>
              <a:gd name="T21" fmla="*/ 315528910 h 152"/>
              <a:gd name="T22" fmla="*/ 312612601 w 152"/>
              <a:gd name="T23" fmla="*/ 315528910 h 152"/>
              <a:gd name="T24" fmla="*/ 312612601 w 152"/>
              <a:gd name="T25" fmla="*/ 106872004 h 152"/>
              <a:gd name="T26" fmla="*/ 453794513 w 152"/>
              <a:gd name="T27" fmla="*/ 106872004 h 152"/>
              <a:gd name="T28" fmla="*/ 453794513 w 152"/>
              <a:gd name="T29" fmla="*/ 315528910 h 152"/>
              <a:gd name="T30" fmla="*/ 660521803 w 152"/>
              <a:gd name="T31" fmla="*/ 315528910 h 152"/>
              <a:gd name="T32" fmla="*/ 660521803 w 152"/>
              <a:gd name="T33" fmla="*/ 458026419 h 152"/>
              <a:gd name="T34" fmla="*/ 453794513 w 152"/>
              <a:gd name="T35" fmla="*/ 458026419 h 152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52" h="152">
                <a:moveTo>
                  <a:pt x="76" y="0"/>
                </a:moveTo>
                <a:cubicBezTo>
                  <a:pt x="34" y="0"/>
                  <a:pt x="0" y="34"/>
                  <a:pt x="0" y="76"/>
                </a:cubicBezTo>
                <a:cubicBezTo>
                  <a:pt x="0" y="118"/>
                  <a:pt x="34" y="152"/>
                  <a:pt x="76" y="152"/>
                </a:cubicBezTo>
                <a:cubicBezTo>
                  <a:pt x="118" y="152"/>
                  <a:pt x="152" y="118"/>
                  <a:pt x="152" y="76"/>
                </a:cubicBezTo>
                <a:cubicBezTo>
                  <a:pt x="152" y="34"/>
                  <a:pt x="118" y="0"/>
                  <a:pt x="76" y="0"/>
                </a:cubicBezTo>
                <a:close/>
                <a:moveTo>
                  <a:pt x="90" y="90"/>
                </a:moveTo>
                <a:cubicBezTo>
                  <a:pt x="90" y="131"/>
                  <a:pt x="90" y="131"/>
                  <a:pt x="90" y="131"/>
                </a:cubicBezTo>
                <a:cubicBezTo>
                  <a:pt x="62" y="131"/>
                  <a:pt x="62" y="131"/>
                  <a:pt x="62" y="131"/>
                </a:cubicBezTo>
                <a:cubicBezTo>
                  <a:pt x="62" y="90"/>
                  <a:pt x="62" y="90"/>
                  <a:pt x="62" y="90"/>
                </a:cubicBezTo>
                <a:cubicBezTo>
                  <a:pt x="21" y="90"/>
                  <a:pt x="21" y="90"/>
                  <a:pt x="21" y="90"/>
                </a:cubicBezTo>
                <a:cubicBezTo>
                  <a:pt x="21" y="62"/>
                  <a:pt x="21" y="62"/>
                  <a:pt x="21" y="62"/>
                </a:cubicBezTo>
                <a:cubicBezTo>
                  <a:pt x="62" y="62"/>
                  <a:pt x="62" y="62"/>
                  <a:pt x="62" y="62"/>
                </a:cubicBezTo>
                <a:cubicBezTo>
                  <a:pt x="62" y="21"/>
                  <a:pt x="62" y="21"/>
                  <a:pt x="62" y="21"/>
                </a:cubicBezTo>
                <a:cubicBezTo>
                  <a:pt x="90" y="21"/>
                  <a:pt x="90" y="21"/>
                  <a:pt x="90" y="21"/>
                </a:cubicBezTo>
                <a:cubicBezTo>
                  <a:pt x="90" y="62"/>
                  <a:pt x="90" y="62"/>
                  <a:pt x="90" y="62"/>
                </a:cubicBezTo>
                <a:cubicBezTo>
                  <a:pt x="131" y="62"/>
                  <a:pt x="131" y="62"/>
                  <a:pt x="131" y="62"/>
                </a:cubicBezTo>
                <a:cubicBezTo>
                  <a:pt x="131" y="90"/>
                  <a:pt x="131" y="90"/>
                  <a:pt x="131" y="90"/>
                </a:cubicBezTo>
                <a:lnTo>
                  <a:pt x="90" y="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0" name="Freeform 163"/>
          <p:cNvSpPr>
            <a:spLocks noEditPoints="1"/>
          </p:cNvSpPr>
          <p:nvPr/>
        </p:nvSpPr>
        <p:spPr bwMode="auto">
          <a:xfrm>
            <a:off x="6252634" y="4775200"/>
            <a:ext cx="474133" cy="476251"/>
          </a:xfrm>
          <a:custGeom>
            <a:avLst/>
            <a:gdLst>
              <a:gd name="T0" fmla="*/ 400162532 w 158"/>
              <a:gd name="T1" fmla="*/ 204426831 h 158"/>
              <a:gd name="T2" fmla="*/ 298854792 w 158"/>
              <a:gd name="T3" fmla="*/ 235090742 h 158"/>
              <a:gd name="T4" fmla="*/ 562253114 w 158"/>
              <a:gd name="T5" fmla="*/ 500847657 h 158"/>
              <a:gd name="T6" fmla="*/ 592645661 w 158"/>
              <a:gd name="T7" fmla="*/ 398633111 h 158"/>
              <a:gd name="T8" fmla="*/ 400162532 w 158"/>
              <a:gd name="T9" fmla="*/ 204426831 h 158"/>
              <a:gd name="T10" fmla="*/ 207679403 w 158"/>
              <a:gd name="T11" fmla="*/ 398633111 h 158"/>
              <a:gd name="T12" fmla="*/ 400162532 w 158"/>
              <a:gd name="T13" fmla="*/ 587730247 h 158"/>
              <a:gd name="T14" fmla="*/ 501470271 w 158"/>
              <a:gd name="T15" fmla="*/ 562175480 h 158"/>
              <a:gd name="T16" fmla="*/ 238071949 w 158"/>
              <a:gd name="T17" fmla="*/ 296420826 h 158"/>
              <a:gd name="T18" fmla="*/ 207679403 w 158"/>
              <a:gd name="T19" fmla="*/ 398633111 h 158"/>
              <a:gd name="T20" fmla="*/ 400162532 w 158"/>
              <a:gd name="T21" fmla="*/ 0 h 158"/>
              <a:gd name="T22" fmla="*/ 0 w 158"/>
              <a:gd name="T23" fmla="*/ 403744517 h 158"/>
              <a:gd name="T24" fmla="*/ 400162532 w 158"/>
              <a:gd name="T25" fmla="*/ 807489034 h 158"/>
              <a:gd name="T26" fmla="*/ 800325063 w 158"/>
              <a:gd name="T27" fmla="*/ 403744517 h 158"/>
              <a:gd name="T28" fmla="*/ 400162532 w 158"/>
              <a:gd name="T29" fmla="*/ 0 h 158"/>
              <a:gd name="T30" fmla="*/ 400162532 w 158"/>
              <a:gd name="T31" fmla="*/ 674610576 h 158"/>
              <a:gd name="T32" fmla="*/ 126634111 w 158"/>
              <a:gd name="T33" fmla="*/ 398633111 h 158"/>
              <a:gd name="T34" fmla="*/ 400162532 w 158"/>
              <a:gd name="T35" fmla="*/ 122655646 h 158"/>
              <a:gd name="T36" fmla="*/ 673690952 w 158"/>
              <a:gd name="T37" fmla="*/ 398633111 h 158"/>
              <a:gd name="T38" fmla="*/ 400162532 w 158"/>
              <a:gd name="T39" fmla="*/ 674610576 h 15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58" h="158">
                <a:moveTo>
                  <a:pt x="79" y="40"/>
                </a:moveTo>
                <a:cubicBezTo>
                  <a:pt x="72" y="40"/>
                  <a:pt x="65" y="42"/>
                  <a:pt x="59" y="46"/>
                </a:cubicBezTo>
                <a:cubicBezTo>
                  <a:pt x="111" y="98"/>
                  <a:pt x="111" y="98"/>
                  <a:pt x="111" y="98"/>
                </a:cubicBezTo>
                <a:cubicBezTo>
                  <a:pt x="115" y="92"/>
                  <a:pt x="117" y="85"/>
                  <a:pt x="117" y="78"/>
                </a:cubicBezTo>
                <a:cubicBezTo>
                  <a:pt x="117" y="57"/>
                  <a:pt x="100" y="40"/>
                  <a:pt x="79" y="40"/>
                </a:cubicBezTo>
                <a:close/>
                <a:moveTo>
                  <a:pt x="41" y="78"/>
                </a:moveTo>
                <a:cubicBezTo>
                  <a:pt x="41" y="99"/>
                  <a:pt x="58" y="115"/>
                  <a:pt x="79" y="115"/>
                </a:cubicBezTo>
                <a:cubicBezTo>
                  <a:pt x="87" y="115"/>
                  <a:pt x="93" y="113"/>
                  <a:pt x="99" y="110"/>
                </a:cubicBezTo>
                <a:cubicBezTo>
                  <a:pt x="47" y="58"/>
                  <a:pt x="47" y="58"/>
                  <a:pt x="47" y="58"/>
                </a:cubicBezTo>
                <a:cubicBezTo>
                  <a:pt x="44" y="63"/>
                  <a:pt x="41" y="70"/>
                  <a:pt x="41" y="78"/>
                </a:cubicBezTo>
                <a:close/>
                <a:moveTo>
                  <a:pt x="79" y="0"/>
                </a:moveTo>
                <a:cubicBezTo>
                  <a:pt x="36" y="0"/>
                  <a:pt x="0" y="36"/>
                  <a:pt x="0" y="79"/>
                </a:cubicBezTo>
                <a:cubicBezTo>
                  <a:pt x="0" y="122"/>
                  <a:pt x="36" y="158"/>
                  <a:pt x="79" y="158"/>
                </a:cubicBezTo>
                <a:cubicBezTo>
                  <a:pt x="122" y="158"/>
                  <a:pt x="158" y="122"/>
                  <a:pt x="158" y="79"/>
                </a:cubicBezTo>
                <a:cubicBezTo>
                  <a:pt x="158" y="36"/>
                  <a:pt x="122" y="0"/>
                  <a:pt x="79" y="0"/>
                </a:cubicBezTo>
                <a:close/>
                <a:moveTo>
                  <a:pt x="79" y="132"/>
                </a:moveTo>
                <a:cubicBezTo>
                  <a:pt x="49" y="132"/>
                  <a:pt x="25" y="108"/>
                  <a:pt x="25" y="78"/>
                </a:cubicBezTo>
                <a:cubicBezTo>
                  <a:pt x="25" y="48"/>
                  <a:pt x="49" y="24"/>
                  <a:pt x="79" y="24"/>
                </a:cubicBezTo>
                <a:cubicBezTo>
                  <a:pt x="109" y="24"/>
                  <a:pt x="133" y="48"/>
                  <a:pt x="133" y="78"/>
                </a:cubicBezTo>
                <a:cubicBezTo>
                  <a:pt x="133" y="108"/>
                  <a:pt x="109" y="132"/>
                  <a:pt x="79" y="1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1" name="Freeform 164"/>
          <p:cNvSpPr>
            <a:spLocks noEditPoints="1"/>
          </p:cNvSpPr>
          <p:nvPr/>
        </p:nvSpPr>
        <p:spPr bwMode="auto">
          <a:xfrm>
            <a:off x="7207251" y="4768852"/>
            <a:ext cx="270933" cy="512233"/>
          </a:xfrm>
          <a:custGeom>
            <a:avLst/>
            <a:gdLst>
              <a:gd name="T0" fmla="*/ 322580000 w 128"/>
              <a:gd name="T1" fmla="*/ 183972200 h 242"/>
              <a:gd name="T2" fmla="*/ 141128750 w 128"/>
              <a:gd name="T3" fmla="*/ 0 h 242"/>
              <a:gd name="T4" fmla="*/ 141128750 w 128"/>
              <a:gd name="T5" fmla="*/ 244455950 h 242"/>
              <a:gd name="T6" fmla="*/ 40322500 w 128"/>
              <a:gd name="T7" fmla="*/ 143649700 h 242"/>
              <a:gd name="T8" fmla="*/ 0 w 128"/>
              <a:gd name="T9" fmla="*/ 178931888 h 242"/>
              <a:gd name="T10" fmla="*/ 128528763 w 128"/>
              <a:gd name="T11" fmla="*/ 304939700 h 242"/>
              <a:gd name="T12" fmla="*/ 0 w 128"/>
              <a:gd name="T13" fmla="*/ 430947513 h 242"/>
              <a:gd name="T14" fmla="*/ 40322500 w 128"/>
              <a:gd name="T15" fmla="*/ 466229700 h 242"/>
              <a:gd name="T16" fmla="*/ 141128750 w 128"/>
              <a:gd name="T17" fmla="*/ 365423450 h 242"/>
              <a:gd name="T18" fmla="*/ 141128750 w 128"/>
              <a:gd name="T19" fmla="*/ 609877813 h 242"/>
              <a:gd name="T20" fmla="*/ 322580000 w 128"/>
              <a:gd name="T21" fmla="*/ 425907200 h 242"/>
              <a:gd name="T22" fmla="*/ 201612500 w 128"/>
              <a:gd name="T23" fmla="*/ 304939700 h 242"/>
              <a:gd name="T24" fmla="*/ 322580000 w 128"/>
              <a:gd name="T25" fmla="*/ 183972200 h 242"/>
              <a:gd name="T26" fmla="*/ 246975313 w 128"/>
              <a:gd name="T27" fmla="*/ 183972200 h 242"/>
              <a:gd name="T28" fmla="*/ 189012513 w 128"/>
              <a:gd name="T29" fmla="*/ 244455950 h 242"/>
              <a:gd name="T30" fmla="*/ 189012513 w 128"/>
              <a:gd name="T31" fmla="*/ 126007813 h 242"/>
              <a:gd name="T32" fmla="*/ 246975313 w 128"/>
              <a:gd name="T33" fmla="*/ 183972200 h 242"/>
              <a:gd name="T34" fmla="*/ 246975313 w 128"/>
              <a:gd name="T35" fmla="*/ 425907200 h 242"/>
              <a:gd name="T36" fmla="*/ 189012513 w 128"/>
              <a:gd name="T37" fmla="*/ 483870000 h 242"/>
              <a:gd name="T38" fmla="*/ 189012513 w 128"/>
              <a:gd name="T39" fmla="*/ 365423450 h 242"/>
              <a:gd name="T40" fmla="*/ 246975313 w 128"/>
              <a:gd name="T41" fmla="*/ 425907200 h 24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28" h="242">
                <a:moveTo>
                  <a:pt x="128" y="73"/>
                </a:moveTo>
                <a:lnTo>
                  <a:pt x="56" y="0"/>
                </a:lnTo>
                <a:lnTo>
                  <a:pt x="56" y="97"/>
                </a:lnTo>
                <a:lnTo>
                  <a:pt x="16" y="57"/>
                </a:lnTo>
                <a:lnTo>
                  <a:pt x="0" y="71"/>
                </a:lnTo>
                <a:lnTo>
                  <a:pt x="51" y="121"/>
                </a:lnTo>
                <a:lnTo>
                  <a:pt x="0" y="171"/>
                </a:lnTo>
                <a:lnTo>
                  <a:pt x="16" y="185"/>
                </a:lnTo>
                <a:lnTo>
                  <a:pt x="56" y="145"/>
                </a:lnTo>
                <a:lnTo>
                  <a:pt x="56" y="242"/>
                </a:lnTo>
                <a:lnTo>
                  <a:pt x="128" y="169"/>
                </a:lnTo>
                <a:lnTo>
                  <a:pt x="80" y="121"/>
                </a:lnTo>
                <a:lnTo>
                  <a:pt x="128" y="73"/>
                </a:lnTo>
                <a:close/>
                <a:moveTo>
                  <a:pt x="98" y="73"/>
                </a:moveTo>
                <a:lnTo>
                  <a:pt x="75" y="97"/>
                </a:lnTo>
                <a:lnTo>
                  <a:pt x="75" y="50"/>
                </a:lnTo>
                <a:lnTo>
                  <a:pt x="98" y="73"/>
                </a:lnTo>
                <a:close/>
                <a:moveTo>
                  <a:pt x="98" y="169"/>
                </a:moveTo>
                <a:lnTo>
                  <a:pt x="75" y="192"/>
                </a:lnTo>
                <a:lnTo>
                  <a:pt x="75" y="145"/>
                </a:lnTo>
                <a:lnTo>
                  <a:pt x="98" y="1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2" name="Freeform 165"/>
          <p:cNvSpPr>
            <a:spLocks noEditPoints="1"/>
          </p:cNvSpPr>
          <p:nvPr/>
        </p:nvSpPr>
        <p:spPr bwMode="auto">
          <a:xfrm>
            <a:off x="7899401" y="4737100"/>
            <a:ext cx="497417" cy="560917"/>
          </a:xfrm>
          <a:custGeom>
            <a:avLst/>
            <a:gdLst>
              <a:gd name="T0" fmla="*/ 838407403 w 166"/>
              <a:gd name="T1" fmla="*/ 86036320 h 187"/>
              <a:gd name="T2" fmla="*/ 767698480 w 166"/>
              <a:gd name="T3" fmla="*/ 45549037 h 187"/>
              <a:gd name="T4" fmla="*/ 696989558 w 166"/>
              <a:gd name="T5" fmla="*/ 0 h 187"/>
              <a:gd name="T6" fmla="*/ 363646530 w 166"/>
              <a:gd name="T7" fmla="*/ 531405433 h 187"/>
              <a:gd name="T8" fmla="*/ 242430271 w 166"/>
              <a:gd name="T9" fmla="*/ 607320495 h 187"/>
              <a:gd name="T10" fmla="*/ 0 w 166"/>
              <a:gd name="T11" fmla="*/ 779395385 h 187"/>
              <a:gd name="T12" fmla="*/ 449507204 w 166"/>
              <a:gd name="T13" fmla="*/ 779395385 h 187"/>
              <a:gd name="T14" fmla="*/ 489912624 w 166"/>
              <a:gd name="T15" fmla="*/ 647810027 h 187"/>
              <a:gd name="T16" fmla="*/ 838407403 w 166"/>
              <a:gd name="T17" fmla="*/ 86036320 h 187"/>
              <a:gd name="T18" fmla="*/ 419203702 w 166"/>
              <a:gd name="T19" fmla="*/ 526345928 h 187"/>
              <a:gd name="T20" fmla="*/ 464658956 w 166"/>
              <a:gd name="T21" fmla="*/ 460552125 h 187"/>
              <a:gd name="T22" fmla="*/ 525268209 w 166"/>
              <a:gd name="T23" fmla="*/ 501039408 h 187"/>
              <a:gd name="T24" fmla="*/ 479810707 w 166"/>
              <a:gd name="T25" fmla="*/ 566833211 h 187"/>
              <a:gd name="T26" fmla="*/ 419203702 w 166"/>
              <a:gd name="T27" fmla="*/ 526345928 h 18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66" h="187">
                <a:moveTo>
                  <a:pt x="166" y="17"/>
                </a:moveTo>
                <a:cubicBezTo>
                  <a:pt x="152" y="9"/>
                  <a:pt x="152" y="9"/>
                  <a:pt x="152" y="9"/>
                </a:cubicBezTo>
                <a:cubicBezTo>
                  <a:pt x="138" y="0"/>
                  <a:pt x="138" y="0"/>
                  <a:pt x="138" y="0"/>
                </a:cubicBezTo>
                <a:cubicBezTo>
                  <a:pt x="72" y="105"/>
                  <a:pt x="72" y="105"/>
                  <a:pt x="72" y="105"/>
                </a:cubicBezTo>
                <a:cubicBezTo>
                  <a:pt x="63" y="103"/>
                  <a:pt x="53" y="107"/>
                  <a:pt x="48" y="120"/>
                </a:cubicBezTo>
                <a:cubicBezTo>
                  <a:pt x="36" y="155"/>
                  <a:pt x="0" y="154"/>
                  <a:pt x="0" y="154"/>
                </a:cubicBezTo>
                <a:cubicBezTo>
                  <a:pt x="0" y="154"/>
                  <a:pt x="52" y="187"/>
                  <a:pt x="89" y="154"/>
                </a:cubicBezTo>
                <a:cubicBezTo>
                  <a:pt x="96" y="147"/>
                  <a:pt x="99" y="137"/>
                  <a:pt x="97" y="128"/>
                </a:cubicBezTo>
                <a:lnTo>
                  <a:pt x="166" y="17"/>
                </a:lnTo>
                <a:close/>
                <a:moveTo>
                  <a:pt x="83" y="104"/>
                </a:moveTo>
                <a:cubicBezTo>
                  <a:pt x="92" y="91"/>
                  <a:pt x="92" y="91"/>
                  <a:pt x="92" y="91"/>
                </a:cubicBezTo>
                <a:cubicBezTo>
                  <a:pt x="104" y="99"/>
                  <a:pt x="104" y="99"/>
                  <a:pt x="104" y="99"/>
                </a:cubicBezTo>
                <a:cubicBezTo>
                  <a:pt x="95" y="112"/>
                  <a:pt x="95" y="112"/>
                  <a:pt x="95" y="112"/>
                </a:cubicBezTo>
                <a:lnTo>
                  <a:pt x="83" y="1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3" name="Freeform 166"/>
          <p:cNvSpPr>
            <a:spLocks noEditPoints="1"/>
          </p:cNvSpPr>
          <p:nvPr/>
        </p:nvSpPr>
        <p:spPr bwMode="auto">
          <a:xfrm>
            <a:off x="8796867" y="4760384"/>
            <a:ext cx="505884" cy="505883"/>
          </a:xfrm>
          <a:custGeom>
            <a:avLst/>
            <a:gdLst>
              <a:gd name="T0" fmla="*/ 428434063 w 168"/>
              <a:gd name="T1" fmla="*/ 0 h 168"/>
              <a:gd name="T2" fmla="*/ 0 w 168"/>
              <a:gd name="T3" fmla="*/ 428435192 h 168"/>
              <a:gd name="T4" fmla="*/ 428434063 w 168"/>
              <a:gd name="T5" fmla="*/ 856868126 h 168"/>
              <a:gd name="T6" fmla="*/ 856868126 w 168"/>
              <a:gd name="T7" fmla="*/ 428435192 h 168"/>
              <a:gd name="T8" fmla="*/ 428434063 w 168"/>
              <a:gd name="T9" fmla="*/ 0 h 168"/>
              <a:gd name="T10" fmla="*/ 683453801 w 168"/>
              <a:gd name="T11" fmla="*/ 683454258 h 168"/>
              <a:gd name="T12" fmla="*/ 622248612 w 168"/>
              <a:gd name="T13" fmla="*/ 734458071 h 168"/>
              <a:gd name="T14" fmla="*/ 433533554 w 168"/>
              <a:gd name="T15" fmla="*/ 433534670 h 168"/>
              <a:gd name="T16" fmla="*/ 244818497 w 168"/>
              <a:gd name="T17" fmla="*/ 739559807 h 168"/>
              <a:gd name="T18" fmla="*/ 173414325 w 168"/>
              <a:gd name="T19" fmla="*/ 683454258 h 168"/>
              <a:gd name="T20" fmla="*/ 66304680 w 168"/>
              <a:gd name="T21" fmla="*/ 433534670 h 168"/>
              <a:gd name="T22" fmla="*/ 433533554 w 168"/>
              <a:gd name="T23" fmla="*/ 433534670 h 168"/>
              <a:gd name="T24" fmla="*/ 260121488 w 168"/>
              <a:gd name="T25" fmla="*/ 112208841 h 168"/>
              <a:gd name="T26" fmla="*/ 428434063 w 168"/>
              <a:gd name="T27" fmla="*/ 66304505 h 168"/>
              <a:gd name="T28" fmla="*/ 606947879 w 168"/>
              <a:gd name="T29" fmla="*/ 117308319 h 168"/>
              <a:gd name="T30" fmla="*/ 433533554 w 168"/>
              <a:gd name="T31" fmla="*/ 433534670 h 168"/>
              <a:gd name="T32" fmla="*/ 790563446 w 168"/>
              <a:gd name="T33" fmla="*/ 433534670 h 168"/>
              <a:gd name="T34" fmla="*/ 683453801 w 168"/>
              <a:gd name="T35" fmla="*/ 683454258 h 16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68" h="168">
                <a:moveTo>
                  <a:pt x="84" y="0"/>
                </a:moveTo>
                <a:cubicBezTo>
                  <a:pt x="38" y="0"/>
                  <a:pt x="0" y="38"/>
                  <a:pt x="0" y="84"/>
                </a:cubicBezTo>
                <a:cubicBezTo>
                  <a:pt x="0" y="130"/>
                  <a:pt x="38" y="168"/>
                  <a:pt x="84" y="168"/>
                </a:cubicBezTo>
                <a:cubicBezTo>
                  <a:pt x="130" y="168"/>
                  <a:pt x="168" y="130"/>
                  <a:pt x="168" y="84"/>
                </a:cubicBezTo>
                <a:cubicBezTo>
                  <a:pt x="168" y="38"/>
                  <a:pt x="130" y="0"/>
                  <a:pt x="84" y="0"/>
                </a:cubicBezTo>
                <a:close/>
                <a:moveTo>
                  <a:pt x="134" y="134"/>
                </a:moveTo>
                <a:cubicBezTo>
                  <a:pt x="130" y="138"/>
                  <a:pt x="126" y="141"/>
                  <a:pt x="122" y="144"/>
                </a:cubicBezTo>
                <a:cubicBezTo>
                  <a:pt x="85" y="85"/>
                  <a:pt x="85" y="85"/>
                  <a:pt x="85" y="85"/>
                </a:cubicBezTo>
                <a:cubicBezTo>
                  <a:pt x="48" y="145"/>
                  <a:pt x="48" y="145"/>
                  <a:pt x="48" y="145"/>
                </a:cubicBezTo>
                <a:cubicBezTo>
                  <a:pt x="43" y="142"/>
                  <a:pt x="38" y="138"/>
                  <a:pt x="34" y="134"/>
                </a:cubicBezTo>
                <a:cubicBezTo>
                  <a:pt x="21" y="121"/>
                  <a:pt x="14" y="104"/>
                  <a:pt x="13" y="85"/>
                </a:cubicBezTo>
                <a:cubicBezTo>
                  <a:pt x="85" y="85"/>
                  <a:pt x="85" y="85"/>
                  <a:pt x="85" y="85"/>
                </a:cubicBezTo>
                <a:cubicBezTo>
                  <a:pt x="51" y="22"/>
                  <a:pt x="51" y="22"/>
                  <a:pt x="51" y="22"/>
                </a:cubicBezTo>
                <a:cubicBezTo>
                  <a:pt x="61" y="16"/>
                  <a:pt x="72" y="13"/>
                  <a:pt x="84" y="13"/>
                </a:cubicBezTo>
                <a:cubicBezTo>
                  <a:pt x="97" y="13"/>
                  <a:pt x="109" y="17"/>
                  <a:pt x="119" y="23"/>
                </a:cubicBezTo>
                <a:cubicBezTo>
                  <a:pt x="85" y="85"/>
                  <a:pt x="85" y="85"/>
                  <a:pt x="85" y="85"/>
                </a:cubicBezTo>
                <a:cubicBezTo>
                  <a:pt x="155" y="85"/>
                  <a:pt x="155" y="85"/>
                  <a:pt x="155" y="85"/>
                </a:cubicBezTo>
                <a:cubicBezTo>
                  <a:pt x="154" y="104"/>
                  <a:pt x="147" y="121"/>
                  <a:pt x="134" y="1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4" name="Freeform 167"/>
          <p:cNvSpPr>
            <a:spLocks/>
          </p:cNvSpPr>
          <p:nvPr/>
        </p:nvSpPr>
        <p:spPr bwMode="auto">
          <a:xfrm>
            <a:off x="9664700" y="4847167"/>
            <a:ext cx="222251" cy="332317"/>
          </a:xfrm>
          <a:custGeom>
            <a:avLst/>
            <a:gdLst>
              <a:gd name="T0" fmla="*/ 0 w 105"/>
              <a:gd name="T1" fmla="*/ 196572582 h 157"/>
              <a:gd name="T2" fmla="*/ 196572777 w 105"/>
              <a:gd name="T3" fmla="*/ 0 h 157"/>
              <a:gd name="T4" fmla="*/ 264616406 w 105"/>
              <a:gd name="T5" fmla="*/ 68045149 h 157"/>
              <a:gd name="T6" fmla="*/ 136088846 w 105"/>
              <a:gd name="T7" fmla="*/ 196572582 h 157"/>
              <a:gd name="T8" fmla="*/ 264616406 w 105"/>
              <a:gd name="T9" fmla="*/ 327620970 h 157"/>
              <a:gd name="T10" fmla="*/ 196572777 w 105"/>
              <a:gd name="T11" fmla="*/ 395666119 h 157"/>
              <a:gd name="T12" fmla="*/ 0 w 105"/>
              <a:gd name="T13" fmla="*/ 196572582 h 157"/>
              <a:gd name="T14" fmla="*/ 0 w 105"/>
              <a:gd name="T15" fmla="*/ 196572582 h 15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05" h="157">
                <a:moveTo>
                  <a:pt x="0" y="78"/>
                </a:moveTo>
                <a:lnTo>
                  <a:pt x="78" y="0"/>
                </a:lnTo>
                <a:lnTo>
                  <a:pt x="105" y="27"/>
                </a:lnTo>
                <a:lnTo>
                  <a:pt x="54" y="78"/>
                </a:lnTo>
                <a:lnTo>
                  <a:pt x="105" y="130"/>
                </a:lnTo>
                <a:lnTo>
                  <a:pt x="78" y="157"/>
                </a:lnTo>
                <a:lnTo>
                  <a:pt x="0" y="7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5" name="Freeform 168"/>
          <p:cNvSpPr>
            <a:spLocks/>
          </p:cNvSpPr>
          <p:nvPr/>
        </p:nvSpPr>
        <p:spPr bwMode="auto">
          <a:xfrm>
            <a:off x="9965267" y="4847167"/>
            <a:ext cx="222251" cy="332317"/>
          </a:xfrm>
          <a:custGeom>
            <a:avLst/>
            <a:gdLst>
              <a:gd name="T0" fmla="*/ 0 w 105"/>
              <a:gd name="T1" fmla="*/ 327620970 h 157"/>
              <a:gd name="T2" fmla="*/ 128527561 w 105"/>
              <a:gd name="T3" fmla="*/ 196572582 h 157"/>
              <a:gd name="T4" fmla="*/ 25201638 w 105"/>
              <a:gd name="T5" fmla="*/ 93246762 h 157"/>
              <a:gd name="T6" fmla="*/ 0 w 105"/>
              <a:gd name="T7" fmla="*/ 68045149 h 157"/>
              <a:gd name="T8" fmla="*/ 68043629 w 105"/>
              <a:gd name="T9" fmla="*/ 0 h 157"/>
              <a:gd name="T10" fmla="*/ 93245267 w 105"/>
              <a:gd name="T11" fmla="*/ 25201613 h 157"/>
              <a:gd name="T12" fmla="*/ 264616406 w 105"/>
              <a:gd name="T13" fmla="*/ 196572582 h 157"/>
              <a:gd name="T14" fmla="*/ 68043629 w 105"/>
              <a:gd name="T15" fmla="*/ 395666119 h 157"/>
              <a:gd name="T16" fmla="*/ 0 w 105"/>
              <a:gd name="T17" fmla="*/ 327620970 h 157"/>
              <a:gd name="T18" fmla="*/ 0 w 105"/>
              <a:gd name="T19" fmla="*/ 327620970 h 15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05" h="157">
                <a:moveTo>
                  <a:pt x="0" y="130"/>
                </a:moveTo>
                <a:lnTo>
                  <a:pt x="51" y="78"/>
                </a:lnTo>
                <a:lnTo>
                  <a:pt x="10" y="37"/>
                </a:lnTo>
                <a:lnTo>
                  <a:pt x="0" y="27"/>
                </a:lnTo>
                <a:lnTo>
                  <a:pt x="27" y="0"/>
                </a:lnTo>
                <a:lnTo>
                  <a:pt x="37" y="10"/>
                </a:lnTo>
                <a:lnTo>
                  <a:pt x="105" y="78"/>
                </a:lnTo>
                <a:lnTo>
                  <a:pt x="27" y="157"/>
                </a:lnTo>
                <a:lnTo>
                  <a:pt x="0" y="1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6" name="Freeform 169"/>
          <p:cNvSpPr>
            <a:spLocks noEditPoints="1"/>
          </p:cNvSpPr>
          <p:nvPr/>
        </p:nvSpPr>
        <p:spPr bwMode="auto">
          <a:xfrm>
            <a:off x="10530417" y="4764617"/>
            <a:ext cx="522816" cy="522816"/>
          </a:xfrm>
          <a:custGeom>
            <a:avLst/>
            <a:gdLst>
              <a:gd name="T0" fmla="*/ 827768714 w 174"/>
              <a:gd name="T1" fmla="*/ 55862439 h 174"/>
              <a:gd name="T2" fmla="*/ 700810059 w 174"/>
              <a:gd name="T3" fmla="*/ 0 h 174"/>
              <a:gd name="T4" fmla="*/ 573851405 w 174"/>
              <a:gd name="T5" fmla="*/ 55862439 h 174"/>
              <a:gd name="T6" fmla="*/ 517991220 w 174"/>
              <a:gd name="T7" fmla="*/ 264073911 h 174"/>
              <a:gd name="T8" fmla="*/ 365639933 w 174"/>
              <a:gd name="T9" fmla="*/ 182821093 h 174"/>
              <a:gd name="T10" fmla="*/ 253917309 w 174"/>
              <a:gd name="T11" fmla="*/ 15236030 h 174"/>
              <a:gd name="T12" fmla="*/ 182821093 w 174"/>
              <a:gd name="T13" fmla="*/ 0 h 174"/>
              <a:gd name="T14" fmla="*/ 15236030 w 174"/>
              <a:gd name="T15" fmla="*/ 116802052 h 174"/>
              <a:gd name="T16" fmla="*/ 0 w 174"/>
              <a:gd name="T17" fmla="*/ 187898268 h 174"/>
              <a:gd name="T18" fmla="*/ 15236030 w 174"/>
              <a:gd name="T19" fmla="*/ 258996737 h 174"/>
              <a:gd name="T20" fmla="*/ 182821093 w 174"/>
              <a:gd name="T21" fmla="*/ 365642186 h 174"/>
              <a:gd name="T22" fmla="*/ 182821093 w 174"/>
              <a:gd name="T23" fmla="*/ 517991220 h 174"/>
              <a:gd name="T24" fmla="*/ 55862439 w 174"/>
              <a:gd name="T25" fmla="*/ 568776484 h 174"/>
              <a:gd name="T26" fmla="*/ 0 w 174"/>
              <a:gd name="T27" fmla="*/ 700812313 h 174"/>
              <a:gd name="T28" fmla="*/ 111722624 w 174"/>
              <a:gd name="T29" fmla="*/ 868397376 h 174"/>
              <a:gd name="T30" fmla="*/ 192977695 w 174"/>
              <a:gd name="T31" fmla="*/ 883633406 h 174"/>
              <a:gd name="T32" fmla="*/ 350406156 w 174"/>
              <a:gd name="T33" fmla="*/ 771908528 h 174"/>
              <a:gd name="T34" fmla="*/ 517991220 w 174"/>
              <a:gd name="T35" fmla="*/ 624636670 h 174"/>
              <a:gd name="T36" fmla="*/ 533224996 w 174"/>
              <a:gd name="T37" fmla="*/ 771908528 h 174"/>
              <a:gd name="T38" fmla="*/ 700810059 w 174"/>
              <a:gd name="T39" fmla="*/ 883633406 h 174"/>
              <a:gd name="T40" fmla="*/ 716046089 w 174"/>
              <a:gd name="T41" fmla="*/ 883633406 h 174"/>
              <a:gd name="T42" fmla="*/ 827768714 w 174"/>
              <a:gd name="T43" fmla="*/ 827770967 h 174"/>
              <a:gd name="T44" fmla="*/ 883631153 w 174"/>
              <a:gd name="T45" fmla="*/ 695735138 h 174"/>
              <a:gd name="T46" fmla="*/ 827768714 w 174"/>
              <a:gd name="T47" fmla="*/ 573853658 h 174"/>
              <a:gd name="T48" fmla="*/ 624636670 w 174"/>
              <a:gd name="T49" fmla="*/ 517991220 h 174"/>
              <a:gd name="T50" fmla="*/ 710966662 w 174"/>
              <a:gd name="T51" fmla="*/ 365642186 h 174"/>
              <a:gd name="T52" fmla="*/ 868395122 w 174"/>
              <a:gd name="T53" fmla="*/ 253917309 h 174"/>
              <a:gd name="T54" fmla="*/ 264073911 w 174"/>
              <a:gd name="T55" fmla="*/ 700812313 h 174"/>
              <a:gd name="T56" fmla="*/ 213290900 w 174"/>
              <a:gd name="T57" fmla="*/ 771908528 h 174"/>
              <a:gd name="T58" fmla="*/ 126958654 w 174"/>
              <a:gd name="T59" fmla="*/ 756674752 h 174"/>
              <a:gd name="T60" fmla="*/ 106645450 w 174"/>
              <a:gd name="T61" fmla="*/ 700812313 h 174"/>
              <a:gd name="T62" fmla="*/ 152351287 w 174"/>
              <a:gd name="T63" fmla="*/ 629716097 h 174"/>
              <a:gd name="T64" fmla="*/ 264073911 w 174"/>
              <a:gd name="T65" fmla="*/ 700812313 h 174"/>
              <a:gd name="T66" fmla="*/ 152351287 w 174"/>
              <a:gd name="T67" fmla="*/ 253917309 h 174"/>
              <a:gd name="T68" fmla="*/ 106645450 w 174"/>
              <a:gd name="T69" fmla="*/ 187898268 h 174"/>
              <a:gd name="T70" fmla="*/ 126958654 w 174"/>
              <a:gd name="T71" fmla="*/ 132038082 h 174"/>
              <a:gd name="T72" fmla="*/ 182821093 w 174"/>
              <a:gd name="T73" fmla="*/ 106645450 h 174"/>
              <a:gd name="T74" fmla="*/ 258994483 w 174"/>
              <a:gd name="T75" fmla="*/ 157428461 h 174"/>
              <a:gd name="T76" fmla="*/ 517991220 w 174"/>
              <a:gd name="T77" fmla="*/ 517991220 h 174"/>
              <a:gd name="T78" fmla="*/ 517991220 w 174"/>
              <a:gd name="T79" fmla="*/ 365642186 h 174"/>
              <a:gd name="T80" fmla="*/ 731279866 w 174"/>
              <a:gd name="T81" fmla="*/ 629716097 h 174"/>
              <a:gd name="T82" fmla="*/ 776985703 w 174"/>
              <a:gd name="T83" fmla="*/ 700812313 h 174"/>
              <a:gd name="T84" fmla="*/ 756672498 w 174"/>
              <a:gd name="T85" fmla="*/ 756674752 h 174"/>
              <a:gd name="T86" fmla="*/ 670340253 w 174"/>
              <a:gd name="T87" fmla="*/ 771908528 h 174"/>
              <a:gd name="T88" fmla="*/ 624636670 w 174"/>
              <a:gd name="T89" fmla="*/ 700812313 h 174"/>
              <a:gd name="T90" fmla="*/ 771908528 w 174"/>
              <a:gd name="T91" fmla="*/ 213290900 h 174"/>
              <a:gd name="T92" fmla="*/ 700810059 w 174"/>
              <a:gd name="T93" fmla="*/ 264073911 h 174"/>
              <a:gd name="T94" fmla="*/ 624636670 w 174"/>
              <a:gd name="T95" fmla="*/ 187898268 h 174"/>
              <a:gd name="T96" fmla="*/ 670340253 w 174"/>
              <a:gd name="T97" fmla="*/ 111724878 h 174"/>
              <a:gd name="T98" fmla="*/ 731279866 w 174"/>
              <a:gd name="T99" fmla="*/ 111724878 h 174"/>
              <a:gd name="T100" fmla="*/ 776985703 w 174"/>
              <a:gd name="T101" fmla="*/ 187898268 h 17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74" h="174">
                <a:moveTo>
                  <a:pt x="174" y="36"/>
                </a:moveTo>
                <a:cubicBezTo>
                  <a:pt x="174" y="31"/>
                  <a:pt x="173" y="27"/>
                  <a:pt x="171" y="23"/>
                </a:cubicBezTo>
                <a:cubicBezTo>
                  <a:pt x="169" y="18"/>
                  <a:pt x="167" y="14"/>
                  <a:pt x="163" y="11"/>
                </a:cubicBezTo>
                <a:cubicBezTo>
                  <a:pt x="160" y="8"/>
                  <a:pt x="156" y="5"/>
                  <a:pt x="152" y="3"/>
                </a:cubicBezTo>
                <a:cubicBezTo>
                  <a:pt x="148" y="1"/>
                  <a:pt x="143" y="0"/>
                  <a:pt x="138" y="0"/>
                </a:cubicBezTo>
                <a:cubicBezTo>
                  <a:pt x="138" y="0"/>
                  <a:pt x="138" y="0"/>
                  <a:pt x="138" y="0"/>
                </a:cubicBezTo>
                <a:cubicBezTo>
                  <a:pt x="138" y="0"/>
                  <a:pt x="138" y="0"/>
                  <a:pt x="138" y="0"/>
                </a:cubicBezTo>
                <a:cubicBezTo>
                  <a:pt x="133" y="0"/>
                  <a:pt x="128" y="1"/>
                  <a:pt x="124" y="3"/>
                </a:cubicBezTo>
                <a:cubicBezTo>
                  <a:pt x="120" y="5"/>
                  <a:pt x="116" y="8"/>
                  <a:pt x="113" y="11"/>
                </a:cubicBezTo>
                <a:cubicBezTo>
                  <a:pt x="109" y="14"/>
                  <a:pt x="107" y="18"/>
                  <a:pt x="105" y="23"/>
                </a:cubicBezTo>
                <a:cubicBezTo>
                  <a:pt x="103" y="27"/>
                  <a:pt x="102" y="32"/>
                  <a:pt x="102" y="37"/>
                </a:cubicBezTo>
                <a:cubicBezTo>
                  <a:pt x="102" y="52"/>
                  <a:pt x="102" y="52"/>
                  <a:pt x="102" y="52"/>
                </a:cubicBezTo>
                <a:cubicBezTo>
                  <a:pt x="72" y="51"/>
                  <a:pt x="72" y="51"/>
                  <a:pt x="72" y="51"/>
                </a:cubicBezTo>
                <a:cubicBezTo>
                  <a:pt x="72" y="36"/>
                  <a:pt x="72" y="36"/>
                  <a:pt x="72" y="36"/>
                </a:cubicBezTo>
                <a:cubicBezTo>
                  <a:pt x="72" y="36"/>
                  <a:pt x="72" y="36"/>
                  <a:pt x="72" y="36"/>
                </a:cubicBezTo>
                <a:cubicBezTo>
                  <a:pt x="72" y="31"/>
                  <a:pt x="71" y="27"/>
                  <a:pt x="70" y="23"/>
                </a:cubicBezTo>
                <a:cubicBezTo>
                  <a:pt x="68" y="18"/>
                  <a:pt x="65" y="14"/>
                  <a:pt x="62" y="11"/>
                </a:cubicBezTo>
                <a:cubicBezTo>
                  <a:pt x="59" y="8"/>
                  <a:pt x="55" y="5"/>
                  <a:pt x="50" y="3"/>
                </a:cubicBezTo>
                <a:cubicBezTo>
                  <a:pt x="46" y="1"/>
                  <a:pt x="41" y="0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1" y="0"/>
                  <a:pt x="27" y="1"/>
                  <a:pt x="22" y="3"/>
                </a:cubicBezTo>
                <a:cubicBezTo>
                  <a:pt x="18" y="5"/>
                  <a:pt x="14" y="8"/>
                  <a:pt x="11" y="11"/>
                </a:cubicBezTo>
                <a:cubicBezTo>
                  <a:pt x="8" y="14"/>
                  <a:pt x="5" y="18"/>
                  <a:pt x="3" y="23"/>
                </a:cubicBezTo>
                <a:cubicBezTo>
                  <a:pt x="1" y="27"/>
                  <a:pt x="0" y="32"/>
                  <a:pt x="0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42"/>
                  <a:pt x="1" y="46"/>
                  <a:pt x="3" y="51"/>
                </a:cubicBezTo>
                <a:cubicBezTo>
                  <a:pt x="5" y="55"/>
                  <a:pt x="8" y="59"/>
                  <a:pt x="11" y="62"/>
                </a:cubicBezTo>
                <a:cubicBezTo>
                  <a:pt x="14" y="65"/>
                  <a:pt x="18" y="68"/>
                  <a:pt x="22" y="69"/>
                </a:cubicBezTo>
                <a:cubicBezTo>
                  <a:pt x="27" y="71"/>
                  <a:pt x="31" y="72"/>
                  <a:pt x="36" y="72"/>
                </a:cubicBezTo>
                <a:cubicBezTo>
                  <a:pt x="52" y="72"/>
                  <a:pt x="52" y="72"/>
                  <a:pt x="52" y="72"/>
                </a:cubicBezTo>
                <a:cubicBezTo>
                  <a:pt x="52" y="102"/>
                  <a:pt x="52" y="102"/>
                  <a:pt x="52" y="102"/>
                </a:cubicBezTo>
                <a:cubicBezTo>
                  <a:pt x="36" y="102"/>
                  <a:pt x="36" y="102"/>
                  <a:pt x="36" y="102"/>
                </a:cubicBezTo>
                <a:cubicBezTo>
                  <a:pt x="36" y="102"/>
                  <a:pt x="36" y="102"/>
                  <a:pt x="36" y="102"/>
                </a:cubicBezTo>
                <a:cubicBezTo>
                  <a:pt x="31" y="102"/>
                  <a:pt x="27" y="103"/>
                  <a:pt x="22" y="105"/>
                </a:cubicBezTo>
                <a:cubicBezTo>
                  <a:pt x="18" y="107"/>
                  <a:pt x="14" y="109"/>
                  <a:pt x="11" y="112"/>
                </a:cubicBezTo>
                <a:cubicBezTo>
                  <a:pt x="8" y="116"/>
                  <a:pt x="5" y="119"/>
                  <a:pt x="3" y="124"/>
                </a:cubicBezTo>
                <a:cubicBezTo>
                  <a:pt x="1" y="128"/>
                  <a:pt x="0" y="133"/>
                  <a:pt x="0" y="138"/>
                </a:cubicBezTo>
                <a:cubicBezTo>
                  <a:pt x="0" y="138"/>
                  <a:pt x="0" y="138"/>
                  <a:pt x="0" y="138"/>
                </a:cubicBezTo>
                <a:cubicBezTo>
                  <a:pt x="0" y="143"/>
                  <a:pt x="1" y="147"/>
                  <a:pt x="3" y="152"/>
                </a:cubicBezTo>
                <a:cubicBezTo>
                  <a:pt x="5" y="156"/>
                  <a:pt x="8" y="160"/>
                  <a:pt x="11" y="163"/>
                </a:cubicBezTo>
                <a:cubicBezTo>
                  <a:pt x="14" y="166"/>
                  <a:pt x="18" y="169"/>
                  <a:pt x="22" y="171"/>
                </a:cubicBezTo>
                <a:cubicBezTo>
                  <a:pt x="27" y="173"/>
                  <a:pt x="31" y="174"/>
                  <a:pt x="36" y="174"/>
                </a:cubicBezTo>
                <a:cubicBezTo>
                  <a:pt x="38" y="174"/>
                  <a:pt x="38" y="174"/>
                  <a:pt x="38" y="174"/>
                </a:cubicBezTo>
                <a:cubicBezTo>
                  <a:pt x="38" y="174"/>
                  <a:pt x="38" y="174"/>
                  <a:pt x="38" y="174"/>
                </a:cubicBezTo>
                <a:cubicBezTo>
                  <a:pt x="42" y="174"/>
                  <a:pt x="46" y="173"/>
                  <a:pt x="50" y="171"/>
                </a:cubicBezTo>
                <a:cubicBezTo>
                  <a:pt x="55" y="169"/>
                  <a:pt x="59" y="166"/>
                  <a:pt x="62" y="163"/>
                </a:cubicBezTo>
                <a:cubicBezTo>
                  <a:pt x="65" y="160"/>
                  <a:pt x="68" y="156"/>
                  <a:pt x="69" y="152"/>
                </a:cubicBezTo>
                <a:cubicBezTo>
                  <a:pt x="71" y="147"/>
                  <a:pt x="72" y="143"/>
                  <a:pt x="72" y="138"/>
                </a:cubicBezTo>
                <a:cubicBezTo>
                  <a:pt x="72" y="123"/>
                  <a:pt x="72" y="123"/>
                  <a:pt x="72" y="123"/>
                </a:cubicBezTo>
                <a:cubicBezTo>
                  <a:pt x="102" y="123"/>
                  <a:pt x="102" y="123"/>
                  <a:pt x="102" y="123"/>
                </a:cubicBezTo>
                <a:cubicBezTo>
                  <a:pt x="102" y="138"/>
                  <a:pt x="102" y="138"/>
                  <a:pt x="102" y="138"/>
                </a:cubicBezTo>
                <a:cubicBezTo>
                  <a:pt x="102" y="138"/>
                  <a:pt x="102" y="138"/>
                  <a:pt x="102" y="138"/>
                </a:cubicBezTo>
                <a:cubicBezTo>
                  <a:pt x="102" y="143"/>
                  <a:pt x="103" y="147"/>
                  <a:pt x="105" y="152"/>
                </a:cubicBezTo>
                <a:cubicBezTo>
                  <a:pt x="107" y="156"/>
                  <a:pt x="109" y="160"/>
                  <a:pt x="113" y="163"/>
                </a:cubicBezTo>
                <a:cubicBezTo>
                  <a:pt x="116" y="166"/>
                  <a:pt x="120" y="169"/>
                  <a:pt x="124" y="171"/>
                </a:cubicBezTo>
                <a:cubicBezTo>
                  <a:pt x="128" y="173"/>
                  <a:pt x="133" y="174"/>
                  <a:pt x="138" y="174"/>
                </a:cubicBezTo>
                <a:cubicBezTo>
                  <a:pt x="138" y="174"/>
                  <a:pt x="138" y="174"/>
                  <a:pt x="138" y="174"/>
                </a:cubicBezTo>
                <a:cubicBezTo>
                  <a:pt x="138" y="174"/>
                  <a:pt x="138" y="174"/>
                  <a:pt x="138" y="174"/>
                </a:cubicBezTo>
                <a:cubicBezTo>
                  <a:pt x="141" y="174"/>
                  <a:pt x="141" y="174"/>
                  <a:pt x="141" y="174"/>
                </a:cubicBezTo>
                <a:cubicBezTo>
                  <a:pt x="141" y="174"/>
                  <a:pt x="141" y="174"/>
                  <a:pt x="141" y="174"/>
                </a:cubicBezTo>
                <a:cubicBezTo>
                  <a:pt x="145" y="173"/>
                  <a:pt x="149" y="172"/>
                  <a:pt x="152" y="171"/>
                </a:cubicBezTo>
                <a:cubicBezTo>
                  <a:pt x="156" y="169"/>
                  <a:pt x="160" y="166"/>
                  <a:pt x="163" y="163"/>
                </a:cubicBezTo>
                <a:cubicBezTo>
                  <a:pt x="167" y="160"/>
                  <a:pt x="169" y="156"/>
                  <a:pt x="171" y="152"/>
                </a:cubicBezTo>
                <a:cubicBezTo>
                  <a:pt x="173" y="147"/>
                  <a:pt x="174" y="143"/>
                  <a:pt x="174" y="138"/>
                </a:cubicBezTo>
                <a:cubicBezTo>
                  <a:pt x="174" y="137"/>
                  <a:pt x="174" y="137"/>
                  <a:pt x="174" y="137"/>
                </a:cubicBezTo>
                <a:cubicBezTo>
                  <a:pt x="174" y="137"/>
                  <a:pt x="174" y="137"/>
                  <a:pt x="174" y="137"/>
                </a:cubicBezTo>
                <a:cubicBezTo>
                  <a:pt x="174" y="133"/>
                  <a:pt x="173" y="128"/>
                  <a:pt x="171" y="124"/>
                </a:cubicBezTo>
                <a:cubicBezTo>
                  <a:pt x="169" y="120"/>
                  <a:pt x="167" y="116"/>
                  <a:pt x="163" y="113"/>
                </a:cubicBezTo>
                <a:cubicBezTo>
                  <a:pt x="160" y="109"/>
                  <a:pt x="156" y="107"/>
                  <a:pt x="152" y="105"/>
                </a:cubicBezTo>
                <a:cubicBezTo>
                  <a:pt x="148" y="103"/>
                  <a:pt x="143" y="102"/>
                  <a:pt x="138" y="102"/>
                </a:cubicBezTo>
                <a:cubicBezTo>
                  <a:pt x="123" y="102"/>
                  <a:pt x="123" y="102"/>
                  <a:pt x="123" y="102"/>
                </a:cubicBezTo>
                <a:cubicBezTo>
                  <a:pt x="123" y="72"/>
                  <a:pt x="123" y="72"/>
                  <a:pt x="123" y="72"/>
                </a:cubicBezTo>
                <a:cubicBezTo>
                  <a:pt x="140" y="72"/>
                  <a:pt x="140" y="72"/>
                  <a:pt x="140" y="72"/>
                </a:cubicBezTo>
                <a:cubicBezTo>
                  <a:pt x="140" y="72"/>
                  <a:pt x="140" y="72"/>
                  <a:pt x="140" y="72"/>
                </a:cubicBezTo>
                <a:cubicBezTo>
                  <a:pt x="144" y="72"/>
                  <a:pt x="148" y="71"/>
                  <a:pt x="152" y="69"/>
                </a:cubicBezTo>
                <a:cubicBezTo>
                  <a:pt x="156" y="68"/>
                  <a:pt x="160" y="65"/>
                  <a:pt x="163" y="62"/>
                </a:cubicBezTo>
                <a:cubicBezTo>
                  <a:pt x="167" y="59"/>
                  <a:pt x="169" y="55"/>
                  <a:pt x="171" y="50"/>
                </a:cubicBezTo>
                <a:cubicBezTo>
                  <a:pt x="173" y="46"/>
                  <a:pt x="174" y="41"/>
                  <a:pt x="174" y="37"/>
                </a:cubicBezTo>
                <a:cubicBezTo>
                  <a:pt x="174" y="36"/>
                  <a:pt x="174" y="36"/>
                  <a:pt x="174" y="36"/>
                </a:cubicBezTo>
                <a:close/>
                <a:moveTo>
                  <a:pt x="52" y="138"/>
                </a:moveTo>
                <a:cubicBezTo>
                  <a:pt x="52" y="140"/>
                  <a:pt x="52" y="142"/>
                  <a:pt x="51" y="144"/>
                </a:cubicBezTo>
                <a:cubicBezTo>
                  <a:pt x="50" y="146"/>
                  <a:pt x="49" y="147"/>
                  <a:pt x="47" y="149"/>
                </a:cubicBezTo>
                <a:cubicBezTo>
                  <a:pt x="46" y="150"/>
                  <a:pt x="44" y="151"/>
                  <a:pt x="42" y="152"/>
                </a:cubicBezTo>
                <a:cubicBezTo>
                  <a:pt x="41" y="153"/>
                  <a:pt x="39" y="153"/>
                  <a:pt x="36" y="153"/>
                </a:cubicBezTo>
                <a:cubicBezTo>
                  <a:pt x="34" y="153"/>
                  <a:pt x="32" y="153"/>
                  <a:pt x="30" y="152"/>
                </a:cubicBezTo>
                <a:cubicBezTo>
                  <a:pt x="28" y="151"/>
                  <a:pt x="27" y="150"/>
                  <a:pt x="25" y="149"/>
                </a:cubicBezTo>
                <a:cubicBezTo>
                  <a:pt x="24" y="147"/>
                  <a:pt x="23" y="146"/>
                  <a:pt x="22" y="144"/>
                </a:cubicBezTo>
                <a:cubicBezTo>
                  <a:pt x="21" y="142"/>
                  <a:pt x="21" y="140"/>
                  <a:pt x="21" y="138"/>
                </a:cubicBezTo>
                <a:cubicBezTo>
                  <a:pt x="21" y="138"/>
                  <a:pt x="21" y="138"/>
                  <a:pt x="21" y="138"/>
                </a:cubicBezTo>
                <a:cubicBezTo>
                  <a:pt x="21" y="136"/>
                  <a:pt x="21" y="134"/>
                  <a:pt x="22" y="132"/>
                </a:cubicBezTo>
                <a:cubicBezTo>
                  <a:pt x="23" y="130"/>
                  <a:pt x="24" y="128"/>
                  <a:pt x="25" y="127"/>
                </a:cubicBezTo>
                <a:cubicBezTo>
                  <a:pt x="27" y="126"/>
                  <a:pt x="28" y="125"/>
                  <a:pt x="30" y="124"/>
                </a:cubicBezTo>
                <a:cubicBezTo>
                  <a:pt x="32" y="123"/>
                  <a:pt x="34" y="123"/>
                  <a:pt x="36" y="123"/>
                </a:cubicBezTo>
                <a:cubicBezTo>
                  <a:pt x="52" y="123"/>
                  <a:pt x="52" y="123"/>
                  <a:pt x="52" y="123"/>
                </a:cubicBezTo>
                <a:lnTo>
                  <a:pt x="52" y="138"/>
                </a:lnTo>
                <a:close/>
                <a:moveTo>
                  <a:pt x="52" y="51"/>
                </a:moveTo>
                <a:cubicBezTo>
                  <a:pt x="36" y="51"/>
                  <a:pt x="36" y="51"/>
                  <a:pt x="36" y="51"/>
                </a:cubicBezTo>
                <a:cubicBezTo>
                  <a:pt x="34" y="51"/>
                  <a:pt x="32" y="51"/>
                  <a:pt x="30" y="50"/>
                </a:cubicBezTo>
                <a:cubicBezTo>
                  <a:pt x="29" y="49"/>
                  <a:pt x="27" y="48"/>
                  <a:pt x="25" y="47"/>
                </a:cubicBezTo>
                <a:cubicBezTo>
                  <a:pt x="24" y="46"/>
                  <a:pt x="23" y="44"/>
                  <a:pt x="22" y="42"/>
                </a:cubicBezTo>
                <a:cubicBezTo>
                  <a:pt x="21" y="40"/>
                  <a:pt x="21" y="39"/>
                  <a:pt x="21" y="37"/>
                </a:cubicBezTo>
                <a:cubicBezTo>
                  <a:pt x="21" y="37"/>
                  <a:pt x="21" y="37"/>
                  <a:pt x="21" y="37"/>
                </a:cubicBezTo>
                <a:cubicBezTo>
                  <a:pt x="21" y="34"/>
                  <a:pt x="21" y="32"/>
                  <a:pt x="22" y="31"/>
                </a:cubicBezTo>
                <a:cubicBezTo>
                  <a:pt x="23" y="29"/>
                  <a:pt x="24" y="27"/>
                  <a:pt x="25" y="26"/>
                </a:cubicBezTo>
                <a:cubicBezTo>
                  <a:pt x="27" y="24"/>
                  <a:pt x="28" y="23"/>
                  <a:pt x="30" y="22"/>
                </a:cubicBezTo>
                <a:cubicBezTo>
                  <a:pt x="32" y="21"/>
                  <a:pt x="34" y="21"/>
                  <a:pt x="36" y="21"/>
                </a:cubicBezTo>
                <a:cubicBezTo>
                  <a:pt x="36" y="21"/>
                  <a:pt x="36" y="21"/>
                  <a:pt x="36" y="21"/>
                </a:cubicBezTo>
                <a:cubicBezTo>
                  <a:pt x="39" y="21"/>
                  <a:pt x="41" y="21"/>
                  <a:pt x="42" y="22"/>
                </a:cubicBezTo>
                <a:cubicBezTo>
                  <a:pt x="44" y="23"/>
                  <a:pt x="46" y="24"/>
                  <a:pt x="47" y="26"/>
                </a:cubicBezTo>
                <a:cubicBezTo>
                  <a:pt x="49" y="27"/>
                  <a:pt x="50" y="29"/>
                  <a:pt x="51" y="31"/>
                </a:cubicBezTo>
                <a:cubicBezTo>
                  <a:pt x="52" y="32"/>
                  <a:pt x="52" y="34"/>
                  <a:pt x="52" y="37"/>
                </a:cubicBezTo>
                <a:lnTo>
                  <a:pt x="52" y="51"/>
                </a:lnTo>
                <a:close/>
                <a:moveTo>
                  <a:pt x="102" y="102"/>
                </a:moveTo>
                <a:cubicBezTo>
                  <a:pt x="72" y="102"/>
                  <a:pt x="72" y="102"/>
                  <a:pt x="72" y="102"/>
                </a:cubicBezTo>
                <a:cubicBezTo>
                  <a:pt x="72" y="72"/>
                  <a:pt x="72" y="72"/>
                  <a:pt x="72" y="72"/>
                </a:cubicBezTo>
                <a:cubicBezTo>
                  <a:pt x="102" y="72"/>
                  <a:pt x="102" y="72"/>
                  <a:pt x="102" y="72"/>
                </a:cubicBezTo>
                <a:lnTo>
                  <a:pt x="102" y="102"/>
                </a:lnTo>
                <a:close/>
                <a:moveTo>
                  <a:pt x="138" y="123"/>
                </a:moveTo>
                <a:cubicBezTo>
                  <a:pt x="140" y="123"/>
                  <a:pt x="142" y="123"/>
                  <a:pt x="144" y="124"/>
                </a:cubicBezTo>
                <a:cubicBezTo>
                  <a:pt x="146" y="125"/>
                  <a:pt x="147" y="126"/>
                  <a:pt x="149" y="127"/>
                </a:cubicBezTo>
                <a:cubicBezTo>
                  <a:pt x="150" y="128"/>
                  <a:pt x="151" y="130"/>
                  <a:pt x="152" y="132"/>
                </a:cubicBezTo>
                <a:cubicBezTo>
                  <a:pt x="153" y="134"/>
                  <a:pt x="153" y="136"/>
                  <a:pt x="153" y="138"/>
                </a:cubicBezTo>
                <a:cubicBezTo>
                  <a:pt x="153" y="138"/>
                  <a:pt x="153" y="138"/>
                  <a:pt x="153" y="138"/>
                </a:cubicBezTo>
                <a:cubicBezTo>
                  <a:pt x="153" y="140"/>
                  <a:pt x="153" y="142"/>
                  <a:pt x="152" y="144"/>
                </a:cubicBezTo>
                <a:cubicBezTo>
                  <a:pt x="151" y="146"/>
                  <a:pt x="150" y="147"/>
                  <a:pt x="149" y="149"/>
                </a:cubicBezTo>
                <a:cubicBezTo>
                  <a:pt x="147" y="150"/>
                  <a:pt x="146" y="151"/>
                  <a:pt x="144" y="152"/>
                </a:cubicBezTo>
                <a:cubicBezTo>
                  <a:pt x="142" y="153"/>
                  <a:pt x="140" y="153"/>
                  <a:pt x="138" y="153"/>
                </a:cubicBezTo>
                <a:cubicBezTo>
                  <a:pt x="136" y="153"/>
                  <a:pt x="134" y="153"/>
                  <a:pt x="132" y="152"/>
                </a:cubicBezTo>
                <a:cubicBezTo>
                  <a:pt x="130" y="151"/>
                  <a:pt x="129" y="150"/>
                  <a:pt x="127" y="149"/>
                </a:cubicBezTo>
                <a:cubicBezTo>
                  <a:pt x="126" y="147"/>
                  <a:pt x="125" y="146"/>
                  <a:pt x="124" y="144"/>
                </a:cubicBezTo>
                <a:cubicBezTo>
                  <a:pt x="123" y="142"/>
                  <a:pt x="123" y="140"/>
                  <a:pt x="123" y="138"/>
                </a:cubicBezTo>
                <a:cubicBezTo>
                  <a:pt x="123" y="123"/>
                  <a:pt x="123" y="123"/>
                  <a:pt x="123" y="123"/>
                </a:cubicBezTo>
                <a:lnTo>
                  <a:pt x="138" y="123"/>
                </a:lnTo>
                <a:close/>
                <a:moveTo>
                  <a:pt x="152" y="42"/>
                </a:moveTo>
                <a:cubicBezTo>
                  <a:pt x="151" y="44"/>
                  <a:pt x="150" y="46"/>
                  <a:pt x="149" y="47"/>
                </a:cubicBezTo>
                <a:cubicBezTo>
                  <a:pt x="147" y="48"/>
                  <a:pt x="146" y="50"/>
                  <a:pt x="144" y="50"/>
                </a:cubicBezTo>
                <a:cubicBezTo>
                  <a:pt x="142" y="51"/>
                  <a:pt x="140" y="52"/>
                  <a:pt x="138" y="52"/>
                </a:cubicBezTo>
                <a:cubicBezTo>
                  <a:pt x="138" y="52"/>
                  <a:pt x="138" y="52"/>
                  <a:pt x="138" y="52"/>
                </a:cubicBezTo>
                <a:cubicBezTo>
                  <a:pt x="123" y="52"/>
                  <a:pt x="123" y="52"/>
                  <a:pt x="123" y="52"/>
                </a:cubicBezTo>
                <a:cubicBezTo>
                  <a:pt x="123" y="37"/>
                  <a:pt x="123" y="37"/>
                  <a:pt x="123" y="37"/>
                </a:cubicBezTo>
                <a:cubicBezTo>
                  <a:pt x="123" y="34"/>
                  <a:pt x="123" y="32"/>
                  <a:pt x="124" y="31"/>
                </a:cubicBezTo>
                <a:cubicBezTo>
                  <a:pt x="125" y="29"/>
                  <a:pt x="126" y="27"/>
                  <a:pt x="127" y="26"/>
                </a:cubicBezTo>
                <a:cubicBezTo>
                  <a:pt x="129" y="24"/>
                  <a:pt x="130" y="23"/>
                  <a:pt x="132" y="22"/>
                </a:cubicBezTo>
                <a:cubicBezTo>
                  <a:pt x="134" y="21"/>
                  <a:pt x="136" y="21"/>
                  <a:pt x="138" y="21"/>
                </a:cubicBezTo>
                <a:cubicBezTo>
                  <a:pt x="138" y="21"/>
                  <a:pt x="138" y="21"/>
                  <a:pt x="138" y="21"/>
                </a:cubicBezTo>
                <a:cubicBezTo>
                  <a:pt x="140" y="21"/>
                  <a:pt x="142" y="21"/>
                  <a:pt x="144" y="22"/>
                </a:cubicBezTo>
                <a:cubicBezTo>
                  <a:pt x="146" y="23"/>
                  <a:pt x="147" y="24"/>
                  <a:pt x="149" y="26"/>
                </a:cubicBezTo>
                <a:cubicBezTo>
                  <a:pt x="150" y="27"/>
                  <a:pt x="151" y="29"/>
                  <a:pt x="152" y="31"/>
                </a:cubicBezTo>
                <a:cubicBezTo>
                  <a:pt x="153" y="33"/>
                  <a:pt x="153" y="34"/>
                  <a:pt x="153" y="37"/>
                </a:cubicBezTo>
                <a:cubicBezTo>
                  <a:pt x="153" y="39"/>
                  <a:pt x="153" y="41"/>
                  <a:pt x="152" y="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7" name="Freeform 170"/>
          <p:cNvSpPr>
            <a:spLocks noEditPoints="1"/>
          </p:cNvSpPr>
          <p:nvPr/>
        </p:nvSpPr>
        <p:spPr bwMode="auto">
          <a:xfrm>
            <a:off x="1115484" y="5490634"/>
            <a:ext cx="533400" cy="531284"/>
          </a:xfrm>
          <a:custGeom>
            <a:avLst/>
            <a:gdLst>
              <a:gd name="T0" fmla="*/ 863743910 w 178"/>
              <a:gd name="T1" fmla="*/ 87136613 h 176"/>
              <a:gd name="T2" fmla="*/ 813231978 w 178"/>
              <a:gd name="T3" fmla="*/ 35879782 h 176"/>
              <a:gd name="T4" fmla="*/ 686953274 w 178"/>
              <a:gd name="T5" fmla="*/ 35879782 h 176"/>
              <a:gd name="T6" fmla="*/ 565726887 w 178"/>
              <a:gd name="T7" fmla="*/ 158896177 h 176"/>
              <a:gd name="T8" fmla="*/ 505112569 w 178"/>
              <a:gd name="T9" fmla="*/ 97387980 h 176"/>
              <a:gd name="T10" fmla="*/ 383886182 w 178"/>
              <a:gd name="T11" fmla="*/ 220404375 h 176"/>
              <a:gd name="T12" fmla="*/ 434398113 w 178"/>
              <a:gd name="T13" fmla="*/ 271661206 h 176"/>
              <a:gd name="T14" fmla="*/ 95971546 w 178"/>
              <a:gd name="T15" fmla="*/ 615079712 h 176"/>
              <a:gd name="T16" fmla="*/ 60614317 w 178"/>
              <a:gd name="T17" fmla="*/ 697090643 h 176"/>
              <a:gd name="T18" fmla="*/ 40409545 w 178"/>
              <a:gd name="T19" fmla="*/ 717593375 h 176"/>
              <a:gd name="T20" fmla="*/ 40409545 w 178"/>
              <a:gd name="T21" fmla="*/ 871363869 h 176"/>
              <a:gd name="T22" fmla="*/ 116176318 w 178"/>
              <a:gd name="T23" fmla="*/ 902117968 h 176"/>
              <a:gd name="T24" fmla="*/ 191943091 w 178"/>
              <a:gd name="T25" fmla="*/ 871363869 h 176"/>
              <a:gd name="T26" fmla="*/ 212147863 w 178"/>
              <a:gd name="T27" fmla="*/ 850861137 h 176"/>
              <a:gd name="T28" fmla="*/ 292964706 w 178"/>
              <a:gd name="T29" fmla="*/ 814981355 h 176"/>
              <a:gd name="T30" fmla="*/ 631391274 w 178"/>
              <a:gd name="T31" fmla="*/ 471560585 h 176"/>
              <a:gd name="T32" fmla="*/ 681903205 w 178"/>
              <a:gd name="T33" fmla="*/ 522817416 h 176"/>
              <a:gd name="T34" fmla="*/ 803129592 w 178"/>
              <a:gd name="T35" fmla="*/ 399803285 h 176"/>
              <a:gd name="T36" fmla="*/ 742515275 w 178"/>
              <a:gd name="T37" fmla="*/ 338295087 h 176"/>
              <a:gd name="T38" fmla="*/ 863743910 w 178"/>
              <a:gd name="T39" fmla="*/ 215278692 h 176"/>
              <a:gd name="T40" fmla="*/ 863743910 w 178"/>
              <a:gd name="T41" fmla="*/ 87136613 h 176"/>
              <a:gd name="T42" fmla="*/ 237402705 w 178"/>
              <a:gd name="T43" fmla="*/ 758598840 h 176"/>
              <a:gd name="T44" fmla="*/ 207095547 w 178"/>
              <a:gd name="T45" fmla="*/ 773975890 h 176"/>
              <a:gd name="T46" fmla="*/ 186890774 w 178"/>
              <a:gd name="T47" fmla="*/ 768850206 h 176"/>
              <a:gd name="T48" fmla="*/ 186890774 w 178"/>
              <a:gd name="T49" fmla="*/ 768850206 h 176"/>
              <a:gd name="T50" fmla="*/ 136381090 w 178"/>
              <a:gd name="T51" fmla="*/ 814981355 h 176"/>
              <a:gd name="T52" fmla="*/ 116176318 w 178"/>
              <a:gd name="T53" fmla="*/ 825232721 h 176"/>
              <a:gd name="T54" fmla="*/ 95971546 w 178"/>
              <a:gd name="T55" fmla="*/ 814981355 h 176"/>
              <a:gd name="T56" fmla="*/ 95971546 w 178"/>
              <a:gd name="T57" fmla="*/ 773975890 h 176"/>
              <a:gd name="T58" fmla="*/ 141431160 w 178"/>
              <a:gd name="T59" fmla="*/ 722719058 h 176"/>
              <a:gd name="T60" fmla="*/ 141431160 w 178"/>
              <a:gd name="T61" fmla="*/ 722719058 h 176"/>
              <a:gd name="T62" fmla="*/ 151533546 w 178"/>
              <a:gd name="T63" fmla="*/ 671462227 h 176"/>
              <a:gd name="T64" fmla="*/ 489960114 w 178"/>
              <a:gd name="T65" fmla="*/ 328043721 h 176"/>
              <a:gd name="T66" fmla="*/ 575829273 w 178"/>
              <a:gd name="T67" fmla="*/ 415180334 h 176"/>
              <a:gd name="T68" fmla="*/ 237402705 w 178"/>
              <a:gd name="T69" fmla="*/ 758598840 h 17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78" h="176">
                <a:moveTo>
                  <a:pt x="171" y="17"/>
                </a:moveTo>
                <a:cubicBezTo>
                  <a:pt x="161" y="7"/>
                  <a:pt x="161" y="7"/>
                  <a:pt x="161" y="7"/>
                </a:cubicBezTo>
                <a:cubicBezTo>
                  <a:pt x="154" y="0"/>
                  <a:pt x="143" y="0"/>
                  <a:pt x="136" y="7"/>
                </a:cubicBezTo>
                <a:cubicBezTo>
                  <a:pt x="112" y="31"/>
                  <a:pt x="112" y="31"/>
                  <a:pt x="112" y="31"/>
                </a:cubicBezTo>
                <a:cubicBezTo>
                  <a:pt x="100" y="19"/>
                  <a:pt x="100" y="19"/>
                  <a:pt x="100" y="19"/>
                </a:cubicBezTo>
                <a:cubicBezTo>
                  <a:pt x="76" y="43"/>
                  <a:pt x="76" y="43"/>
                  <a:pt x="76" y="43"/>
                </a:cubicBezTo>
                <a:cubicBezTo>
                  <a:pt x="86" y="53"/>
                  <a:pt x="86" y="53"/>
                  <a:pt x="86" y="53"/>
                </a:cubicBezTo>
                <a:cubicBezTo>
                  <a:pt x="19" y="120"/>
                  <a:pt x="19" y="120"/>
                  <a:pt x="19" y="120"/>
                </a:cubicBezTo>
                <a:cubicBezTo>
                  <a:pt x="15" y="124"/>
                  <a:pt x="12" y="130"/>
                  <a:pt x="12" y="136"/>
                </a:cubicBezTo>
                <a:cubicBezTo>
                  <a:pt x="8" y="140"/>
                  <a:pt x="8" y="140"/>
                  <a:pt x="8" y="140"/>
                </a:cubicBezTo>
                <a:cubicBezTo>
                  <a:pt x="0" y="148"/>
                  <a:pt x="0" y="162"/>
                  <a:pt x="8" y="170"/>
                </a:cubicBezTo>
                <a:cubicBezTo>
                  <a:pt x="12" y="174"/>
                  <a:pt x="17" y="176"/>
                  <a:pt x="23" y="176"/>
                </a:cubicBezTo>
                <a:cubicBezTo>
                  <a:pt x="29" y="176"/>
                  <a:pt x="34" y="174"/>
                  <a:pt x="38" y="170"/>
                </a:cubicBezTo>
                <a:cubicBezTo>
                  <a:pt x="42" y="166"/>
                  <a:pt x="42" y="166"/>
                  <a:pt x="42" y="166"/>
                </a:cubicBezTo>
                <a:cubicBezTo>
                  <a:pt x="48" y="166"/>
                  <a:pt x="54" y="163"/>
                  <a:pt x="58" y="159"/>
                </a:cubicBezTo>
                <a:cubicBezTo>
                  <a:pt x="125" y="92"/>
                  <a:pt x="125" y="92"/>
                  <a:pt x="125" y="92"/>
                </a:cubicBezTo>
                <a:cubicBezTo>
                  <a:pt x="135" y="102"/>
                  <a:pt x="135" y="102"/>
                  <a:pt x="135" y="102"/>
                </a:cubicBezTo>
                <a:cubicBezTo>
                  <a:pt x="159" y="78"/>
                  <a:pt x="159" y="78"/>
                  <a:pt x="159" y="78"/>
                </a:cubicBezTo>
                <a:cubicBezTo>
                  <a:pt x="147" y="66"/>
                  <a:pt x="147" y="66"/>
                  <a:pt x="147" y="66"/>
                </a:cubicBezTo>
                <a:cubicBezTo>
                  <a:pt x="171" y="42"/>
                  <a:pt x="171" y="42"/>
                  <a:pt x="171" y="42"/>
                </a:cubicBezTo>
                <a:cubicBezTo>
                  <a:pt x="178" y="35"/>
                  <a:pt x="178" y="24"/>
                  <a:pt x="171" y="17"/>
                </a:cubicBezTo>
                <a:close/>
                <a:moveTo>
                  <a:pt x="47" y="148"/>
                </a:moveTo>
                <a:cubicBezTo>
                  <a:pt x="46" y="150"/>
                  <a:pt x="43" y="151"/>
                  <a:pt x="41" y="151"/>
                </a:cubicBezTo>
                <a:cubicBezTo>
                  <a:pt x="39" y="151"/>
                  <a:pt x="38" y="151"/>
                  <a:pt x="37" y="150"/>
                </a:cubicBezTo>
                <a:cubicBezTo>
                  <a:pt x="37" y="150"/>
                  <a:pt x="37" y="150"/>
                  <a:pt x="37" y="150"/>
                </a:cubicBezTo>
                <a:cubicBezTo>
                  <a:pt x="27" y="159"/>
                  <a:pt x="27" y="159"/>
                  <a:pt x="27" y="159"/>
                </a:cubicBezTo>
                <a:cubicBezTo>
                  <a:pt x="26" y="160"/>
                  <a:pt x="25" y="161"/>
                  <a:pt x="23" y="161"/>
                </a:cubicBezTo>
                <a:cubicBezTo>
                  <a:pt x="21" y="161"/>
                  <a:pt x="20" y="160"/>
                  <a:pt x="19" y="159"/>
                </a:cubicBezTo>
                <a:cubicBezTo>
                  <a:pt x="16" y="157"/>
                  <a:pt x="16" y="153"/>
                  <a:pt x="19" y="151"/>
                </a:cubicBezTo>
                <a:cubicBezTo>
                  <a:pt x="28" y="141"/>
                  <a:pt x="28" y="141"/>
                  <a:pt x="28" y="141"/>
                </a:cubicBezTo>
                <a:cubicBezTo>
                  <a:pt x="28" y="141"/>
                  <a:pt x="28" y="141"/>
                  <a:pt x="28" y="141"/>
                </a:cubicBezTo>
                <a:cubicBezTo>
                  <a:pt x="26" y="138"/>
                  <a:pt x="27" y="134"/>
                  <a:pt x="30" y="131"/>
                </a:cubicBezTo>
                <a:cubicBezTo>
                  <a:pt x="97" y="64"/>
                  <a:pt x="97" y="64"/>
                  <a:pt x="97" y="64"/>
                </a:cubicBezTo>
                <a:cubicBezTo>
                  <a:pt x="114" y="81"/>
                  <a:pt x="114" y="81"/>
                  <a:pt x="114" y="81"/>
                </a:cubicBezTo>
                <a:lnTo>
                  <a:pt x="47" y="1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8" name="Freeform 171"/>
          <p:cNvSpPr>
            <a:spLocks noEditPoints="1"/>
          </p:cNvSpPr>
          <p:nvPr/>
        </p:nvSpPr>
        <p:spPr bwMode="auto">
          <a:xfrm>
            <a:off x="2034117" y="5518151"/>
            <a:ext cx="522816" cy="482600"/>
          </a:xfrm>
          <a:custGeom>
            <a:avLst/>
            <a:gdLst>
              <a:gd name="T0" fmla="*/ 403224486 w 247"/>
              <a:gd name="T1" fmla="*/ 574595625 h 228"/>
              <a:gd name="T2" fmla="*/ 171370406 w 247"/>
              <a:gd name="T3" fmla="*/ 0 h 228"/>
              <a:gd name="T4" fmla="*/ 367942343 w 247"/>
              <a:gd name="T5" fmla="*/ 491431263 h 228"/>
              <a:gd name="T6" fmla="*/ 307458670 w 247"/>
              <a:gd name="T7" fmla="*/ 430947513 h 228"/>
              <a:gd name="T8" fmla="*/ 367942343 w 247"/>
              <a:gd name="T9" fmla="*/ 491431263 h 228"/>
              <a:gd name="T10" fmla="*/ 254534663 w 247"/>
              <a:gd name="T11" fmla="*/ 337700938 h 228"/>
              <a:gd name="T12" fmla="*/ 315018336 w 247"/>
              <a:gd name="T13" fmla="*/ 398184688 h 228"/>
              <a:gd name="T14" fmla="*/ 367942343 w 247"/>
              <a:gd name="T15" fmla="*/ 304939700 h 228"/>
              <a:gd name="T16" fmla="*/ 307458670 w 247"/>
              <a:gd name="T17" fmla="*/ 244455950 h 228"/>
              <a:gd name="T18" fmla="*/ 367942343 w 247"/>
              <a:gd name="T19" fmla="*/ 304939700 h 228"/>
              <a:gd name="T20" fmla="*/ 254534663 w 247"/>
              <a:gd name="T21" fmla="*/ 151209375 h 228"/>
              <a:gd name="T22" fmla="*/ 315018336 w 247"/>
              <a:gd name="T23" fmla="*/ 211693125 h 228"/>
              <a:gd name="T24" fmla="*/ 307458670 w 247"/>
              <a:gd name="T25" fmla="*/ 57964388 h 228"/>
              <a:gd name="T26" fmla="*/ 367942343 w 247"/>
              <a:gd name="T27" fmla="*/ 118448138 h 228"/>
              <a:gd name="T28" fmla="*/ 307458670 w 247"/>
              <a:gd name="T29" fmla="*/ 57964388 h 228"/>
              <a:gd name="T30" fmla="*/ 262095916 w 247"/>
              <a:gd name="T31" fmla="*/ 57964388 h 228"/>
              <a:gd name="T32" fmla="*/ 201612243 w 247"/>
              <a:gd name="T33" fmla="*/ 118448138 h 228"/>
              <a:gd name="T34" fmla="*/ 201612243 w 247"/>
              <a:gd name="T35" fmla="*/ 244455950 h 228"/>
              <a:gd name="T36" fmla="*/ 262095916 w 247"/>
              <a:gd name="T37" fmla="*/ 304939700 h 228"/>
              <a:gd name="T38" fmla="*/ 201612243 w 247"/>
              <a:gd name="T39" fmla="*/ 244455950 h 228"/>
              <a:gd name="T40" fmla="*/ 262095916 w 247"/>
              <a:gd name="T41" fmla="*/ 430947513 h 228"/>
              <a:gd name="T42" fmla="*/ 201612243 w 247"/>
              <a:gd name="T43" fmla="*/ 491431263 h 228"/>
              <a:gd name="T44" fmla="*/ 0 w 247"/>
              <a:gd name="T45" fmla="*/ 574595625 h 228"/>
              <a:gd name="T46" fmla="*/ 138607623 w 247"/>
              <a:gd name="T47" fmla="*/ 183972200 h 228"/>
              <a:gd name="T48" fmla="*/ 0 w 247"/>
              <a:gd name="T49" fmla="*/ 574595625 h 228"/>
              <a:gd name="T50" fmla="*/ 100806121 w 247"/>
              <a:gd name="T51" fmla="*/ 211693125 h 228"/>
              <a:gd name="T52" fmla="*/ 40322449 w 247"/>
              <a:gd name="T53" fmla="*/ 277217188 h 228"/>
              <a:gd name="T54" fmla="*/ 40322449 w 247"/>
              <a:gd name="T55" fmla="*/ 322580000 h 228"/>
              <a:gd name="T56" fmla="*/ 100806121 w 247"/>
              <a:gd name="T57" fmla="*/ 383063750 h 228"/>
              <a:gd name="T58" fmla="*/ 40322449 w 247"/>
              <a:gd name="T59" fmla="*/ 322580000 h 228"/>
              <a:gd name="T60" fmla="*/ 100806121 w 247"/>
              <a:gd name="T61" fmla="*/ 430947513 h 228"/>
              <a:gd name="T62" fmla="*/ 40322449 w 247"/>
              <a:gd name="T63" fmla="*/ 491431263 h 228"/>
              <a:gd name="T64" fmla="*/ 597275476 w 247"/>
              <a:gd name="T65" fmla="*/ 236894688 h 228"/>
              <a:gd name="T66" fmla="*/ 561993333 w 247"/>
              <a:gd name="T67" fmla="*/ 161290000 h 228"/>
              <a:gd name="T68" fmla="*/ 536791803 w 247"/>
              <a:gd name="T69" fmla="*/ 90725625 h 228"/>
              <a:gd name="T70" fmla="*/ 519151526 w 247"/>
              <a:gd name="T71" fmla="*/ 22682200 h 228"/>
              <a:gd name="T72" fmla="*/ 493949995 w 247"/>
              <a:gd name="T73" fmla="*/ 90725625 h 228"/>
              <a:gd name="T74" fmla="*/ 458667853 w 247"/>
              <a:gd name="T75" fmla="*/ 161290000 h 228"/>
              <a:gd name="T76" fmla="*/ 433466322 w 247"/>
              <a:gd name="T77" fmla="*/ 236894688 h 228"/>
              <a:gd name="T78" fmla="*/ 622477006 w 247"/>
              <a:gd name="T79" fmla="*/ 574595625 h 228"/>
              <a:gd name="T80" fmla="*/ 597275476 w 247"/>
              <a:gd name="T81" fmla="*/ 236894688 h 228"/>
              <a:gd name="T82" fmla="*/ 466227518 w 247"/>
              <a:gd name="T83" fmla="*/ 531753763 h 228"/>
              <a:gd name="T84" fmla="*/ 526711191 w 247"/>
              <a:gd name="T85" fmla="*/ 466229700 h 228"/>
              <a:gd name="T86" fmla="*/ 526711191 w 247"/>
              <a:gd name="T87" fmla="*/ 340221888 h 228"/>
              <a:gd name="T88" fmla="*/ 466227518 w 247"/>
              <a:gd name="T89" fmla="*/ 277217188 h 228"/>
              <a:gd name="T90" fmla="*/ 526711191 w 247"/>
              <a:gd name="T91" fmla="*/ 340221888 h 228"/>
              <a:gd name="T92" fmla="*/ 536791803 w 247"/>
              <a:gd name="T93" fmla="*/ 433466875 h 228"/>
              <a:gd name="T94" fmla="*/ 597275476 w 247"/>
              <a:gd name="T95" fmla="*/ 372983125 h 22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47" h="228">
                <a:moveTo>
                  <a:pt x="68" y="228"/>
                </a:moveTo>
                <a:lnTo>
                  <a:pt x="160" y="228"/>
                </a:lnTo>
                <a:lnTo>
                  <a:pt x="160" y="0"/>
                </a:lnTo>
                <a:lnTo>
                  <a:pt x="68" y="0"/>
                </a:lnTo>
                <a:lnTo>
                  <a:pt x="68" y="228"/>
                </a:lnTo>
                <a:close/>
                <a:moveTo>
                  <a:pt x="146" y="195"/>
                </a:moveTo>
                <a:lnTo>
                  <a:pt x="122" y="195"/>
                </a:lnTo>
                <a:lnTo>
                  <a:pt x="122" y="171"/>
                </a:lnTo>
                <a:lnTo>
                  <a:pt x="146" y="171"/>
                </a:lnTo>
                <a:lnTo>
                  <a:pt x="146" y="195"/>
                </a:lnTo>
                <a:close/>
                <a:moveTo>
                  <a:pt x="101" y="158"/>
                </a:moveTo>
                <a:lnTo>
                  <a:pt x="101" y="134"/>
                </a:lnTo>
                <a:lnTo>
                  <a:pt x="125" y="134"/>
                </a:lnTo>
                <a:lnTo>
                  <a:pt x="125" y="158"/>
                </a:lnTo>
                <a:lnTo>
                  <a:pt x="101" y="158"/>
                </a:lnTo>
                <a:close/>
                <a:moveTo>
                  <a:pt x="146" y="121"/>
                </a:moveTo>
                <a:lnTo>
                  <a:pt x="122" y="121"/>
                </a:lnTo>
                <a:lnTo>
                  <a:pt x="122" y="97"/>
                </a:lnTo>
                <a:lnTo>
                  <a:pt x="146" y="97"/>
                </a:lnTo>
                <a:lnTo>
                  <a:pt x="146" y="121"/>
                </a:lnTo>
                <a:close/>
                <a:moveTo>
                  <a:pt x="101" y="84"/>
                </a:moveTo>
                <a:lnTo>
                  <a:pt x="101" y="60"/>
                </a:lnTo>
                <a:lnTo>
                  <a:pt x="125" y="60"/>
                </a:lnTo>
                <a:lnTo>
                  <a:pt x="125" y="84"/>
                </a:lnTo>
                <a:lnTo>
                  <a:pt x="101" y="84"/>
                </a:lnTo>
                <a:close/>
                <a:moveTo>
                  <a:pt x="122" y="23"/>
                </a:moveTo>
                <a:lnTo>
                  <a:pt x="146" y="23"/>
                </a:lnTo>
                <a:lnTo>
                  <a:pt x="146" y="47"/>
                </a:lnTo>
                <a:lnTo>
                  <a:pt x="122" y="47"/>
                </a:lnTo>
                <a:lnTo>
                  <a:pt x="122" y="23"/>
                </a:lnTo>
                <a:close/>
                <a:moveTo>
                  <a:pt x="80" y="23"/>
                </a:moveTo>
                <a:lnTo>
                  <a:pt x="104" y="23"/>
                </a:lnTo>
                <a:lnTo>
                  <a:pt x="104" y="47"/>
                </a:lnTo>
                <a:lnTo>
                  <a:pt x="80" y="47"/>
                </a:lnTo>
                <a:lnTo>
                  <a:pt x="80" y="23"/>
                </a:lnTo>
                <a:close/>
                <a:moveTo>
                  <a:pt x="80" y="97"/>
                </a:moveTo>
                <a:lnTo>
                  <a:pt x="104" y="97"/>
                </a:lnTo>
                <a:lnTo>
                  <a:pt x="104" y="121"/>
                </a:lnTo>
                <a:lnTo>
                  <a:pt x="80" y="121"/>
                </a:lnTo>
                <a:lnTo>
                  <a:pt x="80" y="97"/>
                </a:lnTo>
                <a:close/>
                <a:moveTo>
                  <a:pt x="80" y="171"/>
                </a:moveTo>
                <a:lnTo>
                  <a:pt x="104" y="171"/>
                </a:lnTo>
                <a:lnTo>
                  <a:pt x="104" y="195"/>
                </a:lnTo>
                <a:lnTo>
                  <a:pt x="80" y="195"/>
                </a:lnTo>
                <a:lnTo>
                  <a:pt x="80" y="171"/>
                </a:lnTo>
                <a:close/>
                <a:moveTo>
                  <a:pt x="0" y="228"/>
                </a:moveTo>
                <a:lnTo>
                  <a:pt x="55" y="228"/>
                </a:lnTo>
                <a:lnTo>
                  <a:pt x="55" y="73"/>
                </a:lnTo>
                <a:lnTo>
                  <a:pt x="0" y="73"/>
                </a:lnTo>
                <a:lnTo>
                  <a:pt x="0" y="228"/>
                </a:lnTo>
                <a:close/>
                <a:moveTo>
                  <a:pt x="16" y="84"/>
                </a:moveTo>
                <a:lnTo>
                  <a:pt x="40" y="84"/>
                </a:lnTo>
                <a:lnTo>
                  <a:pt x="40" y="110"/>
                </a:lnTo>
                <a:lnTo>
                  <a:pt x="16" y="110"/>
                </a:lnTo>
                <a:lnTo>
                  <a:pt x="16" y="84"/>
                </a:lnTo>
                <a:close/>
                <a:moveTo>
                  <a:pt x="16" y="128"/>
                </a:moveTo>
                <a:lnTo>
                  <a:pt x="40" y="128"/>
                </a:lnTo>
                <a:lnTo>
                  <a:pt x="40" y="152"/>
                </a:lnTo>
                <a:lnTo>
                  <a:pt x="16" y="152"/>
                </a:lnTo>
                <a:lnTo>
                  <a:pt x="16" y="128"/>
                </a:lnTo>
                <a:close/>
                <a:moveTo>
                  <a:pt x="16" y="171"/>
                </a:moveTo>
                <a:lnTo>
                  <a:pt x="40" y="171"/>
                </a:lnTo>
                <a:lnTo>
                  <a:pt x="40" y="195"/>
                </a:lnTo>
                <a:lnTo>
                  <a:pt x="16" y="195"/>
                </a:lnTo>
                <a:lnTo>
                  <a:pt x="16" y="171"/>
                </a:lnTo>
                <a:close/>
                <a:moveTo>
                  <a:pt x="237" y="94"/>
                </a:moveTo>
                <a:lnTo>
                  <a:pt x="237" y="64"/>
                </a:lnTo>
                <a:lnTo>
                  <a:pt x="223" y="64"/>
                </a:lnTo>
                <a:lnTo>
                  <a:pt x="223" y="36"/>
                </a:lnTo>
                <a:lnTo>
                  <a:pt x="213" y="36"/>
                </a:lnTo>
                <a:lnTo>
                  <a:pt x="213" y="9"/>
                </a:lnTo>
                <a:lnTo>
                  <a:pt x="206" y="9"/>
                </a:lnTo>
                <a:lnTo>
                  <a:pt x="206" y="36"/>
                </a:lnTo>
                <a:lnTo>
                  <a:pt x="196" y="36"/>
                </a:lnTo>
                <a:lnTo>
                  <a:pt x="196" y="64"/>
                </a:lnTo>
                <a:lnTo>
                  <a:pt x="182" y="64"/>
                </a:lnTo>
                <a:lnTo>
                  <a:pt x="182" y="94"/>
                </a:lnTo>
                <a:lnTo>
                  <a:pt x="172" y="94"/>
                </a:lnTo>
                <a:lnTo>
                  <a:pt x="172" y="228"/>
                </a:lnTo>
                <a:lnTo>
                  <a:pt x="247" y="228"/>
                </a:lnTo>
                <a:lnTo>
                  <a:pt x="247" y="94"/>
                </a:lnTo>
                <a:lnTo>
                  <a:pt x="237" y="94"/>
                </a:lnTo>
                <a:close/>
                <a:moveTo>
                  <a:pt x="209" y="211"/>
                </a:moveTo>
                <a:lnTo>
                  <a:pt x="185" y="211"/>
                </a:lnTo>
                <a:lnTo>
                  <a:pt x="185" y="185"/>
                </a:lnTo>
                <a:lnTo>
                  <a:pt x="209" y="185"/>
                </a:lnTo>
                <a:lnTo>
                  <a:pt x="209" y="211"/>
                </a:lnTo>
                <a:close/>
                <a:moveTo>
                  <a:pt x="209" y="135"/>
                </a:moveTo>
                <a:lnTo>
                  <a:pt x="185" y="135"/>
                </a:lnTo>
                <a:lnTo>
                  <a:pt x="185" y="110"/>
                </a:lnTo>
                <a:lnTo>
                  <a:pt x="209" y="110"/>
                </a:lnTo>
                <a:lnTo>
                  <a:pt x="209" y="135"/>
                </a:lnTo>
                <a:close/>
                <a:moveTo>
                  <a:pt x="237" y="172"/>
                </a:moveTo>
                <a:lnTo>
                  <a:pt x="213" y="172"/>
                </a:lnTo>
                <a:lnTo>
                  <a:pt x="213" y="148"/>
                </a:lnTo>
                <a:lnTo>
                  <a:pt x="237" y="148"/>
                </a:lnTo>
                <a:lnTo>
                  <a:pt x="237" y="17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89" name="Freeform 172"/>
          <p:cNvSpPr>
            <a:spLocks noEditPoints="1"/>
          </p:cNvSpPr>
          <p:nvPr/>
        </p:nvSpPr>
        <p:spPr bwMode="auto">
          <a:xfrm>
            <a:off x="2899834" y="5543551"/>
            <a:ext cx="522817" cy="457200"/>
          </a:xfrm>
          <a:custGeom>
            <a:avLst/>
            <a:gdLst>
              <a:gd name="T0" fmla="*/ 553539612 w 174"/>
              <a:gd name="T1" fmla="*/ 671772683 h 152"/>
              <a:gd name="T2" fmla="*/ 548462425 w 174"/>
              <a:gd name="T3" fmla="*/ 646325893 h 152"/>
              <a:gd name="T4" fmla="*/ 335170981 w 174"/>
              <a:gd name="T5" fmla="*/ 646325893 h 152"/>
              <a:gd name="T6" fmla="*/ 325014353 w 174"/>
              <a:gd name="T7" fmla="*/ 697217216 h 152"/>
              <a:gd name="T8" fmla="*/ 299623910 w 174"/>
              <a:gd name="T9" fmla="*/ 737932080 h 152"/>
              <a:gd name="T10" fmla="*/ 253917956 w 174"/>
              <a:gd name="T11" fmla="*/ 753197897 h 152"/>
              <a:gd name="T12" fmla="*/ 253917956 w 174"/>
              <a:gd name="T13" fmla="*/ 773555329 h 152"/>
              <a:gd name="T14" fmla="*/ 629715450 w 174"/>
              <a:gd name="T15" fmla="*/ 773555329 h 152"/>
              <a:gd name="T16" fmla="*/ 629715450 w 174"/>
              <a:gd name="T17" fmla="*/ 753197897 h 152"/>
              <a:gd name="T18" fmla="*/ 584009497 w 174"/>
              <a:gd name="T19" fmla="*/ 737932080 h 152"/>
              <a:gd name="T20" fmla="*/ 553539612 w 174"/>
              <a:gd name="T21" fmla="*/ 671772683 h 152"/>
              <a:gd name="T22" fmla="*/ 858240709 w 174"/>
              <a:gd name="T23" fmla="*/ 0 h 152"/>
              <a:gd name="T24" fmla="*/ 25392697 w 174"/>
              <a:gd name="T25" fmla="*/ 0 h 152"/>
              <a:gd name="T26" fmla="*/ 0 w 174"/>
              <a:gd name="T27" fmla="*/ 25446789 h 152"/>
              <a:gd name="T28" fmla="*/ 0 w 174"/>
              <a:gd name="T29" fmla="*/ 575077139 h 152"/>
              <a:gd name="T30" fmla="*/ 25392697 w 174"/>
              <a:gd name="T31" fmla="*/ 600523928 h 152"/>
              <a:gd name="T32" fmla="*/ 858240709 w 174"/>
              <a:gd name="T33" fmla="*/ 600523928 h 152"/>
              <a:gd name="T34" fmla="*/ 883633406 w 174"/>
              <a:gd name="T35" fmla="*/ 575077139 h 152"/>
              <a:gd name="T36" fmla="*/ 883633406 w 174"/>
              <a:gd name="T37" fmla="*/ 25446789 h 152"/>
              <a:gd name="T38" fmla="*/ 858240709 w 174"/>
              <a:gd name="T39" fmla="*/ 0 h 152"/>
              <a:gd name="T40" fmla="*/ 822693637 w 174"/>
              <a:gd name="T41" fmla="*/ 539453889 h 152"/>
              <a:gd name="T42" fmla="*/ 60939769 w 174"/>
              <a:gd name="T43" fmla="*/ 539453889 h 152"/>
              <a:gd name="T44" fmla="*/ 60939769 w 174"/>
              <a:gd name="T45" fmla="*/ 66159397 h 152"/>
              <a:gd name="T46" fmla="*/ 822693637 w 174"/>
              <a:gd name="T47" fmla="*/ 66159397 h 152"/>
              <a:gd name="T48" fmla="*/ 822693637 w 174"/>
              <a:gd name="T49" fmla="*/ 539453889 h 15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74" h="152">
                <a:moveTo>
                  <a:pt x="109" y="132"/>
                </a:moveTo>
                <a:cubicBezTo>
                  <a:pt x="108" y="130"/>
                  <a:pt x="108" y="129"/>
                  <a:pt x="108" y="127"/>
                </a:cubicBezTo>
                <a:cubicBezTo>
                  <a:pt x="66" y="127"/>
                  <a:pt x="66" y="127"/>
                  <a:pt x="66" y="127"/>
                </a:cubicBezTo>
                <a:cubicBezTo>
                  <a:pt x="66" y="130"/>
                  <a:pt x="65" y="133"/>
                  <a:pt x="64" y="137"/>
                </a:cubicBezTo>
                <a:cubicBezTo>
                  <a:pt x="63" y="140"/>
                  <a:pt x="61" y="143"/>
                  <a:pt x="59" y="145"/>
                </a:cubicBezTo>
                <a:cubicBezTo>
                  <a:pt x="57" y="147"/>
                  <a:pt x="54" y="148"/>
                  <a:pt x="50" y="148"/>
                </a:cubicBezTo>
                <a:cubicBezTo>
                  <a:pt x="50" y="152"/>
                  <a:pt x="50" y="152"/>
                  <a:pt x="50" y="152"/>
                </a:cubicBezTo>
                <a:cubicBezTo>
                  <a:pt x="124" y="152"/>
                  <a:pt x="124" y="152"/>
                  <a:pt x="124" y="152"/>
                </a:cubicBezTo>
                <a:cubicBezTo>
                  <a:pt x="124" y="148"/>
                  <a:pt x="124" y="148"/>
                  <a:pt x="124" y="148"/>
                </a:cubicBezTo>
                <a:cubicBezTo>
                  <a:pt x="120" y="148"/>
                  <a:pt x="117" y="147"/>
                  <a:pt x="115" y="145"/>
                </a:cubicBezTo>
                <a:cubicBezTo>
                  <a:pt x="112" y="142"/>
                  <a:pt x="110" y="137"/>
                  <a:pt x="109" y="132"/>
                </a:cubicBezTo>
                <a:close/>
                <a:moveTo>
                  <a:pt x="169" y="0"/>
                </a:move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3"/>
                  <a:pt x="0" y="5"/>
                </a:cubicBezTo>
                <a:cubicBezTo>
                  <a:pt x="0" y="113"/>
                  <a:pt x="0" y="113"/>
                  <a:pt x="0" y="113"/>
                </a:cubicBezTo>
                <a:cubicBezTo>
                  <a:pt x="0" y="116"/>
                  <a:pt x="2" y="118"/>
                  <a:pt x="5" y="118"/>
                </a:cubicBezTo>
                <a:cubicBezTo>
                  <a:pt x="169" y="118"/>
                  <a:pt x="169" y="118"/>
                  <a:pt x="169" y="118"/>
                </a:cubicBezTo>
                <a:cubicBezTo>
                  <a:pt x="172" y="118"/>
                  <a:pt x="174" y="116"/>
                  <a:pt x="174" y="113"/>
                </a:cubicBezTo>
                <a:cubicBezTo>
                  <a:pt x="174" y="5"/>
                  <a:pt x="174" y="5"/>
                  <a:pt x="174" y="5"/>
                </a:cubicBezTo>
                <a:cubicBezTo>
                  <a:pt x="174" y="3"/>
                  <a:pt x="172" y="0"/>
                  <a:pt x="169" y="0"/>
                </a:cubicBezTo>
                <a:close/>
                <a:moveTo>
                  <a:pt x="162" y="106"/>
                </a:moveTo>
                <a:cubicBezTo>
                  <a:pt x="12" y="106"/>
                  <a:pt x="12" y="106"/>
                  <a:pt x="12" y="106"/>
                </a:cubicBezTo>
                <a:cubicBezTo>
                  <a:pt x="12" y="13"/>
                  <a:pt x="12" y="13"/>
                  <a:pt x="12" y="13"/>
                </a:cubicBezTo>
                <a:cubicBezTo>
                  <a:pt x="162" y="13"/>
                  <a:pt x="162" y="13"/>
                  <a:pt x="162" y="13"/>
                </a:cubicBezTo>
                <a:lnTo>
                  <a:pt x="162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0" name="Freeform 173"/>
          <p:cNvSpPr>
            <a:spLocks noEditPoints="1"/>
          </p:cNvSpPr>
          <p:nvPr/>
        </p:nvSpPr>
        <p:spPr bwMode="auto">
          <a:xfrm>
            <a:off x="3797300" y="5539318"/>
            <a:ext cx="433917" cy="463549"/>
          </a:xfrm>
          <a:custGeom>
            <a:avLst/>
            <a:gdLst>
              <a:gd name="T0" fmla="*/ 367742680 w 144"/>
              <a:gd name="T1" fmla="*/ 219151225 h 154"/>
              <a:gd name="T2" fmla="*/ 214515622 w 144"/>
              <a:gd name="T3" fmla="*/ 366950468 h 154"/>
              <a:gd name="T4" fmla="*/ 367742680 w 144"/>
              <a:gd name="T5" fmla="*/ 519844992 h 154"/>
              <a:gd name="T6" fmla="*/ 515859910 w 144"/>
              <a:gd name="T7" fmla="*/ 366950468 h 154"/>
              <a:gd name="T8" fmla="*/ 367742680 w 144"/>
              <a:gd name="T9" fmla="*/ 219151225 h 154"/>
              <a:gd name="T10" fmla="*/ 367742680 w 144"/>
              <a:gd name="T11" fmla="*/ 453590548 h 154"/>
              <a:gd name="T12" fmla="*/ 280914014 w 144"/>
              <a:gd name="T13" fmla="*/ 366950468 h 154"/>
              <a:gd name="T14" fmla="*/ 367742680 w 144"/>
              <a:gd name="T15" fmla="*/ 285405669 h 154"/>
              <a:gd name="T16" fmla="*/ 449461518 w 144"/>
              <a:gd name="T17" fmla="*/ 366950468 h 154"/>
              <a:gd name="T18" fmla="*/ 367742680 w 144"/>
              <a:gd name="T19" fmla="*/ 453590548 h 154"/>
              <a:gd name="T20" fmla="*/ 265591308 w 144"/>
              <a:gd name="T21" fmla="*/ 652356137 h 154"/>
              <a:gd name="T22" fmla="*/ 464784224 w 144"/>
              <a:gd name="T23" fmla="*/ 652356137 h 154"/>
              <a:gd name="T24" fmla="*/ 464784224 w 144"/>
              <a:gd name="T25" fmla="*/ 586099436 h 154"/>
              <a:gd name="T26" fmla="*/ 265591308 w 144"/>
              <a:gd name="T27" fmla="*/ 586099436 h 154"/>
              <a:gd name="T28" fmla="*/ 265591308 w 144"/>
              <a:gd name="T29" fmla="*/ 652356137 h 154"/>
              <a:gd name="T30" fmla="*/ 265591308 w 144"/>
              <a:gd name="T31" fmla="*/ 784865025 h 154"/>
              <a:gd name="T32" fmla="*/ 464784224 w 144"/>
              <a:gd name="T33" fmla="*/ 784865025 h 154"/>
              <a:gd name="T34" fmla="*/ 464784224 w 144"/>
              <a:gd name="T35" fmla="*/ 718610581 h 154"/>
              <a:gd name="T36" fmla="*/ 265591308 w 144"/>
              <a:gd name="T37" fmla="*/ 718610581 h 154"/>
              <a:gd name="T38" fmla="*/ 265591308 w 144"/>
              <a:gd name="T39" fmla="*/ 784865025 h 154"/>
              <a:gd name="T40" fmla="*/ 234945896 w 144"/>
              <a:gd name="T41" fmla="*/ 101930435 h 154"/>
              <a:gd name="T42" fmla="*/ 97043804 w 144"/>
              <a:gd name="T43" fmla="*/ 239536860 h 154"/>
              <a:gd name="T44" fmla="*/ 143009661 w 144"/>
              <a:gd name="T45" fmla="*/ 285405669 h 154"/>
              <a:gd name="T46" fmla="*/ 280914014 w 144"/>
              <a:gd name="T47" fmla="*/ 147799243 h 154"/>
              <a:gd name="T48" fmla="*/ 234945896 w 144"/>
              <a:gd name="T49" fmla="*/ 101930435 h 154"/>
              <a:gd name="T50" fmla="*/ 143009661 w 144"/>
              <a:gd name="T51" fmla="*/ 10192818 h 154"/>
              <a:gd name="T52" fmla="*/ 0 w 144"/>
              <a:gd name="T53" fmla="*/ 147799243 h 154"/>
              <a:gd name="T54" fmla="*/ 45968118 w 144"/>
              <a:gd name="T55" fmla="*/ 193668052 h 154"/>
              <a:gd name="T56" fmla="*/ 188977779 w 144"/>
              <a:gd name="T57" fmla="*/ 56061626 h 154"/>
              <a:gd name="T58" fmla="*/ 143009661 w 144"/>
              <a:gd name="T59" fmla="*/ 10192818 h 154"/>
              <a:gd name="T60" fmla="*/ 612903713 w 144"/>
              <a:gd name="T61" fmla="*/ 0 h 154"/>
              <a:gd name="T62" fmla="*/ 459676655 w 144"/>
              <a:gd name="T63" fmla="*/ 152896781 h 154"/>
              <a:gd name="T64" fmla="*/ 582258302 w 144"/>
              <a:gd name="T65" fmla="*/ 275212851 h 154"/>
              <a:gd name="T66" fmla="*/ 735483100 w 144"/>
              <a:gd name="T67" fmla="*/ 122316070 h 154"/>
              <a:gd name="T68" fmla="*/ 612903713 w 144"/>
              <a:gd name="T69" fmla="*/ 0 h 15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44" h="154">
                <a:moveTo>
                  <a:pt x="72" y="43"/>
                </a:moveTo>
                <a:cubicBezTo>
                  <a:pt x="55" y="43"/>
                  <a:pt x="42" y="56"/>
                  <a:pt x="42" y="72"/>
                </a:cubicBezTo>
                <a:cubicBezTo>
                  <a:pt x="42" y="89"/>
                  <a:pt x="55" y="102"/>
                  <a:pt x="72" y="102"/>
                </a:cubicBezTo>
                <a:cubicBezTo>
                  <a:pt x="88" y="102"/>
                  <a:pt x="101" y="89"/>
                  <a:pt x="101" y="72"/>
                </a:cubicBezTo>
                <a:cubicBezTo>
                  <a:pt x="101" y="56"/>
                  <a:pt x="88" y="43"/>
                  <a:pt x="72" y="43"/>
                </a:cubicBezTo>
                <a:close/>
                <a:moveTo>
                  <a:pt x="72" y="89"/>
                </a:moveTo>
                <a:cubicBezTo>
                  <a:pt x="62" y="89"/>
                  <a:pt x="55" y="82"/>
                  <a:pt x="55" y="72"/>
                </a:cubicBezTo>
                <a:cubicBezTo>
                  <a:pt x="55" y="63"/>
                  <a:pt x="62" y="56"/>
                  <a:pt x="72" y="56"/>
                </a:cubicBezTo>
                <a:cubicBezTo>
                  <a:pt x="81" y="56"/>
                  <a:pt x="88" y="63"/>
                  <a:pt x="88" y="72"/>
                </a:cubicBezTo>
                <a:cubicBezTo>
                  <a:pt x="88" y="82"/>
                  <a:pt x="81" y="89"/>
                  <a:pt x="72" y="89"/>
                </a:cubicBezTo>
                <a:close/>
                <a:moveTo>
                  <a:pt x="52" y="128"/>
                </a:moveTo>
                <a:cubicBezTo>
                  <a:pt x="91" y="128"/>
                  <a:pt x="91" y="128"/>
                  <a:pt x="91" y="128"/>
                </a:cubicBezTo>
                <a:cubicBezTo>
                  <a:pt x="91" y="115"/>
                  <a:pt x="91" y="115"/>
                  <a:pt x="91" y="115"/>
                </a:cubicBezTo>
                <a:cubicBezTo>
                  <a:pt x="52" y="115"/>
                  <a:pt x="52" y="115"/>
                  <a:pt x="52" y="115"/>
                </a:cubicBezTo>
                <a:lnTo>
                  <a:pt x="52" y="128"/>
                </a:lnTo>
                <a:close/>
                <a:moveTo>
                  <a:pt x="52" y="154"/>
                </a:moveTo>
                <a:cubicBezTo>
                  <a:pt x="91" y="154"/>
                  <a:pt x="91" y="154"/>
                  <a:pt x="91" y="154"/>
                </a:cubicBezTo>
                <a:cubicBezTo>
                  <a:pt x="91" y="141"/>
                  <a:pt x="91" y="141"/>
                  <a:pt x="91" y="141"/>
                </a:cubicBezTo>
                <a:cubicBezTo>
                  <a:pt x="52" y="141"/>
                  <a:pt x="52" y="141"/>
                  <a:pt x="52" y="141"/>
                </a:cubicBezTo>
                <a:lnTo>
                  <a:pt x="52" y="154"/>
                </a:lnTo>
                <a:close/>
                <a:moveTo>
                  <a:pt x="46" y="20"/>
                </a:moveTo>
                <a:cubicBezTo>
                  <a:pt x="19" y="47"/>
                  <a:pt x="19" y="47"/>
                  <a:pt x="19" y="47"/>
                </a:cubicBezTo>
                <a:cubicBezTo>
                  <a:pt x="28" y="56"/>
                  <a:pt x="28" y="56"/>
                  <a:pt x="28" y="56"/>
                </a:cubicBezTo>
                <a:cubicBezTo>
                  <a:pt x="55" y="29"/>
                  <a:pt x="55" y="29"/>
                  <a:pt x="55" y="29"/>
                </a:cubicBezTo>
                <a:lnTo>
                  <a:pt x="46" y="20"/>
                </a:lnTo>
                <a:close/>
                <a:moveTo>
                  <a:pt x="28" y="2"/>
                </a:moveTo>
                <a:cubicBezTo>
                  <a:pt x="0" y="29"/>
                  <a:pt x="0" y="29"/>
                  <a:pt x="0" y="29"/>
                </a:cubicBezTo>
                <a:cubicBezTo>
                  <a:pt x="9" y="38"/>
                  <a:pt x="9" y="38"/>
                  <a:pt x="9" y="38"/>
                </a:cubicBezTo>
                <a:cubicBezTo>
                  <a:pt x="37" y="11"/>
                  <a:pt x="37" y="11"/>
                  <a:pt x="37" y="11"/>
                </a:cubicBezTo>
                <a:lnTo>
                  <a:pt x="28" y="2"/>
                </a:lnTo>
                <a:close/>
                <a:moveTo>
                  <a:pt x="120" y="0"/>
                </a:moveTo>
                <a:cubicBezTo>
                  <a:pt x="90" y="30"/>
                  <a:pt x="90" y="30"/>
                  <a:pt x="90" y="30"/>
                </a:cubicBezTo>
                <a:cubicBezTo>
                  <a:pt x="114" y="54"/>
                  <a:pt x="114" y="54"/>
                  <a:pt x="114" y="54"/>
                </a:cubicBezTo>
                <a:cubicBezTo>
                  <a:pt x="144" y="24"/>
                  <a:pt x="144" y="24"/>
                  <a:pt x="144" y="24"/>
                </a:cubicBezTo>
                <a:lnTo>
                  <a:pt x="12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1" name="Freeform 174"/>
          <p:cNvSpPr>
            <a:spLocks noEditPoints="1"/>
          </p:cNvSpPr>
          <p:nvPr/>
        </p:nvSpPr>
        <p:spPr bwMode="auto">
          <a:xfrm>
            <a:off x="4584700" y="5511800"/>
            <a:ext cx="516467" cy="518584"/>
          </a:xfrm>
          <a:custGeom>
            <a:avLst/>
            <a:gdLst>
              <a:gd name="T0" fmla="*/ 846967799 w 172"/>
              <a:gd name="T1" fmla="*/ 853926947 h 172"/>
              <a:gd name="T2" fmla="*/ 649171576 w 172"/>
              <a:gd name="T3" fmla="*/ 557352677 h 172"/>
              <a:gd name="T4" fmla="*/ 674531740 w 172"/>
              <a:gd name="T5" fmla="*/ 480652746 h 172"/>
              <a:gd name="T6" fmla="*/ 872325712 w 172"/>
              <a:gd name="T7" fmla="*/ 439746418 h 172"/>
              <a:gd name="T8" fmla="*/ 674531740 w 172"/>
              <a:gd name="T9" fmla="*/ 398840090 h 172"/>
              <a:gd name="T10" fmla="*/ 476735517 w 172"/>
              <a:gd name="T11" fmla="*/ 199418914 h 172"/>
              <a:gd name="T12" fmla="*/ 436162856 w 172"/>
              <a:gd name="T13" fmla="*/ 0 h 172"/>
              <a:gd name="T14" fmla="*/ 395590196 w 172"/>
              <a:gd name="T15" fmla="*/ 199418914 h 172"/>
              <a:gd name="T16" fmla="*/ 319514205 w 172"/>
              <a:gd name="T17" fmla="*/ 224987065 h 172"/>
              <a:gd name="T18" fmla="*/ 25357913 w 172"/>
              <a:gd name="T19" fmla="*/ 25565890 h 172"/>
              <a:gd name="T20" fmla="*/ 223154137 w 172"/>
              <a:gd name="T21" fmla="*/ 322140160 h 172"/>
              <a:gd name="T22" fmla="*/ 197793972 w 172"/>
              <a:gd name="T23" fmla="*/ 398840090 h 172"/>
              <a:gd name="T24" fmla="*/ 0 w 172"/>
              <a:gd name="T25" fmla="*/ 439746418 h 172"/>
              <a:gd name="T26" fmla="*/ 197793972 w 172"/>
              <a:gd name="T27" fmla="*/ 480652746 h 172"/>
              <a:gd name="T28" fmla="*/ 395590196 w 172"/>
              <a:gd name="T29" fmla="*/ 680073922 h 172"/>
              <a:gd name="T30" fmla="*/ 436162856 w 172"/>
              <a:gd name="T31" fmla="*/ 879492836 h 172"/>
              <a:gd name="T32" fmla="*/ 476735517 w 172"/>
              <a:gd name="T33" fmla="*/ 680073922 h 172"/>
              <a:gd name="T34" fmla="*/ 552811507 w 172"/>
              <a:gd name="T35" fmla="*/ 654505771 h 172"/>
              <a:gd name="T36" fmla="*/ 846967799 w 172"/>
              <a:gd name="T37" fmla="*/ 853926947 h 172"/>
              <a:gd name="T38" fmla="*/ 436162856 w 172"/>
              <a:gd name="T39" fmla="*/ 240327504 h 172"/>
              <a:gd name="T40" fmla="*/ 633956828 w 172"/>
              <a:gd name="T41" fmla="*/ 439746418 h 172"/>
              <a:gd name="T42" fmla="*/ 618742080 w 172"/>
              <a:gd name="T43" fmla="*/ 511333623 h 172"/>
              <a:gd name="T44" fmla="*/ 537596759 w 172"/>
              <a:gd name="T45" fmla="*/ 388612377 h 172"/>
              <a:gd name="T46" fmla="*/ 486878682 w 172"/>
              <a:gd name="T47" fmla="*/ 337480598 h 172"/>
              <a:gd name="T48" fmla="*/ 365160700 w 172"/>
              <a:gd name="T49" fmla="*/ 255665681 h 172"/>
              <a:gd name="T50" fmla="*/ 436162856 w 172"/>
              <a:gd name="T51" fmla="*/ 240327504 h 172"/>
              <a:gd name="T52" fmla="*/ 476735517 w 172"/>
              <a:gd name="T53" fmla="*/ 439746418 h 172"/>
              <a:gd name="T54" fmla="*/ 436162856 w 172"/>
              <a:gd name="T55" fmla="*/ 480652746 h 172"/>
              <a:gd name="T56" fmla="*/ 395590196 w 172"/>
              <a:gd name="T57" fmla="*/ 439746418 h 172"/>
              <a:gd name="T58" fmla="*/ 436162856 w 172"/>
              <a:gd name="T59" fmla="*/ 398840090 h 172"/>
              <a:gd name="T60" fmla="*/ 476735517 w 172"/>
              <a:gd name="T61" fmla="*/ 439746418 h 172"/>
              <a:gd name="T62" fmla="*/ 436162856 w 172"/>
              <a:gd name="T63" fmla="*/ 639165333 h 172"/>
              <a:gd name="T64" fmla="*/ 238368884 w 172"/>
              <a:gd name="T65" fmla="*/ 439746418 h 172"/>
              <a:gd name="T66" fmla="*/ 253583632 w 172"/>
              <a:gd name="T67" fmla="*/ 368159213 h 172"/>
              <a:gd name="T68" fmla="*/ 334728953 w 172"/>
              <a:gd name="T69" fmla="*/ 490880459 h 172"/>
              <a:gd name="T70" fmla="*/ 385447031 w 172"/>
              <a:gd name="T71" fmla="*/ 542012238 h 172"/>
              <a:gd name="T72" fmla="*/ 507165012 w 172"/>
              <a:gd name="T73" fmla="*/ 623827156 h 172"/>
              <a:gd name="T74" fmla="*/ 436162856 w 172"/>
              <a:gd name="T75" fmla="*/ 639165333 h 17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72" h="172">
                <a:moveTo>
                  <a:pt x="167" y="167"/>
                </a:moveTo>
                <a:cubicBezTo>
                  <a:pt x="128" y="109"/>
                  <a:pt x="128" y="109"/>
                  <a:pt x="128" y="109"/>
                </a:cubicBezTo>
                <a:cubicBezTo>
                  <a:pt x="131" y="104"/>
                  <a:pt x="132" y="99"/>
                  <a:pt x="133" y="94"/>
                </a:cubicBezTo>
                <a:cubicBezTo>
                  <a:pt x="172" y="86"/>
                  <a:pt x="172" y="86"/>
                  <a:pt x="172" y="86"/>
                </a:cubicBezTo>
                <a:cubicBezTo>
                  <a:pt x="133" y="78"/>
                  <a:pt x="133" y="78"/>
                  <a:pt x="133" y="78"/>
                </a:cubicBezTo>
                <a:cubicBezTo>
                  <a:pt x="130" y="58"/>
                  <a:pt x="114" y="42"/>
                  <a:pt x="94" y="39"/>
                </a:cubicBezTo>
                <a:cubicBezTo>
                  <a:pt x="86" y="0"/>
                  <a:pt x="86" y="0"/>
                  <a:pt x="86" y="0"/>
                </a:cubicBezTo>
                <a:cubicBezTo>
                  <a:pt x="78" y="39"/>
                  <a:pt x="78" y="39"/>
                  <a:pt x="78" y="39"/>
                </a:cubicBezTo>
                <a:cubicBezTo>
                  <a:pt x="73" y="40"/>
                  <a:pt x="68" y="41"/>
                  <a:pt x="63" y="44"/>
                </a:cubicBezTo>
                <a:cubicBezTo>
                  <a:pt x="5" y="5"/>
                  <a:pt x="5" y="5"/>
                  <a:pt x="5" y="5"/>
                </a:cubicBezTo>
                <a:cubicBezTo>
                  <a:pt x="44" y="63"/>
                  <a:pt x="44" y="63"/>
                  <a:pt x="44" y="63"/>
                </a:cubicBezTo>
                <a:cubicBezTo>
                  <a:pt x="41" y="68"/>
                  <a:pt x="40" y="73"/>
                  <a:pt x="39" y="78"/>
                </a:cubicBezTo>
                <a:cubicBezTo>
                  <a:pt x="0" y="86"/>
                  <a:pt x="0" y="86"/>
                  <a:pt x="0" y="86"/>
                </a:cubicBezTo>
                <a:cubicBezTo>
                  <a:pt x="39" y="94"/>
                  <a:pt x="39" y="94"/>
                  <a:pt x="39" y="94"/>
                </a:cubicBezTo>
                <a:cubicBezTo>
                  <a:pt x="42" y="114"/>
                  <a:pt x="58" y="130"/>
                  <a:pt x="78" y="133"/>
                </a:cubicBezTo>
                <a:cubicBezTo>
                  <a:pt x="86" y="172"/>
                  <a:pt x="86" y="172"/>
                  <a:pt x="86" y="172"/>
                </a:cubicBezTo>
                <a:cubicBezTo>
                  <a:pt x="94" y="133"/>
                  <a:pt x="94" y="133"/>
                  <a:pt x="94" y="133"/>
                </a:cubicBezTo>
                <a:cubicBezTo>
                  <a:pt x="99" y="132"/>
                  <a:pt x="104" y="131"/>
                  <a:pt x="109" y="128"/>
                </a:cubicBezTo>
                <a:lnTo>
                  <a:pt x="167" y="167"/>
                </a:lnTo>
                <a:close/>
                <a:moveTo>
                  <a:pt x="86" y="47"/>
                </a:moveTo>
                <a:cubicBezTo>
                  <a:pt x="107" y="47"/>
                  <a:pt x="125" y="65"/>
                  <a:pt x="125" y="86"/>
                </a:cubicBezTo>
                <a:cubicBezTo>
                  <a:pt x="125" y="91"/>
                  <a:pt x="124" y="96"/>
                  <a:pt x="122" y="100"/>
                </a:cubicBezTo>
                <a:cubicBezTo>
                  <a:pt x="106" y="76"/>
                  <a:pt x="106" y="76"/>
                  <a:pt x="106" y="76"/>
                </a:cubicBezTo>
                <a:cubicBezTo>
                  <a:pt x="96" y="66"/>
                  <a:pt x="96" y="66"/>
                  <a:pt x="96" y="66"/>
                </a:cubicBezTo>
                <a:cubicBezTo>
                  <a:pt x="72" y="50"/>
                  <a:pt x="72" y="50"/>
                  <a:pt x="72" y="50"/>
                </a:cubicBezTo>
                <a:cubicBezTo>
                  <a:pt x="76" y="48"/>
                  <a:pt x="81" y="47"/>
                  <a:pt x="86" y="47"/>
                </a:cubicBezTo>
                <a:close/>
                <a:moveTo>
                  <a:pt x="94" y="86"/>
                </a:moveTo>
                <a:cubicBezTo>
                  <a:pt x="94" y="90"/>
                  <a:pt x="90" y="94"/>
                  <a:pt x="86" y="94"/>
                </a:cubicBezTo>
                <a:cubicBezTo>
                  <a:pt x="82" y="94"/>
                  <a:pt x="78" y="90"/>
                  <a:pt x="78" y="86"/>
                </a:cubicBezTo>
                <a:cubicBezTo>
                  <a:pt x="78" y="82"/>
                  <a:pt x="82" y="78"/>
                  <a:pt x="86" y="78"/>
                </a:cubicBezTo>
                <a:cubicBezTo>
                  <a:pt x="90" y="78"/>
                  <a:pt x="94" y="82"/>
                  <a:pt x="94" y="86"/>
                </a:cubicBezTo>
                <a:close/>
                <a:moveTo>
                  <a:pt x="86" y="125"/>
                </a:moveTo>
                <a:cubicBezTo>
                  <a:pt x="65" y="125"/>
                  <a:pt x="47" y="107"/>
                  <a:pt x="47" y="86"/>
                </a:cubicBezTo>
                <a:cubicBezTo>
                  <a:pt x="47" y="81"/>
                  <a:pt x="48" y="76"/>
                  <a:pt x="50" y="72"/>
                </a:cubicBezTo>
                <a:cubicBezTo>
                  <a:pt x="66" y="96"/>
                  <a:pt x="66" y="96"/>
                  <a:pt x="66" y="96"/>
                </a:cubicBezTo>
                <a:cubicBezTo>
                  <a:pt x="76" y="106"/>
                  <a:pt x="76" y="106"/>
                  <a:pt x="76" y="106"/>
                </a:cubicBezTo>
                <a:cubicBezTo>
                  <a:pt x="100" y="122"/>
                  <a:pt x="100" y="122"/>
                  <a:pt x="100" y="122"/>
                </a:cubicBezTo>
                <a:cubicBezTo>
                  <a:pt x="96" y="124"/>
                  <a:pt x="91" y="125"/>
                  <a:pt x="86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2" name="Freeform 175"/>
          <p:cNvSpPr>
            <a:spLocks noEditPoints="1"/>
          </p:cNvSpPr>
          <p:nvPr/>
        </p:nvSpPr>
        <p:spPr bwMode="auto">
          <a:xfrm>
            <a:off x="5441951" y="5507567"/>
            <a:ext cx="414867" cy="529167"/>
          </a:xfrm>
          <a:custGeom>
            <a:avLst/>
            <a:gdLst>
              <a:gd name="T0" fmla="*/ 427033083 w 138"/>
              <a:gd name="T1" fmla="*/ 361027717 h 176"/>
              <a:gd name="T2" fmla="*/ 350776531 w 138"/>
              <a:gd name="T3" fmla="*/ 350857795 h 176"/>
              <a:gd name="T4" fmla="*/ 274519979 w 138"/>
              <a:gd name="T5" fmla="*/ 361027717 h 176"/>
              <a:gd name="T6" fmla="*/ 274519979 w 138"/>
              <a:gd name="T7" fmla="*/ 132206729 h 176"/>
              <a:gd name="T8" fmla="*/ 76256552 w 138"/>
              <a:gd name="T9" fmla="*/ 132206729 h 176"/>
              <a:gd name="T10" fmla="*/ 76256552 w 138"/>
              <a:gd name="T11" fmla="*/ 244075870 h 176"/>
              <a:gd name="T12" fmla="*/ 172846080 w 138"/>
              <a:gd name="T13" fmla="*/ 416962287 h 176"/>
              <a:gd name="T14" fmla="*/ 81338668 w 138"/>
              <a:gd name="T15" fmla="*/ 620358469 h 176"/>
              <a:gd name="T16" fmla="*/ 350776531 w 138"/>
              <a:gd name="T17" fmla="*/ 894941850 h 176"/>
              <a:gd name="T18" fmla="*/ 620214393 w 138"/>
              <a:gd name="T19" fmla="*/ 620358469 h 176"/>
              <a:gd name="T20" fmla="*/ 513456122 w 138"/>
              <a:gd name="T21" fmla="*/ 406792365 h 176"/>
              <a:gd name="T22" fmla="*/ 625296510 w 138"/>
              <a:gd name="T23" fmla="*/ 249160831 h 176"/>
              <a:gd name="T24" fmla="*/ 625296510 w 138"/>
              <a:gd name="T25" fmla="*/ 132206729 h 176"/>
              <a:gd name="T26" fmla="*/ 427033083 w 138"/>
              <a:gd name="T27" fmla="*/ 132206729 h 176"/>
              <a:gd name="T28" fmla="*/ 427033083 w 138"/>
              <a:gd name="T29" fmla="*/ 361027717 h 176"/>
              <a:gd name="T30" fmla="*/ 523622611 w 138"/>
              <a:gd name="T31" fmla="*/ 620358469 h 176"/>
              <a:gd name="T32" fmla="*/ 350776531 w 138"/>
              <a:gd name="T33" fmla="*/ 798329847 h 176"/>
              <a:gd name="T34" fmla="*/ 177930451 w 138"/>
              <a:gd name="T35" fmla="*/ 620358469 h 176"/>
              <a:gd name="T36" fmla="*/ 350776531 w 138"/>
              <a:gd name="T37" fmla="*/ 447472053 h 176"/>
              <a:gd name="T38" fmla="*/ 523622611 w 138"/>
              <a:gd name="T39" fmla="*/ 620358469 h 176"/>
              <a:gd name="T40" fmla="*/ 0 w 138"/>
              <a:gd name="T41" fmla="*/ 0 h 176"/>
              <a:gd name="T42" fmla="*/ 0 w 138"/>
              <a:gd name="T43" fmla="*/ 81359375 h 176"/>
              <a:gd name="T44" fmla="*/ 701553062 w 138"/>
              <a:gd name="T45" fmla="*/ 81359375 h 176"/>
              <a:gd name="T46" fmla="*/ 701553062 w 138"/>
              <a:gd name="T47" fmla="*/ 0 h 176"/>
              <a:gd name="T48" fmla="*/ 0 w 138"/>
              <a:gd name="T49" fmla="*/ 0 h 176"/>
              <a:gd name="T50" fmla="*/ 345692159 w 138"/>
              <a:gd name="T51" fmla="*/ 462724680 h 176"/>
              <a:gd name="T52" fmla="*/ 310106069 w 138"/>
              <a:gd name="T53" fmla="*/ 564423899 h 176"/>
              <a:gd name="T54" fmla="*/ 198265682 w 138"/>
              <a:gd name="T55" fmla="*/ 564423899 h 176"/>
              <a:gd name="T56" fmla="*/ 193181311 w 138"/>
              <a:gd name="T57" fmla="*/ 569508860 h 176"/>
              <a:gd name="T58" fmla="*/ 193181311 w 138"/>
              <a:gd name="T59" fmla="*/ 579678782 h 176"/>
              <a:gd name="T60" fmla="*/ 284688722 w 138"/>
              <a:gd name="T61" fmla="*/ 645781019 h 176"/>
              <a:gd name="T62" fmla="*/ 249102632 w 138"/>
              <a:gd name="T63" fmla="*/ 752565199 h 176"/>
              <a:gd name="T64" fmla="*/ 254187003 w 138"/>
              <a:gd name="T65" fmla="*/ 757650160 h 176"/>
              <a:gd name="T66" fmla="*/ 259269120 w 138"/>
              <a:gd name="T67" fmla="*/ 757650160 h 176"/>
              <a:gd name="T68" fmla="*/ 350776531 w 138"/>
              <a:gd name="T69" fmla="*/ 691545668 h 176"/>
              <a:gd name="T70" fmla="*/ 442283942 w 138"/>
              <a:gd name="T71" fmla="*/ 757650160 h 176"/>
              <a:gd name="T72" fmla="*/ 447366059 w 138"/>
              <a:gd name="T73" fmla="*/ 757650160 h 176"/>
              <a:gd name="T74" fmla="*/ 447366059 w 138"/>
              <a:gd name="T75" fmla="*/ 757650160 h 176"/>
              <a:gd name="T76" fmla="*/ 452450430 w 138"/>
              <a:gd name="T77" fmla="*/ 752565199 h 176"/>
              <a:gd name="T78" fmla="*/ 416864340 w 138"/>
              <a:gd name="T79" fmla="*/ 645781019 h 176"/>
              <a:gd name="T80" fmla="*/ 508371751 w 138"/>
              <a:gd name="T81" fmla="*/ 579678782 h 176"/>
              <a:gd name="T82" fmla="*/ 508371751 w 138"/>
              <a:gd name="T83" fmla="*/ 569508860 h 176"/>
              <a:gd name="T84" fmla="*/ 503287380 w 138"/>
              <a:gd name="T85" fmla="*/ 564423899 h 176"/>
              <a:gd name="T86" fmla="*/ 391446992 w 138"/>
              <a:gd name="T87" fmla="*/ 564423899 h 176"/>
              <a:gd name="T88" fmla="*/ 355860902 w 138"/>
              <a:gd name="T89" fmla="*/ 462724680 h 176"/>
              <a:gd name="T90" fmla="*/ 350776531 w 138"/>
              <a:gd name="T91" fmla="*/ 457639719 h 176"/>
              <a:gd name="T92" fmla="*/ 345692159 w 138"/>
              <a:gd name="T93" fmla="*/ 462724680 h 17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38" h="176">
                <a:moveTo>
                  <a:pt x="84" y="71"/>
                </a:moveTo>
                <a:cubicBezTo>
                  <a:pt x="79" y="70"/>
                  <a:pt x="74" y="69"/>
                  <a:pt x="69" y="69"/>
                </a:cubicBezTo>
                <a:cubicBezTo>
                  <a:pt x="64" y="69"/>
                  <a:pt x="59" y="70"/>
                  <a:pt x="54" y="71"/>
                </a:cubicBezTo>
                <a:cubicBezTo>
                  <a:pt x="54" y="26"/>
                  <a:pt x="54" y="26"/>
                  <a:pt x="54" y="26"/>
                </a:cubicBezTo>
                <a:cubicBezTo>
                  <a:pt x="15" y="26"/>
                  <a:pt x="15" y="26"/>
                  <a:pt x="15" y="26"/>
                </a:cubicBezTo>
                <a:cubicBezTo>
                  <a:pt x="15" y="48"/>
                  <a:pt x="15" y="48"/>
                  <a:pt x="15" y="48"/>
                </a:cubicBezTo>
                <a:cubicBezTo>
                  <a:pt x="34" y="82"/>
                  <a:pt x="34" y="82"/>
                  <a:pt x="34" y="82"/>
                </a:cubicBezTo>
                <a:cubicBezTo>
                  <a:pt x="23" y="92"/>
                  <a:pt x="16" y="106"/>
                  <a:pt x="16" y="122"/>
                </a:cubicBezTo>
                <a:cubicBezTo>
                  <a:pt x="16" y="152"/>
                  <a:pt x="40" y="176"/>
                  <a:pt x="69" y="176"/>
                </a:cubicBezTo>
                <a:cubicBezTo>
                  <a:pt x="98" y="176"/>
                  <a:pt x="122" y="152"/>
                  <a:pt x="122" y="122"/>
                </a:cubicBezTo>
                <a:cubicBezTo>
                  <a:pt x="122" y="105"/>
                  <a:pt x="114" y="90"/>
                  <a:pt x="101" y="80"/>
                </a:cubicBezTo>
                <a:cubicBezTo>
                  <a:pt x="123" y="49"/>
                  <a:pt x="123" y="49"/>
                  <a:pt x="123" y="49"/>
                </a:cubicBezTo>
                <a:cubicBezTo>
                  <a:pt x="123" y="26"/>
                  <a:pt x="123" y="26"/>
                  <a:pt x="123" y="26"/>
                </a:cubicBezTo>
                <a:cubicBezTo>
                  <a:pt x="84" y="26"/>
                  <a:pt x="84" y="26"/>
                  <a:pt x="84" y="26"/>
                </a:cubicBezTo>
                <a:lnTo>
                  <a:pt x="84" y="71"/>
                </a:lnTo>
                <a:close/>
                <a:moveTo>
                  <a:pt x="103" y="122"/>
                </a:moveTo>
                <a:cubicBezTo>
                  <a:pt x="103" y="141"/>
                  <a:pt x="88" y="157"/>
                  <a:pt x="69" y="157"/>
                </a:cubicBezTo>
                <a:cubicBezTo>
                  <a:pt x="50" y="157"/>
                  <a:pt x="35" y="141"/>
                  <a:pt x="35" y="122"/>
                </a:cubicBezTo>
                <a:cubicBezTo>
                  <a:pt x="35" y="104"/>
                  <a:pt x="50" y="88"/>
                  <a:pt x="69" y="88"/>
                </a:cubicBezTo>
                <a:cubicBezTo>
                  <a:pt x="88" y="88"/>
                  <a:pt x="103" y="104"/>
                  <a:pt x="103" y="122"/>
                </a:cubicBezTo>
                <a:close/>
                <a:moveTo>
                  <a:pt x="0" y="0"/>
                </a:moveTo>
                <a:cubicBezTo>
                  <a:pt x="0" y="16"/>
                  <a:pt x="0" y="16"/>
                  <a:pt x="0" y="16"/>
                </a:cubicBezTo>
                <a:cubicBezTo>
                  <a:pt x="138" y="16"/>
                  <a:pt x="138" y="16"/>
                  <a:pt x="138" y="16"/>
                </a:cubicBezTo>
                <a:cubicBezTo>
                  <a:pt x="138" y="0"/>
                  <a:pt x="138" y="0"/>
                  <a:pt x="138" y="0"/>
                </a:cubicBezTo>
                <a:lnTo>
                  <a:pt x="0" y="0"/>
                </a:lnTo>
                <a:close/>
                <a:moveTo>
                  <a:pt x="68" y="91"/>
                </a:moveTo>
                <a:cubicBezTo>
                  <a:pt x="61" y="111"/>
                  <a:pt x="61" y="111"/>
                  <a:pt x="61" y="111"/>
                </a:cubicBezTo>
                <a:cubicBezTo>
                  <a:pt x="39" y="111"/>
                  <a:pt x="39" y="111"/>
                  <a:pt x="39" y="111"/>
                </a:cubicBezTo>
                <a:cubicBezTo>
                  <a:pt x="39" y="111"/>
                  <a:pt x="38" y="112"/>
                  <a:pt x="38" y="112"/>
                </a:cubicBezTo>
                <a:cubicBezTo>
                  <a:pt x="38" y="113"/>
                  <a:pt x="38" y="113"/>
                  <a:pt x="38" y="114"/>
                </a:cubicBezTo>
                <a:cubicBezTo>
                  <a:pt x="56" y="127"/>
                  <a:pt x="56" y="127"/>
                  <a:pt x="56" y="127"/>
                </a:cubicBezTo>
                <a:cubicBezTo>
                  <a:pt x="49" y="148"/>
                  <a:pt x="49" y="148"/>
                  <a:pt x="49" y="148"/>
                </a:cubicBezTo>
                <a:cubicBezTo>
                  <a:pt x="49" y="148"/>
                  <a:pt x="49" y="149"/>
                  <a:pt x="50" y="149"/>
                </a:cubicBezTo>
                <a:cubicBezTo>
                  <a:pt x="50" y="149"/>
                  <a:pt x="51" y="149"/>
                  <a:pt x="51" y="149"/>
                </a:cubicBezTo>
                <a:cubicBezTo>
                  <a:pt x="69" y="136"/>
                  <a:pt x="69" y="136"/>
                  <a:pt x="69" y="136"/>
                </a:cubicBezTo>
                <a:cubicBezTo>
                  <a:pt x="87" y="149"/>
                  <a:pt x="87" y="149"/>
                  <a:pt x="87" y="149"/>
                </a:cubicBezTo>
                <a:cubicBezTo>
                  <a:pt x="87" y="149"/>
                  <a:pt x="87" y="149"/>
                  <a:pt x="88" y="149"/>
                </a:cubicBezTo>
                <a:cubicBezTo>
                  <a:pt x="88" y="149"/>
                  <a:pt x="88" y="149"/>
                  <a:pt x="88" y="149"/>
                </a:cubicBezTo>
                <a:cubicBezTo>
                  <a:pt x="89" y="149"/>
                  <a:pt x="89" y="148"/>
                  <a:pt x="89" y="148"/>
                </a:cubicBezTo>
                <a:cubicBezTo>
                  <a:pt x="82" y="127"/>
                  <a:pt x="82" y="127"/>
                  <a:pt x="82" y="127"/>
                </a:cubicBezTo>
                <a:cubicBezTo>
                  <a:pt x="100" y="114"/>
                  <a:pt x="100" y="114"/>
                  <a:pt x="100" y="114"/>
                </a:cubicBezTo>
                <a:cubicBezTo>
                  <a:pt x="100" y="113"/>
                  <a:pt x="100" y="113"/>
                  <a:pt x="100" y="112"/>
                </a:cubicBezTo>
                <a:cubicBezTo>
                  <a:pt x="100" y="112"/>
                  <a:pt x="99" y="111"/>
                  <a:pt x="99" y="111"/>
                </a:cubicBezTo>
                <a:cubicBezTo>
                  <a:pt x="77" y="111"/>
                  <a:pt x="77" y="111"/>
                  <a:pt x="77" y="111"/>
                </a:cubicBezTo>
                <a:cubicBezTo>
                  <a:pt x="70" y="91"/>
                  <a:pt x="70" y="91"/>
                  <a:pt x="70" y="91"/>
                </a:cubicBezTo>
                <a:cubicBezTo>
                  <a:pt x="70" y="90"/>
                  <a:pt x="70" y="90"/>
                  <a:pt x="69" y="90"/>
                </a:cubicBezTo>
                <a:cubicBezTo>
                  <a:pt x="68" y="90"/>
                  <a:pt x="68" y="90"/>
                  <a:pt x="68" y="9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3" name="Freeform 176"/>
          <p:cNvSpPr>
            <a:spLocks/>
          </p:cNvSpPr>
          <p:nvPr/>
        </p:nvSpPr>
        <p:spPr bwMode="auto">
          <a:xfrm>
            <a:off x="6405034" y="5516034"/>
            <a:ext cx="241300" cy="463551"/>
          </a:xfrm>
          <a:custGeom>
            <a:avLst/>
            <a:gdLst>
              <a:gd name="T0" fmla="*/ 225169095 w 80"/>
              <a:gd name="T1" fmla="*/ 473977547 h 154"/>
              <a:gd name="T2" fmla="*/ 409399383 w 80"/>
              <a:gd name="T3" fmla="*/ 494365498 h 154"/>
              <a:gd name="T4" fmla="*/ 10234136 w 80"/>
              <a:gd name="T5" fmla="*/ 0 h 154"/>
              <a:gd name="T6" fmla="*/ 0 w 80"/>
              <a:gd name="T7" fmla="*/ 631970062 h 154"/>
              <a:gd name="T8" fmla="*/ 15353467 w 80"/>
              <a:gd name="T9" fmla="*/ 616681920 h 154"/>
              <a:gd name="T10" fmla="*/ 133055082 w 80"/>
              <a:gd name="T11" fmla="*/ 504558345 h 154"/>
              <a:gd name="T12" fmla="*/ 225169095 w 80"/>
              <a:gd name="T13" fmla="*/ 754288742 h 154"/>
              <a:gd name="T14" fmla="*/ 271227233 w 80"/>
              <a:gd name="T15" fmla="*/ 784867283 h 154"/>
              <a:gd name="T16" fmla="*/ 286580699 w 80"/>
              <a:gd name="T17" fmla="*/ 784867283 h 154"/>
              <a:gd name="T18" fmla="*/ 317285370 w 80"/>
              <a:gd name="T19" fmla="*/ 738998342 h 154"/>
              <a:gd name="T20" fmla="*/ 317285370 w 80"/>
              <a:gd name="T21" fmla="*/ 723707943 h 154"/>
              <a:gd name="T22" fmla="*/ 225169095 w 80"/>
              <a:gd name="T23" fmla="*/ 473977547 h 15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80" h="154">
                <a:moveTo>
                  <a:pt x="44" y="93"/>
                </a:moveTo>
                <a:cubicBezTo>
                  <a:pt x="80" y="97"/>
                  <a:pt x="80" y="97"/>
                  <a:pt x="80" y="97"/>
                </a:cubicBezTo>
                <a:cubicBezTo>
                  <a:pt x="2" y="0"/>
                  <a:pt x="2" y="0"/>
                  <a:pt x="2" y="0"/>
                </a:cubicBezTo>
                <a:cubicBezTo>
                  <a:pt x="0" y="124"/>
                  <a:pt x="0" y="124"/>
                  <a:pt x="0" y="124"/>
                </a:cubicBezTo>
                <a:cubicBezTo>
                  <a:pt x="3" y="121"/>
                  <a:pt x="3" y="121"/>
                  <a:pt x="3" y="121"/>
                </a:cubicBezTo>
                <a:cubicBezTo>
                  <a:pt x="26" y="99"/>
                  <a:pt x="26" y="99"/>
                  <a:pt x="26" y="99"/>
                </a:cubicBezTo>
                <a:cubicBezTo>
                  <a:pt x="44" y="148"/>
                  <a:pt x="44" y="148"/>
                  <a:pt x="44" y="148"/>
                </a:cubicBezTo>
                <a:cubicBezTo>
                  <a:pt x="45" y="152"/>
                  <a:pt x="49" y="154"/>
                  <a:pt x="53" y="154"/>
                </a:cubicBezTo>
                <a:cubicBezTo>
                  <a:pt x="54" y="154"/>
                  <a:pt x="55" y="154"/>
                  <a:pt x="56" y="154"/>
                </a:cubicBezTo>
                <a:cubicBezTo>
                  <a:pt x="60" y="152"/>
                  <a:pt x="62" y="149"/>
                  <a:pt x="62" y="145"/>
                </a:cubicBezTo>
                <a:cubicBezTo>
                  <a:pt x="62" y="144"/>
                  <a:pt x="62" y="143"/>
                  <a:pt x="62" y="142"/>
                </a:cubicBezTo>
                <a:lnTo>
                  <a:pt x="44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4" name="Freeform 177"/>
          <p:cNvSpPr>
            <a:spLocks/>
          </p:cNvSpPr>
          <p:nvPr/>
        </p:nvSpPr>
        <p:spPr bwMode="auto">
          <a:xfrm>
            <a:off x="7090833" y="5636684"/>
            <a:ext cx="59267" cy="118533"/>
          </a:xfrm>
          <a:custGeom>
            <a:avLst/>
            <a:gdLst>
              <a:gd name="T0" fmla="*/ 0 w 28"/>
              <a:gd name="T1" fmla="*/ 0 h 56"/>
              <a:gd name="T2" fmla="*/ 70564375 w 28"/>
              <a:gd name="T3" fmla="*/ 70564375 h 56"/>
              <a:gd name="T4" fmla="*/ 0 w 28"/>
              <a:gd name="T5" fmla="*/ 141128750 h 56"/>
              <a:gd name="T6" fmla="*/ 0 w 28"/>
              <a:gd name="T7" fmla="*/ 0 h 5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" h="56">
                <a:moveTo>
                  <a:pt x="0" y="0"/>
                </a:moveTo>
                <a:lnTo>
                  <a:pt x="28" y="28"/>
                </a:lnTo>
                <a:lnTo>
                  <a:pt x="0" y="5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5" name="Freeform 178"/>
          <p:cNvSpPr>
            <a:spLocks noEditPoints="1"/>
          </p:cNvSpPr>
          <p:nvPr/>
        </p:nvSpPr>
        <p:spPr bwMode="auto">
          <a:xfrm>
            <a:off x="7078134" y="5511801"/>
            <a:ext cx="480484" cy="469900"/>
          </a:xfrm>
          <a:custGeom>
            <a:avLst/>
            <a:gdLst>
              <a:gd name="T0" fmla="*/ 118446714 w 227"/>
              <a:gd name="T1" fmla="*/ 219254388 h 222"/>
              <a:gd name="T2" fmla="*/ 15120958 w 227"/>
              <a:gd name="T3" fmla="*/ 327620313 h 222"/>
              <a:gd name="T4" fmla="*/ 15120958 w 227"/>
              <a:gd name="T5" fmla="*/ 559474688 h 222"/>
              <a:gd name="T6" fmla="*/ 572075469 w 227"/>
              <a:gd name="T7" fmla="*/ 559474688 h 222"/>
              <a:gd name="T8" fmla="*/ 572075469 w 227"/>
              <a:gd name="T9" fmla="*/ 219254388 h 222"/>
              <a:gd name="T10" fmla="*/ 118446714 w 227"/>
              <a:gd name="T11" fmla="*/ 219254388 h 222"/>
              <a:gd name="T12" fmla="*/ 453628754 w 227"/>
              <a:gd name="T13" fmla="*/ 448587813 h 222"/>
              <a:gd name="T14" fmla="*/ 143648312 w 227"/>
              <a:gd name="T15" fmla="*/ 448587813 h 222"/>
              <a:gd name="T16" fmla="*/ 143648312 w 227"/>
              <a:gd name="T17" fmla="*/ 413305625 h 222"/>
              <a:gd name="T18" fmla="*/ 453628754 w 227"/>
              <a:gd name="T19" fmla="*/ 413305625 h 222"/>
              <a:gd name="T20" fmla="*/ 453628754 w 227"/>
              <a:gd name="T21" fmla="*/ 448587813 h 222"/>
              <a:gd name="T22" fmla="*/ 453628754 w 227"/>
              <a:gd name="T23" fmla="*/ 365423450 h 222"/>
              <a:gd name="T24" fmla="*/ 143648312 w 227"/>
              <a:gd name="T25" fmla="*/ 365423450 h 222"/>
              <a:gd name="T26" fmla="*/ 143648312 w 227"/>
              <a:gd name="T27" fmla="*/ 330141263 h 222"/>
              <a:gd name="T28" fmla="*/ 453628754 w 227"/>
              <a:gd name="T29" fmla="*/ 330141263 h 222"/>
              <a:gd name="T30" fmla="*/ 453628754 w 227"/>
              <a:gd name="T31" fmla="*/ 365423450 h 222"/>
              <a:gd name="T32" fmla="*/ 561994830 w 227"/>
              <a:gd name="T33" fmla="*/ 118448138 h 222"/>
              <a:gd name="T34" fmla="*/ 541833552 w 227"/>
              <a:gd name="T35" fmla="*/ 0 h 222"/>
              <a:gd name="T36" fmla="*/ 541833552 w 227"/>
              <a:gd name="T37" fmla="*/ 0 h 222"/>
              <a:gd name="T38" fmla="*/ 0 w 227"/>
              <a:gd name="T39" fmla="*/ 100806250 h 222"/>
              <a:gd name="T40" fmla="*/ 103325756 w 227"/>
              <a:gd name="T41" fmla="*/ 201612500 h 222"/>
              <a:gd name="T42" fmla="*/ 561994830 w 227"/>
              <a:gd name="T43" fmla="*/ 118448138 h 222"/>
              <a:gd name="T44" fmla="*/ 504031949 w 227"/>
              <a:gd name="T45" fmla="*/ 30241875 h 222"/>
              <a:gd name="T46" fmla="*/ 534273866 w 227"/>
              <a:gd name="T47" fmla="*/ 83165950 h 222"/>
              <a:gd name="T48" fmla="*/ 536793232 w 227"/>
              <a:gd name="T49" fmla="*/ 100806250 h 222"/>
              <a:gd name="T50" fmla="*/ 473790032 w 227"/>
              <a:gd name="T51" fmla="*/ 110886875 h 222"/>
              <a:gd name="T52" fmla="*/ 430946523 w 227"/>
              <a:gd name="T53" fmla="*/ 42843450 h 222"/>
              <a:gd name="T54" fmla="*/ 504031949 w 227"/>
              <a:gd name="T55" fmla="*/ 30241875 h 222"/>
              <a:gd name="T56" fmla="*/ 355341731 w 227"/>
              <a:gd name="T57" fmla="*/ 57964388 h 222"/>
              <a:gd name="T58" fmla="*/ 398185240 w 227"/>
              <a:gd name="T59" fmla="*/ 126007813 h 222"/>
              <a:gd name="T60" fmla="*/ 322580448 w 227"/>
              <a:gd name="T61" fmla="*/ 141128750 h 222"/>
              <a:gd name="T62" fmla="*/ 282257892 w 227"/>
              <a:gd name="T63" fmla="*/ 68045013 h 222"/>
              <a:gd name="T64" fmla="*/ 355341731 w 227"/>
              <a:gd name="T65" fmla="*/ 57964388 h 222"/>
              <a:gd name="T66" fmla="*/ 209172465 w 227"/>
              <a:gd name="T67" fmla="*/ 83165950 h 222"/>
              <a:gd name="T68" fmla="*/ 246975655 w 227"/>
              <a:gd name="T69" fmla="*/ 153730325 h 222"/>
              <a:gd name="T70" fmla="*/ 176411182 w 227"/>
              <a:gd name="T71" fmla="*/ 168851263 h 222"/>
              <a:gd name="T72" fmla="*/ 136088626 w 227"/>
              <a:gd name="T73" fmla="*/ 98286888 h 222"/>
              <a:gd name="T74" fmla="*/ 209172465 w 227"/>
              <a:gd name="T75" fmla="*/ 83165950 h 22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27" h="222">
                <a:moveTo>
                  <a:pt x="47" y="87"/>
                </a:moveTo>
                <a:lnTo>
                  <a:pt x="6" y="130"/>
                </a:lnTo>
                <a:lnTo>
                  <a:pt x="6" y="222"/>
                </a:lnTo>
                <a:lnTo>
                  <a:pt x="227" y="222"/>
                </a:lnTo>
                <a:lnTo>
                  <a:pt x="227" y="87"/>
                </a:lnTo>
                <a:lnTo>
                  <a:pt x="47" y="87"/>
                </a:lnTo>
                <a:close/>
                <a:moveTo>
                  <a:pt x="180" y="178"/>
                </a:moveTo>
                <a:lnTo>
                  <a:pt x="57" y="178"/>
                </a:lnTo>
                <a:lnTo>
                  <a:pt x="57" y="164"/>
                </a:lnTo>
                <a:lnTo>
                  <a:pt x="180" y="164"/>
                </a:lnTo>
                <a:lnTo>
                  <a:pt x="180" y="178"/>
                </a:lnTo>
                <a:close/>
                <a:moveTo>
                  <a:pt x="180" y="145"/>
                </a:moveTo>
                <a:lnTo>
                  <a:pt x="57" y="145"/>
                </a:lnTo>
                <a:lnTo>
                  <a:pt x="57" y="131"/>
                </a:lnTo>
                <a:lnTo>
                  <a:pt x="180" y="131"/>
                </a:lnTo>
                <a:lnTo>
                  <a:pt x="180" y="145"/>
                </a:lnTo>
                <a:close/>
                <a:moveTo>
                  <a:pt x="223" y="47"/>
                </a:moveTo>
                <a:lnTo>
                  <a:pt x="215" y="0"/>
                </a:lnTo>
                <a:lnTo>
                  <a:pt x="0" y="40"/>
                </a:lnTo>
                <a:lnTo>
                  <a:pt x="41" y="80"/>
                </a:lnTo>
                <a:lnTo>
                  <a:pt x="223" y="47"/>
                </a:lnTo>
                <a:close/>
                <a:moveTo>
                  <a:pt x="200" y="12"/>
                </a:moveTo>
                <a:lnTo>
                  <a:pt x="212" y="33"/>
                </a:lnTo>
                <a:lnTo>
                  <a:pt x="213" y="40"/>
                </a:lnTo>
                <a:lnTo>
                  <a:pt x="188" y="44"/>
                </a:lnTo>
                <a:lnTo>
                  <a:pt x="171" y="17"/>
                </a:lnTo>
                <a:lnTo>
                  <a:pt x="200" y="12"/>
                </a:lnTo>
                <a:close/>
                <a:moveTo>
                  <a:pt x="141" y="23"/>
                </a:moveTo>
                <a:lnTo>
                  <a:pt x="158" y="50"/>
                </a:lnTo>
                <a:lnTo>
                  <a:pt x="128" y="56"/>
                </a:lnTo>
                <a:lnTo>
                  <a:pt x="112" y="27"/>
                </a:lnTo>
                <a:lnTo>
                  <a:pt x="141" y="23"/>
                </a:lnTo>
                <a:close/>
                <a:moveTo>
                  <a:pt x="83" y="33"/>
                </a:moveTo>
                <a:lnTo>
                  <a:pt x="98" y="61"/>
                </a:lnTo>
                <a:lnTo>
                  <a:pt x="70" y="67"/>
                </a:lnTo>
                <a:lnTo>
                  <a:pt x="54" y="39"/>
                </a:lnTo>
                <a:lnTo>
                  <a:pt x="83" y="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6" name="Freeform 179"/>
          <p:cNvSpPr>
            <a:spLocks noEditPoints="1"/>
          </p:cNvSpPr>
          <p:nvPr/>
        </p:nvSpPr>
        <p:spPr bwMode="auto">
          <a:xfrm>
            <a:off x="8001001" y="5545667"/>
            <a:ext cx="342900" cy="402167"/>
          </a:xfrm>
          <a:custGeom>
            <a:avLst/>
            <a:gdLst>
              <a:gd name="T0" fmla="*/ 103327200 w 162"/>
              <a:gd name="T1" fmla="*/ 239415638 h 190"/>
              <a:gd name="T2" fmla="*/ 408265313 w 162"/>
              <a:gd name="T3" fmla="*/ 478829688 h 190"/>
              <a:gd name="T4" fmla="*/ 408265313 w 162"/>
              <a:gd name="T5" fmla="*/ 0 h 190"/>
              <a:gd name="T6" fmla="*/ 103327200 w 162"/>
              <a:gd name="T7" fmla="*/ 239415638 h 190"/>
              <a:gd name="T8" fmla="*/ 0 w 162"/>
              <a:gd name="T9" fmla="*/ 478829688 h 190"/>
              <a:gd name="T10" fmla="*/ 93246575 w 162"/>
              <a:gd name="T11" fmla="*/ 478829688 h 190"/>
              <a:gd name="T12" fmla="*/ 93246575 w 162"/>
              <a:gd name="T13" fmla="*/ 0 h 190"/>
              <a:gd name="T14" fmla="*/ 0 w 162"/>
              <a:gd name="T15" fmla="*/ 0 h 190"/>
              <a:gd name="T16" fmla="*/ 0 w 162"/>
              <a:gd name="T17" fmla="*/ 478829688 h 19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62" h="190">
                <a:moveTo>
                  <a:pt x="41" y="95"/>
                </a:moveTo>
                <a:lnTo>
                  <a:pt x="162" y="190"/>
                </a:lnTo>
                <a:lnTo>
                  <a:pt x="162" y="0"/>
                </a:lnTo>
                <a:lnTo>
                  <a:pt x="41" y="95"/>
                </a:lnTo>
                <a:close/>
                <a:moveTo>
                  <a:pt x="0" y="190"/>
                </a:moveTo>
                <a:lnTo>
                  <a:pt x="37" y="190"/>
                </a:lnTo>
                <a:lnTo>
                  <a:pt x="37" y="0"/>
                </a:lnTo>
                <a:lnTo>
                  <a:pt x="0" y="0"/>
                </a:lnTo>
                <a:lnTo>
                  <a:pt x="0" y="1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7" name="Freeform 180"/>
          <p:cNvSpPr>
            <a:spLocks noEditPoints="1"/>
          </p:cNvSpPr>
          <p:nvPr/>
        </p:nvSpPr>
        <p:spPr bwMode="auto">
          <a:xfrm>
            <a:off x="8913285" y="5545667"/>
            <a:ext cx="342900" cy="402167"/>
          </a:xfrm>
          <a:custGeom>
            <a:avLst/>
            <a:gdLst>
              <a:gd name="T0" fmla="*/ 304939700 w 162"/>
              <a:gd name="T1" fmla="*/ 239415638 h 190"/>
              <a:gd name="T2" fmla="*/ 0 w 162"/>
              <a:gd name="T3" fmla="*/ 478829688 h 190"/>
              <a:gd name="T4" fmla="*/ 0 w 162"/>
              <a:gd name="T5" fmla="*/ 0 h 190"/>
              <a:gd name="T6" fmla="*/ 304939700 w 162"/>
              <a:gd name="T7" fmla="*/ 239415638 h 190"/>
              <a:gd name="T8" fmla="*/ 408265313 w 162"/>
              <a:gd name="T9" fmla="*/ 478829688 h 190"/>
              <a:gd name="T10" fmla="*/ 315020325 w 162"/>
              <a:gd name="T11" fmla="*/ 478829688 h 190"/>
              <a:gd name="T12" fmla="*/ 315020325 w 162"/>
              <a:gd name="T13" fmla="*/ 0 h 190"/>
              <a:gd name="T14" fmla="*/ 408265313 w 162"/>
              <a:gd name="T15" fmla="*/ 0 h 190"/>
              <a:gd name="T16" fmla="*/ 408265313 w 162"/>
              <a:gd name="T17" fmla="*/ 478829688 h 19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62" h="190">
                <a:moveTo>
                  <a:pt x="121" y="95"/>
                </a:moveTo>
                <a:lnTo>
                  <a:pt x="0" y="190"/>
                </a:lnTo>
                <a:lnTo>
                  <a:pt x="0" y="0"/>
                </a:lnTo>
                <a:lnTo>
                  <a:pt x="121" y="95"/>
                </a:lnTo>
                <a:close/>
                <a:moveTo>
                  <a:pt x="162" y="190"/>
                </a:moveTo>
                <a:lnTo>
                  <a:pt x="125" y="190"/>
                </a:lnTo>
                <a:lnTo>
                  <a:pt x="125" y="0"/>
                </a:lnTo>
                <a:lnTo>
                  <a:pt x="162" y="0"/>
                </a:lnTo>
                <a:lnTo>
                  <a:pt x="162" y="1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8" name="Freeform 181"/>
          <p:cNvSpPr>
            <a:spLocks/>
          </p:cNvSpPr>
          <p:nvPr/>
        </p:nvSpPr>
        <p:spPr bwMode="auto">
          <a:xfrm>
            <a:off x="9787467" y="5545667"/>
            <a:ext cx="254000" cy="402167"/>
          </a:xfrm>
          <a:custGeom>
            <a:avLst/>
            <a:gdLst>
              <a:gd name="T0" fmla="*/ 302418750 w 120"/>
              <a:gd name="T1" fmla="*/ 239415638 h 190"/>
              <a:gd name="T2" fmla="*/ 0 w 120"/>
              <a:gd name="T3" fmla="*/ 0 h 190"/>
              <a:gd name="T4" fmla="*/ 0 w 120"/>
              <a:gd name="T5" fmla="*/ 478829688 h 190"/>
              <a:gd name="T6" fmla="*/ 302418750 w 120"/>
              <a:gd name="T7" fmla="*/ 239415638 h 19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20" h="190">
                <a:moveTo>
                  <a:pt x="120" y="95"/>
                </a:moveTo>
                <a:lnTo>
                  <a:pt x="0" y="0"/>
                </a:lnTo>
                <a:lnTo>
                  <a:pt x="0" y="190"/>
                </a:lnTo>
                <a:lnTo>
                  <a:pt x="120" y="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499" name="Freeform 182"/>
          <p:cNvSpPr>
            <a:spLocks/>
          </p:cNvSpPr>
          <p:nvPr/>
        </p:nvSpPr>
        <p:spPr bwMode="auto">
          <a:xfrm>
            <a:off x="10797117" y="5547784"/>
            <a:ext cx="99483" cy="397933"/>
          </a:xfrm>
          <a:custGeom>
            <a:avLst/>
            <a:gdLst>
              <a:gd name="T0" fmla="*/ 0 w 47"/>
              <a:gd name="T1" fmla="*/ 473789375 h 188"/>
              <a:gd name="T2" fmla="*/ 0 w 47"/>
              <a:gd name="T3" fmla="*/ 0 h 188"/>
              <a:gd name="T4" fmla="*/ 118445756 w 47"/>
              <a:gd name="T5" fmla="*/ 0 h 188"/>
              <a:gd name="T6" fmla="*/ 118445756 w 47"/>
              <a:gd name="T7" fmla="*/ 473789375 h 188"/>
              <a:gd name="T8" fmla="*/ 0 w 47"/>
              <a:gd name="T9" fmla="*/ 473789375 h 188"/>
              <a:gd name="T10" fmla="*/ 0 w 47"/>
              <a:gd name="T11" fmla="*/ 473789375 h 18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7" h="188">
                <a:moveTo>
                  <a:pt x="0" y="188"/>
                </a:moveTo>
                <a:lnTo>
                  <a:pt x="0" y="0"/>
                </a:lnTo>
                <a:lnTo>
                  <a:pt x="47" y="0"/>
                </a:lnTo>
                <a:lnTo>
                  <a:pt x="47" y="188"/>
                </a:lnTo>
                <a:lnTo>
                  <a:pt x="0" y="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500" name="Freeform 183"/>
          <p:cNvSpPr>
            <a:spLocks/>
          </p:cNvSpPr>
          <p:nvPr/>
        </p:nvSpPr>
        <p:spPr bwMode="auto">
          <a:xfrm>
            <a:off x="10615084" y="5547784"/>
            <a:ext cx="99483" cy="397933"/>
          </a:xfrm>
          <a:custGeom>
            <a:avLst/>
            <a:gdLst>
              <a:gd name="T0" fmla="*/ 0 w 47"/>
              <a:gd name="T1" fmla="*/ 473789375 h 188"/>
              <a:gd name="T2" fmla="*/ 0 w 47"/>
              <a:gd name="T3" fmla="*/ 0 h 188"/>
              <a:gd name="T4" fmla="*/ 118445756 w 47"/>
              <a:gd name="T5" fmla="*/ 0 h 188"/>
              <a:gd name="T6" fmla="*/ 118445756 w 47"/>
              <a:gd name="T7" fmla="*/ 473789375 h 188"/>
              <a:gd name="T8" fmla="*/ 0 w 47"/>
              <a:gd name="T9" fmla="*/ 473789375 h 188"/>
              <a:gd name="T10" fmla="*/ 0 w 47"/>
              <a:gd name="T11" fmla="*/ 473789375 h 18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7" h="188">
                <a:moveTo>
                  <a:pt x="0" y="188"/>
                </a:moveTo>
                <a:lnTo>
                  <a:pt x="0" y="0"/>
                </a:lnTo>
                <a:lnTo>
                  <a:pt x="47" y="0"/>
                </a:lnTo>
                <a:lnTo>
                  <a:pt x="47" y="188"/>
                </a:lnTo>
                <a:lnTo>
                  <a:pt x="0" y="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501" name="Freeform 184"/>
          <p:cNvSpPr>
            <a:spLocks noEditPoints="1"/>
          </p:cNvSpPr>
          <p:nvPr/>
        </p:nvSpPr>
        <p:spPr bwMode="auto">
          <a:xfrm>
            <a:off x="5410200" y="4764618"/>
            <a:ext cx="476251" cy="474133"/>
          </a:xfrm>
          <a:custGeom>
            <a:avLst/>
            <a:gdLst>
              <a:gd name="T0" fmla="*/ 403744517 w 158"/>
              <a:gd name="T1" fmla="*/ 0 h 158"/>
              <a:gd name="T2" fmla="*/ 0 w 158"/>
              <a:gd name="T3" fmla="*/ 400162532 h 158"/>
              <a:gd name="T4" fmla="*/ 403744517 w 158"/>
              <a:gd name="T5" fmla="*/ 800325063 h 158"/>
              <a:gd name="T6" fmla="*/ 807486773 w 158"/>
              <a:gd name="T7" fmla="*/ 400162532 h 158"/>
              <a:gd name="T8" fmla="*/ 403744517 w 158"/>
              <a:gd name="T9" fmla="*/ 0 h 158"/>
              <a:gd name="T10" fmla="*/ 117546502 w 158"/>
              <a:gd name="T11" fmla="*/ 471077724 h 158"/>
              <a:gd name="T12" fmla="*/ 117546502 w 158"/>
              <a:gd name="T13" fmla="*/ 329247339 h 158"/>
              <a:gd name="T14" fmla="*/ 689940272 w 158"/>
              <a:gd name="T15" fmla="*/ 329247339 h 158"/>
              <a:gd name="T16" fmla="*/ 689940272 w 158"/>
              <a:gd name="T17" fmla="*/ 471077724 h 158"/>
              <a:gd name="T18" fmla="*/ 117546502 w 158"/>
              <a:gd name="T19" fmla="*/ 471077724 h 15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8" h="158">
                <a:moveTo>
                  <a:pt x="79" y="0"/>
                </a:moveTo>
                <a:cubicBezTo>
                  <a:pt x="36" y="0"/>
                  <a:pt x="0" y="36"/>
                  <a:pt x="0" y="79"/>
                </a:cubicBezTo>
                <a:cubicBezTo>
                  <a:pt x="0" y="122"/>
                  <a:pt x="36" y="158"/>
                  <a:pt x="79" y="158"/>
                </a:cubicBezTo>
                <a:cubicBezTo>
                  <a:pt x="122" y="158"/>
                  <a:pt x="158" y="122"/>
                  <a:pt x="158" y="79"/>
                </a:cubicBezTo>
                <a:cubicBezTo>
                  <a:pt x="158" y="36"/>
                  <a:pt x="122" y="0"/>
                  <a:pt x="79" y="0"/>
                </a:cubicBezTo>
                <a:close/>
                <a:moveTo>
                  <a:pt x="23" y="93"/>
                </a:moveTo>
                <a:cubicBezTo>
                  <a:pt x="23" y="65"/>
                  <a:pt x="23" y="65"/>
                  <a:pt x="23" y="65"/>
                </a:cubicBezTo>
                <a:cubicBezTo>
                  <a:pt x="135" y="65"/>
                  <a:pt x="135" y="65"/>
                  <a:pt x="135" y="65"/>
                </a:cubicBezTo>
                <a:cubicBezTo>
                  <a:pt x="135" y="93"/>
                  <a:pt x="135" y="93"/>
                  <a:pt x="135" y="93"/>
                </a:cubicBezTo>
                <a:lnTo>
                  <a:pt x="23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502" name="Freeform 185"/>
          <p:cNvSpPr>
            <a:spLocks noEditPoints="1"/>
          </p:cNvSpPr>
          <p:nvPr/>
        </p:nvSpPr>
        <p:spPr bwMode="auto">
          <a:xfrm>
            <a:off x="9884834" y="2487084"/>
            <a:ext cx="156633" cy="421216"/>
          </a:xfrm>
          <a:custGeom>
            <a:avLst/>
            <a:gdLst>
              <a:gd name="T0" fmla="*/ 132697049 w 52"/>
              <a:gd name="T1" fmla="*/ 712862198 h 140"/>
              <a:gd name="T2" fmla="*/ 0 w 52"/>
              <a:gd name="T3" fmla="*/ 534647212 h 140"/>
              <a:gd name="T4" fmla="*/ 0 w 52"/>
              <a:gd name="T5" fmla="*/ 0 h 140"/>
              <a:gd name="T6" fmla="*/ 265391839 w 52"/>
              <a:gd name="T7" fmla="*/ 0 h 140"/>
              <a:gd name="T8" fmla="*/ 265391839 w 52"/>
              <a:gd name="T9" fmla="*/ 534647212 h 140"/>
              <a:gd name="T10" fmla="*/ 132697049 w 52"/>
              <a:gd name="T11" fmla="*/ 712862198 h 140"/>
              <a:gd name="T12" fmla="*/ 219459114 w 52"/>
              <a:gd name="T13" fmla="*/ 193491587 h 140"/>
              <a:gd name="T14" fmla="*/ 209252344 w 52"/>
              <a:gd name="T15" fmla="*/ 173124289 h 140"/>
              <a:gd name="T16" fmla="*/ 204146700 w 52"/>
              <a:gd name="T17" fmla="*/ 193491587 h 140"/>
              <a:gd name="T18" fmla="*/ 193939929 w 52"/>
              <a:gd name="T19" fmla="*/ 218949581 h 140"/>
              <a:gd name="T20" fmla="*/ 204146700 w 52"/>
              <a:gd name="T21" fmla="*/ 218949581 h 140"/>
              <a:gd name="T22" fmla="*/ 204146700 w 52"/>
              <a:gd name="T23" fmla="*/ 356432227 h 140"/>
              <a:gd name="T24" fmla="*/ 142903819 w 52"/>
              <a:gd name="T25" fmla="*/ 442992115 h 140"/>
              <a:gd name="T26" fmla="*/ 142903819 w 52"/>
              <a:gd name="T27" fmla="*/ 96745793 h 140"/>
              <a:gd name="T28" fmla="*/ 153110589 w 52"/>
              <a:gd name="T29" fmla="*/ 96745793 h 140"/>
              <a:gd name="T30" fmla="*/ 142903819 w 52"/>
              <a:gd name="T31" fmla="*/ 66194847 h 140"/>
              <a:gd name="T32" fmla="*/ 132697049 w 52"/>
              <a:gd name="T33" fmla="*/ 30550947 h 140"/>
              <a:gd name="T34" fmla="*/ 122488020 w 52"/>
              <a:gd name="T35" fmla="*/ 66194847 h 140"/>
              <a:gd name="T36" fmla="*/ 112281250 w 52"/>
              <a:gd name="T37" fmla="*/ 96745793 h 140"/>
              <a:gd name="T38" fmla="*/ 122488020 w 52"/>
              <a:gd name="T39" fmla="*/ 96745793 h 140"/>
              <a:gd name="T40" fmla="*/ 122488020 w 52"/>
              <a:gd name="T41" fmla="*/ 366615876 h 140"/>
              <a:gd name="T42" fmla="*/ 56139495 w 52"/>
              <a:gd name="T43" fmla="*/ 274960779 h 140"/>
              <a:gd name="T44" fmla="*/ 56139495 w 52"/>
              <a:gd name="T45" fmla="*/ 137480389 h 140"/>
              <a:gd name="T46" fmla="*/ 66348525 w 52"/>
              <a:gd name="T47" fmla="*/ 137480389 h 140"/>
              <a:gd name="T48" fmla="*/ 56139495 w 52"/>
              <a:gd name="T49" fmla="*/ 117113091 h 140"/>
              <a:gd name="T50" fmla="*/ 51036110 w 52"/>
              <a:gd name="T51" fmla="*/ 91652841 h 140"/>
              <a:gd name="T52" fmla="*/ 35725955 w 52"/>
              <a:gd name="T53" fmla="*/ 137480389 h 140"/>
              <a:gd name="T54" fmla="*/ 45932725 w 52"/>
              <a:gd name="T55" fmla="*/ 137480389 h 140"/>
              <a:gd name="T56" fmla="*/ 45932725 w 52"/>
              <a:gd name="T57" fmla="*/ 285144428 h 140"/>
              <a:gd name="T58" fmla="*/ 122488020 w 52"/>
              <a:gd name="T59" fmla="*/ 386983174 h 140"/>
              <a:gd name="T60" fmla="*/ 122488020 w 52"/>
              <a:gd name="T61" fmla="*/ 575381808 h 140"/>
              <a:gd name="T62" fmla="*/ 112281250 w 52"/>
              <a:gd name="T63" fmla="*/ 611025708 h 140"/>
              <a:gd name="T64" fmla="*/ 132697049 w 52"/>
              <a:gd name="T65" fmla="*/ 651760304 h 140"/>
              <a:gd name="T66" fmla="*/ 153110589 w 52"/>
              <a:gd name="T67" fmla="*/ 611025708 h 140"/>
              <a:gd name="T68" fmla="*/ 142903819 w 52"/>
              <a:gd name="T69" fmla="*/ 575381808 h 140"/>
              <a:gd name="T70" fmla="*/ 142903819 w 52"/>
              <a:gd name="T71" fmla="*/ 463359413 h 140"/>
              <a:gd name="T72" fmla="*/ 214355729 w 52"/>
              <a:gd name="T73" fmla="*/ 361522923 h 140"/>
              <a:gd name="T74" fmla="*/ 214355729 w 52"/>
              <a:gd name="T75" fmla="*/ 218949581 h 140"/>
              <a:gd name="T76" fmla="*/ 224562499 w 52"/>
              <a:gd name="T77" fmla="*/ 218949581 h 140"/>
              <a:gd name="T78" fmla="*/ 219459114 w 52"/>
              <a:gd name="T79" fmla="*/ 193491587 h 14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52" h="140">
                <a:moveTo>
                  <a:pt x="26" y="140"/>
                </a:moveTo>
                <a:cubicBezTo>
                  <a:pt x="12" y="140"/>
                  <a:pt x="0" y="124"/>
                  <a:pt x="0" y="105"/>
                </a:cubicBezTo>
                <a:cubicBezTo>
                  <a:pt x="0" y="0"/>
                  <a:pt x="0" y="0"/>
                  <a:pt x="0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2" y="105"/>
                  <a:pt x="52" y="105"/>
                  <a:pt x="52" y="105"/>
                </a:cubicBezTo>
                <a:cubicBezTo>
                  <a:pt x="52" y="124"/>
                  <a:pt x="40" y="140"/>
                  <a:pt x="26" y="140"/>
                </a:cubicBezTo>
                <a:close/>
                <a:moveTo>
                  <a:pt x="43" y="38"/>
                </a:moveTo>
                <a:cubicBezTo>
                  <a:pt x="41" y="34"/>
                  <a:pt x="41" y="34"/>
                  <a:pt x="41" y="34"/>
                </a:cubicBezTo>
                <a:cubicBezTo>
                  <a:pt x="40" y="38"/>
                  <a:pt x="40" y="38"/>
                  <a:pt x="40" y="38"/>
                </a:cubicBezTo>
                <a:cubicBezTo>
                  <a:pt x="38" y="43"/>
                  <a:pt x="38" y="43"/>
                  <a:pt x="38" y="43"/>
                </a:cubicBezTo>
                <a:cubicBezTo>
                  <a:pt x="40" y="43"/>
                  <a:pt x="40" y="43"/>
                  <a:pt x="40" y="43"/>
                </a:cubicBezTo>
                <a:cubicBezTo>
                  <a:pt x="40" y="70"/>
                  <a:pt x="40" y="70"/>
                  <a:pt x="40" y="70"/>
                </a:cubicBezTo>
                <a:cubicBezTo>
                  <a:pt x="28" y="87"/>
                  <a:pt x="28" y="87"/>
                  <a:pt x="28" y="87"/>
                </a:cubicBezTo>
                <a:cubicBezTo>
                  <a:pt x="28" y="19"/>
                  <a:pt x="28" y="19"/>
                  <a:pt x="28" y="19"/>
                </a:cubicBezTo>
                <a:cubicBezTo>
                  <a:pt x="30" y="19"/>
                  <a:pt x="30" y="19"/>
                  <a:pt x="30" y="19"/>
                </a:cubicBezTo>
                <a:cubicBezTo>
                  <a:pt x="28" y="13"/>
                  <a:pt x="28" y="13"/>
                  <a:pt x="28" y="13"/>
                </a:cubicBezTo>
                <a:cubicBezTo>
                  <a:pt x="26" y="6"/>
                  <a:pt x="26" y="6"/>
                  <a:pt x="26" y="6"/>
                </a:cubicBezTo>
                <a:cubicBezTo>
                  <a:pt x="24" y="13"/>
                  <a:pt x="24" y="13"/>
                  <a:pt x="24" y="13"/>
                </a:cubicBezTo>
                <a:cubicBezTo>
                  <a:pt x="22" y="19"/>
                  <a:pt x="22" y="19"/>
                  <a:pt x="22" y="19"/>
                </a:cubicBezTo>
                <a:cubicBezTo>
                  <a:pt x="24" y="19"/>
                  <a:pt x="24" y="19"/>
                  <a:pt x="24" y="19"/>
                </a:cubicBezTo>
                <a:cubicBezTo>
                  <a:pt x="24" y="72"/>
                  <a:pt x="24" y="72"/>
                  <a:pt x="24" y="72"/>
                </a:cubicBezTo>
                <a:cubicBezTo>
                  <a:pt x="11" y="54"/>
                  <a:pt x="11" y="54"/>
                  <a:pt x="11" y="54"/>
                </a:cubicBezTo>
                <a:cubicBezTo>
                  <a:pt x="11" y="27"/>
                  <a:pt x="11" y="27"/>
                  <a:pt x="11" y="27"/>
                </a:cubicBezTo>
                <a:cubicBezTo>
                  <a:pt x="13" y="27"/>
                  <a:pt x="13" y="27"/>
                  <a:pt x="13" y="27"/>
                </a:cubicBezTo>
                <a:cubicBezTo>
                  <a:pt x="11" y="23"/>
                  <a:pt x="11" y="23"/>
                  <a:pt x="11" y="23"/>
                </a:cubicBezTo>
                <a:cubicBezTo>
                  <a:pt x="10" y="18"/>
                  <a:pt x="10" y="18"/>
                  <a:pt x="10" y="18"/>
                </a:cubicBezTo>
                <a:cubicBezTo>
                  <a:pt x="7" y="27"/>
                  <a:pt x="7" y="27"/>
                  <a:pt x="7" y="27"/>
                </a:cubicBezTo>
                <a:cubicBezTo>
                  <a:pt x="9" y="27"/>
                  <a:pt x="9" y="27"/>
                  <a:pt x="9" y="27"/>
                </a:cubicBezTo>
                <a:cubicBezTo>
                  <a:pt x="9" y="56"/>
                  <a:pt x="9" y="56"/>
                  <a:pt x="9" y="56"/>
                </a:cubicBezTo>
                <a:cubicBezTo>
                  <a:pt x="24" y="76"/>
                  <a:pt x="24" y="76"/>
                  <a:pt x="24" y="76"/>
                </a:cubicBezTo>
                <a:cubicBezTo>
                  <a:pt x="24" y="113"/>
                  <a:pt x="24" y="113"/>
                  <a:pt x="24" y="113"/>
                </a:cubicBezTo>
                <a:cubicBezTo>
                  <a:pt x="23" y="114"/>
                  <a:pt x="22" y="117"/>
                  <a:pt x="22" y="120"/>
                </a:cubicBezTo>
                <a:cubicBezTo>
                  <a:pt x="22" y="125"/>
                  <a:pt x="24" y="128"/>
                  <a:pt x="26" y="128"/>
                </a:cubicBezTo>
                <a:cubicBezTo>
                  <a:pt x="28" y="128"/>
                  <a:pt x="30" y="125"/>
                  <a:pt x="30" y="120"/>
                </a:cubicBezTo>
                <a:cubicBezTo>
                  <a:pt x="30" y="117"/>
                  <a:pt x="29" y="114"/>
                  <a:pt x="28" y="113"/>
                </a:cubicBezTo>
                <a:cubicBezTo>
                  <a:pt x="28" y="91"/>
                  <a:pt x="28" y="91"/>
                  <a:pt x="28" y="91"/>
                </a:cubicBezTo>
                <a:cubicBezTo>
                  <a:pt x="42" y="71"/>
                  <a:pt x="42" y="71"/>
                  <a:pt x="42" y="71"/>
                </a:cubicBezTo>
                <a:cubicBezTo>
                  <a:pt x="42" y="43"/>
                  <a:pt x="42" y="43"/>
                  <a:pt x="42" y="43"/>
                </a:cubicBezTo>
                <a:cubicBezTo>
                  <a:pt x="44" y="43"/>
                  <a:pt x="44" y="43"/>
                  <a:pt x="44" y="43"/>
                </a:cubicBezTo>
                <a:lnTo>
                  <a:pt x="43" y="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503" name="Freeform 186"/>
          <p:cNvSpPr>
            <a:spLocks noEditPoints="1"/>
          </p:cNvSpPr>
          <p:nvPr/>
        </p:nvSpPr>
        <p:spPr bwMode="auto">
          <a:xfrm>
            <a:off x="9912351" y="2330451"/>
            <a:ext cx="103716" cy="141816"/>
          </a:xfrm>
          <a:custGeom>
            <a:avLst/>
            <a:gdLst>
              <a:gd name="T0" fmla="*/ 153122598 w 35"/>
              <a:gd name="T1" fmla="*/ 240701732 h 47"/>
              <a:gd name="T2" fmla="*/ 19757898 w 35"/>
              <a:gd name="T3" fmla="*/ 240701732 h 47"/>
              <a:gd name="T4" fmla="*/ 0 w 35"/>
              <a:gd name="T5" fmla="*/ 215095646 h 47"/>
              <a:gd name="T6" fmla="*/ 0 w 35"/>
              <a:gd name="T7" fmla="*/ 25606086 h 47"/>
              <a:gd name="T8" fmla="*/ 19757898 w 35"/>
              <a:gd name="T9" fmla="*/ 0 h 47"/>
              <a:gd name="T10" fmla="*/ 153122598 w 35"/>
              <a:gd name="T11" fmla="*/ 0 h 47"/>
              <a:gd name="T12" fmla="*/ 172880496 w 35"/>
              <a:gd name="T13" fmla="*/ 25606086 h 47"/>
              <a:gd name="T14" fmla="*/ 172880496 w 35"/>
              <a:gd name="T15" fmla="*/ 215095646 h 47"/>
              <a:gd name="T16" fmla="*/ 153122598 w 35"/>
              <a:gd name="T17" fmla="*/ 240701732 h 47"/>
              <a:gd name="T18" fmla="*/ 74091006 w 35"/>
              <a:gd name="T19" fmla="*/ 122911475 h 47"/>
              <a:gd name="T20" fmla="*/ 59273694 w 35"/>
              <a:gd name="T21" fmla="*/ 107547823 h 47"/>
              <a:gd name="T22" fmla="*/ 34575210 w 35"/>
              <a:gd name="T23" fmla="*/ 107547823 h 47"/>
              <a:gd name="T24" fmla="*/ 19757898 w 35"/>
              <a:gd name="T25" fmla="*/ 122911475 h 47"/>
              <a:gd name="T26" fmla="*/ 19757898 w 35"/>
              <a:gd name="T27" fmla="*/ 138275126 h 47"/>
              <a:gd name="T28" fmla="*/ 34575210 w 35"/>
              <a:gd name="T29" fmla="*/ 153638777 h 47"/>
              <a:gd name="T30" fmla="*/ 59273694 w 35"/>
              <a:gd name="T31" fmla="*/ 153638777 h 47"/>
              <a:gd name="T32" fmla="*/ 74091006 w 35"/>
              <a:gd name="T33" fmla="*/ 138275126 h 47"/>
              <a:gd name="T34" fmla="*/ 74091006 w 35"/>
              <a:gd name="T35" fmla="*/ 122911475 h 47"/>
              <a:gd name="T36" fmla="*/ 153122598 w 35"/>
              <a:gd name="T37" fmla="*/ 122911475 h 47"/>
              <a:gd name="T38" fmla="*/ 138305286 w 35"/>
              <a:gd name="T39" fmla="*/ 107547823 h 47"/>
              <a:gd name="T40" fmla="*/ 118547388 w 35"/>
              <a:gd name="T41" fmla="*/ 107547823 h 47"/>
              <a:gd name="T42" fmla="*/ 98789490 w 35"/>
              <a:gd name="T43" fmla="*/ 122911475 h 47"/>
              <a:gd name="T44" fmla="*/ 98789490 w 35"/>
              <a:gd name="T45" fmla="*/ 138275126 h 47"/>
              <a:gd name="T46" fmla="*/ 118547388 w 35"/>
              <a:gd name="T47" fmla="*/ 153638777 h 47"/>
              <a:gd name="T48" fmla="*/ 138305286 w 35"/>
              <a:gd name="T49" fmla="*/ 153638777 h 47"/>
              <a:gd name="T50" fmla="*/ 153122598 w 35"/>
              <a:gd name="T51" fmla="*/ 138275126 h 47"/>
              <a:gd name="T52" fmla="*/ 153122598 w 35"/>
              <a:gd name="T53" fmla="*/ 122911475 h 4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35" h="47">
                <a:moveTo>
                  <a:pt x="31" y="47"/>
                </a:moveTo>
                <a:cubicBezTo>
                  <a:pt x="4" y="47"/>
                  <a:pt x="4" y="47"/>
                  <a:pt x="4" y="47"/>
                </a:cubicBezTo>
                <a:cubicBezTo>
                  <a:pt x="2" y="47"/>
                  <a:pt x="0" y="45"/>
                  <a:pt x="0" y="42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3" y="0"/>
                  <a:pt x="35" y="2"/>
                  <a:pt x="35" y="5"/>
                </a:cubicBezTo>
                <a:cubicBezTo>
                  <a:pt x="35" y="42"/>
                  <a:pt x="35" y="42"/>
                  <a:pt x="35" y="42"/>
                </a:cubicBezTo>
                <a:cubicBezTo>
                  <a:pt x="35" y="45"/>
                  <a:pt x="33" y="47"/>
                  <a:pt x="31" y="47"/>
                </a:cubicBezTo>
                <a:close/>
                <a:moveTo>
                  <a:pt x="15" y="24"/>
                </a:moveTo>
                <a:cubicBezTo>
                  <a:pt x="15" y="22"/>
                  <a:pt x="13" y="21"/>
                  <a:pt x="12" y="21"/>
                </a:cubicBezTo>
                <a:cubicBezTo>
                  <a:pt x="7" y="21"/>
                  <a:pt x="7" y="21"/>
                  <a:pt x="7" y="21"/>
                </a:cubicBezTo>
                <a:cubicBezTo>
                  <a:pt x="6" y="21"/>
                  <a:pt x="4" y="22"/>
                  <a:pt x="4" y="24"/>
                </a:cubicBezTo>
                <a:cubicBezTo>
                  <a:pt x="4" y="27"/>
                  <a:pt x="4" y="27"/>
                  <a:pt x="4" y="27"/>
                </a:cubicBezTo>
                <a:cubicBezTo>
                  <a:pt x="4" y="29"/>
                  <a:pt x="6" y="30"/>
                  <a:pt x="7" y="30"/>
                </a:cubicBezTo>
                <a:cubicBezTo>
                  <a:pt x="12" y="30"/>
                  <a:pt x="12" y="30"/>
                  <a:pt x="12" y="30"/>
                </a:cubicBezTo>
                <a:cubicBezTo>
                  <a:pt x="13" y="30"/>
                  <a:pt x="15" y="29"/>
                  <a:pt x="15" y="27"/>
                </a:cubicBezTo>
                <a:lnTo>
                  <a:pt x="15" y="24"/>
                </a:lnTo>
                <a:close/>
                <a:moveTo>
                  <a:pt x="31" y="24"/>
                </a:moveTo>
                <a:cubicBezTo>
                  <a:pt x="31" y="22"/>
                  <a:pt x="29" y="21"/>
                  <a:pt x="28" y="21"/>
                </a:cubicBezTo>
                <a:cubicBezTo>
                  <a:pt x="24" y="21"/>
                  <a:pt x="24" y="21"/>
                  <a:pt x="24" y="21"/>
                </a:cubicBezTo>
                <a:cubicBezTo>
                  <a:pt x="22" y="21"/>
                  <a:pt x="20" y="22"/>
                  <a:pt x="20" y="24"/>
                </a:cubicBezTo>
                <a:cubicBezTo>
                  <a:pt x="20" y="27"/>
                  <a:pt x="20" y="27"/>
                  <a:pt x="20" y="27"/>
                </a:cubicBezTo>
                <a:cubicBezTo>
                  <a:pt x="20" y="29"/>
                  <a:pt x="22" y="30"/>
                  <a:pt x="24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29" y="30"/>
                  <a:pt x="31" y="29"/>
                  <a:pt x="31" y="27"/>
                </a:cubicBezTo>
                <a:lnTo>
                  <a:pt x="31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504" name="Freeform 187"/>
          <p:cNvSpPr>
            <a:spLocks noEditPoints="1"/>
          </p:cNvSpPr>
          <p:nvPr/>
        </p:nvSpPr>
        <p:spPr bwMode="auto">
          <a:xfrm>
            <a:off x="10636251" y="2425701"/>
            <a:ext cx="311149" cy="410633"/>
          </a:xfrm>
          <a:custGeom>
            <a:avLst/>
            <a:gdLst>
              <a:gd name="T0" fmla="*/ 30209160 w 104"/>
              <a:gd name="T1" fmla="*/ 0 h 136"/>
              <a:gd name="T2" fmla="*/ 0 w 104"/>
              <a:gd name="T3" fmla="*/ 666648120 h 136"/>
              <a:gd name="T4" fmla="*/ 493423754 w 104"/>
              <a:gd name="T5" fmla="*/ 697416181 h 136"/>
              <a:gd name="T6" fmla="*/ 523632914 w 104"/>
              <a:gd name="T7" fmla="*/ 30768061 h 136"/>
              <a:gd name="T8" fmla="*/ 176221968 w 104"/>
              <a:gd name="T9" fmla="*/ 574341672 h 136"/>
              <a:gd name="T10" fmla="*/ 105733181 w 104"/>
              <a:gd name="T11" fmla="*/ 589726835 h 136"/>
              <a:gd name="T12" fmla="*/ 90629723 w 104"/>
              <a:gd name="T13" fmla="*/ 538446733 h 136"/>
              <a:gd name="T14" fmla="*/ 161118510 w 104"/>
              <a:gd name="T15" fmla="*/ 523061570 h 136"/>
              <a:gd name="T16" fmla="*/ 176221968 w 104"/>
              <a:gd name="T17" fmla="*/ 574341672 h 136"/>
              <a:gd name="T18" fmla="*/ 161118510 w 104"/>
              <a:gd name="T19" fmla="*/ 487166631 h 136"/>
              <a:gd name="T20" fmla="*/ 90629723 w 104"/>
              <a:gd name="T21" fmla="*/ 471781468 h 136"/>
              <a:gd name="T22" fmla="*/ 105733181 w 104"/>
              <a:gd name="T23" fmla="*/ 420501366 h 136"/>
              <a:gd name="T24" fmla="*/ 176221968 w 104"/>
              <a:gd name="T25" fmla="*/ 435884264 h 136"/>
              <a:gd name="T26" fmla="*/ 176221968 w 104"/>
              <a:gd name="T27" fmla="*/ 369221264 h 136"/>
              <a:gd name="T28" fmla="*/ 105733181 w 104"/>
              <a:gd name="T29" fmla="*/ 379477284 h 136"/>
              <a:gd name="T30" fmla="*/ 90629723 w 104"/>
              <a:gd name="T31" fmla="*/ 328194917 h 136"/>
              <a:gd name="T32" fmla="*/ 161118510 w 104"/>
              <a:gd name="T33" fmla="*/ 312812019 h 136"/>
              <a:gd name="T34" fmla="*/ 176221968 w 104"/>
              <a:gd name="T35" fmla="*/ 369221264 h 136"/>
              <a:gd name="T36" fmla="*/ 292025617 w 104"/>
              <a:gd name="T37" fmla="*/ 589726835 h 136"/>
              <a:gd name="T38" fmla="*/ 216501596 w 104"/>
              <a:gd name="T39" fmla="*/ 574341672 h 136"/>
              <a:gd name="T40" fmla="*/ 236642531 w 104"/>
              <a:gd name="T41" fmla="*/ 523061570 h 136"/>
              <a:gd name="T42" fmla="*/ 307131318 w 104"/>
              <a:gd name="T43" fmla="*/ 538446733 h 136"/>
              <a:gd name="T44" fmla="*/ 307131318 w 104"/>
              <a:gd name="T45" fmla="*/ 471781468 h 136"/>
              <a:gd name="T46" fmla="*/ 236642531 w 104"/>
              <a:gd name="T47" fmla="*/ 487166631 h 136"/>
              <a:gd name="T48" fmla="*/ 216501596 w 104"/>
              <a:gd name="T49" fmla="*/ 435884264 h 136"/>
              <a:gd name="T50" fmla="*/ 292025617 w 104"/>
              <a:gd name="T51" fmla="*/ 420501366 h 136"/>
              <a:gd name="T52" fmla="*/ 307131318 w 104"/>
              <a:gd name="T53" fmla="*/ 471781468 h 136"/>
              <a:gd name="T54" fmla="*/ 292025617 w 104"/>
              <a:gd name="T55" fmla="*/ 379477284 h 136"/>
              <a:gd name="T56" fmla="*/ 216501596 w 104"/>
              <a:gd name="T57" fmla="*/ 369221264 h 136"/>
              <a:gd name="T58" fmla="*/ 236642531 w 104"/>
              <a:gd name="T59" fmla="*/ 312812019 h 136"/>
              <a:gd name="T60" fmla="*/ 307131318 w 104"/>
              <a:gd name="T61" fmla="*/ 328194917 h 136"/>
              <a:gd name="T62" fmla="*/ 433003191 w 104"/>
              <a:gd name="T63" fmla="*/ 574341672 h 136"/>
              <a:gd name="T64" fmla="*/ 362514404 w 104"/>
              <a:gd name="T65" fmla="*/ 589726835 h 136"/>
              <a:gd name="T66" fmla="*/ 347410946 w 104"/>
              <a:gd name="T67" fmla="*/ 533317590 h 136"/>
              <a:gd name="T68" fmla="*/ 417899733 w 104"/>
              <a:gd name="T69" fmla="*/ 523061570 h 136"/>
              <a:gd name="T70" fmla="*/ 433003191 w 104"/>
              <a:gd name="T71" fmla="*/ 574341672 h 136"/>
              <a:gd name="T72" fmla="*/ 417899733 w 104"/>
              <a:gd name="T73" fmla="*/ 487166631 h 136"/>
              <a:gd name="T74" fmla="*/ 347410946 w 104"/>
              <a:gd name="T75" fmla="*/ 471781468 h 136"/>
              <a:gd name="T76" fmla="*/ 362514404 w 104"/>
              <a:gd name="T77" fmla="*/ 420501366 h 136"/>
              <a:gd name="T78" fmla="*/ 433003191 w 104"/>
              <a:gd name="T79" fmla="*/ 430757386 h 136"/>
              <a:gd name="T80" fmla="*/ 433003191 w 104"/>
              <a:gd name="T81" fmla="*/ 369221264 h 136"/>
              <a:gd name="T82" fmla="*/ 362514404 w 104"/>
              <a:gd name="T83" fmla="*/ 379477284 h 136"/>
              <a:gd name="T84" fmla="*/ 347410946 w 104"/>
              <a:gd name="T85" fmla="*/ 328194917 h 136"/>
              <a:gd name="T86" fmla="*/ 417899733 w 104"/>
              <a:gd name="T87" fmla="*/ 312812019 h 136"/>
              <a:gd name="T88" fmla="*/ 433003191 w 104"/>
              <a:gd name="T89" fmla="*/ 369221264 h 136"/>
              <a:gd name="T90" fmla="*/ 357479170 w 104"/>
              <a:gd name="T91" fmla="*/ 246146754 h 136"/>
              <a:gd name="T92" fmla="*/ 357479170 w 104"/>
              <a:gd name="T93" fmla="*/ 199993530 h 136"/>
              <a:gd name="T94" fmla="*/ 453144127 w 104"/>
              <a:gd name="T95" fmla="*/ 220505571 h 136"/>
              <a:gd name="T96" fmla="*/ 473282819 w 104"/>
              <a:gd name="T97" fmla="*/ 138457408 h 136"/>
              <a:gd name="T98" fmla="*/ 70488787 w 104"/>
              <a:gd name="T99" fmla="*/ 164098591 h 136"/>
              <a:gd name="T100" fmla="*/ 50350095 w 104"/>
              <a:gd name="T101" fmla="*/ 82048163 h 136"/>
              <a:gd name="T102" fmla="*/ 453144127 w 104"/>
              <a:gd name="T103" fmla="*/ 61536122 h 136"/>
              <a:gd name="T104" fmla="*/ 473282819 w 104"/>
              <a:gd name="T105" fmla="*/ 138457408 h 1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04" h="136">
                <a:moveTo>
                  <a:pt x="98" y="0"/>
                </a:move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130"/>
                  <a:pt x="0" y="130"/>
                  <a:pt x="0" y="130"/>
                </a:cubicBezTo>
                <a:cubicBezTo>
                  <a:pt x="0" y="133"/>
                  <a:pt x="3" y="136"/>
                  <a:pt x="6" y="136"/>
                </a:cubicBezTo>
                <a:cubicBezTo>
                  <a:pt x="98" y="136"/>
                  <a:pt x="98" y="136"/>
                  <a:pt x="98" y="136"/>
                </a:cubicBezTo>
                <a:cubicBezTo>
                  <a:pt x="101" y="136"/>
                  <a:pt x="104" y="133"/>
                  <a:pt x="104" y="130"/>
                </a:cubicBezTo>
                <a:cubicBezTo>
                  <a:pt x="104" y="6"/>
                  <a:pt x="104" y="6"/>
                  <a:pt x="104" y="6"/>
                </a:cubicBezTo>
                <a:cubicBezTo>
                  <a:pt x="104" y="3"/>
                  <a:pt x="101" y="0"/>
                  <a:pt x="98" y="0"/>
                </a:cubicBezTo>
                <a:close/>
                <a:moveTo>
                  <a:pt x="35" y="112"/>
                </a:moveTo>
                <a:cubicBezTo>
                  <a:pt x="35" y="114"/>
                  <a:pt x="34" y="115"/>
                  <a:pt x="32" y="115"/>
                </a:cubicBezTo>
                <a:cubicBezTo>
                  <a:pt x="21" y="115"/>
                  <a:pt x="21" y="115"/>
                  <a:pt x="21" y="115"/>
                </a:cubicBezTo>
                <a:cubicBezTo>
                  <a:pt x="19" y="115"/>
                  <a:pt x="18" y="114"/>
                  <a:pt x="18" y="112"/>
                </a:cubicBezTo>
                <a:cubicBezTo>
                  <a:pt x="18" y="105"/>
                  <a:pt x="18" y="105"/>
                  <a:pt x="18" y="105"/>
                </a:cubicBezTo>
                <a:cubicBezTo>
                  <a:pt x="18" y="103"/>
                  <a:pt x="19" y="102"/>
                  <a:pt x="21" y="102"/>
                </a:cubicBezTo>
                <a:cubicBezTo>
                  <a:pt x="32" y="102"/>
                  <a:pt x="32" y="102"/>
                  <a:pt x="32" y="102"/>
                </a:cubicBezTo>
                <a:cubicBezTo>
                  <a:pt x="34" y="102"/>
                  <a:pt x="35" y="103"/>
                  <a:pt x="35" y="105"/>
                </a:cubicBezTo>
                <a:lnTo>
                  <a:pt x="35" y="112"/>
                </a:lnTo>
                <a:close/>
                <a:moveTo>
                  <a:pt x="35" y="92"/>
                </a:moveTo>
                <a:cubicBezTo>
                  <a:pt x="35" y="94"/>
                  <a:pt x="34" y="95"/>
                  <a:pt x="32" y="95"/>
                </a:cubicBezTo>
                <a:cubicBezTo>
                  <a:pt x="21" y="95"/>
                  <a:pt x="21" y="95"/>
                  <a:pt x="21" y="95"/>
                </a:cubicBezTo>
                <a:cubicBezTo>
                  <a:pt x="19" y="95"/>
                  <a:pt x="18" y="94"/>
                  <a:pt x="18" y="92"/>
                </a:cubicBezTo>
                <a:cubicBezTo>
                  <a:pt x="18" y="85"/>
                  <a:pt x="18" y="85"/>
                  <a:pt x="18" y="85"/>
                </a:cubicBezTo>
                <a:cubicBezTo>
                  <a:pt x="18" y="83"/>
                  <a:pt x="19" y="82"/>
                  <a:pt x="21" y="82"/>
                </a:cubicBezTo>
                <a:cubicBezTo>
                  <a:pt x="32" y="82"/>
                  <a:pt x="32" y="82"/>
                  <a:pt x="32" y="82"/>
                </a:cubicBezTo>
                <a:cubicBezTo>
                  <a:pt x="34" y="82"/>
                  <a:pt x="35" y="83"/>
                  <a:pt x="35" y="85"/>
                </a:cubicBezTo>
                <a:lnTo>
                  <a:pt x="35" y="92"/>
                </a:lnTo>
                <a:close/>
                <a:moveTo>
                  <a:pt x="35" y="72"/>
                </a:moveTo>
                <a:cubicBezTo>
                  <a:pt x="35" y="73"/>
                  <a:pt x="34" y="74"/>
                  <a:pt x="32" y="74"/>
                </a:cubicBezTo>
                <a:cubicBezTo>
                  <a:pt x="21" y="74"/>
                  <a:pt x="21" y="74"/>
                  <a:pt x="21" y="74"/>
                </a:cubicBezTo>
                <a:cubicBezTo>
                  <a:pt x="19" y="74"/>
                  <a:pt x="18" y="73"/>
                  <a:pt x="18" y="72"/>
                </a:cubicBezTo>
                <a:cubicBezTo>
                  <a:pt x="18" y="64"/>
                  <a:pt x="18" y="64"/>
                  <a:pt x="18" y="64"/>
                </a:cubicBezTo>
                <a:cubicBezTo>
                  <a:pt x="18" y="62"/>
                  <a:pt x="19" y="61"/>
                  <a:pt x="21" y="61"/>
                </a:cubicBezTo>
                <a:cubicBezTo>
                  <a:pt x="32" y="61"/>
                  <a:pt x="32" y="61"/>
                  <a:pt x="32" y="61"/>
                </a:cubicBezTo>
                <a:cubicBezTo>
                  <a:pt x="34" y="61"/>
                  <a:pt x="35" y="62"/>
                  <a:pt x="35" y="64"/>
                </a:cubicBezTo>
                <a:lnTo>
                  <a:pt x="35" y="72"/>
                </a:lnTo>
                <a:close/>
                <a:moveTo>
                  <a:pt x="61" y="112"/>
                </a:moveTo>
                <a:cubicBezTo>
                  <a:pt x="61" y="114"/>
                  <a:pt x="59" y="115"/>
                  <a:pt x="58" y="115"/>
                </a:cubicBezTo>
                <a:cubicBezTo>
                  <a:pt x="47" y="115"/>
                  <a:pt x="47" y="115"/>
                  <a:pt x="47" y="115"/>
                </a:cubicBezTo>
                <a:cubicBezTo>
                  <a:pt x="45" y="115"/>
                  <a:pt x="43" y="114"/>
                  <a:pt x="43" y="112"/>
                </a:cubicBezTo>
                <a:cubicBezTo>
                  <a:pt x="43" y="105"/>
                  <a:pt x="43" y="105"/>
                  <a:pt x="43" y="105"/>
                </a:cubicBezTo>
                <a:cubicBezTo>
                  <a:pt x="43" y="103"/>
                  <a:pt x="45" y="102"/>
                  <a:pt x="47" y="102"/>
                </a:cubicBezTo>
                <a:cubicBezTo>
                  <a:pt x="58" y="102"/>
                  <a:pt x="58" y="102"/>
                  <a:pt x="58" y="102"/>
                </a:cubicBezTo>
                <a:cubicBezTo>
                  <a:pt x="59" y="102"/>
                  <a:pt x="61" y="103"/>
                  <a:pt x="61" y="105"/>
                </a:cubicBezTo>
                <a:lnTo>
                  <a:pt x="61" y="112"/>
                </a:lnTo>
                <a:close/>
                <a:moveTo>
                  <a:pt x="61" y="92"/>
                </a:moveTo>
                <a:cubicBezTo>
                  <a:pt x="61" y="94"/>
                  <a:pt x="59" y="95"/>
                  <a:pt x="58" y="95"/>
                </a:cubicBezTo>
                <a:cubicBezTo>
                  <a:pt x="47" y="95"/>
                  <a:pt x="47" y="95"/>
                  <a:pt x="47" y="95"/>
                </a:cubicBezTo>
                <a:cubicBezTo>
                  <a:pt x="45" y="95"/>
                  <a:pt x="43" y="94"/>
                  <a:pt x="43" y="92"/>
                </a:cubicBezTo>
                <a:cubicBezTo>
                  <a:pt x="43" y="85"/>
                  <a:pt x="43" y="85"/>
                  <a:pt x="43" y="85"/>
                </a:cubicBezTo>
                <a:cubicBezTo>
                  <a:pt x="43" y="83"/>
                  <a:pt x="45" y="82"/>
                  <a:pt x="47" y="82"/>
                </a:cubicBezTo>
                <a:cubicBezTo>
                  <a:pt x="58" y="82"/>
                  <a:pt x="58" y="82"/>
                  <a:pt x="58" y="82"/>
                </a:cubicBezTo>
                <a:cubicBezTo>
                  <a:pt x="59" y="82"/>
                  <a:pt x="61" y="83"/>
                  <a:pt x="61" y="85"/>
                </a:cubicBezTo>
                <a:lnTo>
                  <a:pt x="61" y="92"/>
                </a:lnTo>
                <a:close/>
                <a:moveTo>
                  <a:pt x="61" y="72"/>
                </a:moveTo>
                <a:cubicBezTo>
                  <a:pt x="61" y="73"/>
                  <a:pt x="59" y="74"/>
                  <a:pt x="58" y="74"/>
                </a:cubicBezTo>
                <a:cubicBezTo>
                  <a:pt x="47" y="74"/>
                  <a:pt x="47" y="74"/>
                  <a:pt x="47" y="74"/>
                </a:cubicBezTo>
                <a:cubicBezTo>
                  <a:pt x="45" y="74"/>
                  <a:pt x="43" y="73"/>
                  <a:pt x="43" y="72"/>
                </a:cubicBezTo>
                <a:cubicBezTo>
                  <a:pt x="43" y="64"/>
                  <a:pt x="43" y="64"/>
                  <a:pt x="43" y="64"/>
                </a:cubicBezTo>
                <a:cubicBezTo>
                  <a:pt x="43" y="62"/>
                  <a:pt x="45" y="61"/>
                  <a:pt x="47" y="61"/>
                </a:cubicBezTo>
                <a:cubicBezTo>
                  <a:pt x="58" y="61"/>
                  <a:pt x="58" y="61"/>
                  <a:pt x="58" y="61"/>
                </a:cubicBezTo>
                <a:cubicBezTo>
                  <a:pt x="59" y="61"/>
                  <a:pt x="61" y="62"/>
                  <a:pt x="61" y="64"/>
                </a:cubicBezTo>
                <a:lnTo>
                  <a:pt x="61" y="72"/>
                </a:lnTo>
                <a:close/>
                <a:moveTo>
                  <a:pt x="86" y="112"/>
                </a:moveTo>
                <a:cubicBezTo>
                  <a:pt x="86" y="114"/>
                  <a:pt x="85" y="115"/>
                  <a:pt x="83" y="115"/>
                </a:cubicBezTo>
                <a:cubicBezTo>
                  <a:pt x="72" y="115"/>
                  <a:pt x="72" y="115"/>
                  <a:pt x="72" y="115"/>
                </a:cubicBezTo>
                <a:cubicBezTo>
                  <a:pt x="70" y="115"/>
                  <a:pt x="69" y="114"/>
                  <a:pt x="69" y="112"/>
                </a:cubicBezTo>
                <a:cubicBezTo>
                  <a:pt x="69" y="104"/>
                  <a:pt x="69" y="104"/>
                  <a:pt x="69" y="104"/>
                </a:cubicBezTo>
                <a:cubicBezTo>
                  <a:pt x="69" y="103"/>
                  <a:pt x="70" y="102"/>
                  <a:pt x="72" y="102"/>
                </a:cubicBezTo>
                <a:cubicBezTo>
                  <a:pt x="83" y="102"/>
                  <a:pt x="83" y="102"/>
                  <a:pt x="83" y="102"/>
                </a:cubicBezTo>
                <a:cubicBezTo>
                  <a:pt x="85" y="102"/>
                  <a:pt x="86" y="103"/>
                  <a:pt x="86" y="104"/>
                </a:cubicBezTo>
                <a:lnTo>
                  <a:pt x="86" y="112"/>
                </a:lnTo>
                <a:close/>
                <a:moveTo>
                  <a:pt x="86" y="92"/>
                </a:moveTo>
                <a:cubicBezTo>
                  <a:pt x="86" y="94"/>
                  <a:pt x="85" y="95"/>
                  <a:pt x="83" y="95"/>
                </a:cubicBezTo>
                <a:cubicBezTo>
                  <a:pt x="72" y="95"/>
                  <a:pt x="72" y="95"/>
                  <a:pt x="72" y="95"/>
                </a:cubicBezTo>
                <a:cubicBezTo>
                  <a:pt x="70" y="95"/>
                  <a:pt x="69" y="94"/>
                  <a:pt x="69" y="92"/>
                </a:cubicBezTo>
                <a:cubicBezTo>
                  <a:pt x="69" y="84"/>
                  <a:pt x="69" y="84"/>
                  <a:pt x="69" y="84"/>
                </a:cubicBezTo>
                <a:cubicBezTo>
                  <a:pt x="69" y="83"/>
                  <a:pt x="70" y="82"/>
                  <a:pt x="72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5" y="82"/>
                  <a:pt x="86" y="83"/>
                  <a:pt x="86" y="84"/>
                </a:cubicBezTo>
                <a:lnTo>
                  <a:pt x="86" y="92"/>
                </a:lnTo>
                <a:close/>
                <a:moveTo>
                  <a:pt x="86" y="72"/>
                </a:moveTo>
                <a:cubicBezTo>
                  <a:pt x="86" y="73"/>
                  <a:pt x="85" y="74"/>
                  <a:pt x="83" y="74"/>
                </a:cubicBezTo>
                <a:cubicBezTo>
                  <a:pt x="72" y="74"/>
                  <a:pt x="72" y="74"/>
                  <a:pt x="72" y="74"/>
                </a:cubicBezTo>
                <a:cubicBezTo>
                  <a:pt x="70" y="74"/>
                  <a:pt x="69" y="73"/>
                  <a:pt x="69" y="72"/>
                </a:cubicBezTo>
                <a:cubicBezTo>
                  <a:pt x="69" y="64"/>
                  <a:pt x="69" y="64"/>
                  <a:pt x="69" y="64"/>
                </a:cubicBezTo>
                <a:cubicBezTo>
                  <a:pt x="69" y="62"/>
                  <a:pt x="70" y="61"/>
                  <a:pt x="72" y="61"/>
                </a:cubicBezTo>
                <a:cubicBezTo>
                  <a:pt x="83" y="61"/>
                  <a:pt x="83" y="61"/>
                  <a:pt x="83" y="61"/>
                </a:cubicBezTo>
                <a:cubicBezTo>
                  <a:pt x="85" y="61"/>
                  <a:pt x="86" y="62"/>
                  <a:pt x="86" y="64"/>
                </a:cubicBezTo>
                <a:lnTo>
                  <a:pt x="86" y="72"/>
                </a:lnTo>
                <a:close/>
                <a:moveTo>
                  <a:pt x="87" y="48"/>
                </a:moveTo>
                <a:cubicBezTo>
                  <a:pt x="71" y="48"/>
                  <a:pt x="71" y="48"/>
                  <a:pt x="71" y="48"/>
                </a:cubicBezTo>
                <a:cubicBezTo>
                  <a:pt x="70" y="48"/>
                  <a:pt x="68" y="46"/>
                  <a:pt x="68" y="43"/>
                </a:cubicBezTo>
                <a:cubicBezTo>
                  <a:pt x="68" y="41"/>
                  <a:pt x="70" y="39"/>
                  <a:pt x="71" y="39"/>
                </a:cubicBezTo>
                <a:cubicBezTo>
                  <a:pt x="87" y="39"/>
                  <a:pt x="87" y="39"/>
                  <a:pt x="87" y="39"/>
                </a:cubicBezTo>
                <a:cubicBezTo>
                  <a:pt x="89" y="39"/>
                  <a:pt x="90" y="41"/>
                  <a:pt x="90" y="43"/>
                </a:cubicBezTo>
                <a:cubicBezTo>
                  <a:pt x="90" y="46"/>
                  <a:pt x="89" y="48"/>
                  <a:pt x="87" y="48"/>
                </a:cubicBezTo>
                <a:close/>
                <a:moveTo>
                  <a:pt x="94" y="27"/>
                </a:moveTo>
                <a:cubicBezTo>
                  <a:pt x="94" y="30"/>
                  <a:pt x="92" y="32"/>
                  <a:pt x="90" y="32"/>
                </a:cubicBezTo>
                <a:cubicBezTo>
                  <a:pt x="14" y="32"/>
                  <a:pt x="14" y="32"/>
                  <a:pt x="14" y="32"/>
                </a:cubicBezTo>
                <a:cubicBezTo>
                  <a:pt x="12" y="32"/>
                  <a:pt x="10" y="30"/>
                  <a:pt x="10" y="27"/>
                </a:cubicBezTo>
                <a:cubicBezTo>
                  <a:pt x="10" y="16"/>
                  <a:pt x="10" y="16"/>
                  <a:pt x="10" y="16"/>
                </a:cubicBezTo>
                <a:cubicBezTo>
                  <a:pt x="10" y="14"/>
                  <a:pt x="12" y="12"/>
                  <a:pt x="14" y="12"/>
                </a:cubicBezTo>
                <a:cubicBezTo>
                  <a:pt x="90" y="12"/>
                  <a:pt x="90" y="12"/>
                  <a:pt x="90" y="12"/>
                </a:cubicBezTo>
                <a:cubicBezTo>
                  <a:pt x="92" y="12"/>
                  <a:pt x="94" y="14"/>
                  <a:pt x="94" y="16"/>
                </a:cubicBezTo>
                <a:lnTo>
                  <a:pt x="94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505" name="Freeform 188"/>
          <p:cNvSpPr>
            <a:spLocks/>
          </p:cNvSpPr>
          <p:nvPr/>
        </p:nvSpPr>
        <p:spPr bwMode="auto">
          <a:xfrm>
            <a:off x="10888134" y="2468034"/>
            <a:ext cx="14817" cy="48684"/>
          </a:xfrm>
          <a:custGeom>
            <a:avLst/>
            <a:gdLst>
              <a:gd name="T0" fmla="*/ 24697531 w 5"/>
              <a:gd name="T1" fmla="*/ 72909615 h 16"/>
              <a:gd name="T2" fmla="*/ 9879457 w 5"/>
              <a:gd name="T3" fmla="*/ 83324948 h 16"/>
              <a:gd name="T4" fmla="*/ 9879457 w 5"/>
              <a:gd name="T5" fmla="*/ 83324948 h 16"/>
              <a:gd name="T6" fmla="*/ 0 w 5"/>
              <a:gd name="T7" fmla="*/ 72909615 h 16"/>
              <a:gd name="T8" fmla="*/ 0 w 5"/>
              <a:gd name="T9" fmla="*/ 10415333 h 16"/>
              <a:gd name="T10" fmla="*/ 9879457 w 5"/>
              <a:gd name="T11" fmla="*/ 0 h 16"/>
              <a:gd name="T12" fmla="*/ 9879457 w 5"/>
              <a:gd name="T13" fmla="*/ 0 h 16"/>
              <a:gd name="T14" fmla="*/ 24697531 w 5"/>
              <a:gd name="T15" fmla="*/ 10415333 h 16"/>
              <a:gd name="T16" fmla="*/ 24697531 w 5"/>
              <a:gd name="T17" fmla="*/ 72909615 h 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6">
                <a:moveTo>
                  <a:pt x="5" y="14"/>
                </a:moveTo>
                <a:cubicBezTo>
                  <a:pt x="5" y="15"/>
                  <a:pt x="4" y="16"/>
                  <a:pt x="2" y="16"/>
                </a:cubicBezTo>
                <a:cubicBezTo>
                  <a:pt x="2" y="16"/>
                  <a:pt x="2" y="16"/>
                  <a:pt x="2" y="16"/>
                </a:cubicBezTo>
                <a:cubicBezTo>
                  <a:pt x="1" y="16"/>
                  <a:pt x="0" y="15"/>
                  <a:pt x="0" y="14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4" y="0"/>
                  <a:pt x="5" y="1"/>
                  <a:pt x="5" y="2"/>
                </a:cubicBezTo>
                <a:lnTo>
                  <a:pt x="5" y="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506" name="Freeform 189"/>
          <p:cNvSpPr>
            <a:spLocks noEditPoints="1"/>
          </p:cNvSpPr>
          <p:nvPr/>
        </p:nvSpPr>
        <p:spPr bwMode="auto">
          <a:xfrm>
            <a:off x="4578351" y="2366434"/>
            <a:ext cx="529167" cy="472017"/>
          </a:xfrm>
          <a:custGeom>
            <a:avLst/>
            <a:gdLst>
              <a:gd name="T0" fmla="*/ 432217170 w 176"/>
              <a:gd name="T1" fmla="*/ 635548039 h 157"/>
              <a:gd name="T2" fmla="*/ 462724680 w 176"/>
              <a:gd name="T3" fmla="*/ 635548039 h 157"/>
              <a:gd name="T4" fmla="*/ 452554759 w 176"/>
              <a:gd name="T5" fmla="*/ 549114750 h 157"/>
              <a:gd name="T6" fmla="*/ 371197638 w 176"/>
              <a:gd name="T7" fmla="*/ 432173208 h 157"/>
              <a:gd name="T8" fmla="*/ 386452521 w 176"/>
              <a:gd name="T9" fmla="*/ 457594498 h 157"/>
              <a:gd name="T10" fmla="*/ 371197638 w 176"/>
              <a:gd name="T11" fmla="*/ 432173208 h 157"/>
              <a:gd name="T12" fmla="*/ 432217170 w 176"/>
              <a:gd name="T13" fmla="*/ 386413082 h 157"/>
              <a:gd name="T14" fmla="*/ 452554759 w 176"/>
              <a:gd name="T15" fmla="*/ 483018043 h 157"/>
              <a:gd name="T16" fmla="*/ 462724680 w 176"/>
              <a:gd name="T17" fmla="*/ 391497791 h 157"/>
              <a:gd name="T18" fmla="*/ 655950941 w 176"/>
              <a:gd name="T19" fmla="*/ 279640957 h 157"/>
              <a:gd name="T20" fmla="*/ 528829173 w 176"/>
              <a:gd name="T21" fmla="*/ 162701669 h 157"/>
              <a:gd name="T22" fmla="*/ 523744212 w 176"/>
              <a:gd name="T23" fmla="*/ 142362833 h 157"/>
              <a:gd name="T24" fmla="*/ 569508860 w 176"/>
              <a:gd name="T25" fmla="*/ 30505999 h 157"/>
              <a:gd name="T26" fmla="*/ 305093146 w 176"/>
              <a:gd name="T27" fmla="*/ 30505999 h 157"/>
              <a:gd name="T28" fmla="*/ 355942756 w 176"/>
              <a:gd name="T29" fmla="*/ 152532251 h 157"/>
              <a:gd name="T30" fmla="*/ 371197638 w 176"/>
              <a:gd name="T31" fmla="*/ 167784123 h 157"/>
              <a:gd name="T32" fmla="*/ 289838263 w 176"/>
              <a:gd name="T33" fmla="*/ 793164999 h 157"/>
              <a:gd name="T34" fmla="*/ 600018626 w 176"/>
              <a:gd name="T35" fmla="*/ 793164999 h 157"/>
              <a:gd name="T36" fmla="*/ 579678782 w 176"/>
              <a:gd name="T37" fmla="*/ 579620750 h 157"/>
              <a:gd name="T38" fmla="*/ 513574290 w 176"/>
              <a:gd name="T39" fmla="*/ 655886875 h 157"/>
              <a:gd name="T40" fmla="*/ 498319407 w 176"/>
              <a:gd name="T41" fmla="*/ 691477583 h 157"/>
              <a:gd name="T42" fmla="*/ 462724680 w 176"/>
              <a:gd name="T43" fmla="*/ 691477583 h 157"/>
              <a:gd name="T44" fmla="*/ 452554759 w 176"/>
              <a:gd name="T45" fmla="*/ 671141002 h 157"/>
              <a:gd name="T46" fmla="*/ 437302131 w 176"/>
              <a:gd name="T47" fmla="*/ 691477583 h 157"/>
              <a:gd name="T48" fmla="*/ 396622443 w 176"/>
              <a:gd name="T49" fmla="*/ 691477583 h 157"/>
              <a:gd name="T50" fmla="*/ 361027717 w 176"/>
              <a:gd name="T51" fmla="*/ 645717457 h 157"/>
              <a:gd name="T52" fmla="*/ 340687873 w 176"/>
              <a:gd name="T53" fmla="*/ 549114750 h 157"/>
              <a:gd name="T54" fmla="*/ 391537482 w 176"/>
              <a:gd name="T55" fmla="*/ 620296167 h 157"/>
              <a:gd name="T56" fmla="*/ 366112678 w 176"/>
              <a:gd name="T57" fmla="*/ 518608751 h 157"/>
              <a:gd name="T58" fmla="*/ 320348029 w 176"/>
              <a:gd name="T59" fmla="*/ 442342626 h 157"/>
              <a:gd name="T60" fmla="*/ 361027717 w 176"/>
              <a:gd name="T61" fmla="*/ 371161209 h 157"/>
              <a:gd name="T62" fmla="*/ 391537482 w 176"/>
              <a:gd name="T63" fmla="*/ 320316374 h 157"/>
              <a:gd name="T64" fmla="*/ 432217170 w 176"/>
              <a:gd name="T65" fmla="*/ 320316374 h 157"/>
              <a:gd name="T66" fmla="*/ 442387092 w 176"/>
              <a:gd name="T67" fmla="*/ 345737664 h 157"/>
              <a:gd name="T68" fmla="*/ 462724680 w 176"/>
              <a:gd name="T69" fmla="*/ 320316374 h 157"/>
              <a:gd name="T70" fmla="*/ 503404368 w 176"/>
              <a:gd name="T71" fmla="*/ 320316374 h 157"/>
              <a:gd name="T72" fmla="*/ 508489329 w 176"/>
              <a:gd name="T73" fmla="*/ 360991791 h 157"/>
              <a:gd name="T74" fmla="*/ 569508860 w 176"/>
              <a:gd name="T75" fmla="*/ 442342626 h 157"/>
              <a:gd name="T76" fmla="*/ 523744212 w 176"/>
              <a:gd name="T77" fmla="*/ 437257917 h 157"/>
              <a:gd name="T78" fmla="*/ 508489329 w 176"/>
              <a:gd name="T79" fmla="*/ 498269915 h 157"/>
              <a:gd name="T80" fmla="*/ 569508860 w 176"/>
              <a:gd name="T81" fmla="*/ 538945332 h 157"/>
              <a:gd name="T82" fmla="*/ 513574290 w 176"/>
              <a:gd name="T83" fmla="*/ 564366623 h 157"/>
              <a:gd name="T84" fmla="*/ 503404368 w 176"/>
              <a:gd name="T85" fmla="*/ 625380876 h 157"/>
              <a:gd name="T86" fmla="*/ 528829173 w 176"/>
              <a:gd name="T87" fmla="*/ 589790168 h 15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76" h="157">
                <a:moveTo>
                  <a:pt x="85" y="106"/>
                </a:moveTo>
                <a:cubicBezTo>
                  <a:pt x="85" y="125"/>
                  <a:pt x="85" y="125"/>
                  <a:pt x="85" y="125"/>
                </a:cubicBezTo>
                <a:cubicBezTo>
                  <a:pt x="87" y="125"/>
                  <a:pt x="88" y="125"/>
                  <a:pt x="89" y="125"/>
                </a:cubicBezTo>
                <a:cubicBezTo>
                  <a:pt x="90" y="125"/>
                  <a:pt x="90" y="125"/>
                  <a:pt x="91" y="125"/>
                </a:cubicBezTo>
                <a:cubicBezTo>
                  <a:pt x="91" y="108"/>
                  <a:pt x="91" y="108"/>
                  <a:pt x="91" y="108"/>
                </a:cubicBezTo>
                <a:cubicBezTo>
                  <a:pt x="90" y="108"/>
                  <a:pt x="90" y="108"/>
                  <a:pt x="89" y="108"/>
                </a:cubicBezTo>
                <a:cubicBezTo>
                  <a:pt x="88" y="107"/>
                  <a:pt x="86" y="107"/>
                  <a:pt x="85" y="106"/>
                </a:cubicBezTo>
                <a:close/>
                <a:moveTo>
                  <a:pt x="73" y="85"/>
                </a:moveTo>
                <a:cubicBezTo>
                  <a:pt x="73" y="86"/>
                  <a:pt x="73" y="88"/>
                  <a:pt x="74" y="89"/>
                </a:cubicBezTo>
                <a:cubicBezTo>
                  <a:pt x="75" y="89"/>
                  <a:pt x="75" y="90"/>
                  <a:pt x="76" y="90"/>
                </a:cubicBezTo>
                <a:cubicBezTo>
                  <a:pt x="76" y="79"/>
                  <a:pt x="76" y="79"/>
                  <a:pt x="76" y="79"/>
                </a:cubicBezTo>
                <a:cubicBezTo>
                  <a:pt x="74" y="81"/>
                  <a:pt x="73" y="83"/>
                  <a:pt x="73" y="85"/>
                </a:cubicBezTo>
                <a:close/>
                <a:moveTo>
                  <a:pt x="88" y="76"/>
                </a:moveTo>
                <a:cubicBezTo>
                  <a:pt x="87" y="76"/>
                  <a:pt x="86" y="76"/>
                  <a:pt x="85" y="76"/>
                </a:cubicBezTo>
                <a:cubicBezTo>
                  <a:pt x="85" y="94"/>
                  <a:pt x="85" y="94"/>
                  <a:pt x="85" y="94"/>
                </a:cubicBezTo>
                <a:cubicBezTo>
                  <a:pt x="86" y="94"/>
                  <a:pt x="87" y="94"/>
                  <a:pt x="89" y="95"/>
                </a:cubicBezTo>
                <a:cubicBezTo>
                  <a:pt x="90" y="95"/>
                  <a:pt x="90" y="95"/>
                  <a:pt x="91" y="95"/>
                </a:cubicBezTo>
                <a:cubicBezTo>
                  <a:pt x="91" y="77"/>
                  <a:pt x="91" y="77"/>
                  <a:pt x="91" y="77"/>
                </a:cubicBezTo>
                <a:cubicBezTo>
                  <a:pt x="90" y="76"/>
                  <a:pt x="89" y="76"/>
                  <a:pt x="88" y="76"/>
                </a:cubicBezTo>
                <a:close/>
                <a:moveTo>
                  <a:pt x="129" y="55"/>
                </a:moveTo>
                <a:cubicBezTo>
                  <a:pt x="122" y="48"/>
                  <a:pt x="105" y="38"/>
                  <a:pt x="104" y="33"/>
                </a:cubicBezTo>
                <a:cubicBezTo>
                  <a:pt x="104" y="33"/>
                  <a:pt x="104" y="32"/>
                  <a:pt x="104" y="32"/>
                </a:cubicBezTo>
                <a:cubicBezTo>
                  <a:pt x="105" y="32"/>
                  <a:pt x="106" y="31"/>
                  <a:pt x="106" y="30"/>
                </a:cubicBezTo>
                <a:cubicBezTo>
                  <a:pt x="106" y="29"/>
                  <a:pt x="105" y="28"/>
                  <a:pt x="103" y="28"/>
                </a:cubicBezTo>
                <a:cubicBezTo>
                  <a:pt x="103" y="28"/>
                  <a:pt x="103" y="28"/>
                  <a:pt x="103" y="28"/>
                </a:cubicBezTo>
                <a:cubicBezTo>
                  <a:pt x="103" y="23"/>
                  <a:pt x="108" y="21"/>
                  <a:pt x="112" y="6"/>
                </a:cubicBezTo>
                <a:cubicBezTo>
                  <a:pt x="95" y="1"/>
                  <a:pt x="95" y="5"/>
                  <a:pt x="82" y="11"/>
                </a:cubicBezTo>
                <a:cubicBezTo>
                  <a:pt x="72" y="13"/>
                  <a:pt x="73" y="0"/>
                  <a:pt x="60" y="6"/>
                </a:cubicBezTo>
                <a:cubicBezTo>
                  <a:pt x="67" y="19"/>
                  <a:pt x="72" y="23"/>
                  <a:pt x="73" y="28"/>
                </a:cubicBezTo>
                <a:cubicBezTo>
                  <a:pt x="71" y="28"/>
                  <a:pt x="70" y="29"/>
                  <a:pt x="70" y="30"/>
                </a:cubicBezTo>
                <a:cubicBezTo>
                  <a:pt x="70" y="31"/>
                  <a:pt x="71" y="32"/>
                  <a:pt x="73" y="32"/>
                </a:cubicBezTo>
                <a:cubicBezTo>
                  <a:pt x="73" y="32"/>
                  <a:pt x="73" y="32"/>
                  <a:pt x="73" y="33"/>
                </a:cubicBezTo>
                <a:cubicBezTo>
                  <a:pt x="71" y="38"/>
                  <a:pt x="54" y="48"/>
                  <a:pt x="47" y="55"/>
                </a:cubicBezTo>
                <a:cubicBezTo>
                  <a:pt x="31" y="70"/>
                  <a:pt x="0" y="154"/>
                  <a:pt x="57" y="156"/>
                </a:cubicBezTo>
                <a:cubicBezTo>
                  <a:pt x="84" y="157"/>
                  <a:pt x="88" y="157"/>
                  <a:pt x="88" y="157"/>
                </a:cubicBezTo>
                <a:cubicBezTo>
                  <a:pt x="88" y="157"/>
                  <a:pt x="91" y="157"/>
                  <a:pt x="118" y="156"/>
                </a:cubicBezTo>
                <a:cubicBezTo>
                  <a:pt x="176" y="154"/>
                  <a:pt x="144" y="70"/>
                  <a:pt x="129" y="55"/>
                </a:cubicBezTo>
                <a:close/>
                <a:moveTo>
                  <a:pt x="114" y="114"/>
                </a:moveTo>
                <a:cubicBezTo>
                  <a:pt x="113" y="117"/>
                  <a:pt x="112" y="120"/>
                  <a:pt x="110" y="123"/>
                </a:cubicBezTo>
                <a:cubicBezTo>
                  <a:pt x="108" y="126"/>
                  <a:pt x="105" y="128"/>
                  <a:pt x="101" y="129"/>
                </a:cubicBezTo>
                <a:cubicBezTo>
                  <a:pt x="100" y="130"/>
                  <a:pt x="99" y="130"/>
                  <a:pt x="99" y="130"/>
                </a:cubicBezTo>
                <a:cubicBezTo>
                  <a:pt x="98" y="136"/>
                  <a:pt x="98" y="136"/>
                  <a:pt x="98" y="136"/>
                </a:cubicBezTo>
                <a:cubicBezTo>
                  <a:pt x="98" y="138"/>
                  <a:pt x="96" y="139"/>
                  <a:pt x="94" y="139"/>
                </a:cubicBezTo>
                <a:cubicBezTo>
                  <a:pt x="92" y="139"/>
                  <a:pt x="91" y="138"/>
                  <a:pt x="91" y="136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9" y="132"/>
                  <a:pt x="89" y="132"/>
                </a:cubicBezTo>
                <a:cubicBezTo>
                  <a:pt x="88" y="132"/>
                  <a:pt x="87" y="132"/>
                  <a:pt x="86" y="132"/>
                </a:cubicBezTo>
                <a:cubicBezTo>
                  <a:pt x="86" y="136"/>
                  <a:pt x="86" y="136"/>
                  <a:pt x="86" y="136"/>
                </a:cubicBezTo>
                <a:cubicBezTo>
                  <a:pt x="86" y="138"/>
                  <a:pt x="84" y="139"/>
                  <a:pt x="82" y="139"/>
                </a:cubicBezTo>
                <a:cubicBezTo>
                  <a:pt x="80" y="139"/>
                  <a:pt x="78" y="138"/>
                  <a:pt x="78" y="136"/>
                </a:cubicBezTo>
                <a:cubicBezTo>
                  <a:pt x="78" y="130"/>
                  <a:pt x="78" y="130"/>
                  <a:pt x="78" y="130"/>
                </a:cubicBezTo>
                <a:cubicBezTo>
                  <a:pt x="75" y="129"/>
                  <a:pt x="73" y="128"/>
                  <a:pt x="71" y="127"/>
                </a:cubicBezTo>
                <a:cubicBezTo>
                  <a:pt x="67" y="124"/>
                  <a:pt x="64" y="119"/>
                  <a:pt x="63" y="113"/>
                </a:cubicBezTo>
                <a:cubicBezTo>
                  <a:pt x="62" y="110"/>
                  <a:pt x="64" y="108"/>
                  <a:pt x="67" y="108"/>
                </a:cubicBezTo>
                <a:cubicBezTo>
                  <a:pt x="69" y="109"/>
                  <a:pt x="72" y="111"/>
                  <a:pt x="72" y="114"/>
                </a:cubicBezTo>
                <a:cubicBezTo>
                  <a:pt x="73" y="117"/>
                  <a:pt x="75" y="120"/>
                  <a:pt x="77" y="122"/>
                </a:cubicBezTo>
                <a:cubicBezTo>
                  <a:pt x="76" y="103"/>
                  <a:pt x="76" y="103"/>
                  <a:pt x="76" y="103"/>
                </a:cubicBezTo>
                <a:cubicBezTo>
                  <a:pt x="74" y="103"/>
                  <a:pt x="73" y="102"/>
                  <a:pt x="72" y="102"/>
                </a:cubicBezTo>
                <a:cubicBezTo>
                  <a:pt x="69" y="100"/>
                  <a:pt x="67" y="98"/>
                  <a:pt x="65" y="95"/>
                </a:cubicBezTo>
                <a:cubicBezTo>
                  <a:pt x="64" y="93"/>
                  <a:pt x="63" y="90"/>
                  <a:pt x="63" y="87"/>
                </a:cubicBezTo>
                <a:cubicBezTo>
                  <a:pt x="64" y="84"/>
                  <a:pt x="64" y="81"/>
                  <a:pt x="66" y="79"/>
                </a:cubicBezTo>
                <a:cubicBezTo>
                  <a:pt x="67" y="77"/>
                  <a:pt x="69" y="75"/>
                  <a:pt x="71" y="73"/>
                </a:cubicBezTo>
                <a:cubicBezTo>
                  <a:pt x="72" y="72"/>
                  <a:pt x="74" y="71"/>
                  <a:pt x="77" y="70"/>
                </a:cubicBezTo>
                <a:cubicBezTo>
                  <a:pt x="77" y="63"/>
                  <a:pt x="77" y="63"/>
                  <a:pt x="77" y="63"/>
                </a:cubicBezTo>
                <a:cubicBezTo>
                  <a:pt x="78" y="62"/>
                  <a:pt x="79" y="60"/>
                  <a:pt x="82" y="60"/>
                </a:cubicBezTo>
                <a:cubicBezTo>
                  <a:pt x="84" y="60"/>
                  <a:pt x="85" y="61"/>
                  <a:pt x="85" y="63"/>
                </a:cubicBezTo>
                <a:cubicBezTo>
                  <a:pt x="85" y="68"/>
                  <a:pt x="85" y="68"/>
                  <a:pt x="85" y="68"/>
                </a:cubicBezTo>
                <a:cubicBezTo>
                  <a:pt x="86" y="68"/>
                  <a:pt x="86" y="68"/>
                  <a:pt x="87" y="68"/>
                </a:cubicBezTo>
                <a:cubicBezTo>
                  <a:pt x="88" y="68"/>
                  <a:pt x="90" y="68"/>
                  <a:pt x="91" y="69"/>
                </a:cubicBezTo>
                <a:cubicBezTo>
                  <a:pt x="91" y="63"/>
                  <a:pt x="91" y="63"/>
                  <a:pt x="91" y="63"/>
                </a:cubicBezTo>
                <a:cubicBezTo>
                  <a:pt x="91" y="61"/>
                  <a:pt x="92" y="60"/>
                  <a:pt x="95" y="60"/>
                </a:cubicBezTo>
                <a:cubicBezTo>
                  <a:pt x="97" y="60"/>
                  <a:pt x="99" y="62"/>
                  <a:pt x="99" y="63"/>
                </a:cubicBezTo>
                <a:cubicBezTo>
                  <a:pt x="99" y="70"/>
                  <a:pt x="99" y="70"/>
                  <a:pt x="99" y="70"/>
                </a:cubicBezTo>
                <a:cubicBezTo>
                  <a:pt x="100" y="70"/>
                  <a:pt x="100" y="70"/>
                  <a:pt x="100" y="71"/>
                </a:cubicBezTo>
                <a:cubicBezTo>
                  <a:pt x="104" y="72"/>
                  <a:pt x="106" y="74"/>
                  <a:pt x="108" y="76"/>
                </a:cubicBezTo>
                <a:cubicBezTo>
                  <a:pt x="110" y="79"/>
                  <a:pt x="112" y="83"/>
                  <a:pt x="112" y="87"/>
                </a:cubicBezTo>
                <a:cubicBezTo>
                  <a:pt x="113" y="90"/>
                  <a:pt x="111" y="92"/>
                  <a:pt x="108" y="92"/>
                </a:cubicBezTo>
                <a:cubicBezTo>
                  <a:pt x="105" y="92"/>
                  <a:pt x="103" y="89"/>
                  <a:pt x="103" y="86"/>
                </a:cubicBezTo>
                <a:cubicBezTo>
                  <a:pt x="102" y="84"/>
                  <a:pt x="101" y="83"/>
                  <a:pt x="100" y="81"/>
                </a:cubicBezTo>
                <a:cubicBezTo>
                  <a:pt x="100" y="98"/>
                  <a:pt x="100" y="98"/>
                  <a:pt x="100" y="98"/>
                </a:cubicBezTo>
                <a:cubicBezTo>
                  <a:pt x="103" y="99"/>
                  <a:pt x="105" y="100"/>
                  <a:pt x="106" y="100"/>
                </a:cubicBezTo>
                <a:cubicBezTo>
                  <a:pt x="109" y="101"/>
                  <a:pt x="111" y="103"/>
                  <a:pt x="112" y="106"/>
                </a:cubicBezTo>
                <a:cubicBezTo>
                  <a:pt x="113" y="108"/>
                  <a:pt x="114" y="111"/>
                  <a:pt x="114" y="114"/>
                </a:cubicBezTo>
                <a:close/>
                <a:moveTo>
                  <a:pt x="101" y="111"/>
                </a:moveTo>
                <a:cubicBezTo>
                  <a:pt x="101" y="111"/>
                  <a:pt x="100" y="111"/>
                  <a:pt x="100" y="111"/>
                </a:cubicBezTo>
                <a:cubicBezTo>
                  <a:pt x="99" y="123"/>
                  <a:pt x="99" y="123"/>
                  <a:pt x="99" y="123"/>
                </a:cubicBezTo>
                <a:cubicBezTo>
                  <a:pt x="99" y="123"/>
                  <a:pt x="99" y="123"/>
                  <a:pt x="100" y="122"/>
                </a:cubicBezTo>
                <a:cubicBezTo>
                  <a:pt x="102" y="121"/>
                  <a:pt x="103" y="118"/>
                  <a:pt x="104" y="116"/>
                </a:cubicBezTo>
                <a:cubicBezTo>
                  <a:pt x="104" y="114"/>
                  <a:pt x="103" y="112"/>
                  <a:pt x="101" y="1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Freeform 5"/>
          <p:cNvSpPr>
            <a:spLocks/>
          </p:cNvSpPr>
          <p:nvPr/>
        </p:nvSpPr>
        <p:spPr bwMode="auto">
          <a:xfrm>
            <a:off x="1346201" y="1562101"/>
            <a:ext cx="258233" cy="302684"/>
          </a:xfrm>
          <a:custGeom>
            <a:avLst/>
            <a:gdLst>
              <a:gd name="T0" fmla="*/ 307459063 w 122"/>
              <a:gd name="T1" fmla="*/ 178932282 h 143"/>
              <a:gd name="T2" fmla="*/ 0 w 122"/>
              <a:gd name="T3" fmla="*/ 360383931 h 143"/>
              <a:gd name="T4" fmla="*/ 0 w 122"/>
              <a:gd name="T5" fmla="*/ 0 h 143"/>
              <a:gd name="T6" fmla="*/ 307459063 w 122"/>
              <a:gd name="T7" fmla="*/ 178932282 h 143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22" h="143">
                <a:moveTo>
                  <a:pt x="122" y="71"/>
                </a:moveTo>
                <a:lnTo>
                  <a:pt x="0" y="143"/>
                </a:lnTo>
                <a:lnTo>
                  <a:pt x="0" y="0"/>
                </a:lnTo>
                <a:lnTo>
                  <a:pt x="122" y="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47" name="Freeform 6"/>
          <p:cNvSpPr>
            <a:spLocks/>
          </p:cNvSpPr>
          <p:nvPr/>
        </p:nvSpPr>
        <p:spPr bwMode="auto">
          <a:xfrm>
            <a:off x="1600201" y="1562101"/>
            <a:ext cx="258233" cy="302684"/>
          </a:xfrm>
          <a:custGeom>
            <a:avLst/>
            <a:gdLst>
              <a:gd name="T0" fmla="*/ 307459063 w 122"/>
              <a:gd name="T1" fmla="*/ 178932282 h 143"/>
              <a:gd name="T2" fmla="*/ 0 w 122"/>
              <a:gd name="T3" fmla="*/ 360383931 h 143"/>
              <a:gd name="T4" fmla="*/ 0 w 122"/>
              <a:gd name="T5" fmla="*/ 0 h 143"/>
              <a:gd name="T6" fmla="*/ 307459063 w 122"/>
              <a:gd name="T7" fmla="*/ 178932282 h 143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22" h="143">
                <a:moveTo>
                  <a:pt x="122" y="71"/>
                </a:moveTo>
                <a:lnTo>
                  <a:pt x="0" y="143"/>
                </a:lnTo>
                <a:lnTo>
                  <a:pt x="0" y="0"/>
                </a:lnTo>
                <a:lnTo>
                  <a:pt x="122" y="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48" name="Freeform 7"/>
          <p:cNvSpPr>
            <a:spLocks noEditPoints="1"/>
          </p:cNvSpPr>
          <p:nvPr/>
        </p:nvSpPr>
        <p:spPr bwMode="auto">
          <a:xfrm>
            <a:off x="4734984" y="1530351"/>
            <a:ext cx="524933" cy="366183"/>
          </a:xfrm>
          <a:custGeom>
            <a:avLst/>
            <a:gdLst>
              <a:gd name="T0" fmla="*/ 430042583 w 174"/>
              <a:gd name="T1" fmla="*/ 395270177 h 122"/>
              <a:gd name="T2" fmla="*/ 250859305 w 174"/>
              <a:gd name="T3" fmla="*/ 212839173 h 122"/>
              <a:gd name="T4" fmla="*/ 133109065 w 174"/>
              <a:gd name="T5" fmla="*/ 430743372 h 122"/>
              <a:gd name="T6" fmla="*/ 133109065 w 174"/>
              <a:gd name="T7" fmla="*/ 491555208 h 122"/>
              <a:gd name="T8" fmla="*/ 726976101 w 174"/>
              <a:gd name="T9" fmla="*/ 491555208 h 122"/>
              <a:gd name="T10" fmla="*/ 491477884 w 174"/>
              <a:gd name="T11" fmla="*/ 288850590 h 122"/>
              <a:gd name="T12" fmla="*/ 430042583 w 174"/>
              <a:gd name="T13" fmla="*/ 395270177 h 122"/>
              <a:gd name="T14" fmla="*/ 634825411 w 174"/>
              <a:gd name="T15" fmla="*/ 258446924 h 122"/>
              <a:gd name="T16" fmla="*/ 691140350 w 174"/>
              <a:gd name="T17" fmla="*/ 197635088 h 122"/>
              <a:gd name="T18" fmla="*/ 634825411 w 174"/>
              <a:gd name="T19" fmla="*/ 141892782 h 122"/>
              <a:gd name="T20" fmla="*/ 573390110 w 174"/>
              <a:gd name="T21" fmla="*/ 197635088 h 122"/>
              <a:gd name="T22" fmla="*/ 634825411 w 174"/>
              <a:gd name="T23" fmla="*/ 258446924 h 122"/>
              <a:gd name="T24" fmla="*/ 0 w 174"/>
              <a:gd name="T25" fmla="*/ 0 h 122"/>
              <a:gd name="T26" fmla="*/ 0 w 174"/>
              <a:gd name="T27" fmla="*/ 618243905 h 122"/>
              <a:gd name="T28" fmla="*/ 890802816 w 174"/>
              <a:gd name="T29" fmla="*/ 618243905 h 122"/>
              <a:gd name="T30" fmla="*/ 890802816 w 174"/>
              <a:gd name="T31" fmla="*/ 0 h 122"/>
              <a:gd name="T32" fmla="*/ 0 w 174"/>
              <a:gd name="T33" fmla="*/ 0 h 122"/>
              <a:gd name="T34" fmla="*/ 808890590 w 174"/>
              <a:gd name="T35" fmla="*/ 542230236 h 122"/>
              <a:gd name="T36" fmla="*/ 81912226 w 174"/>
              <a:gd name="T37" fmla="*/ 542230236 h 122"/>
              <a:gd name="T38" fmla="*/ 81912226 w 174"/>
              <a:gd name="T39" fmla="*/ 81080946 h 122"/>
              <a:gd name="T40" fmla="*/ 808890590 w 174"/>
              <a:gd name="T41" fmla="*/ 81080946 h 122"/>
              <a:gd name="T42" fmla="*/ 808890590 w 174"/>
              <a:gd name="T43" fmla="*/ 81080946 h 122"/>
              <a:gd name="T44" fmla="*/ 808890590 w 174"/>
              <a:gd name="T45" fmla="*/ 81080946 h 122"/>
              <a:gd name="T46" fmla="*/ 808890590 w 174"/>
              <a:gd name="T47" fmla="*/ 542230236 h 12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74" h="122">
                <a:moveTo>
                  <a:pt x="84" y="78"/>
                </a:moveTo>
                <a:cubicBezTo>
                  <a:pt x="49" y="42"/>
                  <a:pt x="49" y="42"/>
                  <a:pt x="49" y="42"/>
                </a:cubicBezTo>
                <a:cubicBezTo>
                  <a:pt x="26" y="85"/>
                  <a:pt x="26" y="85"/>
                  <a:pt x="26" y="85"/>
                </a:cubicBezTo>
                <a:cubicBezTo>
                  <a:pt x="26" y="97"/>
                  <a:pt x="26" y="97"/>
                  <a:pt x="26" y="97"/>
                </a:cubicBezTo>
                <a:cubicBezTo>
                  <a:pt x="142" y="97"/>
                  <a:pt x="142" y="97"/>
                  <a:pt x="142" y="97"/>
                </a:cubicBezTo>
                <a:cubicBezTo>
                  <a:pt x="127" y="84"/>
                  <a:pt x="96" y="57"/>
                  <a:pt x="96" y="57"/>
                </a:cubicBezTo>
                <a:lnTo>
                  <a:pt x="84" y="78"/>
                </a:lnTo>
                <a:close/>
                <a:moveTo>
                  <a:pt x="124" y="51"/>
                </a:moveTo>
                <a:cubicBezTo>
                  <a:pt x="130" y="51"/>
                  <a:pt x="135" y="46"/>
                  <a:pt x="135" y="39"/>
                </a:cubicBezTo>
                <a:cubicBezTo>
                  <a:pt x="135" y="33"/>
                  <a:pt x="130" y="28"/>
                  <a:pt x="124" y="28"/>
                </a:cubicBezTo>
                <a:cubicBezTo>
                  <a:pt x="117" y="28"/>
                  <a:pt x="112" y="33"/>
                  <a:pt x="112" y="39"/>
                </a:cubicBezTo>
                <a:cubicBezTo>
                  <a:pt x="112" y="46"/>
                  <a:pt x="117" y="51"/>
                  <a:pt x="124" y="51"/>
                </a:cubicBezTo>
                <a:close/>
                <a:moveTo>
                  <a:pt x="0" y="0"/>
                </a:moveTo>
                <a:cubicBezTo>
                  <a:pt x="0" y="122"/>
                  <a:pt x="0" y="122"/>
                  <a:pt x="0" y="122"/>
                </a:cubicBezTo>
                <a:cubicBezTo>
                  <a:pt x="174" y="122"/>
                  <a:pt x="174" y="122"/>
                  <a:pt x="174" y="122"/>
                </a:cubicBezTo>
                <a:cubicBezTo>
                  <a:pt x="174" y="0"/>
                  <a:pt x="174" y="0"/>
                  <a:pt x="174" y="0"/>
                </a:cubicBezTo>
                <a:lnTo>
                  <a:pt x="0" y="0"/>
                </a:lnTo>
                <a:close/>
                <a:moveTo>
                  <a:pt x="158" y="107"/>
                </a:moveTo>
                <a:cubicBezTo>
                  <a:pt x="16" y="107"/>
                  <a:pt x="16" y="107"/>
                  <a:pt x="16" y="107"/>
                </a:cubicBezTo>
                <a:cubicBezTo>
                  <a:pt x="16" y="16"/>
                  <a:pt x="16" y="16"/>
                  <a:pt x="16" y="16"/>
                </a:cubicBezTo>
                <a:cubicBezTo>
                  <a:pt x="158" y="16"/>
                  <a:pt x="158" y="16"/>
                  <a:pt x="158" y="16"/>
                </a:cubicBezTo>
                <a:cubicBezTo>
                  <a:pt x="158" y="16"/>
                  <a:pt x="158" y="16"/>
                  <a:pt x="158" y="16"/>
                </a:cubicBezTo>
                <a:cubicBezTo>
                  <a:pt x="158" y="16"/>
                  <a:pt x="158" y="16"/>
                  <a:pt x="158" y="16"/>
                </a:cubicBezTo>
                <a:lnTo>
                  <a:pt x="158" y="1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49" name="Freeform 8"/>
          <p:cNvSpPr>
            <a:spLocks noEditPoints="1"/>
          </p:cNvSpPr>
          <p:nvPr/>
        </p:nvSpPr>
        <p:spPr bwMode="auto">
          <a:xfrm>
            <a:off x="5539318" y="1411817"/>
            <a:ext cx="529167" cy="482600"/>
          </a:xfrm>
          <a:custGeom>
            <a:avLst/>
            <a:gdLst>
              <a:gd name="T0" fmla="*/ 559474688 w 250"/>
              <a:gd name="T1" fmla="*/ 201612500 h 228"/>
              <a:gd name="T2" fmla="*/ 473789375 w 250"/>
              <a:gd name="T3" fmla="*/ 0 h 228"/>
              <a:gd name="T4" fmla="*/ 0 w 250"/>
              <a:gd name="T5" fmla="*/ 209173763 h 228"/>
              <a:gd name="T6" fmla="*/ 113407825 w 250"/>
              <a:gd name="T7" fmla="*/ 466229700 h 228"/>
              <a:gd name="T8" fmla="*/ 113407825 w 250"/>
              <a:gd name="T9" fmla="*/ 574595625 h 228"/>
              <a:gd name="T10" fmla="*/ 630039063 w 250"/>
              <a:gd name="T11" fmla="*/ 574595625 h 228"/>
              <a:gd name="T12" fmla="*/ 630039063 w 250"/>
              <a:gd name="T13" fmla="*/ 201612500 h 228"/>
              <a:gd name="T14" fmla="*/ 559474688 w 250"/>
              <a:gd name="T15" fmla="*/ 201612500 h 228"/>
              <a:gd name="T16" fmla="*/ 113407825 w 250"/>
              <a:gd name="T17" fmla="*/ 236894688 h 228"/>
              <a:gd name="T18" fmla="*/ 100806250 w 250"/>
              <a:gd name="T19" fmla="*/ 244455950 h 228"/>
              <a:gd name="T20" fmla="*/ 113407825 w 250"/>
              <a:gd name="T21" fmla="*/ 284778450 h 228"/>
              <a:gd name="T22" fmla="*/ 113407825 w 250"/>
              <a:gd name="T23" fmla="*/ 380544388 h 228"/>
              <a:gd name="T24" fmla="*/ 50403125 w 250"/>
              <a:gd name="T25" fmla="*/ 226814063 h 228"/>
              <a:gd name="T26" fmla="*/ 456149075 w 250"/>
              <a:gd name="T27" fmla="*/ 52924075 h 228"/>
              <a:gd name="T28" fmla="*/ 516632825 w 250"/>
              <a:gd name="T29" fmla="*/ 201612500 h 228"/>
              <a:gd name="T30" fmla="*/ 476310325 w 250"/>
              <a:gd name="T31" fmla="*/ 201612500 h 228"/>
              <a:gd name="T32" fmla="*/ 433466875 w 250"/>
              <a:gd name="T33" fmla="*/ 103327200 h 228"/>
              <a:gd name="T34" fmla="*/ 204133450 w 250"/>
              <a:gd name="T35" fmla="*/ 201612500 h 228"/>
              <a:gd name="T36" fmla="*/ 113407825 w 250"/>
              <a:gd name="T37" fmla="*/ 201612500 h 228"/>
              <a:gd name="T38" fmla="*/ 113407825 w 250"/>
              <a:gd name="T39" fmla="*/ 236894688 h 228"/>
              <a:gd name="T40" fmla="*/ 592237513 w 250"/>
              <a:gd name="T41" fmla="*/ 534273125 h 228"/>
              <a:gd name="T42" fmla="*/ 151209375 w 250"/>
              <a:gd name="T43" fmla="*/ 534273125 h 228"/>
              <a:gd name="T44" fmla="*/ 151209375 w 250"/>
              <a:gd name="T45" fmla="*/ 236894688 h 228"/>
              <a:gd name="T46" fmla="*/ 592237513 w 250"/>
              <a:gd name="T47" fmla="*/ 236894688 h 228"/>
              <a:gd name="T48" fmla="*/ 592237513 w 250"/>
              <a:gd name="T49" fmla="*/ 534273125 h 228"/>
              <a:gd name="T50" fmla="*/ 554434375 w 250"/>
              <a:gd name="T51" fmla="*/ 277217188 h 228"/>
              <a:gd name="T52" fmla="*/ 189012513 w 250"/>
              <a:gd name="T53" fmla="*/ 277217188 h 228"/>
              <a:gd name="T54" fmla="*/ 189012513 w 250"/>
              <a:gd name="T55" fmla="*/ 498990938 h 228"/>
              <a:gd name="T56" fmla="*/ 554434375 w 250"/>
              <a:gd name="T57" fmla="*/ 498990938 h 228"/>
              <a:gd name="T58" fmla="*/ 554434375 w 250"/>
              <a:gd name="T59" fmla="*/ 277217188 h 228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250" h="228">
                <a:moveTo>
                  <a:pt x="222" y="80"/>
                </a:moveTo>
                <a:lnTo>
                  <a:pt x="188" y="0"/>
                </a:lnTo>
                <a:lnTo>
                  <a:pt x="0" y="83"/>
                </a:lnTo>
                <a:lnTo>
                  <a:pt x="45" y="185"/>
                </a:lnTo>
                <a:lnTo>
                  <a:pt x="45" y="228"/>
                </a:lnTo>
                <a:lnTo>
                  <a:pt x="250" y="228"/>
                </a:lnTo>
                <a:lnTo>
                  <a:pt x="250" y="80"/>
                </a:lnTo>
                <a:lnTo>
                  <a:pt x="222" y="80"/>
                </a:lnTo>
                <a:close/>
                <a:moveTo>
                  <a:pt x="45" y="94"/>
                </a:moveTo>
                <a:lnTo>
                  <a:pt x="40" y="97"/>
                </a:lnTo>
                <a:lnTo>
                  <a:pt x="45" y="113"/>
                </a:lnTo>
                <a:lnTo>
                  <a:pt x="45" y="151"/>
                </a:lnTo>
                <a:lnTo>
                  <a:pt x="20" y="90"/>
                </a:lnTo>
                <a:lnTo>
                  <a:pt x="181" y="21"/>
                </a:lnTo>
                <a:lnTo>
                  <a:pt x="205" y="80"/>
                </a:lnTo>
                <a:lnTo>
                  <a:pt x="189" y="80"/>
                </a:lnTo>
                <a:lnTo>
                  <a:pt x="172" y="41"/>
                </a:lnTo>
                <a:lnTo>
                  <a:pt x="81" y="80"/>
                </a:lnTo>
                <a:lnTo>
                  <a:pt x="45" y="80"/>
                </a:lnTo>
                <a:lnTo>
                  <a:pt x="45" y="94"/>
                </a:lnTo>
                <a:close/>
                <a:moveTo>
                  <a:pt x="235" y="212"/>
                </a:moveTo>
                <a:lnTo>
                  <a:pt x="60" y="212"/>
                </a:lnTo>
                <a:lnTo>
                  <a:pt x="60" y="94"/>
                </a:lnTo>
                <a:lnTo>
                  <a:pt x="235" y="94"/>
                </a:lnTo>
                <a:lnTo>
                  <a:pt x="235" y="212"/>
                </a:lnTo>
                <a:close/>
                <a:moveTo>
                  <a:pt x="220" y="110"/>
                </a:moveTo>
                <a:lnTo>
                  <a:pt x="75" y="110"/>
                </a:lnTo>
                <a:lnTo>
                  <a:pt x="75" y="198"/>
                </a:lnTo>
                <a:lnTo>
                  <a:pt x="220" y="198"/>
                </a:lnTo>
                <a:lnTo>
                  <a:pt x="220" y="1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50" name="Freeform 9"/>
          <p:cNvSpPr>
            <a:spLocks/>
          </p:cNvSpPr>
          <p:nvPr/>
        </p:nvSpPr>
        <p:spPr bwMode="auto">
          <a:xfrm>
            <a:off x="6464301" y="1460500"/>
            <a:ext cx="328084" cy="389467"/>
          </a:xfrm>
          <a:custGeom>
            <a:avLst/>
            <a:gdLst>
              <a:gd name="T0" fmla="*/ 0 w 155"/>
              <a:gd name="T1" fmla="*/ 0 h 184"/>
              <a:gd name="T2" fmla="*/ 0 w 155"/>
              <a:gd name="T3" fmla="*/ 463708750 h 184"/>
              <a:gd name="T4" fmla="*/ 113408055 w 155"/>
              <a:gd name="T5" fmla="*/ 463708750 h 184"/>
              <a:gd name="T6" fmla="*/ 113408055 w 155"/>
              <a:gd name="T7" fmla="*/ 340221888 h 184"/>
              <a:gd name="T8" fmla="*/ 45362905 w 155"/>
              <a:gd name="T9" fmla="*/ 340221888 h 184"/>
              <a:gd name="T10" fmla="*/ 45362905 w 155"/>
              <a:gd name="T11" fmla="*/ 45362813 h 184"/>
              <a:gd name="T12" fmla="*/ 342741946 w 155"/>
              <a:gd name="T13" fmla="*/ 45362813 h 184"/>
              <a:gd name="T14" fmla="*/ 342741946 w 155"/>
              <a:gd name="T15" fmla="*/ 95765938 h 184"/>
              <a:gd name="T16" fmla="*/ 390625806 w 155"/>
              <a:gd name="T17" fmla="*/ 95765938 h 184"/>
              <a:gd name="T18" fmla="*/ 390625806 w 155"/>
              <a:gd name="T19" fmla="*/ 0 h 184"/>
              <a:gd name="T20" fmla="*/ 0 w 155"/>
              <a:gd name="T21" fmla="*/ 0 h 18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5" h="184">
                <a:moveTo>
                  <a:pt x="0" y="0"/>
                </a:moveTo>
                <a:lnTo>
                  <a:pt x="0" y="184"/>
                </a:lnTo>
                <a:lnTo>
                  <a:pt x="45" y="184"/>
                </a:lnTo>
                <a:lnTo>
                  <a:pt x="45" y="135"/>
                </a:lnTo>
                <a:lnTo>
                  <a:pt x="18" y="135"/>
                </a:lnTo>
                <a:lnTo>
                  <a:pt x="18" y="18"/>
                </a:lnTo>
                <a:lnTo>
                  <a:pt x="136" y="18"/>
                </a:lnTo>
                <a:lnTo>
                  <a:pt x="136" y="38"/>
                </a:lnTo>
                <a:lnTo>
                  <a:pt x="155" y="38"/>
                </a:lnTo>
                <a:lnTo>
                  <a:pt x="15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51" name="Freeform 10"/>
          <p:cNvSpPr>
            <a:spLocks noEditPoints="1"/>
          </p:cNvSpPr>
          <p:nvPr/>
        </p:nvSpPr>
        <p:spPr bwMode="auto">
          <a:xfrm>
            <a:off x="6599767" y="1576917"/>
            <a:ext cx="328084" cy="389467"/>
          </a:xfrm>
          <a:custGeom>
            <a:avLst/>
            <a:gdLst>
              <a:gd name="T0" fmla="*/ 0 w 155"/>
              <a:gd name="T1" fmla="*/ 0 h 184"/>
              <a:gd name="T2" fmla="*/ 0 w 155"/>
              <a:gd name="T3" fmla="*/ 463708750 h 184"/>
              <a:gd name="T4" fmla="*/ 390625806 w 155"/>
              <a:gd name="T5" fmla="*/ 463708750 h 184"/>
              <a:gd name="T6" fmla="*/ 390625806 w 155"/>
              <a:gd name="T7" fmla="*/ 0 h 184"/>
              <a:gd name="T8" fmla="*/ 0 w 155"/>
              <a:gd name="T9" fmla="*/ 0 h 184"/>
              <a:gd name="T10" fmla="*/ 345262902 w 155"/>
              <a:gd name="T11" fmla="*/ 342741250 h 184"/>
              <a:gd name="T12" fmla="*/ 45362905 w 155"/>
              <a:gd name="T13" fmla="*/ 342741250 h 184"/>
              <a:gd name="T14" fmla="*/ 45362905 w 155"/>
              <a:gd name="T15" fmla="*/ 45362813 h 184"/>
              <a:gd name="T16" fmla="*/ 345262902 w 155"/>
              <a:gd name="T17" fmla="*/ 45362813 h 184"/>
              <a:gd name="T18" fmla="*/ 345262902 w 155"/>
              <a:gd name="T19" fmla="*/ 342741250 h 18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55" h="184">
                <a:moveTo>
                  <a:pt x="0" y="0"/>
                </a:moveTo>
                <a:lnTo>
                  <a:pt x="0" y="184"/>
                </a:lnTo>
                <a:lnTo>
                  <a:pt x="155" y="184"/>
                </a:lnTo>
                <a:lnTo>
                  <a:pt x="155" y="0"/>
                </a:lnTo>
                <a:lnTo>
                  <a:pt x="0" y="0"/>
                </a:lnTo>
                <a:close/>
                <a:moveTo>
                  <a:pt x="137" y="136"/>
                </a:moveTo>
                <a:lnTo>
                  <a:pt x="18" y="136"/>
                </a:lnTo>
                <a:lnTo>
                  <a:pt x="18" y="18"/>
                </a:lnTo>
                <a:lnTo>
                  <a:pt x="137" y="18"/>
                </a:lnTo>
                <a:lnTo>
                  <a:pt x="137" y="1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52" name="Freeform 11"/>
          <p:cNvSpPr>
            <a:spLocks/>
          </p:cNvSpPr>
          <p:nvPr/>
        </p:nvSpPr>
        <p:spPr bwMode="auto">
          <a:xfrm>
            <a:off x="7264400" y="1439334"/>
            <a:ext cx="459317" cy="461433"/>
          </a:xfrm>
          <a:custGeom>
            <a:avLst/>
            <a:gdLst>
              <a:gd name="T0" fmla="*/ 775633870 w 153"/>
              <a:gd name="T1" fmla="*/ 388841275 h 153"/>
              <a:gd name="T2" fmla="*/ 390352187 w 153"/>
              <a:gd name="T3" fmla="*/ 0 h 153"/>
              <a:gd name="T4" fmla="*/ 0 w 153"/>
              <a:gd name="T5" fmla="*/ 388841275 h 153"/>
              <a:gd name="T6" fmla="*/ 390352187 w 153"/>
              <a:gd name="T7" fmla="*/ 782796769 h 153"/>
              <a:gd name="T8" fmla="*/ 390352187 w 153"/>
              <a:gd name="T9" fmla="*/ 388841275 h 153"/>
              <a:gd name="T10" fmla="*/ 775633870 w 153"/>
              <a:gd name="T11" fmla="*/ 388841275 h 15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3" h="153">
                <a:moveTo>
                  <a:pt x="153" y="76"/>
                </a:moveTo>
                <a:cubicBezTo>
                  <a:pt x="153" y="34"/>
                  <a:pt x="119" y="0"/>
                  <a:pt x="77" y="0"/>
                </a:cubicBezTo>
                <a:cubicBezTo>
                  <a:pt x="34" y="0"/>
                  <a:pt x="0" y="34"/>
                  <a:pt x="0" y="76"/>
                </a:cubicBezTo>
                <a:cubicBezTo>
                  <a:pt x="0" y="119"/>
                  <a:pt x="34" y="153"/>
                  <a:pt x="77" y="153"/>
                </a:cubicBezTo>
                <a:cubicBezTo>
                  <a:pt x="77" y="76"/>
                  <a:pt x="77" y="76"/>
                  <a:pt x="77" y="76"/>
                </a:cubicBezTo>
                <a:lnTo>
                  <a:pt x="153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53" name="Freeform 12"/>
          <p:cNvSpPr>
            <a:spLocks/>
          </p:cNvSpPr>
          <p:nvPr/>
        </p:nvSpPr>
        <p:spPr bwMode="auto">
          <a:xfrm>
            <a:off x="7556500" y="1733551"/>
            <a:ext cx="230717" cy="230716"/>
          </a:xfrm>
          <a:custGeom>
            <a:avLst/>
            <a:gdLst>
              <a:gd name="T0" fmla="*/ 388859084 w 77"/>
              <a:gd name="T1" fmla="*/ 0 h 76"/>
              <a:gd name="T2" fmla="*/ 0 w 77"/>
              <a:gd name="T3" fmla="*/ 393973374 h 76"/>
              <a:gd name="T4" fmla="*/ 0 w 77"/>
              <a:gd name="T5" fmla="*/ 0 h 76"/>
              <a:gd name="T6" fmla="*/ 388859084 w 77"/>
              <a:gd name="T7" fmla="*/ 0 h 7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7" h="76">
                <a:moveTo>
                  <a:pt x="77" y="0"/>
                </a:moveTo>
                <a:cubicBezTo>
                  <a:pt x="77" y="42"/>
                  <a:pt x="43" y="76"/>
                  <a:pt x="0" y="76"/>
                </a:cubicBezTo>
                <a:cubicBezTo>
                  <a:pt x="0" y="0"/>
                  <a:pt x="0" y="0"/>
                  <a:pt x="0" y="0"/>
                </a:cubicBezTo>
                <a:lnTo>
                  <a:pt x="7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54" name="Freeform 13"/>
          <p:cNvSpPr>
            <a:spLocks noEditPoints="1"/>
          </p:cNvSpPr>
          <p:nvPr/>
        </p:nvSpPr>
        <p:spPr bwMode="auto">
          <a:xfrm>
            <a:off x="8121651" y="1439333"/>
            <a:ext cx="493183" cy="467784"/>
          </a:xfrm>
          <a:custGeom>
            <a:avLst/>
            <a:gdLst>
              <a:gd name="T0" fmla="*/ 417124276 w 164"/>
              <a:gd name="T1" fmla="*/ 204932398 h 155"/>
              <a:gd name="T2" fmla="*/ 630772361 w 164"/>
              <a:gd name="T3" fmla="*/ 420111529 h 155"/>
              <a:gd name="T4" fmla="*/ 574817930 w 164"/>
              <a:gd name="T5" fmla="*/ 594303728 h 155"/>
              <a:gd name="T6" fmla="*/ 686729047 w 164"/>
              <a:gd name="T7" fmla="*/ 420111529 h 155"/>
              <a:gd name="T8" fmla="*/ 417124276 w 164"/>
              <a:gd name="T9" fmla="*/ 148576498 h 155"/>
              <a:gd name="T10" fmla="*/ 417124276 w 164"/>
              <a:gd name="T11" fmla="*/ 148576498 h 155"/>
              <a:gd name="T12" fmla="*/ 147519506 w 164"/>
              <a:gd name="T13" fmla="*/ 420111529 h 155"/>
              <a:gd name="T14" fmla="*/ 264518824 w 164"/>
              <a:gd name="T15" fmla="*/ 594303728 h 155"/>
              <a:gd name="T16" fmla="*/ 203476192 w 164"/>
              <a:gd name="T17" fmla="*/ 420111529 h 155"/>
              <a:gd name="T18" fmla="*/ 417124276 w 164"/>
              <a:gd name="T19" fmla="*/ 204932398 h 155"/>
              <a:gd name="T20" fmla="*/ 417124276 w 164"/>
              <a:gd name="T21" fmla="*/ 0 h 155"/>
              <a:gd name="T22" fmla="*/ 0 w 164"/>
              <a:gd name="T23" fmla="*/ 420111529 h 155"/>
              <a:gd name="T24" fmla="*/ 40694336 w 164"/>
              <a:gd name="T25" fmla="*/ 594303728 h 155"/>
              <a:gd name="T26" fmla="*/ 289953066 w 164"/>
              <a:gd name="T27" fmla="*/ 794111627 h 155"/>
              <a:gd name="T28" fmla="*/ 279778918 w 164"/>
              <a:gd name="T29" fmla="*/ 778742660 h 155"/>
              <a:gd name="T30" fmla="*/ 91562820 w 164"/>
              <a:gd name="T31" fmla="*/ 573810262 h 155"/>
              <a:gd name="T32" fmla="*/ 55956686 w 164"/>
              <a:gd name="T33" fmla="*/ 420111529 h 155"/>
              <a:gd name="T34" fmla="*/ 417124276 w 164"/>
              <a:gd name="T35" fmla="*/ 56355900 h 155"/>
              <a:gd name="T36" fmla="*/ 778291867 w 164"/>
              <a:gd name="T37" fmla="*/ 420111529 h 155"/>
              <a:gd name="T38" fmla="*/ 559557836 w 164"/>
              <a:gd name="T39" fmla="*/ 778742660 h 155"/>
              <a:gd name="T40" fmla="*/ 554469635 w 164"/>
              <a:gd name="T41" fmla="*/ 794111627 h 155"/>
              <a:gd name="T42" fmla="*/ 834248553 w 164"/>
              <a:gd name="T43" fmla="*/ 420111529 h 155"/>
              <a:gd name="T44" fmla="*/ 417124276 w 164"/>
              <a:gd name="T45" fmla="*/ 0 h 15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64" h="155">
                <a:moveTo>
                  <a:pt x="82" y="40"/>
                </a:moveTo>
                <a:cubicBezTo>
                  <a:pt x="105" y="40"/>
                  <a:pt x="124" y="59"/>
                  <a:pt x="124" y="82"/>
                </a:cubicBezTo>
                <a:cubicBezTo>
                  <a:pt x="124" y="95"/>
                  <a:pt x="119" y="106"/>
                  <a:pt x="113" y="116"/>
                </a:cubicBezTo>
                <a:cubicBezTo>
                  <a:pt x="123" y="111"/>
                  <a:pt x="135" y="100"/>
                  <a:pt x="135" y="82"/>
                </a:cubicBezTo>
                <a:cubicBezTo>
                  <a:pt x="135" y="53"/>
                  <a:pt x="112" y="29"/>
                  <a:pt x="82" y="29"/>
                </a:cubicBezTo>
                <a:cubicBezTo>
                  <a:pt x="82" y="29"/>
                  <a:pt x="82" y="29"/>
                  <a:pt x="82" y="29"/>
                </a:cubicBezTo>
                <a:cubicBezTo>
                  <a:pt x="53" y="29"/>
                  <a:pt x="29" y="53"/>
                  <a:pt x="29" y="82"/>
                </a:cubicBezTo>
                <a:cubicBezTo>
                  <a:pt x="29" y="100"/>
                  <a:pt x="41" y="111"/>
                  <a:pt x="52" y="116"/>
                </a:cubicBezTo>
                <a:cubicBezTo>
                  <a:pt x="45" y="106"/>
                  <a:pt x="40" y="95"/>
                  <a:pt x="40" y="82"/>
                </a:cubicBezTo>
                <a:cubicBezTo>
                  <a:pt x="40" y="59"/>
                  <a:pt x="59" y="40"/>
                  <a:pt x="82" y="40"/>
                </a:cubicBezTo>
                <a:close/>
                <a:moveTo>
                  <a:pt x="82" y="0"/>
                </a:moveTo>
                <a:cubicBezTo>
                  <a:pt x="37" y="0"/>
                  <a:pt x="0" y="37"/>
                  <a:pt x="0" y="82"/>
                </a:cubicBezTo>
                <a:cubicBezTo>
                  <a:pt x="0" y="94"/>
                  <a:pt x="3" y="106"/>
                  <a:pt x="8" y="116"/>
                </a:cubicBezTo>
                <a:cubicBezTo>
                  <a:pt x="17" y="137"/>
                  <a:pt x="35" y="150"/>
                  <a:pt x="57" y="155"/>
                </a:cubicBezTo>
                <a:cubicBezTo>
                  <a:pt x="55" y="152"/>
                  <a:pt x="55" y="152"/>
                  <a:pt x="55" y="152"/>
                </a:cubicBezTo>
                <a:cubicBezTo>
                  <a:pt x="39" y="144"/>
                  <a:pt x="25" y="128"/>
                  <a:pt x="18" y="112"/>
                </a:cubicBezTo>
                <a:cubicBezTo>
                  <a:pt x="14" y="103"/>
                  <a:pt x="11" y="93"/>
                  <a:pt x="11" y="82"/>
                </a:cubicBezTo>
                <a:cubicBezTo>
                  <a:pt x="11" y="43"/>
                  <a:pt x="43" y="12"/>
                  <a:pt x="82" y="11"/>
                </a:cubicBezTo>
                <a:cubicBezTo>
                  <a:pt x="121" y="12"/>
                  <a:pt x="153" y="43"/>
                  <a:pt x="153" y="82"/>
                </a:cubicBezTo>
                <a:cubicBezTo>
                  <a:pt x="153" y="111"/>
                  <a:pt x="135" y="140"/>
                  <a:pt x="110" y="152"/>
                </a:cubicBezTo>
                <a:cubicBezTo>
                  <a:pt x="109" y="155"/>
                  <a:pt x="109" y="155"/>
                  <a:pt x="109" y="155"/>
                </a:cubicBezTo>
                <a:cubicBezTo>
                  <a:pt x="141" y="146"/>
                  <a:pt x="164" y="118"/>
                  <a:pt x="164" y="82"/>
                </a:cubicBezTo>
                <a:cubicBezTo>
                  <a:pt x="164" y="37"/>
                  <a:pt x="127" y="0"/>
                  <a:pt x="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55" name="Freeform 14"/>
          <p:cNvSpPr>
            <a:spLocks/>
          </p:cNvSpPr>
          <p:nvPr/>
        </p:nvSpPr>
        <p:spPr bwMode="auto">
          <a:xfrm>
            <a:off x="8290985" y="1725085"/>
            <a:ext cx="156633" cy="239183"/>
          </a:xfrm>
          <a:custGeom>
            <a:avLst/>
            <a:gdLst>
              <a:gd name="T0" fmla="*/ 255185069 w 52"/>
              <a:gd name="T1" fmla="*/ 61874891 h 79"/>
              <a:gd name="T2" fmla="*/ 183733159 w 52"/>
              <a:gd name="T3" fmla="*/ 397028845 h 79"/>
              <a:gd name="T4" fmla="*/ 132697049 w 52"/>
              <a:gd name="T5" fmla="*/ 407340192 h 79"/>
              <a:gd name="T6" fmla="*/ 81658680 w 52"/>
              <a:gd name="T7" fmla="*/ 397028845 h 79"/>
              <a:gd name="T8" fmla="*/ 10206770 w 52"/>
              <a:gd name="T9" fmla="*/ 61874891 h 79"/>
              <a:gd name="T10" fmla="*/ 132697049 w 52"/>
              <a:gd name="T11" fmla="*/ 0 h 79"/>
              <a:gd name="T12" fmla="*/ 255185069 w 52"/>
              <a:gd name="T13" fmla="*/ 61874891 h 7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2" h="79">
                <a:moveTo>
                  <a:pt x="50" y="12"/>
                </a:moveTo>
                <a:cubicBezTo>
                  <a:pt x="52" y="41"/>
                  <a:pt x="36" y="77"/>
                  <a:pt x="36" y="77"/>
                </a:cubicBezTo>
                <a:cubicBezTo>
                  <a:pt x="36" y="77"/>
                  <a:pt x="32" y="79"/>
                  <a:pt x="26" y="79"/>
                </a:cubicBezTo>
                <a:cubicBezTo>
                  <a:pt x="20" y="79"/>
                  <a:pt x="16" y="77"/>
                  <a:pt x="16" y="77"/>
                </a:cubicBezTo>
                <a:cubicBezTo>
                  <a:pt x="16" y="77"/>
                  <a:pt x="0" y="41"/>
                  <a:pt x="2" y="12"/>
                </a:cubicBezTo>
                <a:cubicBezTo>
                  <a:pt x="2" y="12"/>
                  <a:pt x="6" y="0"/>
                  <a:pt x="26" y="0"/>
                </a:cubicBezTo>
                <a:cubicBezTo>
                  <a:pt x="46" y="0"/>
                  <a:pt x="50" y="12"/>
                  <a:pt x="50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56" name="Oval 15"/>
          <p:cNvSpPr>
            <a:spLocks noChangeArrowheads="1"/>
          </p:cNvSpPr>
          <p:nvPr/>
        </p:nvSpPr>
        <p:spPr bwMode="auto">
          <a:xfrm>
            <a:off x="8314267" y="1598084"/>
            <a:ext cx="107951" cy="1100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357" name="Freeform 16"/>
          <p:cNvSpPr>
            <a:spLocks noEditPoints="1"/>
          </p:cNvSpPr>
          <p:nvPr/>
        </p:nvSpPr>
        <p:spPr bwMode="auto">
          <a:xfrm>
            <a:off x="8985251" y="1481667"/>
            <a:ext cx="524933" cy="488951"/>
          </a:xfrm>
          <a:custGeom>
            <a:avLst/>
            <a:gdLst>
              <a:gd name="T0" fmla="*/ 849846703 w 174"/>
              <a:gd name="T1" fmla="*/ 148600257 h 162"/>
              <a:gd name="T2" fmla="*/ 711617275 w 174"/>
              <a:gd name="T3" fmla="*/ 148600257 h 162"/>
              <a:gd name="T4" fmla="*/ 711617275 w 174"/>
              <a:gd name="T5" fmla="*/ 0 h 162"/>
              <a:gd name="T6" fmla="*/ 179185541 w 174"/>
              <a:gd name="T7" fmla="*/ 0 h 162"/>
              <a:gd name="T8" fmla="*/ 179185541 w 174"/>
              <a:gd name="T9" fmla="*/ 148600257 h 162"/>
              <a:gd name="T10" fmla="*/ 40956113 w 174"/>
              <a:gd name="T11" fmla="*/ 148600257 h 162"/>
              <a:gd name="T12" fmla="*/ 0 w 174"/>
              <a:gd name="T13" fmla="*/ 194717812 h 162"/>
              <a:gd name="T14" fmla="*/ 0 w 174"/>
              <a:gd name="T15" fmla="*/ 563658254 h 162"/>
              <a:gd name="T16" fmla="*/ 179185541 w 174"/>
              <a:gd name="T17" fmla="*/ 563658254 h 162"/>
              <a:gd name="T18" fmla="*/ 179185541 w 174"/>
              <a:gd name="T19" fmla="*/ 630270991 h 162"/>
              <a:gd name="T20" fmla="*/ 383966107 w 174"/>
              <a:gd name="T21" fmla="*/ 830113731 h 162"/>
              <a:gd name="T22" fmla="*/ 711617275 w 174"/>
              <a:gd name="T23" fmla="*/ 830113731 h 162"/>
              <a:gd name="T24" fmla="*/ 711617275 w 174"/>
              <a:gd name="T25" fmla="*/ 568780918 h 162"/>
              <a:gd name="T26" fmla="*/ 890802816 w 174"/>
              <a:gd name="T27" fmla="*/ 568780918 h 162"/>
              <a:gd name="T28" fmla="*/ 890802816 w 174"/>
              <a:gd name="T29" fmla="*/ 194717812 h 162"/>
              <a:gd name="T30" fmla="*/ 849846703 w 174"/>
              <a:gd name="T31" fmla="*/ 148600257 h 162"/>
              <a:gd name="T32" fmla="*/ 230380117 w 174"/>
              <a:gd name="T33" fmla="*/ 51242483 h 162"/>
              <a:gd name="T34" fmla="*/ 660422699 w 174"/>
              <a:gd name="T35" fmla="*/ 51242483 h 162"/>
              <a:gd name="T36" fmla="*/ 660422699 w 174"/>
              <a:gd name="T37" fmla="*/ 148600257 h 162"/>
              <a:gd name="T38" fmla="*/ 230380117 w 174"/>
              <a:gd name="T39" fmla="*/ 148600257 h 162"/>
              <a:gd name="T40" fmla="*/ 230380117 w 174"/>
              <a:gd name="T41" fmla="*/ 51242483 h 162"/>
              <a:gd name="T42" fmla="*/ 762814114 w 174"/>
              <a:gd name="T43" fmla="*/ 497043253 h 162"/>
              <a:gd name="T44" fmla="*/ 711617275 w 174"/>
              <a:gd name="T45" fmla="*/ 497043253 h 162"/>
              <a:gd name="T46" fmla="*/ 711617275 w 174"/>
              <a:gd name="T47" fmla="*/ 394560551 h 162"/>
              <a:gd name="T48" fmla="*/ 660422699 w 174"/>
              <a:gd name="T49" fmla="*/ 394560551 h 162"/>
              <a:gd name="T50" fmla="*/ 660422699 w 174"/>
              <a:gd name="T51" fmla="*/ 778871248 h 162"/>
              <a:gd name="T52" fmla="*/ 450521771 w 174"/>
              <a:gd name="T53" fmla="*/ 778871248 h 162"/>
              <a:gd name="T54" fmla="*/ 409563395 w 174"/>
              <a:gd name="T55" fmla="*/ 599525954 h 162"/>
              <a:gd name="T56" fmla="*/ 230380117 w 174"/>
              <a:gd name="T57" fmla="*/ 558533327 h 162"/>
              <a:gd name="T58" fmla="*/ 230380117 w 174"/>
              <a:gd name="T59" fmla="*/ 394560551 h 162"/>
              <a:gd name="T60" fmla="*/ 179185541 w 174"/>
              <a:gd name="T61" fmla="*/ 394560551 h 162"/>
              <a:gd name="T62" fmla="*/ 179185541 w 174"/>
              <a:gd name="T63" fmla="*/ 491918326 h 162"/>
              <a:gd name="T64" fmla="*/ 127988702 w 174"/>
              <a:gd name="T65" fmla="*/ 491918326 h 162"/>
              <a:gd name="T66" fmla="*/ 127988702 w 174"/>
              <a:gd name="T67" fmla="*/ 322822887 h 162"/>
              <a:gd name="T68" fmla="*/ 762814114 w 174"/>
              <a:gd name="T69" fmla="*/ 322822887 h 162"/>
              <a:gd name="T70" fmla="*/ 762814114 w 174"/>
              <a:gd name="T71" fmla="*/ 497043253 h 162"/>
              <a:gd name="T72" fmla="*/ 798649864 w 174"/>
              <a:gd name="T73" fmla="*/ 256207886 h 162"/>
              <a:gd name="T74" fmla="*/ 762814114 w 174"/>
              <a:gd name="T75" fmla="*/ 225462849 h 162"/>
              <a:gd name="T76" fmla="*/ 798649864 w 174"/>
              <a:gd name="T77" fmla="*/ 189592885 h 162"/>
              <a:gd name="T78" fmla="*/ 834487878 w 174"/>
              <a:gd name="T79" fmla="*/ 225462849 h 162"/>
              <a:gd name="T80" fmla="*/ 798649864 w 174"/>
              <a:gd name="T81" fmla="*/ 256207886 h 162"/>
              <a:gd name="T82" fmla="*/ 598987398 w 174"/>
              <a:gd name="T83" fmla="*/ 399685479 h 162"/>
              <a:gd name="T84" fmla="*/ 302053880 w 174"/>
              <a:gd name="T85" fmla="*/ 399685479 h 162"/>
              <a:gd name="T86" fmla="*/ 302053880 w 174"/>
              <a:gd name="T87" fmla="*/ 450925698 h 162"/>
              <a:gd name="T88" fmla="*/ 598987398 w 174"/>
              <a:gd name="T89" fmla="*/ 450925698 h 162"/>
              <a:gd name="T90" fmla="*/ 598987398 w 174"/>
              <a:gd name="T91" fmla="*/ 399685479 h 162"/>
              <a:gd name="T92" fmla="*/ 302053880 w 174"/>
              <a:gd name="T93" fmla="*/ 553408399 h 162"/>
              <a:gd name="T94" fmla="*/ 598987398 w 174"/>
              <a:gd name="T95" fmla="*/ 553408399 h 162"/>
              <a:gd name="T96" fmla="*/ 598987398 w 174"/>
              <a:gd name="T97" fmla="*/ 502168180 h 162"/>
              <a:gd name="T98" fmla="*/ 302053880 w 174"/>
              <a:gd name="T99" fmla="*/ 502168180 h 162"/>
              <a:gd name="T100" fmla="*/ 302053880 w 174"/>
              <a:gd name="T101" fmla="*/ 553408399 h 16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74" h="162">
                <a:moveTo>
                  <a:pt x="166" y="29"/>
                </a:moveTo>
                <a:cubicBezTo>
                  <a:pt x="139" y="29"/>
                  <a:pt x="139" y="29"/>
                  <a:pt x="139" y="29"/>
                </a:cubicBezTo>
                <a:cubicBezTo>
                  <a:pt x="139" y="0"/>
                  <a:pt x="139" y="0"/>
                  <a:pt x="139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5" y="29"/>
                  <a:pt x="35" y="29"/>
                  <a:pt x="35" y="29"/>
                </a:cubicBezTo>
                <a:cubicBezTo>
                  <a:pt x="8" y="29"/>
                  <a:pt x="8" y="29"/>
                  <a:pt x="8" y="29"/>
                </a:cubicBezTo>
                <a:cubicBezTo>
                  <a:pt x="3" y="29"/>
                  <a:pt x="0" y="33"/>
                  <a:pt x="0" y="38"/>
                </a:cubicBezTo>
                <a:cubicBezTo>
                  <a:pt x="0" y="110"/>
                  <a:pt x="0" y="110"/>
                  <a:pt x="0" y="110"/>
                </a:cubicBezTo>
                <a:cubicBezTo>
                  <a:pt x="35" y="110"/>
                  <a:pt x="35" y="110"/>
                  <a:pt x="35" y="110"/>
                </a:cubicBezTo>
                <a:cubicBezTo>
                  <a:pt x="35" y="123"/>
                  <a:pt x="35" y="123"/>
                  <a:pt x="35" y="123"/>
                </a:cubicBezTo>
                <a:cubicBezTo>
                  <a:pt x="75" y="162"/>
                  <a:pt x="75" y="162"/>
                  <a:pt x="75" y="162"/>
                </a:cubicBezTo>
                <a:cubicBezTo>
                  <a:pt x="139" y="162"/>
                  <a:pt x="139" y="162"/>
                  <a:pt x="139" y="162"/>
                </a:cubicBezTo>
                <a:cubicBezTo>
                  <a:pt x="139" y="111"/>
                  <a:pt x="139" y="111"/>
                  <a:pt x="139" y="111"/>
                </a:cubicBezTo>
                <a:cubicBezTo>
                  <a:pt x="174" y="111"/>
                  <a:pt x="174" y="111"/>
                  <a:pt x="174" y="111"/>
                </a:cubicBezTo>
                <a:cubicBezTo>
                  <a:pt x="174" y="38"/>
                  <a:pt x="174" y="38"/>
                  <a:pt x="174" y="38"/>
                </a:cubicBezTo>
                <a:cubicBezTo>
                  <a:pt x="174" y="33"/>
                  <a:pt x="171" y="29"/>
                  <a:pt x="166" y="29"/>
                </a:cubicBezTo>
                <a:close/>
                <a:moveTo>
                  <a:pt x="45" y="10"/>
                </a:moveTo>
                <a:cubicBezTo>
                  <a:pt x="129" y="10"/>
                  <a:pt x="129" y="10"/>
                  <a:pt x="129" y="10"/>
                </a:cubicBezTo>
                <a:cubicBezTo>
                  <a:pt x="129" y="29"/>
                  <a:pt x="129" y="29"/>
                  <a:pt x="129" y="29"/>
                </a:cubicBezTo>
                <a:cubicBezTo>
                  <a:pt x="45" y="29"/>
                  <a:pt x="45" y="29"/>
                  <a:pt x="45" y="29"/>
                </a:cubicBezTo>
                <a:lnTo>
                  <a:pt x="45" y="10"/>
                </a:lnTo>
                <a:close/>
                <a:moveTo>
                  <a:pt x="149" y="97"/>
                </a:moveTo>
                <a:cubicBezTo>
                  <a:pt x="139" y="97"/>
                  <a:pt x="139" y="97"/>
                  <a:pt x="139" y="97"/>
                </a:cubicBezTo>
                <a:cubicBezTo>
                  <a:pt x="139" y="77"/>
                  <a:pt x="139" y="77"/>
                  <a:pt x="139" y="77"/>
                </a:cubicBezTo>
                <a:cubicBezTo>
                  <a:pt x="129" y="77"/>
                  <a:pt x="129" y="77"/>
                  <a:pt x="129" y="77"/>
                </a:cubicBezTo>
                <a:cubicBezTo>
                  <a:pt x="129" y="152"/>
                  <a:pt x="129" y="152"/>
                  <a:pt x="129" y="152"/>
                </a:cubicBezTo>
                <a:cubicBezTo>
                  <a:pt x="88" y="152"/>
                  <a:pt x="88" y="152"/>
                  <a:pt x="88" y="152"/>
                </a:cubicBezTo>
                <a:cubicBezTo>
                  <a:pt x="73" y="152"/>
                  <a:pt x="80" y="117"/>
                  <a:pt x="80" y="117"/>
                </a:cubicBezTo>
                <a:cubicBezTo>
                  <a:pt x="80" y="117"/>
                  <a:pt x="46" y="125"/>
                  <a:pt x="45" y="109"/>
                </a:cubicBezTo>
                <a:cubicBezTo>
                  <a:pt x="45" y="77"/>
                  <a:pt x="45" y="77"/>
                  <a:pt x="45" y="77"/>
                </a:cubicBezTo>
                <a:cubicBezTo>
                  <a:pt x="35" y="77"/>
                  <a:pt x="35" y="77"/>
                  <a:pt x="35" y="77"/>
                </a:cubicBezTo>
                <a:cubicBezTo>
                  <a:pt x="35" y="96"/>
                  <a:pt x="35" y="96"/>
                  <a:pt x="35" y="96"/>
                </a:cubicBezTo>
                <a:cubicBezTo>
                  <a:pt x="25" y="96"/>
                  <a:pt x="25" y="96"/>
                  <a:pt x="25" y="96"/>
                </a:cubicBezTo>
                <a:cubicBezTo>
                  <a:pt x="25" y="63"/>
                  <a:pt x="25" y="63"/>
                  <a:pt x="25" y="63"/>
                </a:cubicBezTo>
                <a:cubicBezTo>
                  <a:pt x="149" y="63"/>
                  <a:pt x="149" y="63"/>
                  <a:pt x="149" y="63"/>
                </a:cubicBezTo>
                <a:lnTo>
                  <a:pt x="149" y="97"/>
                </a:lnTo>
                <a:close/>
                <a:moveTo>
                  <a:pt x="156" y="50"/>
                </a:moveTo>
                <a:cubicBezTo>
                  <a:pt x="152" y="50"/>
                  <a:pt x="149" y="47"/>
                  <a:pt x="149" y="44"/>
                </a:cubicBezTo>
                <a:cubicBezTo>
                  <a:pt x="149" y="40"/>
                  <a:pt x="152" y="37"/>
                  <a:pt x="156" y="37"/>
                </a:cubicBezTo>
                <a:cubicBezTo>
                  <a:pt x="160" y="37"/>
                  <a:pt x="163" y="40"/>
                  <a:pt x="163" y="44"/>
                </a:cubicBezTo>
                <a:cubicBezTo>
                  <a:pt x="163" y="47"/>
                  <a:pt x="160" y="50"/>
                  <a:pt x="156" y="50"/>
                </a:cubicBezTo>
                <a:close/>
                <a:moveTo>
                  <a:pt x="117" y="78"/>
                </a:moveTo>
                <a:cubicBezTo>
                  <a:pt x="59" y="78"/>
                  <a:pt x="59" y="78"/>
                  <a:pt x="59" y="78"/>
                </a:cubicBezTo>
                <a:cubicBezTo>
                  <a:pt x="59" y="88"/>
                  <a:pt x="59" y="88"/>
                  <a:pt x="59" y="88"/>
                </a:cubicBezTo>
                <a:cubicBezTo>
                  <a:pt x="117" y="88"/>
                  <a:pt x="117" y="88"/>
                  <a:pt x="117" y="88"/>
                </a:cubicBezTo>
                <a:lnTo>
                  <a:pt x="117" y="78"/>
                </a:lnTo>
                <a:close/>
                <a:moveTo>
                  <a:pt x="59" y="108"/>
                </a:moveTo>
                <a:cubicBezTo>
                  <a:pt x="117" y="108"/>
                  <a:pt x="117" y="108"/>
                  <a:pt x="117" y="108"/>
                </a:cubicBezTo>
                <a:cubicBezTo>
                  <a:pt x="117" y="98"/>
                  <a:pt x="117" y="98"/>
                  <a:pt x="117" y="98"/>
                </a:cubicBezTo>
                <a:cubicBezTo>
                  <a:pt x="59" y="98"/>
                  <a:pt x="59" y="98"/>
                  <a:pt x="59" y="98"/>
                </a:cubicBezTo>
                <a:lnTo>
                  <a:pt x="59" y="1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58" name="Freeform 17"/>
          <p:cNvSpPr>
            <a:spLocks/>
          </p:cNvSpPr>
          <p:nvPr/>
        </p:nvSpPr>
        <p:spPr bwMode="auto">
          <a:xfrm>
            <a:off x="10096501" y="1703918"/>
            <a:ext cx="57151" cy="213783"/>
          </a:xfrm>
          <a:custGeom>
            <a:avLst/>
            <a:gdLst>
              <a:gd name="T0" fmla="*/ 45804755 w 19"/>
              <a:gd name="T1" fmla="*/ 10200595 h 71"/>
              <a:gd name="T2" fmla="*/ 45804755 w 19"/>
              <a:gd name="T3" fmla="*/ 10200595 h 71"/>
              <a:gd name="T4" fmla="*/ 0 w 19"/>
              <a:gd name="T5" fmla="*/ 0 h 71"/>
              <a:gd name="T6" fmla="*/ 0 w 19"/>
              <a:gd name="T7" fmla="*/ 362086111 h 71"/>
              <a:gd name="T8" fmla="*/ 96696672 w 19"/>
              <a:gd name="T9" fmla="*/ 362086111 h 71"/>
              <a:gd name="T10" fmla="*/ 96696672 w 19"/>
              <a:gd name="T11" fmla="*/ 0 h 71"/>
              <a:gd name="T12" fmla="*/ 45804755 w 19"/>
              <a:gd name="T13" fmla="*/ 10200595 h 7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" h="71">
                <a:moveTo>
                  <a:pt x="9" y="2"/>
                </a:moveTo>
                <a:cubicBezTo>
                  <a:pt x="9" y="2"/>
                  <a:pt x="9" y="2"/>
                  <a:pt x="9" y="2"/>
                </a:cubicBezTo>
                <a:cubicBezTo>
                  <a:pt x="6" y="2"/>
                  <a:pt x="3" y="1"/>
                  <a:pt x="0" y="0"/>
                </a:cubicBezTo>
                <a:cubicBezTo>
                  <a:pt x="0" y="71"/>
                  <a:pt x="0" y="71"/>
                  <a:pt x="0" y="71"/>
                </a:cubicBezTo>
                <a:cubicBezTo>
                  <a:pt x="19" y="71"/>
                  <a:pt x="19" y="71"/>
                  <a:pt x="19" y="71"/>
                </a:cubicBezTo>
                <a:cubicBezTo>
                  <a:pt x="19" y="0"/>
                  <a:pt x="19" y="0"/>
                  <a:pt x="19" y="0"/>
                </a:cubicBezTo>
                <a:cubicBezTo>
                  <a:pt x="16" y="1"/>
                  <a:pt x="12" y="2"/>
                  <a:pt x="9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59" name="Freeform 18"/>
          <p:cNvSpPr>
            <a:spLocks/>
          </p:cNvSpPr>
          <p:nvPr/>
        </p:nvSpPr>
        <p:spPr bwMode="auto">
          <a:xfrm>
            <a:off x="10056284" y="1545168"/>
            <a:ext cx="135467" cy="131233"/>
          </a:xfrm>
          <a:custGeom>
            <a:avLst/>
            <a:gdLst>
              <a:gd name="T0" fmla="*/ 35681920 w 45"/>
              <a:gd name="T1" fmla="*/ 30024099 h 44"/>
              <a:gd name="T2" fmla="*/ 0 w 45"/>
              <a:gd name="T3" fmla="*/ 110086126 h 44"/>
              <a:gd name="T4" fmla="*/ 0 w 45"/>
              <a:gd name="T5" fmla="*/ 110086126 h 44"/>
              <a:gd name="T6" fmla="*/ 35681920 w 45"/>
              <a:gd name="T7" fmla="*/ 190145915 h 44"/>
              <a:gd name="T8" fmla="*/ 35681920 w 45"/>
              <a:gd name="T9" fmla="*/ 190145915 h 44"/>
              <a:gd name="T10" fmla="*/ 112146080 w 45"/>
              <a:gd name="T11" fmla="*/ 220170014 h 44"/>
              <a:gd name="T12" fmla="*/ 112146080 w 45"/>
              <a:gd name="T13" fmla="*/ 220170014 h 44"/>
              <a:gd name="T14" fmla="*/ 193708302 w 45"/>
              <a:gd name="T15" fmla="*/ 190145915 h 44"/>
              <a:gd name="T16" fmla="*/ 193708302 w 45"/>
              <a:gd name="T17" fmla="*/ 190145915 h 44"/>
              <a:gd name="T18" fmla="*/ 229390222 w 45"/>
              <a:gd name="T19" fmla="*/ 110086126 h 44"/>
              <a:gd name="T20" fmla="*/ 229390222 w 45"/>
              <a:gd name="T21" fmla="*/ 110086126 h 44"/>
              <a:gd name="T22" fmla="*/ 193708302 w 45"/>
              <a:gd name="T23" fmla="*/ 30024099 h 44"/>
              <a:gd name="T24" fmla="*/ 193708302 w 45"/>
              <a:gd name="T25" fmla="*/ 30024099 h 44"/>
              <a:gd name="T26" fmla="*/ 112146080 w 45"/>
              <a:gd name="T27" fmla="*/ 0 h 44"/>
              <a:gd name="T28" fmla="*/ 112146080 w 45"/>
              <a:gd name="T29" fmla="*/ 0 h 44"/>
              <a:gd name="T30" fmla="*/ 35681920 w 45"/>
              <a:gd name="T31" fmla="*/ 30024099 h 4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45" h="44">
                <a:moveTo>
                  <a:pt x="7" y="6"/>
                </a:moveTo>
                <a:cubicBezTo>
                  <a:pt x="2" y="10"/>
                  <a:pt x="0" y="16"/>
                  <a:pt x="0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28"/>
                  <a:pt x="2" y="33"/>
                  <a:pt x="7" y="38"/>
                </a:cubicBezTo>
                <a:cubicBezTo>
                  <a:pt x="7" y="38"/>
                  <a:pt x="7" y="38"/>
                  <a:pt x="7" y="38"/>
                </a:cubicBezTo>
                <a:cubicBezTo>
                  <a:pt x="11" y="42"/>
                  <a:pt x="17" y="44"/>
                  <a:pt x="22" y="44"/>
                </a:cubicBezTo>
                <a:cubicBezTo>
                  <a:pt x="22" y="44"/>
                  <a:pt x="22" y="44"/>
                  <a:pt x="22" y="44"/>
                </a:cubicBezTo>
                <a:cubicBezTo>
                  <a:pt x="28" y="44"/>
                  <a:pt x="34" y="42"/>
                  <a:pt x="38" y="38"/>
                </a:cubicBezTo>
                <a:cubicBezTo>
                  <a:pt x="38" y="38"/>
                  <a:pt x="38" y="38"/>
                  <a:pt x="38" y="38"/>
                </a:cubicBezTo>
                <a:cubicBezTo>
                  <a:pt x="42" y="33"/>
                  <a:pt x="45" y="28"/>
                  <a:pt x="45" y="22"/>
                </a:cubicBezTo>
                <a:cubicBezTo>
                  <a:pt x="45" y="22"/>
                  <a:pt x="45" y="22"/>
                  <a:pt x="45" y="22"/>
                </a:cubicBezTo>
                <a:cubicBezTo>
                  <a:pt x="45" y="16"/>
                  <a:pt x="42" y="10"/>
                  <a:pt x="38" y="6"/>
                </a:cubicBezTo>
                <a:cubicBezTo>
                  <a:pt x="38" y="6"/>
                  <a:pt x="38" y="6"/>
                  <a:pt x="38" y="6"/>
                </a:cubicBezTo>
                <a:cubicBezTo>
                  <a:pt x="34" y="2"/>
                  <a:pt x="28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7" y="0"/>
                  <a:pt x="11" y="2"/>
                  <a:pt x="7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0" name="Freeform 19"/>
          <p:cNvSpPr>
            <a:spLocks/>
          </p:cNvSpPr>
          <p:nvPr/>
        </p:nvSpPr>
        <p:spPr bwMode="auto">
          <a:xfrm>
            <a:off x="9941985" y="1526118"/>
            <a:ext cx="71967" cy="162983"/>
          </a:xfrm>
          <a:custGeom>
            <a:avLst/>
            <a:gdLst>
              <a:gd name="T0" fmla="*/ 55636980 w 24"/>
              <a:gd name="T1" fmla="*/ 266456287 h 54"/>
              <a:gd name="T2" fmla="*/ 0 w 24"/>
              <a:gd name="T3" fmla="*/ 138351911 h 54"/>
              <a:gd name="T4" fmla="*/ 0 w 24"/>
              <a:gd name="T5" fmla="*/ 138351911 h 54"/>
              <a:gd name="T6" fmla="*/ 55636980 w 24"/>
              <a:gd name="T7" fmla="*/ 15372435 h 54"/>
              <a:gd name="T8" fmla="*/ 55636980 w 24"/>
              <a:gd name="T9" fmla="*/ 15372435 h 54"/>
              <a:gd name="T10" fmla="*/ 106213804 w 24"/>
              <a:gd name="T11" fmla="*/ 15372435 h 54"/>
              <a:gd name="T12" fmla="*/ 106213804 w 24"/>
              <a:gd name="T13" fmla="*/ 15372435 h 54"/>
              <a:gd name="T14" fmla="*/ 106213804 w 24"/>
              <a:gd name="T15" fmla="*/ 71737273 h 54"/>
              <a:gd name="T16" fmla="*/ 106213804 w 24"/>
              <a:gd name="T17" fmla="*/ 71737273 h 54"/>
              <a:gd name="T18" fmla="*/ 75866360 w 24"/>
              <a:gd name="T19" fmla="*/ 138351911 h 54"/>
              <a:gd name="T20" fmla="*/ 75866360 w 24"/>
              <a:gd name="T21" fmla="*/ 138351911 h 54"/>
              <a:gd name="T22" fmla="*/ 106213804 w 24"/>
              <a:gd name="T23" fmla="*/ 210089185 h 54"/>
              <a:gd name="T24" fmla="*/ 106213804 w 24"/>
              <a:gd name="T25" fmla="*/ 210089185 h 54"/>
              <a:gd name="T26" fmla="*/ 106213804 w 24"/>
              <a:gd name="T27" fmla="*/ 210089185 h 54"/>
              <a:gd name="T28" fmla="*/ 106213804 w 24"/>
              <a:gd name="T29" fmla="*/ 266456287 h 54"/>
              <a:gd name="T30" fmla="*/ 106213804 w 24"/>
              <a:gd name="T31" fmla="*/ 266456287 h 54"/>
              <a:gd name="T32" fmla="*/ 80924268 w 24"/>
              <a:gd name="T33" fmla="*/ 276703822 h 54"/>
              <a:gd name="T34" fmla="*/ 80924268 w 24"/>
              <a:gd name="T35" fmla="*/ 276703822 h 54"/>
              <a:gd name="T36" fmla="*/ 55636980 w 24"/>
              <a:gd name="T37" fmla="*/ 266456287 h 5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4" h="54">
                <a:moveTo>
                  <a:pt x="11" y="52"/>
                </a:moveTo>
                <a:cubicBezTo>
                  <a:pt x="4" y="45"/>
                  <a:pt x="0" y="36"/>
                  <a:pt x="0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19"/>
                  <a:pt x="4" y="10"/>
                  <a:pt x="11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13" y="0"/>
                  <a:pt x="18" y="0"/>
                  <a:pt x="21" y="3"/>
                </a:cubicBezTo>
                <a:cubicBezTo>
                  <a:pt x="21" y="3"/>
                  <a:pt x="21" y="3"/>
                  <a:pt x="21" y="3"/>
                </a:cubicBezTo>
                <a:cubicBezTo>
                  <a:pt x="24" y="6"/>
                  <a:pt x="24" y="11"/>
                  <a:pt x="21" y="14"/>
                </a:cubicBezTo>
                <a:cubicBezTo>
                  <a:pt x="21" y="14"/>
                  <a:pt x="21" y="14"/>
                  <a:pt x="21" y="14"/>
                </a:cubicBezTo>
                <a:cubicBezTo>
                  <a:pt x="17" y="17"/>
                  <a:pt x="15" y="22"/>
                  <a:pt x="15" y="27"/>
                </a:cubicBezTo>
                <a:cubicBezTo>
                  <a:pt x="15" y="27"/>
                  <a:pt x="15" y="27"/>
                  <a:pt x="15" y="27"/>
                </a:cubicBezTo>
                <a:cubicBezTo>
                  <a:pt x="15" y="32"/>
                  <a:pt x="17" y="37"/>
                  <a:pt x="21" y="41"/>
                </a:cubicBezTo>
                <a:cubicBezTo>
                  <a:pt x="21" y="41"/>
                  <a:pt x="21" y="41"/>
                  <a:pt x="21" y="41"/>
                </a:cubicBezTo>
                <a:cubicBezTo>
                  <a:pt x="21" y="41"/>
                  <a:pt x="21" y="41"/>
                  <a:pt x="21" y="41"/>
                </a:cubicBezTo>
                <a:cubicBezTo>
                  <a:pt x="24" y="44"/>
                  <a:pt x="24" y="49"/>
                  <a:pt x="21" y="52"/>
                </a:cubicBezTo>
                <a:cubicBezTo>
                  <a:pt x="21" y="52"/>
                  <a:pt x="21" y="52"/>
                  <a:pt x="21" y="52"/>
                </a:cubicBezTo>
                <a:cubicBezTo>
                  <a:pt x="20" y="53"/>
                  <a:pt x="18" y="54"/>
                  <a:pt x="16" y="54"/>
                </a:cubicBezTo>
                <a:cubicBezTo>
                  <a:pt x="16" y="54"/>
                  <a:pt x="16" y="54"/>
                  <a:pt x="16" y="54"/>
                </a:cubicBezTo>
                <a:cubicBezTo>
                  <a:pt x="14" y="54"/>
                  <a:pt x="12" y="53"/>
                  <a:pt x="11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1" name="Freeform 20"/>
          <p:cNvSpPr>
            <a:spLocks/>
          </p:cNvSpPr>
          <p:nvPr/>
        </p:nvSpPr>
        <p:spPr bwMode="auto">
          <a:xfrm>
            <a:off x="10238318" y="1526118"/>
            <a:ext cx="71967" cy="162983"/>
          </a:xfrm>
          <a:custGeom>
            <a:avLst/>
            <a:gdLst>
              <a:gd name="T0" fmla="*/ 15173722 w 24"/>
              <a:gd name="T1" fmla="*/ 266456287 h 54"/>
              <a:gd name="T2" fmla="*/ 15173722 w 24"/>
              <a:gd name="T3" fmla="*/ 210089185 h 54"/>
              <a:gd name="T4" fmla="*/ 15173722 w 24"/>
              <a:gd name="T5" fmla="*/ 210089185 h 54"/>
              <a:gd name="T6" fmla="*/ 45521166 w 24"/>
              <a:gd name="T7" fmla="*/ 138351911 h 54"/>
              <a:gd name="T8" fmla="*/ 45521166 w 24"/>
              <a:gd name="T9" fmla="*/ 138351911 h 54"/>
              <a:gd name="T10" fmla="*/ 15173722 w 24"/>
              <a:gd name="T11" fmla="*/ 71737273 h 54"/>
              <a:gd name="T12" fmla="*/ 15173722 w 24"/>
              <a:gd name="T13" fmla="*/ 71737273 h 54"/>
              <a:gd name="T14" fmla="*/ 15173722 w 24"/>
              <a:gd name="T15" fmla="*/ 71737273 h 54"/>
              <a:gd name="T16" fmla="*/ 15173722 w 24"/>
              <a:gd name="T17" fmla="*/ 15372435 h 54"/>
              <a:gd name="T18" fmla="*/ 15173722 w 24"/>
              <a:gd name="T19" fmla="*/ 15372435 h 54"/>
              <a:gd name="T20" fmla="*/ 65750546 w 24"/>
              <a:gd name="T21" fmla="*/ 15372435 h 54"/>
              <a:gd name="T22" fmla="*/ 65750546 w 24"/>
              <a:gd name="T23" fmla="*/ 15372435 h 54"/>
              <a:gd name="T24" fmla="*/ 121387526 w 24"/>
              <a:gd name="T25" fmla="*/ 138351911 h 54"/>
              <a:gd name="T26" fmla="*/ 121387526 w 24"/>
              <a:gd name="T27" fmla="*/ 138351911 h 54"/>
              <a:gd name="T28" fmla="*/ 65750546 w 24"/>
              <a:gd name="T29" fmla="*/ 266456287 h 54"/>
              <a:gd name="T30" fmla="*/ 65750546 w 24"/>
              <a:gd name="T31" fmla="*/ 266456287 h 54"/>
              <a:gd name="T32" fmla="*/ 40463258 w 24"/>
              <a:gd name="T33" fmla="*/ 276703822 h 54"/>
              <a:gd name="T34" fmla="*/ 40463258 w 24"/>
              <a:gd name="T35" fmla="*/ 276703822 h 54"/>
              <a:gd name="T36" fmla="*/ 15173722 w 24"/>
              <a:gd name="T37" fmla="*/ 266456287 h 5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4" h="54">
                <a:moveTo>
                  <a:pt x="3" y="52"/>
                </a:moveTo>
                <a:cubicBezTo>
                  <a:pt x="0" y="49"/>
                  <a:pt x="0" y="44"/>
                  <a:pt x="3" y="41"/>
                </a:cubicBezTo>
                <a:cubicBezTo>
                  <a:pt x="3" y="41"/>
                  <a:pt x="3" y="41"/>
                  <a:pt x="3" y="41"/>
                </a:cubicBezTo>
                <a:cubicBezTo>
                  <a:pt x="7" y="37"/>
                  <a:pt x="9" y="32"/>
                  <a:pt x="9" y="27"/>
                </a:cubicBezTo>
                <a:cubicBezTo>
                  <a:pt x="9" y="27"/>
                  <a:pt x="9" y="27"/>
                  <a:pt x="9" y="27"/>
                </a:cubicBezTo>
                <a:cubicBezTo>
                  <a:pt x="9" y="22"/>
                  <a:pt x="7" y="17"/>
                  <a:pt x="3" y="14"/>
                </a:cubicBezTo>
                <a:cubicBezTo>
                  <a:pt x="3" y="14"/>
                  <a:pt x="3" y="14"/>
                  <a:pt x="3" y="14"/>
                </a:cubicBezTo>
                <a:cubicBezTo>
                  <a:pt x="3" y="14"/>
                  <a:pt x="3" y="14"/>
                  <a:pt x="3" y="14"/>
                </a:cubicBezTo>
                <a:cubicBezTo>
                  <a:pt x="0" y="11"/>
                  <a:pt x="0" y="6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6" y="0"/>
                  <a:pt x="11" y="0"/>
                  <a:pt x="13" y="3"/>
                </a:cubicBezTo>
                <a:cubicBezTo>
                  <a:pt x="13" y="3"/>
                  <a:pt x="13" y="3"/>
                  <a:pt x="13" y="3"/>
                </a:cubicBezTo>
                <a:cubicBezTo>
                  <a:pt x="20" y="10"/>
                  <a:pt x="24" y="19"/>
                  <a:pt x="24" y="27"/>
                </a:cubicBezTo>
                <a:cubicBezTo>
                  <a:pt x="24" y="27"/>
                  <a:pt x="24" y="27"/>
                  <a:pt x="24" y="27"/>
                </a:cubicBezTo>
                <a:cubicBezTo>
                  <a:pt x="24" y="36"/>
                  <a:pt x="20" y="45"/>
                  <a:pt x="13" y="52"/>
                </a:cubicBezTo>
                <a:cubicBezTo>
                  <a:pt x="13" y="52"/>
                  <a:pt x="13" y="52"/>
                  <a:pt x="13" y="52"/>
                </a:cubicBezTo>
                <a:cubicBezTo>
                  <a:pt x="12" y="53"/>
                  <a:pt x="10" y="54"/>
                  <a:pt x="8" y="54"/>
                </a:cubicBezTo>
                <a:cubicBezTo>
                  <a:pt x="8" y="54"/>
                  <a:pt x="8" y="54"/>
                  <a:pt x="8" y="54"/>
                </a:cubicBezTo>
                <a:cubicBezTo>
                  <a:pt x="6" y="54"/>
                  <a:pt x="4" y="53"/>
                  <a:pt x="3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2" name="Freeform 21"/>
          <p:cNvSpPr>
            <a:spLocks/>
          </p:cNvSpPr>
          <p:nvPr/>
        </p:nvSpPr>
        <p:spPr bwMode="auto">
          <a:xfrm>
            <a:off x="9853085" y="1481667"/>
            <a:ext cx="88900" cy="251884"/>
          </a:xfrm>
          <a:custGeom>
            <a:avLst/>
            <a:gdLst>
              <a:gd name="T0" fmla="*/ 79032100 w 30"/>
              <a:gd name="T1" fmla="*/ 414742749 h 84"/>
              <a:gd name="T2" fmla="*/ 0 w 30"/>
              <a:gd name="T3" fmla="*/ 212430420 h 84"/>
              <a:gd name="T4" fmla="*/ 0 w 30"/>
              <a:gd name="T5" fmla="*/ 212430420 h 84"/>
              <a:gd name="T6" fmla="*/ 79032100 w 30"/>
              <a:gd name="T7" fmla="*/ 15173762 h 84"/>
              <a:gd name="T8" fmla="*/ 79032100 w 30"/>
              <a:gd name="T9" fmla="*/ 15173762 h 84"/>
              <a:gd name="T10" fmla="*/ 133367780 w 30"/>
              <a:gd name="T11" fmla="*/ 15173762 h 84"/>
              <a:gd name="T12" fmla="*/ 133367780 w 30"/>
              <a:gd name="T13" fmla="*/ 15173762 h 84"/>
              <a:gd name="T14" fmla="*/ 133367780 w 30"/>
              <a:gd name="T15" fmla="*/ 70810890 h 84"/>
              <a:gd name="T16" fmla="*/ 133367780 w 30"/>
              <a:gd name="T17" fmla="*/ 70810890 h 84"/>
              <a:gd name="T18" fmla="*/ 74093705 w 30"/>
              <a:gd name="T19" fmla="*/ 212430420 h 84"/>
              <a:gd name="T20" fmla="*/ 74093705 w 30"/>
              <a:gd name="T21" fmla="*/ 212430420 h 84"/>
              <a:gd name="T22" fmla="*/ 133367780 w 30"/>
              <a:gd name="T23" fmla="*/ 359105621 h 84"/>
              <a:gd name="T24" fmla="*/ 133367780 w 30"/>
              <a:gd name="T25" fmla="*/ 359105621 h 84"/>
              <a:gd name="T26" fmla="*/ 133367780 w 30"/>
              <a:gd name="T27" fmla="*/ 359105621 h 84"/>
              <a:gd name="T28" fmla="*/ 133367780 w 30"/>
              <a:gd name="T29" fmla="*/ 414742749 h 84"/>
              <a:gd name="T30" fmla="*/ 133367780 w 30"/>
              <a:gd name="T31" fmla="*/ 414742749 h 84"/>
              <a:gd name="T32" fmla="*/ 108669138 w 30"/>
              <a:gd name="T33" fmla="*/ 424858590 h 84"/>
              <a:gd name="T34" fmla="*/ 108669138 w 30"/>
              <a:gd name="T35" fmla="*/ 424858590 h 84"/>
              <a:gd name="T36" fmla="*/ 79032100 w 30"/>
              <a:gd name="T37" fmla="*/ 414742749 h 8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0" h="84">
                <a:moveTo>
                  <a:pt x="16" y="82"/>
                </a:moveTo>
                <a:cubicBezTo>
                  <a:pt x="6" y="71"/>
                  <a:pt x="0" y="57"/>
                  <a:pt x="0" y="42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28"/>
                  <a:pt x="6" y="14"/>
                  <a:pt x="16" y="3"/>
                </a:cubicBezTo>
                <a:cubicBezTo>
                  <a:pt x="16" y="3"/>
                  <a:pt x="16" y="3"/>
                  <a:pt x="16" y="3"/>
                </a:cubicBezTo>
                <a:cubicBezTo>
                  <a:pt x="19" y="0"/>
                  <a:pt x="24" y="0"/>
                  <a:pt x="27" y="3"/>
                </a:cubicBezTo>
                <a:cubicBezTo>
                  <a:pt x="27" y="3"/>
                  <a:pt x="27" y="3"/>
                  <a:pt x="27" y="3"/>
                </a:cubicBezTo>
                <a:cubicBezTo>
                  <a:pt x="30" y="6"/>
                  <a:pt x="30" y="11"/>
                  <a:pt x="27" y="14"/>
                </a:cubicBezTo>
                <a:cubicBezTo>
                  <a:pt x="27" y="14"/>
                  <a:pt x="27" y="14"/>
                  <a:pt x="27" y="14"/>
                </a:cubicBezTo>
                <a:cubicBezTo>
                  <a:pt x="19" y="22"/>
                  <a:pt x="15" y="32"/>
                  <a:pt x="15" y="42"/>
                </a:cubicBezTo>
                <a:cubicBezTo>
                  <a:pt x="15" y="42"/>
                  <a:pt x="15" y="42"/>
                  <a:pt x="15" y="42"/>
                </a:cubicBezTo>
                <a:cubicBezTo>
                  <a:pt x="15" y="53"/>
                  <a:pt x="19" y="63"/>
                  <a:pt x="27" y="71"/>
                </a:cubicBezTo>
                <a:cubicBezTo>
                  <a:pt x="27" y="71"/>
                  <a:pt x="27" y="71"/>
                  <a:pt x="27" y="71"/>
                </a:cubicBezTo>
                <a:cubicBezTo>
                  <a:pt x="27" y="71"/>
                  <a:pt x="27" y="71"/>
                  <a:pt x="27" y="71"/>
                </a:cubicBezTo>
                <a:cubicBezTo>
                  <a:pt x="30" y="74"/>
                  <a:pt x="30" y="79"/>
                  <a:pt x="27" y="82"/>
                </a:cubicBezTo>
                <a:cubicBezTo>
                  <a:pt x="27" y="82"/>
                  <a:pt x="27" y="82"/>
                  <a:pt x="27" y="82"/>
                </a:cubicBezTo>
                <a:cubicBezTo>
                  <a:pt x="26" y="83"/>
                  <a:pt x="24" y="84"/>
                  <a:pt x="22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0" y="84"/>
                  <a:pt x="18" y="83"/>
                  <a:pt x="16" y="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3" name="Freeform 22"/>
          <p:cNvSpPr>
            <a:spLocks/>
          </p:cNvSpPr>
          <p:nvPr/>
        </p:nvSpPr>
        <p:spPr bwMode="auto">
          <a:xfrm>
            <a:off x="10310285" y="1481667"/>
            <a:ext cx="88900" cy="251884"/>
          </a:xfrm>
          <a:custGeom>
            <a:avLst/>
            <a:gdLst>
              <a:gd name="T0" fmla="*/ 14819630 w 30"/>
              <a:gd name="T1" fmla="*/ 414742749 h 84"/>
              <a:gd name="T2" fmla="*/ 14819630 w 30"/>
              <a:gd name="T3" fmla="*/ 359105621 h 84"/>
              <a:gd name="T4" fmla="*/ 14819630 w 30"/>
              <a:gd name="T5" fmla="*/ 359105621 h 84"/>
              <a:gd name="T6" fmla="*/ 74093705 w 30"/>
              <a:gd name="T7" fmla="*/ 212430420 h 84"/>
              <a:gd name="T8" fmla="*/ 74093705 w 30"/>
              <a:gd name="T9" fmla="*/ 212430420 h 84"/>
              <a:gd name="T10" fmla="*/ 14819630 w 30"/>
              <a:gd name="T11" fmla="*/ 70810890 h 84"/>
              <a:gd name="T12" fmla="*/ 14819630 w 30"/>
              <a:gd name="T13" fmla="*/ 70810890 h 84"/>
              <a:gd name="T14" fmla="*/ 14819630 w 30"/>
              <a:gd name="T15" fmla="*/ 70810890 h 84"/>
              <a:gd name="T16" fmla="*/ 14819630 w 30"/>
              <a:gd name="T17" fmla="*/ 15173762 h 84"/>
              <a:gd name="T18" fmla="*/ 14819630 w 30"/>
              <a:gd name="T19" fmla="*/ 15173762 h 84"/>
              <a:gd name="T20" fmla="*/ 69153088 w 30"/>
              <a:gd name="T21" fmla="*/ 15173762 h 84"/>
              <a:gd name="T22" fmla="*/ 69153088 w 30"/>
              <a:gd name="T23" fmla="*/ 15173762 h 84"/>
              <a:gd name="T24" fmla="*/ 148185188 w 30"/>
              <a:gd name="T25" fmla="*/ 212430420 h 84"/>
              <a:gd name="T26" fmla="*/ 148185188 w 30"/>
              <a:gd name="T27" fmla="*/ 212430420 h 84"/>
              <a:gd name="T28" fmla="*/ 69153088 w 30"/>
              <a:gd name="T29" fmla="*/ 414742749 h 84"/>
              <a:gd name="T30" fmla="*/ 69153088 w 30"/>
              <a:gd name="T31" fmla="*/ 414742749 h 84"/>
              <a:gd name="T32" fmla="*/ 39516050 w 30"/>
              <a:gd name="T33" fmla="*/ 424858590 h 84"/>
              <a:gd name="T34" fmla="*/ 39516050 w 30"/>
              <a:gd name="T35" fmla="*/ 424858590 h 84"/>
              <a:gd name="T36" fmla="*/ 14819630 w 30"/>
              <a:gd name="T37" fmla="*/ 414742749 h 8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0" h="84">
                <a:moveTo>
                  <a:pt x="3" y="82"/>
                </a:moveTo>
                <a:cubicBezTo>
                  <a:pt x="0" y="79"/>
                  <a:pt x="0" y="74"/>
                  <a:pt x="3" y="71"/>
                </a:cubicBezTo>
                <a:cubicBezTo>
                  <a:pt x="3" y="71"/>
                  <a:pt x="3" y="71"/>
                  <a:pt x="3" y="71"/>
                </a:cubicBezTo>
                <a:cubicBezTo>
                  <a:pt x="11" y="63"/>
                  <a:pt x="15" y="53"/>
                  <a:pt x="15" y="42"/>
                </a:cubicBezTo>
                <a:cubicBezTo>
                  <a:pt x="15" y="42"/>
                  <a:pt x="15" y="42"/>
                  <a:pt x="15" y="42"/>
                </a:cubicBezTo>
                <a:cubicBezTo>
                  <a:pt x="15" y="32"/>
                  <a:pt x="11" y="22"/>
                  <a:pt x="3" y="14"/>
                </a:cubicBezTo>
                <a:cubicBezTo>
                  <a:pt x="3" y="14"/>
                  <a:pt x="3" y="14"/>
                  <a:pt x="3" y="14"/>
                </a:cubicBezTo>
                <a:cubicBezTo>
                  <a:pt x="3" y="14"/>
                  <a:pt x="3" y="14"/>
                  <a:pt x="3" y="14"/>
                </a:cubicBezTo>
                <a:cubicBezTo>
                  <a:pt x="0" y="11"/>
                  <a:pt x="0" y="6"/>
                  <a:pt x="3" y="3"/>
                </a:cubicBezTo>
                <a:cubicBezTo>
                  <a:pt x="3" y="3"/>
                  <a:pt x="3" y="3"/>
                  <a:pt x="3" y="3"/>
                </a:cubicBezTo>
                <a:cubicBezTo>
                  <a:pt x="6" y="0"/>
                  <a:pt x="11" y="0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24" y="14"/>
                  <a:pt x="30" y="28"/>
                  <a:pt x="30" y="42"/>
                </a:cubicBezTo>
                <a:cubicBezTo>
                  <a:pt x="30" y="42"/>
                  <a:pt x="30" y="42"/>
                  <a:pt x="30" y="42"/>
                </a:cubicBezTo>
                <a:cubicBezTo>
                  <a:pt x="30" y="57"/>
                  <a:pt x="24" y="71"/>
                  <a:pt x="14" y="82"/>
                </a:cubicBezTo>
                <a:cubicBezTo>
                  <a:pt x="14" y="82"/>
                  <a:pt x="14" y="82"/>
                  <a:pt x="14" y="82"/>
                </a:cubicBezTo>
                <a:cubicBezTo>
                  <a:pt x="12" y="83"/>
                  <a:pt x="10" y="84"/>
                  <a:pt x="8" y="84"/>
                </a:cubicBezTo>
                <a:cubicBezTo>
                  <a:pt x="8" y="84"/>
                  <a:pt x="8" y="84"/>
                  <a:pt x="8" y="84"/>
                </a:cubicBezTo>
                <a:cubicBezTo>
                  <a:pt x="6" y="84"/>
                  <a:pt x="4" y="83"/>
                  <a:pt x="3" y="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4" name="Freeform 23"/>
          <p:cNvSpPr>
            <a:spLocks noEditPoints="1"/>
          </p:cNvSpPr>
          <p:nvPr/>
        </p:nvSpPr>
        <p:spPr bwMode="auto">
          <a:xfrm>
            <a:off x="10695517" y="1432984"/>
            <a:ext cx="548216" cy="533400"/>
          </a:xfrm>
          <a:custGeom>
            <a:avLst/>
            <a:gdLst>
              <a:gd name="T0" fmla="*/ 464434589 w 182"/>
              <a:gd name="T1" fmla="*/ 383128111 h 177"/>
              <a:gd name="T2" fmla="*/ 178629557 w 182"/>
              <a:gd name="T3" fmla="*/ 904180805 h 177"/>
              <a:gd name="T4" fmla="*/ 290910670 w 182"/>
              <a:gd name="T5" fmla="*/ 863314681 h 177"/>
              <a:gd name="T6" fmla="*/ 637960767 w 182"/>
              <a:gd name="T7" fmla="*/ 863314681 h 177"/>
              <a:gd name="T8" fmla="*/ 750241879 w 182"/>
              <a:gd name="T9" fmla="*/ 904180805 h 177"/>
              <a:gd name="T10" fmla="*/ 464434589 w 182"/>
              <a:gd name="T11" fmla="*/ 383128111 h 177"/>
              <a:gd name="T12" fmla="*/ 495057121 w 182"/>
              <a:gd name="T13" fmla="*/ 495510519 h 177"/>
              <a:gd name="T14" fmla="*/ 464434589 w 182"/>
              <a:gd name="T15" fmla="*/ 413778269 h 177"/>
              <a:gd name="T16" fmla="*/ 515472896 w 182"/>
              <a:gd name="T17" fmla="*/ 546594869 h 177"/>
              <a:gd name="T18" fmla="*/ 464434589 w 182"/>
              <a:gd name="T19" fmla="*/ 613003169 h 177"/>
              <a:gd name="T20" fmla="*/ 413398541 w 182"/>
              <a:gd name="T21" fmla="*/ 546594869 h 177"/>
              <a:gd name="T22" fmla="*/ 413398541 w 182"/>
              <a:gd name="T23" fmla="*/ 643653328 h 177"/>
              <a:gd name="T24" fmla="*/ 382776008 w 182"/>
              <a:gd name="T25" fmla="*/ 623221396 h 177"/>
              <a:gd name="T26" fmla="*/ 474643605 w 182"/>
              <a:gd name="T27" fmla="*/ 740714047 h 177"/>
              <a:gd name="T28" fmla="*/ 316429823 w 182"/>
              <a:gd name="T29" fmla="*/ 796904120 h 177"/>
              <a:gd name="T30" fmla="*/ 464434589 w 182"/>
              <a:gd name="T31" fmla="*/ 674303486 h 177"/>
              <a:gd name="T32" fmla="*/ 612441613 w 182"/>
              <a:gd name="T33" fmla="*/ 796904120 h 177"/>
              <a:gd name="T34" fmla="*/ 515472896 w 182"/>
              <a:gd name="T35" fmla="*/ 643653328 h 177"/>
              <a:gd name="T36" fmla="*/ 561405565 w 182"/>
              <a:gd name="T37" fmla="*/ 674303486 h 177"/>
              <a:gd name="T38" fmla="*/ 260288137 w 182"/>
              <a:gd name="T39" fmla="*/ 337151743 h 177"/>
              <a:gd name="T40" fmla="*/ 260288137 w 182"/>
              <a:gd name="T41" fmla="*/ 286067392 h 177"/>
              <a:gd name="T42" fmla="*/ 260288137 w 182"/>
              <a:gd name="T43" fmla="*/ 143034826 h 177"/>
              <a:gd name="T44" fmla="*/ 209252089 w 182"/>
              <a:gd name="T45" fmla="*/ 91950475 h 177"/>
              <a:gd name="T46" fmla="*/ 209252089 w 182"/>
              <a:gd name="T47" fmla="*/ 337151743 h 177"/>
              <a:gd name="T48" fmla="*/ 668583299 w 182"/>
              <a:gd name="T49" fmla="*/ 91950475 h 177"/>
              <a:gd name="T50" fmla="*/ 699205831 w 182"/>
              <a:gd name="T51" fmla="*/ 214551109 h 177"/>
              <a:gd name="T52" fmla="*/ 668583299 w 182"/>
              <a:gd name="T53" fmla="*/ 337151743 h 177"/>
              <a:gd name="T54" fmla="*/ 719619347 w 182"/>
              <a:gd name="T55" fmla="*/ 337151743 h 177"/>
              <a:gd name="T56" fmla="*/ 719619347 w 182"/>
              <a:gd name="T57" fmla="*/ 91950475 h 177"/>
              <a:gd name="T58" fmla="*/ 137800267 w 182"/>
              <a:gd name="T59" fmla="*/ 362693919 h 177"/>
              <a:gd name="T60" fmla="*/ 137800267 w 182"/>
              <a:gd name="T61" fmla="*/ 66408300 h 177"/>
              <a:gd name="T62" fmla="*/ 81658581 w 182"/>
              <a:gd name="T63" fmla="*/ 15326209 h 177"/>
              <a:gd name="T64" fmla="*/ 81658581 w 182"/>
              <a:gd name="T65" fmla="*/ 413778269 h 177"/>
              <a:gd name="T66" fmla="*/ 137800267 w 182"/>
              <a:gd name="T67" fmla="*/ 413778269 h 177"/>
              <a:gd name="T68" fmla="*/ 847212856 w 182"/>
              <a:gd name="T69" fmla="*/ 15326209 h 177"/>
              <a:gd name="T70" fmla="*/ 791071170 w 182"/>
              <a:gd name="T71" fmla="*/ 66408300 h 177"/>
              <a:gd name="T72" fmla="*/ 791071170 w 182"/>
              <a:gd name="T73" fmla="*/ 362693919 h 177"/>
              <a:gd name="T74" fmla="*/ 816590323 w 182"/>
              <a:gd name="T75" fmla="*/ 429102219 h 177"/>
              <a:gd name="T76" fmla="*/ 928871436 w 182"/>
              <a:gd name="T77" fmla="*/ 214551109 h 177"/>
              <a:gd name="T78" fmla="*/ 464434589 w 182"/>
              <a:gd name="T79" fmla="*/ 326935777 h 177"/>
              <a:gd name="T80" fmla="*/ 464434589 w 182"/>
              <a:gd name="T81" fmla="*/ 102166442 h 177"/>
              <a:gd name="T82" fmla="*/ 464434589 w 182"/>
              <a:gd name="T83" fmla="*/ 326935777 h 17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82" h="177">
                <a:moveTo>
                  <a:pt x="91" y="75"/>
                </a:moveTo>
                <a:cubicBezTo>
                  <a:pt x="91" y="75"/>
                  <a:pt x="91" y="75"/>
                  <a:pt x="91" y="75"/>
                </a:cubicBezTo>
                <a:cubicBezTo>
                  <a:pt x="86" y="75"/>
                  <a:pt x="80" y="74"/>
                  <a:pt x="75" y="72"/>
                </a:cubicBezTo>
                <a:cubicBezTo>
                  <a:pt x="35" y="177"/>
                  <a:pt x="35" y="177"/>
                  <a:pt x="35" y="177"/>
                </a:cubicBezTo>
                <a:cubicBezTo>
                  <a:pt x="54" y="177"/>
                  <a:pt x="54" y="177"/>
                  <a:pt x="54" y="177"/>
                </a:cubicBezTo>
                <a:cubicBezTo>
                  <a:pt x="57" y="169"/>
                  <a:pt x="57" y="169"/>
                  <a:pt x="57" y="169"/>
                </a:cubicBezTo>
                <a:cubicBezTo>
                  <a:pt x="91" y="155"/>
                  <a:pt x="91" y="155"/>
                  <a:pt x="91" y="155"/>
                </a:cubicBezTo>
                <a:cubicBezTo>
                  <a:pt x="125" y="169"/>
                  <a:pt x="125" y="169"/>
                  <a:pt x="125" y="169"/>
                </a:cubicBezTo>
                <a:cubicBezTo>
                  <a:pt x="128" y="177"/>
                  <a:pt x="128" y="177"/>
                  <a:pt x="128" y="177"/>
                </a:cubicBezTo>
                <a:cubicBezTo>
                  <a:pt x="147" y="177"/>
                  <a:pt x="147" y="177"/>
                  <a:pt x="147" y="177"/>
                </a:cubicBezTo>
                <a:cubicBezTo>
                  <a:pt x="106" y="72"/>
                  <a:pt x="106" y="72"/>
                  <a:pt x="106" y="72"/>
                </a:cubicBezTo>
                <a:cubicBezTo>
                  <a:pt x="102" y="74"/>
                  <a:pt x="96" y="75"/>
                  <a:pt x="91" y="75"/>
                </a:cubicBezTo>
                <a:close/>
                <a:moveTo>
                  <a:pt x="91" y="81"/>
                </a:moveTo>
                <a:cubicBezTo>
                  <a:pt x="97" y="97"/>
                  <a:pt x="97" y="97"/>
                  <a:pt x="97" y="97"/>
                </a:cubicBezTo>
                <a:cubicBezTo>
                  <a:pt x="85" y="97"/>
                  <a:pt x="85" y="97"/>
                  <a:pt x="85" y="97"/>
                </a:cubicBezTo>
                <a:lnTo>
                  <a:pt x="91" y="81"/>
                </a:lnTo>
                <a:close/>
                <a:moveTo>
                  <a:pt x="81" y="107"/>
                </a:moveTo>
                <a:cubicBezTo>
                  <a:pt x="101" y="107"/>
                  <a:pt x="101" y="107"/>
                  <a:pt x="101" y="107"/>
                </a:cubicBezTo>
                <a:cubicBezTo>
                  <a:pt x="103" y="113"/>
                  <a:pt x="103" y="113"/>
                  <a:pt x="103" y="113"/>
                </a:cubicBezTo>
                <a:cubicBezTo>
                  <a:pt x="91" y="120"/>
                  <a:pt x="91" y="120"/>
                  <a:pt x="91" y="120"/>
                </a:cubicBezTo>
                <a:cubicBezTo>
                  <a:pt x="79" y="113"/>
                  <a:pt x="79" y="113"/>
                  <a:pt x="79" y="113"/>
                </a:cubicBezTo>
                <a:lnTo>
                  <a:pt x="81" y="107"/>
                </a:lnTo>
                <a:close/>
                <a:moveTo>
                  <a:pt x="75" y="122"/>
                </a:moveTo>
                <a:cubicBezTo>
                  <a:pt x="81" y="126"/>
                  <a:pt x="81" y="126"/>
                  <a:pt x="81" y="126"/>
                </a:cubicBezTo>
                <a:cubicBezTo>
                  <a:pt x="72" y="132"/>
                  <a:pt x="72" y="132"/>
                  <a:pt x="72" y="132"/>
                </a:cubicBezTo>
                <a:lnTo>
                  <a:pt x="75" y="122"/>
                </a:lnTo>
                <a:close/>
                <a:moveTo>
                  <a:pt x="120" y="156"/>
                </a:moveTo>
                <a:cubicBezTo>
                  <a:pt x="93" y="145"/>
                  <a:pt x="93" y="145"/>
                  <a:pt x="93" y="145"/>
                </a:cubicBezTo>
                <a:cubicBezTo>
                  <a:pt x="89" y="145"/>
                  <a:pt x="89" y="145"/>
                  <a:pt x="89" y="145"/>
                </a:cubicBezTo>
                <a:cubicBezTo>
                  <a:pt x="62" y="156"/>
                  <a:pt x="62" y="156"/>
                  <a:pt x="62" y="156"/>
                </a:cubicBezTo>
                <a:cubicBezTo>
                  <a:pt x="66" y="146"/>
                  <a:pt x="66" y="146"/>
                  <a:pt x="66" y="146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116" y="147"/>
                  <a:pt x="116" y="147"/>
                  <a:pt x="116" y="147"/>
                </a:cubicBezTo>
                <a:lnTo>
                  <a:pt x="120" y="156"/>
                </a:lnTo>
                <a:close/>
                <a:moveTo>
                  <a:pt x="110" y="132"/>
                </a:moveTo>
                <a:cubicBezTo>
                  <a:pt x="101" y="126"/>
                  <a:pt x="101" y="126"/>
                  <a:pt x="101" y="126"/>
                </a:cubicBezTo>
                <a:cubicBezTo>
                  <a:pt x="107" y="123"/>
                  <a:pt x="107" y="123"/>
                  <a:pt x="107" y="123"/>
                </a:cubicBezTo>
                <a:lnTo>
                  <a:pt x="110" y="132"/>
                </a:lnTo>
                <a:close/>
                <a:moveTo>
                  <a:pt x="46" y="69"/>
                </a:moveTo>
                <a:cubicBezTo>
                  <a:pt x="48" y="69"/>
                  <a:pt x="50" y="68"/>
                  <a:pt x="51" y="66"/>
                </a:cubicBezTo>
                <a:cubicBezTo>
                  <a:pt x="54" y="63"/>
                  <a:pt x="54" y="59"/>
                  <a:pt x="51" y="56"/>
                </a:cubicBezTo>
                <a:cubicBezTo>
                  <a:pt x="51" y="56"/>
                  <a:pt x="51" y="56"/>
                  <a:pt x="51" y="56"/>
                </a:cubicBezTo>
                <a:cubicBezTo>
                  <a:pt x="47" y="52"/>
                  <a:pt x="45" y="47"/>
                  <a:pt x="45" y="42"/>
                </a:cubicBezTo>
                <a:cubicBezTo>
                  <a:pt x="45" y="37"/>
                  <a:pt x="47" y="32"/>
                  <a:pt x="51" y="28"/>
                </a:cubicBezTo>
                <a:cubicBezTo>
                  <a:pt x="54" y="25"/>
                  <a:pt x="54" y="21"/>
                  <a:pt x="51" y="18"/>
                </a:cubicBezTo>
                <a:cubicBezTo>
                  <a:pt x="48" y="15"/>
                  <a:pt x="43" y="15"/>
                  <a:pt x="41" y="18"/>
                </a:cubicBezTo>
                <a:cubicBezTo>
                  <a:pt x="34" y="24"/>
                  <a:pt x="30" y="33"/>
                  <a:pt x="30" y="42"/>
                </a:cubicBezTo>
                <a:cubicBezTo>
                  <a:pt x="30" y="51"/>
                  <a:pt x="34" y="60"/>
                  <a:pt x="41" y="66"/>
                </a:cubicBezTo>
                <a:cubicBezTo>
                  <a:pt x="42" y="68"/>
                  <a:pt x="44" y="69"/>
                  <a:pt x="46" y="69"/>
                </a:cubicBezTo>
                <a:close/>
                <a:moveTo>
                  <a:pt x="131" y="18"/>
                </a:moveTo>
                <a:cubicBezTo>
                  <a:pt x="128" y="21"/>
                  <a:pt x="128" y="25"/>
                  <a:pt x="131" y="28"/>
                </a:cubicBezTo>
                <a:cubicBezTo>
                  <a:pt x="135" y="32"/>
                  <a:pt x="137" y="37"/>
                  <a:pt x="137" y="42"/>
                </a:cubicBezTo>
                <a:cubicBezTo>
                  <a:pt x="137" y="47"/>
                  <a:pt x="135" y="52"/>
                  <a:pt x="131" y="56"/>
                </a:cubicBezTo>
                <a:cubicBezTo>
                  <a:pt x="128" y="59"/>
                  <a:pt x="128" y="63"/>
                  <a:pt x="131" y="66"/>
                </a:cubicBezTo>
                <a:cubicBezTo>
                  <a:pt x="132" y="68"/>
                  <a:pt x="134" y="69"/>
                  <a:pt x="136" y="69"/>
                </a:cubicBezTo>
                <a:cubicBezTo>
                  <a:pt x="138" y="69"/>
                  <a:pt x="140" y="68"/>
                  <a:pt x="141" y="66"/>
                </a:cubicBezTo>
                <a:cubicBezTo>
                  <a:pt x="148" y="60"/>
                  <a:pt x="152" y="51"/>
                  <a:pt x="152" y="42"/>
                </a:cubicBezTo>
                <a:cubicBezTo>
                  <a:pt x="152" y="33"/>
                  <a:pt x="148" y="24"/>
                  <a:pt x="141" y="18"/>
                </a:cubicBezTo>
                <a:cubicBezTo>
                  <a:pt x="139" y="15"/>
                  <a:pt x="134" y="15"/>
                  <a:pt x="131" y="18"/>
                </a:cubicBezTo>
                <a:close/>
                <a:moveTo>
                  <a:pt x="27" y="71"/>
                </a:moveTo>
                <a:cubicBezTo>
                  <a:pt x="19" y="63"/>
                  <a:pt x="15" y="52"/>
                  <a:pt x="15" y="42"/>
                </a:cubicBezTo>
                <a:cubicBezTo>
                  <a:pt x="15" y="32"/>
                  <a:pt x="19" y="21"/>
                  <a:pt x="27" y="13"/>
                </a:cubicBezTo>
                <a:cubicBezTo>
                  <a:pt x="30" y="10"/>
                  <a:pt x="30" y="6"/>
                  <a:pt x="27" y="3"/>
                </a:cubicBezTo>
                <a:cubicBezTo>
                  <a:pt x="24" y="0"/>
                  <a:pt x="19" y="0"/>
                  <a:pt x="16" y="3"/>
                </a:cubicBezTo>
                <a:cubicBezTo>
                  <a:pt x="6" y="14"/>
                  <a:pt x="0" y="28"/>
                  <a:pt x="0" y="42"/>
                </a:cubicBezTo>
                <a:cubicBezTo>
                  <a:pt x="0" y="56"/>
                  <a:pt x="6" y="71"/>
                  <a:pt x="16" y="81"/>
                </a:cubicBezTo>
                <a:cubicBezTo>
                  <a:pt x="18" y="83"/>
                  <a:pt x="20" y="84"/>
                  <a:pt x="22" y="84"/>
                </a:cubicBezTo>
                <a:cubicBezTo>
                  <a:pt x="24" y="84"/>
                  <a:pt x="26" y="83"/>
                  <a:pt x="27" y="81"/>
                </a:cubicBezTo>
                <a:cubicBezTo>
                  <a:pt x="30" y="78"/>
                  <a:pt x="30" y="74"/>
                  <a:pt x="27" y="71"/>
                </a:cubicBezTo>
                <a:close/>
                <a:moveTo>
                  <a:pt x="166" y="3"/>
                </a:moveTo>
                <a:cubicBezTo>
                  <a:pt x="163" y="0"/>
                  <a:pt x="158" y="0"/>
                  <a:pt x="155" y="3"/>
                </a:cubicBezTo>
                <a:cubicBezTo>
                  <a:pt x="152" y="6"/>
                  <a:pt x="152" y="10"/>
                  <a:pt x="155" y="13"/>
                </a:cubicBezTo>
                <a:cubicBezTo>
                  <a:pt x="163" y="21"/>
                  <a:pt x="167" y="32"/>
                  <a:pt x="167" y="42"/>
                </a:cubicBezTo>
                <a:cubicBezTo>
                  <a:pt x="167" y="52"/>
                  <a:pt x="163" y="63"/>
                  <a:pt x="155" y="71"/>
                </a:cubicBezTo>
                <a:cubicBezTo>
                  <a:pt x="152" y="74"/>
                  <a:pt x="152" y="78"/>
                  <a:pt x="155" y="81"/>
                </a:cubicBezTo>
                <a:cubicBezTo>
                  <a:pt x="156" y="83"/>
                  <a:pt x="158" y="84"/>
                  <a:pt x="160" y="84"/>
                </a:cubicBezTo>
                <a:cubicBezTo>
                  <a:pt x="162" y="84"/>
                  <a:pt x="164" y="83"/>
                  <a:pt x="166" y="81"/>
                </a:cubicBezTo>
                <a:cubicBezTo>
                  <a:pt x="176" y="71"/>
                  <a:pt x="182" y="56"/>
                  <a:pt x="182" y="42"/>
                </a:cubicBezTo>
                <a:cubicBezTo>
                  <a:pt x="182" y="28"/>
                  <a:pt x="176" y="14"/>
                  <a:pt x="166" y="3"/>
                </a:cubicBezTo>
                <a:close/>
                <a:moveTo>
                  <a:pt x="91" y="64"/>
                </a:moveTo>
                <a:cubicBezTo>
                  <a:pt x="103" y="64"/>
                  <a:pt x="113" y="54"/>
                  <a:pt x="113" y="42"/>
                </a:cubicBezTo>
                <a:cubicBezTo>
                  <a:pt x="113" y="30"/>
                  <a:pt x="103" y="20"/>
                  <a:pt x="91" y="20"/>
                </a:cubicBezTo>
                <a:cubicBezTo>
                  <a:pt x="79" y="20"/>
                  <a:pt x="69" y="30"/>
                  <a:pt x="69" y="42"/>
                </a:cubicBezTo>
                <a:cubicBezTo>
                  <a:pt x="69" y="54"/>
                  <a:pt x="79" y="64"/>
                  <a:pt x="91" y="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5" name="Freeform 24"/>
          <p:cNvSpPr>
            <a:spLocks noEditPoints="1"/>
          </p:cNvSpPr>
          <p:nvPr/>
        </p:nvSpPr>
        <p:spPr bwMode="auto">
          <a:xfrm>
            <a:off x="1316568" y="2222500"/>
            <a:ext cx="522817" cy="524933"/>
          </a:xfrm>
          <a:custGeom>
            <a:avLst/>
            <a:gdLst>
              <a:gd name="T0" fmla="*/ 7561272 w 247"/>
              <a:gd name="T1" fmla="*/ 35282188 h 248"/>
              <a:gd name="T2" fmla="*/ 587197949 w 247"/>
              <a:gd name="T3" fmla="*/ 617439075 h 248"/>
              <a:gd name="T4" fmla="*/ 617439862 w 247"/>
              <a:gd name="T5" fmla="*/ 589716563 h 248"/>
              <a:gd name="T6" fmla="*/ 35282232 w 247"/>
              <a:gd name="T7" fmla="*/ 7561263 h 248"/>
              <a:gd name="T8" fmla="*/ 7561272 w 247"/>
              <a:gd name="T9" fmla="*/ 35282188 h 248"/>
              <a:gd name="T10" fmla="*/ 622480181 w 247"/>
              <a:gd name="T11" fmla="*/ 85685313 h 248"/>
              <a:gd name="T12" fmla="*/ 536794759 w 247"/>
              <a:gd name="T13" fmla="*/ 0 h 248"/>
              <a:gd name="T14" fmla="*/ 466230295 w 247"/>
              <a:gd name="T15" fmla="*/ 73085325 h 248"/>
              <a:gd name="T16" fmla="*/ 551915716 w 247"/>
              <a:gd name="T17" fmla="*/ 158770638 h 248"/>
              <a:gd name="T18" fmla="*/ 622480181 w 247"/>
              <a:gd name="T19" fmla="*/ 85685313 h 248"/>
              <a:gd name="T20" fmla="*/ 393144876 w 247"/>
              <a:gd name="T21" fmla="*/ 312499375 h 248"/>
              <a:gd name="T22" fmla="*/ 511593165 w 247"/>
              <a:gd name="T23" fmla="*/ 194052825 h 248"/>
              <a:gd name="T24" fmla="*/ 476310932 w 247"/>
              <a:gd name="T25" fmla="*/ 158770638 h 248"/>
              <a:gd name="T26" fmla="*/ 357862644 w 247"/>
              <a:gd name="T27" fmla="*/ 277217188 h 248"/>
              <a:gd name="T28" fmla="*/ 393144876 w 247"/>
              <a:gd name="T29" fmla="*/ 312499375 h 248"/>
              <a:gd name="T30" fmla="*/ 201612757 w 247"/>
              <a:gd name="T31" fmla="*/ 430947513 h 248"/>
              <a:gd name="T32" fmla="*/ 178932116 w 247"/>
              <a:gd name="T33" fmla="*/ 408265313 h 248"/>
              <a:gd name="T34" fmla="*/ 249496581 w 247"/>
              <a:gd name="T35" fmla="*/ 335181575 h 248"/>
              <a:gd name="T36" fmla="*/ 229335305 w 247"/>
              <a:gd name="T37" fmla="*/ 312499375 h 248"/>
              <a:gd name="T38" fmla="*/ 68045099 w 247"/>
              <a:gd name="T39" fmla="*/ 471270013 h 248"/>
              <a:gd name="T40" fmla="*/ 68045099 w 247"/>
              <a:gd name="T41" fmla="*/ 471270013 h 248"/>
              <a:gd name="T42" fmla="*/ 0 w 247"/>
              <a:gd name="T43" fmla="*/ 624998750 h 248"/>
              <a:gd name="T44" fmla="*/ 153730521 w 247"/>
              <a:gd name="T45" fmla="*/ 556955325 h 248"/>
              <a:gd name="T46" fmla="*/ 153730521 w 247"/>
              <a:gd name="T47" fmla="*/ 556955325 h 248"/>
              <a:gd name="T48" fmla="*/ 153730521 w 247"/>
              <a:gd name="T49" fmla="*/ 551915013 h 248"/>
              <a:gd name="T50" fmla="*/ 312499773 w 247"/>
              <a:gd name="T51" fmla="*/ 395665325 h 248"/>
              <a:gd name="T52" fmla="*/ 274698175 w 247"/>
              <a:gd name="T53" fmla="*/ 357862188 h 248"/>
              <a:gd name="T54" fmla="*/ 201612757 w 247"/>
              <a:gd name="T55" fmla="*/ 430947513 h 248"/>
              <a:gd name="T56" fmla="*/ 143649883 w 247"/>
              <a:gd name="T57" fmla="*/ 516632825 h 248"/>
              <a:gd name="T58" fmla="*/ 78125737 w 247"/>
              <a:gd name="T59" fmla="*/ 546874700 h 248"/>
              <a:gd name="T60" fmla="*/ 108367651 w 247"/>
              <a:gd name="T61" fmla="*/ 476310325 h 248"/>
              <a:gd name="T62" fmla="*/ 143649883 w 247"/>
              <a:gd name="T63" fmla="*/ 446068450 h 248"/>
              <a:gd name="T64" fmla="*/ 146169249 w 247"/>
              <a:gd name="T65" fmla="*/ 476310325 h 248"/>
              <a:gd name="T66" fmla="*/ 178932116 w 247"/>
              <a:gd name="T67" fmla="*/ 481350638 h 248"/>
              <a:gd name="T68" fmla="*/ 143649883 w 247"/>
              <a:gd name="T69" fmla="*/ 516632825 h 248"/>
              <a:gd name="T70" fmla="*/ 451109338 w 247"/>
              <a:gd name="T71" fmla="*/ 133569075 h 248"/>
              <a:gd name="T72" fmla="*/ 430948062 w 247"/>
              <a:gd name="T73" fmla="*/ 110886875 h 248"/>
              <a:gd name="T74" fmla="*/ 312499773 w 247"/>
              <a:gd name="T75" fmla="*/ 229335013 h 248"/>
              <a:gd name="T76" fmla="*/ 332661049 w 247"/>
              <a:gd name="T77" fmla="*/ 252015625 h 248"/>
              <a:gd name="T78" fmla="*/ 451109338 w 247"/>
              <a:gd name="T79" fmla="*/ 133569075 h 24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47" h="248">
                <a:moveTo>
                  <a:pt x="3" y="14"/>
                </a:moveTo>
                <a:lnTo>
                  <a:pt x="233" y="245"/>
                </a:lnTo>
                <a:lnTo>
                  <a:pt x="245" y="234"/>
                </a:lnTo>
                <a:lnTo>
                  <a:pt x="14" y="3"/>
                </a:lnTo>
                <a:lnTo>
                  <a:pt x="3" y="14"/>
                </a:lnTo>
                <a:close/>
                <a:moveTo>
                  <a:pt x="247" y="34"/>
                </a:moveTo>
                <a:lnTo>
                  <a:pt x="213" y="0"/>
                </a:lnTo>
                <a:lnTo>
                  <a:pt x="185" y="29"/>
                </a:lnTo>
                <a:lnTo>
                  <a:pt x="219" y="63"/>
                </a:lnTo>
                <a:lnTo>
                  <a:pt x="247" y="34"/>
                </a:lnTo>
                <a:close/>
                <a:moveTo>
                  <a:pt x="156" y="124"/>
                </a:moveTo>
                <a:lnTo>
                  <a:pt x="203" y="77"/>
                </a:lnTo>
                <a:lnTo>
                  <a:pt x="189" y="63"/>
                </a:lnTo>
                <a:lnTo>
                  <a:pt x="142" y="110"/>
                </a:lnTo>
                <a:lnTo>
                  <a:pt x="156" y="124"/>
                </a:lnTo>
                <a:close/>
                <a:moveTo>
                  <a:pt x="80" y="171"/>
                </a:moveTo>
                <a:lnTo>
                  <a:pt x="71" y="162"/>
                </a:lnTo>
                <a:lnTo>
                  <a:pt x="99" y="133"/>
                </a:lnTo>
                <a:lnTo>
                  <a:pt x="91" y="124"/>
                </a:lnTo>
                <a:lnTo>
                  <a:pt x="27" y="187"/>
                </a:lnTo>
                <a:lnTo>
                  <a:pt x="0" y="248"/>
                </a:lnTo>
                <a:lnTo>
                  <a:pt x="61" y="221"/>
                </a:lnTo>
                <a:lnTo>
                  <a:pt x="61" y="219"/>
                </a:lnTo>
                <a:lnTo>
                  <a:pt x="124" y="157"/>
                </a:lnTo>
                <a:lnTo>
                  <a:pt x="109" y="142"/>
                </a:lnTo>
                <a:lnTo>
                  <a:pt x="80" y="171"/>
                </a:lnTo>
                <a:close/>
                <a:moveTo>
                  <a:pt x="57" y="205"/>
                </a:moveTo>
                <a:lnTo>
                  <a:pt x="31" y="217"/>
                </a:lnTo>
                <a:lnTo>
                  <a:pt x="43" y="189"/>
                </a:lnTo>
                <a:lnTo>
                  <a:pt x="57" y="177"/>
                </a:lnTo>
                <a:lnTo>
                  <a:pt x="58" y="189"/>
                </a:lnTo>
                <a:lnTo>
                  <a:pt x="71" y="191"/>
                </a:lnTo>
                <a:lnTo>
                  <a:pt x="57" y="205"/>
                </a:lnTo>
                <a:close/>
                <a:moveTo>
                  <a:pt x="179" y="53"/>
                </a:moveTo>
                <a:lnTo>
                  <a:pt x="171" y="44"/>
                </a:lnTo>
                <a:lnTo>
                  <a:pt x="124" y="91"/>
                </a:lnTo>
                <a:lnTo>
                  <a:pt x="132" y="100"/>
                </a:lnTo>
                <a:lnTo>
                  <a:pt x="179" y="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6" name="Freeform 25"/>
          <p:cNvSpPr>
            <a:spLocks noEditPoints="1"/>
          </p:cNvSpPr>
          <p:nvPr/>
        </p:nvSpPr>
        <p:spPr bwMode="auto">
          <a:xfrm>
            <a:off x="2220384" y="2258485"/>
            <a:ext cx="474133" cy="452967"/>
          </a:xfrm>
          <a:custGeom>
            <a:avLst/>
            <a:gdLst>
              <a:gd name="T0" fmla="*/ 106371663 w 158"/>
              <a:gd name="T1" fmla="*/ 251344409 h 150"/>
              <a:gd name="T2" fmla="*/ 151960484 w 158"/>
              <a:gd name="T3" fmla="*/ 205178046 h 150"/>
              <a:gd name="T4" fmla="*/ 506534195 w 158"/>
              <a:gd name="T5" fmla="*/ 205178046 h 150"/>
              <a:gd name="T6" fmla="*/ 506534195 w 158"/>
              <a:gd name="T7" fmla="*/ 302638354 h 150"/>
              <a:gd name="T8" fmla="*/ 688887225 w 158"/>
              <a:gd name="T9" fmla="*/ 148754253 h 150"/>
              <a:gd name="T10" fmla="*/ 506534195 w 158"/>
              <a:gd name="T11" fmla="*/ 0 h 150"/>
              <a:gd name="T12" fmla="*/ 506534195 w 158"/>
              <a:gd name="T13" fmla="*/ 97460308 h 150"/>
              <a:gd name="T14" fmla="*/ 111437838 w 158"/>
              <a:gd name="T15" fmla="*/ 97460308 h 150"/>
              <a:gd name="T16" fmla="*/ 0 w 158"/>
              <a:gd name="T17" fmla="*/ 210307894 h 150"/>
              <a:gd name="T18" fmla="*/ 0 w 158"/>
              <a:gd name="T19" fmla="*/ 343674869 h 150"/>
              <a:gd name="T20" fmla="*/ 106371663 w 158"/>
              <a:gd name="T21" fmla="*/ 343674869 h 150"/>
              <a:gd name="T22" fmla="*/ 106371663 w 158"/>
              <a:gd name="T23" fmla="*/ 251344409 h 150"/>
              <a:gd name="T24" fmla="*/ 623038208 w 158"/>
              <a:gd name="T25" fmla="*/ 394968815 h 150"/>
              <a:gd name="T26" fmla="*/ 602775759 w 158"/>
              <a:gd name="T27" fmla="*/ 415488205 h 150"/>
              <a:gd name="T28" fmla="*/ 638234481 w 158"/>
              <a:gd name="T29" fmla="*/ 410358357 h 150"/>
              <a:gd name="T30" fmla="*/ 729409871 w 158"/>
              <a:gd name="T31" fmla="*/ 430875482 h 150"/>
              <a:gd name="T32" fmla="*/ 729409871 w 158"/>
              <a:gd name="T33" fmla="*/ 302638354 h 150"/>
              <a:gd name="T34" fmla="*/ 623038208 w 158"/>
              <a:gd name="T35" fmla="*/ 302638354 h 150"/>
              <a:gd name="T36" fmla="*/ 623038208 w 158"/>
              <a:gd name="T37" fmla="*/ 394968815 h 150"/>
              <a:gd name="T38" fmla="*/ 536926742 w 158"/>
              <a:gd name="T39" fmla="*/ 441135177 h 150"/>
              <a:gd name="T40" fmla="*/ 222875676 w 158"/>
              <a:gd name="T41" fmla="*/ 441135177 h 150"/>
              <a:gd name="T42" fmla="*/ 222875676 w 158"/>
              <a:gd name="T43" fmla="*/ 343674869 h 150"/>
              <a:gd name="T44" fmla="*/ 40522646 w 158"/>
              <a:gd name="T45" fmla="*/ 497558970 h 150"/>
              <a:gd name="T46" fmla="*/ 222875676 w 158"/>
              <a:gd name="T47" fmla="*/ 646313224 h 150"/>
              <a:gd name="T48" fmla="*/ 222875676 w 158"/>
              <a:gd name="T49" fmla="*/ 548852916 h 150"/>
              <a:gd name="T50" fmla="*/ 455881451 w 158"/>
              <a:gd name="T51" fmla="*/ 548852916 h 150"/>
              <a:gd name="T52" fmla="*/ 536926742 w 158"/>
              <a:gd name="T53" fmla="*/ 441135177 h 150"/>
              <a:gd name="T54" fmla="*/ 638234481 w 158"/>
              <a:gd name="T55" fmla="*/ 446265025 h 150"/>
              <a:gd name="T56" fmla="*/ 481207823 w 158"/>
              <a:gd name="T57" fmla="*/ 610406556 h 150"/>
              <a:gd name="T58" fmla="*/ 638234481 w 158"/>
              <a:gd name="T59" fmla="*/ 769420504 h 150"/>
              <a:gd name="T60" fmla="*/ 800325063 w 158"/>
              <a:gd name="T61" fmla="*/ 610406556 h 150"/>
              <a:gd name="T62" fmla="*/ 638234481 w 158"/>
              <a:gd name="T63" fmla="*/ 446265025 h 150"/>
              <a:gd name="T64" fmla="*/ 663560853 w 158"/>
              <a:gd name="T65" fmla="*/ 718126559 h 150"/>
              <a:gd name="T66" fmla="*/ 623038208 w 158"/>
              <a:gd name="T67" fmla="*/ 718126559 h 150"/>
              <a:gd name="T68" fmla="*/ 623038208 w 158"/>
              <a:gd name="T69" fmla="*/ 569372306 h 150"/>
              <a:gd name="T70" fmla="*/ 572385463 w 158"/>
              <a:gd name="T71" fmla="*/ 569372306 h 150"/>
              <a:gd name="T72" fmla="*/ 572385463 w 158"/>
              <a:gd name="T73" fmla="*/ 543723068 h 150"/>
              <a:gd name="T74" fmla="*/ 602775759 w 158"/>
              <a:gd name="T75" fmla="*/ 538595485 h 150"/>
              <a:gd name="T76" fmla="*/ 623038208 w 158"/>
              <a:gd name="T77" fmla="*/ 528335790 h 150"/>
              <a:gd name="T78" fmla="*/ 628102132 w 158"/>
              <a:gd name="T79" fmla="*/ 512946248 h 150"/>
              <a:gd name="T80" fmla="*/ 633168306 w 158"/>
              <a:gd name="T81" fmla="*/ 502688818 h 150"/>
              <a:gd name="T82" fmla="*/ 663560853 w 158"/>
              <a:gd name="T83" fmla="*/ 502688818 h 150"/>
              <a:gd name="T84" fmla="*/ 663560853 w 158"/>
              <a:gd name="T85" fmla="*/ 718126559 h 15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58" h="150">
                <a:moveTo>
                  <a:pt x="21" y="49"/>
                </a:moveTo>
                <a:cubicBezTo>
                  <a:pt x="30" y="40"/>
                  <a:pt x="30" y="40"/>
                  <a:pt x="30" y="40"/>
                </a:cubicBezTo>
                <a:cubicBezTo>
                  <a:pt x="100" y="40"/>
                  <a:pt x="100" y="40"/>
                  <a:pt x="100" y="40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136" y="29"/>
                  <a:pt x="136" y="29"/>
                  <a:pt x="136" y="29"/>
                </a:cubicBezTo>
                <a:cubicBezTo>
                  <a:pt x="100" y="0"/>
                  <a:pt x="100" y="0"/>
                  <a:pt x="100" y="0"/>
                </a:cubicBezTo>
                <a:cubicBezTo>
                  <a:pt x="100" y="19"/>
                  <a:pt x="100" y="19"/>
                  <a:pt x="100" y="19"/>
                </a:cubicBezTo>
                <a:cubicBezTo>
                  <a:pt x="22" y="19"/>
                  <a:pt x="22" y="19"/>
                  <a:pt x="22" y="19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67"/>
                  <a:pt x="0" y="67"/>
                  <a:pt x="0" y="67"/>
                </a:cubicBezTo>
                <a:cubicBezTo>
                  <a:pt x="21" y="67"/>
                  <a:pt x="21" y="67"/>
                  <a:pt x="21" y="67"/>
                </a:cubicBezTo>
                <a:lnTo>
                  <a:pt x="21" y="49"/>
                </a:lnTo>
                <a:close/>
                <a:moveTo>
                  <a:pt x="123" y="77"/>
                </a:moveTo>
                <a:cubicBezTo>
                  <a:pt x="119" y="81"/>
                  <a:pt x="119" y="81"/>
                  <a:pt x="119" y="81"/>
                </a:cubicBezTo>
                <a:cubicBezTo>
                  <a:pt x="121" y="81"/>
                  <a:pt x="124" y="80"/>
                  <a:pt x="126" y="80"/>
                </a:cubicBezTo>
                <a:cubicBezTo>
                  <a:pt x="133" y="80"/>
                  <a:pt x="139" y="82"/>
                  <a:pt x="144" y="84"/>
                </a:cubicBezTo>
                <a:cubicBezTo>
                  <a:pt x="144" y="59"/>
                  <a:pt x="144" y="59"/>
                  <a:pt x="144" y="59"/>
                </a:cubicBezTo>
                <a:cubicBezTo>
                  <a:pt x="123" y="59"/>
                  <a:pt x="123" y="59"/>
                  <a:pt x="123" y="59"/>
                </a:cubicBezTo>
                <a:lnTo>
                  <a:pt x="123" y="77"/>
                </a:lnTo>
                <a:close/>
                <a:moveTo>
                  <a:pt x="106" y="86"/>
                </a:moveTo>
                <a:cubicBezTo>
                  <a:pt x="44" y="86"/>
                  <a:pt x="44" y="86"/>
                  <a:pt x="44" y="86"/>
                </a:cubicBezTo>
                <a:cubicBezTo>
                  <a:pt x="44" y="67"/>
                  <a:pt x="44" y="67"/>
                  <a:pt x="44" y="67"/>
                </a:cubicBezTo>
                <a:cubicBezTo>
                  <a:pt x="8" y="97"/>
                  <a:pt x="8" y="97"/>
                  <a:pt x="8" y="97"/>
                </a:cubicBezTo>
                <a:cubicBezTo>
                  <a:pt x="44" y="126"/>
                  <a:pt x="44" y="126"/>
                  <a:pt x="44" y="126"/>
                </a:cubicBezTo>
                <a:cubicBezTo>
                  <a:pt x="44" y="107"/>
                  <a:pt x="44" y="107"/>
                  <a:pt x="44" y="107"/>
                </a:cubicBezTo>
                <a:cubicBezTo>
                  <a:pt x="90" y="107"/>
                  <a:pt x="90" y="107"/>
                  <a:pt x="90" y="107"/>
                </a:cubicBezTo>
                <a:cubicBezTo>
                  <a:pt x="93" y="98"/>
                  <a:pt x="98" y="91"/>
                  <a:pt x="106" y="86"/>
                </a:cubicBezTo>
                <a:close/>
                <a:moveTo>
                  <a:pt x="126" y="87"/>
                </a:moveTo>
                <a:cubicBezTo>
                  <a:pt x="109" y="87"/>
                  <a:pt x="95" y="101"/>
                  <a:pt x="95" y="119"/>
                </a:cubicBezTo>
                <a:cubicBezTo>
                  <a:pt x="95" y="136"/>
                  <a:pt x="109" y="150"/>
                  <a:pt x="126" y="150"/>
                </a:cubicBezTo>
                <a:cubicBezTo>
                  <a:pt x="144" y="150"/>
                  <a:pt x="158" y="136"/>
                  <a:pt x="158" y="119"/>
                </a:cubicBezTo>
                <a:cubicBezTo>
                  <a:pt x="158" y="101"/>
                  <a:pt x="144" y="87"/>
                  <a:pt x="126" y="87"/>
                </a:cubicBezTo>
                <a:close/>
                <a:moveTo>
                  <a:pt x="131" y="140"/>
                </a:moveTo>
                <a:cubicBezTo>
                  <a:pt x="123" y="140"/>
                  <a:pt x="123" y="140"/>
                  <a:pt x="123" y="140"/>
                </a:cubicBezTo>
                <a:cubicBezTo>
                  <a:pt x="123" y="111"/>
                  <a:pt x="123" y="111"/>
                  <a:pt x="123" y="111"/>
                </a:cubicBezTo>
                <a:cubicBezTo>
                  <a:pt x="113" y="111"/>
                  <a:pt x="113" y="111"/>
                  <a:pt x="113" y="111"/>
                </a:cubicBezTo>
                <a:cubicBezTo>
                  <a:pt x="113" y="106"/>
                  <a:pt x="113" y="106"/>
                  <a:pt x="113" y="106"/>
                </a:cubicBezTo>
                <a:cubicBezTo>
                  <a:pt x="116" y="105"/>
                  <a:pt x="118" y="105"/>
                  <a:pt x="119" y="105"/>
                </a:cubicBezTo>
                <a:cubicBezTo>
                  <a:pt x="120" y="105"/>
                  <a:pt x="122" y="104"/>
                  <a:pt x="123" y="103"/>
                </a:cubicBezTo>
                <a:cubicBezTo>
                  <a:pt x="123" y="102"/>
                  <a:pt x="124" y="101"/>
                  <a:pt x="124" y="100"/>
                </a:cubicBezTo>
                <a:cubicBezTo>
                  <a:pt x="125" y="99"/>
                  <a:pt x="125" y="99"/>
                  <a:pt x="125" y="98"/>
                </a:cubicBezTo>
                <a:cubicBezTo>
                  <a:pt x="131" y="98"/>
                  <a:pt x="131" y="98"/>
                  <a:pt x="131" y="98"/>
                </a:cubicBezTo>
                <a:lnTo>
                  <a:pt x="131" y="1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7" name="Freeform 26"/>
          <p:cNvSpPr>
            <a:spLocks/>
          </p:cNvSpPr>
          <p:nvPr/>
        </p:nvSpPr>
        <p:spPr bwMode="auto">
          <a:xfrm>
            <a:off x="3141133" y="2262718"/>
            <a:ext cx="527051" cy="444500"/>
          </a:xfrm>
          <a:custGeom>
            <a:avLst/>
            <a:gdLst>
              <a:gd name="T0" fmla="*/ 301026494 w 175"/>
              <a:gd name="T1" fmla="*/ 147142264 h 148"/>
              <a:gd name="T2" fmla="*/ 301026494 w 175"/>
              <a:gd name="T3" fmla="*/ 0 h 148"/>
              <a:gd name="T4" fmla="*/ 0 w 175"/>
              <a:gd name="T5" fmla="*/ 248621164 h 148"/>
              <a:gd name="T6" fmla="*/ 301026494 w 175"/>
              <a:gd name="T7" fmla="*/ 502317286 h 148"/>
              <a:gd name="T8" fmla="*/ 301026494 w 175"/>
              <a:gd name="T9" fmla="*/ 360247728 h 148"/>
              <a:gd name="T10" fmla="*/ 301026494 w 175"/>
              <a:gd name="T11" fmla="*/ 750938450 h 148"/>
              <a:gd name="T12" fmla="*/ 301026494 w 175"/>
              <a:gd name="T13" fmla="*/ 147142264 h 14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75" h="148">
                <a:moveTo>
                  <a:pt x="59" y="29"/>
                </a:moveTo>
                <a:cubicBezTo>
                  <a:pt x="59" y="0"/>
                  <a:pt x="59" y="0"/>
                  <a:pt x="59" y="0"/>
                </a:cubicBezTo>
                <a:cubicBezTo>
                  <a:pt x="0" y="49"/>
                  <a:pt x="0" y="49"/>
                  <a:pt x="0" y="49"/>
                </a:cubicBezTo>
                <a:cubicBezTo>
                  <a:pt x="59" y="99"/>
                  <a:pt x="59" y="99"/>
                  <a:pt x="59" y="99"/>
                </a:cubicBezTo>
                <a:cubicBezTo>
                  <a:pt x="59" y="71"/>
                  <a:pt x="59" y="71"/>
                  <a:pt x="59" y="71"/>
                </a:cubicBezTo>
                <a:cubicBezTo>
                  <a:pt x="118" y="79"/>
                  <a:pt x="92" y="114"/>
                  <a:pt x="59" y="148"/>
                </a:cubicBezTo>
                <a:cubicBezTo>
                  <a:pt x="175" y="72"/>
                  <a:pt x="106" y="37"/>
                  <a:pt x="59" y="2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8" name="Freeform 27"/>
          <p:cNvSpPr>
            <a:spLocks/>
          </p:cNvSpPr>
          <p:nvPr/>
        </p:nvSpPr>
        <p:spPr bwMode="auto">
          <a:xfrm>
            <a:off x="3913718" y="2307167"/>
            <a:ext cx="529167" cy="404284"/>
          </a:xfrm>
          <a:custGeom>
            <a:avLst/>
            <a:gdLst>
              <a:gd name="T0" fmla="*/ 630039063 w 250"/>
              <a:gd name="T1" fmla="*/ 246975720 h 191"/>
              <a:gd name="T2" fmla="*/ 493950625 w 250"/>
              <a:gd name="T3" fmla="*/ 115927379 h 191"/>
              <a:gd name="T4" fmla="*/ 493950625 w 250"/>
              <a:gd name="T5" fmla="*/ 201612832 h 191"/>
              <a:gd name="T6" fmla="*/ 370463763 w 250"/>
              <a:gd name="T7" fmla="*/ 201612832 h 191"/>
              <a:gd name="T8" fmla="*/ 370463763 w 250"/>
              <a:gd name="T9" fmla="*/ 0 h 191"/>
              <a:gd name="T10" fmla="*/ 252015625 w 250"/>
              <a:gd name="T11" fmla="*/ 0 h 191"/>
              <a:gd name="T12" fmla="*/ 252015625 w 250"/>
              <a:gd name="T13" fmla="*/ 201612832 h 191"/>
              <a:gd name="T14" fmla="*/ 136088438 w 250"/>
              <a:gd name="T15" fmla="*/ 201612832 h 191"/>
              <a:gd name="T16" fmla="*/ 136088438 w 250"/>
              <a:gd name="T17" fmla="*/ 115927379 h 191"/>
              <a:gd name="T18" fmla="*/ 0 w 250"/>
              <a:gd name="T19" fmla="*/ 246975720 h 191"/>
              <a:gd name="T20" fmla="*/ 136088438 w 250"/>
              <a:gd name="T21" fmla="*/ 380545015 h 191"/>
              <a:gd name="T22" fmla="*/ 136088438 w 250"/>
              <a:gd name="T23" fmla="*/ 297378928 h 191"/>
              <a:gd name="T24" fmla="*/ 252015625 w 250"/>
              <a:gd name="T25" fmla="*/ 297378928 h 191"/>
              <a:gd name="T26" fmla="*/ 252015625 w 250"/>
              <a:gd name="T27" fmla="*/ 481351431 h 191"/>
              <a:gd name="T28" fmla="*/ 370463763 w 250"/>
              <a:gd name="T29" fmla="*/ 481351431 h 191"/>
              <a:gd name="T30" fmla="*/ 370463763 w 250"/>
              <a:gd name="T31" fmla="*/ 297378928 h 191"/>
              <a:gd name="T32" fmla="*/ 493950625 w 250"/>
              <a:gd name="T33" fmla="*/ 297378928 h 191"/>
              <a:gd name="T34" fmla="*/ 493950625 w 250"/>
              <a:gd name="T35" fmla="*/ 380545015 h 191"/>
              <a:gd name="T36" fmla="*/ 630039063 w 250"/>
              <a:gd name="T37" fmla="*/ 246975720 h 19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50" h="191">
                <a:moveTo>
                  <a:pt x="250" y="98"/>
                </a:moveTo>
                <a:lnTo>
                  <a:pt x="196" y="46"/>
                </a:lnTo>
                <a:lnTo>
                  <a:pt x="196" y="80"/>
                </a:lnTo>
                <a:lnTo>
                  <a:pt x="147" y="80"/>
                </a:lnTo>
                <a:lnTo>
                  <a:pt x="147" y="0"/>
                </a:lnTo>
                <a:lnTo>
                  <a:pt x="100" y="0"/>
                </a:lnTo>
                <a:lnTo>
                  <a:pt x="100" y="80"/>
                </a:lnTo>
                <a:lnTo>
                  <a:pt x="54" y="80"/>
                </a:lnTo>
                <a:lnTo>
                  <a:pt x="54" y="46"/>
                </a:lnTo>
                <a:lnTo>
                  <a:pt x="0" y="98"/>
                </a:lnTo>
                <a:lnTo>
                  <a:pt x="54" y="151"/>
                </a:lnTo>
                <a:lnTo>
                  <a:pt x="54" y="118"/>
                </a:lnTo>
                <a:lnTo>
                  <a:pt x="100" y="118"/>
                </a:lnTo>
                <a:lnTo>
                  <a:pt x="100" y="191"/>
                </a:lnTo>
                <a:lnTo>
                  <a:pt x="147" y="191"/>
                </a:lnTo>
                <a:lnTo>
                  <a:pt x="147" y="118"/>
                </a:lnTo>
                <a:lnTo>
                  <a:pt x="196" y="118"/>
                </a:lnTo>
                <a:lnTo>
                  <a:pt x="196" y="151"/>
                </a:lnTo>
                <a:lnTo>
                  <a:pt x="250" y="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69" name="Oval 28"/>
          <p:cNvSpPr>
            <a:spLocks noChangeArrowheads="1"/>
          </p:cNvSpPr>
          <p:nvPr/>
        </p:nvSpPr>
        <p:spPr bwMode="auto">
          <a:xfrm>
            <a:off x="4806952" y="2592918"/>
            <a:ext cx="131233" cy="12911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370" name="Freeform 29"/>
          <p:cNvSpPr>
            <a:spLocks/>
          </p:cNvSpPr>
          <p:nvPr/>
        </p:nvSpPr>
        <p:spPr bwMode="auto">
          <a:xfrm>
            <a:off x="4806951" y="2406651"/>
            <a:ext cx="317500" cy="315383"/>
          </a:xfrm>
          <a:custGeom>
            <a:avLst/>
            <a:gdLst>
              <a:gd name="T0" fmla="*/ 540033482 w 105"/>
              <a:gd name="T1" fmla="*/ 532857037 h 105"/>
              <a:gd name="T2" fmla="*/ 380594054 w 105"/>
              <a:gd name="T3" fmla="*/ 532857037 h 105"/>
              <a:gd name="T4" fmla="*/ 0 w 105"/>
              <a:gd name="T5" fmla="*/ 157319632 h 105"/>
              <a:gd name="T6" fmla="*/ 0 w 105"/>
              <a:gd name="T7" fmla="*/ 157319632 h 105"/>
              <a:gd name="T8" fmla="*/ 0 w 105"/>
              <a:gd name="T9" fmla="*/ 0 h 105"/>
              <a:gd name="T10" fmla="*/ 540033482 w 105"/>
              <a:gd name="T11" fmla="*/ 532857037 h 1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5" h="105">
                <a:moveTo>
                  <a:pt x="105" y="105"/>
                </a:moveTo>
                <a:cubicBezTo>
                  <a:pt x="74" y="105"/>
                  <a:pt x="74" y="105"/>
                  <a:pt x="74" y="105"/>
                </a:cubicBezTo>
                <a:cubicBezTo>
                  <a:pt x="74" y="64"/>
                  <a:pt x="41" y="31"/>
                  <a:pt x="0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0"/>
                  <a:pt x="0" y="0"/>
                  <a:pt x="0" y="0"/>
                </a:cubicBezTo>
                <a:cubicBezTo>
                  <a:pt x="58" y="0"/>
                  <a:pt x="105" y="47"/>
                  <a:pt x="105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71" name="Freeform 30"/>
          <p:cNvSpPr>
            <a:spLocks/>
          </p:cNvSpPr>
          <p:nvPr/>
        </p:nvSpPr>
        <p:spPr bwMode="auto">
          <a:xfrm>
            <a:off x="4806952" y="2245785"/>
            <a:ext cx="476249" cy="476249"/>
          </a:xfrm>
          <a:custGeom>
            <a:avLst/>
            <a:gdLst>
              <a:gd name="T0" fmla="*/ 643944862 w 158"/>
              <a:gd name="T1" fmla="*/ 807486773 h 158"/>
              <a:gd name="T2" fmla="*/ 0 w 158"/>
              <a:gd name="T3" fmla="*/ 163541911 h 158"/>
              <a:gd name="T4" fmla="*/ 0 w 158"/>
              <a:gd name="T5" fmla="*/ 0 h 158"/>
              <a:gd name="T6" fmla="*/ 807486773 w 158"/>
              <a:gd name="T7" fmla="*/ 807486773 h 158"/>
              <a:gd name="T8" fmla="*/ 643944862 w 158"/>
              <a:gd name="T9" fmla="*/ 807486773 h 15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" h="158">
                <a:moveTo>
                  <a:pt x="126" y="158"/>
                </a:moveTo>
                <a:cubicBezTo>
                  <a:pt x="126" y="88"/>
                  <a:pt x="70" y="32"/>
                  <a:pt x="0" y="32"/>
                </a:cubicBezTo>
                <a:cubicBezTo>
                  <a:pt x="0" y="0"/>
                  <a:pt x="0" y="0"/>
                  <a:pt x="0" y="0"/>
                </a:cubicBezTo>
                <a:cubicBezTo>
                  <a:pt x="87" y="0"/>
                  <a:pt x="158" y="71"/>
                  <a:pt x="158" y="158"/>
                </a:cubicBezTo>
                <a:lnTo>
                  <a:pt x="126" y="1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72" name="Freeform 31"/>
          <p:cNvSpPr>
            <a:spLocks noEditPoints="1"/>
          </p:cNvSpPr>
          <p:nvPr/>
        </p:nvSpPr>
        <p:spPr bwMode="auto">
          <a:xfrm>
            <a:off x="5596468" y="2252134"/>
            <a:ext cx="512233" cy="512233"/>
          </a:xfrm>
          <a:custGeom>
            <a:avLst/>
            <a:gdLst>
              <a:gd name="T0" fmla="*/ 434090632 w 170"/>
              <a:gd name="T1" fmla="*/ 0 h 170"/>
              <a:gd name="T2" fmla="*/ 0 w 170"/>
              <a:gd name="T3" fmla="*/ 439195640 h 170"/>
              <a:gd name="T4" fmla="*/ 434090632 w 170"/>
              <a:gd name="T5" fmla="*/ 868179004 h 170"/>
              <a:gd name="T6" fmla="*/ 740506352 w 170"/>
              <a:gd name="T7" fmla="*/ 740506352 h 170"/>
              <a:gd name="T8" fmla="*/ 740506352 w 170"/>
              <a:gd name="T9" fmla="*/ 127672652 h 170"/>
              <a:gd name="T10" fmla="*/ 434090632 w 170"/>
              <a:gd name="T11" fmla="*/ 791574509 h 170"/>
              <a:gd name="T12" fmla="*/ 76604495 w 170"/>
              <a:gd name="T13" fmla="*/ 439195640 h 170"/>
              <a:gd name="T14" fmla="*/ 434090632 w 170"/>
              <a:gd name="T15" fmla="*/ 76604495 h 170"/>
              <a:gd name="T16" fmla="*/ 791574509 w 170"/>
              <a:gd name="T17" fmla="*/ 434090632 h 170"/>
              <a:gd name="T18" fmla="*/ 709865006 w 170"/>
              <a:gd name="T19" fmla="*/ 352378869 h 170"/>
              <a:gd name="T20" fmla="*/ 617938708 w 170"/>
              <a:gd name="T21" fmla="*/ 229811225 h 170"/>
              <a:gd name="T22" fmla="*/ 684328668 w 170"/>
              <a:gd name="T23" fmla="*/ 357486137 h 170"/>
              <a:gd name="T24" fmla="*/ 694543203 w 170"/>
              <a:gd name="T25" fmla="*/ 449410175 h 170"/>
              <a:gd name="T26" fmla="*/ 434090632 w 170"/>
              <a:gd name="T27" fmla="*/ 694543203 h 170"/>
              <a:gd name="T28" fmla="*/ 240025760 w 170"/>
              <a:gd name="T29" fmla="*/ 607726433 h 170"/>
              <a:gd name="T30" fmla="*/ 209384414 w 170"/>
              <a:gd name="T31" fmla="*/ 556656016 h 170"/>
              <a:gd name="T32" fmla="*/ 173635801 w 170"/>
              <a:gd name="T33" fmla="*/ 464731978 h 170"/>
              <a:gd name="T34" fmla="*/ 178743068 w 170"/>
              <a:gd name="T35" fmla="*/ 367698412 h 170"/>
              <a:gd name="T36" fmla="*/ 270667106 w 170"/>
              <a:gd name="T37" fmla="*/ 321737523 h 170"/>
              <a:gd name="T38" fmla="*/ 291096177 w 170"/>
              <a:gd name="T39" fmla="*/ 577082827 h 170"/>
              <a:gd name="T40" fmla="*/ 352378869 w 170"/>
              <a:gd name="T41" fmla="*/ 617938708 h 170"/>
              <a:gd name="T42" fmla="*/ 449410175 w 170"/>
              <a:gd name="T43" fmla="*/ 633260511 h 170"/>
              <a:gd name="T44" fmla="*/ 633260511 w 170"/>
              <a:gd name="T45" fmla="*/ 434090632 h 170"/>
              <a:gd name="T46" fmla="*/ 556656016 w 170"/>
              <a:gd name="T47" fmla="*/ 291096177 h 170"/>
              <a:gd name="T48" fmla="*/ 607726433 w 170"/>
              <a:gd name="T49" fmla="*/ 434090632 h 170"/>
              <a:gd name="T50" fmla="*/ 454517443 w 170"/>
              <a:gd name="T51" fmla="*/ 607726433 h 170"/>
              <a:gd name="T52" fmla="*/ 362593404 w 170"/>
              <a:gd name="T53" fmla="*/ 592404630 h 170"/>
              <a:gd name="T54" fmla="*/ 260454831 w 170"/>
              <a:gd name="T55" fmla="*/ 434090632 h 170"/>
              <a:gd name="T56" fmla="*/ 383020215 w 170"/>
              <a:gd name="T57" fmla="*/ 434090632 h 170"/>
              <a:gd name="T58" fmla="*/ 434090632 w 170"/>
              <a:gd name="T59" fmla="*/ 485158789 h 170"/>
              <a:gd name="T60" fmla="*/ 434090632 w 170"/>
              <a:gd name="T61" fmla="*/ 383020215 h 170"/>
              <a:gd name="T62" fmla="*/ 199169879 w 170"/>
              <a:gd name="T63" fmla="*/ 199169879 h 170"/>
              <a:gd name="T64" fmla="*/ 204277147 w 170"/>
              <a:gd name="T65" fmla="*/ 255347563 h 170"/>
              <a:gd name="T66" fmla="*/ 112353109 w 170"/>
              <a:gd name="T67" fmla="*/ 413661561 h 170"/>
              <a:gd name="T68" fmla="*/ 178743068 w 170"/>
              <a:gd name="T69" fmla="*/ 571977819 h 170"/>
              <a:gd name="T70" fmla="*/ 209384414 w 170"/>
              <a:gd name="T71" fmla="*/ 628153243 h 170"/>
              <a:gd name="T72" fmla="*/ 229811225 w 170"/>
              <a:gd name="T73" fmla="*/ 638367779 h 170"/>
              <a:gd name="T74" fmla="*/ 638367779 w 170"/>
              <a:gd name="T75" fmla="*/ 638367779 h 170"/>
              <a:gd name="T76" fmla="*/ 755825895 w 170"/>
              <a:gd name="T77" fmla="*/ 403447026 h 17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70" h="170">
                <a:moveTo>
                  <a:pt x="145" y="25"/>
                </a:moveTo>
                <a:cubicBezTo>
                  <a:pt x="128" y="9"/>
                  <a:pt x="107" y="0"/>
                  <a:pt x="85" y="0"/>
                </a:cubicBezTo>
                <a:cubicBezTo>
                  <a:pt x="63" y="0"/>
                  <a:pt x="42" y="9"/>
                  <a:pt x="25" y="25"/>
                </a:cubicBezTo>
                <a:cubicBezTo>
                  <a:pt x="8" y="42"/>
                  <a:pt x="0" y="64"/>
                  <a:pt x="0" y="86"/>
                </a:cubicBezTo>
                <a:cubicBezTo>
                  <a:pt x="0" y="107"/>
                  <a:pt x="9" y="129"/>
                  <a:pt x="25" y="145"/>
                </a:cubicBezTo>
                <a:cubicBezTo>
                  <a:pt x="42" y="161"/>
                  <a:pt x="63" y="170"/>
                  <a:pt x="85" y="170"/>
                </a:cubicBezTo>
                <a:cubicBezTo>
                  <a:pt x="85" y="170"/>
                  <a:pt x="85" y="170"/>
                  <a:pt x="85" y="170"/>
                </a:cubicBezTo>
                <a:cubicBezTo>
                  <a:pt x="107" y="170"/>
                  <a:pt x="128" y="161"/>
                  <a:pt x="145" y="145"/>
                </a:cubicBezTo>
                <a:cubicBezTo>
                  <a:pt x="161" y="128"/>
                  <a:pt x="170" y="107"/>
                  <a:pt x="170" y="85"/>
                </a:cubicBezTo>
                <a:cubicBezTo>
                  <a:pt x="170" y="63"/>
                  <a:pt x="161" y="42"/>
                  <a:pt x="145" y="25"/>
                </a:cubicBezTo>
                <a:close/>
                <a:moveTo>
                  <a:pt x="135" y="135"/>
                </a:moveTo>
                <a:cubicBezTo>
                  <a:pt x="121" y="148"/>
                  <a:pt x="103" y="155"/>
                  <a:pt x="85" y="155"/>
                </a:cubicBezTo>
                <a:cubicBezTo>
                  <a:pt x="67" y="155"/>
                  <a:pt x="49" y="148"/>
                  <a:pt x="35" y="135"/>
                </a:cubicBezTo>
                <a:cubicBezTo>
                  <a:pt x="22" y="121"/>
                  <a:pt x="15" y="103"/>
                  <a:pt x="15" y="86"/>
                </a:cubicBezTo>
                <a:cubicBezTo>
                  <a:pt x="15" y="67"/>
                  <a:pt x="22" y="49"/>
                  <a:pt x="35" y="35"/>
                </a:cubicBezTo>
                <a:cubicBezTo>
                  <a:pt x="49" y="22"/>
                  <a:pt x="67" y="15"/>
                  <a:pt x="85" y="15"/>
                </a:cubicBezTo>
                <a:cubicBezTo>
                  <a:pt x="103" y="15"/>
                  <a:pt x="121" y="22"/>
                  <a:pt x="135" y="35"/>
                </a:cubicBezTo>
                <a:cubicBezTo>
                  <a:pt x="148" y="49"/>
                  <a:pt x="155" y="67"/>
                  <a:pt x="155" y="85"/>
                </a:cubicBezTo>
                <a:cubicBezTo>
                  <a:pt x="155" y="103"/>
                  <a:pt x="148" y="121"/>
                  <a:pt x="135" y="135"/>
                </a:cubicBezTo>
                <a:close/>
                <a:moveTo>
                  <a:pt x="139" y="69"/>
                </a:moveTo>
                <a:cubicBezTo>
                  <a:pt x="136" y="60"/>
                  <a:pt x="132" y="52"/>
                  <a:pt x="125" y="45"/>
                </a:cubicBezTo>
                <a:cubicBezTo>
                  <a:pt x="124" y="44"/>
                  <a:pt x="122" y="44"/>
                  <a:pt x="121" y="45"/>
                </a:cubicBezTo>
                <a:cubicBezTo>
                  <a:pt x="120" y="46"/>
                  <a:pt x="120" y="48"/>
                  <a:pt x="121" y="49"/>
                </a:cubicBezTo>
                <a:cubicBezTo>
                  <a:pt x="127" y="55"/>
                  <a:pt x="132" y="62"/>
                  <a:pt x="134" y="70"/>
                </a:cubicBezTo>
                <a:cubicBezTo>
                  <a:pt x="131" y="71"/>
                  <a:pt x="129" y="75"/>
                  <a:pt x="129" y="79"/>
                </a:cubicBezTo>
                <a:cubicBezTo>
                  <a:pt x="129" y="83"/>
                  <a:pt x="132" y="87"/>
                  <a:pt x="136" y="88"/>
                </a:cubicBezTo>
                <a:cubicBezTo>
                  <a:pt x="135" y="100"/>
                  <a:pt x="131" y="112"/>
                  <a:pt x="121" y="121"/>
                </a:cubicBezTo>
                <a:cubicBezTo>
                  <a:pt x="111" y="131"/>
                  <a:pt x="98" y="136"/>
                  <a:pt x="85" y="136"/>
                </a:cubicBezTo>
                <a:cubicBezTo>
                  <a:pt x="72" y="136"/>
                  <a:pt x="59" y="131"/>
                  <a:pt x="49" y="121"/>
                </a:cubicBezTo>
                <a:cubicBezTo>
                  <a:pt x="48" y="121"/>
                  <a:pt x="47" y="120"/>
                  <a:pt x="47" y="119"/>
                </a:cubicBezTo>
                <a:cubicBezTo>
                  <a:pt x="47" y="118"/>
                  <a:pt x="48" y="117"/>
                  <a:pt x="48" y="116"/>
                </a:cubicBezTo>
                <a:cubicBezTo>
                  <a:pt x="48" y="112"/>
                  <a:pt x="45" y="109"/>
                  <a:pt x="41" y="109"/>
                </a:cubicBezTo>
                <a:cubicBezTo>
                  <a:pt x="41" y="109"/>
                  <a:pt x="40" y="109"/>
                  <a:pt x="40" y="109"/>
                </a:cubicBezTo>
                <a:cubicBezTo>
                  <a:pt x="37" y="103"/>
                  <a:pt x="35" y="97"/>
                  <a:pt x="34" y="91"/>
                </a:cubicBezTo>
                <a:cubicBezTo>
                  <a:pt x="38" y="90"/>
                  <a:pt x="41" y="86"/>
                  <a:pt x="41" y="81"/>
                </a:cubicBezTo>
                <a:cubicBezTo>
                  <a:pt x="41" y="77"/>
                  <a:pt x="39" y="74"/>
                  <a:pt x="35" y="72"/>
                </a:cubicBezTo>
                <a:cubicBezTo>
                  <a:pt x="37" y="66"/>
                  <a:pt x="40" y="60"/>
                  <a:pt x="44" y="54"/>
                </a:cubicBezTo>
                <a:cubicBezTo>
                  <a:pt x="53" y="63"/>
                  <a:pt x="53" y="63"/>
                  <a:pt x="53" y="63"/>
                </a:cubicBezTo>
                <a:cubicBezTo>
                  <a:pt x="48" y="70"/>
                  <a:pt x="46" y="77"/>
                  <a:pt x="46" y="85"/>
                </a:cubicBezTo>
                <a:cubicBezTo>
                  <a:pt x="46" y="95"/>
                  <a:pt x="50" y="105"/>
                  <a:pt x="57" y="113"/>
                </a:cubicBezTo>
                <a:cubicBezTo>
                  <a:pt x="61" y="116"/>
                  <a:pt x="65" y="119"/>
                  <a:pt x="69" y="121"/>
                </a:cubicBezTo>
                <a:cubicBezTo>
                  <a:pt x="69" y="121"/>
                  <a:pt x="69" y="121"/>
                  <a:pt x="69" y="121"/>
                </a:cubicBezTo>
                <a:cubicBezTo>
                  <a:pt x="69" y="126"/>
                  <a:pt x="74" y="131"/>
                  <a:pt x="79" y="131"/>
                </a:cubicBezTo>
                <a:cubicBezTo>
                  <a:pt x="83" y="131"/>
                  <a:pt x="87" y="128"/>
                  <a:pt x="88" y="124"/>
                </a:cubicBezTo>
                <a:cubicBezTo>
                  <a:pt x="97" y="123"/>
                  <a:pt x="106" y="119"/>
                  <a:pt x="113" y="113"/>
                </a:cubicBezTo>
                <a:cubicBezTo>
                  <a:pt x="120" y="105"/>
                  <a:pt x="124" y="95"/>
                  <a:pt x="124" y="85"/>
                </a:cubicBezTo>
                <a:cubicBezTo>
                  <a:pt x="124" y="75"/>
                  <a:pt x="120" y="65"/>
                  <a:pt x="113" y="57"/>
                </a:cubicBezTo>
                <a:cubicBezTo>
                  <a:pt x="112" y="56"/>
                  <a:pt x="110" y="56"/>
                  <a:pt x="109" y="57"/>
                </a:cubicBezTo>
                <a:cubicBezTo>
                  <a:pt x="108" y="58"/>
                  <a:pt x="108" y="60"/>
                  <a:pt x="109" y="61"/>
                </a:cubicBezTo>
                <a:cubicBezTo>
                  <a:pt x="116" y="68"/>
                  <a:pt x="119" y="76"/>
                  <a:pt x="119" y="85"/>
                </a:cubicBezTo>
                <a:cubicBezTo>
                  <a:pt x="119" y="94"/>
                  <a:pt x="116" y="102"/>
                  <a:pt x="109" y="109"/>
                </a:cubicBezTo>
                <a:cubicBezTo>
                  <a:pt x="103" y="115"/>
                  <a:pt x="96" y="118"/>
                  <a:pt x="89" y="119"/>
                </a:cubicBezTo>
                <a:cubicBezTo>
                  <a:pt x="88" y="114"/>
                  <a:pt x="84" y="111"/>
                  <a:pt x="79" y="111"/>
                </a:cubicBezTo>
                <a:cubicBezTo>
                  <a:pt x="75" y="111"/>
                  <a:pt x="72" y="113"/>
                  <a:pt x="71" y="116"/>
                </a:cubicBezTo>
                <a:cubicBezTo>
                  <a:pt x="67" y="114"/>
                  <a:pt x="64" y="112"/>
                  <a:pt x="61" y="109"/>
                </a:cubicBezTo>
                <a:cubicBezTo>
                  <a:pt x="54" y="102"/>
                  <a:pt x="51" y="94"/>
                  <a:pt x="51" y="85"/>
                </a:cubicBezTo>
                <a:cubicBezTo>
                  <a:pt x="51" y="79"/>
                  <a:pt x="53" y="72"/>
                  <a:pt x="56" y="66"/>
                </a:cubicBezTo>
                <a:cubicBezTo>
                  <a:pt x="75" y="85"/>
                  <a:pt x="75" y="85"/>
                  <a:pt x="75" y="85"/>
                </a:cubicBezTo>
                <a:cubicBezTo>
                  <a:pt x="75" y="85"/>
                  <a:pt x="75" y="85"/>
                  <a:pt x="75" y="85"/>
                </a:cubicBezTo>
                <a:cubicBezTo>
                  <a:pt x="75" y="90"/>
                  <a:pt x="79" y="95"/>
                  <a:pt x="85" y="95"/>
                </a:cubicBezTo>
                <a:cubicBezTo>
                  <a:pt x="90" y="95"/>
                  <a:pt x="94" y="90"/>
                  <a:pt x="94" y="85"/>
                </a:cubicBezTo>
                <a:cubicBezTo>
                  <a:pt x="94" y="80"/>
                  <a:pt x="90" y="75"/>
                  <a:pt x="85" y="75"/>
                </a:cubicBezTo>
                <a:cubicBezTo>
                  <a:pt x="49" y="39"/>
                  <a:pt x="49" y="39"/>
                  <a:pt x="49" y="39"/>
                </a:cubicBezTo>
                <a:cubicBezTo>
                  <a:pt x="46" y="36"/>
                  <a:pt x="42" y="36"/>
                  <a:pt x="39" y="39"/>
                </a:cubicBezTo>
                <a:cubicBezTo>
                  <a:pt x="36" y="42"/>
                  <a:pt x="36" y="46"/>
                  <a:pt x="39" y="49"/>
                </a:cubicBezTo>
                <a:cubicBezTo>
                  <a:pt x="40" y="50"/>
                  <a:pt x="40" y="50"/>
                  <a:pt x="40" y="50"/>
                </a:cubicBezTo>
                <a:cubicBezTo>
                  <a:pt x="36" y="57"/>
                  <a:pt x="32" y="64"/>
                  <a:pt x="30" y="71"/>
                </a:cubicBezTo>
                <a:cubicBezTo>
                  <a:pt x="25" y="72"/>
                  <a:pt x="22" y="76"/>
                  <a:pt x="22" y="81"/>
                </a:cubicBezTo>
                <a:cubicBezTo>
                  <a:pt x="22" y="86"/>
                  <a:pt x="25" y="90"/>
                  <a:pt x="29" y="91"/>
                </a:cubicBezTo>
                <a:cubicBezTo>
                  <a:pt x="30" y="98"/>
                  <a:pt x="32" y="105"/>
                  <a:pt x="35" y="112"/>
                </a:cubicBezTo>
                <a:cubicBezTo>
                  <a:pt x="35" y="113"/>
                  <a:pt x="34" y="114"/>
                  <a:pt x="34" y="116"/>
                </a:cubicBezTo>
                <a:cubicBezTo>
                  <a:pt x="34" y="120"/>
                  <a:pt x="37" y="123"/>
                  <a:pt x="41" y="123"/>
                </a:cubicBezTo>
                <a:cubicBezTo>
                  <a:pt x="42" y="123"/>
                  <a:pt x="42" y="123"/>
                  <a:pt x="43" y="123"/>
                </a:cubicBezTo>
                <a:cubicBezTo>
                  <a:pt x="44" y="123"/>
                  <a:pt x="44" y="124"/>
                  <a:pt x="45" y="125"/>
                </a:cubicBezTo>
                <a:cubicBezTo>
                  <a:pt x="56" y="136"/>
                  <a:pt x="71" y="141"/>
                  <a:pt x="85" y="141"/>
                </a:cubicBezTo>
                <a:cubicBezTo>
                  <a:pt x="99" y="141"/>
                  <a:pt x="114" y="136"/>
                  <a:pt x="125" y="125"/>
                </a:cubicBezTo>
                <a:cubicBezTo>
                  <a:pt x="135" y="115"/>
                  <a:pt x="141" y="102"/>
                  <a:pt x="141" y="88"/>
                </a:cubicBezTo>
                <a:cubicBezTo>
                  <a:pt x="145" y="87"/>
                  <a:pt x="148" y="83"/>
                  <a:pt x="148" y="79"/>
                </a:cubicBezTo>
                <a:cubicBezTo>
                  <a:pt x="148" y="73"/>
                  <a:pt x="144" y="69"/>
                  <a:pt x="139" y="6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73" name="Freeform 32"/>
          <p:cNvSpPr>
            <a:spLocks noEditPoints="1"/>
          </p:cNvSpPr>
          <p:nvPr/>
        </p:nvSpPr>
        <p:spPr bwMode="auto">
          <a:xfrm>
            <a:off x="6409268" y="2256367"/>
            <a:ext cx="522817" cy="457200"/>
          </a:xfrm>
          <a:custGeom>
            <a:avLst/>
            <a:gdLst>
              <a:gd name="T0" fmla="*/ 483870617 w 247"/>
              <a:gd name="T1" fmla="*/ 176410938 h 216"/>
              <a:gd name="T2" fmla="*/ 483870617 w 247"/>
              <a:gd name="T3" fmla="*/ 0 h 216"/>
              <a:gd name="T4" fmla="*/ 0 w 247"/>
              <a:gd name="T5" fmla="*/ 0 h 216"/>
              <a:gd name="T6" fmla="*/ 0 w 247"/>
              <a:gd name="T7" fmla="*/ 367942813 h 216"/>
              <a:gd name="T8" fmla="*/ 138609564 w 247"/>
              <a:gd name="T9" fmla="*/ 367942813 h 216"/>
              <a:gd name="T10" fmla="*/ 138609564 w 247"/>
              <a:gd name="T11" fmla="*/ 544353750 h 216"/>
              <a:gd name="T12" fmla="*/ 622480181 w 247"/>
              <a:gd name="T13" fmla="*/ 544353750 h 216"/>
              <a:gd name="T14" fmla="*/ 622480181 w 247"/>
              <a:gd name="T15" fmla="*/ 176410938 h 216"/>
              <a:gd name="T16" fmla="*/ 483870617 w 247"/>
              <a:gd name="T17" fmla="*/ 176410938 h 216"/>
              <a:gd name="T18" fmla="*/ 52924142 w 247"/>
              <a:gd name="T19" fmla="*/ 315020325 h 216"/>
              <a:gd name="T20" fmla="*/ 52924142 w 247"/>
              <a:gd name="T21" fmla="*/ 52924075 h 216"/>
              <a:gd name="T22" fmla="*/ 430948062 w 247"/>
              <a:gd name="T23" fmla="*/ 52924075 h 216"/>
              <a:gd name="T24" fmla="*/ 430948062 w 247"/>
              <a:gd name="T25" fmla="*/ 176410938 h 216"/>
              <a:gd name="T26" fmla="*/ 138609564 w 247"/>
              <a:gd name="T27" fmla="*/ 176410938 h 216"/>
              <a:gd name="T28" fmla="*/ 138609564 w 247"/>
              <a:gd name="T29" fmla="*/ 315020325 h 216"/>
              <a:gd name="T30" fmla="*/ 52924142 w 247"/>
              <a:gd name="T31" fmla="*/ 315020325 h 216"/>
              <a:gd name="T32" fmla="*/ 569556039 w 247"/>
              <a:gd name="T33" fmla="*/ 491431263 h 216"/>
              <a:gd name="T34" fmla="*/ 194053072 w 247"/>
              <a:gd name="T35" fmla="*/ 491431263 h 216"/>
              <a:gd name="T36" fmla="*/ 194053072 w 247"/>
              <a:gd name="T37" fmla="*/ 229335013 h 216"/>
              <a:gd name="T38" fmla="*/ 569556039 w 247"/>
              <a:gd name="T39" fmla="*/ 229335013 h 216"/>
              <a:gd name="T40" fmla="*/ 569556039 w 247"/>
              <a:gd name="T41" fmla="*/ 491431263 h 21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47" h="216">
                <a:moveTo>
                  <a:pt x="192" y="70"/>
                </a:moveTo>
                <a:lnTo>
                  <a:pt x="192" y="0"/>
                </a:lnTo>
                <a:lnTo>
                  <a:pt x="0" y="0"/>
                </a:lnTo>
                <a:lnTo>
                  <a:pt x="0" y="146"/>
                </a:lnTo>
                <a:lnTo>
                  <a:pt x="55" y="146"/>
                </a:lnTo>
                <a:lnTo>
                  <a:pt x="55" y="216"/>
                </a:lnTo>
                <a:lnTo>
                  <a:pt x="247" y="216"/>
                </a:lnTo>
                <a:lnTo>
                  <a:pt x="247" y="70"/>
                </a:lnTo>
                <a:lnTo>
                  <a:pt x="192" y="70"/>
                </a:lnTo>
                <a:close/>
                <a:moveTo>
                  <a:pt x="21" y="125"/>
                </a:moveTo>
                <a:lnTo>
                  <a:pt x="21" y="21"/>
                </a:lnTo>
                <a:lnTo>
                  <a:pt x="171" y="21"/>
                </a:lnTo>
                <a:lnTo>
                  <a:pt x="171" y="70"/>
                </a:lnTo>
                <a:lnTo>
                  <a:pt x="55" y="70"/>
                </a:lnTo>
                <a:lnTo>
                  <a:pt x="55" y="125"/>
                </a:lnTo>
                <a:lnTo>
                  <a:pt x="21" y="125"/>
                </a:lnTo>
                <a:close/>
                <a:moveTo>
                  <a:pt x="226" y="195"/>
                </a:moveTo>
                <a:lnTo>
                  <a:pt x="77" y="195"/>
                </a:lnTo>
                <a:lnTo>
                  <a:pt x="77" y="91"/>
                </a:lnTo>
                <a:lnTo>
                  <a:pt x="226" y="91"/>
                </a:lnTo>
                <a:lnTo>
                  <a:pt x="226" y="1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74" name="Freeform 33"/>
          <p:cNvSpPr>
            <a:spLocks noEditPoints="1"/>
          </p:cNvSpPr>
          <p:nvPr/>
        </p:nvSpPr>
        <p:spPr bwMode="auto">
          <a:xfrm>
            <a:off x="7315200" y="2250018"/>
            <a:ext cx="372533" cy="518583"/>
          </a:xfrm>
          <a:custGeom>
            <a:avLst/>
            <a:gdLst>
              <a:gd name="T0" fmla="*/ 568626318 w 124"/>
              <a:gd name="T1" fmla="*/ 388611378 h 172"/>
              <a:gd name="T2" fmla="*/ 467086950 w 124"/>
              <a:gd name="T3" fmla="*/ 199418402 h 172"/>
              <a:gd name="T4" fmla="*/ 467086950 w 124"/>
              <a:gd name="T5" fmla="*/ 30680798 h 172"/>
              <a:gd name="T6" fmla="*/ 299543839 w 124"/>
              <a:gd name="T7" fmla="*/ 30680798 h 172"/>
              <a:gd name="T8" fmla="*/ 35540131 w 124"/>
              <a:gd name="T9" fmla="*/ 296573508 h 172"/>
              <a:gd name="T10" fmla="*/ 35540131 w 124"/>
              <a:gd name="T11" fmla="*/ 465311111 h 172"/>
              <a:gd name="T12" fmla="*/ 162464340 w 124"/>
              <a:gd name="T13" fmla="*/ 680072173 h 172"/>
              <a:gd name="T14" fmla="*/ 162464340 w 124"/>
              <a:gd name="T15" fmla="*/ 848809777 h 172"/>
              <a:gd name="T16" fmla="*/ 248774155 w 124"/>
              <a:gd name="T17" fmla="*/ 879490575 h 172"/>
              <a:gd name="T18" fmla="*/ 330007452 w 124"/>
              <a:gd name="T19" fmla="*/ 848809777 h 172"/>
              <a:gd name="T20" fmla="*/ 629551290 w 124"/>
              <a:gd name="T21" fmla="*/ 495991909 h 172"/>
              <a:gd name="T22" fmla="*/ 340160487 w 124"/>
              <a:gd name="T23" fmla="*/ 71587021 h 172"/>
              <a:gd name="T24" fmla="*/ 426470302 w 124"/>
              <a:gd name="T25" fmla="*/ 71587021 h 172"/>
              <a:gd name="T26" fmla="*/ 426470302 w 124"/>
              <a:gd name="T27" fmla="*/ 158512179 h 172"/>
              <a:gd name="T28" fmla="*/ 233542348 w 124"/>
              <a:gd name="T29" fmla="*/ 352817868 h 172"/>
              <a:gd name="T30" fmla="*/ 147234787 w 124"/>
              <a:gd name="T31" fmla="*/ 265892710 h 172"/>
              <a:gd name="T32" fmla="*/ 289390803 w 124"/>
              <a:gd name="T33" fmla="*/ 807903554 h 172"/>
              <a:gd name="T34" fmla="*/ 203080989 w 124"/>
              <a:gd name="T35" fmla="*/ 807903554 h 172"/>
              <a:gd name="T36" fmla="*/ 203080989 w 124"/>
              <a:gd name="T37" fmla="*/ 720978396 h 172"/>
              <a:gd name="T38" fmla="*/ 264005961 w 124"/>
              <a:gd name="T39" fmla="*/ 695410311 h 172"/>
              <a:gd name="T40" fmla="*/ 304622610 w 124"/>
              <a:gd name="T41" fmla="*/ 761884619 h 172"/>
              <a:gd name="T42" fmla="*/ 553396765 w 124"/>
              <a:gd name="T43" fmla="*/ 542010845 h 172"/>
              <a:gd name="T44" fmla="*/ 330007452 w 124"/>
              <a:gd name="T45" fmla="*/ 680072173 h 172"/>
              <a:gd name="T46" fmla="*/ 76154526 w 124"/>
              <a:gd name="T47" fmla="*/ 424404889 h 172"/>
              <a:gd name="T48" fmla="*/ 76154526 w 124"/>
              <a:gd name="T49" fmla="*/ 337479730 h 172"/>
              <a:gd name="T50" fmla="*/ 162464340 w 124"/>
              <a:gd name="T51" fmla="*/ 337479730 h 172"/>
              <a:gd name="T52" fmla="*/ 162464340 w 124"/>
              <a:gd name="T53" fmla="*/ 424404889 h 172"/>
              <a:gd name="T54" fmla="*/ 380777135 w 124"/>
              <a:gd name="T55" fmla="*/ 281233109 h 172"/>
              <a:gd name="T56" fmla="*/ 553396765 w 124"/>
              <a:gd name="T57" fmla="*/ 455085686 h 172"/>
              <a:gd name="T58" fmla="*/ 553396765 w 124"/>
              <a:gd name="T59" fmla="*/ 542010845 h 172"/>
              <a:gd name="T60" fmla="*/ 218312795 w 124"/>
              <a:gd name="T61" fmla="*/ 485764223 h 172"/>
              <a:gd name="T62" fmla="*/ 411238495 w 124"/>
              <a:gd name="T63" fmla="*/ 373273241 h 172"/>
              <a:gd name="T64" fmla="*/ 431546819 w 124"/>
              <a:gd name="T65" fmla="*/ 393726352 h 172"/>
              <a:gd name="T66" fmla="*/ 319852163 w 124"/>
              <a:gd name="T67" fmla="*/ 588032041 h 172"/>
              <a:gd name="T68" fmla="*/ 431546819 w 124"/>
              <a:gd name="T69" fmla="*/ 393726352 h 172"/>
              <a:gd name="T70" fmla="*/ 380777135 w 124"/>
              <a:gd name="T71" fmla="*/ 644278663 h 172"/>
              <a:gd name="T72" fmla="*/ 487395274 w 124"/>
              <a:gd name="T73" fmla="*/ 455085686 h 17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4" h="172">
                <a:moveTo>
                  <a:pt x="117" y="81"/>
                </a:moveTo>
                <a:cubicBezTo>
                  <a:pt x="112" y="76"/>
                  <a:pt x="112" y="76"/>
                  <a:pt x="112" y="76"/>
                </a:cubicBezTo>
                <a:cubicBezTo>
                  <a:pt x="83" y="47"/>
                  <a:pt x="83" y="47"/>
                  <a:pt x="83" y="47"/>
                </a:cubicBezTo>
                <a:cubicBezTo>
                  <a:pt x="92" y="39"/>
                  <a:pt x="92" y="39"/>
                  <a:pt x="92" y="39"/>
                </a:cubicBezTo>
                <a:cubicBezTo>
                  <a:pt x="96" y="34"/>
                  <a:pt x="98" y="28"/>
                  <a:pt x="98" y="23"/>
                </a:cubicBezTo>
                <a:cubicBezTo>
                  <a:pt x="98" y="17"/>
                  <a:pt x="96" y="11"/>
                  <a:pt x="92" y="6"/>
                </a:cubicBezTo>
                <a:cubicBezTo>
                  <a:pt x="87" y="2"/>
                  <a:pt x="81" y="0"/>
                  <a:pt x="75" y="0"/>
                </a:cubicBezTo>
                <a:cubicBezTo>
                  <a:pt x="69" y="0"/>
                  <a:pt x="64" y="2"/>
                  <a:pt x="59" y="6"/>
                </a:cubicBezTo>
                <a:cubicBezTo>
                  <a:pt x="9" y="57"/>
                  <a:pt x="9" y="57"/>
                  <a:pt x="9" y="57"/>
                </a:cubicBezTo>
                <a:cubicBezTo>
                  <a:pt x="8" y="57"/>
                  <a:pt x="8" y="58"/>
                  <a:pt x="7" y="58"/>
                </a:cubicBezTo>
                <a:cubicBezTo>
                  <a:pt x="3" y="63"/>
                  <a:pt x="0" y="69"/>
                  <a:pt x="0" y="75"/>
                </a:cubicBezTo>
                <a:cubicBezTo>
                  <a:pt x="0" y="81"/>
                  <a:pt x="3" y="86"/>
                  <a:pt x="7" y="91"/>
                </a:cubicBezTo>
                <a:cubicBezTo>
                  <a:pt x="41" y="125"/>
                  <a:pt x="41" y="125"/>
                  <a:pt x="41" y="125"/>
                </a:cubicBezTo>
                <a:cubicBezTo>
                  <a:pt x="32" y="133"/>
                  <a:pt x="32" y="133"/>
                  <a:pt x="32" y="133"/>
                </a:cubicBezTo>
                <a:cubicBezTo>
                  <a:pt x="28" y="138"/>
                  <a:pt x="26" y="144"/>
                  <a:pt x="26" y="149"/>
                </a:cubicBezTo>
                <a:cubicBezTo>
                  <a:pt x="26" y="155"/>
                  <a:pt x="28" y="161"/>
                  <a:pt x="32" y="166"/>
                </a:cubicBezTo>
                <a:cubicBezTo>
                  <a:pt x="37" y="170"/>
                  <a:pt x="43" y="172"/>
                  <a:pt x="49" y="172"/>
                </a:cubicBezTo>
                <a:cubicBezTo>
                  <a:pt x="49" y="172"/>
                  <a:pt x="49" y="172"/>
                  <a:pt x="49" y="172"/>
                </a:cubicBezTo>
                <a:cubicBezTo>
                  <a:pt x="55" y="172"/>
                  <a:pt x="60" y="170"/>
                  <a:pt x="65" y="166"/>
                </a:cubicBezTo>
                <a:cubicBezTo>
                  <a:pt x="65" y="166"/>
                  <a:pt x="65" y="166"/>
                  <a:pt x="65" y="166"/>
                </a:cubicBezTo>
                <a:cubicBezTo>
                  <a:pt x="117" y="114"/>
                  <a:pt x="117" y="114"/>
                  <a:pt x="117" y="114"/>
                </a:cubicBezTo>
                <a:cubicBezTo>
                  <a:pt x="121" y="109"/>
                  <a:pt x="124" y="103"/>
                  <a:pt x="124" y="97"/>
                </a:cubicBezTo>
                <a:cubicBezTo>
                  <a:pt x="124" y="91"/>
                  <a:pt x="121" y="85"/>
                  <a:pt x="117" y="81"/>
                </a:cubicBezTo>
                <a:close/>
                <a:moveTo>
                  <a:pt x="67" y="14"/>
                </a:moveTo>
                <a:cubicBezTo>
                  <a:pt x="69" y="12"/>
                  <a:pt x="72" y="11"/>
                  <a:pt x="75" y="11"/>
                </a:cubicBezTo>
                <a:cubicBezTo>
                  <a:pt x="78" y="11"/>
                  <a:pt x="81" y="12"/>
                  <a:pt x="84" y="14"/>
                </a:cubicBezTo>
                <a:cubicBezTo>
                  <a:pt x="86" y="17"/>
                  <a:pt x="87" y="20"/>
                  <a:pt x="87" y="23"/>
                </a:cubicBezTo>
                <a:cubicBezTo>
                  <a:pt x="87" y="26"/>
                  <a:pt x="86" y="29"/>
                  <a:pt x="84" y="31"/>
                </a:cubicBezTo>
                <a:cubicBezTo>
                  <a:pt x="80" y="34"/>
                  <a:pt x="80" y="34"/>
                  <a:pt x="80" y="34"/>
                </a:cubicBezTo>
                <a:cubicBezTo>
                  <a:pt x="46" y="69"/>
                  <a:pt x="46" y="69"/>
                  <a:pt x="46" y="69"/>
                </a:cubicBezTo>
                <a:cubicBezTo>
                  <a:pt x="45" y="65"/>
                  <a:pt x="43" y="62"/>
                  <a:pt x="39" y="58"/>
                </a:cubicBezTo>
                <a:cubicBezTo>
                  <a:pt x="36" y="55"/>
                  <a:pt x="33" y="53"/>
                  <a:pt x="29" y="52"/>
                </a:cubicBezTo>
                <a:lnTo>
                  <a:pt x="67" y="14"/>
                </a:lnTo>
                <a:close/>
                <a:moveTo>
                  <a:pt x="57" y="158"/>
                </a:moveTo>
                <a:cubicBezTo>
                  <a:pt x="55" y="160"/>
                  <a:pt x="52" y="161"/>
                  <a:pt x="49" y="161"/>
                </a:cubicBezTo>
                <a:cubicBezTo>
                  <a:pt x="46" y="161"/>
                  <a:pt x="43" y="160"/>
                  <a:pt x="40" y="158"/>
                </a:cubicBezTo>
                <a:cubicBezTo>
                  <a:pt x="38" y="155"/>
                  <a:pt x="37" y="152"/>
                  <a:pt x="37" y="149"/>
                </a:cubicBezTo>
                <a:cubicBezTo>
                  <a:pt x="37" y="146"/>
                  <a:pt x="38" y="143"/>
                  <a:pt x="40" y="141"/>
                </a:cubicBezTo>
                <a:cubicBezTo>
                  <a:pt x="49" y="133"/>
                  <a:pt x="49" y="133"/>
                  <a:pt x="49" y="133"/>
                </a:cubicBezTo>
                <a:cubicBezTo>
                  <a:pt x="52" y="136"/>
                  <a:pt x="52" y="136"/>
                  <a:pt x="52" y="136"/>
                </a:cubicBezTo>
                <a:cubicBezTo>
                  <a:pt x="57" y="141"/>
                  <a:pt x="57" y="141"/>
                  <a:pt x="57" y="141"/>
                </a:cubicBezTo>
                <a:cubicBezTo>
                  <a:pt x="59" y="143"/>
                  <a:pt x="60" y="146"/>
                  <a:pt x="60" y="149"/>
                </a:cubicBezTo>
                <a:cubicBezTo>
                  <a:pt x="60" y="152"/>
                  <a:pt x="59" y="155"/>
                  <a:pt x="57" y="158"/>
                </a:cubicBezTo>
                <a:close/>
                <a:moveTo>
                  <a:pt x="109" y="106"/>
                </a:moveTo>
                <a:cubicBezTo>
                  <a:pt x="71" y="144"/>
                  <a:pt x="71" y="144"/>
                  <a:pt x="71" y="144"/>
                </a:cubicBezTo>
                <a:cubicBezTo>
                  <a:pt x="70" y="140"/>
                  <a:pt x="68" y="136"/>
                  <a:pt x="65" y="133"/>
                </a:cubicBezTo>
                <a:cubicBezTo>
                  <a:pt x="60" y="128"/>
                  <a:pt x="60" y="128"/>
                  <a:pt x="60" y="128"/>
                </a:cubicBezTo>
                <a:cubicBezTo>
                  <a:pt x="15" y="83"/>
                  <a:pt x="15" y="83"/>
                  <a:pt x="15" y="83"/>
                </a:cubicBezTo>
                <a:cubicBezTo>
                  <a:pt x="13" y="81"/>
                  <a:pt x="11" y="78"/>
                  <a:pt x="11" y="75"/>
                </a:cubicBezTo>
                <a:cubicBezTo>
                  <a:pt x="11" y="72"/>
                  <a:pt x="13" y="69"/>
                  <a:pt x="15" y="66"/>
                </a:cubicBezTo>
                <a:cubicBezTo>
                  <a:pt x="17" y="64"/>
                  <a:pt x="20" y="63"/>
                  <a:pt x="23" y="63"/>
                </a:cubicBezTo>
                <a:cubicBezTo>
                  <a:pt x="26" y="63"/>
                  <a:pt x="29" y="64"/>
                  <a:pt x="32" y="66"/>
                </a:cubicBezTo>
                <a:cubicBezTo>
                  <a:pt x="34" y="69"/>
                  <a:pt x="35" y="72"/>
                  <a:pt x="35" y="75"/>
                </a:cubicBezTo>
                <a:cubicBezTo>
                  <a:pt x="35" y="78"/>
                  <a:pt x="34" y="81"/>
                  <a:pt x="32" y="83"/>
                </a:cubicBezTo>
                <a:cubicBezTo>
                  <a:pt x="39" y="91"/>
                  <a:pt x="39" y="91"/>
                  <a:pt x="39" y="91"/>
                </a:cubicBezTo>
                <a:cubicBezTo>
                  <a:pt x="75" y="55"/>
                  <a:pt x="75" y="55"/>
                  <a:pt x="75" y="55"/>
                </a:cubicBezTo>
                <a:cubicBezTo>
                  <a:pt x="104" y="84"/>
                  <a:pt x="104" y="84"/>
                  <a:pt x="104" y="84"/>
                </a:cubicBezTo>
                <a:cubicBezTo>
                  <a:pt x="109" y="89"/>
                  <a:pt x="109" y="89"/>
                  <a:pt x="109" y="89"/>
                </a:cubicBezTo>
                <a:cubicBezTo>
                  <a:pt x="111" y="91"/>
                  <a:pt x="113" y="94"/>
                  <a:pt x="113" y="97"/>
                </a:cubicBezTo>
                <a:cubicBezTo>
                  <a:pt x="113" y="100"/>
                  <a:pt x="111" y="103"/>
                  <a:pt x="109" y="106"/>
                </a:cubicBezTo>
                <a:close/>
                <a:moveTo>
                  <a:pt x="73" y="65"/>
                </a:moveTo>
                <a:cubicBezTo>
                  <a:pt x="43" y="95"/>
                  <a:pt x="43" y="95"/>
                  <a:pt x="43" y="95"/>
                </a:cubicBezTo>
                <a:cubicBezTo>
                  <a:pt x="51" y="103"/>
                  <a:pt x="51" y="103"/>
                  <a:pt x="51" y="103"/>
                </a:cubicBezTo>
                <a:cubicBezTo>
                  <a:pt x="81" y="73"/>
                  <a:pt x="81" y="73"/>
                  <a:pt x="81" y="73"/>
                </a:cubicBezTo>
                <a:lnTo>
                  <a:pt x="73" y="65"/>
                </a:lnTo>
                <a:close/>
                <a:moveTo>
                  <a:pt x="85" y="77"/>
                </a:moveTo>
                <a:cubicBezTo>
                  <a:pt x="55" y="107"/>
                  <a:pt x="55" y="107"/>
                  <a:pt x="55" y="107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92" y="85"/>
                  <a:pt x="92" y="85"/>
                  <a:pt x="92" y="85"/>
                </a:cubicBezTo>
                <a:lnTo>
                  <a:pt x="85" y="77"/>
                </a:lnTo>
                <a:close/>
                <a:moveTo>
                  <a:pt x="67" y="119"/>
                </a:moveTo>
                <a:cubicBezTo>
                  <a:pt x="75" y="126"/>
                  <a:pt x="75" y="126"/>
                  <a:pt x="75" y="126"/>
                </a:cubicBezTo>
                <a:cubicBezTo>
                  <a:pt x="104" y="97"/>
                  <a:pt x="104" y="97"/>
                  <a:pt x="104" y="97"/>
                </a:cubicBezTo>
                <a:cubicBezTo>
                  <a:pt x="96" y="89"/>
                  <a:pt x="96" y="89"/>
                  <a:pt x="96" y="89"/>
                </a:cubicBezTo>
                <a:lnTo>
                  <a:pt x="67" y="1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75" name="Freeform 34"/>
          <p:cNvSpPr>
            <a:spLocks/>
          </p:cNvSpPr>
          <p:nvPr/>
        </p:nvSpPr>
        <p:spPr bwMode="auto">
          <a:xfrm>
            <a:off x="8180918" y="2209800"/>
            <a:ext cx="349249" cy="524933"/>
          </a:xfrm>
          <a:custGeom>
            <a:avLst/>
            <a:gdLst>
              <a:gd name="T0" fmla="*/ 448707113 w 116"/>
              <a:gd name="T1" fmla="*/ 598987398 h 174"/>
              <a:gd name="T2" fmla="*/ 387519985 w 116"/>
              <a:gd name="T3" fmla="*/ 614346224 h 174"/>
              <a:gd name="T4" fmla="*/ 275343207 w 116"/>
              <a:gd name="T5" fmla="*/ 506836709 h 174"/>
              <a:gd name="T6" fmla="*/ 285540685 w 116"/>
              <a:gd name="T7" fmla="*/ 445401408 h 174"/>
              <a:gd name="T8" fmla="*/ 275343207 w 116"/>
              <a:gd name="T9" fmla="*/ 383966107 h 174"/>
              <a:gd name="T10" fmla="*/ 382418988 w 116"/>
              <a:gd name="T11" fmla="*/ 276456593 h 174"/>
              <a:gd name="T12" fmla="*/ 448707113 w 116"/>
              <a:gd name="T13" fmla="*/ 291815418 h 174"/>
              <a:gd name="T14" fmla="*/ 591476327 w 116"/>
              <a:gd name="T15" fmla="*/ 143347528 h 174"/>
              <a:gd name="T16" fmla="*/ 448707113 w 116"/>
              <a:gd name="T17" fmla="*/ 0 h 174"/>
              <a:gd name="T18" fmla="*/ 305935642 w 116"/>
              <a:gd name="T19" fmla="*/ 143347528 h 174"/>
              <a:gd name="T20" fmla="*/ 316133120 w 116"/>
              <a:gd name="T21" fmla="*/ 199662466 h 174"/>
              <a:gd name="T22" fmla="*/ 203956342 w 116"/>
              <a:gd name="T23" fmla="*/ 312292343 h 174"/>
              <a:gd name="T24" fmla="*/ 142769213 w 116"/>
              <a:gd name="T25" fmla="*/ 302053880 h 174"/>
              <a:gd name="T26" fmla="*/ 0 w 116"/>
              <a:gd name="T27" fmla="*/ 445401408 h 174"/>
              <a:gd name="T28" fmla="*/ 142769213 w 116"/>
              <a:gd name="T29" fmla="*/ 588748936 h 174"/>
              <a:gd name="T30" fmla="*/ 203956342 w 116"/>
              <a:gd name="T31" fmla="*/ 578510473 h 174"/>
              <a:gd name="T32" fmla="*/ 316133120 w 116"/>
              <a:gd name="T33" fmla="*/ 691140350 h 174"/>
              <a:gd name="T34" fmla="*/ 305935642 w 116"/>
              <a:gd name="T35" fmla="*/ 747455289 h 174"/>
              <a:gd name="T36" fmla="*/ 448707113 w 116"/>
              <a:gd name="T37" fmla="*/ 890802816 h 174"/>
              <a:gd name="T38" fmla="*/ 591476327 w 116"/>
              <a:gd name="T39" fmla="*/ 747455289 h 174"/>
              <a:gd name="T40" fmla="*/ 448707113 w 116"/>
              <a:gd name="T41" fmla="*/ 598987398 h 17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16" h="174">
                <a:moveTo>
                  <a:pt x="88" y="117"/>
                </a:moveTo>
                <a:cubicBezTo>
                  <a:pt x="83" y="117"/>
                  <a:pt x="79" y="118"/>
                  <a:pt x="76" y="120"/>
                </a:cubicBezTo>
                <a:cubicBezTo>
                  <a:pt x="54" y="99"/>
                  <a:pt x="54" y="99"/>
                  <a:pt x="54" y="99"/>
                </a:cubicBezTo>
                <a:cubicBezTo>
                  <a:pt x="55" y="95"/>
                  <a:pt x="56" y="91"/>
                  <a:pt x="56" y="87"/>
                </a:cubicBezTo>
                <a:cubicBezTo>
                  <a:pt x="56" y="83"/>
                  <a:pt x="55" y="79"/>
                  <a:pt x="54" y="75"/>
                </a:cubicBezTo>
                <a:cubicBezTo>
                  <a:pt x="75" y="54"/>
                  <a:pt x="75" y="54"/>
                  <a:pt x="75" y="54"/>
                </a:cubicBezTo>
                <a:cubicBezTo>
                  <a:pt x="79" y="56"/>
                  <a:pt x="83" y="57"/>
                  <a:pt x="88" y="57"/>
                </a:cubicBezTo>
                <a:cubicBezTo>
                  <a:pt x="103" y="57"/>
                  <a:pt x="116" y="44"/>
                  <a:pt x="116" y="28"/>
                </a:cubicBezTo>
                <a:cubicBezTo>
                  <a:pt x="116" y="13"/>
                  <a:pt x="103" y="0"/>
                  <a:pt x="88" y="0"/>
                </a:cubicBezTo>
                <a:cubicBezTo>
                  <a:pt x="72" y="0"/>
                  <a:pt x="60" y="13"/>
                  <a:pt x="60" y="28"/>
                </a:cubicBezTo>
                <a:cubicBezTo>
                  <a:pt x="60" y="32"/>
                  <a:pt x="60" y="36"/>
                  <a:pt x="62" y="39"/>
                </a:cubicBezTo>
                <a:cubicBezTo>
                  <a:pt x="40" y="61"/>
                  <a:pt x="40" y="61"/>
                  <a:pt x="40" y="61"/>
                </a:cubicBezTo>
                <a:cubicBezTo>
                  <a:pt x="36" y="60"/>
                  <a:pt x="32" y="59"/>
                  <a:pt x="28" y="59"/>
                </a:cubicBezTo>
                <a:cubicBezTo>
                  <a:pt x="13" y="59"/>
                  <a:pt x="0" y="71"/>
                  <a:pt x="0" y="87"/>
                </a:cubicBezTo>
                <a:cubicBezTo>
                  <a:pt x="0" y="103"/>
                  <a:pt x="13" y="115"/>
                  <a:pt x="28" y="115"/>
                </a:cubicBezTo>
                <a:cubicBezTo>
                  <a:pt x="32" y="115"/>
                  <a:pt x="36" y="114"/>
                  <a:pt x="40" y="113"/>
                </a:cubicBezTo>
                <a:cubicBezTo>
                  <a:pt x="62" y="135"/>
                  <a:pt x="62" y="135"/>
                  <a:pt x="62" y="135"/>
                </a:cubicBezTo>
                <a:cubicBezTo>
                  <a:pt x="60" y="138"/>
                  <a:pt x="60" y="142"/>
                  <a:pt x="60" y="146"/>
                </a:cubicBezTo>
                <a:cubicBezTo>
                  <a:pt x="60" y="161"/>
                  <a:pt x="72" y="174"/>
                  <a:pt x="88" y="174"/>
                </a:cubicBezTo>
                <a:cubicBezTo>
                  <a:pt x="103" y="174"/>
                  <a:pt x="116" y="161"/>
                  <a:pt x="116" y="146"/>
                </a:cubicBezTo>
                <a:cubicBezTo>
                  <a:pt x="116" y="130"/>
                  <a:pt x="103" y="117"/>
                  <a:pt x="88" y="1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76" name="Freeform 35"/>
          <p:cNvSpPr>
            <a:spLocks/>
          </p:cNvSpPr>
          <p:nvPr/>
        </p:nvSpPr>
        <p:spPr bwMode="auto">
          <a:xfrm>
            <a:off x="9076267" y="2207684"/>
            <a:ext cx="366184" cy="505883"/>
          </a:xfrm>
          <a:custGeom>
            <a:avLst/>
            <a:gdLst>
              <a:gd name="T0" fmla="*/ 0 w 122"/>
              <a:gd name="T1" fmla="*/ 107109363 h 168"/>
              <a:gd name="T2" fmla="*/ 309123078 w 122"/>
              <a:gd name="T3" fmla="*/ 0 h 168"/>
              <a:gd name="T4" fmla="*/ 618246156 w 122"/>
              <a:gd name="T5" fmla="*/ 107109363 h 168"/>
              <a:gd name="T6" fmla="*/ 618246156 w 122"/>
              <a:gd name="T7" fmla="*/ 545743511 h 168"/>
              <a:gd name="T8" fmla="*/ 309123078 w 122"/>
              <a:gd name="T9" fmla="*/ 856868126 h 168"/>
              <a:gd name="T10" fmla="*/ 0 w 122"/>
              <a:gd name="T11" fmla="*/ 545743511 h 168"/>
              <a:gd name="T12" fmla="*/ 0 w 122"/>
              <a:gd name="T13" fmla="*/ 107109363 h 16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22" h="168">
                <a:moveTo>
                  <a:pt x="0" y="21"/>
                </a:moveTo>
                <a:cubicBezTo>
                  <a:pt x="53" y="21"/>
                  <a:pt x="61" y="0"/>
                  <a:pt x="61" y="0"/>
                </a:cubicBezTo>
                <a:cubicBezTo>
                  <a:pt x="61" y="0"/>
                  <a:pt x="69" y="21"/>
                  <a:pt x="122" y="21"/>
                </a:cubicBezTo>
                <a:cubicBezTo>
                  <a:pt x="122" y="107"/>
                  <a:pt x="122" y="107"/>
                  <a:pt x="122" y="107"/>
                </a:cubicBezTo>
                <a:cubicBezTo>
                  <a:pt x="122" y="141"/>
                  <a:pt x="61" y="168"/>
                  <a:pt x="61" y="168"/>
                </a:cubicBezTo>
                <a:cubicBezTo>
                  <a:pt x="61" y="168"/>
                  <a:pt x="0" y="141"/>
                  <a:pt x="0" y="107"/>
                </a:cubicBezTo>
                <a:lnTo>
                  <a:pt x="0" y="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77" name="Freeform 36"/>
          <p:cNvSpPr>
            <a:spLocks noEditPoints="1"/>
          </p:cNvSpPr>
          <p:nvPr/>
        </p:nvSpPr>
        <p:spPr bwMode="auto">
          <a:xfrm>
            <a:off x="9863667" y="2230967"/>
            <a:ext cx="524933" cy="531284"/>
          </a:xfrm>
          <a:custGeom>
            <a:avLst/>
            <a:gdLst>
              <a:gd name="T0" fmla="*/ 460760233 w 174"/>
              <a:gd name="T1" fmla="*/ 71759564 h 176"/>
              <a:gd name="T2" fmla="*/ 460760233 w 174"/>
              <a:gd name="T3" fmla="*/ 0 h 176"/>
              <a:gd name="T4" fmla="*/ 409563395 w 174"/>
              <a:gd name="T5" fmla="*/ 0 h 176"/>
              <a:gd name="T6" fmla="*/ 409563395 w 174"/>
              <a:gd name="T7" fmla="*/ 71759564 h 176"/>
              <a:gd name="T8" fmla="*/ 0 w 174"/>
              <a:gd name="T9" fmla="*/ 71759564 h 176"/>
              <a:gd name="T10" fmla="*/ 0 w 174"/>
              <a:gd name="T11" fmla="*/ 205027325 h 176"/>
              <a:gd name="T12" fmla="*/ 46076476 w 174"/>
              <a:gd name="T13" fmla="*/ 205027325 h 176"/>
              <a:gd name="T14" fmla="*/ 46076476 w 174"/>
              <a:gd name="T15" fmla="*/ 707342009 h 176"/>
              <a:gd name="T16" fmla="*/ 358368819 w 174"/>
              <a:gd name="T17" fmla="*/ 707342009 h 176"/>
              <a:gd name="T18" fmla="*/ 168944816 w 174"/>
              <a:gd name="T19" fmla="*/ 861112503 h 176"/>
              <a:gd name="T20" fmla="*/ 199662466 w 174"/>
              <a:gd name="T21" fmla="*/ 902117968 h 176"/>
              <a:gd name="T22" fmla="*/ 440281045 w 174"/>
              <a:gd name="T23" fmla="*/ 707342009 h 176"/>
              <a:gd name="T24" fmla="*/ 440281045 w 174"/>
              <a:gd name="T25" fmla="*/ 707342009 h 176"/>
              <a:gd name="T26" fmla="*/ 680901887 w 174"/>
              <a:gd name="T27" fmla="*/ 902117968 h 176"/>
              <a:gd name="T28" fmla="*/ 716737638 w 174"/>
              <a:gd name="T29" fmla="*/ 861112503 h 176"/>
              <a:gd name="T30" fmla="*/ 522195534 w 174"/>
              <a:gd name="T31" fmla="*/ 707342009 h 176"/>
              <a:gd name="T32" fmla="*/ 839608240 w 174"/>
              <a:gd name="T33" fmla="*/ 707342009 h 176"/>
              <a:gd name="T34" fmla="*/ 839608240 w 174"/>
              <a:gd name="T35" fmla="*/ 205027325 h 176"/>
              <a:gd name="T36" fmla="*/ 890802816 w 174"/>
              <a:gd name="T37" fmla="*/ 205027325 h 176"/>
              <a:gd name="T38" fmla="*/ 890802816 w 174"/>
              <a:gd name="T39" fmla="*/ 71759564 h 176"/>
              <a:gd name="T40" fmla="*/ 460760233 w 174"/>
              <a:gd name="T41" fmla="*/ 71759564 h 176"/>
              <a:gd name="T42" fmla="*/ 788411402 w 174"/>
              <a:gd name="T43" fmla="*/ 656085177 h 176"/>
              <a:gd name="T44" fmla="*/ 97271052 w 174"/>
              <a:gd name="T45" fmla="*/ 656085177 h 176"/>
              <a:gd name="T46" fmla="*/ 97271052 w 174"/>
              <a:gd name="T47" fmla="*/ 205027325 h 176"/>
              <a:gd name="T48" fmla="*/ 788411402 w 174"/>
              <a:gd name="T49" fmla="*/ 205027325 h 176"/>
              <a:gd name="T50" fmla="*/ 788411402 w 174"/>
              <a:gd name="T51" fmla="*/ 656085177 h 176"/>
              <a:gd name="T52" fmla="*/ 261097767 w 174"/>
              <a:gd name="T53" fmla="*/ 538194465 h 176"/>
              <a:gd name="T54" fmla="*/ 261097767 w 174"/>
              <a:gd name="T55" fmla="*/ 404928968 h 176"/>
              <a:gd name="T56" fmla="*/ 394206832 w 174"/>
              <a:gd name="T57" fmla="*/ 404928968 h 176"/>
              <a:gd name="T58" fmla="*/ 261097767 w 174"/>
              <a:gd name="T59" fmla="*/ 271661206 h 176"/>
              <a:gd name="T60" fmla="*/ 127988702 w 174"/>
              <a:gd name="T61" fmla="*/ 404928968 h 176"/>
              <a:gd name="T62" fmla="*/ 261097767 w 174"/>
              <a:gd name="T63" fmla="*/ 538194465 h 176"/>
              <a:gd name="T64" fmla="*/ 302053880 w 174"/>
              <a:gd name="T65" fmla="*/ 574074247 h 176"/>
              <a:gd name="T66" fmla="*/ 435162945 w 174"/>
              <a:gd name="T67" fmla="*/ 440808750 h 176"/>
              <a:gd name="T68" fmla="*/ 302053880 w 174"/>
              <a:gd name="T69" fmla="*/ 440808750 h 176"/>
              <a:gd name="T70" fmla="*/ 302053880 w 174"/>
              <a:gd name="T71" fmla="*/ 574074247 h 176"/>
              <a:gd name="T72" fmla="*/ 706499175 w 174"/>
              <a:gd name="T73" fmla="*/ 302415305 h 176"/>
              <a:gd name="T74" fmla="*/ 537554360 w 174"/>
              <a:gd name="T75" fmla="*/ 302415305 h 176"/>
              <a:gd name="T76" fmla="*/ 537554360 w 174"/>
              <a:gd name="T77" fmla="*/ 353672136 h 176"/>
              <a:gd name="T78" fmla="*/ 706499175 w 174"/>
              <a:gd name="T79" fmla="*/ 353672136 h 176"/>
              <a:gd name="T80" fmla="*/ 706499175 w 174"/>
              <a:gd name="T81" fmla="*/ 302415305 h 176"/>
              <a:gd name="T82" fmla="*/ 706499175 w 174"/>
              <a:gd name="T83" fmla="*/ 394677602 h 176"/>
              <a:gd name="T84" fmla="*/ 537554360 w 174"/>
              <a:gd name="T85" fmla="*/ 394677602 h 176"/>
              <a:gd name="T86" fmla="*/ 537554360 w 174"/>
              <a:gd name="T87" fmla="*/ 445934433 h 176"/>
              <a:gd name="T88" fmla="*/ 706499175 w 174"/>
              <a:gd name="T89" fmla="*/ 445934433 h 176"/>
              <a:gd name="T90" fmla="*/ 706499175 w 174"/>
              <a:gd name="T91" fmla="*/ 394677602 h 176"/>
              <a:gd name="T92" fmla="*/ 706499175 w 174"/>
              <a:gd name="T93" fmla="*/ 492063317 h 176"/>
              <a:gd name="T94" fmla="*/ 537554360 w 174"/>
              <a:gd name="T95" fmla="*/ 492063317 h 176"/>
              <a:gd name="T96" fmla="*/ 537554360 w 174"/>
              <a:gd name="T97" fmla="*/ 543320148 h 176"/>
              <a:gd name="T98" fmla="*/ 706499175 w 174"/>
              <a:gd name="T99" fmla="*/ 543320148 h 176"/>
              <a:gd name="T100" fmla="*/ 706499175 w 174"/>
              <a:gd name="T101" fmla="*/ 492063317 h 17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74" h="176">
                <a:moveTo>
                  <a:pt x="90" y="14"/>
                </a:moveTo>
                <a:cubicBezTo>
                  <a:pt x="90" y="0"/>
                  <a:pt x="90" y="0"/>
                  <a:pt x="90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80" y="14"/>
                  <a:pt x="80" y="14"/>
                  <a:pt x="80" y="14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40"/>
                  <a:pt x="0" y="40"/>
                  <a:pt x="0" y="40"/>
                </a:cubicBezTo>
                <a:cubicBezTo>
                  <a:pt x="9" y="40"/>
                  <a:pt x="9" y="40"/>
                  <a:pt x="9" y="40"/>
                </a:cubicBezTo>
                <a:cubicBezTo>
                  <a:pt x="9" y="138"/>
                  <a:pt x="9" y="138"/>
                  <a:pt x="9" y="138"/>
                </a:cubicBezTo>
                <a:cubicBezTo>
                  <a:pt x="70" y="138"/>
                  <a:pt x="70" y="138"/>
                  <a:pt x="70" y="138"/>
                </a:cubicBezTo>
                <a:cubicBezTo>
                  <a:pt x="33" y="168"/>
                  <a:pt x="33" y="168"/>
                  <a:pt x="33" y="168"/>
                </a:cubicBezTo>
                <a:cubicBezTo>
                  <a:pt x="39" y="176"/>
                  <a:pt x="39" y="176"/>
                  <a:pt x="39" y="176"/>
                </a:cubicBezTo>
                <a:cubicBezTo>
                  <a:pt x="86" y="138"/>
                  <a:pt x="86" y="138"/>
                  <a:pt x="86" y="138"/>
                </a:cubicBezTo>
                <a:cubicBezTo>
                  <a:pt x="86" y="138"/>
                  <a:pt x="86" y="138"/>
                  <a:pt x="86" y="138"/>
                </a:cubicBezTo>
                <a:cubicBezTo>
                  <a:pt x="133" y="176"/>
                  <a:pt x="133" y="176"/>
                  <a:pt x="133" y="176"/>
                </a:cubicBezTo>
                <a:cubicBezTo>
                  <a:pt x="140" y="168"/>
                  <a:pt x="140" y="168"/>
                  <a:pt x="140" y="168"/>
                </a:cubicBezTo>
                <a:cubicBezTo>
                  <a:pt x="102" y="138"/>
                  <a:pt x="102" y="138"/>
                  <a:pt x="102" y="138"/>
                </a:cubicBezTo>
                <a:cubicBezTo>
                  <a:pt x="164" y="138"/>
                  <a:pt x="164" y="138"/>
                  <a:pt x="164" y="138"/>
                </a:cubicBezTo>
                <a:cubicBezTo>
                  <a:pt x="164" y="40"/>
                  <a:pt x="164" y="40"/>
                  <a:pt x="164" y="40"/>
                </a:cubicBezTo>
                <a:cubicBezTo>
                  <a:pt x="174" y="40"/>
                  <a:pt x="174" y="40"/>
                  <a:pt x="174" y="40"/>
                </a:cubicBezTo>
                <a:cubicBezTo>
                  <a:pt x="174" y="14"/>
                  <a:pt x="174" y="14"/>
                  <a:pt x="174" y="14"/>
                </a:cubicBezTo>
                <a:lnTo>
                  <a:pt x="90" y="14"/>
                </a:lnTo>
                <a:close/>
                <a:moveTo>
                  <a:pt x="154" y="128"/>
                </a:moveTo>
                <a:cubicBezTo>
                  <a:pt x="19" y="128"/>
                  <a:pt x="19" y="128"/>
                  <a:pt x="19" y="128"/>
                </a:cubicBezTo>
                <a:cubicBezTo>
                  <a:pt x="19" y="40"/>
                  <a:pt x="19" y="40"/>
                  <a:pt x="19" y="40"/>
                </a:cubicBezTo>
                <a:cubicBezTo>
                  <a:pt x="154" y="40"/>
                  <a:pt x="154" y="40"/>
                  <a:pt x="154" y="40"/>
                </a:cubicBezTo>
                <a:lnTo>
                  <a:pt x="154" y="128"/>
                </a:lnTo>
                <a:close/>
                <a:moveTo>
                  <a:pt x="51" y="105"/>
                </a:moveTo>
                <a:cubicBezTo>
                  <a:pt x="51" y="79"/>
                  <a:pt x="51" y="79"/>
                  <a:pt x="51" y="79"/>
                </a:cubicBezTo>
                <a:cubicBezTo>
                  <a:pt x="77" y="79"/>
                  <a:pt x="77" y="79"/>
                  <a:pt x="77" y="79"/>
                </a:cubicBezTo>
                <a:cubicBezTo>
                  <a:pt x="77" y="65"/>
                  <a:pt x="66" y="53"/>
                  <a:pt x="51" y="53"/>
                </a:cubicBezTo>
                <a:cubicBezTo>
                  <a:pt x="37" y="53"/>
                  <a:pt x="25" y="65"/>
                  <a:pt x="25" y="79"/>
                </a:cubicBezTo>
                <a:cubicBezTo>
                  <a:pt x="25" y="94"/>
                  <a:pt x="37" y="105"/>
                  <a:pt x="51" y="105"/>
                </a:cubicBezTo>
                <a:close/>
                <a:moveTo>
                  <a:pt x="59" y="112"/>
                </a:moveTo>
                <a:cubicBezTo>
                  <a:pt x="73" y="112"/>
                  <a:pt x="85" y="101"/>
                  <a:pt x="85" y="86"/>
                </a:cubicBezTo>
                <a:cubicBezTo>
                  <a:pt x="59" y="86"/>
                  <a:pt x="59" y="86"/>
                  <a:pt x="59" y="86"/>
                </a:cubicBezTo>
                <a:lnTo>
                  <a:pt x="59" y="112"/>
                </a:lnTo>
                <a:close/>
                <a:moveTo>
                  <a:pt x="138" y="59"/>
                </a:moveTo>
                <a:cubicBezTo>
                  <a:pt x="105" y="59"/>
                  <a:pt x="105" y="59"/>
                  <a:pt x="105" y="59"/>
                </a:cubicBezTo>
                <a:cubicBezTo>
                  <a:pt x="105" y="69"/>
                  <a:pt x="105" y="69"/>
                  <a:pt x="105" y="69"/>
                </a:cubicBezTo>
                <a:cubicBezTo>
                  <a:pt x="138" y="69"/>
                  <a:pt x="138" y="69"/>
                  <a:pt x="138" y="69"/>
                </a:cubicBezTo>
                <a:lnTo>
                  <a:pt x="138" y="59"/>
                </a:lnTo>
                <a:close/>
                <a:moveTo>
                  <a:pt x="138" y="77"/>
                </a:moveTo>
                <a:cubicBezTo>
                  <a:pt x="105" y="77"/>
                  <a:pt x="105" y="77"/>
                  <a:pt x="105" y="77"/>
                </a:cubicBezTo>
                <a:cubicBezTo>
                  <a:pt x="105" y="87"/>
                  <a:pt x="105" y="87"/>
                  <a:pt x="105" y="87"/>
                </a:cubicBezTo>
                <a:cubicBezTo>
                  <a:pt x="138" y="87"/>
                  <a:pt x="138" y="87"/>
                  <a:pt x="138" y="87"/>
                </a:cubicBezTo>
                <a:lnTo>
                  <a:pt x="138" y="77"/>
                </a:lnTo>
                <a:close/>
                <a:moveTo>
                  <a:pt x="138" y="96"/>
                </a:moveTo>
                <a:cubicBezTo>
                  <a:pt x="105" y="96"/>
                  <a:pt x="105" y="96"/>
                  <a:pt x="105" y="96"/>
                </a:cubicBezTo>
                <a:cubicBezTo>
                  <a:pt x="105" y="106"/>
                  <a:pt x="105" y="106"/>
                  <a:pt x="105" y="106"/>
                </a:cubicBezTo>
                <a:cubicBezTo>
                  <a:pt x="138" y="106"/>
                  <a:pt x="138" y="106"/>
                  <a:pt x="138" y="106"/>
                </a:cubicBezTo>
                <a:lnTo>
                  <a:pt x="138" y="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78" name="Freeform 37"/>
          <p:cNvSpPr>
            <a:spLocks noEditPoints="1"/>
          </p:cNvSpPr>
          <p:nvPr/>
        </p:nvSpPr>
        <p:spPr bwMode="auto">
          <a:xfrm>
            <a:off x="10708217" y="2258485"/>
            <a:ext cx="522816" cy="452967"/>
          </a:xfrm>
          <a:custGeom>
            <a:avLst/>
            <a:gdLst>
              <a:gd name="T0" fmla="*/ 554433668 w 247"/>
              <a:gd name="T1" fmla="*/ 126007813 h 214"/>
              <a:gd name="T2" fmla="*/ 70564285 w 247"/>
              <a:gd name="T3" fmla="*/ 126007813 h 214"/>
              <a:gd name="T4" fmla="*/ 70564285 w 247"/>
              <a:gd name="T5" fmla="*/ 466229700 h 214"/>
              <a:gd name="T6" fmla="*/ 554433668 w 247"/>
              <a:gd name="T7" fmla="*/ 466229700 h 214"/>
              <a:gd name="T8" fmla="*/ 554433668 w 247"/>
              <a:gd name="T9" fmla="*/ 126007813 h 214"/>
              <a:gd name="T10" fmla="*/ 221773467 w 247"/>
              <a:gd name="T11" fmla="*/ 234375325 h 214"/>
              <a:gd name="T12" fmla="*/ 115927040 w 247"/>
              <a:gd name="T13" fmla="*/ 277217188 h 214"/>
              <a:gd name="T14" fmla="*/ 115927040 w 247"/>
              <a:gd name="T15" fmla="*/ 246975313 h 214"/>
              <a:gd name="T16" fmla="*/ 196571937 w 247"/>
              <a:gd name="T17" fmla="*/ 219254388 h 214"/>
              <a:gd name="T18" fmla="*/ 115927040 w 247"/>
              <a:gd name="T19" fmla="*/ 191531875 h 214"/>
              <a:gd name="T20" fmla="*/ 115927040 w 247"/>
              <a:gd name="T21" fmla="*/ 161290000 h 214"/>
              <a:gd name="T22" fmla="*/ 221773467 w 247"/>
              <a:gd name="T23" fmla="*/ 209173763 h 214"/>
              <a:gd name="T24" fmla="*/ 221773467 w 247"/>
              <a:gd name="T25" fmla="*/ 234375325 h 214"/>
              <a:gd name="T26" fmla="*/ 352821425 w 247"/>
              <a:gd name="T27" fmla="*/ 272176875 h 214"/>
              <a:gd name="T28" fmla="*/ 252015304 w 247"/>
              <a:gd name="T29" fmla="*/ 272176875 h 214"/>
              <a:gd name="T30" fmla="*/ 252015304 w 247"/>
              <a:gd name="T31" fmla="*/ 246975313 h 214"/>
              <a:gd name="T32" fmla="*/ 352821425 w 247"/>
              <a:gd name="T33" fmla="*/ 246975313 h 214"/>
              <a:gd name="T34" fmla="*/ 352821425 w 247"/>
              <a:gd name="T35" fmla="*/ 272176875 h 214"/>
              <a:gd name="T36" fmla="*/ 0 w 247"/>
              <a:gd name="T37" fmla="*/ 0 h 214"/>
              <a:gd name="T38" fmla="*/ 0 w 247"/>
              <a:gd name="T39" fmla="*/ 539313438 h 214"/>
              <a:gd name="T40" fmla="*/ 622478594 w 247"/>
              <a:gd name="T41" fmla="*/ 539313438 h 214"/>
              <a:gd name="T42" fmla="*/ 622478594 w 247"/>
              <a:gd name="T43" fmla="*/ 0 h 214"/>
              <a:gd name="T44" fmla="*/ 0 w 247"/>
              <a:gd name="T45" fmla="*/ 0 h 214"/>
              <a:gd name="T46" fmla="*/ 589715811 w 247"/>
              <a:gd name="T47" fmla="*/ 504031250 h 214"/>
              <a:gd name="T48" fmla="*/ 35282143 w 247"/>
              <a:gd name="T49" fmla="*/ 504031250 h 214"/>
              <a:gd name="T50" fmla="*/ 35282143 w 247"/>
              <a:gd name="T51" fmla="*/ 90725625 h 214"/>
              <a:gd name="T52" fmla="*/ 589715811 w 247"/>
              <a:gd name="T53" fmla="*/ 90725625 h 214"/>
              <a:gd name="T54" fmla="*/ 589715811 w 247"/>
              <a:gd name="T55" fmla="*/ 504031250 h 21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47" h="214">
                <a:moveTo>
                  <a:pt x="220" y="50"/>
                </a:moveTo>
                <a:lnTo>
                  <a:pt x="28" y="50"/>
                </a:lnTo>
                <a:lnTo>
                  <a:pt x="28" y="185"/>
                </a:lnTo>
                <a:lnTo>
                  <a:pt x="220" y="185"/>
                </a:lnTo>
                <a:lnTo>
                  <a:pt x="220" y="50"/>
                </a:lnTo>
                <a:close/>
                <a:moveTo>
                  <a:pt x="88" y="93"/>
                </a:moveTo>
                <a:lnTo>
                  <a:pt x="46" y="110"/>
                </a:lnTo>
                <a:lnTo>
                  <a:pt x="46" y="98"/>
                </a:lnTo>
                <a:lnTo>
                  <a:pt x="78" y="87"/>
                </a:lnTo>
                <a:lnTo>
                  <a:pt x="46" y="76"/>
                </a:lnTo>
                <a:lnTo>
                  <a:pt x="46" y="64"/>
                </a:lnTo>
                <a:lnTo>
                  <a:pt x="88" y="83"/>
                </a:lnTo>
                <a:lnTo>
                  <a:pt x="88" y="93"/>
                </a:lnTo>
                <a:close/>
                <a:moveTo>
                  <a:pt x="140" y="108"/>
                </a:moveTo>
                <a:lnTo>
                  <a:pt x="100" y="108"/>
                </a:lnTo>
                <a:lnTo>
                  <a:pt x="100" y="98"/>
                </a:lnTo>
                <a:lnTo>
                  <a:pt x="140" y="98"/>
                </a:lnTo>
                <a:lnTo>
                  <a:pt x="140" y="108"/>
                </a:lnTo>
                <a:close/>
                <a:moveTo>
                  <a:pt x="0" y="0"/>
                </a:moveTo>
                <a:lnTo>
                  <a:pt x="0" y="214"/>
                </a:lnTo>
                <a:lnTo>
                  <a:pt x="247" y="214"/>
                </a:lnTo>
                <a:lnTo>
                  <a:pt x="247" y="0"/>
                </a:lnTo>
                <a:lnTo>
                  <a:pt x="0" y="0"/>
                </a:lnTo>
                <a:close/>
                <a:moveTo>
                  <a:pt x="234" y="200"/>
                </a:moveTo>
                <a:lnTo>
                  <a:pt x="14" y="200"/>
                </a:lnTo>
                <a:lnTo>
                  <a:pt x="14" y="36"/>
                </a:lnTo>
                <a:lnTo>
                  <a:pt x="234" y="36"/>
                </a:lnTo>
                <a:lnTo>
                  <a:pt x="234" y="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79" name="Freeform 38"/>
          <p:cNvSpPr>
            <a:spLocks/>
          </p:cNvSpPr>
          <p:nvPr/>
        </p:nvSpPr>
        <p:spPr bwMode="auto">
          <a:xfrm>
            <a:off x="1411817" y="3005667"/>
            <a:ext cx="355600" cy="510117"/>
          </a:xfrm>
          <a:custGeom>
            <a:avLst/>
            <a:gdLst>
              <a:gd name="T0" fmla="*/ 602787203 w 118"/>
              <a:gd name="T1" fmla="*/ 333120956 h 169"/>
              <a:gd name="T2" fmla="*/ 556810836 w 118"/>
              <a:gd name="T3" fmla="*/ 261373255 h 169"/>
              <a:gd name="T4" fmla="*/ 556810836 w 118"/>
              <a:gd name="T5" fmla="*/ 261373255 h 169"/>
              <a:gd name="T6" fmla="*/ 592571237 w 118"/>
              <a:gd name="T7" fmla="*/ 199873932 h 169"/>
              <a:gd name="T8" fmla="*/ 546594869 w 118"/>
              <a:gd name="T9" fmla="*/ 133249288 h 169"/>
              <a:gd name="T10" fmla="*/ 515944711 w 118"/>
              <a:gd name="T11" fmla="*/ 133249288 h 169"/>
              <a:gd name="T12" fmla="*/ 546594869 w 118"/>
              <a:gd name="T13" fmla="*/ 66624644 h 169"/>
              <a:gd name="T14" fmla="*/ 505728745 w 118"/>
              <a:gd name="T15" fmla="*/ 0 h 169"/>
              <a:gd name="T16" fmla="*/ 189008934 w 118"/>
              <a:gd name="T17" fmla="*/ 0 h 169"/>
              <a:gd name="T18" fmla="*/ 0 w 118"/>
              <a:gd name="T19" fmla="*/ 189623290 h 169"/>
              <a:gd name="T20" fmla="*/ 0 w 118"/>
              <a:gd name="T21" fmla="*/ 389494959 h 169"/>
              <a:gd name="T22" fmla="*/ 102166442 w 118"/>
              <a:gd name="T23" fmla="*/ 548368587 h 169"/>
              <a:gd name="T24" fmla="*/ 275851426 w 118"/>
              <a:gd name="T25" fmla="*/ 768741539 h 169"/>
              <a:gd name="T26" fmla="*/ 275851426 w 118"/>
              <a:gd name="T27" fmla="*/ 850739882 h 169"/>
              <a:gd name="T28" fmla="*/ 418886253 w 118"/>
              <a:gd name="T29" fmla="*/ 732866557 h 169"/>
              <a:gd name="T30" fmla="*/ 398452060 w 118"/>
              <a:gd name="T31" fmla="*/ 548368587 h 169"/>
              <a:gd name="T32" fmla="*/ 510836728 w 118"/>
              <a:gd name="T33" fmla="*/ 548368587 h 169"/>
              <a:gd name="T34" fmla="*/ 561921079 w 118"/>
              <a:gd name="T35" fmla="*/ 471495565 h 169"/>
              <a:gd name="T36" fmla="*/ 526160677 w 118"/>
              <a:gd name="T37" fmla="*/ 399745600 h 169"/>
              <a:gd name="T38" fmla="*/ 556810836 w 118"/>
              <a:gd name="T39" fmla="*/ 399745600 h 169"/>
              <a:gd name="T40" fmla="*/ 602787203 w 118"/>
              <a:gd name="T41" fmla="*/ 333120956 h 16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18" h="169">
                <a:moveTo>
                  <a:pt x="118" y="65"/>
                </a:moveTo>
                <a:cubicBezTo>
                  <a:pt x="118" y="57"/>
                  <a:pt x="117" y="51"/>
                  <a:pt x="109" y="51"/>
                </a:cubicBezTo>
                <a:cubicBezTo>
                  <a:pt x="109" y="51"/>
                  <a:pt x="109" y="51"/>
                  <a:pt x="109" y="51"/>
                </a:cubicBezTo>
                <a:cubicBezTo>
                  <a:pt x="115" y="51"/>
                  <a:pt x="116" y="45"/>
                  <a:pt x="116" y="39"/>
                </a:cubicBezTo>
                <a:cubicBezTo>
                  <a:pt x="116" y="32"/>
                  <a:pt x="115" y="26"/>
                  <a:pt x="107" y="26"/>
                </a:cubicBezTo>
                <a:cubicBezTo>
                  <a:pt x="101" y="26"/>
                  <a:pt x="101" y="26"/>
                  <a:pt x="101" y="26"/>
                </a:cubicBezTo>
                <a:cubicBezTo>
                  <a:pt x="106" y="24"/>
                  <a:pt x="107" y="19"/>
                  <a:pt x="107" y="13"/>
                </a:cubicBezTo>
                <a:cubicBezTo>
                  <a:pt x="107" y="6"/>
                  <a:pt x="106" y="0"/>
                  <a:pt x="99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16" y="0"/>
                  <a:pt x="0" y="16"/>
                  <a:pt x="0" y="37"/>
                </a:cubicBezTo>
                <a:cubicBezTo>
                  <a:pt x="0" y="37"/>
                  <a:pt x="0" y="76"/>
                  <a:pt x="0" y="76"/>
                </a:cubicBezTo>
                <a:cubicBezTo>
                  <a:pt x="0" y="91"/>
                  <a:pt x="8" y="102"/>
                  <a:pt x="20" y="107"/>
                </a:cubicBezTo>
                <a:cubicBezTo>
                  <a:pt x="30" y="113"/>
                  <a:pt x="50" y="129"/>
                  <a:pt x="54" y="150"/>
                </a:cubicBezTo>
                <a:cubicBezTo>
                  <a:pt x="54" y="158"/>
                  <a:pt x="54" y="166"/>
                  <a:pt x="54" y="166"/>
                </a:cubicBezTo>
                <a:cubicBezTo>
                  <a:pt x="54" y="166"/>
                  <a:pt x="82" y="169"/>
                  <a:pt x="82" y="143"/>
                </a:cubicBezTo>
                <a:cubicBezTo>
                  <a:pt x="82" y="113"/>
                  <a:pt x="62" y="108"/>
                  <a:pt x="78" y="107"/>
                </a:cubicBezTo>
                <a:cubicBezTo>
                  <a:pt x="100" y="107"/>
                  <a:pt x="100" y="107"/>
                  <a:pt x="100" y="107"/>
                </a:cubicBezTo>
                <a:cubicBezTo>
                  <a:pt x="108" y="107"/>
                  <a:pt x="110" y="100"/>
                  <a:pt x="110" y="92"/>
                </a:cubicBezTo>
                <a:cubicBezTo>
                  <a:pt x="110" y="85"/>
                  <a:pt x="109" y="80"/>
                  <a:pt x="103" y="78"/>
                </a:cubicBezTo>
                <a:cubicBezTo>
                  <a:pt x="109" y="78"/>
                  <a:pt x="109" y="78"/>
                  <a:pt x="109" y="78"/>
                </a:cubicBezTo>
                <a:cubicBezTo>
                  <a:pt x="117" y="78"/>
                  <a:pt x="118" y="72"/>
                  <a:pt x="118" y="6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0" name="Freeform 39"/>
          <p:cNvSpPr>
            <a:spLocks/>
          </p:cNvSpPr>
          <p:nvPr/>
        </p:nvSpPr>
        <p:spPr bwMode="auto">
          <a:xfrm>
            <a:off x="2499784" y="3196167"/>
            <a:ext cx="152400" cy="69851"/>
          </a:xfrm>
          <a:custGeom>
            <a:avLst/>
            <a:gdLst>
              <a:gd name="T0" fmla="*/ 0 w 51"/>
              <a:gd name="T1" fmla="*/ 62257444 h 23"/>
              <a:gd name="T2" fmla="*/ 40182053 w 51"/>
              <a:gd name="T3" fmla="*/ 119326198 h 23"/>
              <a:gd name="T4" fmla="*/ 215984418 w 51"/>
              <a:gd name="T5" fmla="*/ 119326198 h 23"/>
              <a:gd name="T6" fmla="*/ 256166471 w 51"/>
              <a:gd name="T7" fmla="*/ 62257444 h 23"/>
              <a:gd name="T8" fmla="*/ 256166471 w 51"/>
              <a:gd name="T9" fmla="*/ 62257444 h 23"/>
              <a:gd name="T10" fmla="*/ 215984418 w 51"/>
              <a:gd name="T11" fmla="*/ 0 h 23"/>
              <a:gd name="T12" fmla="*/ 40182053 w 51"/>
              <a:gd name="T13" fmla="*/ 0 h 23"/>
              <a:gd name="T14" fmla="*/ 0 w 51"/>
              <a:gd name="T15" fmla="*/ 62257444 h 2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1" h="23">
                <a:moveTo>
                  <a:pt x="0" y="12"/>
                </a:moveTo>
                <a:cubicBezTo>
                  <a:pt x="0" y="18"/>
                  <a:pt x="1" y="23"/>
                  <a:pt x="8" y="23"/>
                </a:cubicBezTo>
                <a:cubicBezTo>
                  <a:pt x="43" y="23"/>
                  <a:pt x="43" y="23"/>
                  <a:pt x="43" y="23"/>
                </a:cubicBezTo>
                <a:cubicBezTo>
                  <a:pt x="50" y="23"/>
                  <a:pt x="51" y="18"/>
                  <a:pt x="51" y="12"/>
                </a:cubicBezTo>
                <a:cubicBezTo>
                  <a:pt x="51" y="12"/>
                  <a:pt x="51" y="12"/>
                  <a:pt x="51" y="12"/>
                </a:cubicBezTo>
                <a:cubicBezTo>
                  <a:pt x="51" y="5"/>
                  <a:pt x="50" y="0"/>
                  <a:pt x="43" y="0"/>
                </a:cubicBezTo>
                <a:cubicBezTo>
                  <a:pt x="8" y="0"/>
                  <a:pt x="8" y="0"/>
                  <a:pt x="8" y="0"/>
                </a:cubicBezTo>
                <a:cubicBezTo>
                  <a:pt x="1" y="0"/>
                  <a:pt x="0" y="5"/>
                  <a:pt x="0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1" name="Freeform 40"/>
          <p:cNvSpPr>
            <a:spLocks/>
          </p:cNvSpPr>
          <p:nvPr/>
        </p:nvSpPr>
        <p:spPr bwMode="auto">
          <a:xfrm>
            <a:off x="2480733" y="3280833"/>
            <a:ext cx="186267" cy="69851"/>
          </a:xfrm>
          <a:custGeom>
            <a:avLst/>
            <a:gdLst>
              <a:gd name="T0" fmla="*/ 0 w 62"/>
              <a:gd name="T1" fmla="*/ 57068754 h 23"/>
              <a:gd name="T2" fmla="*/ 35540131 w 62"/>
              <a:gd name="T3" fmla="*/ 119326198 h 23"/>
              <a:gd name="T4" fmla="*/ 279235515 w 62"/>
              <a:gd name="T5" fmla="*/ 119326198 h 23"/>
              <a:gd name="T6" fmla="*/ 314775645 w 62"/>
              <a:gd name="T7" fmla="*/ 57068754 h 23"/>
              <a:gd name="T8" fmla="*/ 314775645 w 62"/>
              <a:gd name="T9" fmla="*/ 57068754 h 23"/>
              <a:gd name="T10" fmla="*/ 279235515 w 62"/>
              <a:gd name="T11" fmla="*/ 0 h 23"/>
              <a:gd name="T12" fmla="*/ 35540131 w 62"/>
              <a:gd name="T13" fmla="*/ 0 h 23"/>
              <a:gd name="T14" fmla="*/ 0 w 62"/>
              <a:gd name="T15" fmla="*/ 57068754 h 2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2" h="23">
                <a:moveTo>
                  <a:pt x="0" y="11"/>
                </a:moveTo>
                <a:cubicBezTo>
                  <a:pt x="0" y="18"/>
                  <a:pt x="1" y="23"/>
                  <a:pt x="7" y="23"/>
                </a:cubicBezTo>
                <a:cubicBezTo>
                  <a:pt x="55" y="23"/>
                  <a:pt x="55" y="23"/>
                  <a:pt x="55" y="23"/>
                </a:cubicBezTo>
                <a:cubicBezTo>
                  <a:pt x="61" y="23"/>
                  <a:pt x="62" y="18"/>
                  <a:pt x="62" y="11"/>
                </a:cubicBezTo>
                <a:cubicBezTo>
                  <a:pt x="62" y="11"/>
                  <a:pt x="62" y="11"/>
                  <a:pt x="62" y="11"/>
                </a:cubicBezTo>
                <a:cubicBezTo>
                  <a:pt x="62" y="5"/>
                  <a:pt x="61" y="0"/>
                  <a:pt x="55" y="0"/>
                </a:cubicBezTo>
                <a:cubicBezTo>
                  <a:pt x="7" y="0"/>
                  <a:pt x="7" y="0"/>
                  <a:pt x="7" y="0"/>
                </a:cubicBezTo>
                <a:cubicBezTo>
                  <a:pt x="1" y="0"/>
                  <a:pt x="0" y="5"/>
                  <a:pt x="0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2" name="Freeform 41"/>
          <p:cNvSpPr>
            <a:spLocks/>
          </p:cNvSpPr>
          <p:nvPr/>
        </p:nvSpPr>
        <p:spPr bwMode="auto">
          <a:xfrm>
            <a:off x="2499784" y="3365500"/>
            <a:ext cx="158749" cy="67733"/>
          </a:xfrm>
          <a:custGeom>
            <a:avLst/>
            <a:gdLst>
              <a:gd name="T0" fmla="*/ 0 w 53"/>
              <a:gd name="T1" fmla="*/ 53662470 h 23"/>
              <a:gd name="T2" fmla="*/ 40373250 w 53"/>
              <a:gd name="T3" fmla="*/ 112201739 h 23"/>
              <a:gd name="T4" fmla="*/ 227096163 w 53"/>
              <a:gd name="T5" fmla="*/ 112201739 h 23"/>
              <a:gd name="T6" fmla="*/ 267469413 w 53"/>
              <a:gd name="T7" fmla="*/ 53662470 h 23"/>
              <a:gd name="T8" fmla="*/ 267469413 w 53"/>
              <a:gd name="T9" fmla="*/ 53662470 h 23"/>
              <a:gd name="T10" fmla="*/ 227096163 w 53"/>
              <a:gd name="T11" fmla="*/ 0 h 23"/>
              <a:gd name="T12" fmla="*/ 40373250 w 53"/>
              <a:gd name="T13" fmla="*/ 0 h 23"/>
              <a:gd name="T14" fmla="*/ 0 w 53"/>
              <a:gd name="T15" fmla="*/ 53662470 h 2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" h="23">
                <a:moveTo>
                  <a:pt x="0" y="11"/>
                </a:moveTo>
                <a:cubicBezTo>
                  <a:pt x="0" y="18"/>
                  <a:pt x="1" y="23"/>
                  <a:pt x="8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52" y="23"/>
                  <a:pt x="53" y="18"/>
                  <a:pt x="53" y="11"/>
                </a:cubicBezTo>
                <a:cubicBezTo>
                  <a:pt x="53" y="11"/>
                  <a:pt x="53" y="11"/>
                  <a:pt x="53" y="11"/>
                </a:cubicBezTo>
                <a:cubicBezTo>
                  <a:pt x="53" y="5"/>
                  <a:pt x="52" y="0"/>
                  <a:pt x="45" y="0"/>
                </a:cubicBezTo>
                <a:cubicBezTo>
                  <a:pt x="8" y="0"/>
                  <a:pt x="8" y="0"/>
                  <a:pt x="8" y="0"/>
                </a:cubicBezTo>
                <a:cubicBezTo>
                  <a:pt x="1" y="0"/>
                  <a:pt x="0" y="5"/>
                  <a:pt x="0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3" name="Freeform 42"/>
          <p:cNvSpPr>
            <a:spLocks/>
          </p:cNvSpPr>
          <p:nvPr/>
        </p:nvSpPr>
        <p:spPr bwMode="auto">
          <a:xfrm>
            <a:off x="2516718" y="3450167"/>
            <a:ext cx="112183" cy="71967"/>
          </a:xfrm>
          <a:custGeom>
            <a:avLst/>
            <a:gdLst>
              <a:gd name="T0" fmla="*/ 0 w 37"/>
              <a:gd name="T1" fmla="*/ 60694888 h 24"/>
              <a:gd name="T2" fmla="*/ 41368116 w 37"/>
              <a:gd name="T3" fmla="*/ 121387526 h 24"/>
              <a:gd name="T4" fmla="*/ 149959422 w 37"/>
              <a:gd name="T5" fmla="*/ 121387526 h 24"/>
              <a:gd name="T6" fmla="*/ 191327538 w 37"/>
              <a:gd name="T7" fmla="*/ 60694888 h 24"/>
              <a:gd name="T8" fmla="*/ 191327538 w 37"/>
              <a:gd name="T9" fmla="*/ 60694888 h 24"/>
              <a:gd name="T10" fmla="*/ 149959422 w 37"/>
              <a:gd name="T11" fmla="*/ 0 h 24"/>
              <a:gd name="T12" fmla="*/ 41368116 w 37"/>
              <a:gd name="T13" fmla="*/ 0 h 24"/>
              <a:gd name="T14" fmla="*/ 0 w 37"/>
              <a:gd name="T15" fmla="*/ 60694888 h 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7" h="24">
                <a:moveTo>
                  <a:pt x="0" y="12"/>
                </a:moveTo>
                <a:cubicBezTo>
                  <a:pt x="0" y="18"/>
                  <a:pt x="2" y="24"/>
                  <a:pt x="8" y="24"/>
                </a:cubicBezTo>
                <a:cubicBezTo>
                  <a:pt x="29" y="24"/>
                  <a:pt x="29" y="24"/>
                  <a:pt x="29" y="24"/>
                </a:cubicBezTo>
                <a:cubicBezTo>
                  <a:pt x="36" y="24"/>
                  <a:pt x="37" y="18"/>
                  <a:pt x="37" y="12"/>
                </a:cubicBezTo>
                <a:cubicBezTo>
                  <a:pt x="37" y="12"/>
                  <a:pt x="37" y="12"/>
                  <a:pt x="37" y="12"/>
                </a:cubicBezTo>
                <a:cubicBezTo>
                  <a:pt x="37" y="5"/>
                  <a:pt x="36" y="0"/>
                  <a:pt x="29" y="0"/>
                </a:cubicBezTo>
                <a:cubicBezTo>
                  <a:pt x="8" y="0"/>
                  <a:pt x="8" y="0"/>
                  <a:pt x="8" y="0"/>
                </a:cubicBezTo>
                <a:cubicBezTo>
                  <a:pt x="2" y="0"/>
                  <a:pt x="0" y="5"/>
                  <a:pt x="0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4" name="Freeform 43"/>
          <p:cNvSpPr>
            <a:spLocks/>
          </p:cNvSpPr>
          <p:nvPr/>
        </p:nvSpPr>
        <p:spPr bwMode="auto">
          <a:xfrm>
            <a:off x="2317751" y="2984500"/>
            <a:ext cx="270933" cy="533400"/>
          </a:xfrm>
          <a:custGeom>
            <a:avLst/>
            <a:gdLst>
              <a:gd name="T0" fmla="*/ 321146311 w 90"/>
              <a:gd name="T1" fmla="*/ 899072822 h 177"/>
              <a:gd name="T2" fmla="*/ 316048249 w 90"/>
              <a:gd name="T3" fmla="*/ 847988471 h 177"/>
              <a:gd name="T4" fmla="*/ 321146311 w 90"/>
              <a:gd name="T5" fmla="*/ 796904120 h 177"/>
              <a:gd name="T6" fmla="*/ 331342436 w 90"/>
              <a:gd name="T7" fmla="*/ 781580171 h 177"/>
              <a:gd name="T8" fmla="*/ 290560196 w 90"/>
              <a:gd name="T9" fmla="*/ 756037996 h 177"/>
              <a:gd name="T10" fmla="*/ 280366329 w 90"/>
              <a:gd name="T11" fmla="*/ 699845662 h 177"/>
              <a:gd name="T12" fmla="*/ 290560196 w 90"/>
              <a:gd name="T13" fmla="*/ 648763571 h 177"/>
              <a:gd name="T14" fmla="*/ 300756320 w 90"/>
              <a:gd name="T15" fmla="*/ 638545345 h 177"/>
              <a:gd name="T16" fmla="*/ 259976338 w 90"/>
              <a:gd name="T17" fmla="*/ 613003169 h 177"/>
              <a:gd name="T18" fmla="*/ 249780213 w 90"/>
              <a:gd name="T19" fmla="*/ 556810836 h 177"/>
              <a:gd name="T20" fmla="*/ 259976338 w 90"/>
              <a:gd name="T21" fmla="*/ 505728745 h 177"/>
              <a:gd name="T22" fmla="*/ 295658258 w 90"/>
              <a:gd name="T23" fmla="*/ 480186569 h 177"/>
              <a:gd name="T24" fmla="*/ 290560196 w 90"/>
              <a:gd name="T25" fmla="*/ 469970603 h 177"/>
              <a:gd name="T26" fmla="*/ 280366329 w 90"/>
              <a:gd name="T27" fmla="*/ 418886253 h 177"/>
              <a:gd name="T28" fmla="*/ 290560196 w 90"/>
              <a:gd name="T29" fmla="*/ 367801902 h 177"/>
              <a:gd name="T30" fmla="*/ 341536302 w 90"/>
              <a:gd name="T31" fmla="*/ 337151743 h 177"/>
              <a:gd name="T32" fmla="*/ 382316284 w 90"/>
              <a:gd name="T33" fmla="*/ 337151743 h 177"/>
              <a:gd name="T34" fmla="*/ 458780444 w 90"/>
              <a:gd name="T35" fmla="*/ 132816600 h 177"/>
              <a:gd name="T36" fmla="*/ 321146311 w 90"/>
              <a:gd name="T37" fmla="*/ 15326209 h 177"/>
              <a:gd name="T38" fmla="*/ 321146311 w 90"/>
              <a:gd name="T39" fmla="*/ 97058458 h 177"/>
              <a:gd name="T40" fmla="*/ 86658027 w 90"/>
              <a:gd name="T41" fmla="*/ 367801902 h 177"/>
              <a:gd name="T42" fmla="*/ 0 w 90"/>
              <a:gd name="T43" fmla="*/ 515944711 h 177"/>
              <a:gd name="T44" fmla="*/ 0 w 90"/>
              <a:gd name="T45" fmla="*/ 715171871 h 177"/>
              <a:gd name="T46" fmla="*/ 183512178 w 90"/>
              <a:gd name="T47" fmla="*/ 904180805 h 177"/>
              <a:gd name="T48" fmla="*/ 326244373 w 90"/>
              <a:gd name="T49" fmla="*/ 904180805 h 177"/>
              <a:gd name="T50" fmla="*/ 321146311 w 90"/>
              <a:gd name="T51" fmla="*/ 899072822 h 17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90" h="177">
                <a:moveTo>
                  <a:pt x="63" y="176"/>
                </a:moveTo>
                <a:cubicBezTo>
                  <a:pt x="62" y="174"/>
                  <a:pt x="62" y="170"/>
                  <a:pt x="62" y="166"/>
                </a:cubicBezTo>
                <a:cubicBezTo>
                  <a:pt x="62" y="161"/>
                  <a:pt x="62" y="158"/>
                  <a:pt x="63" y="156"/>
                </a:cubicBezTo>
                <a:cubicBezTo>
                  <a:pt x="64" y="155"/>
                  <a:pt x="64" y="154"/>
                  <a:pt x="65" y="153"/>
                </a:cubicBezTo>
                <a:cubicBezTo>
                  <a:pt x="61" y="152"/>
                  <a:pt x="58" y="150"/>
                  <a:pt x="57" y="148"/>
                </a:cubicBezTo>
                <a:cubicBezTo>
                  <a:pt x="56" y="145"/>
                  <a:pt x="55" y="142"/>
                  <a:pt x="55" y="137"/>
                </a:cubicBezTo>
                <a:cubicBezTo>
                  <a:pt x="55" y="133"/>
                  <a:pt x="56" y="130"/>
                  <a:pt x="57" y="127"/>
                </a:cubicBezTo>
                <a:cubicBezTo>
                  <a:pt x="58" y="126"/>
                  <a:pt x="58" y="126"/>
                  <a:pt x="59" y="125"/>
                </a:cubicBezTo>
                <a:cubicBezTo>
                  <a:pt x="54" y="124"/>
                  <a:pt x="52" y="122"/>
                  <a:pt x="51" y="120"/>
                </a:cubicBezTo>
                <a:cubicBezTo>
                  <a:pt x="50" y="117"/>
                  <a:pt x="49" y="114"/>
                  <a:pt x="49" y="109"/>
                </a:cubicBezTo>
                <a:cubicBezTo>
                  <a:pt x="49" y="105"/>
                  <a:pt x="50" y="102"/>
                  <a:pt x="51" y="99"/>
                </a:cubicBezTo>
                <a:cubicBezTo>
                  <a:pt x="52" y="97"/>
                  <a:pt x="54" y="94"/>
                  <a:pt x="58" y="94"/>
                </a:cubicBezTo>
                <a:cubicBezTo>
                  <a:pt x="58" y="93"/>
                  <a:pt x="58" y="93"/>
                  <a:pt x="57" y="92"/>
                </a:cubicBezTo>
                <a:cubicBezTo>
                  <a:pt x="56" y="90"/>
                  <a:pt x="55" y="86"/>
                  <a:pt x="55" y="82"/>
                </a:cubicBezTo>
                <a:cubicBezTo>
                  <a:pt x="55" y="77"/>
                  <a:pt x="56" y="74"/>
                  <a:pt x="57" y="72"/>
                </a:cubicBezTo>
                <a:cubicBezTo>
                  <a:pt x="59" y="69"/>
                  <a:pt x="62" y="66"/>
                  <a:pt x="67" y="66"/>
                </a:cubicBezTo>
                <a:cubicBezTo>
                  <a:pt x="75" y="66"/>
                  <a:pt x="75" y="66"/>
                  <a:pt x="75" y="66"/>
                </a:cubicBezTo>
                <a:cubicBezTo>
                  <a:pt x="75" y="61"/>
                  <a:pt x="90" y="49"/>
                  <a:pt x="90" y="26"/>
                </a:cubicBezTo>
                <a:cubicBezTo>
                  <a:pt x="90" y="0"/>
                  <a:pt x="63" y="3"/>
                  <a:pt x="63" y="3"/>
                </a:cubicBezTo>
                <a:cubicBezTo>
                  <a:pt x="63" y="3"/>
                  <a:pt x="63" y="10"/>
                  <a:pt x="63" y="19"/>
                </a:cubicBezTo>
                <a:cubicBezTo>
                  <a:pt x="58" y="37"/>
                  <a:pt x="26" y="64"/>
                  <a:pt x="17" y="72"/>
                </a:cubicBezTo>
                <a:cubicBezTo>
                  <a:pt x="6" y="77"/>
                  <a:pt x="0" y="88"/>
                  <a:pt x="0" y="101"/>
                </a:cubicBezTo>
                <a:cubicBezTo>
                  <a:pt x="0" y="101"/>
                  <a:pt x="0" y="140"/>
                  <a:pt x="0" y="140"/>
                </a:cubicBezTo>
                <a:cubicBezTo>
                  <a:pt x="0" y="161"/>
                  <a:pt x="16" y="177"/>
                  <a:pt x="36" y="177"/>
                </a:cubicBezTo>
                <a:cubicBezTo>
                  <a:pt x="64" y="177"/>
                  <a:pt x="64" y="177"/>
                  <a:pt x="64" y="177"/>
                </a:cubicBezTo>
                <a:cubicBezTo>
                  <a:pt x="64" y="177"/>
                  <a:pt x="64" y="176"/>
                  <a:pt x="63" y="17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5" name="Freeform 44"/>
          <p:cNvSpPr>
            <a:spLocks noEditPoints="1"/>
          </p:cNvSpPr>
          <p:nvPr/>
        </p:nvSpPr>
        <p:spPr bwMode="auto">
          <a:xfrm>
            <a:off x="3934884" y="3026833"/>
            <a:ext cx="505883" cy="482600"/>
          </a:xfrm>
          <a:custGeom>
            <a:avLst/>
            <a:gdLst>
              <a:gd name="T0" fmla="*/ 249919588 w 168"/>
              <a:gd name="T1" fmla="*/ 373577644 h 160"/>
              <a:gd name="T2" fmla="*/ 249919588 w 168"/>
              <a:gd name="T3" fmla="*/ 373577644 h 160"/>
              <a:gd name="T4" fmla="*/ 331527044 w 168"/>
              <a:gd name="T5" fmla="*/ 455457520 h 160"/>
              <a:gd name="T6" fmla="*/ 362128428 w 168"/>
              <a:gd name="T7" fmla="*/ 429869918 h 160"/>
              <a:gd name="T8" fmla="*/ 331527044 w 168"/>
              <a:gd name="T9" fmla="*/ 394045916 h 160"/>
              <a:gd name="T10" fmla="*/ 316224093 w 168"/>
              <a:gd name="T11" fmla="*/ 383811780 h 160"/>
              <a:gd name="T12" fmla="*/ 392732071 w 168"/>
              <a:gd name="T13" fmla="*/ 307048972 h 160"/>
              <a:gd name="T14" fmla="*/ 397831549 w 168"/>
              <a:gd name="T15" fmla="*/ 307048972 h 160"/>
              <a:gd name="T16" fmla="*/ 408032764 w 168"/>
              <a:gd name="T17" fmla="*/ 307048972 h 160"/>
              <a:gd name="T18" fmla="*/ 423333456 w 168"/>
              <a:gd name="T19" fmla="*/ 307048972 h 160"/>
              <a:gd name="T20" fmla="*/ 367230165 w 168"/>
              <a:gd name="T21" fmla="*/ 250756698 h 160"/>
              <a:gd name="T22" fmla="*/ 367230165 w 168"/>
              <a:gd name="T23" fmla="*/ 250756698 h 160"/>
              <a:gd name="T24" fmla="*/ 321325830 w 168"/>
              <a:gd name="T25" fmla="*/ 71645740 h 160"/>
              <a:gd name="T26" fmla="*/ 142812484 w 168"/>
              <a:gd name="T27" fmla="*/ 25587603 h 160"/>
              <a:gd name="T28" fmla="*/ 244820110 w 168"/>
              <a:gd name="T29" fmla="*/ 127938014 h 160"/>
              <a:gd name="T30" fmla="*/ 219318203 w 168"/>
              <a:gd name="T31" fmla="*/ 230286163 h 160"/>
              <a:gd name="T32" fmla="*/ 122410055 w 168"/>
              <a:gd name="T33" fmla="*/ 255873766 h 160"/>
              <a:gd name="T34" fmla="*/ 20402429 w 168"/>
              <a:gd name="T35" fmla="*/ 153525617 h 160"/>
              <a:gd name="T36" fmla="*/ 66304505 w 168"/>
              <a:gd name="T37" fmla="*/ 327519506 h 160"/>
              <a:gd name="T38" fmla="*/ 249919588 w 168"/>
              <a:gd name="T39" fmla="*/ 373577644 h 160"/>
              <a:gd name="T40" fmla="*/ 550842989 w 168"/>
              <a:gd name="T41" fmla="*/ 434986986 h 160"/>
              <a:gd name="T42" fmla="*/ 545743511 w 168"/>
              <a:gd name="T43" fmla="*/ 455457520 h 160"/>
              <a:gd name="T44" fmla="*/ 550842989 w 168"/>
              <a:gd name="T45" fmla="*/ 465691657 h 160"/>
              <a:gd name="T46" fmla="*/ 540644033 w 168"/>
              <a:gd name="T47" fmla="*/ 470808725 h 160"/>
              <a:gd name="T48" fmla="*/ 489637961 w 168"/>
              <a:gd name="T49" fmla="*/ 527100998 h 160"/>
              <a:gd name="T50" fmla="*/ 474337269 w 168"/>
              <a:gd name="T51" fmla="*/ 537337397 h 160"/>
              <a:gd name="T52" fmla="*/ 428435192 w 168"/>
              <a:gd name="T53" fmla="*/ 491279259 h 160"/>
              <a:gd name="T54" fmla="*/ 397831549 w 168"/>
              <a:gd name="T55" fmla="*/ 521983930 h 160"/>
              <a:gd name="T56" fmla="*/ 668153566 w 168"/>
              <a:gd name="T57" fmla="*/ 793211163 h 160"/>
              <a:gd name="T58" fmla="*/ 729358593 w 168"/>
              <a:gd name="T59" fmla="*/ 818798766 h 160"/>
              <a:gd name="T60" fmla="*/ 785461884 w 168"/>
              <a:gd name="T61" fmla="*/ 793211163 h 160"/>
              <a:gd name="T62" fmla="*/ 785461884 w 168"/>
              <a:gd name="T63" fmla="*/ 670392479 h 160"/>
              <a:gd name="T64" fmla="*/ 550842989 w 168"/>
              <a:gd name="T65" fmla="*/ 434986986 h 160"/>
              <a:gd name="T66" fmla="*/ 754860500 w 168"/>
              <a:gd name="T67" fmla="*/ 762506492 h 160"/>
              <a:gd name="T68" fmla="*/ 714057901 w 168"/>
              <a:gd name="T69" fmla="*/ 777859958 h 160"/>
              <a:gd name="T70" fmla="*/ 678354780 w 168"/>
              <a:gd name="T71" fmla="*/ 742035957 h 160"/>
              <a:gd name="T72" fmla="*/ 688553736 w 168"/>
              <a:gd name="T73" fmla="*/ 695980082 h 160"/>
              <a:gd name="T74" fmla="*/ 734458071 w 168"/>
              <a:gd name="T75" fmla="*/ 685743683 h 160"/>
              <a:gd name="T76" fmla="*/ 765061714 w 168"/>
              <a:gd name="T77" fmla="*/ 721565423 h 160"/>
              <a:gd name="T78" fmla="*/ 754860500 w 168"/>
              <a:gd name="T79" fmla="*/ 762506492 h 160"/>
              <a:gd name="T80" fmla="*/ 428435192 w 168"/>
              <a:gd name="T81" fmla="*/ 465691657 h 160"/>
              <a:gd name="T82" fmla="*/ 474337269 w 168"/>
              <a:gd name="T83" fmla="*/ 511749794 h 160"/>
              <a:gd name="T84" fmla="*/ 525341082 w 168"/>
              <a:gd name="T85" fmla="*/ 460574588 h 160"/>
              <a:gd name="T86" fmla="*/ 550842989 w 168"/>
              <a:gd name="T87" fmla="*/ 383811780 h 160"/>
              <a:gd name="T88" fmla="*/ 622249230 w 168"/>
              <a:gd name="T89" fmla="*/ 358224177 h 160"/>
              <a:gd name="T90" fmla="*/ 856868126 w 168"/>
              <a:gd name="T91" fmla="*/ 127938014 h 160"/>
              <a:gd name="T92" fmla="*/ 724256857 w 168"/>
              <a:gd name="T93" fmla="*/ 0 h 160"/>
              <a:gd name="T94" fmla="*/ 494739698 w 168"/>
              <a:gd name="T95" fmla="*/ 230286163 h 160"/>
              <a:gd name="T96" fmla="*/ 469237791 w 168"/>
              <a:gd name="T97" fmla="*/ 301931903 h 160"/>
              <a:gd name="T98" fmla="*/ 397831549 w 168"/>
              <a:gd name="T99" fmla="*/ 327519506 h 160"/>
              <a:gd name="T100" fmla="*/ 346827736 w 168"/>
              <a:gd name="T101" fmla="*/ 383811780 h 160"/>
              <a:gd name="T102" fmla="*/ 392732071 w 168"/>
              <a:gd name="T103" fmla="*/ 429869918 h 160"/>
              <a:gd name="T104" fmla="*/ 163212654 w 168"/>
              <a:gd name="T105" fmla="*/ 655039013 h 160"/>
              <a:gd name="T106" fmla="*/ 158113176 w 168"/>
              <a:gd name="T107" fmla="*/ 649921944 h 160"/>
              <a:gd name="T108" fmla="*/ 112208841 w 168"/>
              <a:gd name="T109" fmla="*/ 685743683 h 160"/>
              <a:gd name="T110" fmla="*/ 40802599 w 168"/>
              <a:gd name="T111" fmla="*/ 798328231 h 160"/>
              <a:gd name="T112" fmla="*/ 56105550 w 168"/>
              <a:gd name="T113" fmla="*/ 818798766 h 160"/>
              <a:gd name="T114" fmla="*/ 173413868 w 168"/>
              <a:gd name="T115" fmla="*/ 747153025 h 160"/>
              <a:gd name="T116" fmla="*/ 209116989 w 168"/>
              <a:gd name="T117" fmla="*/ 701097150 h 160"/>
              <a:gd name="T118" fmla="*/ 198915775 w 168"/>
              <a:gd name="T119" fmla="*/ 690860752 h 160"/>
              <a:gd name="T120" fmla="*/ 428435192 w 168"/>
              <a:gd name="T121" fmla="*/ 465691657 h 16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68" h="160">
                <a:moveTo>
                  <a:pt x="49" y="73"/>
                </a:moveTo>
                <a:cubicBezTo>
                  <a:pt x="49" y="73"/>
                  <a:pt x="49" y="73"/>
                  <a:pt x="49" y="73"/>
                </a:cubicBezTo>
                <a:cubicBezTo>
                  <a:pt x="65" y="89"/>
                  <a:pt x="65" y="89"/>
                  <a:pt x="65" y="89"/>
                </a:cubicBezTo>
                <a:cubicBezTo>
                  <a:pt x="71" y="84"/>
                  <a:pt x="71" y="84"/>
                  <a:pt x="71" y="84"/>
                </a:cubicBezTo>
                <a:cubicBezTo>
                  <a:pt x="65" y="77"/>
                  <a:pt x="65" y="77"/>
                  <a:pt x="65" y="77"/>
                </a:cubicBezTo>
                <a:cubicBezTo>
                  <a:pt x="62" y="75"/>
                  <a:pt x="62" y="75"/>
                  <a:pt x="62" y="75"/>
                </a:cubicBezTo>
                <a:cubicBezTo>
                  <a:pt x="77" y="60"/>
                  <a:pt x="77" y="60"/>
                  <a:pt x="77" y="60"/>
                </a:cubicBezTo>
                <a:cubicBezTo>
                  <a:pt x="78" y="60"/>
                  <a:pt x="78" y="60"/>
                  <a:pt x="78" y="60"/>
                </a:cubicBezTo>
                <a:cubicBezTo>
                  <a:pt x="79" y="60"/>
                  <a:pt x="79" y="60"/>
                  <a:pt x="80" y="60"/>
                </a:cubicBezTo>
                <a:cubicBezTo>
                  <a:pt x="81" y="60"/>
                  <a:pt x="82" y="60"/>
                  <a:pt x="83" y="60"/>
                </a:cubicBezTo>
                <a:cubicBezTo>
                  <a:pt x="72" y="49"/>
                  <a:pt x="72" y="49"/>
                  <a:pt x="72" y="49"/>
                </a:cubicBezTo>
                <a:cubicBezTo>
                  <a:pt x="72" y="49"/>
                  <a:pt x="72" y="49"/>
                  <a:pt x="72" y="49"/>
                </a:cubicBezTo>
                <a:cubicBezTo>
                  <a:pt x="75" y="37"/>
                  <a:pt x="72" y="24"/>
                  <a:pt x="63" y="14"/>
                </a:cubicBezTo>
                <a:cubicBezTo>
                  <a:pt x="53" y="5"/>
                  <a:pt x="40" y="2"/>
                  <a:pt x="28" y="5"/>
                </a:cubicBezTo>
                <a:cubicBezTo>
                  <a:pt x="48" y="25"/>
                  <a:pt x="48" y="25"/>
                  <a:pt x="48" y="25"/>
                </a:cubicBezTo>
                <a:cubicBezTo>
                  <a:pt x="43" y="45"/>
                  <a:pt x="43" y="45"/>
                  <a:pt x="43" y="45"/>
                </a:cubicBezTo>
                <a:cubicBezTo>
                  <a:pt x="24" y="50"/>
                  <a:pt x="24" y="50"/>
                  <a:pt x="24" y="50"/>
                </a:cubicBezTo>
                <a:cubicBezTo>
                  <a:pt x="4" y="30"/>
                  <a:pt x="4" y="30"/>
                  <a:pt x="4" y="30"/>
                </a:cubicBezTo>
                <a:cubicBezTo>
                  <a:pt x="0" y="42"/>
                  <a:pt x="4" y="55"/>
                  <a:pt x="13" y="64"/>
                </a:cubicBezTo>
                <a:cubicBezTo>
                  <a:pt x="22" y="74"/>
                  <a:pt x="36" y="77"/>
                  <a:pt x="49" y="73"/>
                </a:cubicBezTo>
                <a:close/>
                <a:moveTo>
                  <a:pt x="108" y="85"/>
                </a:moveTo>
                <a:cubicBezTo>
                  <a:pt x="107" y="86"/>
                  <a:pt x="107" y="88"/>
                  <a:pt x="107" y="89"/>
                </a:cubicBezTo>
                <a:cubicBezTo>
                  <a:pt x="108" y="91"/>
                  <a:pt x="108" y="91"/>
                  <a:pt x="108" y="91"/>
                </a:cubicBezTo>
                <a:cubicBezTo>
                  <a:pt x="106" y="92"/>
                  <a:pt x="106" y="92"/>
                  <a:pt x="106" y="92"/>
                </a:cubicBezTo>
                <a:cubicBezTo>
                  <a:pt x="96" y="103"/>
                  <a:pt x="96" y="103"/>
                  <a:pt x="96" y="103"/>
                </a:cubicBezTo>
                <a:cubicBezTo>
                  <a:pt x="93" y="105"/>
                  <a:pt x="93" y="105"/>
                  <a:pt x="93" y="105"/>
                </a:cubicBezTo>
                <a:cubicBezTo>
                  <a:pt x="84" y="96"/>
                  <a:pt x="84" y="96"/>
                  <a:pt x="84" y="96"/>
                </a:cubicBezTo>
                <a:cubicBezTo>
                  <a:pt x="78" y="102"/>
                  <a:pt x="78" y="102"/>
                  <a:pt x="78" y="102"/>
                </a:cubicBezTo>
                <a:cubicBezTo>
                  <a:pt x="131" y="155"/>
                  <a:pt x="131" y="155"/>
                  <a:pt x="131" y="155"/>
                </a:cubicBezTo>
                <a:cubicBezTo>
                  <a:pt x="134" y="158"/>
                  <a:pt x="138" y="160"/>
                  <a:pt x="143" y="160"/>
                </a:cubicBezTo>
                <a:cubicBezTo>
                  <a:pt x="147" y="160"/>
                  <a:pt x="151" y="158"/>
                  <a:pt x="154" y="155"/>
                </a:cubicBezTo>
                <a:cubicBezTo>
                  <a:pt x="161" y="148"/>
                  <a:pt x="161" y="138"/>
                  <a:pt x="154" y="131"/>
                </a:cubicBezTo>
                <a:lnTo>
                  <a:pt x="108" y="85"/>
                </a:lnTo>
                <a:close/>
                <a:moveTo>
                  <a:pt x="148" y="149"/>
                </a:moveTo>
                <a:cubicBezTo>
                  <a:pt x="140" y="152"/>
                  <a:pt x="140" y="152"/>
                  <a:pt x="140" y="152"/>
                </a:cubicBezTo>
                <a:cubicBezTo>
                  <a:pt x="133" y="145"/>
                  <a:pt x="133" y="145"/>
                  <a:pt x="133" y="145"/>
                </a:cubicBezTo>
                <a:cubicBezTo>
                  <a:pt x="135" y="136"/>
                  <a:pt x="135" y="136"/>
                  <a:pt x="135" y="136"/>
                </a:cubicBezTo>
                <a:cubicBezTo>
                  <a:pt x="144" y="134"/>
                  <a:pt x="144" y="134"/>
                  <a:pt x="144" y="134"/>
                </a:cubicBezTo>
                <a:cubicBezTo>
                  <a:pt x="150" y="141"/>
                  <a:pt x="150" y="141"/>
                  <a:pt x="150" y="141"/>
                </a:cubicBezTo>
                <a:lnTo>
                  <a:pt x="148" y="149"/>
                </a:lnTo>
                <a:close/>
                <a:moveTo>
                  <a:pt x="84" y="91"/>
                </a:moveTo>
                <a:cubicBezTo>
                  <a:pt x="93" y="100"/>
                  <a:pt x="93" y="100"/>
                  <a:pt x="93" y="100"/>
                </a:cubicBezTo>
                <a:cubicBezTo>
                  <a:pt x="103" y="90"/>
                  <a:pt x="103" y="90"/>
                  <a:pt x="103" y="90"/>
                </a:cubicBezTo>
                <a:cubicBezTo>
                  <a:pt x="103" y="84"/>
                  <a:pt x="104" y="79"/>
                  <a:pt x="108" y="75"/>
                </a:cubicBezTo>
                <a:cubicBezTo>
                  <a:pt x="112" y="72"/>
                  <a:pt x="117" y="70"/>
                  <a:pt x="122" y="70"/>
                </a:cubicBezTo>
                <a:cubicBezTo>
                  <a:pt x="168" y="25"/>
                  <a:pt x="168" y="25"/>
                  <a:pt x="168" y="25"/>
                </a:cubicBezTo>
                <a:cubicBezTo>
                  <a:pt x="142" y="0"/>
                  <a:pt x="142" y="0"/>
                  <a:pt x="142" y="0"/>
                </a:cubicBezTo>
                <a:cubicBezTo>
                  <a:pt x="97" y="45"/>
                  <a:pt x="97" y="45"/>
                  <a:pt x="97" y="45"/>
                </a:cubicBezTo>
                <a:cubicBezTo>
                  <a:pt x="98" y="50"/>
                  <a:pt x="96" y="55"/>
                  <a:pt x="92" y="59"/>
                </a:cubicBezTo>
                <a:cubicBezTo>
                  <a:pt x="88" y="63"/>
                  <a:pt x="83" y="65"/>
                  <a:pt x="78" y="64"/>
                </a:cubicBezTo>
                <a:cubicBezTo>
                  <a:pt x="68" y="75"/>
                  <a:pt x="68" y="75"/>
                  <a:pt x="68" y="75"/>
                </a:cubicBezTo>
                <a:cubicBezTo>
                  <a:pt x="77" y="84"/>
                  <a:pt x="77" y="84"/>
                  <a:pt x="77" y="84"/>
                </a:cubicBezTo>
                <a:cubicBezTo>
                  <a:pt x="32" y="128"/>
                  <a:pt x="32" y="128"/>
                  <a:pt x="32" y="128"/>
                </a:cubicBezTo>
                <a:cubicBezTo>
                  <a:pt x="31" y="127"/>
                  <a:pt x="31" y="127"/>
                  <a:pt x="31" y="127"/>
                </a:cubicBezTo>
                <a:cubicBezTo>
                  <a:pt x="22" y="134"/>
                  <a:pt x="22" y="134"/>
                  <a:pt x="22" y="134"/>
                </a:cubicBezTo>
                <a:cubicBezTo>
                  <a:pt x="8" y="156"/>
                  <a:pt x="8" y="156"/>
                  <a:pt x="8" y="156"/>
                </a:cubicBezTo>
                <a:cubicBezTo>
                  <a:pt x="11" y="160"/>
                  <a:pt x="11" y="160"/>
                  <a:pt x="11" y="160"/>
                </a:cubicBezTo>
                <a:cubicBezTo>
                  <a:pt x="34" y="146"/>
                  <a:pt x="34" y="146"/>
                  <a:pt x="34" y="146"/>
                </a:cubicBezTo>
                <a:cubicBezTo>
                  <a:pt x="41" y="137"/>
                  <a:pt x="41" y="137"/>
                  <a:pt x="41" y="137"/>
                </a:cubicBezTo>
                <a:cubicBezTo>
                  <a:pt x="39" y="135"/>
                  <a:pt x="39" y="135"/>
                  <a:pt x="39" y="135"/>
                </a:cubicBezTo>
                <a:lnTo>
                  <a:pt x="84" y="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6" name="Freeform 45"/>
          <p:cNvSpPr>
            <a:spLocks noEditPoints="1"/>
          </p:cNvSpPr>
          <p:nvPr/>
        </p:nvSpPr>
        <p:spPr bwMode="auto">
          <a:xfrm>
            <a:off x="4828118" y="3077633"/>
            <a:ext cx="385233" cy="381000"/>
          </a:xfrm>
          <a:custGeom>
            <a:avLst/>
            <a:gdLst>
              <a:gd name="T0" fmla="*/ 330141263 w 182"/>
              <a:gd name="T1" fmla="*/ 211693125 h 180"/>
              <a:gd name="T2" fmla="*/ 458668438 w 182"/>
              <a:gd name="T3" fmla="*/ 105846563 h 180"/>
              <a:gd name="T4" fmla="*/ 330141263 w 182"/>
              <a:gd name="T5" fmla="*/ 0 h 180"/>
              <a:gd name="T6" fmla="*/ 330141263 w 182"/>
              <a:gd name="T7" fmla="*/ 68045013 h 180"/>
              <a:gd name="T8" fmla="*/ 65524063 w 182"/>
              <a:gd name="T9" fmla="*/ 68045013 h 180"/>
              <a:gd name="T10" fmla="*/ 65524063 w 182"/>
              <a:gd name="T11" fmla="*/ 143649700 h 180"/>
              <a:gd name="T12" fmla="*/ 330141263 w 182"/>
              <a:gd name="T13" fmla="*/ 143649700 h 180"/>
              <a:gd name="T14" fmla="*/ 330141263 w 182"/>
              <a:gd name="T15" fmla="*/ 211693125 h 180"/>
              <a:gd name="T16" fmla="*/ 131048125 w 182"/>
              <a:gd name="T17" fmla="*/ 241935000 h 180"/>
              <a:gd name="T18" fmla="*/ 0 w 182"/>
              <a:gd name="T19" fmla="*/ 350302513 h 180"/>
              <a:gd name="T20" fmla="*/ 131048125 w 182"/>
              <a:gd name="T21" fmla="*/ 453628125 h 180"/>
              <a:gd name="T22" fmla="*/ 131048125 w 182"/>
              <a:gd name="T23" fmla="*/ 385584700 h 180"/>
              <a:gd name="T24" fmla="*/ 395665325 w 182"/>
              <a:gd name="T25" fmla="*/ 385584700 h 180"/>
              <a:gd name="T26" fmla="*/ 395665325 w 182"/>
              <a:gd name="T27" fmla="*/ 309980013 h 180"/>
              <a:gd name="T28" fmla="*/ 131048125 w 182"/>
              <a:gd name="T29" fmla="*/ 309980013 h 180"/>
              <a:gd name="T30" fmla="*/ 131048125 w 182"/>
              <a:gd name="T31" fmla="*/ 241935000 h 18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2" h="180">
                <a:moveTo>
                  <a:pt x="131" y="84"/>
                </a:moveTo>
                <a:lnTo>
                  <a:pt x="182" y="42"/>
                </a:lnTo>
                <a:lnTo>
                  <a:pt x="131" y="0"/>
                </a:lnTo>
                <a:lnTo>
                  <a:pt x="131" y="27"/>
                </a:lnTo>
                <a:lnTo>
                  <a:pt x="26" y="27"/>
                </a:lnTo>
                <a:lnTo>
                  <a:pt x="26" y="57"/>
                </a:lnTo>
                <a:lnTo>
                  <a:pt x="131" y="57"/>
                </a:lnTo>
                <a:lnTo>
                  <a:pt x="131" y="84"/>
                </a:lnTo>
                <a:close/>
                <a:moveTo>
                  <a:pt x="52" y="96"/>
                </a:moveTo>
                <a:lnTo>
                  <a:pt x="0" y="139"/>
                </a:lnTo>
                <a:lnTo>
                  <a:pt x="52" y="180"/>
                </a:lnTo>
                <a:lnTo>
                  <a:pt x="52" y="153"/>
                </a:lnTo>
                <a:lnTo>
                  <a:pt x="157" y="153"/>
                </a:lnTo>
                <a:lnTo>
                  <a:pt x="157" y="123"/>
                </a:lnTo>
                <a:lnTo>
                  <a:pt x="52" y="123"/>
                </a:lnTo>
                <a:lnTo>
                  <a:pt x="52" y="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7" name="Freeform 46"/>
          <p:cNvSpPr>
            <a:spLocks noEditPoints="1"/>
          </p:cNvSpPr>
          <p:nvPr/>
        </p:nvSpPr>
        <p:spPr bwMode="auto">
          <a:xfrm>
            <a:off x="5573185" y="2976034"/>
            <a:ext cx="535516" cy="535517"/>
          </a:xfrm>
          <a:custGeom>
            <a:avLst/>
            <a:gdLst>
              <a:gd name="T0" fmla="*/ 453125510 w 178"/>
              <a:gd name="T1" fmla="*/ 0 h 178"/>
              <a:gd name="T2" fmla="*/ 0 w 178"/>
              <a:gd name="T3" fmla="*/ 453126638 h 178"/>
              <a:gd name="T4" fmla="*/ 453125510 w 178"/>
              <a:gd name="T5" fmla="*/ 906253276 h 178"/>
              <a:gd name="T6" fmla="*/ 906251019 w 178"/>
              <a:gd name="T7" fmla="*/ 453126638 h 178"/>
              <a:gd name="T8" fmla="*/ 453125510 w 178"/>
              <a:gd name="T9" fmla="*/ 0 h 178"/>
              <a:gd name="T10" fmla="*/ 453125510 w 178"/>
              <a:gd name="T11" fmla="*/ 50913257 h 178"/>
              <a:gd name="T12" fmla="*/ 855337888 w 178"/>
              <a:gd name="T13" fmla="*/ 453126638 h 178"/>
              <a:gd name="T14" fmla="*/ 845154811 w 178"/>
              <a:gd name="T15" fmla="*/ 534586947 h 178"/>
              <a:gd name="T16" fmla="*/ 651685366 w 178"/>
              <a:gd name="T17" fmla="*/ 672053194 h 178"/>
              <a:gd name="T18" fmla="*/ 453125510 w 178"/>
              <a:gd name="T19" fmla="*/ 473492843 h 178"/>
              <a:gd name="T20" fmla="*/ 249472987 w 178"/>
              <a:gd name="T21" fmla="*/ 269839813 h 178"/>
              <a:gd name="T22" fmla="*/ 50913131 w 178"/>
              <a:gd name="T23" fmla="*/ 427670009 h 178"/>
              <a:gd name="T24" fmla="*/ 453125510 w 178"/>
              <a:gd name="T25" fmla="*/ 50913257 h 17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78" h="178">
                <a:moveTo>
                  <a:pt x="89" y="0"/>
                </a:moveTo>
                <a:cubicBezTo>
                  <a:pt x="40" y="0"/>
                  <a:pt x="0" y="40"/>
                  <a:pt x="0" y="89"/>
                </a:cubicBezTo>
                <a:cubicBezTo>
                  <a:pt x="0" y="138"/>
                  <a:pt x="40" y="178"/>
                  <a:pt x="89" y="178"/>
                </a:cubicBezTo>
                <a:cubicBezTo>
                  <a:pt x="138" y="178"/>
                  <a:pt x="178" y="138"/>
                  <a:pt x="178" y="89"/>
                </a:cubicBezTo>
                <a:cubicBezTo>
                  <a:pt x="178" y="40"/>
                  <a:pt x="138" y="0"/>
                  <a:pt x="89" y="0"/>
                </a:cubicBezTo>
                <a:close/>
                <a:moveTo>
                  <a:pt x="89" y="10"/>
                </a:moveTo>
                <a:cubicBezTo>
                  <a:pt x="133" y="10"/>
                  <a:pt x="168" y="45"/>
                  <a:pt x="168" y="89"/>
                </a:cubicBezTo>
                <a:cubicBezTo>
                  <a:pt x="168" y="94"/>
                  <a:pt x="167" y="100"/>
                  <a:pt x="166" y="105"/>
                </a:cubicBezTo>
                <a:cubicBezTo>
                  <a:pt x="161" y="121"/>
                  <a:pt x="146" y="132"/>
                  <a:pt x="128" y="132"/>
                </a:cubicBezTo>
                <a:cubicBezTo>
                  <a:pt x="107" y="132"/>
                  <a:pt x="89" y="115"/>
                  <a:pt x="89" y="93"/>
                </a:cubicBezTo>
                <a:cubicBezTo>
                  <a:pt x="89" y="71"/>
                  <a:pt x="71" y="53"/>
                  <a:pt x="49" y="53"/>
                </a:cubicBezTo>
                <a:cubicBezTo>
                  <a:pt x="30" y="53"/>
                  <a:pt x="14" y="67"/>
                  <a:pt x="10" y="84"/>
                </a:cubicBezTo>
                <a:cubicBezTo>
                  <a:pt x="13" y="43"/>
                  <a:pt x="47" y="10"/>
                  <a:pt x="89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8" name="Freeform 47"/>
          <p:cNvSpPr>
            <a:spLocks/>
          </p:cNvSpPr>
          <p:nvPr/>
        </p:nvSpPr>
        <p:spPr bwMode="auto">
          <a:xfrm>
            <a:off x="6394451" y="2984500"/>
            <a:ext cx="529167" cy="518584"/>
          </a:xfrm>
          <a:custGeom>
            <a:avLst/>
            <a:gdLst>
              <a:gd name="T0" fmla="*/ 859347124 w 176"/>
              <a:gd name="T1" fmla="*/ 414180528 h 172"/>
              <a:gd name="T2" fmla="*/ 477979563 w 176"/>
              <a:gd name="T3" fmla="*/ 414180528 h 172"/>
              <a:gd name="T4" fmla="*/ 477979563 w 176"/>
              <a:gd name="T5" fmla="*/ 250552955 h 172"/>
              <a:gd name="T6" fmla="*/ 406792365 w 176"/>
              <a:gd name="T7" fmla="*/ 76699930 h 172"/>
              <a:gd name="T8" fmla="*/ 238990909 w 176"/>
              <a:gd name="T9" fmla="*/ 0 h 172"/>
              <a:gd name="T10" fmla="*/ 71189453 w 176"/>
              <a:gd name="T11" fmla="*/ 76699930 h 172"/>
              <a:gd name="T12" fmla="*/ 0 w 176"/>
              <a:gd name="T13" fmla="*/ 250552955 h 172"/>
              <a:gd name="T14" fmla="*/ 0 w 176"/>
              <a:gd name="T15" fmla="*/ 465312308 h 172"/>
              <a:gd name="T16" fmla="*/ 127121768 w 176"/>
              <a:gd name="T17" fmla="*/ 465312308 h 172"/>
              <a:gd name="T18" fmla="*/ 127121768 w 176"/>
              <a:gd name="T19" fmla="*/ 439746418 h 172"/>
              <a:gd name="T20" fmla="*/ 50849609 w 176"/>
              <a:gd name="T21" fmla="*/ 363046488 h 172"/>
              <a:gd name="T22" fmla="*/ 127121768 w 176"/>
              <a:gd name="T23" fmla="*/ 363046488 h 172"/>
              <a:gd name="T24" fmla="*/ 127121768 w 176"/>
              <a:gd name="T25" fmla="*/ 250552955 h 172"/>
              <a:gd name="T26" fmla="*/ 157631534 w 176"/>
              <a:gd name="T27" fmla="*/ 163627573 h 172"/>
              <a:gd name="T28" fmla="*/ 238990909 w 176"/>
              <a:gd name="T29" fmla="*/ 127833971 h 172"/>
              <a:gd name="T30" fmla="*/ 315263068 w 176"/>
              <a:gd name="T31" fmla="*/ 163627573 h 172"/>
              <a:gd name="T32" fmla="*/ 350857795 w 176"/>
              <a:gd name="T33" fmla="*/ 250552955 h 172"/>
              <a:gd name="T34" fmla="*/ 350857795 w 176"/>
              <a:gd name="T35" fmla="*/ 414180528 h 172"/>
              <a:gd name="T36" fmla="*/ 300008185 w 176"/>
              <a:gd name="T37" fmla="*/ 414180528 h 172"/>
              <a:gd name="T38" fmla="*/ 264415714 w 176"/>
              <a:gd name="T39" fmla="*/ 444859144 h 172"/>
              <a:gd name="T40" fmla="*/ 264415714 w 176"/>
              <a:gd name="T41" fmla="*/ 843699234 h 172"/>
              <a:gd name="T42" fmla="*/ 300008185 w 176"/>
              <a:gd name="T43" fmla="*/ 879492836 h 172"/>
              <a:gd name="T44" fmla="*/ 859347124 w 176"/>
              <a:gd name="T45" fmla="*/ 879492836 h 172"/>
              <a:gd name="T46" fmla="*/ 894941850 w 176"/>
              <a:gd name="T47" fmla="*/ 843699234 h 172"/>
              <a:gd name="T48" fmla="*/ 894941850 w 176"/>
              <a:gd name="T49" fmla="*/ 444859144 h 172"/>
              <a:gd name="T50" fmla="*/ 859347124 w 176"/>
              <a:gd name="T51" fmla="*/ 414180528 h 17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76" h="172">
                <a:moveTo>
                  <a:pt x="169" y="81"/>
                </a:moveTo>
                <a:cubicBezTo>
                  <a:pt x="94" y="81"/>
                  <a:pt x="94" y="81"/>
                  <a:pt x="94" y="81"/>
                </a:cubicBezTo>
                <a:cubicBezTo>
                  <a:pt x="94" y="49"/>
                  <a:pt x="94" y="49"/>
                  <a:pt x="94" y="49"/>
                </a:cubicBezTo>
                <a:cubicBezTo>
                  <a:pt x="94" y="36"/>
                  <a:pt x="89" y="24"/>
                  <a:pt x="80" y="15"/>
                </a:cubicBezTo>
                <a:cubicBezTo>
                  <a:pt x="72" y="6"/>
                  <a:pt x="60" y="0"/>
                  <a:pt x="47" y="0"/>
                </a:cubicBezTo>
                <a:cubicBezTo>
                  <a:pt x="34" y="0"/>
                  <a:pt x="22" y="6"/>
                  <a:pt x="14" y="15"/>
                </a:cubicBezTo>
                <a:cubicBezTo>
                  <a:pt x="5" y="24"/>
                  <a:pt x="0" y="36"/>
                  <a:pt x="0" y="49"/>
                </a:cubicBezTo>
                <a:cubicBezTo>
                  <a:pt x="0" y="91"/>
                  <a:pt x="0" y="91"/>
                  <a:pt x="0" y="91"/>
                </a:cubicBezTo>
                <a:cubicBezTo>
                  <a:pt x="25" y="91"/>
                  <a:pt x="25" y="91"/>
                  <a:pt x="25" y="91"/>
                </a:cubicBezTo>
                <a:cubicBezTo>
                  <a:pt x="25" y="86"/>
                  <a:pt x="25" y="86"/>
                  <a:pt x="25" y="86"/>
                </a:cubicBezTo>
                <a:cubicBezTo>
                  <a:pt x="10" y="71"/>
                  <a:pt x="10" y="71"/>
                  <a:pt x="10" y="71"/>
                </a:cubicBezTo>
                <a:cubicBezTo>
                  <a:pt x="25" y="71"/>
                  <a:pt x="25" y="71"/>
                  <a:pt x="25" y="71"/>
                </a:cubicBezTo>
                <a:cubicBezTo>
                  <a:pt x="25" y="49"/>
                  <a:pt x="25" y="49"/>
                  <a:pt x="25" y="49"/>
                </a:cubicBezTo>
                <a:cubicBezTo>
                  <a:pt x="25" y="42"/>
                  <a:pt x="27" y="36"/>
                  <a:pt x="31" y="32"/>
                </a:cubicBezTo>
                <a:cubicBezTo>
                  <a:pt x="36" y="27"/>
                  <a:pt x="41" y="25"/>
                  <a:pt x="47" y="25"/>
                </a:cubicBezTo>
                <a:cubicBezTo>
                  <a:pt x="53" y="25"/>
                  <a:pt x="58" y="27"/>
                  <a:pt x="62" y="32"/>
                </a:cubicBezTo>
                <a:cubicBezTo>
                  <a:pt x="67" y="36"/>
                  <a:pt x="69" y="42"/>
                  <a:pt x="69" y="49"/>
                </a:cubicBezTo>
                <a:cubicBezTo>
                  <a:pt x="69" y="81"/>
                  <a:pt x="69" y="81"/>
                  <a:pt x="69" y="81"/>
                </a:cubicBezTo>
                <a:cubicBezTo>
                  <a:pt x="59" y="81"/>
                  <a:pt x="59" y="81"/>
                  <a:pt x="59" y="81"/>
                </a:cubicBezTo>
                <a:cubicBezTo>
                  <a:pt x="55" y="81"/>
                  <a:pt x="52" y="84"/>
                  <a:pt x="52" y="87"/>
                </a:cubicBezTo>
                <a:cubicBezTo>
                  <a:pt x="52" y="165"/>
                  <a:pt x="52" y="165"/>
                  <a:pt x="52" y="165"/>
                </a:cubicBezTo>
                <a:cubicBezTo>
                  <a:pt x="52" y="169"/>
                  <a:pt x="55" y="172"/>
                  <a:pt x="59" y="172"/>
                </a:cubicBezTo>
                <a:cubicBezTo>
                  <a:pt x="169" y="172"/>
                  <a:pt x="169" y="172"/>
                  <a:pt x="169" y="172"/>
                </a:cubicBezTo>
                <a:cubicBezTo>
                  <a:pt x="173" y="172"/>
                  <a:pt x="176" y="169"/>
                  <a:pt x="176" y="165"/>
                </a:cubicBezTo>
                <a:cubicBezTo>
                  <a:pt x="176" y="87"/>
                  <a:pt x="176" y="87"/>
                  <a:pt x="176" y="87"/>
                </a:cubicBezTo>
                <a:cubicBezTo>
                  <a:pt x="176" y="84"/>
                  <a:pt x="173" y="81"/>
                  <a:pt x="169" y="8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89" name="Freeform 48"/>
          <p:cNvSpPr>
            <a:spLocks/>
          </p:cNvSpPr>
          <p:nvPr/>
        </p:nvSpPr>
        <p:spPr bwMode="auto">
          <a:xfrm>
            <a:off x="7378701" y="2990851"/>
            <a:ext cx="294217" cy="531283"/>
          </a:xfrm>
          <a:custGeom>
            <a:avLst/>
            <a:gdLst>
              <a:gd name="T0" fmla="*/ 496858771 w 98"/>
              <a:gd name="T1" fmla="*/ 148644438 h 176"/>
              <a:gd name="T2" fmla="*/ 390388874 w 98"/>
              <a:gd name="T3" fmla="*/ 148644438 h 176"/>
              <a:gd name="T4" fmla="*/ 390388874 w 98"/>
              <a:gd name="T5" fmla="*/ 256283514 h 176"/>
              <a:gd name="T6" fmla="*/ 415738099 w 98"/>
              <a:gd name="T7" fmla="*/ 256283514 h 176"/>
              <a:gd name="T8" fmla="*/ 400528113 w 98"/>
              <a:gd name="T9" fmla="*/ 343419908 h 176"/>
              <a:gd name="T10" fmla="*/ 344758918 w 98"/>
              <a:gd name="T11" fmla="*/ 410053622 h 176"/>
              <a:gd name="T12" fmla="*/ 283918976 w 98"/>
              <a:gd name="T13" fmla="*/ 461308061 h 176"/>
              <a:gd name="T14" fmla="*/ 283918976 w 98"/>
              <a:gd name="T15" fmla="*/ 112764746 h 176"/>
              <a:gd name="T16" fmla="*/ 319409693 w 98"/>
              <a:gd name="T17" fmla="*/ 112764746 h 176"/>
              <a:gd name="T18" fmla="*/ 253499005 w 98"/>
              <a:gd name="T19" fmla="*/ 0 h 176"/>
              <a:gd name="T20" fmla="*/ 187590570 w 98"/>
              <a:gd name="T21" fmla="*/ 112764746 h 176"/>
              <a:gd name="T22" fmla="*/ 228149780 w 98"/>
              <a:gd name="T23" fmla="*/ 112764746 h 176"/>
              <a:gd name="T24" fmla="*/ 228149780 w 98"/>
              <a:gd name="T25" fmla="*/ 579198477 h 176"/>
              <a:gd name="T26" fmla="*/ 162239093 w 98"/>
              <a:gd name="T27" fmla="*/ 527941774 h 176"/>
              <a:gd name="T28" fmla="*/ 106469898 w 98"/>
              <a:gd name="T29" fmla="*/ 461308061 h 176"/>
              <a:gd name="T30" fmla="*/ 91259912 w 98"/>
              <a:gd name="T31" fmla="*/ 358796919 h 176"/>
              <a:gd name="T32" fmla="*/ 126750629 w 98"/>
              <a:gd name="T33" fmla="*/ 302414546 h 176"/>
              <a:gd name="T34" fmla="*/ 65910687 w 98"/>
              <a:gd name="T35" fmla="*/ 235780833 h 176"/>
              <a:gd name="T36" fmla="*/ 0 w 98"/>
              <a:gd name="T37" fmla="*/ 302414546 h 176"/>
              <a:gd name="T38" fmla="*/ 35490716 w 98"/>
              <a:gd name="T39" fmla="*/ 358796919 h 176"/>
              <a:gd name="T40" fmla="*/ 55769196 w 98"/>
              <a:gd name="T41" fmla="*/ 481810742 h 176"/>
              <a:gd name="T42" fmla="*/ 131819123 w 98"/>
              <a:gd name="T43" fmla="*/ 574072807 h 176"/>
              <a:gd name="T44" fmla="*/ 202800555 w 98"/>
              <a:gd name="T45" fmla="*/ 640706520 h 176"/>
              <a:gd name="T46" fmla="*/ 223079035 w 98"/>
              <a:gd name="T47" fmla="*/ 707340234 h 176"/>
              <a:gd name="T48" fmla="*/ 152099854 w 98"/>
              <a:gd name="T49" fmla="*/ 799602299 h 176"/>
              <a:gd name="T50" fmla="*/ 248430511 w 98"/>
              <a:gd name="T51" fmla="*/ 902115704 h 176"/>
              <a:gd name="T52" fmla="*/ 349829663 w 98"/>
              <a:gd name="T53" fmla="*/ 799602299 h 176"/>
              <a:gd name="T54" fmla="*/ 283918976 w 98"/>
              <a:gd name="T55" fmla="*/ 707340234 h 176"/>
              <a:gd name="T56" fmla="*/ 283918976 w 98"/>
              <a:gd name="T57" fmla="*/ 630455180 h 176"/>
              <a:gd name="T58" fmla="*/ 304199707 w 98"/>
              <a:gd name="T59" fmla="*/ 522816104 h 176"/>
              <a:gd name="T60" fmla="*/ 375178888 w 98"/>
              <a:gd name="T61" fmla="*/ 456182390 h 176"/>
              <a:gd name="T62" fmla="*/ 456299561 w 98"/>
              <a:gd name="T63" fmla="*/ 363922589 h 176"/>
              <a:gd name="T64" fmla="*/ 471509546 w 98"/>
              <a:gd name="T65" fmla="*/ 256283514 h 176"/>
              <a:gd name="T66" fmla="*/ 496858771 w 98"/>
              <a:gd name="T67" fmla="*/ 256283514 h 176"/>
              <a:gd name="T68" fmla="*/ 496858771 w 98"/>
              <a:gd name="T69" fmla="*/ 148644438 h 17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98" h="176">
                <a:moveTo>
                  <a:pt x="98" y="29"/>
                </a:moveTo>
                <a:cubicBezTo>
                  <a:pt x="77" y="29"/>
                  <a:pt x="77" y="29"/>
                  <a:pt x="77" y="29"/>
                </a:cubicBezTo>
                <a:cubicBezTo>
                  <a:pt x="77" y="50"/>
                  <a:pt x="77" y="50"/>
                  <a:pt x="77" y="50"/>
                </a:cubicBezTo>
                <a:cubicBezTo>
                  <a:pt x="82" y="50"/>
                  <a:pt x="82" y="50"/>
                  <a:pt x="82" y="50"/>
                </a:cubicBezTo>
                <a:cubicBezTo>
                  <a:pt x="82" y="58"/>
                  <a:pt x="81" y="63"/>
                  <a:pt x="79" y="67"/>
                </a:cubicBezTo>
                <a:cubicBezTo>
                  <a:pt x="77" y="72"/>
                  <a:pt x="74" y="75"/>
                  <a:pt x="68" y="80"/>
                </a:cubicBezTo>
                <a:cubicBezTo>
                  <a:pt x="63" y="83"/>
                  <a:pt x="59" y="86"/>
                  <a:pt x="56" y="90"/>
                </a:cubicBezTo>
                <a:cubicBezTo>
                  <a:pt x="56" y="22"/>
                  <a:pt x="56" y="22"/>
                  <a:pt x="56" y="22"/>
                </a:cubicBezTo>
                <a:cubicBezTo>
                  <a:pt x="63" y="22"/>
                  <a:pt x="63" y="22"/>
                  <a:pt x="63" y="22"/>
                </a:cubicBezTo>
                <a:cubicBezTo>
                  <a:pt x="50" y="0"/>
                  <a:pt x="50" y="0"/>
                  <a:pt x="50" y="0"/>
                </a:cubicBezTo>
                <a:cubicBezTo>
                  <a:pt x="37" y="22"/>
                  <a:pt x="37" y="22"/>
                  <a:pt x="37" y="22"/>
                </a:cubicBezTo>
                <a:cubicBezTo>
                  <a:pt x="45" y="22"/>
                  <a:pt x="45" y="22"/>
                  <a:pt x="45" y="22"/>
                </a:cubicBezTo>
                <a:cubicBezTo>
                  <a:pt x="45" y="113"/>
                  <a:pt x="45" y="113"/>
                  <a:pt x="45" y="113"/>
                </a:cubicBezTo>
                <a:cubicBezTo>
                  <a:pt x="41" y="109"/>
                  <a:pt x="37" y="106"/>
                  <a:pt x="32" y="103"/>
                </a:cubicBezTo>
                <a:cubicBezTo>
                  <a:pt x="26" y="98"/>
                  <a:pt x="23" y="95"/>
                  <a:pt x="21" y="90"/>
                </a:cubicBezTo>
                <a:cubicBezTo>
                  <a:pt x="19" y="85"/>
                  <a:pt x="18" y="79"/>
                  <a:pt x="18" y="70"/>
                </a:cubicBezTo>
                <a:cubicBezTo>
                  <a:pt x="22" y="68"/>
                  <a:pt x="25" y="64"/>
                  <a:pt x="25" y="59"/>
                </a:cubicBezTo>
                <a:cubicBezTo>
                  <a:pt x="25" y="52"/>
                  <a:pt x="19" y="46"/>
                  <a:pt x="13" y="46"/>
                </a:cubicBezTo>
                <a:cubicBezTo>
                  <a:pt x="6" y="46"/>
                  <a:pt x="0" y="52"/>
                  <a:pt x="0" y="59"/>
                </a:cubicBezTo>
                <a:cubicBezTo>
                  <a:pt x="0" y="64"/>
                  <a:pt x="3" y="68"/>
                  <a:pt x="7" y="70"/>
                </a:cubicBezTo>
                <a:cubicBezTo>
                  <a:pt x="7" y="80"/>
                  <a:pt x="8" y="87"/>
                  <a:pt x="11" y="94"/>
                </a:cubicBezTo>
                <a:cubicBezTo>
                  <a:pt x="13" y="101"/>
                  <a:pt x="19" y="107"/>
                  <a:pt x="26" y="112"/>
                </a:cubicBezTo>
                <a:cubicBezTo>
                  <a:pt x="33" y="116"/>
                  <a:pt x="37" y="120"/>
                  <a:pt x="40" y="125"/>
                </a:cubicBezTo>
                <a:cubicBezTo>
                  <a:pt x="42" y="128"/>
                  <a:pt x="43" y="132"/>
                  <a:pt x="44" y="138"/>
                </a:cubicBezTo>
                <a:cubicBezTo>
                  <a:pt x="36" y="140"/>
                  <a:pt x="30" y="147"/>
                  <a:pt x="30" y="156"/>
                </a:cubicBezTo>
                <a:cubicBezTo>
                  <a:pt x="30" y="167"/>
                  <a:pt x="39" y="176"/>
                  <a:pt x="49" y="176"/>
                </a:cubicBezTo>
                <a:cubicBezTo>
                  <a:pt x="60" y="176"/>
                  <a:pt x="69" y="167"/>
                  <a:pt x="69" y="156"/>
                </a:cubicBezTo>
                <a:cubicBezTo>
                  <a:pt x="69" y="148"/>
                  <a:pt x="63" y="141"/>
                  <a:pt x="56" y="138"/>
                </a:cubicBezTo>
                <a:cubicBezTo>
                  <a:pt x="56" y="123"/>
                  <a:pt x="56" y="123"/>
                  <a:pt x="56" y="123"/>
                </a:cubicBezTo>
                <a:cubicBezTo>
                  <a:pt x="56" y="114"/>
                  <a:pt x="57" y="107"/>
                  <a:pt x="60" y="102"/>
                </a:cubicBezTo>
                <a:cubicBezTo>
                  <a:pt x="63" y="97"/>
                  <a:pt x="67" y="94"/>
                  <a:pt x="74" y="89"/>
                </a:cubicBezTo>
                <a:cubicBezTo>
                  <a:pt x="81" y="84"/>
                  <a:pt x="87" y="79"/>
                  <a:pt x="90" y="71"/>
                </a:cubicBezTo>
                <a:cubicBezTo>
                  <a:pt x="92" y="65"/>
                  <a:pt x="93" y="58"/>
                  <a:pt x="93" y="50"/>
                </a:cubicBezTo>
                <a:cubicBezTo>
                  <a:pt x="98" y="50"/>
                  <a:pt x="98" y="50"/>
                  <a:pt x="98" y="50"/>
                </a:cubicBezTo>
                <a:lnTo>
                  <a:pt x="98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0" name="Freeform 49"/>
          <p:cNvSpPr>
            <a:spLocks/>
          </p:cNvSpPr>
          <p:nvPr/>
        </p:nvSpPr>
        <p:spPr bwMode="auto">
          <a:xfrm>
            <a:off x="8130118" y="2988734"/>
            <a:ext cx="524933" cy="499533"/>
          </a:xfrm>
          <a:custGeom>
            <a:avLst/>
            <a:gdLst>
              <a:gd name="T0" fmla="*/ 604107761 w 174"/>
              <a:gd name="T1" fmla="*/ 101875460 h 166"/>
              <a:gd name="T2" fmla="*/ 609228124 w 174"/>
              <a:gd name="T3" fmla="*/ 162999833 h 166"/>
              <a:gd name="T4" fmla="*/ 604107761 w 174"/>
              <a:gd name="T5" fmla="*/ 249591379 h 166"/>
              <a:gd name="T6" fmla="*/ 614346224 w 174"/>
              <a:gd name="T7" fmla="*/ 275060808 h 166"/>
              <a:gd name="T8" fmla="*/ 619466586 w 174"/>
              <a:gd name="T9" fmla="*/ 341279067 h 166"/>
              <a:gd name="T10" fmla="*/ 604107761 w 174"/>
              <a:gd name="T11" fmla="*/ 376936268 h 166"/>
              <a:gd name="T12" fmla="*/ 578510473 w 174"/>
              <a:gd name="T13" fmla="*/ 402403440 h 166"/>
              <a:gd name="T14" fmla="*/ 568269748 w 174"/>
              <a:gd name="T15" fmla="*/ 458433927 h 166"/>
              <a:gd name="T16" fmla="*/ 542672460 w 174"/>
              <a:gd name="T17" fmla="*/ 509372786 h 166"/>
              <a:gd name="T18" fmla="*/ 568269748 w 174"/>
              <a:gd name="T19" fmla="*/ 509372786 h 166"/>
              <a:gd name="T20" fmla="*/ 604107761 w 174"/>
              <a:gd name="T21" fmla="*/ 575591045 h 166"/>
              <a:gd name="T22" fmla="*/ 645063874 w 174"/>
              <a:gd name="T23" fmla="*/ 585778817 h 166"/>
              <a:gd name="T24" fmla="*/ 783291039 w 174"/>
              <a:gd name="T25" fmla="*/ 641809304 h 166"/>
              <a:gd name="T26" fmla="*/ 890802816 w 174"/>
              <a:gd name="T27" fmla="*/ 708027563 h 166"/>
              <a:gd name="T28" fmla="*/ 890802816 w 174"/>
              <a:gd name="T29" fmla="*/ 845557967 h 166"/>
              <a:gd name="T30" fmla="*/ 0 w 174"/>
              <a:gd name="T31" fmla="*/ 845557967 h 166"/>
              <a:gd name="T32" fmla="*/ 0 w 174"/>
              <a:gd name="T33" fmla="*/ 708027563 h 166"/>
              <a:gd name="T34" fmla="*/ 107511777 w 174"/>
              <a:gd name="T35" fmla="*/ 641809304 h 166"/>
              <a:gd name="T36" fmla="*/ 245738942 w 174"/>
              <a:gd name="T37" fmla="*/ 585778817 h 166"/>
              <a:gd name="T38" fmla="*/ 286695055 w 174"/>
              <a:gd name="T39" fmla="*/ 575591045 h 166"/>
              <a:gd name="T40" fmla="*/ 322533068 w 174"/>
              <a:gd name="T41" fmla="*/ 509372786 h 166"/>
              <a:gd name="T42" fmla="*/ 343009994 w 174"/>
              <a:gd name="T43" fmla="*/ 504278900 h 166"/>
              <a:gd name="T44" fmla="*/ 317412706 w 174"/>
              <a:gd name="T45" fmla="*/ 463527813 h 166"/>
              <a:gd name="T46" fmla="*/ 307174243 w 174"/>
              <a:gd name="T47" fmla="*/ 392215668 h 166"/>
              <a:gd name="T48" fmla="*/ 291815418 w 174"/>
              <a:gd name="T49" fmla="*/ 387124039 h 166"/>
              <a:gd name="T50" fmla="*/ 266215867 w 174"/>
              <a:gd name="T51" fmla="*/ 290342465 h 166"/>
              <a:gd name="T52" fmla="*/ 276456593 w 174"/>
              <a:gd name="T53" fmla="*/ 244499750 h 166"/>
              <a:gd name="T54" fmla="*/ 343009994 w 174"/>
              <a:gd name="T55" fmla="*/ 45842716 h 166"/>
              <a:gd name="T56" fmla="*/ 532433997 w 174"/>
              <a:gd name="T57" fmla="*/ 45842716 h 166"/>
              <a:gd name="T58" fmla="*/ 552913185 w 174"/>
              <a:gd name="T59" fmla="*/ 61124373 h 166"/>
              <a:gd name="T60" fmla="*/ 578510473 w 174"/>
              <a:gd name="T61" fmla="*/ 66218259 h 166"/>
              <a:gd name="T62" fmla="*/ 604107761 w 174"/>
              <a:gd name="T63" fmla="*/ 101875460 h 16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74" h="166">
                <a:moveTo>
                  <a:pt x="118" y="20"/>
                </a:moveTo>
                <a:cubicBezTo>
                  <a:pt x="119" y="26"/>
                  <a:pt x="119" y="26"/>
                  <a:pt x="119" y="32"/>
                </a:cubicBezTo>
                <a:cubicBezTo>
                  <a:pt x="119" y="35"/>
                  <a:pt x="118" y="45"/>
                  <a:pt x="118" y="49"/>
                </a:cubicBezTo>
                <a:cubicBezTo>
                  <a:pt x="119" y="52"/>
                  <a:pt x="119" y="52"/>
                  <a:pt x="120" y="54"/>
                </a:cubicBezTo>
                <a:cubicBezTo>
                  <a:pt x="122" y="58"/>
                  <a:pt x="122" y="63"/>
                  <a:pt x="121" y="67"/>
                </a:cubicBezTo>
                <a:cubicBezTo>
                  <a:pt x="120" y="69"/>
                  <a:pt x="120" y="73"/>
                  <a:pt x="118" y="74"/>
                </a:cubicBezTo>
                <a:cubicBezTo>
                  <a:pt x="117" y="76"/>
                  <a:pt x="114" y="76"/>
                  <a:pt x="113" y="79"/>
                </a:cubicBezTo>
                <a:cubicBezTo>
                  <a:pt x="111" y="82"/>
                  <a:pt x="112" y="86"/>
                  <a:pt x="111" y="90"/>
                </a:cubicBezTo>
                <a:cubicBezTo>
                  <a:pt x="110" y="94"/>
                  <a:pt x="106" y="94"/>
                  <a:pt x="106" y="100"/>
                </a:cubicBezTo>
                <a:cubicBezTo>
                  <a:pt x="108" y="100"/>
                  <a:pt x="109" y="100"/>
                  <a:pt x="111" y="100"/>
                </a:cubicBezTo>
                <a:cubicBezTo>
                  <a:pt x="113" y="104"/>
                  <a:pt x="115" y="110"/>
                  <a:pt x="118" y="113"/>
                </a:cubicBezTo>
                <a:cubicBezTo>
                  <a:pt x="121" y="113"/>
                  <a:pt x="123" y="114"/>
                  <a:pt x="126" y="115"/>
                </a:cubicBezTo>
                <a:cubicBezTo>
                  <a:pt x="135" y="118"/>
                  <a:pt x="144" y="122"/>
                  <a:pt x="153" y="126"/>
                </a:cubicBezTo>
                <a:cubicBezTo>
                  <a:pt x="161" y="130"/>
                  <a:pt x="171" y="131"/>
                  <a:pt x="174" y="139"/>
                </a:cubicBezTo>
                <a:cubicBezTo>
                  <a:pt x="174" y="145"/>
                  <a:pt x="174" y="158"/>
                  <a:pt x="174" y="166"/>
                </a:cubicBezTo>
                <a:cubicBezTo>
                  <a:pt x="0" y="166"/>
                  <a:pt x="0" y="166"/>
                  <a:pt x="0" y="166"/>
                </a:cubicBezTo>
                <a:cubicBezTo>
                  <a:pt x="0" y="158"/>
                  <a:pt x="0" y="145"/>
                  <a:pt x="0" y="139"/>
                </a:cubicBezTo>
                <a:cubicBezTo>
                  <a:pt x="3" y="131"/>
                  <a:pt x="13" y="130"/>
                  <a:pt x="21" y="126"/>
                </a:cubicBezTo>
                <a:cubicBezTo>
                  <a:pt x="30" y="122"/>
                  <a:pt x="39" y="118"/>
                  <a:pt x="48" y="115"/>
                </a:cubicBezTo>
                <a:cubicBezTo>
                  <a:pt x="51" y="114"/>
                  <a:pt x="53" y="113"/>
                  <a:pt x="56" y="113"/>
                </a:cubicBezTo>
                <a:cubicBezTo>
                  <a:pt x="59" y="110"/>
                  <a:pt x="61" y="104"/>
                  <a:pt x="63" y="100"/>
                </a:cubicBezTo>
                <a:cubicBezTo>
                  <a:pt x="67" y="99"/>
                  <a:pt x="67" y="99"/>
                  <a:pt x="67" y="99"/>
                </a:cubicBezTo>
                <a:cubicBezTo>
                  <a:pt x="66" y="95"/>
                  <a:pt x="63" y="95"/>
                  <a:pt x="62" y="91"/>
                </a:cubicBezTo>
                <a:cubicBezTo>
                  <a:pt x="61" y="87"/>
                  <a:pt x="61" y="82"/>
                  <a:pt x="60" y="77"/>
                </a:cubicBezTo>
                <a:cubicBezTo>
                  <a:pt x="61" y="77"/>
                  <a:pt x="57" y="76"/>
                  <a:pt x="57" y="76"/>
                </a:cubicBezTo>
                <a:cubicBezTo>
                  <a:pt x="52" y="73"/>
                  <a:pt x="52" y="61"/>
                  <a:pt x="52" y="57"/>
                </a:cubicBezTo>
                <a:cubicBezTo>
                  <a:pt x="51" y="54"/>
                  <a:pt x="55" y="53"/>
                  <a:pt x="54" y="48"/>
                </a:cubicBezTo>
                <a:cubicBezTo>
                  <a:pt x="49" y="24"/>
                  <a:pt x="56" y="13"/>
                  <a:pt x="67" y="9"/>
                </a:cubicBezTo>
                <a:cubicBezTo>
                  <a:pt x="75" y="6"/>
                  <a:pt x="90" y="0"/>
                  <a:pt x="104" y="9"/>
                </a:cubicBezTo>
                <a:cubicBezTo>
                  <a:pt x="108" y="12"/>
                  <a:pt x="108" y="12"/>
                  <a:pt x="108" y="12"/>
                </a:cubicBezTo>
                <a:cubicBezTo>
                  <a:pt x="113" y="13"/>
                  <a:pt x="113" y="13"/>
                  <a:pt x="113" y="13"/>
                </a:cubicBezTo>
                <a:cubicBezTo>
                  <a:pt x="116" y="14"/>
                  <a:pt x="118" y="20"/>
                  <a:pt x="118" y="2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1" name="Freeform 50"/>
          <p:cNvSpPr>
            <a:spLocks noEditPoints="1"/>
          </p:cNvSpPr>
          <p:nvPr/>
        </p:nvSpPr>
        <p:spPr bwMode="auto">
          <a:xfrm>
            <a:off x="8942917" y="3020485"/>
            <a:ext cx="632883" cy="433916"/>
          </a:xfrm>
          <a:custGeom>
            <a:avLst/>
            <a:gdLst>
              <a:gd name="T0" fmla="*/ 546656924 w 210"/>
              <a:gd name="T1" fmla="*/ 515860585 h 144"/>
              <a:gd name="T2" fmla="*/ 480240409 w 210"/>
              <a:gd name="T3" fmla="*/ 454569950 h 144"/>
              <a:gd name="T4" fmla="*/ 480240409 w 210"/>
              <a:gd name="T5" fmla="*/ 408601973 h 144"/>
              <a:gd name="T6" fmla="*/ 510894533 w 210"/>
              <a:gd name="T7" fmla="*/ 342203785 h 144"/>
              <a:gd name="T8" fmla="*/ 521113327 w 210"/>
              <a:gd name="T9" fmla="*/ 255375386 h 144"/>
              <a:gd name="T10" fmla="*/ 516002800 w 210"/>
              <a:gd name="T11" fmla="*/ 163441693 h 144"/>
              <a:gd name="T12" fmla="*/ 490459203 w 210"/>
              <a:gd name="T13" fmla="*/ 56183082 h 144"/>
              <a:gd name="T14" fmla="*/ 449586285 w 210"/>
              <a:gd name="T15" fmla="*/ 35752870 h 144"/>
              <a:gd name="T16" fmla="*/ 235011937 w 210"/>
              <a:gd name="T17" fmla="*/ 229837621 h 144"/>
              <a:gd name="T18" fmla="*/ 245228472 w 210"/>
              <a:gd name="T19" fmla="*/ 352418891 h 144"/>
              <a:gd name="T20" fmla="*/ 270774328 w 210"/>
              <a:gd name="T21" fmla="*/ 413709526 h 144"/>
              <a:gd name="T22" fmla="*/ 275882596 w 210"/>
              <a:gd name="T23" fmla="*/ 454569950 h 144"/>
              <a:gd name="T24" fmla="*/ 209466080 w 210"/>
              <a:gd name="T25" fmla="*/ 515860585 h 144"/>
              <a:gd name="T26" fmla="*/ 5108267 w 210"/>
              <a:gd name="T27" fmla="*/ 623116936 h 144"/>
              <a:gd name="T28" fmla="*/ 751014737 w 210"/>
              <a:gd name="T29" fmla="*/ 735483100 h 144"/>
              <a:gd name="T30" fmla="*/ 664162892 w 210"/>
              <a:gd name="T31" fmla="*/ 566933854 h 144"/>
              <a:gd name="T32" fmla="*/ 791887656 w 210"/>
              <a:gd name="T33" fmla="*/ 526075690 h 144"/>
              <a:gd name="T34" fmla="*/ 745906470 w 210"/>
              <a:gd name="T35" fmla="*/ 485215267 h 144"/>
              <a:gd name="T36" fmla="*/ 745906470 w 210"/>
              <a:gd name="T37" fmla="*/ 449462397 h 144"/>
              <a:gd name="T38" fmla="*/ 766341799 w 210"/>
              <a:gd name="T39" fmla="*/ 403494420 h 144"/>
              <a:gd name="T40" fmla="*/ 776560594 w 210"/>
              <a:gd name="T41" fmla="*/ 342203785 h 144"/>
              <a:gd name="T42" fmla="*/ 771450066 w 210"/>
              <a:gd name="T43" fmla="*/ 275805598 h 144"/>
              <a:gd name="T44" fmla="*/ 751014737 w 210"/>
              <a:gd name="T45" fmla="*/ 199192304 h 144"/>
              <a:gd name="T46" fmla="*/ 725471141 w 210"/>
              <a:gd name="T47" fmla="*/ 183871905 h 144"/>
              <a:gd name="T48" fmla="*/ 567092253 w 210"/>
              <a:gd name="T49" fmla="*/ 321773574 h 144"/>
              <a:gd name="T50" fmla="*/ 577311048 w 210"/>
              <a:gd name="T51" fmla="*/ 408601973 h 144"/>
              <a:gd name="T52" fmla="*/ 592638110 w 210"/>
              <a:gd name="T53" fmla="*/ 454569950 h 144"/>
              <a:gd name="T54" fmla="*/ 597746377 w 210"/>
              <a:gd name="T55" fmla="*/ 485215267 h 144"/>
              <a:gd name="T56" fmla="*/ 623292234 w 210"/>
              <a:gd name="T57" fmla="*/ 531183243 h 144"/>
              <a:gd name="T58" fmla="*/ 694817016 w 210"/>
              <a:gd name="T59" fmla="*/ 556718748 h 144"/>
              <a:gd name="T60" fmla="*/ 771450066 w 210"/>
              <a:gd name="T61" fmla="*/ 618009383 h 144"/>
              <a:gd name="T62" fmla="*/ 771450066 w 210"/>
              <a:gd name="T63" fmla="*/ 663977359 h 144"/>
              <a:gd name="T64" fmla="*/ 940045488 w 210"/>
              <a:gd name="T65" fmla="*/ 684407571 h 144"/>
              <a:gd name="T66" fmla="*/ 873628973 w 210"/>
              <a:gd name="T67" fmla="*/ 561826301 h 144"/>
              <a:gd name="T68" fmla="*/ 1026897333 w 210"/>
              <a:gd name="T69" fmla="*/ 551613455 h 144"/>
              <a:gd name="T70" fmla="*/ 950264283 w 210"/>
              <a:gd name="T71" fmla="*/ 520968138 h 144"/>
              <a:gd name="T72" fmla="*/ 924718426 w 210"/>
              <a:gd name="T73" fmla="*/ 495430373 h 144"/>
              <a:gd name="T74" fmla="*/ 940045488 w 210"/>
              <a:gd name="T75" fmla="*/ 449462397 h 144"/>
              <a:gd name="T76" fmla="*/ 955372550 w 210"/>
              <a:gd name="T77" fmla="*/ 423924632 h 144"/>
              <a:gd name="T78" fmla="*/ 950264283 w 210"/>
              <a:gd name="T79" fmla="*/ 388171762 h 144"/>
              <a:gd name="T80" fmla="*/ 950264283 w 210"/>
              <a:gd name="T81" fmla="*/ 311558468 h 144"/>
              <a:gd name="T82" fmla="*/ 929828954 w 210"/>
              <a:gd name="T83" fmla="*/ 296235809 h 144"/>
              <a:gd name="T84" fmla="*/ 842977109 w 210"/>
              <a:gd name="T85" fmla="*/ 291128256 h 144"/>
              <a:gd name="T86" fmla="*/ 807212457 w 210"/>
              <a:gd name="T87" fmla="*/ 403494420 h 144"/>
              <a:gd name="T88" fmla="*/ 827650047 w 210"/>
              <a:gd name="T89" fmla="*/ 444354844 h 144"/>
              <a:gd name="T90" fmla="*/ 842977109 w 210"/>
              <a:gd name="T91" fmla="*/ 495430373 h 144"/>
              <a:gd name="T92" fmla="*/ 822539520 w 210"/>
              <a:gd name="T93" fmla="*/ 520968138 h 144"/>
              <a:gd name="T94" fmla="*/ 883847768 w 210"/>
              <a:gd name="T95" fmla="*/ 546505902 h 144"/>
              <a:gd name="T96" fmla="*/ 955372550 w 210"/>
              <a:gd name="T97" fmla="*/ 597579171 h 144"/>
              <a:gd name="T98" fmla="*/ 955372550 w 210"/>
              <a:gd name="T99" fmla="*/ 602686724 h 144"/>
              <a:gd name="T100" fmla="*/ 955372550 w 210"/>
              <a:gd name="T101" fmla="*/ 638439595 h 144"/>
              <a:gd name="T102" fmla="*/ 1072878519 w 210"/>
              <a:gd name="T103" fmla="*/ 577148960 h 14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210" h="144">
                <a:moveTo>
                  <a:pt x="130" y="111"/>
                </a:moveTo>
                <a:cubicBezTo>
                  <a:pt x="122" y="108"/>
                  <a:pt x="114" y="104"/>
                  <a:pt x="107" y="101"/>
                </a:cubicBezTo>
                <a:cubicBezTo>
                  <a:pt x="105" y="100"/>
                  <a:pt x="102" y="100"/>
                  <a:pt x="100" y="99"/>
                </a:cubicBezTo>
                <a:cubicBezTo>
                  <a:pt x="98" y="98"/>
                  <a:pt x="95" y="92"/>
                  <a:pt x="94" y="89"/>
                </a:cubicBezTo>
                <a:cubicBezTo>
                  <a:pt x="93" y="89"/>
                  <a:pt x="91" y="89"/>
                  <a:pt x="90" y="88"/>
                </a:cubicBezTo>
                <a:cubicBezTo>
                  <a:pt x="90" y="84"/>
                  <a:pt x="93" y="84"/>
                  <a:pt x="94" y="80"/>
                </a:cubicBezTo>
                <a:cubicBezTo>
                  <a:pt x="95" y="77"/>
                  <a:pt x="94" y="73"/>
                  <a:pt x="96" y="71"/>
                </a:cubicBezTo>
                <a:cubicBezTo>
                  <a:pt x="97" y="69"/>
                  <a:pt x="99" y="69"/>
                  <a:pt x="100" y="67"/>
                </a:cubicBezTo>
                <a:cubicBezTo>
                  <a:pt x="101" y="66"/>
                  <a:pt x="102" y="63"/>
                  <a:pt x="102" y="61"/>
                </a:cubicBezTo>
                <a:cubicBezTo>
                  <a:pt x="103" y="58"/>
                  <a:pt x="103" y="53"/>
                  <a:pt x="102" y="50"/>
                </a:cubicBezTo>
                <a:cubicBezTo>
                  <a:pt x="101" y="48"/>
                  <a:pt x="100" y="48"/>
                  <a:pt x="100" y="46"/>
                </a:cubicBezTo>
                <a:cubicBezTo>
                  <a:pt x="100" y="43"/>
                  <a:pt x="101" y="34"/>
                  <a:pt x="101" y="32"/>
                </a:cubicBezTo>
                <a:cubicBezTo>
                  <a:pt x="101" y="26"/>
                  <a:pt x="101" y="22"/>
                  <a:pt x="100" y="17"/>
                </a:cubicBezTo>
                <a:cubicBezTo>
                  <a:pt x="100" y="17"/>
                  <a:pt x="98" y="12"/>
                  <a:pt x="96" y="11"/>
                </a:cubicBezTo>
                <a:cubicBezTo>
                  <a:pt x="91" y="10"/>
                  <a:pt x="91" y="10"/>
                  <a:pt x="91" y="10"/>
                </a:cubicBezTo>
                <a:cubicBezTo>
                  <a:pt x="88" y="7"/>
                  <a:pt x="88" y="7"/>
                  <a:pt x="88" y="7"/>
                </a:cubicBezTo>
                <a:cubicBezTo>
                  <a:pt x="77" y="0"/>
                  <a:pt x="64" y="5"/>
                  <a:pt x="57" y="8"/>
                </a:cubicBezTo>
                <a:cubicBezTo>
                  <a:pt x="48" y="11"/>
                  <a:pt x="41" y="25"/>
                  <a:pt x="46" y="45"/>
                </a:cubicBezTo>
                <a:cubicBezTo>
                  <a:pt x="46" y="49"/>
                  <a:pt x="44" y="50"/>
                  <a:pt x="44" y="52"/>
                </a:cubicBezTo>
                <a:cubicBezTo>
                  <a:pt x="44" y="56"/>
                  <a:pt x="44" y="66"/>
                  <a:pt x="48" y="69"/>
                </a:cubicBezTo>
                <a:cubicBezTo>
                  <a:pt x="49" y="69"/>
                  <a:pt x="51" y="70"/>
                  <a:pt x="51" y="69"/>
                </a:cubicBezTo>
                <a:cubicBezTo>
                  <a:pt x="52" y="73"/>
                  <a:pt x="52" y="77"/>
                  <a:pt x="53" y="81"/>
                </a:cubicBezTo>
                <a:cubicBezTo>
                  <a:pt x="54" y="84"/>
                  <a:pt x="56" y="84"/>
                  <a:pt x="57" y="88"/>
                </a:cubicBezTo>
                <a:cubicBezTo>
                  <a:pt x="54" y="89"/>
                  <a:pt x="54" y="89"/>
                  <a:pt x="54" y="89"/>
                </a:cubicBezTo>
                <a:cubicBezTo>
                  <a:pt x="52" y="92"/>
                  <a:pt x="50" y="98"/>
                  <a:pt x="47" y="99"/>
                </a:cubicBezTo>
                <a:cubicBezTo>
                  <a:pt x="45" y="100"/>
                  <a:pt x="43" y="100"/>
                  <a:pt x="41" y="101"/>
                </a:cubicBezTo>
                <a:cubicBezTo>
                  <a:pt x="34" y="104"/>
                  <a:pt x="25" y="108"/>
                  <a:pt x="18" y="111"/>
                </a:cubicBezTo>
                <a:cubicBezTo>
                  <a:pt x="11" y="114"/>
                  <a:pt x="3" y="115"/>
                  <a:pt x="1" y="122"/>
                </a:cubicBezTo>
                <a:cubicBezTo>
                  <a:pt x="1" y="127"/>
                  <a:pt x="0" y="138"/>
                  <a:pt x="0" y="144"/>
                </a:cubicBezTo>
                <a:cubicBezTo>
                  <a:pt x="147" y="144"/>
                  <a:pt x="147" y="144"/>
                  <a:pt x="147" y="144"/>
                </a:cubicBezTo>
                <a:cubicBezTo>
                  <a:pt x="147" y="138"/>
                  <a:pt x="147" y="127"/>
                  <a:pt x="147" y="122"/>
                </a:cubicBezTo>
                <a:cubicBezTo>
                  <a:pt x="145" y="115"/>
                  <a:pt x="137" y="114"/>
                  <a:pt x="130" y="111"/>
                </a:cubicBezTo>
                <a:close/>
                <a:moveTo>
                  <a:pt x="171" y="110"/>
                </a:moveTo>
                <a:cubicBezTo>
                  <a:pt x="166" y="108"/>
                  <a:pt x="160" y="105"/>
                  <a:pt x="155" y="103"/>
                </a:cubicBezTo>
                <a:cubicBezTo>
                  <a:pt x="153" y="103"/>
                  <a:pt x="152" y="102"/>
                  <a:pt x="150" y="102"/>
                </a:cubicBezTo>
                <a:cubicBezTo>
                  <a:pt x="149" y="101"/>
                  <a:pt x="147" y="97"/>
                  <a:pt x="146" y="95"/>
                </a:cubicBezTo>
                <a:cubicBezTo>
                  <a:pt x="145" y="94"/>
                  <a:pt x="144" y="94"/>
                  <a:pt x="143" y="94"/>
                </a:cubicBezTo>
                <a:cubicBezTo>
                  <a:pt x="143" y="91"/>
                  <a:pt x="145" y="91"/>
                  <a:pt x="146" y="88"/>
                </a:cubicBezTo>
                <a:cubicBezTo>
                  <a:pt x="147" y="86"/>
                  <a:pt x="146" y="84"/>
                  <a:pt x="147" y="82"/>
                </a:cubicBezTo>
                <a:cubicBezTo>
                  <a:pt x="148" y="80"/>
                  <a:pt x="150" y="80"/>
                  <a:pt x="150" y="79"/>
                </a:cubicBezTo>
                <a:cubicBezTo>
                  <a:pt x="151" y="78"/>
                  <a:pt x="152" y="76"/>
                  <a:pt x="152" y="75"/>
                </a:cubicBezTo>
                <a:cubicBezTo>
                  <a:pt x="152" y="72"/>
                  <a:pt x="153" y="69"/>
                  <a:pt x="152" y="67"/>
                </a:cubicBezTo>
                <a:cubicBezTo>
                  <a:pt x="151" y="65"/>
                  <a:pt x="150" y="65"/>
                  <a:pt x="150" y="64"/>
                </a:cubicBezTo>
                <a:cubicBezTo>
                  <a:pt x="150" y="62"/>
                  <a:pt x="151" y="55"/>
                  <a:pt x="151" y="54"/>
                </a:cubicBezTo>
                <a:cubicBezTo>
                  <a:pt x="151" y="50"/>
                  <a:pt x="151" y="47"/>
                  <a:pt x="150" y="43"/>
                </a:cubicBezTo>
                <a:cubicBezTo>
                  <a:pt x="150" y="43"/>
                  <a:pt x="149" y="40"/>
                  <a:pt x="147" y="39"/>
                </a:cubicBezTo>
                <a:cubicBezTo>
                  <a:pt x="144" y="38"/>
                  <a:pt x="144" y="38"/>
                  <a:pt x="144" y="38"/>
                </a:cubicBezTo>
                <a:cubicBezTo>
                  <a:pt x="142" y="36"/>
                  <a:pt x="142" y="36"/>
                  <a:pt x="142" y="36"/>
                </a:cubicBezTo>
                <a:cubicBezTo>
                  <a:pt x="133" y="31"/>
                  <a:pt x="124" y="35"/>
                  <a:pt x="120" y="37"/>
                </a:cubicBezTo>
                <a:cubicBezTo>
                  <a:pt x="113" y="39"/>
                  <a:pt x="108" y="49"/>
                  <a:pt x="111" y="63"/>
                </a:cubicBezTo>
                <a:cubicBezTo>
                  <a:pt x="112" y="66"/>
                  <a:pt x="110" y="67"/>
                  <a:pt x="110" y="68"/>
                </a:cubicBezTo>
                <a:cubicBezTo>
                  <a:pt x="110" y="71"/>
                  <a:pt x="111" y="78"/>
                  <a:pt x="113" y="80"/>
                </a:cubicBezTo>
                <a:cubicBezTo>
                  <a:pt x="114" y="80"/>
                  <a:pt x="116" y="81"/>
                  <a:pt x="116" y="81"/>
                </a:cubicBezTo>
                <a:cubicBezTo>
                  <a:pt x="116" y="84"/>
                  <a:pt x="116" y="86"/>
                  <a:pt x="116" y="89"/>
                </a:cubicBezTo>
                <a:cubicBezTo>
                  <a:pt x="117" y="91"/>
                  <a:pt x="119" y="91"/>
                  <a:pt x="119" y="94"/>
                </a:cubicBezTo>
                <a:cubicBezTo>
                  <a:pt x="117" y="95"/>
                  <a:pt x="117" y="95"/>
                  <a:pt x="117" y="95"/>
                </a:cubicBezTo>
                <a:cubicBezTo>
                  <a:pt x="116" y="96"/>
                  <a:pt x="115" y="99"/>
                  <a:pt x="114" y="100"/>
                </a:cubicBezTo>
                <a:cubicBezTo>
                  <a:pt x="117" y="101"/>
                  <a:pt x="119" y="103"/>
                  <a:pt x="122" y="104"/>
                </a:cubicBezTo>
                <a:cubicBezTo>
                  <a:pt x="125" y="105"/>
                  <a:pt x="128" y="106"/>
                  <a:pt x="131" y="108"/>
                </a:cubicBezTo>
                <a:cubicBezTo>
                  <a:pt x="133" y="108"/>
                  <a:pt x="134" y="109"/>
                  <a:pt x="136" y="109"/>
                </a:cubicBezTo>
                <a:cubicBezTo>
                  <a:pt x="141" y="111"/>
                  <a:pt x="148" y="114"/>
                  <a:pt x="150" y="121"/>
                </a:cubicBezTo>
                <a:cubicBezTo>
                  <a:pt x="151" y="121"/>
                  <a:pt x="151" y="121"/>
                  <a:pt x="151" y="121"/>
                </a:cubicBezTo>
                <a:cubicBezTo>
                  <a:pt x="151" y="122"/>
                  <a:pt x="151" y="122"/>
                  <a:pt x="151" y="122"/>
                </a:cubicBezTo>
                <a:cubicBezTo>
                  <a:pt x="151" y="124"/>
                  <a:pt x="151" y="127"/>
                  <a:pt x="151" y="130"/>
                </a:cubicBezTo>
                <a:cubicBezTo>
                  <a:pt x="151" y="131"/>
                  <a:pt x="151" y="133"/>
                  <a:pt x="151" y="134"/>
                </a:cubicBezTo>
                <a:cubicBezTo>
                  <a:pt x="184" y="134"/>
                  <a:pt x="184" y="134"/>
                  <a:pt x="184" y="134"/>
                </a:cubicBezTo>
                <a:cubicBezTo>
                  <a:pt x="184" y="130"/>
                  <a:pt x="184" y="121"/>
                  <a:pt x="184" y="118"/>
                </a:cubicBezTo>
                <a:cubicBezTo>
                  <a:pt x="182" y="113"/>
                  <a:pt x="176" y="112"/>
                  <a:pt x="171" y="110"/>
                </a:cubicBezTo>
                <a:close/>
                <a:moveTo>
                  <a:pt x="210" y="113"/>
                </a:moveTo>
                <a:cubicBezTo>
                  <a:pt x="208" y="110"/>
                  <a:pt x="204" y="109"/>
                  <a:pt x="201" y="108"/>
                </a:cubicBezTo>
                <a:cubicBezTo>
                  <a:pt x="197" y="106"/>
                  <a:pt x="193" y="105"/>
                  <a:pt x="190" y="103"/>
                </a:cubicBezTo>
                <a:cubicBezTo>
                  <a:pt x="188" y="103"/>
                  <a:pt x="187" y="103"/>
                  <a:pt x="186" y="102"/>
                </a:cubicBezTo>
                <a:cubicBezTo>
                  <a:pt x="185" y="101"/>
                  <a:pt x="184" y="99"/>
                  <a:pt x="183" y="97"/>
                </a:cubicBezTo>
                <a:cubicBezTo>
                  <a:pt x="183" y="97"/>
                  <a:pt x="182" y="97"/>
                  <a:pt x="181" y="97"/>
                </a:cubicBezTo>
                <a:cubicBezTo>
                  <a:pt x="181" y="95"/>
                  <a:pt x="183" y="95"/>
                  <a:pt x="183" y="93"/>
                </a:cubicBezTo>
                <a:cubicBezTo>
                  <a:pt x="184" y="91"/>
                  <a:pt x="183" y="89"/>
                  <a:pt x="184" y="88"/>
                </a:cubicBezTo>
                <a:cubicBezTo>
                  <a:pt x="185" y="87"/>
                  <a:pt x="186" y="87"/>
                  <a:pt x="186" y="86"/>
                </a:cubicBezTo>
                <a:cubicBezTo>
                  <a:pt x="187" y="86"/>
                  <a:pt x="187" y="84"/>
                  <a:pt x="187" y="83"/>
                </a:cubicBezTo>
                <a:cubicBezTo>
                  <a:pt x="188" y="82"/>
                  <a:pt x="188" y="79"/>
                  <a:pt x="187" y="78"/>
                </a:cubicBezTo>
                <a:cubicBezTo>
                  <a:pt x="187" y="77"/>
                  <a:pt x="186" y="77"/>
                  <a:pt x="186" y="76"/>
                </a:cubicBezTo>
                <a:cubicBezTo>
                  <a:pt x="186" y="74"/>
                  <a:pt x="187" y="70"/>
                  <a:pt x="187" y="69"/>
                </a:cubicBezTo>
                <a:cubicBezTo>
                  <a:pt x="187" y="66"/>
                  <a:pt x="187" y="64"/>
                  <a:pt x="186" y="61"/>
                </a:cubicBezTo>
                <a:cubicBezTo>
                  <a:pt x="186" y="61"/>
                  <a:pt x="185" y="59"/>
                  <a:pt x="184" y="58"/>
                </a:cubicBezTo>
                <a:cubicBezTo>
                  <a:pt x="182" y="58"/>
                  <a:pt x="182" y="58"/>
                  <a:pt x="182" y="58"/>
                </a:cubicBezTo>
                <a:cubicBezTo>
                  <a:pt x="180" y="57"/>
                  <a:pt x="180" y="57"/>
                  <a:pt x="180" y="57"/>
                </a:cubicBezTo>
                <a:cubicBezTo>
                  <a:pt x="175" y="53"/>
                  <a:pt x="168" y="55"/>
                  <a:pt x="165" y="57"/>
                </a:cubicBezTo>
                <a:cubicBezTo>
                  <a:pt x="160" y="58"/>
                  <a:pt x="157" y="65"/>
                  <a:pt x="159" y="75"/>
                </a:cubicBezTo>
                <a:cubicBezTo>
                  <a:pt x="160" y="77"/>
                  <a:pt x="158" y="78"/>
                  <a:pt x="158" y="79"/>
                </a:cubicBezTo>
                <a:cubicBezTo>
                  <a:pt x="158" y="81"/>
                  <a:pt x="159" y="86"/>
                  <a:pt x="160" y="87"/>
                </a:cubicBezTo>
                <a:cubicBezTo>
                  <a:pt x="161" y="87"/>
                  <a:pt x="162" y="87"/>
                  <a:pt x="162" y="87"/>
                </a:cubicBezTo>
                <a:cubicBezTo>
                  <a:pt x="162" y="89"/>
                  <a:pt x="162" y="91"/>
                  <a:pt x="163" y="93"/>
                </a:cubicBezTo>
                <a:cubicBezTo>
                  <a:pt x="163" y="95"/>
                  <a:pt x="164" y="95"/>
                  <a:pt x="165" y="97"/>
                </a:cubicBezTo>
                <a:cubicBezTo>
                  <a:pt x="163" y="97"/>
                  <a:pt x="163" y="97"/>
                  <a:pt x="163" y="97"/>
                </a:cubicBezTo>
                <a:cubicBezTo>
                  <a:pt x="163" y="98"/>
                  <a:pt x="162" y="101"/>
                  <a:pt x="161" y="102"/>
                </a:cubicBezTo>
                <a:cubicBezTo>
                  <a:pt x="162" y="103"/>
                  <a:pt x="164" y="103"/>
                  <a:pt x="166" y="104"/>
                </a:cubicBezTo>
                <a:cubicBezTo>
                  <a:pt x="168" y="105"/>
                  <a:pt x="171" y="106"/>
                  <a:pt x="173" y="107"/>
                </a:cubicBezTo>
                <a:cubicBezTo>
                  <a:pt x="174" y="107"/>
                  <a:pt x="175" y="108"/>
                  <a:pt x="176" y="108"/>
                </a:cubicBezTo>
                <a:cubicBezTo>
                  <a:pt x="180" y="110"/>
                  <a:pt x="185" y="111"/>
                  <a:pt x="187" y="117"/>
                </a:cubicBezTo>
                <a:cubicBezTo>
                  <a:pt x="187" y="117"/>
                  <a:pt x="187" y="117"/>
                  <a:pt x="187" y="117"/>
                </a:cubicBezTo>
                <a:cubicBezTo>
                  <a:pt x="187" y="118"/>
                  <a:pt x="187" y="118"/>
                  <a:pt x="187" y="118"/>
                </a:cubicBezTo>
                <a:cubicBezTo>
                  <a:pt x="187" y="119"/>
                  <a:pt x="187" y="121"/>
                  <a:pt x="187" y="124"/>
                </a:cubicBezTo>
                <a:cubicBezTo>
                  <a:pt x="187" y="124"/>
                  <a:pt x="187" y="124"/>
                  <a:pt x="187" y="125"/>
                </a:cubicBezTo>
                <a:cubicBezTo>
                  <a:pt x="210" y="125"/>
                  <a:pt x="210" y="125"/>
                  <a:pt x="210" y="125"/>
                </a:cubicBezTo>
                <a:cubicBezTo>
                  <a:pt x="210" y="121"/>
                  <a:pt x="210" y="116"/>
                  <a:pt x="210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2" name="Freeform 51"/>
          <p:cNvSpPr>
            <a:spLocks noEditPoints="1"/>
          </p:cNvSpPr>
          <p:nvPr/>
        </p:nvSpPr>
        <p:spPr bwMode="auto">
          <a:xfrm>
            <a:off x="9831918" y="3134784"/>
            <a:ext cx="637116" cy="319616"/>
          </a:xfrm>
          <a:custGeom>
            <a:avLst/>
            <a:gdLst>
              <a:gd name="T0" fmla="*/ 360701571 w 212"/>
              <a:gd name="T1" fmla="*/ 86940829 h 106"/>
              <a:gd name="T2" fmla="*/ 355621171 w 212"/>
              <a:gd name="T3" fmla="*/ 40913863 h 106"/>
              <a:gd name="T4" fmla="*/ 330219176 w 212"/>
              <a:gd name="T5" fmla="*/ 30685397 h 106"/>
              <a:gd name="T6" fmla="*/ 172729060 w 212"/>
              <a:gd name="T7" fmla="*/ 168766294 h 106"/>
              <a:gd name="T8" fmla="*/ 182889858 w 212"/>
              <a:gd name="T9" fmla="*/ 255704861 h 106"/>
              <a:gd name="T10" fmla="*/ 198131055 w 212"/>
              <a:gd name="T11" fmla="*/ 306847190 h 106"/>
              <a:gd name="T12" fmla="*/ 198131055 w 212"/>
              <a:gd name="T13" fmla="*/ 332417224 h 106"/>
              <a:gd name="T14" fmla="*/ 152409717 w 212"/>
              <a:gd name="T15" fmla="*/ 378444189 h 106"/>
              <a:gd name="T16" fmla="*/ 5080399 w 212"/>
              <a:gd name="T17" fmla="*/ 455154291 h 106"/>
              <a:gd name="T18" fmla="*/ 127007722 w 212"/>
              <a:gd name="T19" fmla="*/ 542095119 h 106"/>
              <a:gd name="T20" fmla="*/ 127007722 w 212"/>
              <a:gd name="T21" fmla="*/ 475611222 h 106"/>
              <a:gd name="T22" fmla="*/ 127007722 w 212"/>
              <a:gd name="T23" fmla="*/ 465382757 h 106"/>
              <a:gd name="T24" fmla="*/ 233693848 w 212"/>
              <a:gd name="T25" fmla="*/ 388672655 h 106"/>
              <a:gd name="T26" fmla="*/ 350540772 w 212"/>
              <a:gd name="T27" fmla="*/ 342645690 h 106"/>
              <a:gd name="T28" fmla="*/ 335299575 w 212"/>
              <a:gd name="T29" fmla="*/ 332417224 h 106"/>
              <a:gd name="T30" fmla="*/ 355621171 w 212"/>
              <a:gd name="T31" fmla="*/ 265933327 h 106"/>
              <a:gd name="T32" fmla="*/ 381020913 w 212"/>
              <a:gd name="T33" fmla="*/ 230134827 h 106"/>
              <a:gd name="T34" fmla="*/ 355621171 w 212"/>
              <a:gd name="T35" fmla="*/ 122739328 h 106"/>
              <a:gd name="T36" fmla="*/ 1071941659 w 212"/>
              <a:gd name="T37" fmla="*/ 455154291 h 106"/>
              <a:gd name="T38" fmla="*/ 924612341 w 212"/>
              <a:gd name="T39" fmla="*/ 378444189 h 106"/>
              <a:gd name="T40" fmla="*/ 878891004 w 212"/>
              <a:gd name="T41" fmla="*/ 332417224 h 106"/>
              <a:gd name="T42" fmla="*/ 878891004 w 212"/>
              <a:gd name="T43" fmla="*/ 301731826 h 106"/>
              <a:gd name="T44" fmla="*/ 899212600 w 212"/>
              <a:gd name="T45" fmla="*/ 250591759 h 106"/>
              <a:gd name="T46" fmla="*/ 904292999 w 212"/>
              <a:gd name="T47" fmla="*/ 189220964 h 106"/>
              <a:gd name="T48" fmla="*/ 904292999 w 212"/>
              <a:gd name="T49" fmla="*/ 117623965 h 106"/>
              <a:gd name="T50" fmla="*/ 883971403 w 212"/>
              <a:gd name="T51" fmla="*/ 40913863 h 106"/>
              <a:gd name="T52" fmla="*/ 853489008 w 212"/>
              <a:gd name="T53" fmla="*/ 30685397 h 106"/>
              <a:gd name="T54" fmla="*/ 706159690 w 212"/>
              <a:gd name="T55" fmla="*/ 61368533 h 106"/>
              <a:gd name="T56" fmla="*/ 706159690 w 212"/>
              <a:gd name="T57" fmla="*/ 76712363 h 106"/>
              <a:gd name="T58" fmla="*/ 711240089 w 212"/>
              <a:gd name="T59" fmla="*/ 86940829 h 106"/>
              <a:gd name="T60" fmla="*/ 701079291 w 212"/>
              <a:gd name="T61" fmla="*/ 209677896 h 106"/>
              <a:gd name="T62" fmla="*/ 706159690 w 212"/>
              <a:gd name="T63" fmla="*/ 255704861 h 106"/>
              <a:gd name="T64" fmla="*/ 721400887 w 212"/>
              <a:gd name="T65" fmla="*/ 306847190 h 106"/>
              <a:gd name="T66" fmla="*/ 726481286 w 212"/>
              <a:gd name="T67" fmla="*/ 332417224 h 106"/>
              <a:gd name="T68" fmla="*/ 792526474 w 212"/>
              <a:gd name="T69" fmla="*/ 368215723 h 106"/>
              <a:gd name="T70" fmla="*/ 863649806 w 212"/>
              <a:gd name="T71" fmla="*/ 398901121 h 106"/>
              <a:gd name="T72" fmla="*/ 950014336 w 212"/>
              <a:gd name="T73" fmla="*/ 470498120 h 106"/>
              <a:gd name="T74" fmla="*/ 950014336 w 212"/>
              <a:gd name="T75" fmla="*/ 516525086 h 106"/>
              <a:gd name="T76" fmla="*/ 1077022059 w 212"/>
              <a:gd name="T77" fmla="*/ 542095119 h 10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2" h="106">
                <a:moveTo>
                  <a:pt x="69" y="22"/>
                </a:moveTo>
                <a:cubicBezTo>
                  <a:pt x="69" y="20"/>
                  <a:pt x="70" y="18"/>
                  <a:pt x="71" y="17"/>
                </a:cubicBezTo>
                <a:cubicBezTo>
                  <a:pt x="71" y="16"/>
                  <a:pt x="71" y="16"/>
                  <a:pt x="71" y="16"/>
                </a:cubicBezTo>
                <a:cubicBezTo>
                  <a:pt x="71" y="13"/>
                  <a:pt x="70" y="11"/>
                  <a:pt x="70" y="8"/>
                </a:cubicBezTo>
                <a:cubicBezTo>
                  <a:pt x="67" y="8"/>
                  <a:pt x="67" y="8"/>
                  <a:pt x="67" y="8"/>
                </a:cubicBezTo>
                <a:cubicBezTo>
                  <a:pt x="65" y="6"/>
                  <a:pt x="65" y="6"/>
                  <a:pt x="65" y="6"/>
                </a:cubicBezTo>
                <a:cubicBezTo>
                  <a:pt x="56" y="0"/>
                  <a:pt x="47" y="4"/>
                  <a:pt x="42" y="6"/>
                </a:cubicBezTo>
                <a:cubicBezTo>
                  <a:pt x="35" y="8"/>
                  <a:pt x="30" y="18"/>
                  <a:pt x="34" y="33"/>
                </a:cubicBezTo>
                <a:cubicBezTo>
                  <a:pt x="34" y="36"/>
                  <a:pt x="32" y="37"/>
                  <a:pt x="32" y="38"/>
                </a:cubicBezTo>
                <a:cubicBezTo>
                  <a:pt x="33" y="41"/>
                  <a:pt x="33" y="49"/>
                  <a:pt x="36" y="50"/>
                </a:cubicBezTo>
                <a:cubicBezTo>
                  <a:pt x="36" y="51"/>
                  <a:pt x="38" y="51"/>
                  <a:pt x="38" y="51"/>
                </a:cubicBezTo>
                <a:cubicBezTo>
                  <a:pt x="38" y="54"/>
                  <a:pt x="38" y="57"/>
                  <a:pt x="39" y="60"/>
                </a:cubicBezTo>
                <a:cubicBezTo>
                  <a:pt x="39" y="62"/>
                  <a:pt x="41" y="62"/>
                  <a:pt x="42" y="65"/>
                </a:cubicBezTo>
                <a:cubicBezTo>
                  <a:pt x="39" y="65"/>
                  <a:pt x="39" y="65"/>
                  <a:pt x="39" y="65"/>
                </a:cubicBezTo>
                <a:cubicBezTo>
                  <a:pt x="38" y="67"/>
                  <a:pt x="37" y="72"/>
                  <a:pt x="35" y="73"/>
                </a:cubicBezTo>
                <a:cubicBezTo>
                  <a:pt x="33" y="73"/>
                  <a:pt x="32" y="74"/>
                  <a:pt x="30" y="74"/>
                </a:cubicBezTo>
                <a:cubicBezTo>
                  <a:pt x="25" y="76"/>
                  <a:pt x="19" y="79"/>
                  <a:pt x="13" y="81"/>
                </a:cubicBezTo>
                <a:cubicBezTo>
                  <a:pt x="8" y="83"/>
                  <a:pt x="2" y="84"/>
                  <a:pt x="1" y="89"/>
                </a:cubicBezTo>
                <a:cubicBezTo>
                  <a:pt x="1" y="93"/>
                  <a:pt x="0" y="101"/>
                  <a:pt x="0" y="106"/>
                </a:cubicBezTo>
                <a:cubicBezTo>
                  <a:pt x="25" y="106"/>
                  <a:pt x="25" y="106"/>
                  <a:pt x="25" y="106"/>
                </a:cubicBezTo>
                <a:cubicBezTo>
                  <a:pt x="25" y="104"/>
                  <a:pt x="25" y="103"/>
                  <a:pt x="25" y="101"/>
                </a:cubicBezTo>
                <a:cubicBezTo>
                  <a:pt x="25" y="98"/>
                  <a:pt x="25" y="95"/>
                  <a:pt x="25" y="93"/>
                </a:cubicBezTo>
                <a:cubicBezTo>
                  <a:pt x="25" y="92"/>
                  <a:pt x="25" y="92"/>
                  <a:pt x="25" y="92"/>
                </a:cubicBezTo>
                <a:cubicBezTo>
                  <a:pt x="25" y="91"/>
                  <a:pt x="25" y="91"/>
                  <a:pt x="25" y="91"/>
                </a:cubicBezTo>
                <a:cubicBezTo>
                  <a:pt x="28" y="83"/>
                  <a:pt x="36" y="80"/>
                  <a:pt x="42" y="78"/>
                </a:cubicBezTo>
                <a:cubicBezTo>
                  <a:pt x="44" y="77"/>
                  <a:pt x="45" y="77"/>
                  <a:pt x="46" y="76"/>
                </a:cubicBezTo>
                <a:cubicBezTo>
                  <a:pt x="49" y="75"/>
                  <a:pt x="53" y="74"/>
                  <a:pt x="56" y="72"/>
                </a:cubicBezTo>
                <a:cubicBezTo>
                  <a:pt x="60" y="70"/>
                  <a:pt x="65" y="68"/>
                  <a:pt x="69" y="67"/>
                </a:cubicBezTo>
                <a:cubicBezTo>
                  <a:pt x="69" y="66"/>
                  <a:pt x="69" y="66"/>
                  <a:pt x="69" y="65"/>
                </a:cubicBezTo>
                <a:cubicBezTo>
                  <a:pt x="68" y="65"/>
                  <a:pt x="67" y="65"/>
                  <a:pt x="66" y="65"/>
                </a:cubicBezTo>
                <a:cubicBezTo>
                  <a:pt x="66" y="62"/>
                  <a:pt x="68" y="61"/>
                  <a:pt x="69" y="59"/>
                </a:cubicBezTo>
                <a:cubicBezTo>
                  <a:pt x="70" y="57"/>
                  <a:pt x="69" y="54"/>
                  <a:pt x="70" y="52"/>
                </a:cubicBezTo>
                <a:cubicBezTo>
                  <a:pt x="71" y="51"/>
                  <a:pt x="73" y="50"/>
                  <a:pt x="73" y="49"/>
                </a:cubicBezTo>
                <a:cubicBezTo>
                  <a:pt x="74" y="48"/>
                  <a:pt x="75" y="46"/>
                  <a:pt x="75" y="45"/>
                </a:cubicBezTo>
                <a:cubicBezTo>
                  <a:pt x="75" y="44"/>
                  <a:pt x="75" y="43"/>
                  <a:pt x="75" y="43"/>
                </a:cubicBezTo>
                <a:cubicBezTo>
                  <a:pt x="71" y="38"/>
                  <a:pt x="70" y="30"/>
                  <a:pt x="70" y="24"/>
                </a:cubicBezTo>
                <a:cubicBezTo>
                  <a:pt x="70" y="23"/>
                  <a:pt x="70" y="23"/>
                  <a:pt x="69" y="22"/>
                </a:cubicBezTo>
                <a:close/>
                <a:moveTo>
                  <a:pt x="211" y="89"/>
                </a:moveTo>
                <a:cubicBezTo>
                  <a:pt x="210" y="84"/>
                  <a:pt x="204" y="83"/>
                  <a:pt x="199" y="81"/>
                </a:cubicBezTo>
                <a:cubicBezTo>
                  <a:pt x="193" y="79"/>
                  <a:pt x="187" y="76"/>
                  <a:pt x="182" y="74"/>
                </a:cubicBezTo>
                <a:cubicBezTo>
                  <a:pt x="180" y="74"/>
                  <a:pt x="179" y="73"/>
                  <a:pt x="177" y="73"/>
                </a:cubicBezTo>
                <a:cubicBezTo>
                  <a:pt x="175" y="72"/>
                  <a:pt x="174" y="67"/>
                  <a:pt x="173" y="65"/>
                </a:cubicBezTo>
                <a:cubicBezTo>
                  <a:pt x="172" y="65"/>
                  <a:pt x="171" y="65"/>
                  <a:pt x="170" y="65"/>
                </a:cubicBezTo>
                <a:cubicBezTo>
                  <a:pt x="170" y="62"/>
                  <a:pt x="172" y="61"/>
                  <a:pt x="173" y="59"/>
                </a:cubicBezTo>
                <a:cubicBezTo>
                  <a:pt x="173" y="57"/>
                  <a:pt x="173" y="54"/>
                  <a:pt x="174" y="52"/>
                </a:cubicBezTo>
                <a:cubicBezTo>
                  <a:pt x="175" y="51"/>
                  <a:pt x="176" y="50"/>
                  <a:pt x="177" y="49"/>
                </a:cubicBezTo>
                <a:cubicBezTo>
                  <a:pt x="178" y="48"/>
                  <a:pt x="178" y="46"/>
                  <a:pt x="179" y="45"/>
                </a:cubicBezTo>
                <a:cubicBezTo>
                  <a:pt x="179" y="43"/>
                  <a:pt x="180" y="39"/>
                  <a:pt x="178" y="37"/>
                </a:cubicBezTo>
                <a:cubicBezTo>
                  <a:pt x="178" y="35"/>
                  <a:pt x="177" y="35"/>
                  <a:pt x="177" y="34"/>
                </a:cubicBezTo>
                <a:cubicBezTo>
                  <a:pt x="177" y="31"/>
                  <a:pt x="178" y="25"/>
                  <a:pt x="178" y="23"/>
                </a:cubicBezTo>
                <a:cubicBezTo>
                  <a:pt x="178" y="20"/>
                  <a:pt x="178" y="16"/>
                  <a:pt x="177" y="13"/>
                </a:cubicBezTo>
                <a:cubicBezTo>
                  <a:pt x="177" y="13"/>
                  <a:pt x="176" y="9"/>
                  <a:pt x="174" y="8"/>
                </a:cubicBezTo>
                <a:cubicBezTo>
                  <a:pt x="171" y="8"/>
                  <a:pt x="171" y="8"/>
                  <a:pt x="171" y="8"/>
                </a:cubicBezTo>
                <a:cubicBezTo>
                  <a:pt x="168" y="6"/>
                  <a:pt x="168" y="6"/>
                  <a:pt x="168" y="6"/>
                </a:cubicBezTo>
                <a:cubicBezTo>
                  <a:pt x="160" y="0"/>
                  <a:pt x="151" y="4"/>
                  <a:pt x="146" y="6"/>
                </a:cubicBezTo>
                <a:cubicBezTo>
                  <a:pt x="143" y="7"/>
                  <a:pt x="141" y="9"/>
                  <a:pt x="139" y="12"/>
                </a:cubicBezTo>
                <a:cubicBezTo>
                  <a:pt x="139" y="13"/>
                  <a:pt x="139" y="14"/>
                  <a:pt x="139" y="14"/>
                </a:cubicBezTo>
                <a:cubicBezTo>
                  <a:pt x="139" y="15"/>
                  <a:pt x="139" y="15"/>
                  <a:pt x="139" y="15"/>
                </a:cubicBezTo>
                <a:cubicBezTo>
                  <a:pt x="139" y="15"/>
                  <a:pt x="139" y="15"/>
                  <a:pt x="139" y="15"/>
                </a:cubicBezTo>
                <a:cubicBezTo>
                  <a:pt x="140" y="16"/>
                  <a:pt x="140" y="16"/>
                  <a:pt x="140" y="17"/>
                </a:cubicBezTo>
                <a:cubicBezTo>
                  <a:pt x="143" y="22"/>
                  <a:pt x="142" y="28"/>
                  <a:pt x="141" y="32"/>
                </a:cubicBezTo>
                <a:cubicBezTo>
                  <a:pt x="141" y="34"/>
                  <a:pt x="140" y="38"/>
                  <a:pt x="138" y="41"/>
                </a:cubicBezTo>
                <a:cubicBezTo>
                  <a:pt x="137" y="41"/>
                  <a:pt x="137" y="42"/>
                  <a:pt x="136" y="42"/>
                </a:cubicBezTo>
                <a:cubicBezTo>
                  <a:pt x="137" y="46"/>
                  <a:pt x="137" y="49"/>
                  <a:pt x="139" y="50"/>
                </a:cubicBezTo>
                <a:cubicBezTo>
                  <a:pt x="140" y="51"/>
                  <a:pt x="142" y="51"/>
                  <a:pt x="142" y="51"/>
                </a:cubicBezTo>
                <a:cubicBezTo>
                  <a:pt x="142" y="54"/>
                  <a:pt x="142" y="57"/>
                  <a:pt x="142" y="60"/>
                </a:cubicBezTo>
                <a:cubicBezTo>
                  <a:pt x="143" y="62"/>
                  <a:pt x="145" y="62"/>
                  <a:pt x="145" y="65"/>
                </a:cubicBezTo>
                <a:cubicBezTo>
                  <a:pt x="143" y="65"/>
                  <a:pt x="143" y="65"/>
                  <a:pt x="143" y="65"/>
                </a:cubicBezTo>
                <a:cubicBezTo>
                  <a:pt x="143" y="66"/>
                  <a:pt x="143" y="66"/>
                  <a:pt x="143" y="67"/>
                </a:cubicBezTo>
                <a:cubicBezTo>
                  <a:pt x="147" y="68"/>
                  <a:pt x="152" y="70"/>
                  <a:pt x="156" y="72"/>
                </a:cubicBezTo>
                <a:cubicBezTo>
                  <a:pt x="160" y="74"/>
                  <a:pt x="163" y="75"/>
                  <a:pt x="166" y="76"/>
                </a:cubicBezTo>
                <a:cubicBezTo>
                  <a:pt x="167" y="77"/>
                  <a:pt x="168" y="77"/>
                  <a:pt x="170" y="78"/>
                </a:cubicBezTo>
                <a:cubicBezTo>
                  <a:pt x="176" y="80"/>
                  <a:pt x="184" y="83"/>
                  <a:pt x="187" y="91"/>
                </a:cubicBezTo>
                <a:cubicBezTo>
                  <a:pt x="187" y="92"/>
                  <a:pt x="187" y="92"/>
                  <a:pt x="187" y="92"/>
                </a:cubicBezTo>
                <a:cubicBezTo>
                  <a:pt x="187" y="93"/>
                  <a:pt x="187" y="93"/>
                  <a:pt x="187" y="93"/>
                </a:cubicBezTo>
                <a:cubicBezTo>
                  <a:pt x="187" y="95"/>
                  <a:pt x="187" y="98"/>
                  <a:pt x="187" y="101"/>
                </a:cubicBezTo>
                <a:cubicBezTo>
                  <a:pt x="187" y="103"/>
                  <a:pt x="187" y="104"/>
                  <a:pt x="187" y="106"/>
                </a:cubicBezTo>
                <a:cubicBezTo>
                  <a:pt x="212" y="106"/>
                  <a:pt x="212" y="106"/>
                  <a:pt x="212" y="106"/>
                </a:cubicBezTo>
                <a:cubicBezTo>
                  <a:pt x="212" y="101"/>
                  <a:pt x="211" y="93"/>
                  <a:pt x="211" y="8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3" name="Freeform 52"/>
          <p:cNvSpPr>
            <a:spLocks/>
          </p:cNvSpPr>
          <p:nvPr/>
        </p:nvSpPr>
        <p:spPr bwMode="auto">
          <a:xfrm>
            <a:off x="9925052" y="3041651"/>
            <a:ext cx="450849" cy="444500"/>
          </a:xfrm>
          <a:custGeom>
            <a:avLst/>
            <a:gdLst>
              <a:gd name="T0" fmla="*/ 518327953 w 150"/>
              <a:gd name="T1" fmla="*/ 87434964 h 147"/>
              <a:gd name="T2" fmla="*/ 523409025 w 150"/>
              <a:gd name="T3" fmla="*/ 164580661 h 147"/>
              <a:gd name="T4" fmla="*/ 518327953 w 150"/>
              <a:gd name="T5" fmla="*/ 236585125 h 147"/>
              <a:gd name="T6" fmla="*/ 528490097 w 150"/>
              <a:gd name="T7" fmla="*/ 257159125 h 147"/>
              <a:gd name="T8" fmla="*/ 528490097 w 150"/>
              <a:gd name="T9" fmla="*/ 318876589 h 147"/>
              <a:gd name="T10" fmla="*/ 518327953 w 150"/>
              <a:gd name="T11" fmla="*/ 349735321 h 147"/>
              <a:gd name="T12" fmla="*/ 492920339 w 150"/>
              <a:gd name="T13" fmla="*/ 370309321 h 147"/>
              <a:gd name="T14" fmla="*/ 487837013 w 150"/>
              <a:gd name="T15" fmla="*/ 421739786 h 147"/>
              <a:gd name="T16" fmla="*/ 467510470 w 150"/>
              <a:gd name="T17" fmla="*/ 462885518 h 147"/>
              <a:gd name="T18" fmla="*/ 487837013 w 150"/>
              <a:gd name="T19" fmla="*/ 462885518 h 147"/>
              <a:gd name="T20" fmla="*/ 518327953 w 150"/>
              <a:gd name="T21" fmla="*/ 519461750 h 147"/>
              <a:gd name="T22" fmla="*/ 553899965 w 150"/>
              <a:gd name="T23" fmla="*/ 529746482 h 147"/>
              <a:gd name="T24" fmla="*/ 670775892 w 150"/>
              <a:gd name="T25" fmla="*/ 581179214 h 147"/>
              <a:gd name="T26" fmla="*/ 762246459 w 150"/>
              <a:gd name="T27" fmla="*/ 637753179 h 147"/>
              <a:gd name="T28" fmla="*/ 762246459 w 150"/>
              <a:gd name="T29" fmla="*/ 756046875 h 147"/>
              <a:gd name="T30" fmla="*/ 0 w 150"/>
              <a:gd name="T31" fmla="*/ 756046875 h 147"/>
              <a:gd name="T32" fmla="*/ 0 w 150"/>
              <a:gd name="T33" fmla="*/ 637753179 h 147"/>
              <a:gd name="T34" fmla="*/ 91470567 w 150"/>
              <a:gd name="T35" fmla="*/ 581179214 h 147"/>
              <a:gd name="T36" fmla="*/ 208346494 w 150"/>
              <a:gd name="T37" fmla="*/ 529746482 h 147"/>
              <a:gd name="T38" fmla="*/ 243918506 w 150"/>
              <a:gd name="T39" fmla="*/ 519461750 h 147"/>
              <a:gd name="T40" fmla="*/ 274409447 w 150"/>
              <a:gd name="T41" fmla="*/ 462885518 h 147"/>
              <a:gd name="T42" fmla="*/ 289652663 w 150"/>
              <a:gd name="T43" fmla="*/ 462885518 h 147"/>
              <a:gd name="T44" fmla="*/ 269326121 w 150"/>
              <a:gd name="T45" fmla="*/ 426883286 h 147"/>
              <a:gd name="T46" fmla="*/ 264245049 w 150"/>
              <a:gd name="T47" fmla="*/ 360022321 h 147"/>
              <a:gd name="T48" fmla="*/ 248999578 w 150"/>
              <a:gd name="T49" fmla="*/ 360022321 h 147"/>
              <a:gd name="T50" fmla="*/ 223591964 w 150"/>
              <a:gd name="T51" fmla="*/ 272587357 h 147"/>
              <a:gd name="T52" fmla="*/ 233756362 w 150"/>
              <a:gd name="T53" fmla="*/ 236585125 h 147"/>
              <a:gd name="T54" fmla="*/ 294735989 w 150"/>
              <a:gd name="T55" fmla="*/ 36002232 h 147"/>
              <a:gd name="T56" fmla="*/ 457348326 w 150"/>
              <a:gd name="T57" fmla="*/ 36002232 h 147"/>
              <a:gd name="T58" fmla="*/ 472593797 w 150"/>
              <a:gd name="T59" fmla="*/ 51432732 h 147"/>
              <a:gd name="T60" fmla="*/ 498001411 w 150"/>
              <a:gd name="T61" fmla="*/ 51432732 h 147"/>
              <a:gd name="T62" fmla="*/ 518327953 w 150"/>
              <a:gd name="T63" fmla="*/ 87434964 h 14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0" h="147">
                <a:moveTo>
                  <a:pt x="102" y="17"/>
                </a:moveTo>
                <a:cubicBezTo>
                  <a:pt x="103" y="22"/>
                  <a:pt x="103" y="26"/>
                  <a:pt x="103" y="32"/>
                </a:cubicBezTo>
                <a:cubicBezTo>
                  <a:pt x="103" y="34"/>
                  <a:pt x="102" y="43"/>
                  <a:pt x="102" y="46"/>
                </a:cubicBezTo>
                <a:cubicBezTo>
                  <a:pt x="102" y="48"/>
                  <a:pt x="103" y="48"/>
                  <a:pt x="104" y="50"/>
                </a:cubicBezTo>
                <a:cubicBezTo>
                  <a:pt x="105" y="54"/>
                  <a:pt x="105" y="59"/>
                  <a:pt x="104" y="62"/>
                </a:cubicBezTo>
                <a:cubicBezTo>
                  <a:pt x="104" y="64"/>
                  <a:pt x="103" y="66"/>
                  <a:pt x="102" y="68"/>
                </a:cubicBezTo>
                <a:cubicBezTo>
                  <a:pt x="101" y="70"/>
                  <a:pt x="98" y="70"/>
                  <a:pt x="97" y="72"/>
                </a:cubicBezTo>
                <a:cubicBezTo>
                  <a:pt x="96" y="75"/>
                  <a:pt x="97" y="78"/>
                  <a:pt x="96" y="82"/>
                </a:cubicBezTo>
                <a:cubicBezTo>
                  <a:pt x="95" y="85"/>
                  <a:pt x="92" y="85"/>
                  <a:pt x="92" y="90"/>
                </a:cubicBezTo>
                <a:cubicBezTo>
                  <a:pt x="93" y="90"/>
                  <a:pt x="94" y="90"/>
                  <a:pt x="96" y="90"/>
                </a:cubicBezTo>
                <a:cubicBezTo>
                  <a:pt x="97" y="93"/>
                  <a:pt x="100" y="99"/>
                  <a:pt x="102" y="101"/>
                </a:cubicBezTo>
                <a:cubicBezTo>
                  <a:pt x="104" y="102"/>
                  <a:pt x="107" y="102"/>
                  <a:pt x="109" y="103"/>
                </a:cubicBezTo>
                <a:cubicBezTo>
                  <a:pt x="116" y="106"/>
                  <a:pt x="125" y="110"/>
                  <a:pt x="132" y="113"/>
                </a:cubicBezTo>
                <a:cubicBezTo>
                  <a:pt x="139" y="116"/>
                  <a:pt x="148" y="117"/>
                  <a:pt x="150" y="124"/>
                </a:cubicBezTo>
                <a:cubicBezTo>
                  <a:pt x="150" y="129"/>
                  <a:pt x="150" y="141"/>
                  <a:pt x="150" y="147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41"/>
                  <a:pt x="0" y="129"/>
                  <a:pt x="0" y="124"/>
                </a:cubicBezTo>
                <a:cubicBezTo>
                  <a:pt x="3" y="117"/>
                  <a:pt x="11" y="116"/>
                  <a:pt x="18" y="113"/>
                </a:cubicBezTo>
                <a:cubicBezTo>
                  <a:pt x="25" y="110"/>
                  <a:pt x="34" y="106"/>
                  <a:pt x="41" y="103"/>
                </a:cubicBezTo>
                <a:cubicBezTo>
                  <a:pt x="44" y="102"/>
                  <a:pt x="46" y="102"/>
                  <a:pt x="48" y="101"/>
                </a:cubicBezTo>
                <a:cubicBezTo>
                  <a:pt x="50" y="99"/>
                  <a:pt x="53" y="93"/>
                  <a:pt x="54" y="90"/>
                </a:cubicBezTo>
                <a:cubicBezTo>
                  <a:pt x="57" y="90"/>
                  <a:pt x="57" y="90"/>
                  <a:pt x="57" y="90"/>
                </a:cubicBezTo>
                <a:cubicBezTo>
                  <a:pt x="57" y="86"/>
                  <a:pt x="54" y="85"/>
                  <a:pt x="53" y="83"/>
                </a:cubicBezTo>
                <a:cubicBezTo>
                  <a:pt x="53" y="79"/>
                  <a:pt x="53" y="74"/>
                  <a:pt x="52" y="70"/>
                </a:cubicBezTo>
                <a:cubicBezTo>
                  <a:pt x="52" y="71"/>
                  <a:pt x="49" y="70"/>
                  <a:pt x="49" y="70"/>
                </a:cubicBezTo>
                <a:cubicBezTo>
                  <a:pt x="45" y="67"/>
                  <a:pt x="45" y="57"/>
                  <a:pt x="44" y="53"/>
                </a:cubicBezTo>
                <a:cubicBezTo>
                  <a:pt x="44" y="51"/>
                  <a:pt x="47" y="49"/>
                  <a:pt x="46" y="46"/>
                </a:cubicBezTo>
                <a:cubicBezTo>
                  <a:pt x="42" y="25"/>
                  <a:pt x="48" y="11"/>
                  <a:pt x="58" y="7"/>
                </a:cubicBezTo>
                <a:cubicBezTo>
                  <a:pt x="65" y="5"/>
                  <a:pt x="78" y="0"/>
                  <a:pt x="90" y="7"/>
                </a:cubicBezTo>
                <a:cubicBezTo>
                  <a:pt x="93" y="10"/>
                  <a:pt x="93" y="10"/>
                  <a:pt x="93" y="10"/>
                </a:cubicBezTo>
                <a:cubicBezTo>
                  <a:pt x="98" y="10"/>
                  <a:pt x="98" y="10"/>
                  <a:pt x="98" y="10"/>
                </a:cubicBezTo>
                <a:cubicBezTo>
                  <a:pt x="100" y="12"/>
                  <a:pt x="102" y="17"/>
                  <a:pt x="102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4" name="Freeform 53"/>
          <p:cNvSpPr>
            <a:spLocks noEditPoints="1"/>
          </p:cNvSpPr>
          <p:nvPr/>
        </p:nvSpPr>
        <p:spPr bwMode="auto">
          <a:xfrm>
            <a:off x="10708217" y="3020485"/>
            <a:ext cx="522816" cy="518583"/>
          </a:xfrm>
          <a:custGeom>
            <a:avLst/>
            <a:gdLst>
              <a:gd name="T0" fmla="*/ 548461026 w 174"/>
              <a:gd name="T1" fmla="*/ 173852578 h 172"/>
              <a:gd name="T2" fmla="*/ 578933086 w 174"/>
              <a:gd name="T3" fmla="*/ 138059067 h 172"/>
              <a:gd name="T4" fmla="*/ 578933086 w 174"/>
              <a:gd name="T5" fmla="*/ 35793510 h 172"/>
              <a:gd name="T6" fmla="*/ 548461026 w 174"/>
              <a:gd name="T7" fmla="*/ 0 h 172"/>
              <a:gd name="T8" fmla="*/ 512914045 w 174"/>
              <a:gd name="T9" fmla="*/ 35793510 h 172"/>
              <a:gd name="T10" fmla="*/ 512914045 w 174"/>
              <a:gd name="T11" fmla="*/ 138059067 h 172"/>
              <a:gd name="T12" fmla="*/ 548461026 w 174"/>
              <a:gd name="T13" fmla="*/ 173852578 h 172"/>
              <a:gd name="T14" fmla="*/ 710968915 w 174"/>
              <a:gd name="T15" fmla="*/ 219873774 h 172"/>
              <a:gd name="T16" fmla="*/ 782067384 w 174"/>
              <a:gd name="T17" fmla="*/ 143171780 h 172"/>
              <a:gd name="T18" fmla="*/ 782067384 w 174"/>
              <a:gd name="T19" fmla="*/ 97152845 h 172"/>
              <a:gd name="T20" fmla="*/ 736361547 w 174"/>
              <a:gd name="T21" fmla="*/ 97152845 h 172"/>
              <a:gd name="T22" fmla="*/ 665265332 w 174"/>
              <a:gd name="T23" fmla="*/ 173852578 h 172"/>
              <a:gd name="T24" fmla="*/ 665265332 w 174"/>
              <a:gd name="T25" fmla="*/ 219873774 h 172"/>
              <a:gd name="T26" fmla="*/ 710968915 w 174"/>
              <a:gd name="T27" fmla="*/ 219873774 h 172"/>
              <a:gd name="T28" fmla="*/ 385955391 w 174"/>
              <a:gd name="T29" fmla="*/ 224986487 h 172"/>
              <a:gd name="T30" fmla="*/ 431658974 w 174"/>
              <a:gd name="T31" fmla="*/ 224986487 h 172"/>
              <a:gd name="T32" fmla="*/ 431658974 w 174"/>
              <a:gd name="T33" fmla="*/ 178965290 h 172"/>
              <a:gd name="T34" fmla="*/ 355485584 w 174"/>
              <a:gd name="T35" fmla="*/ 102265557 h 172"/>
              <a:gd name="T36" fmla="*/ 309779748 w 174"/>
              <a:gd name="T37" fmla="*/ 102265557 h 172"/>
              <a:gd name="T38" fmla="*/ 309779748 w 174"/>
              <a:gd name="T39" fmla="*/ 153399466 h 172"/>
              <a:gd name="T40" fmla="*/ 385955391 w 174"/>
              <a:gd name="T41" fmla="*/ 224986487 h 172"/>
              <a:gd name="T42" fmla="*/ 705891741 w 174"/>
              <a:gd name="T43" fmla="*/ 455085686 h 172"/>
              <a:gd name="T44" fmla="*/ 660185904 w 174"/>
              <a:gd name="T45" fmla="*/ 455085686 h 172"/>
              <a:gd name="T46" fmla="*/ 660185904 w 174"/>
              <a:gd name="T47" fmla="*/ 506217334 h 172"/>
              <a:gd name="T48" fmla="*/ 736361547 w 174"/>
              <a:gd name="T49" fmla="*/ 577804355 h 172"/>
              <a:gd name="T50" fmla="*/ 782067384 w 174"/>
              <a:gd name="T51" fmla="*/ 577804355 h 172"/>
              <a:gd name="T52" fmla="*/ 782067384 w 174"/>
              <a:gd name="T53" fmla="*/ 531785420 h 172"/>
              <a:gd name="T54" fmla="*/ 705891741 w 174"/>
              <a:gd name="T55" fmla="*/ 455085686 h 172"/>
              <a:gd name="T56" fmla="*/ 563697056 w 174"/>
              <a:gd name="T57" fmla="*/ 189192977 h 172"/>
              <a:gd name="T58" fmla="*/ 0 w 174"/>
              <a:gd name="T59" fmla="*/ 756771906 h 172"/>
              <a:gd name="T60" fmla="*/ 121881480 w 174"/>
              <a:gd name="T61" fmla="*/ 879490575 h 172"/>
              <a:gd name="T62" fmla="*/ 685578536 w 174"/>
              <a:gd name="T63" fmla="*/ 306798933 h 172"/>
              <a:gd name="T64" fmla="*/ 563697056 w 174"/>
              <a:gd name="T65" fmla="*/ 189192977 h 172"/>
              <a:gd name="T66" fmla="*/ 431658974 w 174"/>
              <a:gd name="T67" fmla="*/ 393726352 h 172"/>
              <a:gd name="T68" fmla="*/ 568776484 w 174"/>
              <a:gd name="T69" fmla="*/ 250552311 h 172"/>
              <a:gd name="T70" fmla="*/ 619559495 w 174"/>
              <a:gd name="T71" fmla="*/ 301686220 h 172"/>
              <a:gd name="T72" fmla="*/ 482444239 w 174"/>
              <a:gd name="T73" fmla="*/ 439745288 h 172"/>
              <a:gd name="T74" fmla="*/ 431658974 w 174"/>
              <a:gd name="T75" fmla="*/ 393726352 h 172"/>
              <a:gd name="T76" fmla="*/ 848084172 w 174"/>
              <a:gd name="T77" fmla="*/ 306798933 h 172"/>
              <a:gd name="T78" fmla="*/ 746518150 w 174"/>
              <a:gd name="T79" fmla="*/ 306798933 h 172"/>
              <a:gd name="T80" fmla="*/ 716048343 w 174"/>
              <a:gd name="T81" fmla="*/ 337479730 h 172"/>
              <a:gd name="T82" fmla="*/ 746518150 w 174"/>
              <a:gd name="T83" fmla="*/ 373273241 h 172"/>
              <a:gd name="T84" fmla="*/ 848084172 w 174"/>
              <a:gd name="T85" fmla="*/ 373273241 h 172"/>
              <a:gd name="T86" fmla="*/ 883633406 w 174"/>
              <a:gd name="T87" fmla="*/ 337479730 h 172"/>
              <a:gd name="T88" fmla="*/ 848084172 w 174"/>
              <a:gd name="T89" fmla="*/ 306798933 h 17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74" h="172">
                <a:moveTo>
                  <a:pt x="108" y="34"/>
                </a:moveTo>
                <a:cubicBezTo>
                  <a:pt x="111" y="34"/>
                  <a:pt x="114" y="31"/>
                  <a:pt x="114" y="27"/>
                </a:cubicBezTo>
                <a:cubicBezTo>
                  <a:pt x="114" y="7"/>
                  <a:pt x="114" y="7"/>
                  <a:pt x="114" y="7"/>
                </a:cubicBezTo>
                <a:cubicBezTo>
                  <a:pt x="114" y="3"/>
                  <a:pt x="111" y="0"/>
                  <a:pt x="108" y="0"/>
                </a:cubicBezTo>
                <a:cubicBezTo>
                  <a:pt x="104" y="0"/>
                  <a:pt x="101" y="3"/>
                  <a:pt x="101" y="7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31"/>
                  <a:pt x="104" y="34"/>
                  <a:pt x="108" y="34"/>
                </a:cubicBezTo>
                <a:close/>
                <a:moveTo>
                  <a:pt x="140" y="43"/>
                </a:moveTo>
                <a:cubicBezTo>
                  <a:pt x="154" y="28"/>
                  <a:pt x="154" y="28"/>
                  <a:pt x="154" y="28"/>
                </a:cubicBezTo>
                <a:cubicBezTo>
                  <a:pt x="157" y="26"/>
                  <a:pt x="157" y="22"/>
                  <a:pt x="154" y="19"/>
                </a:cubicBezTo>
                <a:cubicBezTo>
                  <a:pt x="152" y="17"/>
                  <a:pt x="148" y="17"/>
                  <a:pt x="145" y="19"/>
                </a:cubicBezTo>
                <a:cubicBezTo>
                  <a:pt x="131" y="34"/>
                  <a:pt x="131" y="34"/>
                  <a:pt x="131" y="34"/>
                </a:cubicBezTo>
                <a:cubicBezTo>
                  <a:pt x="128" y="36"/>
                  <a:pt x="128" y="40"/>
                  <a:pt x="131" y="43"/>
                </a:cubicBezTo>
                <a:cubicBezTo>
                  <a:pt x="133" y="45"/>
                  <a:pt x="138" y="45"/>
                  <a:pt x="140" y="43"/>
                </a:cubicBezTo>
                <a:close/>
                <a:moveTo>
                  <a:pt x="76" y="44"/>
                </a:moveTo>
                <a:cubicBezTo>
                  <a:pt x="78" y="46"/>
                  <a:pt x="82" y="46"/>
                  <a:pt x="85" y="44"/>
                </a:cubicBezTo>
                <a:cubicBezTo>
                  <a:pt x="87" y="41"/>
                  <a:pt x="87" y="37"/>
                  <a:pt x="85" y="35"/>
                </a:cubicBezTo>
                <a:cubicBezTo>
                  <a:pt x="70" y="20"/>
                  <a:pt x="70" y="20"/>
                  <a:pt x="70" y="20"/>
                </a:cubicBezTo>
                <a:cubicBezTo>
                  <a:pt x="68" y="18"/>
                  <a:pt x="64" y="18"/>
                  <a:pt x="61" y="20"/>
                </a:cubicBezTo>
                <a:cubicBezTo>
                  <a:pt x="59" y="23"/>
                  <a:pt x="59" y="27"/>
                  <a:pt x="61" y="30"/>
                </a:cubicBezTo>
                <a:lnTo>
                  <a:pt x="76" y="44"/>
                </a:lnTo>
                <a:close/>
                <a:moveTo>
                  <a:pt x="139" y="89"/>
                </a:moveTo>
                <a:cubicBezTo>
                  <a:pt x="137" y="87"/>
                  <a:pt x="133" y="87"/>
                  <a:pt x="130" y="89"/>
                </a:cubicBezTo>
                <a:cubicBezTo>
                  <a:pt x="128" y="92"/>
                  <a:pt x="128" y="96"/>
                  <a:pt x="130" y="99"/>
                </a:cubicBezTo>
                <a:cubicBezTo>
                  <a:pt x="145" y="113"/>
                  <a:pt x="145" y="113"/>
                  <a:pt x="145" y="113"/>
                </a:cubicBezTo>
                <a:cubicBezTo>
                  <a:pt x="147" y="115"/>
                  <a:pt x="151" y="115"/>
                  <a:pt x="154" y="113"/>
                </a:cubicBezTo>
                <a:cubicBezTo>
                  <a:pt x="156" y="110"/>
                  <a:pt x="156" y="106"/>
                  <a:pt x="154" y="104"/>
                </a:cubicBezTo>
                <a:lnTo>
                  <a:pt x="139" y="89"/>
                </a:lnTo>
                <a:close/>
                <a:moveTo>
                  <a:pt x="111" y="37"/>
                </a:moveTo>
                <a:cubicBezTo>
                  <a:pt x="0" y="148"/>
                  <a:pt x="0" y="148"/>
                  <a:pt x="0" y="148"/>
                </a:cubicBezTo>
                <a:cubicBezTo>
                  <a:pt x="24" y="172"/>
                  <a:pt x="24" y="172"/>
                  <a:pt x="24" y="172"/>
                </a:cubicBezTo>
                <a:cubicBezTo>
                  <a:pt x="135" y="60"/>
                  <a:pt x="135" y="60"/>
                  <a:pt x="135" y="60"/>
                </a:cubicBezTo>
                <a:lnTo>
                  <a:pt x="111" y="37"/>
                </a:lnTo>
                <a:close/>
                <a:moveTo>
                  <a:pt x="85" y="77"/>
                </a:moveTo>
                <a:cubicBezTo>
                  <a:pt x="112" y="49"/>
                  <a:pt x="112" y="49"/>
                  <a:pt x="112" y="49"/>
                </a:cubicBezTo>
                <a:cubicBezTo>
                  <a:pt x="122" y="59"/>
                  <a:pt x="122" y="59"/>
                  <a:pt x="122" y="59"/>
                </a:cubicBezTo>
                <a:cubicBezTo>
                  <a:pt x="95" y="86"/>
                  <a:pt x="95" y="86"/>
                  <a:pt x="95" y="86"/>
                </a:cubicBezTo>
                <a:lnTo>
                  <a:pt x="85" y="77"/>
                </a:lnTo>
                <a:close/>
                <a:moveTo>
                  <a:pt x="167" y="60"/>
                </a:moveTo>
                <a:cubicBezTo>
                  <a:pt x="147" y="60"/>
                  <a:pt x="147" y="60"/>
                  <a:pt x="147" y="60"/>
                </a:cubicBezTo>
                <a:cubicBezTo>
                  <a:pt x="143" y="60"/>
                  <a:pt x="141" y="63"/>
                  <a:pt x="141" y="66"/>
                </a:cubicBezTo>
                <a:cubicBezTo>
                  <a:pt x="141" y="70"/>
                  <a:pt x="143" y="73"/>
                  <a:pt x="147" y="73"/>
                </a:cubicBezTo>
                <a:cubicBezTo>
                  <a:pt x="167" y="73"/>
                  <a:pt x="167" y="73"/>
                  <a:pt x="167" y="73"/>
                </a:cubicBezTo>
                <a:cubicBezTo>
                  <a:pt x="171" y="73"/>
                  <a:pt x="174" y="70"/>
                  <a:pt x="174" y="66"/>
                </a:cubicBezTo>
                <a:cubicBezTo>
                  <a:pt x="174" y="63"/>
                  <a:pt x="171" y="60"/>
                  <a:pt x="167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5" name="Freeform 54"/>
          <p:cNvSpPr>
            <a:spLocks noEditPoints="1"/>
          </p:cNvSpPr>
          <p:nvPr/>
        </p:nvSpPr>
        <p:spPr bwMode="auto">
          <a:xfrm>
            <a:off x="1310218" y="3837518"/>
            <a:ext cx="535516" cy="416983"/>
          </a:xfrm>
          <a:custGeom>
            <a:avLst/>
            <a:gdLst>
              <a:gd name="T0" fmla="*/ 259656064 w 178"/>
              <a:gd name="T1" fmla="*/ 513573075 h 138"/>
              <a:gd name="T2" fmla="*/ 320752272 w 178"/>
              <a:gd name="T3" fmla="*/ 575200394 h 138"/>
              <a:gd name="T4" fmla="*/ 453125510 w 178"/>
              <a:gd name="T5" fmla="*/ 518708308 h 138"/>
              <a:gd name="T6" fmla="*/ 585498747 w 178"/>
              <a:gd name="T7" fmla="*/ 575200394 h 138"/>
              <a:gd name="T8" fmla="*/ 646594955 w 178"/>
              <a:gd name="T9" fmla="*/ 513573075 h 138"/>
              <a:gd name="T10" fmla="*/ 453125510 w 178"/>
              <a:gd name="T11" fmla="*/ 431400296 h 138"/>
              <a:gd name="T12" fmla="*/ 259656064 w 178"/>
              <a:gd name="T13" fmla="*/ 513573075 h 138"/>
              <a:gd name="T14" fmla="*/ 453125510 w 178"/>
              <a:gd name="T15" fmla="*/ 616286784 h 138"/>
              <a:gd name="T16" fmla="*/ 386938891 w 178"/>
              <a:gd name="T17" fmla="*/ 641965211 h 138"/>
              <a:gd name="T18" fmla="*/ 453125510 w 178"/>
              <a:gd name="T19" fmla="*/ 708730028 h 138"/>
              <a:gd name="T20" fmla="*/ 519312128 w 178"/>
              <a:gd name="T21" fmla="*/ 641965211 h 138"/>
              <a:gd name="T22" fmla="*/ 453125510 w 178"/>
              <a:gd name="T23" fmla="*/ 616286784 h 138"/>
              <a:gd name="T24" fmla="*/ 901160609 w 178"/>
              <a:gd name="T25" fmla="*/ 251651306 h 138"/>
              <a:gd name="T26" fmla="*/ 5090411 w 178"/>
              <a:gd name="T27" fmla="*/ 251651306 h 138"/>
              <a:gd name="T28" fmla="*/ 0 w 178"/>
              <a:gd name="T29" fmla="*/ 251651306 h 138"/>
              <a:gd name="T30" fmla="*/ 66186619 w 178"/>
              <a:gd name="T31" fmla="*/ 318413856 h 138"/>
              <a:gd name="T32" fmla="*/ 453125510 w 178"/>
              <a:gd name="T33" fmla="*/ 148935331 h 138"/>
              <a:gd name="T34" fmla="*/ 840064400 w 178"/>
              <a:gd name="T35" fmla="*/ 318413856 h 138"/>
              <a:gd name="T36" fmla="*/ 906251019 w 178"/>
              <a:gd name="T37" fmla="*/ 251651306 h 138"/>
              <a:gd name="T38" fmla="*/ 901160609 w 178"/>
              <a:gd name="T39" fmla="*/ 251651306 h 138"/>
              <a:gd name="T40" fmla="*/ 453125510 w 178"/>
              <a:gd name="T41" fmla="*/ 246513807 h 138"/>
              <a:gd name="T42" fmla="*/ 132373237 w 178"/>
              <a:gd name="T43" fmla="*/ 380043441 h 138"/>
              <a:gd name="T44" fmla="*/ 132373237 w 178"/>
              <a:gd name="T45" fmla="*/ 385178673 h 138"/>
              <a:gd name="T46" fmla="*/ 193469445 w 178"/>
              <a:gd name="T47" fmla="*/ 446808258 h 138"/>
              <a:gd name="T48" fmla="*/ 453125510 w 178"/>
              <a:gd name="T49" fmla="*/ 338957051 h 138"/>
              <a:gd name="T50" fmla="*/ 712781574 w 178"/>
              <a:gd name="T51" fmla="*/ 446808258 h 138"/>
              <a:gd name="T52" fmla="*/ 773877782 w 178"/>
              <a:gd name="T53" fmla="*/ 385178673 h 138"/>
              <a:gd name="T54" fmla="*/ 773877782 w 178"/>
              <a:gd name="T55" fmla="*/ 380043441 h 138"/>
              <a:gd name="T56" fmla="*/ 453125510 w 178"/>
              <a:gd name="T57" fmla="*/ 246513807 h 13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178" h="138">
                <a:moveTo>
                  <a:pt x="51" y="100"/>
                </a:moveTo>
                <a:cubicBezTo>
                  <a:pt x="63" y="112"/>
                  <a:pt x="63" y="112"/>
                  <a:pt x="63" y="112"/>
                </a:cubicBezTo>
                <a:cubicBezTo>
                  <a:pt x="70" y="106"/>
                  <a:pt x="79" y="101"/>
                  <a:pt x="89" y="101"/>
                </a:cubicBezTo>
                <a:cubicBezTo>
                  <a:pt x="99" y="101"/>
                  <a:pt x="108" y="106"/>
                  <a:pt x="115" y="112"/>
                </a:cubicBezTo>
                <a:cubicBezTo>
                  <a:pt x="127" y="100"/>
                  <a:pt x="127" y="100"/>
                  <a:pt x="127" y="100"/>
                </a:cubicBezTo>
                <a:cubicBezTo>
                  <a:pt x="117" y="90"/>
                  <a:pt x="104" y="84"/>
                  <a:pt x="89" y="84"/>
                </a:cubicBezTo>
                <a:cubicBezTo>
                  <a:pt x="74" y="84"/>
                  <a:pt x="61" y="90"/>
                  <a:pt x="51" y="100"/>
                </a:cubicBezTo>
                <a:close/>
                <a:moveTo>
                  <a:pt x="89" y="120"/>
                </a:moveTo>
                <a:cubicBezTo>
                  <a:pt x="84" y="120"/>
                  <a:pt x="79" y="122"/>
                  <a:pt x="76" y="125"/>
                </a:cubicBezTo>
                <a:cubicBezTo>
                  <a:pt x="89" y="138"/>
                  <a:pt x="89" y="138"/>
                  <a:pt x="89" y="138"/>
                </a:cubicBezTo>
                <a:cubicBezTo>
                  <a:pt x="102" y="125"/>
                  <a:pt x="102" y="125"/>
                  <a:pt x="102" y="125"/>
                </a:cubicBezTo>
                <a:cubicBezTo>
                  <a:pt x="99" y="122"/>
                  <a:pt x="94" y="120"/>
                  <a:pt x="89" y="120"/>
                </a:cubicBezTo>
                <a:close/>
                <a:moveTo>
                  <a:pt x="177" y="49"/>
                </a:moveTo>
                <a:cubicBezTo>
                  <a:pt x="128" y="0"/>
                  <a:pt x="50" y="0"/>
                  <a:pt x="1" y="49"/>
                </a:cubicBezTo>
                <a:cubicBezTo>
                  <a:pt x="1" y="49"/>
                  <a:pt x="1" y="49"/>
                  <a:pt x="0" y="49"/>
                </a:cubicBezTo>
                <a:cubicBezTo>
                  <a:pt x="13" y="62"/>
                  <a:pt x="13" y="62"/>
                  <a:pt x="13" y="62"/>
                </a:cubicBezTo>
                <a:cubicBezTo>
                  <a:pt x="32" y="42"/>
                  <a:pt x="59" y="29"/>
                  <a:pt x="89" y="29"/>
                </a:cubicBezTo>
                <a:cubicBezTo>
                  <a:pt x="119" y="29"/>
                  <a:pt x="146" y="42"/>
                  <a:pt x="165" y="62"/>
                </a:cubicBezTo>
                <a:cubicBezTo>
                  <a:pt x="178" y="49"/>
                  <a:pt x="178" y="49"/>
                  <a:pt x="178" y="49"/>
                </a:cubicBezTo>
                <a:cubicBezTo>
                  <a:pt x="177" y="49"/>
                  <a:pt x="177" y="49"/>
                  <a:pt x="177" y="49"/>
                </a:cubicBezTo>
                <a:close/>
                <a:moveTo>
                  <a:pt x="89" y="48"/>
                </a:moveTo>
                <a:cubicBezTo>
                  <a:pt x="65" y="48"/>
                  <a:pt x="43" y="57"/>
                  <a:pt x="26" y="74"/>
                </a:cubicBezTo>
                <a:cubicBezTo>
                  <a:pt x="26" y="74"/>
                  <a:pt x="26" y="74"/>
                  <a:pt x="26" y="75"/>
                </a:cubicBezTo>
                <a:cubicBezTo>
                  <a:pt x="38" y="87"/>
                  <a:pt x="38" y="87"/>
                  <a:pt x="38" y="87"/>
                </a:cubicBezTo>
                <a:cubicBezTo>
                  <a:pt x="51" y="74"/>
                  <a:pt x="69" y="66"/>
                  <a:pt x="89" y="66"/>
                </a:cubicBezTo>
                <a:cubicBezTo>
                  <a:pt x="109" y="66"/>
                  <a:pt x="127" y="74"/>
                  <a:pt x="140" y="87"/>
                </a:cubicBezTo>
                <a:cubicBezTo>
                  <a:pt x="152" y="75"/>
                  <a:pt x="152" y="75"/>
                  <a:pt x="152" y="75"/>
                </a:cubicBezTo>
                <a:cubicBezTo>
                  <a:pt x="152" y="74"/>
                  <a:pt x="152" y="74"/>
                  <a:pt x="152" y="74"/>
                </a:cubicBezTo>
                <a:cubicBezTo>
                  <a:pt x="135" y="57"/>
                  <a:pt x="113" y="48"/>
                  <a:pt x="89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6" name="Freeform 55"/>
          <p:cNvSpPr>
            <a:spLocks noEditPoints="1"/>
          </p:cNvSpPr>
          <p:nvPr/>
        </p:nvSpPr>
        <p:spPr bwMode="auto">
          <a:xfrm>
            <a:off x="2230967" y="3826934"/>
            <a:ext cx="476251" cy="429684"/>
          </a:xfrm>
          <a:custGeom>
            <a:avLst/>
            <a:gdLst>
              <a:gd name="T0" fmla="*/ 362860055 w 158"/>
              <a:gd name="T1" fmla="*/ 370742172 h 143"/>
              <a:gd name="T2" fmla="*/ 240202148 w 158"/>
              <a:gd name="T3" fmla="*/ 325034913 h 143"/>
              <a:gd name="T4" fmla="*/ 71550634 w 158"/>
              <a:gd name="T5" fmla="*/ 360585254 h 143"/>
              <a:gd name="T6" fmla="*/ 0 w 158"/>
              <a:gd name="T7" fmla="*/ 619596816 h 143"/>
              <a:gd name="T8" fmla="*/ 286198015 w 158"/>
              <a:gd name="T9" fmla="*/ 634831067 h 143"/>
              <a:gd name="T10" fmla="*/ 362860055 w 158"/>
              <a:gd name="T11" fmla="*/ 370742172 h 143"/>
              <a:gd name="T12" fmla="*/ 362860055 w 158"/>
              <a:gd name="T13" fmla="*/ 370742172 h 143"/>
              <a:gd name="T14" fmla="*/ 260645509 w 158"/>
              <a:gd name="T15" fmla="*/ 269168481 h 143"/>
              <a:gd name="T16" fmla="*/ 378192011 w 158"/>
              <a:gd name="T17" fmla="*/ 314875740 h 143"/>
              <a:gd name="T18" fmla="*/ 454851790 w 158"/>
              <a:gd name="T19" fmla="*/ 55864178 h 143"/>
              <a:gd name="T20" fmla="*/ 337305288 w 158"/>
              <a:gd name="T21" fmla="*/ 10156918 h 143"/>
              <a:gd name="T22" fmla="*/ 163542369 w 158"/>
              <a:gd name="T23" fmla="*/ 40629927 h 143"/>
              <a:gd name="T24" fmla="*/ 91991735 w 158"/>
              <a:gd name="T25" fmla="*/ 299641490 h 143"/>
              <a:gd name="T26" fmla="*/ 260645509 w 158"/>
              <a:gd name="T27" fmla="*/ 269168481 h 143"/>
              <a:gd name="T28" fmla="*/ 567286886 w 158"/>
              <a:gd name="T29" fmla="*/ 451999774 h 143"/>
              <a:gd name="T30" fmla="*/ 408855922 w 158"/>
              <a:gd name="T31" fmla="*/ 401212928 h 143"/>
              <a:gd name="T32" fmla="*/ 408855922 w 158"/>
              <a:gd name="T33" fmla="*/ 401212928 h 143"/>
              <a:gd name="T34" fmla="*/ 332193883 w 158"/>
              <a:gd name="T35" fmla="*/ 665304076 h 143"/>
              <a:gd name="T36" fmla="*/ 638835259 w 158"/>
              <a:gd name="T37" fmla="*/ 685617913 h 143"/>
              <a:gd name="T38" fmla="*/ 715497299 w 158"/>
              <a:gd name="T39" fmla="*/ 426606351 h 143"/>
              <a:gd name="T40" fmla="*/ 715497299 w 158"/>
              <a:gd name="T41" fmla="*/ 426606351 h 143"/>
              <a:gd name="T42" fmla="*/ 567286886 w 158"/>
              <a:gd name="T43" fmla="*/ 451999774 h 143"/>
              <a:gd name="T44" fmla="*/ 807489034 w 158"/>
              <a:gd name="T45" fmla="*/ 106651024 h 143"/>
              <a:gd name="T46" fmla="*/ 807489034 w 158"/>
              <a:gd name="T47" fmla="*/ 106651024 h 143"/>
              <a:gd name="T48" fmla="*/ 500847657 w 158"/>
              <a:gd name="T49" fmla="*/ 86337187 h 143"/>
              <a:gd name="T50" fmla="*/ 490627107 w 158"/>
              <a:gd name="T51" fmla="*/ 121887529 h 143"/>
              <a:gd name="T52" fmla="*/ 465072340 w 158"/>
              <a:gd name="T53" fmla="*/ 213304302 h 143"/>
              <a:gd name="T54" fmla="*/ 424187878 w 158"/>
              <a:gd name="T55" fmla="*/ 350428335 h 143"/>
              <a:gd name="T56" fmla="*/ 730829255 w 158"/>
              <a:gd name="T57" fmla="*/ 370742172 h 143"/>
              <a:gd name="T58" fmla="*/ 807489034 w 158"/>
              <a:gd name="T59" fmla="*/ 106651024 h 143"/>
              <a:gd name="T60" fmla="*/ 807489034 w 158"/>
              <a:gd name="T61" fmla="*/ 106651024 h 14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" h="143">
                <a:moveTo>
                  <a:pt x="71" y="73"/>
                </a:moveTo>
                <a:cubicBezTo>
                  <a:pt x="63" y="69"/>
                  <a:pt x="56" y="65"/>
                  <a:pt x="47" y="64"/>
                </a:cubicBezTo>
                <a:cubicBezTo>
                  <a:pt x="36" y="63"/>
                  <a:pt x="25" y="66"/>
                  <a:pt x="14" y="71"/>
                </a:cubicBezTo>
                <a:cubicBezTo>
                  <a:pt x="0" y="122"/>
                  <a:pt x="0" y="122"/>
                  <a:pt x="0" y="122"/>
                </a:cubicBezTo>
                <a:cubicBezTo>
                  <a:pt x="19" y="114"/>
                  <a:pt x="37" y="113"/>
                  <a:pt x="56" y="125"/>
                </a:cubicBezTo>
                <a:cubicBezTo>
                  <a:pt x="71" y="73"/>
                  <a:pt x="71" y="73"/>
                  <a:pt x="71" y="73"/>
                </a:cubicBezTo>
                <a:cubicBezTo>
                  <a:pt x="71" y="73"/>
                  <a:pt x="71" y="73"/>
                  <a:pt x="71" y="73"/>
                </a:cubicBezTo>
                <a:moveTo>
                  <a:pt x="51" y="53"/>
                </a:moveTo>
                <a:cubicBezTo>
                  <a:pt x="60" y="54"/>
                  <a:pt x="68" y="58"/>
                  <a:pt x="74" y="62"/>
                </a:cubicBezTo>
                <a:cubicBezTo>
                  <a:pt x="79" y="45"/>
                  <a:pt x="84" y="28"/>
                  <a:pt x="89" y="11"/>
                </a:cubicBezTo>
                <a:cubicBezTo>
                  <a:pt x="81" y="6"/>
                  <a:pt x="74" y="3"/>
                  <a:pt x="66" y="2"/>
                </a:cubicBezTo>
                <a:cubicBezTo>
                  <a:pt x="54" y="0"/>
                  <a:pt x="43" y="4"/>
                  <a:pt x="32" y="8"/>
                </a:cubicBezTo>
                <a:cubicBezTo>
                  <a:pt x="27" y="25"/>
                  <a:pt x="23" y="42"/>
                  <a:pt x="18" y="59"/>
                </a:cubicBezTo>
                <a:cubicBezTo>
                  <a:pt x="28" y="55"/>
                  <a:pt x="40" y="52"/>
                  <a:pt x="51" y="53"/>
                </a:cubicBezTo>
                <a:moveTo>
                  <a:pt x="111" y="89"/>
                </a:moveTo>
                <a:cubicBezTo>
                  <a:pt x="97" y="89"/>
                  <a:pt x="88" y="85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65" y="131"/>
                  <a:pt x="65" y="131"/>
                  <a:pt x="65" y="131"/>
                </a:cubicBezTo>
                <a:cubicBezTo>
                  <a:pt x="84" y="143"/>
                  <a:pt x="105" y="143"/>
                  <a:pt x="125" y="135"/>
                </a:cubicBezTo>
                <a:cubicBezTo>
                  <a:pt x="140" y="84"/>
                  <a:pt x="140" y="84"/>
                  <a:pt x="140" y="84"/>
                </a:cubicBezTo>
                <a:cubicBezTo>
                  <a:pt x="140" y="84"/>
                  <a:pt x="140" y="84"/>
                  <a:pt x="140" y="84"/>
                </a:cubicBezTo>
                <a:cubicBezTo>
                  <a:pt x="129" y="88"/>
                  <a:pt x="119" y="89"/>
                  <a:pt x="111" y="89"/>
                </a:cubicBezTo>
                <a:moveTo>
                  <a:pt x="158" y="21"/>
                </a:moveTo>
                <a:cubicBezTo>
                  <a:pt x="158" y="21"/>
                  <a:pt x="158" y="21"/>
                  <a:pt x="158" y="21"/>
                </a:cubicBezTo>
                <a:cubicBezTo>
                  <a:pt x="137" y="29"/>
                  <a:pt x="117" y="30"/>
                  <a:pt x="98" y="17"/>
                </a:cubicBezTo>
                <a:cubicBezTo>
                  <a:pt x="97" y="20"/>
                  <a:pt x="96" y="23"/>
                  <a:pt x="96" y="24"/>
                </a:cubicBezTo>
                <a:cubicBezTo>
                  <a:pt x="94" y="30"/>
                  <a:pt x="92" y="36"/>
                  <a:pt x="91" y="42"/>
                </a:cubicBezTo>
                <a:cubicBezTo>
                  <a:pt x="88" y="51"/>
                  <a:pt x="85" y="60"/>
                  <a:pt x="83" y="69"/>
                </a:cubicBezTo>
                <a:cubicBezTo>
                  <a:pt x="101" y="81"/>
                  <a:pt x="123" y="82"/>
                  <a:pt x="143" y="73"/>
                </a:cubicBezTo>
                <a:cubicBezTo>
                  <a:pt x="158" y="21"/>
                  <a:pt x="158" y="21"/>
                  <a:pt x="158" y="21"/>
                </a:cubicBezTo>
                <a:cubicBezTo>
                  <a:pt x="158" y="21"/>
                  <a:pt x="158" y="21"/>
                  <a:pt x="158" y="2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7" name="Freeform 56"/>
          <p:cNvSpPr>
            <a:spLocks/>
          </p:cNvSpPr>
          <p:nvPr/>
        </p:nvSpPr>
        <p:spPr bwMode="auto">
          <a:xfrm>
            <a:off x="3064933" y="3780367"/>
            <a:ext cx="518584" cy="518584"/>
          </a:xfrm>
          <a:custGeom>
            <a:avLst/>
            <a:gdLst>
              <a:gd name="T0" fmla="*/ 761886578 w 172"/>
              <a:gd name="T1" fmla="*/ 245440229 h 172"/>
              <a:gd name="T2" fmla="*/ 659620758 w 172"/>
              <a:gd name="T3" fmla="*/ 219874340 h 172"/>
              <a:gd name="T4" fmla="*/ 634052607 w 172"/>
              <a:gd name="T5" fmla="*/ 117606258 h 172"/>
              <a:gd name="T6" fmla="*/ 736320688 w 172"/>
              <a:gd name="T7" fmla="*/ 15340438 h 172"/>
              <a:gd name="T8" fmla="*/ 562465402 w 172"/>
              <a:gd name="T9" fmla="*/ 66472218 h 172"/>
              <a:gd name="T10" fmla="*/ 516446349 w 172"/>
              <a:gd name="T11" fmla="*/ 240327504 h 172"/>
              <a:gd name="T12" fmla="*/ 240327504 w 172"/>
              <a:gd name="T13" fmla="*/ 516446349 h 172"/>
              <a:gd name="T14" fmla="*/ 66472218 w 172"/>
              <a:gd name="T15" fmla="*/ 562465402 h 172"/>
              <a:gd name="T16" fmla="*/ 15340438 w 172"/>
              <a:gd name="T17" fmla="*/ 736320688 h 172"/>
              <a:gd name="T18" fmla="*/ 117606258 w 172"/>
              <a:gd name="T19" fmla="*/ 634052607 h 172"/>
              <a:gd name="T20" fmla="*/ 219874340 w 172"/>
              <a:gd name="T21" fmla="*/ 659620758 h 172"/>
              <a:gd name="T22" fmla="*/ 245440229 w 172"/>
              <a:gd name="T23" fmla="*/ 761886578 h 172"/>
              <a:gd name="T24" fmla="*/ 143172148 w 172"/>
              <a:gd name="T25" fmla="*/ 864152398 h 172"/>
              <a:gd name="T26" fmla="*/ 317027434 w 172"/>
              <a:gd name="T27" fmla="*/ 813020619 h 172"/>
              <a:gd name="T28" fmla="*/ 363046488 w 172"/>
              <a:gd name="T29" fmla="*/ 634052607 h 172"/>
              <a:gd name="T30" fmla="*/ 634052607 w 172"/>
              <a:gd name="T31" fmla="*/ 363046488 h 172"/>
              <a:gd name="T32" fmla="*/ 813020619 w 172"/>
              <a:gd name="T33" fmla="*/ 317027434 h 172"/>
              <a:gd name="T34" fmla="*/ 864152398 w 172"/>
              <a:gd name="T35" fmla="*/ 143172148 h 172"/>
              <a:gd name="T36" fmla="*/ 761886578 w 172"/>
              <a:gd name="T37" fmla="*/ 245440229 h 17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72" h="172">
                <a:moveTo>
                  <a:pt x="149" y="48"/>
                </a:moveTo>
                <a:cubicBezTo>
                  <a:pt x="129" y="43"/>
                  <a:pt x="129" y="43"/>
                  <a:pt x="129" y="43"/>
                </a:cubicBezTo>
                <a:cubicBezTo>
                  <a:pt x="124" y="23"/>
                  <a:pt x="124" y="23"/>
                  <a:pt x="124" y="23"/>
                </a:cubicBezTo>
                <a:cubicBezTo>
                  <a:pt x="144" y="3"/>
                  <a:pt x="144" y="3"/>
                  <a:pt x="144" y="3"/>
                </a:cubicBezTo>
                <a:cubicBezTo>
                  <a:pt x="132" y="0"/>
                  <a:pt x="119" y="3"/>
                  <a:pt x="110" y="13"/>
                </a:cubicBezTo>
                <a:cubicBezTo>
                  <a:pt x="100" y="22"/>
                  <a:pt x="97" y="35"/>
                  <a:pt x="101" y="47"/>
                </a:cubicBezTo>
                <a:cubicBezTo>
                  <a:pt x="47" y="101"/>
                  <a:pt x="47" y="101"/>
                  <a:pt x="47" y="101"/>
                </a:cubicBezTo>
                <a:cubicBezTo>
                  <a:pt x="35" y="97"/>
                  <a:pt x="22" y="100"/>
                  <a:pt x="13" y="110"/>
                </a:cubicBezTo>
                <a:cubicBezTo>
                  <a:pt x="3" y="119"/>
                  <a:pt x="0" y="132"/>
                  <a:pt x="3" y="144"/>
                </a:cubicBezTo>
                <a:cubicBezTo>
                  <a:pt x="23" y="124"/>
                  <a:pt x="23" y="124"/>
                  <a:pt x="23" y="124"/>
                </a:cubicBezTo>
                <a:cubicBezTo>
                  <a:pt x="43" y="129"/>
                  <a:pt x="43" y="129"/>
                  <a:pt x="43" y="129"/>
                </a:cubicBezTo>
                <a:cubicBezTo>
                  <a:pt x="48" y="149"/>
                  <a:pt x="48" y="149"/>
                  <a:pt x="48" y="149"/>
                </a:cubicBezTo>
                <a:cubicBezTo>
                  <a:pt x="28" y="169"/>
                  <a:pt x="28" y="169"/>
                  <a:pt x="28" y="169"/>
                </a:cubicBezTo>
                <a:cubicBezTo>
                  <a:pt x="40" y="172"/>
                  <a:pt x="53" y="169"/>
                  <a:pt x="62" y="159"/>
                </a:cubicBezTo>
                <a:cubicBezTo>
                  <a:pt x="72" y="150"/>
                  <a:pt x="75" y="136"/>
                  <a:pt x="71" y="124"/>
                </a:cubicBezTo>
                <a:cubicBezTo>
                  <a:pt x="124" y="71"/>
                  <a:pt x="124" y="71"/>
                  <a:pt x="124" y="71"/>
                </a:cubicBezTo>
                <a:cubicBezTo>
                  <a:pt x="136" y="75"/>
                  <a:pt x="150" y="72"/>
                  <a:pt x="159" y="62"/>
                </a:cubicBezTo>
                <a:cubicBezTo>
                  <a:pt x="169" y="53"/>
                  <a:pt x="172" y="40"/>
                  <a:pt x="169" y="28"/>
                </a:cubicBezTo>
                <a:lnTo>
                  <a:pt x="149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8" name="Freeform 57"/>
          <p:cNvSpPr>
            <a:spLocks noEditPoints="1"/>
          </p:cNvSpPr>
          <p:nvPr/>
        </p:nvSpPr>
        <p:spPr bwMode="auto">
          <a:xfrm>
            <a:off x="3934884" y="3759201"/>
            <a:ext cx="539749" cy="539751"/>
          </a:xfrm>
          <a:custGeom>
            <a:avLst/>
            <a:gdLst>
              <a:gd name="T0" fmla="*/ 900148105 w 179"/>
              <a:gd name="T1" fmla="*/ 767174912 h 179"/>
              <a:gd name="T2" fmla="*/ 895034809 w 179"/>
              <a:gd name="T3" fmla="*/ 762059342 h 179"/>
              <a:gd name="T4" fmla="*/ 895034809 w 179"/>
              <a:gd name="T5" fmla="*/ 762059342 h 179"/>
              <a:gd name="T6" fmla="*/ 675111079 w 179"/>
              <a:gd name="T7" fmla="*/ 542137330 h 179"/>
              <a:gd name="T8" fmla="*/ 721142047 w 179"/>
              <a:gd name="T9" fmla="*/ 363128569 h 179"/>
              <a:gd name="T10" fmla="*/ 363127672 w 179"/>
              <a:gd name="T11" fmla="*/ 0 h 179"/>
              <a:gd name="T12" fmla="*/ 358014376 w 179"/>
              <a:gd name="T13" fmla="*/ 0 h 179"/>
              <a:gd name="T14" fmla="*/ 0 w 179"/>
              <a:gd name="T15" fmla="*/ 358015260 h 179"/>
              <a:gd name="T16" fmla="*/ 358014376 w 179"/>
              <a:gd name="T17" fmla="*/ 721143829 h 179"/>
              <a:gd name="T18" fmla="*/ 363127672 w 179"/>
              <a:gd name="T19" fmla="*/ 721143829 h 179"/>
              <a:gd name="T20" fmla="*/ 542135990 w 179"/>
              <a:gd name="T21" fmla="*/ 675112746 h 179"/>
              <a:gd name="T22" fmla="*/ 762057459 w 179"/>
              <a:gd name="T23" fmla="*/ 895037020 h 179"/>
              <a:gd name="T24" fmla="*/ 762057459 w 179"/>
              <a:gd name="T25" fmla="*/ 895037020 h 179"/>
              <a:gd name="T26" fmla="*/ 767173016 w 179"/>
              <a:gd name="T27" fmla="*/ 900150328 h 179"/>
              <a:gd name="T28" fmla="*/ 828546134 w 179"/>
              <a:gd name="T29" fmla="*/ 900150328 h 179"/>
              <a:gd name="T30" fmla="*/ 900148105 w 179"/>
              <a:gd name="T31" fmla="*/ 828548181 h 179"/>
              <a:gd name="T32" fmla="*/ 900148105 w 179"/>
              <a:gd name="T33" fmla="*/ 767174912 h 179"/>
              <a:gd name="T34" fmla="*/ 552364843 w 179"/>
              <a:gd name="T35" fmla="*/ 552366208 h 179"/>
              <a:gd name="T36" fmla="*/ 363127672 w 179"/>
              <a:gd name="T37" fmla="*/ 629083925 h 179"/>
              <a:gd name="T38" fmla="*/ 358014376 w 179"/>
              <a:gd name="T39" fmla="*/ 629083925 h 179"/>
              <a:gd name="T40" fmla="*/ 92059676 w 179"/>
              <a:gd name="T41" fmla="*/ 358015260 h 179"/>
              <a:gd name="T42" fmla="*/ 168777204 w 179"/>
              <a:gd name="T43" fmla="*/ 168777621 h 179"/>
              <a:gd name="T44" fmla="*/ 358014376 w 179"/>
              <a:gd name="T45" fmla="*/ 92059904 h 179"/>
              <a:gd name="T46" fmla="*/ 363127672 w 179"/>
              <a:gd name="T47" fmla="*/ 92059904 h 179"/>
              <a:gd name="T48" fmla="*/ 552364843 w 179"/>
              <a:gd name="T49" fmla="*/ 173893191 h 179"/>
              <a:gd name="T50" fmla="*/ 629082371 w 179"/>
              <a:gd name="T51" fmla="*/ 363128569 h 179"/>
              <a:gd name="T52" fmla="*/ 552364843 w 179"/>
              <a:gd name="T53" fmla="*/ 552366208 h 179"/>
              <a:gd name="T54" fmla="*/ 419387494 w 179"/>
              <a:gd name="T55" fmla="*/ 168777621 h 179"/>
              <a:gd name="T56" fmla="*/ 311983407 w 179"/>
              <a:gd name="T57" fmla="*/ 168777621 h 179"/>
              <a:gd name="T58" fmla="*/ 311983407 w 179"/>
              <a:gd name="T59" fmla="*/ 296639730 h 179"/>
              <a:gd name="T60" fmla="*/ 184121614 w 179"/>
              <a:gd name="T61" fmla="*/ 296639730 h 179"/>
              <a:gd name="T62" fmla="*/ 184121614 w 179"/>
              <a:gd name="T63" fmla="*/ 409159651 h 179"/>
              <a:gd name="T64" fmla="*/ 311983407 w 179"/>
              <a:gd name="T65" fmla="*/ 409159651 h 179"/>
              <a:gd name="T66" fmla="*/ 311983407 w 179"/>
              <a:gd name="T67" fmla="*/ 531908451 h 179"/>
              <a:gd name="T68" fmla="*/ 419387494 w 179"/>
              <a:gd name="T69" fmla="*/ 531908451 h 179"/>
              <a:gd name="T70" fmla="*/ 419387494 w 179"/>
              <a:gd name="T71" fmla="*/ 409159651 h 179"/>
              <a:gd name="T72" fmla="*/ 547249286 w 179"/>
              <a:gd name="T73" fmla="*/ 409159651 h 179"/>
              <a:gd name="T74" fmla="*/ 547249286 w 179"/>
              <a:gd name="T75" fmla="*/ 296639730 h 179"/>
              <a:gd name="T76" fmla="*/ 419387494 w 179"/>
              <a:gd name="T77" fmla="*/ 296639730 h 179"/>
              <a:gd name="T78" fmla="*/ 419387494 w 179"/>
              <a:gd name="T79" fmla="*/ 168777621 h 179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79" h="179">
                <a:moveTo>
                  <a:pt x="176" y="150"/>
                </a:moveTo>
                <a:cubicBezTo>
                  <a:pt x="175" y="149"/>
                  <a:pt x="175" y="149"/>
                  <a:pt x="175" y="149"/>
                </a:cubicBezTo>
                <a:cubicBezTo>
                  <a:pt x="175" y="149"/>
                  <a:pt x="175" y="149"/>
                  <a:pt x="175" y="149"/>
                </a:cubicBezTo>
                <a:cubicBezTo>
                  <a:pt x="132" y="106"/>
                  <a:pt x="132" y="106"/>
                  <a:pt x="132" y="106"/>
                </a:cubicBezTo>
                <a:cubicBezTo>
                  <a:pt x="138" y="96"/>
                  <a:pt x="141" y="84"/>
                  <a:pt x="141" y="71"/>
                </a:cubicBezTo>
                <a:cubicBezTo>
                  <a:pt x="141" y="32"/>
                  <a:pt x="110" y="0"/>
                  <a:pt x="71" y="0"/>
                </a:cubicBezTo>
                <a:cubicBezTo>
                  <a:pt x="71" y="0"/>
                  <a:pt x="71" y="0"/>
                  <a:pt x="70" y="0"/>
                </a:cubicBezTo>
                <a:cubicBezTo>
                  <a:pt x="32" y="0"/>
                  <a:pt x="0" y="31"/>
                  <a:pt x="0" y="70"/>
                </a:cubicBezTo>
                <a:cubicBezTo>
                  <a:pt x="0" y="109"/>
                  <a:pt x="31" y="141"/>
                  <a:pt x="70" y="141"/>
                </a:cubicBezTo>
                <a:cubicBezTo>
                  <a:pt x="70" y="141"/>
                  <a:pt x="70" y="141"/>
                  <a:pt x="71" y="141"/>
                </a:cubicBezTo>
                <a:cubicBezTo>
                  <a:pt x="83" y="141"/>
                  <a:pt x="96" y="138"/>
                  <a:pt x="106" y="132"/>
                </a:cubicBezTo>
                <a:cubicBezTo>
                  <a:pt x="149" y="175"/>
                  <a:pt x="149" y="175"/>
                  <a:pt x="149" y="175"/>
                </a:cubicBezTo>
                <a:cubicBezTo>
                  <a:pt x="149" y="175"/>
                  <a:pt x="149" y="175"/>
                  <a:pt x="149" y="175"/>
                </a:cubicBezTo>
                <a:cubicBezTo>
                  <a:pt x="150" y="176"/>
                  <a:pt x="150" y="176"/>
                  <a:pt x="150" y="176"/>
                </a:cubicBezTo>
                <a:cubicBezTo>
                  <a:pt x="153" y="179"/>
                  <a:pt x="159" y="179"/>
                  <a:pt x="162" y="176"/>
                </a:cubicBezTo>
                <a:cubicBezTo>
                  <a:pt x="176" y="162"/>
                  <a:pt x="176" y="162"/>
                  <a:pt x="176" y="162"/>
                </a:cubicBezTo>
                <a:cubicBezTo>
                  <a:pt x="179" y="159"/>
                  <a:pt x="179" y="153"/>
                  <a:pt x="176" y="150"/>
                </a:cubicBezTo>
                <a:close/>
                <a:moveTo>
                  <a:pt x="108" y="108"/>
                </a:moveTo>
                <a:cubicBezTo>
                  <a:pt x="98" y="118"/>
                  <a:pt x="85" y="123"/>
                  <a:pt x="71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41" y="123"/>
                  <a:pt x="18" y="99"/>
                  <a:pt x="18" y="70"/>
                </a:cubicBezTo>
                <a:cubicBezTo>
                  <a:pt x="18" y="56"/>
                  <a:pt x="23" y="43"/>
                  <a:pt x="33" y="33"/>
                </a:cubicBezTo>
                <a:cubicBezTo>
                  <a:pt x="43" y="23"/>
                  <a:pt x="57" y="18"/>
                  <a:pt x="70" y="18"/>
                </a:cubicBezTo>
                <a:cubicBezTo>
                  <a:pt x="71" y="18"/>
                  <a:pt x="71" y="18"/>
                  <a:pt x="71" y="18"/>
                </a:cubicBezTo>
                <a:cubicBezTo>
                  <a:pt x="85" y="18"/>
                  <a:pt x="98" y="24"/>
                  <a:pt x="108" y="34"/>
                </a:cubicBezTo>
                <a:cubicBezTo>
                  <a:pt x="118" y="44"/>
                  <a:pt x="123" y="57"/>
                  <a:pt x="123" y="71"/>
                </a:cubicBezTo>
                <a:cubicBezTo>
                  <a:pt x="123" y="85"/>
                  <a:pt x="118" y="98"/>
                  <a:pt x="108" y="108"/>
                </a:cubicBezTo>
                <a:close/>
                <a:moveTo>
                  <a:pt x="82" y="33"/>
                </a:moveTo>
                <a:cubicBezTo>
                  <a:pt x="61" y="33"/>
                  <a:pt x="61" y="33"/>
                  <a:pt x="61" y="33"/>
                </a:cubicBezTo>
                <a:cubicBezTo>
                  <a:pt x="61" y="58"/>
                  <a:pt x="61" y="58"/>
                  <a:pt x="61" y="58"/>
                </a:cubicBezTo>
                <a:cubicBezTo>
                  <a:pt x="36" y="58"/>
                  <a:pt x="36" y="58"/>
                  <a:pt x="36" y="58"/>
                </a:cubicBezTo>
                <a:cubicBezTo>
                  <a:pt x="36" y="80"/>
                  <a:pt x="36" y="80"/>
                  <a:pt x="36" y="80"/>
                </a:cubicBezTo>
                <a:cubicBezTo>
                  <a:pt x="61" y="80"/>
                  <a:pt x="61" y="80"/>
                  <a:pt x="61" y="80"/>
                </a:cubicBezTo>
                <a:cubicBezTo>
                  <a:pt x="61" y="104"/>
                  <a:pt x="61" y="104"/>
                  <a:pt x="61" y="104"/>
                </a:cubicBezTo>
                <a:cubicBezTo>
                  <a:pt x="82" y="104"/>
                  <a:pt x="82" y="104"/>
                  <a:pt x="82" y="104"/>
                </a:cubicBezTo>
                <a:cubicBezTo>
                  <a:pt x="82" y="80"/>
                  <a:pt x="82" y="80"/>
                  <a:pt x="82" y="80"/>
                </a:cubicBezTo>
                <a:cubicBezTo>
                  <a:pt x="107" y="80"/>
                  <a:pt x="107" y="80"/>
                  <a:pt x="107" y="80"/>
                </a:cubicBezTo>
                <a:cubicBezTo>
                  <a:pt x="107" y="58"/>
                  <a:pt x="107" y="58"/>
                  <a:pt x="107" y="58"/>
                </a:cubicBezTo>
                <a:cubicBezTo>
                  <a:pt x="82" y="58"/>
                  <a:pt x="82" y="58"/>
                  <a:pt x="82" y="58"/>
                </a:cubicBezTo>
                <a:lnTo>
                  <a:pt x="82" y="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399" name="Freeform 58"/>
          <p:cNvSpPr>
            <a:spLocks noEditPoints="1"/>
          </p:cNvSpPr>
          <p:nvPr/>
        </p:nvSpPr>
        <p:spPr bwMode="auto">
          <a:xfrm>
            <a:off x="4741334" y="3759201"/>
            <a:ext cx="539751" cy="539751"/>
          </a:xfrm>
          <a:custGeom>
            <a:avLst/>
            <a:gdLst>
              <a:gd name="T0" fmla="*/ 900150328 w 179"/>
              <a:gd name="T1" fmla="*/ 767174912 h 179"/>
              <a:gd name="T2" fmla="*/ 895037020 w 179"/>
              <a:gd name="T3" fmla="*/ 762059342 h 179"/>
              <a:gd name="T4" fmla="*/ 895037020 w 179"/>
              <a:gd name="T5" fmla="*/ 762059342 h 179"/>
              <a:gd name="T6" fmla="*/ 675112746 w 179"/>
              <a:gd name="T7" fmla="*/ 542137330 h 179"/>
              <a:gd name="T8" fmla="*/ 721143829 w 179"/>
              <a:gd name="T9" fmla="*/ 363128569 h 179"/>
              <a:gd name="T10" fmla="*/ 363128569 w 179"/>
              <a:gd name="T11" fmla="*/ 0 h 179"/>
              <a:gd name="T12" fmla="*/ 358015260 w 179"/>
              <a:gd name="T13" fmla="*/ 0 h 179"/>
              <a:gd name="T14" fmla="*/ 0 w 179"/>
              <a:gd name="T15" fmla="*/ 358015260 h 179"/>
              <a:gd name="T16" fmla="*/ 358015260 w 179"/>
              <a:gd name="T17" fmla="*/ 721143829 h 179"/>
              <a:gd name="T18" fmla="*/ 363128569 w 179"/>
              <a:gd name="T19" fmla="*/ 721143829 h 179"/>
              <a:gd name="T20" fmla="*/ 542137330 w 179"/>
              <a:gd name="T21" fmla="*/ 675112746 h 179"/>
              <a:gd name="T22" fmla="*/ 762059342 w 179"/>
              <a:gd name="T23" fmla="*/ 895037020 h 179"/>
              <a:gd name="T24" fmla="*/ 762059342 w 179"/>
              <a:gd name="T25" fmla="*/ 895037020 h 179"/>
              <a:gd name="T26" fmla="*/ 767174912 w 179"/>
              <a:gd name="T27" fmla="*/ 900150328 h 179"/>
              <a:gd name="T28" fmla="*/ 828548181 w 179"/>
              <a:gd name="T29" fmla="*/ 900150328 h 179"/>
              <a:gd name="T30" fmla="*/ 900150328 w 179"/>
              <a:gd name="T31" fmla="*/ 828548181 h 179"/>
              <a:gd name="T32" fmla="*/ 900150328 w 179"/>
              <a:gd name="T33" fmla="*/ 767174912 h 179"/>
              <a:gd name="T34" fmla="*/ 552366208 w 179"/>
              <a:gd name="T35" fmla="*/ 552366208 h 179"/>
              <a:gd name="T36" fmla="*/ 363128569 w 179"/>
              <a:gd name="T37" fmla="*/ 629083925 h 179"/>
              <a:gd name="T38" fmla="*/ 358015260 w 179"/>
              <a:gd name="T39" fmla="*/ 629083925 h 179"/>
              <a:gd name="T40" fmla="*/ 92059904 w 179"/>
              <a:gd name="T41" fmla="*/ 358015260 h 179"/>
              <a:gd name="T42" fmla="*/ 358015260 w 179"/>
              <a:gd name="T43" fmla="*/ 92059904 h 179"/>
              <a:gd name="T44" fmla="*/ 363128569 w 179"/>
              <a:gd name="T45" fmla="*/ 92059904 h 179"/>
              <a:gd name="T46" fmla="*/ 552366208 w 179"/>
              <a:gd name="T47" fmla="*/ 173893191 h 179"/>
              <a:gd name="T48" fmla="*/ 629083925 w 179"/>
              <a:gd name="T49" fmla="*/ 363128569 h 179"/>
              <a:gd name="T50" fmla="*/ 552366208 w 179"/>
              <a:gd name="T51" fmla="*/ 552366208 h 179"/>
              <a:gd name="T52" fmla="*/ 184122069 w 179"/>
              <a:gd name="T53" fmla="*/ 414275221 h 179"/>
              <a:gd name="T54" fmla="*/ 547250638 w 179"/>
              <a:gd name="T55" fmla="*/ 414275221 h 179"/>
              <a:gd name="T56" fmla="*/ 547250638 w 179"/>
              <a:gd name="T57" fmla="*/ 301755299 h 179"/>
              <a:gd name="T58" fmla="*/ 184122069 w 179"/>
              <a:gd name="T59" fmla="*/ 301755299 h 179"/>
              <a:gd name="T60" fmla="*/ 184122069 w 179"/>
              <a:gd name="T61" fmla="*/ 414275221 h 17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79" h="179">
                <a:moveTo>
                  <a:pt x="176" y="150"/>
                </a:moveTo>
                <a:cubicBezTo>
                  <a:pt x="175" y="149"/>
                  <a:pt x="175" y="149"/>
                  <a:pt x="175" y="149"/>
                </a:cubicBezTo>
                <a:cubicBezTo>
                  <a:pt x="175" y="149"/>
                  <a:pt x="175" y="149"/>
                  <a:pt x="175" y="149"/>
                </a:cubicBezTo>
                <a:cubicBezTo>
                  <a:pt x="132" y="106"/>
                  <a:pt x="132" y="106"/>
                  <a:pt x="132" y="106"/>
                </a:cubicBezTo>
                <a:cubicBezTo>
                  <a:pt x="138" y="96"/>
                  <a:pt x="141" y="84"/>
                  <a:pt x="141" y="71"/>
                </a:cubicBezTo>
                <a:cubicBezTo>
                  <a:pt x="141" y="32"/>
                  <a:pt x="110" y="0"/>
                  <a:pt x="71" y="0"/>
                </a:cubicBezTo>
                <a:cubicBezTo>
                  <a:pt x="71" y="0"/>
                  <a:pt x="71" y="0"/>
                  <a:pt x="70" y="0"/>
                </a:cubicBezTo>
                <a:cubicBezTo>
                  <a:pt x="32" y="0"/>
                  <a:pt x="0" y="31"/>
                  <a:pt x="0" y="70"/>
                </a:cubicBezTo>
                <a:cubicBezTo>
                  <a:pt x="0" y="109"/>
                  <a:pt x="31" y="141"/>
                  <a:pt x="70" y="141"/>
                </a:cubicBezTo>
                <a:cubicBezTo>
                  <a:pt x="70" y="141"/>
                  <a:pt x="70" y="141"/>
                  <a:pt x="71" y="141"/>
                </a:cubicBezTo>
                <a:cubicBezTo>
                  <a:pt x="83" y="141"/>
                  <a:pt x="96" y="138"/>
                  <a:pt x="106" y="132"/>
                </a:cubicBezTo>
                <a:cubicBezTo>
                  <a:pt x="149" y="175"/>
                  <a:pt x="149" y="175"/>
                  <a:pt x="149" y="175"/>
                </a:cubicBezTo>
                <a:cubicBezTo>
                  <a:pt x="149" y="175"/>
                  <a:pt x="149" y="175"/>
                  <a:pt x="149" y="175"/>
                </a:cubicBezTo>
                <a:cubicBezTo>
                  <a:pt x="150" y="176"/>
                  <a:pt x="150" y="176"/>
                  <a:pt x="150" y="176"/>
                </a:cubicBezTo>
                <a:cubicBezTo>
                  <a:pt x="153" y="179"/>
                  <a:pt x="159" y="179"/>
                  <a:pt x="162" y="176"/>
                </a:cubicBezTo>
                <a:cubicBezTo>
                  <a:pt x="176" y="162"/>
                  <a:pt x="176" y="162"/>
                  <a:pt x="176" y="162"/>
                </a:cubicBezTo>
                <a:cubicBezTo>
                  <a:pt x="179" y="159"/>
                  <a:pt x="179" y="153"/>
                  <a:pt x="176" y="150"/>
                </a:cubicBezTo>
                <a:close/>
                <a:moveTo>
                  <a:pt x="108" y="108"/>
                </a:moveTo>
                <a:cubicBezTo>
                  <a:pt x="98" y="118"/>
                  <a:pt x="85" y="123"/>
                  <a:pt x="71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41" y="123"/>
                  <a:pt x="18" y="99"/>
                  <a:pt x="18" y="70"/>
                </a:cubicBezTo>
                <a:cubicBezTo>
                  <a:pt x="18" y="41"/>
                  <a:pt x="42" y="18"/>
                  <a:pt x="70" y="18"/>
                </a:cubicBezTo>
                <a:cubicBezTo>
                  <a:pt x="71" y="18"/>
                  <a:pt x="71" y="18"/>
                  <a:pt x="71" y="18"/>
                </a:cubicBezTo>
                <a:cubicBezTo>
                  <a:pt x="85" y="18"/>
                  <a:pt x="98" y="24"/>
                  <a:pt x="108" y="34"/>
                </a:cubicBezTo>
                <a:cubicBezTo>
                  <a:pt x="118" y="44"/>
                  <a:pt x="123" y="57"/>
                  <a:pt x="123" y="71"/>
                </a:cubicBezTo>
                <a:cubicBezTo>
                  <a:pt x="123" y="85"/>
                  <a:pt x="118" y="98"/>
                  <a:pt x="108" y="108"/>
                </a:cubicBezTo>
                <a:close/>
                <a:moveTo>
                  <a:pt x="36" y="81"/>
                </a:moveTo>
                <a:cubicBezTo>
                  <a:pt x="107" y="81"/>
                  <a:pt x="107" y="81"/>
                  <a:pt x="107" y="81"/>
                </a:cubicBezTo>
                <a:cubicBezTo>
                  <a:pt x="107" y="59"/>
                  <a:pt x="107" y="59"/>
                  <a:pt x="107" y="59"/>
                </a:cubicBezTo>
                <a:cubicBezTo>
                  <a:pt x="36" y="59"/>
                  <a:pt x="36" y="59"/>
                  <a:pt x="36" y="59"/>
                </a:cubicBezTo>
                <a:lnTo>
                  <a:pt x="36" y="8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0" name="Freeform 59"/>
          <p:cNvSpPr>
            <a:spLocks/>
          </p:cNvSpPr>
          <p:nvPr/>
        </p:nvSpPr>
        <p:spPr bwMode="auto">
          <a:xfrm>
            <a:off x="5717117" y="3750734"/>
            <a:ext cx="302683" cy="575733"/>
          </a:xfrm>
          <a:custGeom>
            <a:avLst/>
            <a:gdLst>
              <a:gd name="T0" fmla="*/ 358685703 w 101"/>
              <a:gd name="T1" fmla="*/ 449761524 h 191"/>
              <a:gd name="T2" fmla="*/ 318270824 w 101"/>
              <a:gd name="T3" fmla="*/ 439538489 h 191"/>
              <a:gd name="T4" fmla="*/ 293011806 w 101"/>
              <a:gd name="T5" fmla="*/ 388430098 h 191"/>
              <a:gd name="T6" fmla="*/ 277855945 w 101"/>
              <a:gd name="T7" fmla="*/ 373097807 h 191"/>
              <a:gd name="T8" fmla="*/ 222285206 w 101"/>
              <a:gd name="T9" fmla="*/ 357763255 h 191"/>
              <a:gd name="T10" fmla="*/ 217232503 w 101"/>
              <a:gd name="T11" fmla="*/ 357763255 h 191"/>
              <a:gd name="T12" fmla="*/ 217232503 w 101"/>
              <a:gd name="T13" fmla="*/ 357763255 h 191"/>
              <a:gd name="T14" fmla="*/ 212179800 w 101"/>
              <a:gd name="T15" fmla="*/ 352653999 h 191"/>
              <a:gd name="T16" fmla="*/ 217232503 w 101"/>
              <a:gd name="T17" fmla="*/ 352653999 h 191"/>
              <a:gd name="T18" fmla="*/ 197023940 w 101"/>
              <a:gd name="T19" fmla="*/ 66442942 h 191"/>
              <a:gd name="T20" fmla="*/ 116194182 w 101"/>
              <a:gd name="T21" fmla="*/ 61331425 h 191"/>
              <a:gd name="T22" fmla="*/ 111141479 w 101"/>
              <a:gd name="T23" fmla="*/ 459982297 h 191"/>
              <a:gd name="T24" fmla="*/ 106091024 w 101"/>
              <a:gd name="T25" fmla="*/ 480426106 h 191"/>
              <a:gd name="T26" fmla="*/ 75779303 w 101"/>
              <a:gd name="T27" fmla="*/ 490646880 h 191"/>
              <a:gd name="T28" fmla="*/ 0 w 101"/>
              <a:gd name="T29" fmla="*/ 567310596 h 191"/>
              <a:gd name="T30" fmla="*/ 55570739 w 101"/>
              <a:gd name="T31" fmla="*/ 833077844 h 191"/>
              <a:gd name="T32" fmla="*/ 90935163 w 101"/>
              <a:gd name="T33" fmla="*/ 873965461 h 191"/>
              <a:gd name="T34" fmla="*/ 136402745 w 101"/>
              <a:gd name="T35" fmla="*/ 976184503 h 191"/>
              <a:gd name="T36" fmla="*/ 449620866 w 101"/>
              <a:gd name="T37" fmla="*/ 976184503 h 191"/>
              <a:gd name="T38" fmla="*/ 434465006 w 101"/>
              <a:gd name="T39" fmla="*/ 925076112 h 191"/>
              <a:gd name="T40" fmla="*/ 434465006 w 101"/>
              <a:gd name="T41" fmla="*/ 873965461 h 191"/>
              <a:gd name="T42" fmla="*/ 474879885 w 101"/>
              <a:gd name="T43" fmla="*/ 756414128 h 191"/>
              <a:gd name="T44" fmla="*/ 490035745 w 101"/>
              <a:gd name="T45" fmla="*/ 613309730 h 191"/>
              <a:gd name="T46" fmla="*/ 459724024 w 101"/>
              <a:gd name="T47" fmla="*/ 587754404 h 191"/>
              <a:gd name="T48" fmla="*/ 414258690 w 101"/>
              <a:gd name="T49" fmla="*/ 500869914 h 191"/>
              <a:gd name="T50" fmla="*/ 358685703 w 101"/>
              <a:gd name="T51" fmla="*/ 449761524 h 19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01" h="191">
                <a:moveTo>
                  <a:pt x="71" y="88"/>
                </a:moveTo>
                <a:cubicBezTo>
                  <a:pt x="63" y="86"/>
                  <a:pt x="63" y="86"/>
                  <a:pt x="63" y="86"/>
                </a:cubicBezTo>
                <a:cubicBezTo>
                  <a:pt x="62" y="82"/>
                  <a:pt x="61" y="78"/>
                  <a:pt x="58" y="76"/>
                </a:cubicBezTo>
                <a:cubicBezTo>
                  <a:pt x="57" y="75"/>
                  <a:pt x="56" y="74"/>
                  <a:pt x="55" y="73"/>
                </a:cubicBezTo>
                <a:cubicBezTo>
                  <a:pt x="52" y="71"/>
                  <a:pt x="48" y="70"/>
                  <a:pt x="44" y="70"/>
                </a:cubicBezTo>
                <a:cubicBezTo>
                  <a:pt x="44" y="70"/>
                  <a:pt x="43" y="70"/>
                  <a:pt x="43" y="70"/>
                </a:cubicBezTo>
                <a:cubicBezTo>
                  <a:pt x="43" y="70"/>
                  <a:pt x="43" y="70"/>
                  <a:pt x="43" y="70"/>
                </a:cubicBezTo>
                <a:cubicBezTo>
                  <a:pt x="42" y="69"/>
                  <a:pt x="42" y="69"/>
                  <a:pt x="42" y="69"/>
                </a:cubicBezTo>
                <a:cubicBezTo>
                  <a:pt x="43" y="69"/>
                  <a:pt x="43" y="69"/>
                  <a:pt x="43" y="69"/>
                </a:cubicBezTo>
                <a:cubicBezTo>
                  <a:pt x="39" y="13"/>
                  <a:pt x="39" y="13"/>
                  <a:pt x="39" y="13"/>
                </a:cubicBezTo>
                <a:cubicBezTo>
                  <a:pt x="38" y="0"/>
                  <a:pt x="23" y="1"/>
                  <a:pt x="23" y="12"/>
                </a:cubicBezTo>
                <a:cubicBezTo>
                  <a:pt x="23" y="16"/>
                  <a:pt x="22" y="80"/>
                  <a:pt x="22" y="90"/>
                </a:cubicBezTo>
                <a:cubicBezTo>
                  <a:pt x="22" y="92"/>
                  <a:pt x="23" y="93"/>
                  <a:pt x="21" y="94"/>
                </a:cubicBezTo>
                <a:cubicBezTo>
                  <a:pt x="19" y="95"/>
                  <a:pt x="17" y="96"/>
                  <a:pt x="15" y="96"/>
                </a:cubicBezTo>
                <a:cubicBezTo>
                  <a:pt x="8" y="100"/>
                  <a:pt x="1" y="102"/>
                  <a:pt x="0" y="111"/>
                </a:cubicBezTo>
                <a:cubicBezTo>
                  <a:pt x="11" y="163"/>
                  <a:pt x="11" y="163"/>
                  <a:pt x="11" y="163"/>
                </a:cubicBezTo>
                <a:cubicBezTo>
                  <a:pt x="13" y="166"/>
                  <a:pt x="16" y="168"/>
                  <a:pt x="18" y="171"/>
                </a:cubicBezTo>
                <a:cubicBezTo>
                  <a:pt x="22" y="177"/>
                  <a:pt x="26" y="184"/>
                  <a:pt x="27" y="191"/>
                </a:cubicBezTo>
                <a:cubicBezTo>
                  <a:pt x="89" y="191"/>
                  <a:pt x="89" y="191"/>
                  <a:pt x="89" y="191"/>
                </a:cubicBezTo>
                <a:cubicBezTo>
                  <a:pt x="88" y="187"/>
                  <a:pt x="87" y="184"/>
                  <a:pt x="86" y="181"/>
                </a:cubicBezTo>
                <a:cubicBezTo>
                  <a:pt x="85" y="177"/>
                  <a:pt x="84" y="175"/>
                  <a:pt x="86" y="171"/>
                </a:cubicBezTo>
                <a:cubicBezTo>
                  <a:pt x="90" y="164"/>
                  <a:pt x="92" y="156"/>
                  <a:pt x="94" y="148"/>
                </a:cubicBezTo>
                <a:cubicBezTo>
                  <a:pt x="96" y="140"/>
                  <a:pt x="101" y="128"/>
                  <a:pt x="97" y="120"/>
                </a:cubicBezTo>
                <a:cubicBezTo>
                  <a:pt x="95" y="118"/>
                  <a:pt x="93" y="117"/>
                  <a:pt x="91" y="115"/>
                </a:cubicBezTo>
                <a:cubicBezTo>
                  <a:pt x="86" y="111"/>
                  <a:pt x="86" y="103"/>
                  <a:pt x="82" y="98"/>
                </a:cubicBezTo>
                <a:cubicBezTo>
                  <a:pt x="79" y="94"/>
                  <a:pt x="75" y="90"/>
                  <a:pt x="71" y="8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1" name="Freeform 60"/>
          <p:cNvSpPr>
            <a:spLocks/>
          </p:cNvSpPr>
          <p:nvPr/>
        </p:nvSpPr>
        <p:spPr bwMode="auto">
          <a:xfrm>
            <a:off x="5774267" y="3729567"/>
            <a:ext cx="71967" cy="38100"/>
          </a:xfrm>
          <a:custGeom>
            <a:avLst/>
            <a:gdLst>
              <a:gd name="T0" fmla="*/ 121387526 w 24"/>
              <a:gd name="T1" fmla="*/ 62810048 h 13"/>
              <a:gd name="T2" fmla="*/ 121387526 w 24"/>
              <a:gd name="T3" fmla="*/ 53147302 h 13"/>
              <a:gd name="T4" fmla="*/ 101155897 w 24"/>
              <a:gd name="T5" fmla="*/ 14494119 h 13"/>
              <a:gd name="T6" fmla="*/ 60694888 w 24"/>
              <a:gd name="T7" fmla="*/ 0 h 13"/>
              <a:gd name="T8" fmla="*/ 15173722 w 24"/>
              <a:gd name="T9" fmla="*/ 14494119 h 13"/>
              <a:gd name="T10" fmla="*/ 0 w 24"/>
              <a:gd name="T11" fmla="*/ 53147302 h 13"/>
              <a:gd name="T12" fmla="*/ 0 w 24"/>
              <a:gd name="T13" fmla="*/ 62810048 h 13"/>
              <a:gd name="T14" fmla="*/ 15173722 w 24"/>
              <a:gd name="T15" fmla="*/ 33821810 h 13"/>
              <a:gd name="T16" fmla="*/ 60694888 w 24"/>
              <a:gd name="T17" fmla="*/ 19325492 h 13"/>
              <a:gd name="T18" fmla="*/ 101155897 w 24"/>
              <a:gd name="T19" fmla="*/ 33821810 h 13"/>
              <a:gd name="T20" fmla="*/ 121387526 w 24"/>
              <a:gd name="T21" fmla="*/ 62810048 h 1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4" h="13">
                <a:moveTo>
                  <a:pt x="24" y="13"/>
                </a:moveTo>
                <a:cubicBezTo>
                  <a:pt x="24" y="13"/>
                  <a:pt x="24" y="12"/>
                  <a:pt x="24" y="11"/>
                </a:cubicBezTo>
                <a:cubicBezTo>
                  <a:pt x="24" y="8"/>
                  <a:pt x="23" y="6"/>
                  <a:pt x="20" y="3"/>
                </a:cubicBezTo>
                <a:cubicBezTo>
                  <a:pt x="18" y="1"/>
                  <a:pt x="15" y="0"/>
                  <a:pt x="12" y="0"/>
                </a:cubicBezTo>
                <a:cubicBezTo>
                  <a:pt x="8" y="0"/>
                  <a:pt x="6" y="1"/>
                  <a:pt x="3" y="3"/>
                </a:cubicBezTo>
                <a:cubicBezTo>
                  <a:pt x="1" y="6"/>
                  <a:pt x="0" y="8"/>
                  <a:pt x="0" y="11"/>
                </a:cubicBezTo>
                <a:cubicBezTo>
                  <a:pt x="0" y="12"/>
                  <a:pt x="0" y="13"/>
                  <a:pt x="0" y="13"/>
                </a:cubicBezTo>
                <a:cubicBezTo>
                  <a:pt x="0" y="11"/>
                  <a:pt x="1" y="9"/>
                  <a:pt x="3" y="7"/>
                </a:cubicBezTo>
                <a:cubicBezTo>
                  <a:pt x="6" y="5"/>
                  <a:pt x="8" y="4"/>
                  <a:pt x="12" y="4"/>
                </a:cubicBezTo>
                <a:cubicBezTo>
                  <a:pt x="15" y="4"/>
                  <a:pt x="18" y="5"/>
                  <a:pt x="20" y="7"/>
                </a:cubicBezTo>
                <a:cubicBezTo>
                  <a:pt x="22" y="9"/>
                  <a:pt x="23" y="11"/>
                  <a:pt x="24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2" name="Freeform 61"/>
          <p:cNvSpPr>
            <a:spLocks/>
          </p:cNvSpPr>
          <p:nvPr/>
        </p:nvSpPr>
        <p:spPr bwMode="auto">
          <a:xfrm>
            <a:off x="6481234" y="3746500"/>
            <a:ext cx="378884" cy="560917"/>
          </a:xfrm>
          <a:custGeom>
            <a:avLst/>
            <a:gdLst>
              <a:gd name="T0" fmla="*/ 483189863 w 126"/>
              <a:gd name="T1" fmla="*/ 419477957 h 186"/>
              <a:gd name="T2" fmla="*/ 483189863 w 126"/>
              <a:gd name="T3" fmla="*/ 419477957 h 186"/>
              <a:gd name="T4" fmla="*/ 462845145 w 126"/>
              <a:gd name="T5" fmla="*/ 414361848 h 186"/>
              <a:gd name="T6" fmla="*/ 452671659 w 126"/>
              <a:gd name="T7" fmla="*/ 388783565 h 186"/>
              <a:gd name="T8" fmla="*/ 442500428 w 126"/>
              <a:gd name="T9" fmla="*/ 378551347 h 186"/>
              <a:gd name="T10" fmla="*/ 381466275 w 126"/>
              <a:gd name="T11" fmla="*/ 337626999 h 186"/>
              <a:gd name="T12" fmla="*/ 356033686 w 126"/>
              <a:gd name="T13" fmla="*/ 337626999 h 186"/>
              <a:gd name="T14" fmla="*/ 356033686 w 126"/>
              <a:gd name="T15" fmla="*/ 337626999 h 186"/>
              <a:gd name="T16" fmla="*/ 356033686 w 126"/>
              <a:gd name="T17" fmla="*/ 332513152 h 186"/>
              <a:gd name="T18" fmla="*/ 330603353 w 126"/>
              <a:gd name="T19" fmla="*/ 46040457 h 186"/>
              <a:gd name="T20" fmla="*/ 289913918 w 126"/>
              <a:gd name="T21" fmla="*/ 5116109 h 186"/>
              <a:gd name="T22" fmla="*/ 249224483 w 126"/>
              <a:gd name="T23" fmla="*/ 46040457 h 186"/>
              <a:gd name="T24" fmla="*/ 254310098 w 126"/>
              <a:gd name="T25" fmla="*/ 445053978 h 186"/>
              <a:gd name="T26" fmla="*/ 254310098 w 126"/>
              <a:gd name="T27" fmla="*/ 460402304 h 186"/>
              <a:gd name="T28" fmla="*/ 228879765 w 126"/>
              <a:gd name="T29" fmla="*/ 506442761 h 186"/>
              <a:gd name="T30" fmla="*/ 213620663 w 126"/>
              <a:gd name="T31" fmla="*/ 511556608 h 186"/>
              <a:gd name="T32" fmla="*/ 157672126 w 126"/>
              <a:gd name="T33" fmla="*/ 485980587 h 186"/>
              <a:gd name="T34" fmla="*/ 116982690 w 126"/>
              <a:gd name="T35" fmla="*/ 399015783 h 186"/>
              <a:gd name="T36" fmla="*/ 96637973 w 126"/>
              <a:gd name="T37" fmla="*/ 358089173 h 186"/>
              <a:gd name="T38" fmla="*/ 15259102 w 126"/>
              <a:gd name="T39" fmla="*/ 322280934 h 186"/>
              <a:gd name="T40" fmla="*/ 5085616 w 126"/>
              <a:gd name="T41" fmla="*/ 358089173 h 186"/>
              <a:gd name="T42" fmla="*/ 25430333 w 126"/>
              <a:gd name="T43" fmla="*/ 404129630 h 186"/>
              <a:gd name="T44" fmla="*/ 35603820 w 126"/>
              <a:gd name="T45" fmla="*/ 445053978 h 186"/>
              <a:gd name="T46" fmla="*/ 40689435 w 126"/>
              <a:gd name="T47" fmla="*/ 485980587 h 186"/>
              <a:gd name="T48" fmla="*/ 50862922 w 126"/>
              <a:gd name="T49" fmla="*/ 516672717 h 186"/>
              <a:gd name="T50" fmla="*/ 76293255 w 126"/>
              <a:gd name="T51" fmla="*/ 583175347 h 186"/>
              <a:gd name="T52" fmla="*/ 116982690 w 126"/>
              <a:gd name="T53" fmla="*/ 700834543 h 186"/>
              <a:gd name="T54" fmla="*/ 208535047 w 126"/>
              <a:gd name="T55" fmla="*/ 818491478 h 186"/>
              <a:gd name="T56" fmla="*/ 239050996 w 126"/>
              <a:gd name="T57" fmla="*/ 864531934 h 186"/>
              <a:gd name="T58" fmla="*/ 239050996 w 126"/>
              <a:gd name="T59" fmla="*/ 946380630 h 186"/>
              <a:gd name="T60" fmla="*/ 569654349 w 126"/>
              <a:gd name="T61" fmla="*/ 946380630 h 186"/>
              <a:gd name="T62" fmla="*/ 569654349 w 126"/>
              <a:gd name="T63" fmla="*/ 874764152 h 186"/>
              <a:gd name="T64" fmla="*/ 569654349 w 126"/>
              <a:gd name="T65" fmla="*/ 874764152 h 186"/>
              <a:gd name="T66" fmla="*/ 589999067 w 126"/>
              <a:gd name="T67" fmla="*/ 823607586 h 186"/>
              <a:gd name="T68" fmla="*/ 605258169 w 126"/>
              <a:gd name="T69" fmla="*/ 782683239 h 186"/>
              <a:gd name="T70" fmla="*/ 630688502 w 126"/>
              <a:gd name="T71" fmla="*/ 670140152 h 186"/>
              <a:gd name="T72" fmla="*/ 635776373 w 126"/>
              <a:gd name="T73" fmla="*/ 649677978 h 186"/>
              <a:gd name="T74" fmla="*/ 595086938 w 126"/>
              <a:gd name="T75" fmla="*/ 557597065 h 186"/>
              <a:gd name="T76" fmla="*/ 595086938 w 126"/>
              <a:gd name="T77" fmla="*/ 552480956 h 186"/>
              <a:gd name="T78" fmla="*/ 559483118 w 126"/>
              <a:gd name="T79" fmla="*/ 480864478 h 186"/>
              <a:gd name="T80" fmla="*/ 483189863 w 126"/>
              <a:gd name="T81" fmla="*/ 419477957 h 18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26" h="186">
                <a:moveTo>
                  <a:pt x="95" y="82"/>
                </a:moveTo>
                <a:cubicBezTo>
                  <a:pt x="95" y="82"/>
                  <a:pt x="95" y="82"/>
                  <a:pt x="95" y="82"/>
                </a:cubicBezTo>
                <a:cubicBezTo>
                  <a:pt x="91" y="81"/>
                  <a:pt x="91" y="81"/>
                  <a:pt x="91" y="81"/>
                </a:cubicBezTo>
                <a:cubicBezTo>
                  <a:pt x="89" y="76"/>
                  <a:pt x="89" y="76"/>
                  <a:pt x="89" y="76"/>
                </a:cubicBezTo>
                <a:cubicBezTo>
                  <a:pt x="88" y="75"/>
                  <a:pt x="88" y="74"/>
                  <a:pt x="87" y="74"/>
                </a:cubicBezTo>
                <a:cubicBezTo>
                  <a:pt x="84" y="69"/>
                  <a:pt x="80" y="67"/>
                  <a:pt x="75" y="66"/>
                </a:cubicBezTo>
                <a:cubicBezTo>
                  <a:pt x="70" y="66"/>
                  <a:pt x="70" y="66"/>
                  <a:pt x="70" y="66"/>
                </a:cubicBezTo>
                <a:cubicBezTo>
                  <a:pt x="70" y="66"/>
                  <a:pt x="70" y="66"/>
                  <a:pt x="70" y="66"/>
                </a:cubicBezTo>
                <a:cubicBezTo>
                  <a:pt x="70" y="65"/>
                  <a:pt x="70" y="65"/>
                  <a:pt x="70" y="65"/>
                </a:cubicBezTo>
                <a:cubicBezTo>
                  <a:pt x="65" y="9"/>
                  <a:pt x="65" y="9"/>
                  <a:pt x="65" y="9"/>
                </a:cubicBezTo>
                <a:cubicBezTo>
                  <a:pt x="64" y="1"/>
                  <a:pt x="61" y="1"/>
                  <a:pt x="57" y="1"/>
                </a:cubicBezTo>
                <a:cubicBezTo>
                  <a:pt x="57" y="1"/>
                  <a:pt x="49" y="0"/>
                  <a:pt x="49" y="9"/>
                </a:cubicBezTo>
                <a:cubicBezTo>
                  <a:pt x="50" y="87"/>
                  <a:pt x="50" y="87"/>
                  <a:pt x="50" y="87"/>
                </a:cubicBezTo>
                <a:cubicBezTo>
                  <a:pt x="50" y="88"/>
                  <a:pt x="50" y="89"/>
                  <a:pt x="50" y="90"/>
                </a:cubicBezTo>
                <a:cubicBezTo>
                  <a:pt x="49" y="93"/>
                  <a:pt x="47" y="96"/>
                  <a:pt x="45" y="99"/>
                </a:cubicBezTo>
                <a:cubicBezTo>
                  <a:pt x="44" y="99"/>
                  <a:pt x="43" y="100"/>
                  <a:pt x="42" y="100"/>
                </a:cubicBezTo>
                <a:cubicBezTo>
                  <a:pt x="37" y="100"/>
                  <a:pt x="34" y="98"/>
                  <a:pt x="31" y="95"/>
                </a:cubicBezTo>
                <a:cubicBezTo>
                  <a:pt x="27" y="91"/>
                  <a:pt x="25" y="83"/>
                  <a:pt x="23" y="78"/>
                </a:cubicBezTo>
                <a:cubicBezTo>
                  <a:pt x="22" y="76"/>
                  <a:pt x="21" y="72"/>
                  <a:pt x="19" y="70"/>
                </a:cubicBezTo>
                <a:cubicBezTo>
                  <a:pt x="16" y="65"/>
                  <a:pt x="9" y="60"/>
                  <a:pt x="3" y="63"/>
                </a:cubicBezTo>
                <a:cubicBezTo>
                  <a:pt x="2" y="64"/>
                  <a:pt x="0" y="68"/>
                  <a:pt x="1" y="70"/>
                </a:cubicBezTo>
                <a:cubicBezTo>
                  <a:pt x="2" y="73"/>
                  <a:pt x="4" y="76"/>
                  <a:pt x="5" y="79"/>
                </a:cubicBezTo>
                <a:cubicBezTo>
                  <a:pt x="6" y="81"/>
                  <a:pt x="6" y="84"/>
                  <a:pt x="7" y="87"/>
                </a:cubicBezTo>
                <a:cubicBezTo>
                  <a:pt x="7" y="89"/>
                  <a:pt x="7" y="93"/>
                  <a:pt x="8" y="95"/>
                </a:cubicBezTo>
                <a:cubicBezTo>
                  <a:pt x="9" y="96"/>
                  <a:pt x="9" y="99"/>
                  <a:pt x="10" y="101"/>
                </a:cubicBezTo>
                <a:cubicBezTo>
                  <a:pt x="12" y="105"/>
                  <a:pt x="14" y="110"/>
                  <a:pt x="15" y="114"/>
                </a:cubicBezTo>
                <a:cubicBezTo>
                  <a:pt x="18" y="121"/>
                  <a:pt x="19" y="130"/>
                  <a:pt x="23" y="137"/>
                </a:cubicBezTo>
                <a:cubicBezTo>
                  <a:pt x="28" y="146"/>
                  <a:pt x="33" y="154"/>
                  <a:pt x="41" y="160"/>
                </a:cubicBezTo>
                <a:cubicBezTo>
                  <a:pt x="44" y="163"/>
                  <a:pt x="46" y="166"/>
                  <a:pt x="47" y="169"/>
                </a:cubicBezTo>
                <a:cubicBezTo>
                  <a:pt x="47" y="185"/>
                  <a:pt x="47" y="185"/>
                  <a:pt x="47" y="185"/>
                </a:cubicBezTo>
                <a:cubicBezTo>
                  <a:pt x="59" y="185"/>
                  <a:pt x="107" y="186"/>
                  <a:pt x="112" y="18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13" y="168"/>
                  <a:pt x="115" y="165"/>
                  <a:pt x="116" y="161"/>
                </a:cubicBezTo>
                <a:cubicBezTo>
                  <a:pt x="118" y="159"/>
                  <a:pt x="118" y="156"/>
                  <a:pt x="119" y="153"/>
                </a:cubicBezTo>
                <a:cubicBezTo>
                  <a:pt x="121" y="146"/>
                  <a:pt x="122" y="138"/>
                  <a:pt x="124" y="131"/>
                </a:cubicBezTo>
                <a:cubicBezTo>
                  <a:pt x="124" y="130"/>
                  <a:pt x="125" y="128"/>
                  <a:pt x="125" y="127"/>
                </a:cubicBezTo>
                <a:cubicBezTo>
                  <a:pt x="126" y="123"/>
                  <a:pt x="126" y="111"/>
                  <a:pt x="117" y="109"/>
                </a:cubicBezTo>
                <a:cubicBezTo>
                  <a:pt x="117" y="109"/>
                  <a:pt x="117" y="108"/>
                  <a:pt x="117" y="108"/>
                </a:cubicBezTo>
                <a:cubicBezTo>
                  <a:pt x="115" y="103"/>
                  <a:pt x="113" y="98"/>
                  <a:pt x="110" y="94"/>
                </a:cubicBezTo>
                <a:cubicBezTo>
                  <a:pt x="107" y="89"/>
                  <a:pt x="101" y="84"/>
                  <a:pt x="95" y="8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3" name="Freeform 62"/>
          <p:cNvSpPr>
            <a:spLocks/>
          </p:cNvSpPr>
          <p:nvPr/>
        </p:nvSpPr>
        <p:spPr bwMode="auto">
          <a:xfrm>
            <a:off x="6559551" y="3793067"/>
            <a:ext cx="63500" cy="63500"/>
          </a:xfrm>
          <a:custGeom>
            <a:avLst/>
            <a:gdLst>
              <a:gd name="T0" fmla="*/ 2520950 w 30"/>
              <a:gd name="T1" fmla="*/ 75604688 h 30"/>
              <a:gd name="T2" fmla="*/ 0 w 30"/>
              <a:gd name="T3" fmla="*/ 25201563 h 30"/>
              <a:gd name="T4" fmla="*/ 15120938 w 30"/>
              <a:gd name="T5" fmla="*/ 35282188 h 30"/>
              <a:gd name="T6" fmla="*/ 47883763 w 30"/>
              <a:gd name="T7" fmla="*/ 0 h 30"/>
              <a:gd name="T8" fmla="*/ 75604688 w 30"/>
              <a:gd name="T9" fmla="*/ 20161250 h 30"/>
              <a:gd name="T10" fmla="*/ 42843450 w 30"/>
              <a:gd name="T11" fmla="*/ 60483750 h 30"/>
              <a:gd name="T12" fmla="*/ 52924075 w 30"/>
              <a:gd name="T13" fmla="*/ 70564375 h 30"/>
              <a:gd name="T14" fmla="*/ 2520950 w 30"/>
              <a:gd name="T15" fmla="*/ 75604688 h 3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0" h="30">
                <a:moveTo>
                  <a:pt x="1" y="30"/>
                </a:moveTo>
                <a:lnTo>
                  <a:pt x="0" y="10"/>
                </a:lnTo>
                <a:lnTo>
                  <a:pt x="6" y="14"/>
                </a:lnTo>
                <a:lnTo>
                  <a:pt x="19" y="0"/>
                </a:lnTo>
                <a:lnTo>
                  <a:pt x="30" y="8"/>
                </a:lnTo>
                <a:lnTo>
                  <a:pt x="17" y="24"/>
                </a:lnTo>
                <a:lnTo>
                  <a:pt x="21" y="28"/>
                </a:lnTo>
                <a:lnTo>
                  <a:pt x="1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4" name="Freeform 63"/>
          <p:cNvSpPr>
            <a:spLocks/>
          </p:cNvSpPr>
          <p:nvPr/>
        </p:nvSpPr>
        <p:spPr bwMode="auto">
          <a:xfrm>
            <a:off x="6559551" y="3793067"/>
            <a:ext cx="63500" cy="63500"/>
          </a:xfrm>
          <a:custGeom>
            <a:avLst/>
            <a:gdLst>
              <a:gd name="T0" fmla="*/ 2520950 w 30"/>
              <a:gd name="T1" fmla="*/ 75604688 h 30"/>
              <a:gd name="T2" fmla="*/ 0 w 30"/>
              <a:gd name="T3" fmla="*/ 25201563 h 30"/>
              <a:gd name="T4" fmla="*/ 15120938 w 30"/>
              <a:gd name="T5" fmla="*/ 35282188 h 30"/>
              <a:gd name="T6" fmla="*/ 47883763 w 30"/>
              <a:gd name="T7" fmla="*/ 0 h 30"/>
              <a:gd name="T8" fmla="*/ 75604688 w 30"/>
              <a:gd name="T9" fmla="*/ 20161250 h 30"/>
              <a:gd name="T10" fmla="*/ 42843450 w 30"/>
              <a:gd name="T11" fmla="*/ 60483750 h 30"/>
              <a:gd name="T12" fmla="*/ 52924075 w 30"/>
              <a:gd name="T13" fmla="*/ 70564375 h 30"/>
              <a:gd name="T14" fmla="*/ 2520950 w 30"/>
              <a:gd name="T15" fmla="*/ 75604688 h 3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0" h="30">
                <a:moveTo>
                  <a:pt x="1" y="30"/>
                </a:moveTo>
                <a:lnTo>
                  <a:pt x="0" y="10"/>
                </a:lnTo>
                <a:lnTo>
                  <a:pt x="6" y="14"/>
                </a:lnTo>
                <a:lnTo>
                  <a:pt x="19" y="0"/>
                </a:lnTo>
                <a:lnTo>
                  <a:pt x="30" y="8"/>
                </a:lnTo>
                <a:lnTo>
                  <a:pt x="17" y="24"/>
                </a:lnTo>
                <a:lnTo>
                  <a:pt x="21" y="28"/>
                </a:lnTo>
                <a:lnTo>
                  <a:pt x="1" y="3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5" name="Freeform 64"/>
          <p:cNvSpPr>
            <a:spLocks/>
          </p:cNvSpPr>
          <p:nvPr/>
        </p:nvSpPr>
        <p:spPr bwMode="auto">
          <a:xfrm>
            <a:off x="6502401" y="3858684"/>
            <a:ext cx="63500" cy="65616"/>
          </a:xfrm>
          <a:custGeom>
            <a:avLst/>
            <a:gdLst>
              <a:gd name="T0" fmla="*/ 68045013 w 30"/>
              <a:gd name="T1" fmla="*/ 0 h 31"/>
              <a:gd name="T2" fmla="*/ 75604688 w 30"/>
              <a:gd name="T3" fmla="*/ 50402613 h 31"/>
              <a:gd name="T4" fmla="*/ 60483750 w 30"/>
              <a:gd name="T5" fmla="*/ 40322090 h 31"/>
              <a:gd name="T6" fmla="*/ 27722513 w 30"/>
              <a:gd name="T7" fmla="*/ 78124844 h 31"/>
              <a:gd name="T8" fmla="*/ 0 w 30"/>
              <a:gd name="T9" fmla="*/ 55442874 h 31"/>
              <a:gd name="T10" fmla="*/ 32762825 w 30"/>
              <a:gd name="T11" fmla="*/ 17641708 h 31"/>
              <a:gd name="T12" fmla="*/ 17641888 w 30"/>
              <a:gd name="T13" fmla="*/ 7561186 h 31"/>
              <a:gd name="T14" fmla="*/ 68045013 w 30"/>
              <a:gd name="T15" fmla="*/ 0 h 3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0" h="31">
                <a:moveTo>
                  <a:pt x="27" y="0"/>
                </a:moveTo>
                <a:lnTo>
                  <a:pt x="30" y="20"/>
                </a:lnTo>
                <a:lnTo>
                  <a:pt x="24" y="16"/>
                </a:lnTo>
                <a:lnTo>
                  <a:pt x="11" y="31"/>
                </a:lnTo>
                <a:lnTo>
                  <a:pt x="0" y="22"/>
                </a:lnTo>
                <a:lnTo>
                  <a:pt x="13" y="7"/>
                </a:lnTo>
                <a:lnTo>
                  <a:pt x="7" y="3"/>
                </a:lnTo>
                <a:lnTo>
                  <a:pt x="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6" name="Freeform 65"/>
          <p:cNvSpPr>
            <a:spLocks/>
          </p:cNvSpPr>
          <p:nvPr/>
        </p:nvSpPr>
        <p:spPr bwMode="auto">
          <a:xfrm>
            <a:off x="6502401" y="3858684"/>
            <a:ext cx="63500" cy="65616"/>
          </a:xfrm>
          <a:custGeom>
            <a:avLst/>
            <a:gdLst>
              <a:gd name="T0" fmla="*/ 68045013 w 30"/>
              <a:gd name="T1" fmla="*/ 0 h 31"/>
              <a:gd name="T2" fmla="*/ 75604688 w 30"/>
              <a:gd name="T3" fmla="*/ 50402613 h 31"/>
              <a:gd name="T4" fmla="*/ 60483750 w 30"/>
              <a:gd name="T5" fmla="*/ 40322090 h 31"/>
              <a:gd name="T6" fmla="*/ 27722513 w 30"/>
              <a:gd name="T7" fmla="*/ 78124844 h 31"/>
              <a:gd name="T8" fmla="*/ 0 w 30"/>
              <a:gd name="T9" fmla="*/ 55442874 h 31"/>
              <a:gd name="T10" fmla="*/ 32762825 w 30"/>
              <a:gd name="T11" fmla="*/ 17641708 h 31"/>
              <a:gd name="T12" fmla="*/ 17641888 w 30"/>
              <a:gd name="T13" fmla="*/ 7561186 h 31"/>
              <a:gd name="T14" fmla="*/ 68045013 w 30"/>
              <a:gd name="T15" fmla="*/ 0 h 3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0" h="31">
                <a:moveTo>
                  <a:pt x="27" y="0"/>
                </a:moveTo>
                <a:lnTo>
                  <a:pt x="30" y="20"/>
                </a:lnTo>
                <a:lnTo>
                  <a:pt x="24" y="16"/>
                </a:lnTo>
                <a:lnTo>
                  <a:pt x="11" y="31"/>
                </a:lnTo>
                <a:lnTo>
                  <a:pt x="0" y="22"/>
                </a:lnTo>
                <a:lnTo>
                  <a:pt x="13" y="7"/>
                </a:lnTo>
                <a:lnTo>
                  <a:pt x="7" y="3"/>
                </a:lnTo>
                <a:lnTo>
                  <a:pt x="27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7" name="Freeform 66"/>
          <p:cNvSpPr>
            <a:spLocks/>
          </p:cNvSpPr>
          <p:nvPr/>
        </p:nvSpPr>
        <p:spPr bwMode="auto">
          <a:xfrm>
            <a:off x="7230533" y="3862917"/>
            <a:ext cx="213784" cy="135467"/>
          </a:xfrm>
          <a:custGeom>
            <a:avLst/>
            <a:gdLst>
              <a:gd name="T0" fmla="*/ 362088370 w 71"/>
              <a:gd name="T1" fmla="*/ 219194098 h 45"/>
              <a:gd name="T2" fmla="*/ 356989170 w 71"/>
              <a:gd name="T3" fmla="*/ 229390222 h 45"/>
              <a:gd name="T4" fmla="*/ 5099200 w 71"/>
              <a:gd name="T5" fmla="*/ 229390222 h 45"/>
              <a:gd name="T6" fmla="*/ 0 w 71"/>
              <a:gd name="T7" fmla="*/ 219194098 h 45"/>
              <a:gd name="T8" fmla="*/ 0 w 71"/>
              <a:gd name="T9" fmla="*/ 5098062 h 45"/>
              <a:gd name="T10" fmla="*/ 5099200 w 71"/>
              <a:gd name="T11" fmla="*/ 0 h 45"/>
              <a:gd name="T12" fmla="*/ 356989170 w 71"/>
              <a:gd name="T13" fmla="*/ 0 h 45"/>
              <a:gd name="T14" fmla="*/ 362088370 w 71"/>
              <a:gd name="T15" fmla="*/ 5098062 h 45"/>
              <a:gd name="T16" fmla="*/ 362088370 w 71"/>
              <a:gd name="T17" fmla="*/ 219194098 h 4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1" h="45">
                <a:moveTo>
                  <a:pt x="71" y="43"/>
                </a:moveTo>
                <a:cubicBezTo>
                  <a:pt x="71" y="44"/>
                  <a:pt x="71" y="45"/>
                  <a:pt x="70" y="45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5"/>
                  <a:pt x="0" y="44"/>
                  <a:pt x="0" y="43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1" y="0"/>
                  <a:pt x="1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71" y="0"/>
                  <a:pt x="71" y="0"/>
                  <a:pt x="71" y="1"/>
                </a:cubicBezTo>
                <a:lnTo>
                  <a:pt x="71" y="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8" name="Line 67"/>
          <p:cNvSpPr>
            <a:spLocks noChangeShapeType="1"/>
          </p:cNvSpPr>
          <p:nvPr/>
        </p:nvSpPr>
        <p:spPr bwMode="auto">
          <a:xfrm>
            <a:off x="7524751" y="414231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09" name="Line 68"/>
          <p:cNvSpPr>
            <a:spLocks noChangeShapeType="1"/>
          </p:cNvSpPr>
          <p:nvPr/>
        </p:nvSpPr>
        <p:spPr bwMode="auto">
          <a:xfrm>
            <a:off x="7524751" y="414231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0" name="Freeform 69"/>
          <p:cNvSpPr>
            <a:spLocks/>
          </p:cNvSpPr>
          <p:nvPr/>
        </p:nvSpPr>
        <p:spPr bwMode="auto">
          <a:xfrm>
            <a:off x="7387167" y="3795185"/>
            <a:ext cx="433917" cy="512233"/>
          </a:xfrm>
          <a:custGeom>
            <a:avLst/>
            <a:gdLst>
              <a:gd name="T0" fmla="*/ 245161033 w 144"/>
              <a:gd name="T1" fmla="*/ 597511897 h 170"/>
              <a:gd name="T2" fmla="*/ 280914014 w 144"/>
              <a:gd name="T3" fmla="*/ 663901857 h 170"/>
              <a:gd name="T4" fmla="*/ 311559425 w 144"/>
              <a:gd name="T5" fmla="*/ 694543203 h 170"/>
              <a:gd name="T6" fmla="*/ 357527543 w 144"/>
              <a:gd name="T7" fmla="*/ 735399084 h 170"/>
              <a:gd name="T8" fmla="*/ 393280523 w 144"/>
              <a:gd name="T9" fmla="*/ 771147698 h 170"/>
              <a:gd name="T10" fmla="*/ 418818366 w 144"/>
              <a:gd name="T11" fmla="*/ 847752193 h 170"/>
              <a:gd name="T12" fmla="*/ 418818366 w 144"/>
              <a:gd name="T13" fmla="*/ 863071736 h 170"/>
              <a:gd name="T14" fmla="*/ 454571346 w 144"/>
              <a:gd name="T15" fmla="*/ 868179004 h 170"/>
              <a:gd name="T16" fmla="*/ 510754601 w 144"/>
              <a:gd name="T17" fmla="*/ 868179004 h 170"/>
              <a:gd name="T18" fmla="*/ 735485360 w 144"/>
              <a:gd name="T19" fmla="*/ 868179004 h 170"/>
              <a:gd name="T20" fmla="*/ 720162654 w 144"/>
              <a:gd name="T21" fmla="*/ 837537658 h 170"/>
              <a:gd name="T22" fmla="*/ 699732380 w 144"/>
              <a:gd name="T23" fmla="*/ 796681776 h 170"/>
              <a:gd name="T24" fmla="*/ 689517243 w 144"/>
              <a:gd name="T25" fmla="*/ 771147698 h 170"/>
              <a:gd name="T26" fmla="*/ 674194537 w 144"/>
              <a:gd name="T27" fmla="*/ 730291817 h 170"/>
              <a:gd name="T28" fmla="*/ 669086968 w 144"/>
              <a:gd name="T29" fmla="*/ 699650471 h 170"/>
              <a:gd name="T30" fmla="*/ 663979399 w 144"/>
              <a:gd name="T31" fmla="*/ 633260511 h 170"/>
              <a:gd name="T32" fmla="*/ 658871831 w 144"/>
              <a:gd name="T33" fmla="*/ 505585599 h 170"/>
              <a:gd name="T34" fmla="*/ 633333988 w 144"/>
              <a:gd name="T35" fmla="*/ 377912948 h 170"/>
              <a:gd name="T36" fmla="*/ 638441556 w 144"/>
              <a:gd name="T37" fmla="*/ 275774374 h 170"/>
              <a:gd name="T38" fmla="*/ 602688576 w 144"/>
              <a:gd name="T39" fmla="*/ 229811225 h 170"/>
              <a:gd name="T40" fmla="*/ 587365870 w 144"/>
              <a:gd name="T41" fmla="*/ 219598950 h 170"/>
              <a:gd name="T42" fmla="*/ 561828027 w 144"/>
              <a:gd name="T43" fmla="*/ 204277147 h 170"/>
              <a:gd name="T44" fmla="*/ 500539464 w 144"/>
              <a:gd name="T45" fmla="*/ 158313998 h 170"/>
              <a:gd name="T46" fmla="*/ 434141072 w 144"/>
              <a:gd name="T47" fmla="*/ 91924038 h 170"/>
              <a:gd name="T48" fmla="*/ 413710798 w 144"/>
              <a:gd name="T49" fmla="*/ 61282692 h 170"/>
              <a:gd name="T50" fmla="*/ 321774563 w 144"/>
              <a:gd name="T51" fmla="*/ 15321803 h 170"/>
              <a:gd name="T52" fmla="*/ 270698876 w 144"/>
              <a:gd name="T53" fmla="*/ 15321803 h 170"/>
              <a:gd name="T54" fmla="*/ 168549764 w 144"/>
              <a:gd name="T55" fmla="*/ 0 h 170"/>
              <a:gd name="T56" fmla="*/ 127689215 w 144"/>
              <a:gd name="T57" fmla="*/ 15321803 h 170"/>
              <a:gd name="T58" fmla="*/ 71505961 w 144"/>
              <a:gd name="T59" fmla="*/ 35748614 h 170"/>
              <a:gd name="T60" fmla="*/ 66398392 w 144"/>
              <a:gd name="T61" fmla="*/ 91924038 h 170"/>
              <a:gd name="T62" fmla="*/ 132796784 w 144"/>
              <a:gd name="T63" fmla="*/ 107245841 h 170"/>
              <a:gd name="T64" fmla="*/ 173657333 w 144"/>
              <a:gd name="T65" fmla="*/ 122565384 h 170"/>
              <a:gd name="T66" fmla="*/ 194085347 w 144"/>
              <a:gd name="T67" fmla="*/ 142994455 h 170"/>
              <a:gd name="T68" fmla="*/ 255376171 w 144"/>
              <a:gd name="T69" fmla="*/ 209384414 h 170"/>
              <a:gd name="T70" fmla="*/ 296236719 w 144"/>
              <a:gd name="T71" fmla="*/ 250240296 h 170"/>
              <a:gd name="T72" fmla="*/ 331989700 w 144"/>
              <a:gd name="T73" fmla="*/ 331949799 h 170"/>
              <a:gd name="T74" fmla="*/ 280914014 w 144"/>
              <a:gd name="T75" fmla="*/ 444302907 h 170"/>
              <a:gd name="T76" fmla="*/ 204300484 w 144"/>
              <a:gd name="T77" fmla="*/ 423876096 h 170"/>
              <a:gd name="T78" fmla="*/ 132796784 w 144"/>
              <a:gd name="T79" fmla="*/ 377912948 h 170"/>
              <a:gd name="T80" fmla="*/ 20430274 w 144"/>
              <a:gd name="T81" fmla="*/ 362593404 h 170"/>
              <a:gd name="T82" fmla="*/ 15322706 w 144"/>
              <a:gd name="T83" fmla="*/ 408554294 h 170"/>
              <a:gd name="T84" fmla="*/ 56183255 w 144"/>
              <a:gd name="T85" fmla="*/ 439195640 h 170"/>
              <a:gd name="T86" fmla="*/ 137904353 w 144"/>
              <a:gd name="T87" fmla="*/ 515800135 h 170"/>
              <a:gd name="T88" fmla="*/ 188977779 w 144"/>
              <a:gd name="T89" fmla="*/ 546441481 h 170"/>
              <a:gd name="T90" fmla="*/ 234945896 w 144"/>
              <a:gd name="T91" fmla="*/ 587297362 h 17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44" h="170">
                <a:moveTo>
                  <a:pt x="48" y="117"/>
                </a:moveTo>
                <a:cubicBezTo>
                  <a:pt x="50" y="121"/>
                  <a:pt x="52" y="127"/>
                  <a:pt x="55" y="130"/>
                </a:cubicBezTo>
                <a:cubicBezTo>
                  <a:pt x="57" y="132"/>
                  <a:pt x="59" y="134"/>
                  <a:pt x="61" y="136"/>
                </a:cubicBezTo>
                <a:cubicBezTo>
                  <a:pt x="64" y="139"/>
                  <a:pt x="67" y="141"/>
                  <a:pt x="70" y="144"/>
                </a:cubicBezTo>
                <a:cubicBezTo>
                  <a:pt x="73" y="146"/>
                  <a:pt x="75" y="148"/>
                  <a:pt x="77" y="151"/>
                </a:cubicBezTo>
                <a:cubicBezTo>
                  <a:pt x="79" y="156"/>
                  <a:pt x="81" y="161"/>
                  <a:pt x="82" y="166"/>
                </a:cubicBezTo>
                <a:cubicBezTo>
                  <a:pt x="82" y="167"/>
                  <a:pt x="82" y="168"/>
                  <a:pt x="82" y="169"/>
                </a:cubicBezTo>
                <a:cubicBezTo>
                  <a:pt x="82" y="170"/>
                  <a:pt x="88" y="170"/>
                  <a:pt x="89" y="170"/>
                </a:cubicBezTo>
                <a:cubicBezTo>
                  <a:pt x="93" y="170"/>
                  <a:pt x="96" y="170"/>
                  <a:pt x="100" y="170"/>
                </a:cubicBezTo>
                <a:cubicBezTo>
                  <a:pt x="114" y="170"/>
                  <a:pt x="129" y="170"/>
                  <a:pt x="144" y="170"/>
                </a:cubicBezTo>
                <a:cubicBezTo>
                  <a:pt x="143" y="168"/>
                  <a:pt x="142" y="166"/>
                  <a:pt x="141" y="164"/>
                </a:cubicBezTo>
                <a:cubicBezTo>
                  <a:pt x="139" y="162"/>
                  <a:pt x="138" y="159"/>
                  <a:pt x="137" y="156"/>
                </a:cubicBezTo>
                <a:cubicBezTo>
                  <a:pt x="136" y="155"/>
                  <a:pt x="135" y="153"/>
                  <a:pt x="135" y="151"/>
                </a:cubicBezTo>
                <a:cubicBezTo>
                  <a:pt x="134" y="148"/>
                  <a:pt x="134" y="146"/>
                  <a:pt x="132" y="143"/>
                </a:cubicBezTo>
                <a:cubicBezTo>
                  <a:pt x="131" y="142"/>
                  <a:pt x="132" y="139"/>
                  <a:pt x="131" y="137"/>
                </a:cubicBezTo>
                <a:cubicBezTo>
                  <a:pt x="129" y="133"/>
                  <a:pt x="130" y="128"/>
                  <a:pt x="130" y="124"/>
                </a:cubicBezTo>
                <a:cubicBezTo>
                  <a:pt x="130" y="116"/>
                  <a:pt x="130" y="108"/>
                  <a:pt x="129" y="99"/>
                </a:cubicBezTo>
                <a:cubicBezTo>
                  <a:pt x="128" y="91"/>
                  <a:pt x="124" y="82"/>
                  <a:pt x="124" y="74"/>
                </a:cubicBezTo>
                <a:cubicBezTo>
                  <a:pt x="125" y="67"/>
                  <a:pt x="126" y="60"/>
                  <a:pt x="125" y="54"/>
                </a:cubicBezTo>
                <a:cubicBezTo>
                  <a:pt x="124" y="51"/>
                  <a:pt x="121" y="48"/>
                  <a:pt x="118" y="45"/>
                </a:cubicBezTo>
                <a:cubicBezTo>
                  <a:pt x="117" y="44"/>
                  <a:pt x="116" y="44"/>
                  <a:pt x="115" y="43"/>
                </a:cubicBezTo>
                <a:cubicBezTo>
                  <a:pt x="114" y="42"/>
                  <a:pt x="111" y="40"/>
                  <a:pt x="110" y="40"/>
                </a:cubicBezTo>
                <a:cubicBezTo>
                  <a:pt x="106" y="38"/>
                  <a:pt x="98" y="31"/>
                  <a:pt x="98" y="31"/>
                </a:cubicBezTo>
                <a:cubicBezTo>
                  <a:pt x="93" y="27"/>
                  <a:pt x="90" y="22"/>
                  <a:pt x="85" y="18"/>
                </a:cubicBezTo>
                <a:cubicBezTo>
                  <a:pt x="84" y="17"/>
                  <a:pt x="82" y="14"/>
                  <a:pt x="81" y="12"/>
                </a:cubicBezTo>
                <a:cubicBezTo>
                  <a:pt x="76" y="7"/>
                  <a:pt x="70" y="3"/>
                  <a:pt x="63" y="3"/>
                </a:cubicBezTo>
                <a:cubicBezTo>
                  <a:pt x="59" y="3"/>
                  <a:pt x="56" y="3"/>
                  <a:pt x="53" y="3"/>
                </a:cubicBezTo>
                <a:cubicBezTo>
                  <a:pt x="46" y="2"/>
                  <a:pt x="39" y="0"/>
                  <a:pt x="33" y="0"/>
                </a:cubicBezTo>
                <a:cubicBezTo>
                  <a:pt x="30" y="0"/>
                  <a:pt x="28" y="1"/>
                  <a:pt x="25" y="3"/>
                </a:cubicBezTo>
                <a:cubicBezTo>
                  <a:pt x="22" y="5"/>
                  <a:pt x="17" y="6"/>
                  <a:pt x="14" y="7"/>
                </a:cubicBezTo>
                <a:cubicBezTo>
                  <a:pt x="9" y="9"/>
                  <a:pt x="9" y="15"/>
                  <a:pt x="13" y="18"/>
                </a:cubicBezTo>
                <a:cubicBezTo>
                  <a:pt x="16" y="21"/>
                  <a:pt x="22" y="21"/>
                  <a:pt x="26" y="21"/>
                </a:cubicBezTo>
                <a:cubicBezTo>
                  <a:pt x="29" y="22"/>
                  <a:pt x="31" y="22"/>
                  <a:pt x="34" y="24"/>
                </a:cubicBezTo>
                <a:cubicBezTo>
                  <a:pt x="35" y="25"/>
                  <a:pt x="36" y="27"/>
                  <a:pt x="38" y="28"/>
                </a:cubicBezTo>
                <a:cubicBezTo>
                  <a:pt x="43" y="31"/>
                  <a:pt x="46" y="37"/>
                  <a:pt x="50" y="41"/>
                </a:cubicBezTo>
                <a:cubicBezTo>
                  <a:pt x="52" y="44"/>
                  <a:pt x="55" y="46"/>
                  <a:pt x="58" y="49"/>
                </a:cubicBezTo>
                <a:cubicBezTo>
                  <a:pt x="62" y="53"/>
                  <a:pt x="64" y="59"/>
                  <a:pt x="65" y="65"/>
                </a:cubicBezTo>
                <a:cubicBezTo>
                  <a:pt x="66" y="73"/>
                  <a:pt x="65" y="83"/>
                  <a:pt x="55" y="87"/>
                </a:cubicBezTo>
                <a:cubicBezTo>
                  <a:pt x="50" y="88"/>
                  <a:pt x="44" y="87"/>
                  <a:pt x="40" y="83"/>
                </a:cubicBezTo>
                <a:cubicBezTo>
                  <a:pt x="36" y="80"/>
                  <a:pt x="31" y="78"/>
                  <a:pt x="26" y="74"/>
                </a:cubicBezTo>
                <a:cubicBezTo>
                  <a:pt x="20" y="70"/>
                  <a:pt x="11" y="64"/>
                  <a:pt x="4" y="71"/>
                </a:cubicBezTo>
                <a:cubicBezTo>
                  <a:pt x="2" y="73"/>
                  <a:pt x="0" y="78"/>
                  <a:pt x="3" y="80"/>
                </a:cubicBezTo>
                <a:cubicBezTo>
                  <a:pt x="6" y="82"/>
                  <a:pt x="9" y="84"/>
                  <a:pt x="11" y="86"/>
                </a:cubicBezTo>
                <a:cubicBezTo>
                  <a:pt x="17" y="90"/>
                  <a:pt x="21" y="97"/>
                  <a:pt x="27" y="101"/>
                </a:cubicBezTo>
                <a:cubicBezTo>
                  <a:pt x="31" y="103"/>
                  <a:pt x="34" y="105"/>
                  <a:pt x="37" y="107"/>
                </a:cubicBezTo>
                <a:cubicBezTo>
                  <a:pt x="40" y="110"/>
                  <a:pt x="43" y="112"/>
                  <a:pt x="46" y="11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1" name="Freeform 70"/>
          <p:cNvSpPr>
            <a:spLocks/>
          </p:cNvSpPr>
          <p:nvPr/>
        </p:nvSpPr>
        <p:spPr bwMode="auto">
          <a:xfrm>
            <a:off x="8191501" y="3746500"/>
            <a:ext cx="378884" cy="560917"/>
          </a:xfrm>
          <a:custGeom>
            <a:avLst/>
            <a:gdLst>
              <a:gd name="T0" fmla="*/ 483189863 w 126"/>
              <a:gd name="T1" fmla="*/ 419477957 h 186"/>
              <a:gd name="T2" fmla="*/ 483189863 w 126"/>
              <a:gd name="T3" fmla="*/ 419477957 h 186"/>
              <a:gd name="T4" fmla="*/ 462845145 w 126"/>
              <a:gd name="T5" fmla="*/ 414361848 h 186"/>
              <a:gd name="T6" fmla="*/ 452671659 w 126"/>
              <a:gd name="T7" fmla="*/ 388783565 h 186"/>
              <a:gd name="T8" fmla="*/ 442500428 w 126"/>
              <a:gd name="T9" fmla="*/ 378551347 h 186"/>
              <a:gd name="T10" fmla="*/ 381466275 w 126"/>
              <a:gd name="T11" fmla="*/ 337626999 h 186"/>
              <a:gd name="T12" fmla="*/ 356033686 w 126"/>
              <a:gd name="T13" fmla="*/ 337626999 h 186"/>
              <a:gd name="T14" fmla="*/ 356033686 w 126"/>
              <a:gd name="T15" fmla="*/ 337626999 h 186"/>
              <a:gd name="T16" fmla="*/ 356033686 w 126"/>
              <a:gd name="T17" fmla="*/ 332513152 h 186"/>
              <a:gd name="T18" fmla="*/ 330603353 w 126"/>
              <a:gd name="T19" fmla="*/ 46040457 h 186"/>
              <a:gd name="T20" fmla="*/ 289913918 w 126"/>
              <a:gd name="T21" fmla="*/ 5116109 h 186"/>
              <a:gd name="T22" fmla="*/ 249224483 w 126"/>
              <a:gd name="T23" fmla="*/ 46040457 h 186"/>
              <a:gd name="T24" fmla="*/ 254310098 w 126"/>
              <a:gd name="T25" fmla="*/ 445053978 h 186"/>
              <a:gd name="T26" fmla="*/ 254310098 w 126"/>
              <a:gd name="T27" fmla="*/ 460402304 h 186"/>
              <a:gd name="T28" fmla="*/ 228879765 w 126"/>
              <a:gd name="T29" fmla="*/ 506442761 h 186"/>
              <a:gd name="T30" fmla="*/ 213620663 w 126"/>
              <a:gd name="T31" fmla="*/ 511556608 h 186"/>
              <a:gd name="T32" fmla="*/ 157672126 w 126"/>
              <a:gd name="T33" fmla="*/ 485980587 h 186"/>
              <a:gd name="T34" fmla="*/ 116982690 w 126"/>
              <a:gd name="T35" fmla="*/ 399015783 h 186"/>
              <a:gd name="T36" fmla="*/ 96637973 w 126"/>
              <a:gd name="T37" fmla="*/ 358089173 h 186"/>
              <a:gd name="T38" fmla="*/ 15259102 w 126"/>
              <a:gd name="T39" fmla="*/ 322280934 h 186"/>
              <a:gd name="T40" fmla="*/ 5085616 w 126"/>
              <a:gd name="T41" fmla="*/ 358089173 h 186"/>
              <a:gd name="T42" fmla="*/ 25430333 w 126"/>
              <a:gd name="T43" fmla="*/ 404129630 h 186"/>
              <a:gd name="T44" fmla="*/ 35603820 w 126"/>
              <a:gd name="T45" fmla="*/ 445053978 h 186"/>
              <a:gd name="T46" fmla="*/ 40689435 w 126"/>
              <a:gd name="T47" fmla="*/ 485980587 h 186"/>
              <a:gd name="T48" fmla="*/ 50862922 w 126"/>
              <a:gd name="T49" fmla="*/ 516672717 h 186"/>
              <a:gd name="T50" fmla="*/ 76293255 w 126"/>
              <a:gd name="T51" fmla="*/ 583175347 h 186"/>
              <a:gd name="T52" fmla="*/ 116982690 w 126"/>
              <a:gd name="T53" fmla="*/ 700834543 h 186"/>
              <a:gd name="T54" fmla="*/ 208535047 w 126"/>
              <a:gd name="T55" fmla="*/ 818491478 h 186"/>
              <a:gd name="T56" fmla="*/ 239050996 w 126"/>
              <a:gd name="T57" fmla="*/ 864531934 h 186"/>
              <a:gd name="T58" fmla="*/ 239050996 w 126"/>
              <a:gd name="T59" fmla="*/ 946380630 h 186"/>
              <a:gd name="T60" fmla="*/ 569654349 w 126"/>
              <a:gd name="T61" fmla="*/ 946380630 h 186"/>
              <a:gd name="T62" fmla="*/ 569654349 w 126"/>
              <a:gd name="T63" fmla="*/ 874764152 h 186"/>
              <a:gd name="T64" fmla="*/ 569654349 w 126"/>
              <a:gd name="T65" fmla="*/ 874764152 h 186"/>
              <a:gd name="T66" fmla="*/ 589999067 w 126"/>
              <a:gd name="T67" fmla="*/ 823607586 h 186"/>
              <a:gd name="T68" fmla="*/ 605258169 w 126"/>
              <a:gd name="T69" fmla="*/ 782683239 h 186"/>
              <a:gd name="T70" fmla="*/ 630688502 w 126"/>
              <a:gd name="T71" fmla="*/ 670140152 h 186"/>
              <a:gd name="T72" fmla="*/ 635776373 w 126"/>
              <a:gd name="T73" fmla="*/ 649677978 h 186"/>
              <a:gd name="T74" fmla="*/ 595086938 w 126"/>
              <a:gd name="T75" fmla="*/ 557597065 h 186"/>
              <a:gd name="T76" fmla="*/ 595086938 w 126"/>
              <a:gd name="T77" fmla="*/ 552480956 h 186"/>
              <a:gd name="T78" fmla="*/ 559483118 w 126"/>
              <a:gd name="T79" fmla="*/ 480864478 h 186"/>
              <a:gd name="T80" fmla="*/ 483189863 w 126"/>
              <a:gd name="T81" fmla="*/ 419477957 h 18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26" h="186">
                <a:moveTo>
                  <a:pt x="95" y="82"/>
                </a:moveTo>
                <a:cubicBezTo>
                  <a:pt x="95" y="82"/>
                  <a:pt x="95" y="82"/>
                  <a:pt x="95" y="82"/>
                </a:cubicBezTo>
                <a:cubicBezTo>
                  <a:pt x="91" y="81"/>
                  <a:pt x="91" y="81"/>
                  <a:pt x="91" y="81"/>
                </a:cubicBezTo>
                <a:cubicBezTo>
                  <a:pt x="89" y="76"/>
                  <a:pt x="89" y="76"/>
                  <a:pt x="89" y="76"/>
                </a:cubicBezTo>
                <a:cubicBezTo>
                  <a:pt x="88" y="75"/>
                  <a:pt x="88" y="74"/>
                  <a:pt x="87" y="74"/>
                </a:cubicBezTo>
                <a:cubicBezTo>
                  <a:pt x="84" y="69"/>
                  <a:pt x="80" y="67"/>
                  <a:pt x="75" y="66"/>
                </a:cubicBezTo>
                <a:cubicBezTo>
                  <a:pt x="70" y="66"/>
                  <a:pt x="70" y="66"/>
                  <a:pt x="70" y="66"/>
                </a:cubicBezTo>
                <a:cubicBezTo>
                  <a:pt x="70" y="66"/>
                  <a:pt x="70" y="66"/>
                  <a:pt x="70" y="66"/>
                </a:cubicBezTo>
                <a:cubicBezTo>
                  <a:pt x="70" y="65"/>
                  <a:pt x="70" y="65"/>
                  <a:pt x="70" y="65"/>
                </a:cubicBezTo>
                <a:cubicBezTo>
                  <a:pt x="65" y="9"/>
                  <a:pt x="65" y="9"/>
                  <a:pt x="65" y="9"/>
                </a:cubicBezTo>
                <a:cubicBezTo>
                  <a:pt x="64" y="1"/>
                  <a:pt x="61" y="1"/>
                  <a:pt x="57" y="1"/>
                </a:cubicBezTo>
                <a:cubicBezTo>
                  <a:pt x="57" y="1"/>
                  <a:pt x="49" y="0"/>
                  <a:pt x="49" y="9"/>
                </a:cubicBezTo>
                <a:cubicBezTo>
                  <a:pt x="50" y="87"/>
                  <a:pt x="50" y="87"/>
                  <a:pt x="50" y="87"/>
                </a:cubicBezTo>
                <a:cubicBezTo>
                  <a:pt x="50" y="88"/>
                  <a:pt x="50" y="89"/>
                  <a:pt x="50" y="90"/>
                </a:cubicBezTo>
                <a:cubicBezTo>
                  <a:pt x="49" y="93"/>
                  <a:pt x="47" y="96"/>
                  <a:pt x="45" y="99"/>
                </a:cubicBezTo>
                <a:cubicBezTo>
                  <a:pt x="44" y="99"/>
                  <a:pt x="43" y="100"/>
                  <a:pt x="42" y="100"/>
                </a:cubicBezTo>
                <a:cubicBezTo>
                  <a:pt x="38" y="100"/>
                  <a:pt x="34" y="98"/>
                  <a:pt x="31" y="95"/>
                </a:cubicBezTo>
                <a:cubicBezTo>
                  <a:pt x="27" y="91"/>
                  <a:pt x="25" y="83"/>
                  <a:pt x="23" y="78"/>
                </a:cubicBezTo>
                <a:cubicBezTo>
                  <a:pt x="22" y="76"/>
                  <a:pt x="21" y="72"/>
                  <a:pt x="19" y="70"/>
                </a:cubicBezTo>
                <a:cubicBezTo>
                  <a:pt x="16" y="65"/>
                  <a:pt x="9" y="60"/>
                  <a:pt x="3" y="63"/>
                </a:cubicBezTo>
                <a:cubicBezTo>
                  <a:pt x="2" y="64"/>
                  <a:pt x="0" y="68"/>
                  <a:pt x="1" y="70"/>
                </a:cubicBezTo>
                <a:cubicBezTo>
                  <a:pt x="2" y="73"/>
                  <a:pt x="4" y="76"/>
                  <a:pt x="5" y="79"/>
                </a:cubicBezTo>
                <a:cubicBezTo>
                  <a:pt x="6" y="81"/>
                  <a:pt x="6" y="84"/>
                  <a:pt x="7" y="87"/>
                </a:cubicBezTo>
                <a:cubicBezTo>
                  <a:pt x="7" y="89"/>
                  <a:pt x="7" y="93"/>
                  <a:pt x="8" y="95"/>
                </a:cubicBezTo>
                <a:cubicBezTo>
                  <a:pt x="9" y="96"/>
                  <a:pt x="9" y="99"/>
                  <a:pt x="10" y="101"/>
                </a:cubicBezTo>
                <a:cubicBezTo>
                  <a:pt x="12" y="105"/>
                  <a:pt x="14" y="110"/>
                  <a:pt x="15" y="114"/>
                </a:cubicBezTo>
                <a:cubicBezTo>
                  <a:pt x="18" y="121"/>
                  <a:pt x="19" y="130"/>
                  <a:pt x="23" y="137"/>
                </a:cubicBezTo>
                <a:cubicBezTo>
                  <a:pt x="28" y="146"/>
                  <a:pt x="33" y="154"/>
                  <a:pt x="41" y="160"/>
                </a:cubicBezTo>
                <a:cubicBezTo>
                  <a:pt x="44" y="163"/>
                  <a:pt x="46" y="166"/>
                  <a:pt x="47" y="169"/>
                </a:cubicBezTo>
                <a:cubicBezTo>
                  <a:pt x="47" y="185"/>
                  <a:pt x="47" y="185"/>
                  <a:pt x="47" y="185"/>
                </a:cubicBezTo>
                <a:cubicBezTo>
                  <a:pt x="59" y="185"/>
                  <a:pt x="107" y="186"/>
                  <a:pt x="112" y="18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13" y="168"/>
                  <a:pt x="115" y="165"/>
                  <a:pt x="116" y="161"/>
                </a:cubicBezTo>
                <a:cubicBezTo>
                  <a:pt x="118" y="159"/>
                  <a:pt x="118" y="156"/>
                  <a:pt x="119" y="153"/>
                </a:cubicBezTo>
                <a:cubicBezTo>
                  <a:pt x="121" y="146"/>
                  <a:pt x="122" y="138"/>
                  <a:pt x="124" y="131"/>
                </a:cubicBezTo>
                <a:cubicBezTo>
                  <a:pt x="124" y="130"/>
                  <a:pt x="125" y="128"/>
                  <a:pt x="125" y="127"/>
                </a:cubicBezTo>
                <a:cubicBezTo>
                  <a:pt x="126" y="123"/>
                  <a:pt x="126" y="111"/>
                  <a:pt x="117" y="109"/>
                </a:cubicBezTo>
                <a:cubicBezTo>
                  <a:pt x="117" y="109"/>
                  <a:pt x="117" y="108"/>
                  <a:pt x="117" y="108"/>
                </a:cubicBezTo>
                <a:cubicBezTo>
                  <a:pt x="115" y="103"/>
                  <a:pt x="113" y="98"/>
                  <a:pt x="110" y="94"/>
                </a:cubicBezTo>
                <a:cubicBezTo>
                  <a:pt x="107" y="89"/>
                  <a:pt x="101" y="84"/>
                  <a:pt x="95" y="8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2" name="Freeform 71"/>
          <p:cNvSpPr>
            <a:spLocks/>
          </p:cNvSpPr>
          <p:nvPr/>
        </p:nvSpPr>
        <p:spPr bwMode="auto">
          <a:xfrm>
            <a:off x="9112251" y="3721100"/>
            <a:ext cx="173567" cy="171451"/>
          </a:xfrm>
          <a:custGeom>
            <a:avLst/>
            <a:gdLst>
              <a:gd name="T0" fmla="*/ 251866181 w 58"/>
              <a:gd name="T1" fmla="*/ 40712766 h 57"/>
              <a:gd name="T2" fmla="*/ 146083283 w 58"/>
              <a:gd name="T3" fmla="*/ 0 h 57"/>
              <a:gd name="T4" fmla="*/ 45336810 w 58"/>
              <a:gd name="T5" fmla="*/ 40712766 h 57"/>
              <a:gd name="T6" fmla="*/ 0 w 58"/>
              <a:gd name="T7" fmla="*/ 147587441 h 57"/>
              <a:gd name="T8" fmla="*/ 45336810 w 58"/>
              <a:gd name="T9" fmla="*/ 249372739 h 57"/>
              <a:gd name="T10" fmla="*/ 120896665 w 58"/>
              <a:gd name="T11" fmla="*/ 290085504 h 57"/>
              <a:gd name="T12" fmla="*/ 115857994 w 58"/>
              <a:gd name="T13" fmla="*/ 254459860 h 57"/>
              <a:gd name="T14" fmla="*/ 65484758 w 58"/>
              <a:gd name="T15" fmla="*/ 223925850 h 57"/>
              <a:gd name="T16" fmla="*/ 35261714 w 58"/>
              <a:gd name="T17" fmla="*/ 147587441 h 57"/>
              <a:gd name="T18" fmla="*/ 65484758 w 58"/>
              <a:gd name="T19" fmla="*/ 66159654 h 57"/>
              <a:gd name="T20" fmla="*/ 65484758 w 58"/>
              <a:gd name="T21" fmla="*/ 66159654 h 57"/>
              <a:gd name="T22" fmla="*/ 146083283 w 58"/>
              <a:gd name="T23" fmla="*/ 30536266 h 57"/>
              <a:gd name="T24" fmla="*/ 226679563 w 58"/>
              <a:gd name="T25" fmla="*/ 66159654 h 57"/>
              <a:gd name="T26" fmla="*/ 256902607 w 58"/>
              <a:gd name="T27" fmla="*/ 147587441 h 57"/>
              <a:gd name="T28" fmla="*/ 226679563 w 58"/>
              <a:gd name="T29" fmla="*/ 223925850 h 57"/>
              <a:gd name="T30" fmla="*/ 236754659 w 58"/>
              <a:gd name="T31" fmla="*/ 259549238 h 57"/>
              <a:gd name="T32" fmla="*/ 251866181 w 58"/>
              <a:gd name="T33" fmla="*/ 249372739 h 57"/>
              <a:gd name="T34" fmla="*/ 251866181 w 58"/>
              <a:gd name="T35" fmla="*/ 249372739 h 57"/>
              <a:gd name="T36" fmla="*/ 292164321 w 58"/>
              <a:gd name="T37" fmla="*/ 147587441 h 57"/>
              <a:gd name="T38" fmla="*/ 251866181 w 58"/>
              <a:gd name="T39" fmla="*/ 40712766 h 5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58" h="57">
                <a:moveTo>
                  <a:pt x="50" y="8"/>
                </a:moveTo>
                <a:cubicBezTo>
                  <a:pt x="44" y="2"/>
                  <a:pt x="37" y="0"/>
                  <a:pt x="29" y="0"/>
                </a:cubicBezTo>
                <a:cubicBezTo>
                  <a:pt x="21" y="0"/>
                  <a:pt x="14" y="2"/>
                  <a:pt x="9" y="8"/>
                </a:cubicBezTo>
                <a:cubicBezTo>
                  <a:pt x="3" y="14"/>
                  <a:pt x="0" y="21"/>
                  <a:pt x="0" y="29"/>
                </a:cubicBezTo>
                <a:cubicBezTo>
                  <a:pt x="0" y="37"/>
                  <a:pt x="3" y="43"/>
                  <a:pt x="9" y="49"/>
                </a:cubicBezTo>
                <a:cubicBezTo>
                  <a:pt x="13" y="53"/>
                  <a:pt x="18" y="56"/>
                  <a:pt x="24" y="57"/>
                </a:cubicBezTo>
                <a:cubicBezTo>
                  <a:pt x="24" y="55"/>
                  <a:pt x="23" y="52"/>
                  <a:pt x="23" y="50"/>
                </a:cubicBezTo>
                <a:cubicBezTo>
                  <a:pt x="19" y="49"/>
                  <a:pt x="16" y="47"/>
                  <a:pt x="13" y="44"/>
                </a:cubicBezTo>
                <a:cubicBezTo>
                  <a:pt x="9" y="40"/>
                  <a:pt x="7" y="35"/>
                  <a:pt x="7" y="29"/>
                </a:cubicBezTo>
                <a:cubicBezTo>
                  <a:pt x="7" y="22"/>
                  <a:pt x="9" y="17"/>
                  <a:pt x="13" y="13"/>
                </a:cubicBezTo>
                <a:cubicBezTo>
                  <a:pt x="13" y="13"/>
                  <a:pt x="13" y="13"/>
                  <a:pt x="13" y="13"/>
                </a:cubicBezTo>
                <a:cubicBezTo>
                  <a:pt x="18" y="8"/>
                  <a:pt x="23" y="6"/>
                  <a:pt x="29" y="6"/>
                </a:cubicBezTo>
                <a:cubicBezTo>
                  <a:pt x="35" y="6"/>
                  <a:pt x="40" y="8"/>
                  <a:pt x="45" y="13"/>
                </a:cubicBezTo>
                <a:cubicBezTo>
                  <a:pt x="49" y="17"/>
                  <a:pt x="51" y="22"/>
                  <a:pt x="51" y="29"/>
                </a:cubicBezTo>
                <a:cubicBezTo>
                  <a:pt x="51" y="35"/>
                  <a:pt x="49" y="40"/>
                  <a:pt x="45" y="44"/>
                </a:cubicBezTo>
                <a:cubicBezTo>
                  <a:pt x="46" y="47"/>
                  <a:pt x="46" y="49"/>
                  <a:pt x="47" y="51"/>
                </a:cubicBezTo>
                <a:cubicBezTo>
                  <a:pt x="48" y="51"/>
                  <a:pt x="49" y="50"/>
                  <a:pt x="50" y="49"/>
                </a:cubicBezTo>
                <a:cubicBezTo>
                  <a:pt x="50" y="49"/>
                  <a:pt x="50" y="49"/>
                  <a:pt x="50" y="49"/>
                </a:cubicBezTo>
                <a:cubicBezTo>
                  <a:pt x="55" y="43"/>
                  <a:pt x="58" y="37"/>
                  <a:pt x="58" y="29"/>
                </a:cubicBezTo>
                <a:cubicBezTo>
                  <a:pt x="58" y="21"/>
                  <a:pt x="55" y="14"/>
                  <a:pt x="50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3" name="Freeform 72"/>
          <p:cNvSpPr>
            <a:spLocks/>
          </p:cNvSpPr>
          <p:nvPr/>
        </p:nvSpPr>
        <p:spPr bwMode="auto">
          <a:xfrm>
            <a:off x="9057217" y="3757085"/>
            <a:ext cx="404283" cy="554567"/>
          </a:xfrm>
          <a:custGeom>
            <a:avLst/>
            <a:gdLst>
              <a:gd name="T0" fmla="*/ 491536068 w 134"/>
              <a:gd name="T1" fmla="*/ 383227418 h 184"/>
              <a:gd name="T2" fmla="*/ 491536068 w 134"/>
              <a:gd name="T3" fmla="*/ 378116513 h 184"/>
              <a:gd name="T4" fmla="*/ 471055681 w 134"/>
              <a:gd name="T5" fmla="*/ 378116513 h 184"/>
              <a:gd name="T6" fmla="*/ 455695957 w 134"/>
              <a:gd name="T7" fmla="*/ 352568772 h 184"/>
              <a:gd name="T8" fmla="*/ 445454632 w 134"/>
              <a:gd name="T9" fmla="*/ 342349224 h 184"/>
              <a:gd name="T10" fmla="*/ 373772148 w 134"/>
              <a:gd name="T11" fmla="*/ 316801483 h 184"/>
              <a:gd name="T12" fmla="*/ 353291761 w 134"/>
              <a:gd name="T13" fmla="*/ 321910127 h 184"/>
              <a:gd name="T14" fmla="*/ 348171099 w 134"/>
              <a:gd name="T15" fmla="*/ 321910127 h 184"/>
              <a:gd name="T16" fmla="*/ 348171099 w 134"/>
              <a:gd name="T17" fmla="*/ 321910127 h 184"/>
              <a:gd name="T18" fmla="*/ 276488614 w 134"/>
              <a:gd name="T19" fmla="*/ 35767290 h 184"/>
              <a:gd name="T20" fmla="*/ 225286516 w 134"/>
              <a:gd name="T21" fmla="*/ 5108644 h 184"/>
              <a:gd name="T22" fmla="*/ 194567067 w 134"/>
              <a:gd name="T23" fmla="*/ 51097743 h 184"/>
              <a:gd name="T24" fmla="*/ 271370214 w 134"/>
              <a:gd name="T25" fmla="*/ 449653353 h 184"/>
              <a:gd name="T26" fmla="*/ 271370214 w 134"/>
              <a:gd name="T27" fmla="*/ 459872901 h 184"/>
              <a:gd name="T28" fmla="*/ 250887565 w 134"/>
              <a:gd name="T29" fmla="*/ 510968383 h 184"/>
              <a:gd name="T30" fmla="*/ 240648503 w 134"/>
              <a:gd name="T31" fmla="*/ 516079288 h 184"/>
              <a:gd name="T32" fmla="*/ 179205080 w 134"/>
              <a:gd name="T33" fmla="*/ 500748835 h 184"/>
              <a:gd name="T34" fmla="*/ 128005245 w 134"/>
              <a:gd name="T35" fmla="*/ 424103351 h 184"/>
              <a:gd name="T36" fmla="*/ 97283534 w 134"/>
              <a:gd name="T37" fmla="*/ 383227418 h 184"/>
              <a:gd name="T38" fmla="*/ 15359724 w 134"/>
              <a:gd name="T39" fmla="*/ 367896965 h 184"/>
              <a:gd name="T40" fmla="*/ 5120662 w 134"/>
              <a:gd name="T41" fmla="*/ 403664254 h 184"/>
              <a:gd name="T42" fmla="*/ 35840111 w 134"/>
              <a:gd name="T43" fmla="*/ 444542448 h 184"/>
              <a:gd name="T44" fmla="*/ 51202098 w 134"/>
              <a:gd name="T45" fmla="*/ 485420642 h 184"/>
              <a:gd name="T46" fmla="*/ 61441160 w 134"/>
              <a:gd name="T47" fmla="*/ 521187932 h 184"/>
              <a:gd name="T48" fmla="*/ 81923809 w 134"/>
              <a:gd name="T49" fmla="*/ 551846577 h 184"/>
              <a:gd name="T50" fmla="*/ 117763920 w 134"/>
              <a:gd name="T51" fmla="*/ 613161608 h 184"/>
              <a:gd name="T52" fmla="*/ 179205080 w 134"/>
              <a:gd name="T53" fmla="*/ 720465737 h 184"/>
              <a:gd name="T54" fmla="*/ 286729939 w 134"/>
              <a:gd name="T55" fmla="*/ 822658962 h 184"/>
              <a:gd name="T56" fmla="*/ 327690712 w 134"/>
              <a:gd name="T57" fmla="*/ 858428512 h 184"/>
              <a:gd name="T58" fmla="*/ 343052699 w 134"/>
              <a:gd name="T59" fmla="*/ 940182639 h 184"/>
              <a:gd name="T60" fmla="*/ 670743411 w 134"/>
              <a:gd name="T61" fmla="*/ 883976253 h 184"/>
              <a:gd name="T62" fmla="*/ 655381424 w 134"/>
              <a:gd name="T63" fmla="*/ 817550318 h 184"/>
              <a:gd name="T64" fmla="*/ 655381424 w 134"/>
              <a:gd name="T65" fmla="*/ 812439413 h 184"/>
              <a:gd name="T66" fmla="*/ 670743411 w 134"/>
              <a:gd name="T67" fmla="*/ 761343931 h 184"/>
              <a:gd name="T68" fmla="*/ 675861811 w 134"/>
              <a:gd name="T69" fmla="*/ 715357093 h 184"/>
              <a:gd name="T70" fmla="*/ 680982473 w 134"/>
              <a:gd name="T71" fmla="*/ 602944320 h 184"/>
              <a:gd name="T72" fmla="*/ 686103135 w 134"/>
              <a:gd name="T73" fmla="*/ 582505223 h 184"/>
              <a:gd name="T74" fmla="*/ 624661976 w 134"/>
              <a:gd name="T75" fmla="*/ 495640191 h 184"/>
              <a:gd name="T76" fmla="*/ 624661976 w 134"/>
              <a:gd name="T77" fmla="*/ 495640191 h 184"/>
              <a:gd name="T78" fmla="*/ 578580540 w 134"/>
              <a:gd name="T79" fmla="*/ 424103351 h 184"/>
              <a:gd name="T80" fmla="*/ 491536068 w 134"/>
              <a:gd name="T81" fmla="*/ 383227418 h 18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4" h="184">
                <a:moveTo>
                  <a:pt x="96" y="75"/>
                </a:moveTo>
                <a:cubicBezTo>
                  <a:pt x="96" y="74"/>
                  <a:pt x="96" y="74"/>
                  <a:pt x="96" y="74"/>
                </a:cubicBezTo>
                <a:cubicBezTo>
                  <a:pt x="92" y="74"/>
                  <a:pt x="92" y="74"/>
                  <a:pt x="92" y="74"/>
                </a:cubicBezTo>
                <a:cubicBezTo>
                  <a:pt x="89" y="69"/>
                  <a:pt x="89" y="69"/>
                  <a:pt x="89" y="69"/>
                </a:cubicBezTo>
                <a:cubicBezTo>
                  <a:pt x="88" y="69"/>
                  <a:pt x="88" y="68"/>
                  <a:pt x="87" y="67"/>
                </a:cubicBezTo>
                <a:cubicBezTo>
                  <a:pt x="83" y="64"/>
                  <a:pt x="78" y="62"/>
                  <a:pt x="73" y="62"/>
                </a:cubicBezTo>
                <a:cubicBezTo>
                  <a:pt x="69" y="63"/>
                  <a:pt x="69" y="63"/>
                  <a:pt x="69" y="63"/>
                </a:cubicBezTo>
                <a:cubicBezTo>
                  <a:pt x="68" y="63"/>
                  <a:pt x="68" y="63"/>
                  <a:pt x="68" y="63"/>
                </a:cubicBezTo>
                <a:cubicBezTo>
                  <a:pt x="68" y="63"/>
                  <a:pt x="68" y="63"/>
                  <a:pt x="68" y="63"/>
                </a:cubicBezTo>
                <a:cubicBezTo>
                  <a:pt x="54" y="7"/>
                  <a:pt x="54" y="7"/>
                  <a:pt x="54" y="7"/>
                </a:cubicBezTo>
                <a:cubicBezTo>
                  <a:pt x="52" y="0"/>
                  <a:pt x="48" y="0"/>
                  <a:pt x="44" y="1"/>
                </a:cubicBezTo>
                <a:cubicBezTo>
                  <a:pt x="44" y="1"/>
                  <a:pt x="37" y="2"/>
                  <a:pt x="38" y="10"/>
                </a:cubicBezTo>
                <a:cubicBezTo>
                  <a:pt x="53" y="88"/>
                  <a:pt x="53" y="88"/>
                  <a:pt x="53" y="88"/>
                </a:cubicBezTo>
                <a:cubicBezTo>
                  <a:pt x="53" y="88"/>
                  <a:pt x="53" y="89"/>
                  <a:pt x="53" y="90"/>
                </a:cubicBezTo>
                <a:cubicBezTo>
                  <a:pt x="53" y="94"/>
                  <a:pt x="52" y="97"/>
                  <a:pt x="49" y="100"/>
                </a:cubicBezTo>
                <a:cubicBezTo>
                  <a:pt x="49" y="100"/>
                  <a:pt x="48" y="101"/>
                  <a:pt x="47" y="101"/>
                </a:cubicBezTo>
                <a:cubicBezTo>
                  <a:pt x="42" y="102"/>
                  <a:pt x="39" y="101"/>
                  <a:pt x="35" y="98"/>
                </a:cubicBezTo>
                <a:cubicBezTo>
                  <a:pt x="31" y="95"/>
                  <a:pt x="28" y="88"/>
                  <a:pt x="25" y="83"/>
                </a:cubicBezTo>
                <a:cubicBezTo>
                  <a:pt x="23" y="81"/>
                  <a:pt x="21" y="78"/>
                  <a:pt x="19" y="75"/>
                </a:cubicBezTo>
                <a:cubicBezTo>
                  <a:pt x="16" y="71"/>
                  <a:pt x="7" y="68"/>
                  <a:pt x="3" y="72"/>
                </a:cubicBezTo>
                <a:cubicBezTo>
                  <a:pt x="1" y="73"/>
                  <a:pt x="0" y="77"/>
                  <a:pt x="1" y="79"/>
                </a:cubicBezTo>
                <a:cubicBezTo>
                  <a:pt x="3" y="81"/>
                  <a:pt x="6" y="84"/>
                  <a:pt x="7" y="87"/>
                </a:cubicBezTo>
                <a:cubicBezTo>
                  <a:pt x="8" y="89"/>
                  <a:pt x="9" y="92"/>
                  <a:pt x="10" y="95"/>
                </a:cubicBezTo>
                <a:cubicBezTo>
                  <a:pt x="11" y="97"/>
                  <a:pt x="11" y="101"/>
                  <a:pt x="12" y="102"/>
                </a:cubicBezTo>
                <a:cubicBezTo>
                  <a:pt x="14" y="103"/>
                  <a:pt x="15" y="106"/>
                  <a:pt x="16" y="108"/>
                </a:cubicBezTo>
                <a:cubicBezTo>
                  <a:pt x="18" y="111"/>
                  <a:pt x="21" y="116"/>
                  <a:pt x="23" y="120"/>
                </a:cubicBezTo>
                <a:cubicBezTo>
                  <a:pt x="27" y="126"/>
                  <a:pt x="29" y="135"/>
                  <a:pt x="35" y="141"/>
                </a:cubicBezTo>
                <a:cubicBezTo>
                  <a:pt x="41" y="149"/>
                  <a:pt x="47" y="156"/>
                  <a:pt x="56" y="161"/>
                </a:cubicBezTo>
                <a:cubicBezTo>
                  <a:pt x="60" y="163"/>
                  <a:pt x="62" y="165"/>
                  <a:pt x="64" y="168"/>
                </a:cubicBezTo>
                <a:cubicBezTo>
                  <a:pt x="67" y="184"/>
                  <a:pt x="67" y="184"/>
                  <a:pt x="67" y="184"/>
                </a:cubicBezTo>
                <a:cubicBezTo>
                  <a:pt x="79" y="182"/>
                  <a:pt x="126" y="174"/>
                  <a:pt x="131" y="173"/>
                </a:cubicBezTo>
                <a:cubicBezTo>
                  <a:pt x="128" y="160"/>
                  <a:pt x="128" y="160"/>
                  <a:pt x="128" y="160"/>
                </a:cubicBezTo>
                <a:cubicBezTo>
                  <a:pt x="128" y="159"/>
                  <a:pt x="128" y="159"/>
                  <a:pt x="128" y="159"/>
                </a:cubicBezTo>
                <a:cubicBezTo>
                  <a:pt x="129" y="156"/>
                  <a:pt x="130" y="152"/>
                  <a:pt x="131" y="149"/>
                </a:cubicBezTo>
                <a:cubicBezTo>
                  <a:pt x="132" y="146"/>
                  <a:pt x="132" y="143"/>
                  <a:pt x="132" y="140"/>
                </a:cubicBezTo>
                <a:cubicBezTo>
                  <a:pt x="132" y="133"/>
                  <a:pt x="133" y="125"/>
                  <a:pt x="133" y="118"/>
                </a:cubicBezTo>
                <a:cubicBezTo>
                  <a:pt x="133" y="116"/>
                  <a:pt x="133" y="115"/>
                  <a:pt x="134" y="114"/>
                </a:cubicBezTo>
                <a:cubicBezTo>
                  <a:pt x="134" y="109"/>
                  <a:pt x="132" y="97"/>
                  <a:pt x="122" y="97"/>
                </a:cubicBezTo>
                <a:cubicBezTo>
                  <a:pt x="122" y="97"/>
                  <a:pt x="122" y="97"/>
                  <a:pt x="122" y="97"/>
                </a:cubicBezTo>
                <a:cubicBezTo>
                  <a:pt x="120" y="92"/>
                  <a:pt x="117" y="87"/>
                  <a:pt x="113" y="83"/>
                </a:cubicBezTo>
                <a:cubicBezTo>
                  <a:pt x="109" y="79"/>
                  <a:pt x="103" y="75"/>
                  <a:pt x="96" y="7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4" name="Freeform 73"/>
          <p:cNvSpPr>
            <a:spLocks/>
          </p:cNvSpPr>
          <p:nvPr/>
        </p:nvSpPr>
        <p:spPr bwMode="auto">
          <a:xfrm>
            <a:off x="10020301" y="3744385"/>
            <a:ext cx="234951" cy="577849"/>
          </a:xfrm>
          <a:custGeom>
            <a:avLst/>
            <a:gdLst>
              <a:gd name="T0" fmla="*/ 229666536 w 78"/>
              <a:gd name="T1" fmla="*/ 56046871 h 192"/>
              <a:gd name="T2" fmla="*/ 173526881 w 78"/>
              <a:gd name="T3" fmla="*/ 371940849 h 192"/>
              <a:gd name="T4" fmla="*/ 153111024 w 78"/>
              <a:gd name="T5" fmla="*/ 377035404 h 192"/>
              <a:gd name="T6" fmla="*/ 112281568 w 78"/>
              <a:gd name="T7" fmla="*/ 86616455 h 192"/>
              <a:gd name="T8" fmla="*/ 30622657 w 78"/>
              <a:gd name="T9" fmla="*/ 91711009 h 192"/>
              <a:gd name="T10" fmla="*/ 51036255 w 78"/>
              <a:gd name="T11" fmla="*/ 422890909 h 192"/>
              <a:gd name="T12" fmla="*/ 40829456 w 78"/>
              <a:gd name="T13" fmla="*/ 484032334 h 192"/>
              <a:gd name="T14" fmla="*/ 0 w 78"/>
              <a:gd name="T15" fmla="*/ 545173759 h 192"/>
              <a:gd name="T16" fmla="*/ 0 w 78"/>
              <a:gd name="T17" fmla="*/ 591029264 h 192"/>
              <a:gd name="T18" fmla="*/ 15310199 w 78"/>
              <a:gd name="T19" fmla="*/ 728595778 h 192"/>
              <a:gd name="T20" fmla="*/ 61245313 w 78"/>
              <a:gd name="T21" fmla="*/ 855973183 h 192"/>
              <a:gd name="T22" fmla="*/ 71452112 w 78"/>
              <a:gd name="T23" fmla="*/ 978253777 h 192"/>
              <a:gd name="T24" fmla="*/ 372570761 w 78"/>
              <a:gd name="T25" fmla="*/ 978253777 h 192"/>
              <a:gd name="T26" fmla="*/ 352157162 w 78"/>
              <a:gd name="T27" fmla="*/ 881448213 h 192"/>
              <a:gd name="T28" fmla="*/ 398090018 w 78"/>
              <a:gd name="T29" fmla="*/ 754070808 h 192"/>
              <a:gd name="T30" fmla="*/ 398090018 w 78"/>
              <a:gd name="T31" fmla="*/ 519696472 h 192"/>
              <a:gd name="T32" fmla="*/ 347053763 w 78"/>
              <a:gd name="T33" fmla="*/ 463651859 h 192"/>
              <a:gd name="T34" fmla="*/ 285808449 w 78"/>
              <a:gd name="T35" fmla="*/ 387224513 h 192"/>
              <a:gd name="T36" fmla="*/ 280705050 w 78"/>
              <a:gd name="T37" fmla="*/ 387224513 h 192"/>
              <a:gd name="T38" fmla="*/ 306222048 w 78"/>
              <a:gd name="T39" fmla="*/ 76425089 h 192"/>
              <a:gd name="T40" fmla="*/ 229666536 w 78"/>
              <a:gd name="T41" fmla="*/ 56046871 h 19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8" h="192">
                <a:moveTo>
                  <a:pt x="45" y="11"/>
                </a:moveTo>
                <a:cubicBezTo>
                  <a:pt x="42" y="32"/>
                  <a:pt x="37" y="52"/>
                  <a:pt x="34" y="73"/>
                </a:cubicBezTo>
                <a:cubicBezTo>
                  <a:pt x="33" y="80"/>
                  <a:pt x="31" y="80"/>
                  <a:pt x="30" y="74"/>
                </a:cubicBezTo>
                <a:cubicBezTo>
                  <a:pt x="30" y="68"/>
                  <a:pt x="24" y="32"/>
                  <a:pt x="22" y="17"/>
                </a:cubicBezTo>
                <a:cubicBezTo>
                  <a:pt x="20" y="6"/>
                  <a:pt x="6" y="7"/>
                  <a:pt x="6" y="18"/>
                </a:cubicBezTo>
                <a:cubicBezTo>
                  <a:pt x="7" y="31"/>
                  <a:pt x="10" y="77"/>
                  <a:pt x="10" y="83"/>
                </a:cubicBezTo>
                <a:cubicBezTo>
                  <a:pt x="9" y="87"/>
                  <a:pt x="9" y="91"/>
                  <a:pt x="8" y="95"/>
                </a:cubicBezTo>
                <a:cubicBezTo>
                  <a:pt x="3" y="97"/>
                  <a:pt x="1" y="102"/>
                  <a:pt x="0" y="107"/>
                </a:cubicBezTo>
                <a:cubicBezTo>
                  <a:pt x="0" y="116"/>
                  <a:pt x="0" y="116"/>
                  <a:pt x="0" y="116"/>
                </a:cubicBezTo>
                <a:cubicBezTo>
                  <a:pt x="1" y="125"/>
                  <a:pt x="2" y="134"/>
                  <a:pt x="3" y="143"/>
                </a:cubicBezTo>
                <a:cubicBezTo>
                  <a:pt x="4" y="153"/>
                  <a:pt x="8" y="160"/>
                  <a:pt x="12" y="168"/>
                </a:cubicBezTo>
                <a:cubicBezTo>
                  <a:pt x="16" y="173"/>
                  <a:pt x="15" y="185"/>
                  <a:pt x="14" y="192"/>
                </a:cubicBezTo>
                <a:cubicBezTo>
                  <a:pt x="73" y="192"/>
                  <a:pt x="73" y="192"/>
                  <a:pt x="73" y="192"/>
                </a:cubicBezTo>
                <a:cubicBezTo>
                  <a:pt x="72" y="186"/>
                  <a:pt x="69" y="179"/>
                  <a:pt x="69" y="173"/>
                </a:cubicBezTo>
                <a:cubicBezTo>
                  <a:pt x="73" y="166"/>
                  <a:pt x="76" y="158"/>
                  <a:pt x="78" y="148"/>
                </a:cubicBezTo>
                <a:cubicBezTo>
                  <a:pt x="78" y="133"/>
                  <a:pt x="78" y="118"/>
                  <a:pt x="78" y="102"/>
                </a:cubicBezTo>
                <a:cubicBezTo>
                  <a:pt x="76" y="97"/>
                  <a:pt x="73" y="93"/>
                  <a:pt x="68" y="91"/>
                </a:cubicBezTo>
                <a:cubicBezTo>
                  <a:pt x="66" y="84"/>
                  <a:pt x="63" y="78"/>
                  <a:pt x="56" y="76"/>
                </a:cubicBezTo>
                <a:cubicBezTo>
                  <a:pt x="55" y="76"/>
                  <a:pt x="55" y="76"/>
                  <a:pt x="55" y="76"/>
                </a:cubicBezTo>
                <a:cubicBezTo>
                  <a:pt x="53" y="67"/>
                  <a:pt x="59" y="25"/>
                  <a:pt x="60" y="15"/>
                </a:cubicBezTo>
                <a:cubicBezTo>
                  <a:pt x="62" y="0"/>
                  <a:pt x="46" y="2"/>
                  <a:pt x="4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5" name="Freeform 74"/>
          <p:cNvSpPr>
            <a:spLocks/>
          </p:cNvSpPr>
          <p:nvPr/>
        </p:nvSpPr>
        <p:spPr bwMode="auto">
          <a:xfrm>
            <a:off x="10773834" y="3731685"/>
            <a:ext cx="397933" cy="579967"/>
          </a:xfrm>
          <a:custGeom>
            <a:avLst/>
            <a:gdLst>
              <a:gd name="T0" fmla="*/ 475421806 w 132"/>
              <a:gd name="T1" fmla="*/ 97515958 h 192"/>
              <a:gd name="T2" fmla="*/ 429413025 w 132"/>
              <a:gd name="T3" fmla="*/ 384934751 h 192"/>
              <a:gd name="T4" fmla="*/ 429413025 w 132"/>
              <a:gd name="T5" fmla="*/ 395199708 h 192"/>
              <a:gd name="T6" fmla="*/ 414076765 w 132"/>
              <a:gd name="T7" fmla="*/ 410598276 h 192"/>
              <a:gd name="T8" fmla="*/ 408964678 w 132"/>
              <a:gd name="T9" fmla="*/ 395199708 h 192"/>
              <a:gd name="T10" fmla="*/ 403852592 w 132"/>
              <a:gd name="T11" fmla="*/ 71854698 h 192"/>
              <a:gd name="T12" fmla="*/ 316947117 w 132"/>
              <a:gd name="T13" fmla="*/ 61589741 h 192"/>
              <a:gd name="T14" fmla="*/ 311835030 w 132"/>
              <a:gd name="T15" fmla="*/ 390068362 h 192"/>
              <a:gd name="T16" fmla="*/ 296498770 w 132"/>
              <a:gd name="T17" fmla="*/ 384934751 h 192"/>
              <a:gd name="T18" fmla="*/ 255602076 w 132"/>
              <a:gd name="T19" fmla="*/ 138575785 h 192"/>
              <a:gd name="T20" fmla="*/ 178920775 w 132"/>
              <a:gd name="T21" fmla="*/ 148840742 h 192"/>
              <a:gd name="T22" fmla="*/ 204481209 w 132"/>
              <a:gd name="T23" fmla="*/ 405464665 h 192"/>
              <a:gd name="T24" fmla="*/ 178920775 w 132"/>
              <a:gd name="T25" fmla="*/ 513245580 h 192"/>
              <a:gd name="T26" fmla="*/ 178920775 w 132"/>
              <a:gd name="T27" fmla="*/ 518379191 h 192"/>
              <a:gd name="T28" fmla="*/ 158474689 w 132"/>
              <a:gd name="T29" fmla="*/ 497849277 h 192"/>
              <a:gd name="T30" fmla="*/ 158474689 w 132"/>
              <a:gd name="T31" fmla="*/ 497849277 h 192"/>
              <a:gd name="T32" fmla="*/ 153362602 w 132"/>
              <a:gd name="T33" fmla="*/ 497849277 h 192"/>
              <a:gd name="T34" fmla="*/ 153362602 w 132"/>
              <a:gd name="T35" fmla="*/ 497849277 h 192"/>
              <a:gd name="T36" fmla="*/ 127802169 w 132"/>
              <a:gd name="T37" fmla="*/ 431128190 h 192"/>
              <a:gd name="T38" fmla="*/ 86905475 w 132"/>
              <a:gd name="T39" fmla="*/ 349008535 h 192"/>
              <a:gd name="T40" fmla="*/ 20448347 w 132"/>
              <a:gd name="T41" fmla="*/ 333609967 h 192"/>
              <a:gd name="T42" fmla="*/ 10224173 w 132"/>
              <a:gd name="T43" fmla="*/ 338743578 h 192"/>
              <a:gd name="T44" fmla="*/ 0 w 132"/>
              <a:gd name="T45" fmla="*/ 359273492 h 192"/>
              <a:gd name="T46" fmla="*/ 15336260 w 132"/>
              <a:gd name="T47" fmla="*/ 400333319 h 192"/>
              <a:gd name="T48" fmla="*/ 35784607 w 132"/>
              <a:gd name="T49" fmla="*/ 492717931 h 192"/>
              <a:gd name="T50" fmla="*/ 46008781 w 132"/>
              <a:gd name="T51" fmla="*/ 518379191 h 192"/>
              <a:gd name="T52" fmla="*/ 61345041 w 132"/>
              <a:gd name="T53" fmla="*/ 564570364 h 192"/>
              <a:gd name="T54" fmla="*/ 76681301 w 132"/>
              <a:gd name="T55" fmla="*/ 605630192 h 192"/>
              <a:gd name="T56" fmla="*/ 76681301 w 132"/>
              <a:gd name="T57" fmla="*/ 605630192 h 192"/>
              <a:gd name="T58" fmla="*/ 76681301 w 132"/>
              <a:gd name="T59" fmla="*/ 610763803 h 192"/>
              <a:gd name="T60" fmla="*/ 76681301 w 132"/>
              <a:gd name="T61" fmla="*/ 610763803 h 192"/>
              <a:gd name="T62" fmla="*/ 86905475 w 132"/>
              <a:gd name="T63" fmla="*/ 631293717 h 192"/>
              <a:gd name="T64" fmla="*/ 86905475 w 132"/>
              <a:gd name="T65" fmla="*/ 631293717 h 192"/>
              <a:gd name="T66" fmla="*/ 86905475 w 132"/>
              <a:gd name="T67" fmla="*/ 636425062 h 192"/>
              <a:gd name="T68" fmla="*/ 86905475 w 132"/>
              <a:gd name="T69" fmla="*/ 636425062 h 192"/>
              <a:gd name="T70" fmla="*/ 92017561 w 132"/>
              <a:gd name="T71" fmla="*/ 656954976 h 192"/>
              <a:gd name="T72" fmla="*/ 148250516 w 132"/>
              <a:gd name="T73" fmla="*/ 785268070 h 192"/>
              <a:gd name="T74" fmla="*/ 240265816 w 132"/>
              <a:gd name="T75" fmla="*/ 913578899 h 192"/>
              <a:gd name="T76" fmla="*/ 240265816 w 132"/>
              <a:gd name="T77" fmla="*/ 985433597 h 192"/>
              <a:gd name="T78" fmla="*/ 511204152 w 132"/>
              <a:gd name="T79" fmla="*/ 985433597 h 192"/>
              <a:gd name="T80" fmla="*/ 511204152 w 132"/>
              <a:gd name="T81" fmla="*/ 918712510 h 192"/>
              <a:gd name="T82" fmla="*/ 541876673 w 132"/>
              <a:gd name="T83" fmla="*/ 862254114 h 192"/>
              <a:gd name="T84" fmla="*/ 608333800 w 132"/>
              <a:gd name="T85" fmla="*/ 585100278 h 192"/>
              <a:gd name="T86" fmla="*/ 664566755 w 132"/>
              <a:gd name="T87" fmla="*/ 220695441 h 192"/>
              <a:gd name="T88" fmla="*/ 587885453 w 132"/>
              <a:gd name="T89" fmla="*/ 205299138 h 192"/>
              <a:gd name="T90" fmla="*/ 536764586 w 132"/>
              <a:gd name="T91" fmla="*/ 436259536 h 192"/>
              <a:gd name="T92" fmla="*/ 531652499 w 132"/>
              <a:gd name="T93" fmla="*/ 446524492 h 192"/>
              <a:gd name="T94" fmla="*/ 531652499 w 132"/>
              <a:gd name="T95" fmla="*/ 446524492 h 192"/>
              <a:gd name="T96" fmla="*/ 526540413 w 132"/>
              <a:gd name="T97" fmla="*/ 446524492 h 192"/>
              <a:gd name="T98" fmla="*/ 516316239 w 132"/>
              <a:gd name="T99" fmla="*/ 420863233 h 192"/>
              <a:gd name="T100" fmla="*/ 546988759 w 132"/>
              <a:gd name="T101" fmla="*/ 112914526 h 192"/>
              <a:gd name="T102" fmla="*/ 475421806 w 132"/>
              <a:gd name="T103" fmla="*/ 97515958 h 19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132" h="192">
                <a:moveTo>
                  <a:pt x="93" y="19"/>
                </a:moveTo>
                <a:cubicBezTo>
                  <a:pt x="92" y="25"/>
                  <a:pt x="84" y="75"/>
                  <a:pt x="84" y="75"/>
                </a:cubicBezTo>
                <a:cubicBezTo>
                  <a:pt x="84" y="75"/>
                  <a:pt x="84" y="76"/>
                  <a:pt x="84" y="77"/>
                </a:cubicBezTo>
                <a:cubicBezTo>
                  <a:pt x="84" y="78"/>
                  <a:pt x="83" y="80"/>
                  <a:pt x="81" y="80"/>
                </a:cubicBezTo>
                <a:cubicBezTo>
                  <a:pt x="80" y="79"/>
                  <a:pt x="80" y="78"/>
                  <a:pt x="80" y="77"/>
                </a:cubicBezTo>
                <a:cubicBezTo>
                  <a:pt x="80" y="68"/>
                  <a:pt x="79" y="16"/>
                  <a:pt x="79" y="14"/>
                </a:cubicBezTo>
                <a:cubicBezTo>
                  <a:pt x="80" y="1"/>
                  <a:pt x="64" y="0"/>
                  <a:pt x="62" y="12"/>
                </a:cubicBezTo>
                <a:cubicBezTo>
                  <a:pt x="62" y="12"/>
                  <a:pt x="61" y="68"/>
                  <a:pt x="61" y="76"/>
                </a:cubicBezTo>
                <a:cubicBezTo>
                  <a:pt x="61" y="80"/>
                  <a:pt x="58" y="78"/>
                  <a:pt x="58" y="75"/>
                </a:cubicBezTo>
                <a:cubicBezTo>
                  <a:pt x="50" y="27"/>
                  <a:pt x="50" y="27"/>
                  <a:pt x="50" y="27"/>
                </a:cubicBezTo>
                <a:cubicBezTo>
                  <a:pt x="49" y="17"/>
                  <a:pt x="34" y="16"/>
                  <a:pt x="35" y="29"/>
                </a:cubicBezTo>
                <a:cubicBezTo>
                  <a:pt x="40" y="79"/>
                  <a:pt x="40" y="79"/>
                  <a:pt x="40" y="79"/>
                </a:cubicBezTo>
                <a:cubicBezTo>
                  <a:pt x="42" y="94"/>
                  <a:pt x="36" y="100"/>
                  <a:pt x="35" y="100"/>
                </a:cubicBezTo>
                <a:cubicBezTo>
                  <a:pt x="35" y="100"/>
                  <a:pt x="35" y="100"/>
                  <a:pt x="35" y="101"/>
                </a:cubicBezTo>
                <a:cubicBezTo>
                  <a:pt x="33" y="100"/>
                  <a:pt x="31" y="99"/>
                  <a:pt x="31" y="97"/>
                </a:cubicBezTo>
                <a:cubicBezTo>
                  <a:pt x="31" y="97"/>
                  <a:pt x="31" y="97"/>
                  <a:pt x="31" y="97"/>
                </a:cubicBezTo>
                <a:cubicBezTo>
                  <a:pt x="30" y="97"/>
                  <a:pt x="30" y="97"/>
                  <a:pt x="30" y="97"/>
                </a:cubicBezTo>
                <a:cubicBezTo>
                  <a:pt x="30" y="97"/>
                  <a:pt x="30" y="97"/>
                  <a:pt x="30" y="97"/>
                </a:cubicBezTo>
                <a:cubicBezTo>
                  <a:pt x="29" y="92"/>
                  <a:pt x="27" y="88"/>
                  <a:pt x="25" y="84"/>
                </a:cubicBezTo>
                <a:cubicBezTo>
                  <a:pt x="23" y="79"/>
                  <a:pt x="21" y="72"/>
                  <a:pt x="17" y="68"/>
                </a:cubicBezTo>
                <a:cubicBezTo>
                  <a:pt x="13" y="65"/>
                  <a:pt x="8" y="63"/>
                  <a:pt x="4" y="65"/>
                </a:cubicBezTo>
                <a:cubicBezTo>
                  <a:pt x="3" y="65"/>
                  <a:pt x="2" y="66"/>
                  <a:pt x="2" y="66"/>
                </a:cubicBezTo>
                <a:cubicBezTo>
                  <a:pt x="1" y="67"/>
                  <a:pt x="1" y="70"/>
                  <a:pt x="0" y="70"/>
                </a:cubicBezTo>
                <a:cubicBezTo>
                  <a:pt x="0" y="70"/>
                  <a:pt x="3" y="77"/>
                  <a:pt x="3" y="78"/>
                </a:cubicBezTo>
                <a:cubicBezTo>
                  <a:pt x="6" y="84"/>
                  <a:pt x="6" y="90"/>
                  <a:pt x="7" y="96"/>
                </a:cubicBezTo>
                <a:cubicBezTo>
                  <a:pt x="7" y="98"/>
                  <a:pt x="8" y="99"/>
                  <a:pt x="9" y="101"/>
                </a:cubicBezTo>
                <a:cubicBezTo>
                  <a:pt x="10" y="104"/>
                  <a:pt x="11" y="108"/>
                  <a:pt x="12" y="110"/>
                </a:cubicBezTo>
                <a:cubicBezTo>
                  <a:pt x="15" y="118"/>
                  <a:pt x="15" y="118"/>
                  <a:pt x="15" y="118"/>
                </a:cubicBezTo>
                <a:cubicBezTo>
                  <a:pt x="15" y="118"/>
                  <a:pt x="15" y="118"/>
                  <a:pt x="15" y="118"/>
                </a:cubicBezTo>
                <a:cubicBezTo>
                  <a:pt x="15" y="119"/>
                  <a:pt x="15" y="119"/>
                  <a:pt x="15" y="119"/>
                </a:cubicBezTo>
                <a:cubicBezTo>
                  <a:pt x="15" y="119"/>
                  <a:pt x="15" y="119"/>
                  <a:pt x="15" y="119"/>
                </a:cubicBezTo>
                <a:cubicBezTo>
                  <a:pt x="16" y="120"/>
                  <a:pt x="16" y="122"/>
                  <a:pt x="17" y="123"/>
                </a:cubicBezTo>
                <a:cubicBezTo>
                  <a:pt x="17" y="123"/>
                  <a:pt x="17" y="123"/>
                  <a:pt x="17" y="123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7" y="125"/>
                  <a:pt x="18" y="127"/>
                  <a:pt x="18" y="128"/>
                </a:cubicBezTo>
                <a:cubicBezTo>
                  <a:pt x="20" y="137"/>
                  <a:pt x="23" y="146"/>
                  <a:pt x="29" y="153"/>
                </a:cubicBezTo>
                <a:cubicBezTo>
                  <a:pt x="33" y="162"/>
                  <a:pt x="47" y="167"/>
                  <a:pt x="47" y="178"/>
                </a:cubicBezTo>
                <a:cubicBezTo>
                  <a:pt x="47" y="192"/>
                  <a:pt x="47" y="192"/>
                  <a:pt x="47" y="192"/>
                </a:cubicBezTo>
                <a:cubicBezTo>
                  <a:pt x="100" y="192"/>
                  <a:pt x="100" y="192"/>
                  <a:pt x="100" y="192"/>
                </a:cubicBezTo>
                <a:cubicBezTo>
                  <a:pt x="100" y="179"/>
                  <a:pt x="100" y="179"/>
                  <a:pt x="100" y="179"/>
                </a:cubicBezTo>
                <a:cubicBezTo>
                  <a:pt x="102" y="174"/>
                  <a:pt x="104" y="172"/>
                  <a:pt x="106" y="168"/>
                </a:cubicBezTo>
                <a:cubicBezTo>
                  <a:pt x="118" y="154"/>
                  <a:pt x="119" y="130"/>
                  <a:pt x="119" y="114"/>
                </a:cubicBezTo>
                <a:cubicBezTo>
                  <a:pt x="120" y="100"/>
                  <a:pt x="128" y="51"/>
                  <a:pt x="130" y="43"/>
                </a:cubicBezTo>
                <a:cubicBezTo>
                  <a:pt x="132" y="32"/>
                  <a:pt x="118" y="28"/>
                  <a:pt x="115" y="40"/>
                </a:cubicBezTo>
                <a:cubicBezTo>
                  <a:pt x="105" y="85"/>
                  <a:pt x="105" y="85"/>
                  <a:pt x="105" y="85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04" y="87"/>
                  <a:pt x="103" y="87"/>
                  <a:pt x="103" y="87"/>
                </a:cubicBezTo>
                <a:cubicBezTo>
                  <a:pt x="102" y="85"/>
                  <a:pt x="101" y="83"/>
                  <a:pt x="101" y="82"/>
                </a:cubicBezTo>
                <a:cubicBezTo>
                  <a:pt x="101" y="82"/>
                  <a:pt x="106" y="31"/>
                  <a:pt x="107" y="22"/>
                </a:cubicBezTo>
                <a:cubicBezTo>
                  <a:pt x="108" y="11"/>
                  <a:pt x="94" y="9"/>
                  <a:pt x="93" y="1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6" name="Freeform 75"/>
          <p:cNvSpPr>
            <a:spLocks noEditPoints="1"/>
          </p:cNvSpPr>
          <p:nvPr/>
        </p:nvSpPr>
        <p:spPr bwMode="auto">
          <a:xfrm>
            <a:off x="1579034" y="4599518"/>
            <a:ext cx="300567" cy="283633"/>
          </a:xfrm>
          <a:custGeom>
            <a:avLst/>
            <a:gdLst>
              <a:gd name="T0" fmla="*/ 218511215 w 100"/>
              <a:gd name="T1" fmla="*/ 179245706 h 94"/>
              <a:gd name="T2" fmla="*/ 132123847 w 100"/>
              <a:gd name="T3" fmla="*/ 225336877 h 94"/>
              <a:gd name="T4" fmla="*/ 218511215 w 100"/>
              <a:gd name="T5" fmla="*/ 297036517 h 94"/>
              <a:gd name="T6" fmla="*/ 248999947 w 100"/>
              <a:gd name="T7" fmla="*/ 291915276 h 94"/>
              <a:gd name="T8" fmla="*/ 320144077 w 100"/>
              <a:gd name="T9" fmla="*/ 312400241 h 94"/>
              <a:gd name="T10" fmla="*/ 325225156 w 100"/>
              <a:gd name="T11" fmla="*/ 281672793 h 94"/>
              <a:gd name="T12" fmla="*/ 218511215 w 100"/>
              <a:gd name="T13" fmla="*/ 179245706 h 94"/>
              <a:gd name="T14" fmla="*/ 421776938 w 100"/>
              <a:gd name="T15" fmla="*/ 194609430 h 94"/>
              <a:gd name="T16" fmla="*/ 421776938 w 100"/>
              <a:gd name="T17" fmla="*/ 81942123 h 94"/>
              <a:gd name="T18" fmla="*/ 299817504 w 100"/>
              <a:gd name="T19" fmla="*/ 81942123 h 94"/>
              <a:gd name="T20" fmla="*/ 218511215 w 100"/>
              <a:gd name="T21" fmla="*/ 0 h 94"/>
              <a:gd name="T22" fmla="*/ 132123847 w 100"/>
              <a:gd name="T23" fmla="*/ 81942123 h 94"/>
              <a:gd name="T24" fmla="*/ 15245493 w 100"/>
              <a:gd name="T25" fmla="*/ 81942123 h 94"/>
              <a:gd name="T26" fmla="*/ 15245493 w 100"/>
              <a:gd name="T27" fmla="*/ 204851912 h 94"/>
              <a:gd name="T28" fmla="*/ 0 w 100"/>
              <a:gd name="T29" fmla="*/ 215094394 h 94"/>
              <a:gd name="T30" fmla="*/ 71144130 w 100"/>
              <a:gd name="T31" fmla="*/ 209973153 h 94"/>
              <a:gd name="T32" fmla="*/ 218511215 w 100"/>
              <a:gd name="T33" fmla="*/ 117790811 h 94"/>
              <a:gd name="T34" fmla="*/ 386204873 w 100"/>
              <a:gd name="T35" fmla="*/ 281672793 h 94"/>
              <a:gd name="T36" fmla="*/ 370959380 w 100"/>
              <a:gd name="T37" fmla="*/ 353370170 h 94"/>
              <a:gd name="T38" fmla="*/ 396369286 w 100"/>
              <a:gd name="T39" fmla="*/ 435312293 h 94"/>
              <a:gd name="T40" fmla="*/ 386204873 w 100"/>
              <a:gd name="T41" fmla="*/ 481403464 h 94"/>
              <a:gd name="T42" fmla="*/ 426858017 w 100"/>
              <a:gd name="T43" fmla="*/ 481403464 h 94"/>
              <a:gd name="T44" fmla="*/ 426858017 w 100"/>
              <a:gd name="T45" fmla="*/ 363612653 h 94"/>
              <a:gd name="T46" fmla="*/ 508164306 w 100"/>
              <a:gd name="T47" fmla="*/ 281672793 h 94"/>
              <a:gd name="T48" fmla="*/ 421776938 w 100"/>
              <a:gd name="T49" fmla="*/ 194609430 h 9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00" h="94">
                <a:moveTo>
                  <a:pt x="43" y="35"/>
                </a:moveTo>
                <a:cubicBezTo>
                  <a:pt x="36" y="35"/>
                  <a:pt x="30" y="39"/>
                  <a:pt x="26" y="44"/>
                </a:cubicBezTo>
                <a:cubicBezTo>
                  <a:pt x="33" y="47"/>
                  <a:pt x="40" y="52"/>
                  <a:pt x="43" y="58"/>
                </a:cubicBezTo>
                <a:cubicBezTo>
                  <a:pt x="45" y="58"/>
                  <a:pt x="47" y="57"/>
                  <a:pt x="49" y="57"/>
                </a:cubicBezTo>
                <a:cubicBezTo>
                  <a:pt x="54" y="57"/>
                  <a:pt x="59" y="59"/>
                  <a:pt x="63" y="61"/>
                </a:cubicBezTo>
                <a:cubicBezTo>
                  <a:pt x="63" y="59"/>
                  <a:pt x="64" y="57"/>
                  <a:pt x="64" y="55"/>
                </a:cubicBezTo>
                <a:cubicBezTo>
                  <a:pt x="64" y="44"/>
                  <a:pt x="55" y="35"/>
                  <a:pt x="43" y="35"/>
                </a:cubicBezTo>
                <a:close/>
                <a:moveTo>
                  <a:pt x="83" y="38"/>
                </a:moveTo>
                <a:cubicBezTo>
                  <a:pt x="83" y="16"/>
                  <a:pt x="83" y="16"/>
                  <a:pt x="83" y="16"/>
                </a:cubicBezTo>
                <a:cubicBezTo>
                  <a:pt x="59" y="16"/>
                  <a:pt x="59" y="16"/>
                  <a:pt x="59" y="16"/>
                </a:cubicBezTo>
                <a:cubicBezTo>
                  <a:pt x="43" y="0"/>
                  <a:pt x="43" y="0"/>
                  <a:pt x="43" y="0"/>
                </a:cubicBezTo>
                <a:cubicBezTo>
                  <a:pt x="26" y="16"/>
                  <a:pt x="26" y="16"/>
                  <a:pt x="26" y="16"/>
                </a:cubicBezTo>
                <a:cubicBezTo>
                  <a:pt x="3" y="16"/>
                  <a:pt x="3" y="16"/>
                  <a:pt x="3" y="16"/>
                </a:cubicBezTo>
                <a:cubicBezTo>
                  <a:pt x="3" y="40"/>
                  <a:pt x="3" y="40"/>
                  <a:pt x="3" y="40"/>
                </a:cubicBezTo>
                <a:cubicBezTo>
                  <a:pt x="0" y="42"/>
                  <a:pt x="0" y="42"/>
                  <a:pt x="0" y="42"/>
                </a:cubicBezTo>
                <a:cubicBezTo>
                  <a:pt x="5" y="41"/>
                  <a:pt x="10" y="41"/>
                  <a:pt x="14" y="41"/>
                </a:cubicBezTo>
                <a:cubicBezTo>
                  <a:pt x="19" y="30"/>
                  <a:pt x="30" y="23"/>
                  <a:pt x="43" y="23"/>
                </a:cubicBezTo>
                <a:cubicBezTo>
                  <a:pt x="61" y="23"/>
                  <a:pt x="76" y="37"/>
                  <a:pt x="76" y="55"/>
                </a:cubicBezTo>
                <a:cubicBezTo>
                  <a:pt x="76" y="60"/>
                  <a:pt x="75" y="65"/>
                  <a:pt x="73" y="69"/>
                </a:cubicBezTo>
                <a:cubicBezTo>
                  <a:pt x="76" y="74"/>
                  <a:pt x="78" y="79"/>
                  <a:pt x="78" y="85"/>
                </a:cubicBezTo>
                <a:cubicBezTo>
                  <a:pt x="78" y="88"/>
                  <a:pt x="77" y="91"/>
                  <a:pt x="76" y="94"/>
                </a:cubicBezTo>
                <a:cubicBezTo>
                  <a:pt x="84" y="94"/>
                  <a:pt x="84" y="94"/>
                  <a:pt x="84" y="94"/>
                </a:cubicBezTo>
                <a:cubicBezTo>
                  <a:pt x="84" y="71"/>
                  <a:pt x="84" y="71"/>
                  <a:pt x="84" y="71"/>
                </a:cubicBezTo>
                <a:cubicBezTo>
                  <a:pt x="100" y="55"/>
                  <a:pt x="100" y="55"/>
                  <a:pt x="100" y="55"/>
                </a:cubicBezTo>
                <a:lnTo>
                  <a:pt x="83" y="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7" name="Freeform 76"/>
          <p:cNvSpPr>
            <a:spLocks/>
          </p:cNvSpPr>
          <p:nvPr/>
        </p:nvSpPr>
        <p:spPr bwMode="auto">
          <a:xfrm>
            <a:off x="1301751" y="4739218"/>
            <a:ext cx="472016" cy="283633"/>
          </a:xfrm>
          <a:custGeom>
            <a:avLst/>
            <a:gdLst>
              <a:gd name="T0" fmla="*/ 660969717 w 157"/>
              <a:gd name="T1" fmla="*/ 112669570 h 94"/>
              <a:gd name="T2" fmla="*/ 630463804 w 157"/>
              <a:gd name="T3" fmla="*/ 117790811 h 94"/>
              <a:gd name="T4" fmla="*/ 513522592 w 157"/>
              <a:gd name="T5" fmla="*/ 40969930 h 94"/>
              <a:gd name="T6" fmla="*/ 442341376 w 157"/>
              <a:gd name="T7" fmla="*/ 61454895 h 94"/>
              <a:gd name="T8" fmla="*/ 325400164 w 157"/>
              <a:gd name="T9" fmla="*/ 0 h 94"/>
              <a:gd name="T10" fmla="*/ 193207122 w 157"/>
              <a:gd name="T11" fmla="*/ 122912052 h 94"/>
              <a:gd name="T12" fmla="*/ 137277736 w 157"/>
              <a:gd name="T13" fmla="*/ 112669570 h 94"/>
              <a:gd name="T14" fmla="*/ 0 w 157"/>
              <a:gd name="T15" fmla="*/ 245824105 h 94"/>
              <a:gd name="T16" fmla="*/ 137277736 w 157"/>
              <a:gd name="T17" fmla="*/ 378976377 h 94"/>
              <a:gd name="T18" fmla="*/ 147447125 w 157"/>
              <a:gd name="T19" fmla="*/ 378976377 h 94"/>
              <a:gd name="T20" fmla="*/ 274555472 w 157"/>
              <a:gd name="T21" fmla="*/ 460918499 h 94"/>
              <a:gd name="T22" fmla="*/ 381327295 w 157"/>
              <a:gd name="T23" fmla="*/ 409706087 h 94"/>
              <a:gd name="T24" fmla="*/ 498268508 w 157"/>
              <a:gd name="T25" fmla="*/ 481403464 h 94"/>
              <a:gd name="T26" fmla="*/ 635546244 w 157"/>
              <a:gd name="T27" fmla="*/ 378976377 h 94"/>
              <a:gd name="T28" fmla="*/ 660969717 w 157"/>
              <a:gd name="T29" fmla="*/ 378976377 h 94"/>
              <a:gd name="T30" fmla="*/ 798247453 w 157"/>
              <a:gd name="T31" fmla="*/ 245824105 h 94"/>
              <a:gd name="T32" fmla="*/ 660969717 w 157"/>
              <a:gd name="T33" fmla="*/ 112669570 h 9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57" h="94">
                <a:moveTo>
                  <a:pt x="130" y="22"/>
                </a:moveTo>
                <a:cubicBezTo>
                  <a:pt x="128" y="22"/>
                  <a:pt x="126" y="22"/>
                  <a:pt x="124" y="23"/>
                </a:cubicBezTo>
                <a:cubicBezTo>
                  <a:pt x="120" y="14"/>
                  <a:pt x="111" y="8"/>
                  <a:pt x="101" y="8"/>
                </a:cubicBezTo>
                <a:cubicBezTo>
                  <a:pt x="96" y="8"/>
                  <a:pt x="91" y="10"/>
                  <a:pt x="87" y="12"/>
                </a:cubicBezTo>
                <a:cubicBezTo>
                  <a:pt x="82" y="5"/>
                  <a:pt x="74" y="0"/>
                  <a:pt x="64" y="0"/>
                </a:cubicBezTo>
                <a:cubicBezTo>
                  <a:pt x="50" y="0"/>
                  <a:pt x="39" y="11"/>
                  <a:pt x="38" y="24"/>
                </a:cubicBezTo>
                <a:cubicBezTo>
                  <a:pt x="34" y="23"/>
                  <a:pt x="31" y="22"/>
                  <a:pt x="27" y="22"/>
                </a:cubicBezTo>
                <a:cubicBezTo>
                  <a:pt x="12" y="22"/>
                  <a:pt x="0" y="33"/>
                  <a:pt x="0" y="48"/>
                </a:cubicBezTo>
                <a:cubicBezTo>
                  <a:pt x="0" y="62"/>
                  <a:pt x="12" y="74"/>
                  <a:pt x="27" y="74"/>
                </a:cubicBezTo>
                <a:cubicBezTo>
                  <a:pt x="27" y="74"/>
                  <a:pt x="28" y="74"/>
                  <a:pt x="29" y="74"/>
                </a:cubicBezTo>
                <a:cubicBezTo>
                  <a:pt x="33" y="83"/>
                  <a:pt x="42" y="90"/>
                  <a:pt x="54" y="90"/>
                </a:cubicBezTo>
                <a:cubicBezTo>
                  <a:pt x="62" y="90"/>
                  <a:pt x="70" y="86"/>
                  <a:pt x="75" y="80"/>
                </a:cubicBezTo>
                <a:cubicBezTo>
                  <a:pt x="79" y="89"/>
                  <a:pt x="88" y="94"/>
                  <a:pt x="98" y="94"/>
                </a:cubicBezTo>
                <a:cubicBezTo>
                  <a:pt x="111" y="94"/>
                  <a:pt x="122" y="85"/>
                  <a:pt x="125" y="74"/>
                </a:cubicBezTo>
                <a:cubicBezTo>
                  <a:pt x="126" y="74"/>
                  <a:pt x="128" y="74"/>
                  <a:pt x="130" y="74"/>
                </a:cubicBezTo>
                <a:cubicBezTo>
                  <a:pt x="145" y="74"/>
                  <a:pt x="157" y="63"/>
                  <a:pt x="157" y="48"/>
                </a:cubicBezTo>
                <a:cubicBezTo>
                  <a:pt x="157" y="34"/>
                  <a:pt x="145" y="22"/>
                  <a:pt x="130" y="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8" name="Freeform 77"/>
          <p:cNvSpPr>
            <a:spLocks/>
          </p:cNvSpPr>
          <p:nvPr/>
        </p:nvSpPr>
        <p:spPr bwMode="auto">
          <a:xfrm>
            <a:off x="2230967" y="4582585"/>
            <a:ext cx="476251" cy="283633"/>
          </a:xfrm>
          <a:custGeom>
            <a:avLst/>
            <a:gdLst>
              <a:gd name="T0" fmla="*/ 669501432 w 158"/>
              <a:gd name="T1" fmla="*/ 112669570 h 94"/>
              <a:gd name="T2" fmla="*/ 638835259 w 158"/>
              <a:gd name="T3" fmla="*/ 112669570 h 94"/>
              <a:gd name="T4" fmla="*/ 516179613 w 158"/>
              <a:gd name="T5" fmla="*/ 40969930 h 94"/>
              <a:gd name="T6" fmla="*/ 444628979 w 158"/>
              <a:gd name="T7" fmla="*/ 61454895 h 94"/>
              <a:gd name="T8" fmla="*/ 332193883 w 158"/>
              <a:gd name="T9" fmla="*/ 0 h 94"/>
              <a:gd name="T10" fmla="*/ 194206281 w 158"/>
              <a:gd name="T11" fmla="*/ 122912052 h 94"/>
              <a:gd name="T12" fmla="*/ 137987602 w 158"/>
              <a:gd name="T13" fmla="*/ 107548329 h 94"/>
              <a:gd name="T14" fmla="*/ 0 w 158"/>
              <a:gd name="T15" fmla="*/ 240702864 h 94"/>
              <a:gd name="T16" fmla="*/ 137987602 w 158"/>
              <a:gd name="T17" fmla="*/ 378976377 h 94"/>
              <a:gd name="T18" fmla="*/ 148210413 w 158"/>
              <a:gd name="T19" fmla="*/ 373855135 h 94"/>
              <a:gd name="T20" fmla="*/ 275977465 w 158"/>
              <a:gd name="T21" fmla="*/ 460918499 h 94"/>
              <a:gd name="T22" fmla="*/ 383301156 w 158"/>
              <a:gd name="T23" fmla="*/ 409706087 h 94"/>
              <a:gd name="T24" fmla="*/ 505959063 w 158"/>
              <a:gd name="T25" fmla="*/ 481403464 h 94"/>
              <a:gd name="T26" fmla="*/ 638835259 w 158"/>
              <a:gd name="T27" fmla="*/ 373855135 h 94"/>
              <a:gd name="T28" fmla="*/ 669501432 w 158"/>
              <a:gd name="T29" fmla="*/ 378976377 h 94"/>
              <a:gd name="T30" fmla="*/ 807489034 w 158"/>
              <a:gd name="T31" fmla="*/ 245824105 h 94"/>
              <a:gd name="T32" fmla="*/ 669501432 w 158"/>
              <a:gd name="T33" fmla="*/ 112669570 h 9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58" h="94">
                <a:moveTo>
                  <a:pt x="131" y="22"/>
                </a:moveTo>
                <a:cubicBezTo>
                  <a:pt x="129" y="22"/>
                  <a:pt x="127" y="22"/>
                  <a:pt x="125" y="22"/>
                </a:cubicBezTo>
                <a:cubicBezTo>
                  <a:pt x="120" y="14"/>
                  <a:pt x="112" y="8"/>
                  <a:pt x="101" y="8"/>
                </a:cubicBezTo>
                <a:cubicBezTo>
                  <a:pt x="96" y="8"/>
                  <a:pt x="91" y="10"/>
                  <a:pt x="87" y="12"/>
                </a:cubicBezTo>
                <a:cubicBezTo>
                  <a:pt x="83" y="5"/>
                  <a:pt x="74" y="0"/>
                  <a:pt x="65" y="0"/>
                </a:cubicBezTo>
                <a:cubicBezTo>
                  <a:pt x="51" y="0"/>
                  <a:pt x="39" y="10"/>
                  <a:pt x="38" y="24"/>
                </a:cubicBezTo>
                <a:cubicBezTo>
                  <a:pt x="35" y="22"/>
                  <a:pt x="31" y="21"/>
                  <a:pt x="27" y="21"/>
                </a:cubicBezTo>
                <a:cubicBezTo>
                  <a:pt x="12" y="21"/>
                  <a:pt x="0" y="33"/>
                  <a:pt x="0" y="47"/>
                </a:cubicBezTo>
                <a:cubicBezTo>
                  <a:pt x="0" y="62"/>
                  <a:pt x="12" y="74"/>
                  <a:pt x="27" y="74"/>
                </a:cubicBezTo>
                <a:cubicBezTo>
                  <a:pt x="28" y="74"/>
                  <a:pt x="29" y="73"/>
                  <a:pt x="29" y="73"/>
                </a:cubicBezTo>
                <a:cubicBezTo>
                  <a:pt x="33" y="83"/>
                  <a:pt x="43" y="90"/>
                  <a:pt x="54" y="90"/>
                </a:cubicBezTo>
                <a:cubicBezTo>
                  <a:pt x="63" y="90"/>
                  <a:pt x="70" y="86"/>
                  <a:pt x="75" y="80"/>
                </a:cubicBezTo>
                <a:cubicBezTo>
                  <a:pt x="79" y="88"/>
                  <a:pt x="88" y="94"/>
                  <a:pt x="99" y="94"/>
                </a:cubicBezTo>
                <a:cubicBezTo>
                  <a:pt x="112" y="94"/>
                  <a:pt x="123" y="85"/>
                  <a:pt x="125" y="73"/>
                </a:cubicBezTo>
                <a:cubicBezTo>
                  <a:pt x="127" y="74"/>
                  <a:pt x="129" y="74"/>
                  <a:pt x="131" y="74"/>
                </a:cubicBezTo>
                <a:cubicBezTo>
                  <a:pt x="146" y="74"/>
                  <a:pt x="158" y="62"/>
                  <a:pt x="158" y="48"/>
                </a:cubicBezTo>
                <a:cubicBezTo>
                  <a:pt x="158" y="33"/>
                  <a:pt x="146" y="22"/>
                  <a:pt x="131" y="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19" name="Freeform 78"/>
          <p:cNvSpPr>
            <a:spLocks/>
          </p:cNvSpPr>
          <p:nvPr/>
        </p:nvSpPr>
        <p:spPr bwMode="auto">
          <a:xfrm>
            <a:off x="2237318" y="4883151"/>
            <a:ext cx="112183" cy="160867"/>
          </a:xfrm>
          <a:custGeom>
            <a:avLst/>
            <a:gdLst>
              <a:gd name="T0" fmla="*/ 56881160 w 37"/>
              <a:gd name="T1" fmla="*/ 259103842 h 53"/>
              <a:gd name="T2" fmla="*/ 15513044 w 37"/>
              <a:gd name="T3" fmla="*/ 269468360 h 53"/>
              <a:gd name="T4" fmla="*/ 15513044 w 37"/>
              <a:gd name="T5" fmla="*/ 269468360 h 53"/>
              <a:gd name="T6" fmla="*/ 5171015 w 37"/>
              <a:gd name="T7" fmla="*/ 228010289 h 53"/>
              <a:gd name="T8" fmla="*/ 139617393 w 37"/>
              <a:gd name="T9" fmla="*/ 15545639 h 53"/>
              <a:gd name="T10" fmla="*/ 175814494 w 37"/>
              <a:gd name="T11" fmla="*/ 5181121 h 53"/>
              <a:gd name="T12" fmla="*/ 175814494 w 37"/>
              <a:gd name="T13" fmla="*/ 5181121 h 53"/>
              <a:gd name="T14" fmla="*/ 186156523 w 37"/>
              <a:gd name="T15" fmla="*/ 41455795 h 53"/>
              <a:gd name="T16" fmla="*/ 56881160 w 37"/>
              <a:gd name="T17" fmla="*/ 259103842 h 5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7" h="53">
                <a:moveTo>
                  <a:pt x="11" y="50"/>
                </a:moveTo>
                <a:cubicBezTo>
                  <a:pt x="9" y="52"/>
                  <a:pt x="6" y="53"/>
                  <a:pt x="3" y="52"/>
                </a:cubicBezTo>
                <a:cubicBezTo>
                  <a:pt x="3" y="52"/>
                  <a:pt x="3" y="52"/>
                  <a:pt x="3" y="52"/>
                </a:cubicBezTo>
                <a:cubicBezTo>
                  <a:pt x="1" y="50"/>
                  <a:pt x="0" y="47"/>
                  <a:pt x="1" y="44"/>
                </a:cubicBezTo>
                <a:cubicBezTo>
                  <a:pt x="27" y="3"/>
                  <a:pt x="27" y="3"/>
                  <a:pt x="27" y="3"/>
                </a:cubicBezTo>
                <a:cubicBezTo>
                  <a:pt x="28" y="1"/>
                  <a:pt x="32" y="0"/>
                  <a:pt x="34" y="1"/>
                </a:cubicBezTo>
                <a:cubicBezTo>
                  <a:pt x="34" y="1"/>
                  <a:pt x="34" y="1"/>
                  <a:pt x="34" y="1"/>
                </a:cubicBezTo>
                <a:cubicBezTo>
                  <a:pt x="37" y="3"/>
                  <a:pt x="37" y="6"/>
                  <a:pt x="36" y="8"/>
                </a:cubicBezTo>
                <a:lnTo>
                  <a:pt x="11" y="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20" name="Freeform 79"/>
          <p:cNvSpPr>
            <a:spLocks/>
          </p:cNvSpPr>
          <p:nvPr/>
        </p:nvSpPr>
        <p:spPr bwMode="auto">
          <a:xfrm>
            <a:off x="2336800" y="4883151"/>
            <a:ext cx="112184" cy="160867"/>
          </a:xfrm>
          <a:custGeom>
            <a:avLst/>
            <a:gdLst>
              <a:gd name="T0" fmla="*/ 51710760 w 37"/>
              <a:gd name="T1" fmla="*/ 259103842 h 53"/>
              <a:gd name="T2" fmla="*/ 15513228 w 37"/>
              <a:gd name="T3" fmla="*/ 269468360 h 53"/>
              <a:gd name="T4" fmla="*/ 15513228 w 37"/>
              <a:gd name="T5" fmla="*/ 269468360 h 53"/>
              <a:gd name="T6" fmla="*/ 5171076 w 37"/>
              <a:gd name="T7" fmla="*/ 228010289 h 53"/>
              <a:gd name="T8" fmla="*/ 139619052 w 37"/>
              <a:gd name="T9" fmla="*/ 15545639 h 53"/>
              <a:gd name="T10" fmla="*/ 175816584 w 37"/>
              <a:gd name="T11" fmla="*/ 5181121 h 53"/>
              <a:gd name="T12" fmla="*/ 175816584 w 37"/>
              <a:gd name="T13" fmla="*/ 5181121 h 53"/>
              <a:gd name="T14" fmla="*/ 186158736 w 37"/>
              <a:gd name="T15" fmla="*/ 41455795 h 53"/>
              <a:gd name="T16" fmla="*/ 51710760 w 37"/>
              <a:gd name="T17" fmla="*/ 259103842 h 5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7" h="53">
                <a:moveTo>
                  <a:pt x="10" y="50"/>
                </a:moveTo>
                <a:cubicBezTo>
                  <a:pt x="9" y="52"/>
                  <a:pt x="6" y="53"/>
                  <a:pt x="3" y="52"/>
                </a:cubicBezTo>
                <a:cubicBezTo>
                  <a:pt x="3" y="52"/>
                  <a:pt x="3" y="52"/>
                  <a:pt x="3" y="52"/>
                </a:cubicBezTo>
                <a:cubicBezTo>
                  <a:pt x="1" y="50"/>
                  <a:pt x="0" y="47"/>
                  <a:pt x="1" y="44"/>
                </a:cubicBezTo>
                <a:cubicBezTo>
                  <a:pt x="27" y="3"/>
                  <a:pt x="27" y="3"/>
                  <a:pt x="27" y="3"/>
                </a:cubicBezTo>
                <a:cubicBezTo>
                  <a:pt x="28" y="1"/>
                  <a:pt x="32" y="0"/>
                  <a:pt x="34" y="1"/>
                </a:cubicBezTo>
                <a:cubicBezTo>
                  <a:pt x="34" y="1"/>
                  <a:pt x="34" y="1"/>
                  <a:pt x="34" y="1"/>
                </a:cubicBezTo>
                <a:cubicBezTo>
                  <a:pt x="37" y="3"/>
                  <a:pt x="37" y="6"/>
                  <a:pt x="36" y="8"/>
                </a:cubicBezTo>
                <a:lnTo>
                  <a:pt x="10" y="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21" name="Freeform 80"/>
          <p:cNvSpPr>
            <a:spLocks/>
          </p:cNvSpPr>
          <p:nvPr/>
        </p:nvSpPr>
        <p:spPr bwMode="auto">
          <a:xfrm>
            <a:off x="2436285" y="4883151"/>
            <a:ext cx="112183" cy="160867"/>
          </a:xfrm>
          <a:custGeom>
            <a:avLst/>
            <a:gdLst>
              <a:gd name="T0" fmla="*/ 51710145 w 37"/>
              <a:gd name="T1" fmla="*/ 259103842 h 53"/>
              <a:gd name="T2" fmla="*/ 15513044 w 37"/>
              <a:gd name="T3" fmla="*/ 269468360 h 53"/>
              <a:gd name="T4" fmla="*/ 15513044 w 37"/>
              <a:gd name="T5" fmla="*/ 269468360 h 53"/>
              <a:gd name="T6" fmla="*/ 5171015 w 37"/>
              <a:gd name="T7" fmla="*/ 228010289 h 53"/>
              <a:gd name="T8" fmla="*/ 139617393 w 37"/>
              <a:gd name="T9" fmla="*/ 15545639 h 53"/>
              <a:gd name="T10" fmla="*/ 175814494 w 37"/>
              <a:gd name="T11" fmla="*/ 5181121 h 53"/>
              <a:gd name="T12" fmla="*/ 175814494 w 37"/>
              <a:gd name="T13" fmla="*/ 5181121 h 53"/>
              <a:gd name="T14" fmla="*/ 186156523 w 37"/>
              <a:gd name="T15" fmla="*/ 41455795 h 53"/>
              <a:gd name="T16" fmla="*/ 51710145 w 37"/>
              <a:gd name="T17" fmla="*/ 259103842 h 5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7" h="53">
                <a:moveTo>
                  <a:pt x="10" y="50"/>
                </a:moveTo>
                <a:cubicBezTo>
                  <a:pt x="9" y="52"/>
                  <a:pt x="6" y="53"/>
                  <a:pt x="3" y="52"/>
                </a:cubicBezTo>
                <a:cubicBezTo>
                  <a:pt x="3" y="52"/>
                  <a:pt x="3" y="52"/>
                  <a:pt x="3" y="52"/>
                </a:cubicBezTo>
                <a:cubicBezTo>
                  <a:pt x="1" y="50"/>
                  <a:pt x="0" y="47"/>
                  <a:pt x="1" y="44"/>
                </a:cubicBezTo>
                <a:cubicBezTo>
                  <a:pt x="27" y="3"/>
                  <a:pt x="27" y="3"/>
                  <a:pt x="27" y="3"/>
                </a:cubicBezTo>
                <a:cubicBezTo>
                  <a:pt x="28" y="1"/>
                  <a:pt x="31" y="0"/>
                  <a:pt x="34" y="1"/>
                </a:cubicBezTo>
                <a:cubicBezTo>
                  <a:pt x="34" y="1"/>
                  <a:pt x="34" y="1"/>
                  <a:pt x="34" y="1"/>
                </a:cubicBezTo>
                <a:cubicBezTo>
                  <a:pt x="36" y="3"/>
                  <a:pt x="37" y="6"/>
                  <a:pt x="36" y="8"/>
                </a:cubicBezTo>
                <a:lnTo>
                  <a:pt x="10" y="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22" name="Freeform 81"/>
          <p:cNvSpPr>
            <a:spLocks noEditPoints="1"/>
          </p:cNvSpPr>
          <p:nvPr/>
        </p:nvSpPr>
        <p:spPr bwMode="auto">
          <a:xfrm>
            <a:off x="3073400" y="4555068"/>
            <a:ext cx="524933" cy="512233"/>
          </a:xfrm>
          <a:custGeom>
            <a:avLst/>
            <a:gdLst>
              <a:gd name="T0" fmla="*/ 757693751 w 174"/>
              <a:gd name="T1" fmla="*/ 301308453 h 170"/>
              <a:gd name="T2" fmla="*/ 757693751 w 174"/>
              <a:gd name="T3" fmla="*/ 122565384 h 170"/>
              <a:gd name="T4" fmla="*/ 568269748 w 174"/>
              <a:gd name="T5" fmla="*/ 122565384 h 170"/>
              <a:gd name="T6" fmla="*/ 440281045 w 174"/>
              <a:gd name="T7" fmla="*/ 0 h 170"/>
              <a:gd name="T8" fmla="*/ 307174243 w 174"/>
              <a:gd name="T9" fmla="*/ 127672652 h 170"/>
              <a:gd name="T10" fmla="*/ 127988702 w 174"/>
              <a:gd name="T11" fmla="*/ 127672652 h 170"/>
              <a:gd name="T12" fmla="*/ 127988702 w 174"/>
              <a:gd name="T13" fmla="*/ 311522988 h 170"/>
              <a:gd name="T14" fmla="*/ 0 w 174"/>
              <a:gd name="T15" fmla="*/ 439195640 h 170"/>
              <a:gd name="T16" fmla="*/ 133109065 w 174"/>
              <a:gd name="T17" fmla="*/ 566870551 h 170"/>
              <a:gd name="T18" fmla="*/ 133109065 w 174"/>
              <a:gd name="T19" fmla="*/ 745613620 h 170"/>
              <a:gd name="T20" fmla="*/ 322533068 w 174"/>
              <a:gd name="T21" fmla="*/ 745613620 h 170"/>
              <a:gd name="T22" fmla="*/ 450521771 w 174"/>
              <a:gd name="T23" fmla="*/ 868179004 h 170"/>
              <a:gd name="T24" fmla="*/ 583628573 w 174"/>
              <a:gd name="T25" fmla="*/ 740506352 h 170"/>
              <a:gd name="T26" fmla="*/ 762814114 w 174"/>
              <a:gd name="T27" fmla="*/ 740506352 h 170"/>
              <a:gd name="T28" fmla="*/ 762814114 w 174"/>
              <a:gd name="T29" fmla="*/ 556656016 h 170"/>
              <a:gd name="T30" fmla="*/ 890802816 w 174"/>
              <a:gd name="T31" fmla="*/ 428983364 h 170"/>
              <a:gd name="T32" fmla="*/ 757693751 w 174"/>
              <a:gd name="T33" fmla="*/ 301308453 h 170"/>
              <a:gd name="T34" fmla="*/ 445401408 w 174"/>
              <a:gd name="T35" fmla="*/ 684328668 h 170"/>
              <a:gd name="T36" fmla="*/ 189424003 w 174"/>
              <a:gd name="T37" fmla="*/ 434090632 h 170"/>
              <a:gd name="T38" fmla="*/ 445401408 w 174"/>
              <a:gd name="T39" fmla="*/ 183850336 h 170"/>
              <a:gd name="T40" fmla="*/ 701378813 w 174"/>
              <a:gd name="T41" fmla="*/ 434090632 h 170"/>
              <a:gd name="T42" fmla="*/ 445401408 w 174"/>
              <a:gd name="T43" fmla="*/ 684328668 h 17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74" h="170">
                <a:moveTo>
                  <a:pt x="148" y="59"/>
                </a:moveTo>
                <a:cubicBezTo>
                  <a:pt x="148" y="24"/>
                  <a:pt x="148" y="24"/>
                  <a:pt x="148" y="24"/>
                </a:cubicBezTo>
                <a:cubicBezTo>
                  <a:pt x="111" y="24"/>
                  <a:pt x="111" y="24"/>
                  <a:pt x="111" y="24"/>
                </a:cubicBezTo>
                <a:cubicBezTo>
                  <a:pt x="86" y="0"/>
                  <a:pt x="86" y="0"/>
                  <a:pt x="86" y="0"/>
                </a:cubicBezTo>
                <a:cubicBezTo>
                  <a:pt x="60" y="25"/>
                  <a:pt x="60" y="25"/>
                  <a:pt x="60" y="25"/>
                </a:cubicBezTo>
                <a:cubicBezTo>
                  <a:pt x="25" y="25"/>
                  <a:pt x="25" y="25"/>
                  <a:pt x="25" y="25"/>
                </a:cubicBezTo>
                <a:cubicBezTo>
                  <a:pt x="25" y="61"/>
                  <a:pt x="25" y="61"/>
                  <a:pt x="25" y="61"/>
                </a:cubicBezTo>
                <a:cubicBezTo>
                  <a:pt x="0" y="86"/>
                  <a:pt x="0" y="86"/>
                  <a:pt x="0" y="86"/>
                </a:cubicBezTo>
                <a:cubicBezTo>
                  <a:pt x="26" y="111"/>
                  <a:pt x="26" y="111"/>
                  <a:pt x="26" y="111"/>
                </a:cubicBezTo>
                <a:cubicBezTo>
                  <a:pt x="26" y="146"/>
                  <a:pt x="26" y="146"/>
                  <a:pt x="26" y="146"/>
                </a:cubicBezTo>
                <a:cubicBezTo>
                  <a:pt x="63" y="146"/>
                  <a:pt x="63" y="146"/>
                  <a:pt x="63" y="146"/>
                </a:cubicBezTo>
                <a:cubicBezTo>
                  <a:pt x="88" y="170"/>
                  <a:pt x="88" y="170"/>
                  <a:pt x="88" y="170"/>
                </a:cubicBezTo>
                <a:cubicBezTo>
                  <a:pt x="114" y="145"/>
                  <a:pt x="114" y="145"/>
                  <a:pt x="114" y="145"/>
                </a:cubicBezTo>
                <a:cubicBezTo>
                  <a:pt x="149" y="145"/>
                  <a:pt x="149" y="145"/>
                  <a:pt x="149" y="145"/>
                </a:cubicBezTo>
                <a:cubicBezTo>
                  <a:pt x="149" y="109"/>
                  <a:pt x="149" y="109"/>
                  <a:pt x="149" y="109"/>
                </a:cubicBezTo>
                <a:cubicBezTo>
                  <a:pt x="174" y="84"/>
                  <a:pt x="174" y="84"/>
                  <a:pt x="174" y="84"/>
                </a:cubicBezTo>
                <a:lnTo>
                  <a:pt x="148" y="59"/>
                </a:lnTo>
                <a:close/>
                <a:moveTo>
                  <a:pt x="87" y="134"/>
                </a:moveTo>
                <a:cubicBezTo>
                  <a:pt x="59" y="134"/>
                  <a:pt x="37" y="112"/>
                  <a:pt x="37" y="85"/>
                </a:cubicBezTo>
                <a:cubicBezTo>
                  <a:pt x="37" y="58"/>
                  <a:pt x="59" y="36"/>
                  <a:pt x="87" y="36"/>
                </a:cubicBezTo>
                <a:cubicBezTo>
                  <a:pt x="115" y="36"/>
                  <a:pt x="137" y="58"/>
                  <a:pt x="137" y="85"/>
                </a:cubicBezTo>
                <a:cubicBezTo>
                  <a:pt x="137" y="112"/>
                  <a:pt x="115" y="134"/>
                  <a:pt x="87" y="1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23" name="Oval 82"/>
          <p:cNvSpPr>
            <a:spLocks noChangeArrowheads="1"/>
          </p:cNvSpPr>
          <p:nvPr/>
        </p:nvSpPr>
        <p:spPr bwMode="auto">
          <a:xfrm>
            <a:off x="3242733" y="4718051"/>
            <a:ext cx="186267" cy="1862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24" name="Oval 83"/>
          <p:cNvSpPr>
            <a:spLocks noChangeArrowheads="1"/>
          </p:cNvSpPr>
          <p:nvPr/>
        </p:nvSpPr>
        <p:spPr bwMode="auto">
          <a:xfrm>
            <a:off x="4146551" y="4756151"/>
            <a:ext cx="88900" cy="9101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25" name="Freeform 84"/>
          <p:cNvSpPr>
            <a:spLocks noEditPoints="1"/>
          </p:cNvSpPr>
          <p:nvPr/>
        </p:nvSpPr>
        <p:spPr bwMode="auto">
          <a:xfrm>
            <a:off x="3968751" y="4599518"/>
            <a:ext cx="444500" cy="423333"/>
          </a:xfrm>
          <a:custGeom>
            <a:avLst/>
            <a:gdLst>
              <a:gd name="T0" fmla="*/ 527687574 w 148"/>
              <a:gd name="T1" fmla="*/ 0 h 140"/>
              <a:gd name="T2" fmla="*/ 446504004 w 148"/>
              <a:gd name="T3" fmla="*/ 180011161 h 140"/>
              <a:gd name="T4" fmla="*/ 558130568 w 148"/>
              <a:gd name="T5" fmla="*/ 344591821 h 140"/>
              <a:gd name="T6" fmla="*/ 558130568 w 148"/>
              <a:gd name="T7" fmla="*/ 370309321 h 140"/>
              <a:gd name="T8" fmla="*/ 750938450 w 148"/>
              <a:gd name="T9" fmla="*/ 390881054 h 140"/>
              <a:gd name="T10" fmla="*/ 750938450 w 148"/>
              <a:gd name="T11" fmla="*/ 344591821 h 140"/>
              <a:gd name="T12" fmla="*/ 527687574 w 148"/>
              <a:gd name="T13" fmla="*/ 0 h 140"/>
              <a:gd name="T14" fmla="*/ 375470351 w 148"/>
              <a:gd name="T15" fmla="*/ 524602982 h 140"/>
              <a:gd name="T16" fmla="*/ 268916493 w 148"/>
              <a:gd name="T17" fmla="*/ 493744250 h 140"/>
              <a:gd name="T18" fmla="*/ 152217223 w 148"/>
              <a:gd name="T19" fmla="*/ 648040179 h 140"/>
              <a:gd name="T20" fmla="*/ 375470351 w 148"/>
              <a:gd name="T21" fmla="*/ 720044643 h 140"/>
              <a:gd name="T22" fmla="*/ 603796186 w 148"/>
              <a:gd name="T23" fmla="*/ 642896679 h 140"/>
              <a:gd name="T24" fmla="*/ 482021957 w 148"/>
              <a:gd name="T25" fmla="*/ 488600750 h 140"/>
              <a:gd name="T26" fmla="*/ 375470351 w 148"/>
              <a:gd name="T27" fmla="*/ 524602982 h 140"/>
              <a:gd name="T28" fmla="*/ 192807882 w 148"/>
              <a:gd name="T29" fmla="*/ 344591821 h 140"/>
              <a:gd name="T30" fmla="*/ 304434446 w 148"/>
              <a:gd name="T31" fmla="*/ 180011161 h 140"/>
              <a:gd name="T32" fmla="*/ 223250876 w 148"/>
              <a:gd name="T33" fmla="*/ 0 h 140"/>
              <a:gd name="T34" fmla="*/ 0 w 148"/>
              <a:gd name="T35" fmla="*/ 344591821 h 140"/>
              <a:gd name="T36" fmla="*/ 0 w 148"/>
              <a:gd name="T37" fmla="*/ 396024554 h 140"/>
              <a:gd name="T38" fmla="*/ 197882840 w 148"/>
              <a:gd name="T39" fmla="*/ 370309321 h 140"/>
              <a:gd name="T40" fmla="*/ 192807882 w 148"/>
              <a:gd name="T41" fmla="*/ 344591821 h 14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48" h="140">
                <a:moveTo>
                  <a:pt x="104" y="0"/>
                </a:moveTo>
                <a:cubicBezTo>
                  <a:pt x="88" y="35"/>
                  <a:pt x="88" y="35"/>
                  <a:pt x="88" y="35"/>
                </a:cubicBezTo>
                <a:cubicBezTo>
                  <a:pt x="101" y="40"/>
                  <a:pt x="110" y="53"/>
                  <a:pt x="110" y="67"/>
                </a:cubicBezTo>
                <a:cubicBezTo>
                  <a:pt x="110" y="69"/>
                  <a:pt x="110" y="70"/>
                  <a:pt x="110" y="72"/>
                </a:cubicBezTo>
                <a:cubicBezTo>
                  <a:pt x="148" y="76"/>
                  <a:pt x="148" y="76"/>
                  <a:pt x="148" y="76"/>
                </a:cubicBezTo>
                <a:cubicBezTo>
                  <a:pt x="148" y="73"/>
                  <a:pt x="148" y="70"/>
                  <a:pt x="148" y="67"/>
                </a:cubicBezTo>
                <a:cubicBezTo>
                  <a:pt x="148" y="37"/>
                  <a:pt x="130" y="11"/>
                  <a:pt x="104" y="0"/>
                </a:cubicBezTo>
                <a:close/>
                <a:moveTo>
                  <a:pt x="74" y="102"/>
                </a:moveTo>
                <a:cubicBezTo>
                  <a:pt x="66" y="102"/>
                  <a:pt x="59" y="100"/>
                  <a:pt x="53" y="96"/>
                </a:cubicBezTo>
                <a:cubicBezTo>
                  <a:pt x="30" y="126"/>
                  <a:pt x="30" y="126"/>
                  <a:pt x="30" y="126"/>
                </a:cubicBezTo>
                <a:cubicBezTo>
                  <a:pt x="43" y="135"/>
                  <a:pt x="58" y="140"/>
                  <a:pt x="74" y="140"/>
                </a:cubicBezTo>
                <a:cubicBezTo>
                  <a:pt x="91" y="140"/>
                  <a:pt x="106" y="134"/>
                  <a:pt x="119" y="125"/>
                </a:cubicBezTo>
                <a:cubicBezTo>
                  <a:pt x="95" y="95"/>
                  <a:pt x="95" y="95"/>
                  <a:pt x="95" y="95"/>
                </a:cubicBezTo>
                <a:cubicBezTo>
                  <a:pt x="89" y="99"/>
                  <a:pt x="82" y="102"/>
                  <a:pt x="74" y="102"/>
                </a:cubicBezTo>
                <a:close/>
                <a:moveTo>
                  <a:pt x="38" y="67"/>
                </a:moveTo>
                <a:cubicBezTo>
                  <a:pt x="38" y="53"/>
                  <a:pt x="47" y="40"/>
                  <a:pt x="60" y="35"/>
                </a:cubicBezTo>
                <a:cubicBezTo>
                  <a:pt x="44" y="0"/>
                  <a:pt x="44" y="0"/>
                  <a:pt x="44" y="0"/>
                </a:cubicBezTo>
                <a:cubicBezTo>
                  <a:pt x="18" y="12"/>
                  <a:pt x="0" y="37"/>
                  <a:pt x="0" y="67"/>
                </a:cubicBezTo>
                <a:cubicBezTo>
                  <a:pt x="0" y="70"/>
                  <a:pt x="0" y="73"/>
                  <a:pt x="0" y="77"/>
                </a:cubicBezTo>
                <a:cubicBezTo>
                  <a:pt x="39" y="72"/>
                  <a:pt x="39" y="72"/>
                  <a:pt x="39" y="72"/>
                </a:cubicBezTo>
                <a:cubicBezTo>
                  <a:pt x="38" y="70"/>
                  <a:pt x="38" y="69"/>
                  <a:pt x="38" y="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26" name="Freeform 85"/>
          <p:cNvSpPr>
            <a:spLocks noEditPoints="1"/>
          </p:cNvSpPr>
          <p:nvPr/>
        </p:nvSpPr>
        <p:spPr bwMode="auto">
          <a:xfrm>
            <a:off x="4792134" y="4557185"/>
            <a:ext cx="463551" cy="501649"/>
          </a:xfrm>
          <a:custGeom>
            <a:avLst/>
            <a:gdLst>
              <a:gd name="T0" fmla="*/ 402627617 w 154"/>
              <a:gd name="T1" fmla="*/ 601027275 h 166"/>
              <a:gd name="T2" fmla="*/ 326177878 w 154"/>
              <a:gd name="T3" fmla="*/ 647259096 h 166"/>
              <a:gd name="T4" fmla="*/ 300696889 w 154"/>
              <a:gd name="T5" fmla="*/ 652397224 h 166"/>
              <a:gd name="T6" fmla="*/ 270116091 w 154"/>
              <a:gd name="T7" fmla="*/ 852738894 h 166"/>
              <a:gd name="T8" fmla="*/ 535136886 w 154"/>
              <a:gd name="T9" fmla="*/ 852738894 h 166"/>
              <a:gd name="T10" fmla="*/ 489267946 w 154"/>
              <a:gd name="T11" fmla="*/ 662671214 h 166"/>
              <a:gd name="T12" fmla="*/ 402627617 w 154"/>
              <a:gd name="T13" fmla="*/ 601027275 h 166"/>
              <a:gd name="T14" fmla="*/ 754288742 w 154"/>
              <a:gd name="T15" fmla="*/ 256849747 h 166"/>
              <a:gd name="T16" fmla="*/ 631970062 w 154"/>
              <a:gd name="T17" fmla="*/ 148971720 h 166"/>
              <a:gd name="T18" fmla="*/ 631970062 w 154"/>
              <a:gd name="T19" fmla="*/ 97601771 h 166"/>
              <a:gd name="T20" fmla="*/ 489267946 w 154"/>
              <a:gd name="T21" fmla="*/ 25683841 h 166"/>
              <a:gd name="T22" fmla="*/ 433206158 w 154"/>
              <a:gd name="T23" fmla="*/ 77053791 h 166"/>
              <a:gd name="T24" fmla="*/ 244632844 w 154"/>
              <a:gd name="T25" fmla="*/ 20547980 h 166"/>
              <a:gd name="T26" fmla="*/ 127413974 w 154"/>
              <a:gd name="T27" fmla="*/ 210615659 h 166"/>
              <a:gd name="T28" fmla="*/ 86640329 w 154"/>
              <a:gd name="T29" fmla="*/ 215753788 h 166"/>
              <a:gd name="T30" fmla="*/ 20385694 w 154"/>
              <a:gd name="T31" fmla="*/ 354451518 h 166"/>
              <a:gd name="T32" fmla="*/ 91737881 w 154"/>
              <a:gd name="T33" fmla="*/ 421233585 h 166"/>
              <a:gd name="T34" fmla="*/ 76447482 w 154"/>
              <a:gd name="T35" fmla="*/ 493149248 h 166"/>
              <a:gd name="T36" fmla="*/ 157992516 w 154"/>
              <a:gd name="T37" fmla="*/ 534245208 h 166"/>
              <a:gd name="T38" fmla="*/ 173282915 w 154"/>
              <a:gd name="T39" fmla="*/ 529109346 h 166"/>
              <a:gd name="T40" fmla="*/ 341468277 w 154"/>
              <a:gd name="T41" fmla="*/ 606163137 h 166"/>
              <a:gd name="T42" fmla="*/ 407722912 w 154"/>
              <a:gd name="T43" fmla="*/ 554793187 h 166"/>
              <a:gd name="T44" fmla="*/ 545329733 w 154"/>
              <a:gd name="T45" fmla="*/ 616437127 h 166"/>
              <a:gd name="T46" fmla="*/ 611584368 w 154"/>
              <a:gd name="T47" fmla="*/ 477739396 h 166"/>
              <a:gd name="T48" fmla="*/ 611584368 w 154"/>
              <a:gd name="T49" fmla="*/ 477739396 h 166"/>
              <a:gd name="T50" fmla="*/ 647260461 w 154"/>
              <a:gd name="T51" fmla="*/ 472601268 h 166"/>
              <a:gd name="T52" fmla="*/ 754288742 w 154"/>
              <a:gd name="T53" fmla="*/ 256849747 h 16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54" h="166">
                <a:moveTo>
                  <a:pt x="79" y="117"/>
                </a:moveTo>
                <a:cubicBezTo>
                  <a:pt x="76" y="122"/>
                  <a:pt x="70" y="124"/>
                  <a:pt x="64" y="126"/>
                </a:cubicBezTo>
                <a:cubicBezTo>
                  <a:pt x="63" y="126"/>
                  <a:pt x="61" y="127"/>
                  <a:pt x="59" y="127"/>
                </a:cubicBezTo>
                <a:cubicBezTo>
                  <a:pt x="53" y="166"/>
                  <a:pt x="53" y="166"/>
                  <a:pt x="53" y="166"/>
                </a:cubicBezTo>
                <a:cubicBezTo>
                  <a:pt x="105" y="166"/>
                  <a:pt x="105" y="166"/>
                  <a:pt x="105" y="166"/>
                </a:cubicBezTo>
                <a:cubicBezTo>
                  <a:pt x="96" y="129"/>
                  <a:pt x="96" y="129"/>
                  <a:pt x="96" y="129"/>
                </a:cubicBezTo>
                <a:cubicBezTo>
                  <a:pt x="88" y="129"/>
                  <a:pt x="82" y="125"/>
                  <a:pt x="79" y="117"/>
                </a:cubicBezTo>
                <a:close/>
                <a:moveTo>
                  <a:pt x="148" y="50"/>
                </a:moveTo>
                <a:cubicBezTo>
                  <a:pt x="144" y="39"/>
                  <a:pt x="135" y="32"/>
                  <a:pt x="124" y="29"/>
                </a:cubicBezTo>
                <a:cubicBezTo>
                  <a:pt x="125" y="26"/>
                  <a:pt x="125" y="22"/>
                  <a:pt x="124" y="19"/>
                </a:cubicBezTo>
                <a:cubicBezTo>
                  <a:pt x="120" y="8"/>
                  <a:pt x="107" y="2"/>
                  <a:pt x="96" y="5"/>
                </a:cubicBezTo>
                <a:cubicBezTo>
                  <a:pt x="91" y="7"/>
                  <a:pt x="87" y="10"/>
                  <a:pt x="85" y="15"/>
                </a:cubicBezTo>
                <a:cubicBezTo>
                  <a:pt x="76" y="4"/>
                  <a:pt x="61" y="0"/>
                  <a:pt x="48" y="4"/>
                </a:cubicBezTo>
                <a:cubicBezTo>
                  <a:pt x="32" y="9"/>
                  <a:pt x="23" y="25"/>
                  <a:pt x="25" y="41"/>
                </a:cubicBezTo>
                <a:cubicBezTo>
                  <a:pt x="23" y="41"/>
                  <a:pt x="20" y="41"/>
                  <a:pt x="17" y="42"/>
                </a:cubicBezTo>
                <a:cubicBezTo>
                  <a:pt x="6" y="46"/>
                  <a:pt x="0" y="58"/>
                  <a:pt x="4" y="69"/>
                </a:cubicBezTo>
                <a:cubicBezTo>
                  <a:pt x="6" y="76"/>
                  <a:pt x="12" y="80"/>
                  <a:pt x="18" y="82"/>
                </a:cubicBezTo>
                <a:cubicBezTo>
                  <a:pt x="14" y="86"/>
                  <a:pt x="13" y="91"/>
                  <a:pt x="15" y="96"/>
                </a:cubicBezTo>
                <a:cubicBezTo>
                  <a:pt x="17" y="103"/>
                  <a:pt x="25" y="106"/>
                  <a:pt x="31" y="104"/>
                </a:cubicBezTo>
                <a:cubicBezTo>
                  <a:pt x="32" y="104"/>
                  <a:pt x="33" y="104"/>
                  <a:pt x="34" y="103"/>
                </a:cubicBezTo>
                <a:cubicBezTo>
                  <a:pt x="39" y="116"/>
                  <a:pt x="53" y="122"/>
                  <a:pt x="67" y="118"/>
                </a:cubicBezTo>
                <a:cubicBezTo>
                  <a:pt x="72" y="116"/>
                  <a:pt x="76" y="113"/>
                  <a:pt x="80" y="108"/>
                </a:cubicBezTo>
                <a:cubicBezTo>
                  <a:pt x="84" y="119"/>
                  <a:pt x="96" y="124"/>
                  <a:pt x="107" y="120"/>
                </a:cubicBezTo>
                <a:cubicBezTo>
                  <a:pt x="118" y="117"/>
                  <a:pt x="124" y="105"/>
                  <a:pt x="120" y="93"/>
                </a:cubicBezTo>
                <a:cubicBezTo>
                  <a:pt x="120" y="93"/>
                  <a:pt x="120" y="93"/>
                  <a:pt x="120" y="93"/>
                </a:cubicBezTo>
                <a:cubicBezTo>
                  <a:pt x="122" y="93"/>
                  <a:pt x="124" y="92"/>
                  <a:pt x="127" y="92"/>
                </a:cubicBezTo>
                <a:cubicBezTo>
                  <a:pt x="144" y="86"/>
                  <a:pt x="154" y="67"/>
                  <a:pt x="148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27" name="Freeform 86"/>
          <p:cNvSpPr>
            <a:spLocks/>
          </p:cNvSpPr>
          <p:nvPr/>
        </p:nvSpPr>
        <p:spPr bwMode="auto">
          <a:xfrm>
            <a:off x="5482167" y="4838700"/>
            <a:ext cx="328084" cy="247651"/>
          </a:xfrm>
          <a:custGeom>
            <a:avLst/>
            <a:gdLst>
              <a:gd name="T0" fmla="*/ 0 w 109"/>
              <a:gd name="T1" fmla="*/ 102613450 h 82"/>
              <a:gd name="T2" fmla="*/ 555477064 w 109"/>
              <a:gd name="T3" fmla="*/ 277055408 h 82"/>
              <a:gd name="T4" fmla="*/ 0 w 109"/>
              <a:gd name="T5" fmla="*/ 102613450 h 8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9" h="82">
                <a:moveTo>
                  <a:pt x="0" y="20"/>
                </a:moveTo>
                <a:cubicBezTo>
                  <a:pt x="0" y="20"/>
                  <a:pt x="38" y="82"/>
                  <a:pt x="109" y="54"/>
                </a:cubicBezTo>
                <a:cubicBezTo>
                  <a:pt x="109" y="54"/>
                  <a:pt x="74" y="0"/>
                  <a:pt x="0" y="2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28" name="Freeform 87"/>
          <p:cNvSpPr>
            <a:spLocks/>
          </p:cNvSpPr>
          <p:nvPr/>
        </p:nvSpPr>
        <p:spPr bwMode="auto">
          <a:xfrm>
            <a:off x="5626101" y="4730751"/>
            <a:ext cx="184151" cy="150283"/>
          </a:xfrm>
          <a:custGeom>
            <a:avLst/>
            <a:gdLst>
              <a:gd name="T0" fmla="*/ 0 w 61"/>
              <a:gd name="T1" fmla="*/ 0 h 50"/>
              <a:gd name="T2" fmla="*/ 312708209 w 61"/>
              <a:gd name="T3" fmla="*/ 254082153 h 50"/>
              <a:gd name="T4" fmla="*/ 0 w 61"/>
              <a:gd name="T5" fmla="*/ 0 h 5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61" h="50">
                <a:moveTo>
                  <a:pt x="0" y="0"/>
                </a:moveTo>
                <a:cubicBezTo>
                  <a:pt x="0" y="0"/>
                  <a:pt x="7" y="50"/>
                  <a:pt x="61" y="50"/>
                </a:cubicBezTo>
                <a:cubicBezTo>
                  <a:pt x="61" y="50"/>
                  <a:pt x="53" y="7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29" name="Freeform 88"/>
          <p:cNvSpPr>
            <a:spLocks/>
          </p:cNvSpPr>
          <p:nvPr/>
        </p:nvSpPr>
        <p:spPr bwMode="auto">
          <a:xfrm>
            <a:off x="5831418" y="4730751"/>
            <a:ext cx="184149" cy="150283"/>
          </a:xfrm>
          <a:custGeom>
            <a:avLst/>
            <a:gdLst>
              <a:gd name="T0" fmla="*/ 312705945 w 61"/>
              <a:gd name="T1" fmla="*/ 0 h 50"/>
              <a:gd name="T2" fmla="*/ 0 w 61"/>
              <a:gd name="T3" fmla="*/ 254082153 h 50"/>
              <a:gd name="T4" fmla="*/ 312705945 w 61"/>
              <a:gd name="T5" fmla="*/ 0 h 5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61" h="50">
                <a:moveTo>
                  <a:pt x="61" y="0"/>
                </a:moveTo>
                <a:cubicBezTo>
                  <a:pt x="61" y="0"/>
                  <a:pt x="54" y="50"/>
                  <a:pt x="0" y="50"/>
                </a:cubicBezTo>
                <a:cubicBezTo>
                  <a:pt x="0" y="50"/>
                  <a:pt x="8" y="7"/>
                  <a:pt x="6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0" name="Freeform 89"/>
          <p:cNvSpPr>
            <a:spLocks/>
          </p:cNvSpPr>
          <p:nvPr/>
        </p:nvSpPr>
        <p:spPr bwMode="auto">
          <a:xfrm>
            <a:off x="5846234" y="4838700"/>
            <a:ext cx="328084" cy="247651"/>
          </a:xfrm>
          <a:custGeom>
            <a:avLst/>
            <a:gdLst>
              <a:gd name="T0" fmla="*/ 555477064 w 109"/>
              <a:gd name="T1" fmla="*/ 102613450 h 82"/>
              <a:gd name="T2" fmla="*/ 0 w 109"/>
              <a:gd name="T3" fmla="*/ 277055408 h 82"/>
              <a:gd name="T4" fmla="*/ 555477064 w 109"/>
              <a:gd name="T5" fmla="*/ 102613450 h 8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9" h="82">
                <a:moveTo>
                  <a:pt x="109" y="20"/>
                </a:moveTo>
                <a:cubicBezTo>
                  <a:pt x="109" y="20"/>
                  <a:pt x="71" y="82"/>
                  <a:pt x="0" y="54"/>
                </a:cubicBezTo>
                <a:cubicBezTo>
                  <a:pt x="0" y="54"/>
                  <a:pt x="35" y="0"/>
                  <a:pt x="109" y="2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1" name="Freeform 90"/>
          <p:cNvSpPr>
            <a:spLocks/>
          </p:cNvSpPr>
          <p:nvPr/>
        </p:nvSpPr>
        <p:spPr bwMode="auto">
          <a:xfrm>
            <a:off x="5731933" y="4527551"/>
            <a:ext cx="177800" cy="245533"/>
          </a:xfrm>
          <a:custGeom>
            <a:avLst/>
            <a:gdLst>
              <a:gd name="T0" fmla="*/ 137926843 w 59"/>
              <a:gd name="T1" fmla="*/ 418657068 h 81"/>
              <a:gd name="T2" fmla="*/ 143034826 w 59"/>
              <a:gd name="T3" fmla="*/ 0 h 81"/>
              <a:gd name="T4" fmla="*/ 137926843 w 59"/>
              <a:gd name="T5" fmla="*/ 418657068 h 8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59" h="81">
                <a:moveTo>
                  <a:pt x="27" y="81"/>
                </a:moveTo>
                <a:cubicBezTo>
                  <a:pt x="27" y="81"/>
                  <a:pt x="0" y="60"/>
                  <a:pt x="28" y="0"/>
                </a:cubicBezTo>
                <a:cubicBezTo>
                  <a:pt x="28" y="0"/>
                  <a:pt x="59" y="53"/>
                  <a:pt x="27" y="8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2" name="Freeform 91"/>
          <p:cNvSpPr>
            <a:spLocks noEditPoints="1"/>
          </p:cNvSpPr>
          <p:nvPr/>
        </p:nvSpPr>
        <p:spPr bwMode="auto">
          <a:xfrm>
            <a:off x="6504518" y="4533901"/>
            <a:ext cx="427567" cy="554567"/>
          </a:xfrm>
          <a:custGeom>
            <a:avLst/>
            <a:gdLst>
              <a:gd name="T0" fmla="*/ 316187808 w 142"/>
              <a:gd name="T1" fmla="*/ 643820254 h 184"/>
              <a:gd name="T2" fmla="*/ 724172223 w 142"/>
              <a:gd name="T3" fmla="*/ 398555610 h 184"/>
              <a:gd name="T4" fmla="*/ 316187808 w 142"/>
              <a:gd name="T5" fmla="*/ 643820254 h 184"/>
              <a:gd name="T6" fmla="*/ 346787430 w 142"/>
              <a:gd name="T7" fmla="*/ 853317607 h 184"/>
              <a:gd name="T8" fmla="*/ 331487619 w 142"/>
              <a:gd name="T9" fmla="*/ 413883803 h 184"/>
              <a:gd name="T10" fmla="*/ 285588187 w 142"/>
              <a:gd name="T11" fmla="*/ 0 h 184"/>
              <a:gd name="T12" fmla="*/ 295788813 w 142"/>
              <a:gd name="T13" fmla="*/ 383227418 h 184"/>
              <a:gd name="T14" fmla="*/ 0 w 142"/>
              <a:gd name="T15" fmla="*/ 61317291 h 184"/>
              <a:gd name="T16" fmla="*/ 254990824 w 142"/>
              <a:gd name="T17" fmla="*/ 444542448 h 184"/>
              <a:gd name="T18" fmla="*/ 224391202 w 142"/>
              <a:gd name="T19" fmla="*/ 853317607 h 184"/>
              <a:gd name="T20" fmla="*/ 76496795 w 142"/>
              <a:gd name="T21" fmla="*/ 940182639 h 184"/>
              <a:gd name="T22" fmla="*/ 504880205 w 142"/>
              <a:gd name="T23" fmla="*/ 940182639 h 184"/>
              <a:gd name="T24" fmla="*/ 346787430 w 142"/>
              <a:gd name="T25" fmla="*/ 853317607 h 18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42" h="184">
                <a:moveTo>
                  <a:pt x="62" y="126"/>
                </a:moveTo>
                <a:cubicBezTo>
                  <a:pt x="62" y="126"/>
                  <a:pt x="104" y="159"/>
                  <a:pt x="142" y="78"/>
                </a:cubicBezTo>
                <a:cubicBezTo>
                  <a:pt x="142" y="78"/>
                  <a:pt x="63" y="63"/>
                  <a:pt x="62" y="126"/>
                </a:cubicBezTo>
                <a:close/>
                <a:moveTo>
                  <a:pt x="68" y="167"/>
                </a:moveTo>
                <a:cubicBezTo>
                  <a:pt x="56" y="150"/>
                  <a:pt x="45" y="121"/>
                  <a:pt x="65" y="81"/>
                </a:cubicBezTo>
                <a:cubicBezTo>
                  <a:pt x="101" y="12"/>
                  <a:pt x="56" y="0"/>
                  <a:pt x="56" y="0"/>
                </a:cubicBezTo>
                <a:cubicBezTo>
                  <a:pt x="56" y="0"/>
                  <a:pt x="94" y="17"/>
                  <a:pt x="58" y="75"/>
                </a:cubicBezTo>
                <a:cubicBezTo>
                  <a:pt x="69" y="26"/>
                  <a:pt x="0" y="12"/>
                  <a:pt x="0" y="12"/>
                </a:cubicBezTo>
                <a:cubicBezTo>
                  <a:pt x="2" y="86"/>
                  <a:pt x="38" y="88"/>
                  <a:pt x="50" y="87"/>
                </a:cubicBezTo>
                <a:cubicBezTo>
                  <a:pt x="28" y="122"/>
                  <a:pt x="34" y="150"/>
                  <a:pt x="44" y="167"/>
                </a:cubicBezTo>
                <a:cubicBezTo>
                  <a:pt x="28" y="170"/>
                  <a:pt x="16" y="176"/>
                  <a:pt x="15" y="184"/>
                </a:cubicBezTo>
                <a:cubicBezTo>
                  <a:pt x="99" y="184"/>
                  <a:pt x="99" y="184"/>
                  <a:pt x="99" y="184"/>
                </a:cubicBezTo>
                <a:cubicBezTo>
                  <a:pt x="98" y="176"/>
                  <a:pt x="85" y="169"/>
                  <a:pt x="68" y="1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3" name="Freeform 92"/>
          <p:cNvSpPr>
            <a:spLocks/>
          </p:cNvSpPr>
          <p:nvPr/>
        </p:nvSpPr>
        <p:spPr bwMode="auto">
          <a:xfrm>
            <a:off x="7363885" y="4584700"/>
            <a:ext cx="292100" cy="476251"/>
          </a:xfrm>
          <a:custGeom>
            <a:avLst/>
            <a:gdLst>
              <a:gd name="T0" fmla="*/ 178530315 w 97"/>
              <a:gd name="T1" fmla="*/ 0 h 158"/>
              <a:gd name="T2" fmla="*/ 178530315 w 97"/>
              <a:gd name="T3" fmla="*/ 10220550 h 158"/>
              <a:gd name="T4" fmla="*/ 158126980 w 97"/>
              <a:gd name="T5" fmla="*/ 250422698 h 158"/>
              <a:gd name="T6" fmla="*/ 45908634 w 97"/>
              <a:gd name="T7" fmla="*/ 439519834 h 158"/>
              <a:gd name="T8" fmla="*/ 45908634 w 97"/>
              <a:gd name="T9" fmla="*/ 439519834 h 158"/>
              <a:gd name="T10" fmla="*/ 5101963 w 97"/>
              <a:gd name="T11" fmla="*/ 587730247 h 158"/>
              <a:gd name="T12" fmla="*/ 260143658 w 97"/>
              <a:gd name="T13" fmla="*/ 792157078 h 158"/>
              <a:gd name="T14" fmla="*/ 484580349 w 97"/>
              <a:gd name="T15" fmla="*/ 511068207 h 158"/>
              <a:gd name="T16" fmla="*/ 178530315 w 97"/>
              <a:gd name="T17" fmla="*/ 0 h 15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97" h="158">
                <a:moveTo>
                  <a:pt x="35" y="0"/>
                </a:moveTo>
                <a:cubicBezTo>
                  <a:pt x="35" y="1"/>
                  <a:pt x="35" y="2"/>
                  <a:pt x="35" y="2"/>
                </a:cubicBezTo>
                <a:cubicBezTo>
                  <a:pt x="37" y="9"/>
                  <a:pt x="40" y="24"/>
                  <a:pt x="31" y="49"/>
                </a:cubicBezTo>
                <a:cubicBezTo>
                  <a:pt x="27" y="60"/>
                  <a:pt x="17" y="73"/>
                  <a:pt x="9" y="86"/>
                </a:cubicBezTo>
                <a:cubicBezTo>
                  <a:pt x="9" y="86"/>
                  <a:pt x="9" y="86"/>
                  <a:pt x="9" y="86"/>
                </a:cubicBezTo>
                <a:cubicBezTo>
                  <a:pt x="3" y="95"/>
                  <a:pt x="0" y="105"/>
                  <a:pt x="1" y="115"/>
                </a:cubicBezTo>
                <a:cubicBezTo>
                  <a:pt x="4" y="140"/>
                  <a:pt x="26" y="158"/>
                  <a:pt x="51" y="155"/>
                </a:cubicBezTo>
                <a:cubicBezTo>
                  <a:pt x="76" y="153"/>
                  <a:pt x="97" y="131"/>
                  <a:pt x="95" y="100"/>
                </a:cubicBezTo>
                <a:cubicBezTo>
                  <a:pt x="92" y="36"/>
                  <a:pt x="35" y="0"/>
                  <a:pt x="3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4" name="Freeform 93"/>
          <p:cNvSpPr>
            <a:spLocks/>
          </p:cNvSpPr>
          <p:nvPr/>
        </p:nvSpPr>
        <p:spPr bwMode="auto">
          <a:xfrm>
            <a:off x="7594600" y="4542367"/>
            <a:ext cx="169333" cy="317500"/>
          </a:xfrm>
          <a:custGeom>
            <a:avLst/>
            <a:gdLst>
              <a:gd name="T0" fmla="*/ 262302625 w 56"/>
              <a:gd name="T1" fmla="*/ 298304857 h 105"/>
              <a:gd name="T2" fmla="*/ 262302625 w 56"/>
              <a:gd name="T3" fmla="*/ 298304857 h 105"/>
              <a:gd name="T4" fmla="*/ 185154661 w 56"/>
              <a:gd name="T5" fmla="*/ 169724161 h 105"/>
              <a:gd name="T6" fmla="*/ 169724161 w 56"/>
              <a:gd name="T7" fmla="*/ 10287000 h 105"/>
              <a:gd name="T8" fmla="*/ 169724161 w 56"/>
              <a:gd name="T9" fmla="*/ 0 h 105"/>
              <a:gd name="T10" fmla="*/ 0 w 56"/>
              <a:gd name="T11" fmla="*/ 200582893 h 105"/>
              <a:gd name="T12" fmla="*/ 144008929 w 56"/>
              <a:gd name="T13" fmla="*/ 540033482 h 105"/>
              <a:gd name="T14" fmla="*/ 288017857 w 56"/>
              <a:gd name="T15" fmla="*/ 401168054 h 105"/>
              <a:gd name="T16" fmla="*/ 262302625 w 56"/>
              <a:gd name="T17" fmla="*/ 298304857 h 10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6" h="105">
                <a:moveTo>
                  <a:pt x="51" y="58"/>
                </a:moveTo>
                <a:cubicBezTo>
                  <a:pt x="51" y="58"/>
                  <a:pt x="51" y="58"/>
                  <a:pt x="51" y="58"/>
                </a:cubicBezTo>
                <a:cubicBezTo>
                  <a:pt x="45" y="50"/>
                  <a:pt x="39" y="40"/>
                  <a:pt x="36" y="33"/>
                </a:cubicBezTo>
                <a:cubicBezTo>
                  <a:pt x="30" y="17"/>
                  <a:pt x="32" y="6"/>
                  <a:pt x="33" y="2"/>
                </a:cubicBezTo>
                <a:cubicBezTo>
                  <a:pt x="33" y="1"/>
                  <a:pt x="33" y="1"/>
                  <a:pt x="33" y="0"/>
                </a:cubicBezTo>
                <a:cubicBezTo>
                  <a:pt x="33" y="0"/>
                  <a:pt x="11" y="14"/>
                  <a:pt x="0" y="39"/>
                </a:cubicBezTo>
                <a:cubicBezTo>
                  <a:pt x="13" y="55"/>
                  <a:pt x="25" y="77"/>
                  <a:pt x="28" y="105"/>
                </a:cubicBezTo>
                <a:cubicBezTo>
                  <a:pt x="42" y="104"/>
                  <a:pt x="54" y="93"/>
                  <a:pt x="56" y="78"/>
                </a:cubicBezTo>
                <a:cubicBezTo>
                  <a:pt x="56" y="71"/>
                  <a:pt x="55" y="64"/>
                  <a:pt x="51" y="5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5" name="Freeform 94"/>
          <p:cNvSpPr>
            <a:spLocks/>
          </p:cNvSpPr>
          <p:nvPr/>
        </p:nvSpPr>
        <p:spPr bwMode="auto">
          <a:xfrm>
            <a:off x="7255933" y="4616451"/>
            <a:ext cx="152400" cy="330200"/>
          </a:xfrm>
          <a:custGeom>
            <a:avLst/>
            <a:gdLst>
              <a:gd name="T0" fmla="*/ 125570876 w 51"/>
              <a:gd name="T1" fmla="*/ 532206604 h 110"/>
              <a:gd name="T2" fmla="*/ 160732694 w 51"/>
              <a:gd name="T3" fmla="*/ 385217324 h 110"/>
              <a:gd name="T4" fmla="*/ 160732694 w 51"/>
              <a:gd name="T5" fmla="*/ 385217324 h 110"/>
              <a:gd name="T6" fmla="*/ 256166471 w 51"/>
              <a:gd name="T7" fmla="*/ 223020082 h 110"/>
              <a:gd name="T8" fmla="*/ 226029371 w 51"/>
              <a:gd name="T9" fmla="*/ 172332881 h 110"/>
              <a:gd name="T10" fmla="*/ 190869794 w 51"/>
              <a:gd name="T11" fmla="*/ 5067820 h 110"/>
              <a:gd name="T12" fmla="*/ 190869794 w 51"/>
              <a:gd name="T13" fmla="*/ 0 h 110"/>
              <a:gd name="T14" fmla="*/ 15069671 w 51"/>
              <a:gd name="T15" fmla="*/ 390285143 h 110"/>
              <a:gd name="T16" fmla="*/ 130595594 w 51"/>
              <a:gd name="T17" fmla="*/ 557550205 h 110"/>
              <a:gd name="T18" fmla="*/ 125570876 w 51"/>
              <a:gd name="T19" fmla="*/ 532206604 h 11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1" h="110">
                <a:moveTo>
                  <a:pt x="25" y="105"/>
                </a:moveTo>
                <a:cubicBezTo>
                  <a:pt x="24" y="94"/>
                  <a:pt x="26" y="84"/>
                  <a:pt x="32" y="76"/>
                </a:cubicBezTo>
                <a:cubicBezTo>
                  <a:pt x="32" y="76"/>
                  <a:pt x="32" y="76"/>
                  <a:pt x="32" y="76"/>
                </a:cubicBezTo>
                <a:cubicBezTo>
                  <a:pt x="39" y="65"/>
                  <a:pt x="47" y="54"/>
                  <a:pt x="51" y="44"/>
                </a:cubicBezTo>
                <a:cubicBezTo>
                  <a:pt x="49" y="40"/>
                  <a:pt x="47" y="37"/>
                  <a:pt x="45" y="34"/>
                </a:cubicBezTo>
                <a:cubicBezTo>
                  <a:pt x="36" y="17"/>
                  <a:pt x="37" y="6"/>
                  <a:pt x="38" y="1"/>
                </a:cubicBezTo>
                <a:cubicBezTo>
                  <a:pt x="38" y="1"/>
                  <a:pt x="38" y="0"/>
                  <a:pt x="38" y="0"/>
                </a:cubicBezTo>
                <a:cubicBezTo>
                  <a:pt x="38" y="0"/>
                  <a:pt x="0" y="30"/>
                  <a:pt x="3" y="77"/>
                </a:cubicBezTo>
                <a:cubicBezTo>
                  <a:pt x="4" y="93"/>
                  <a:pt x="14" y="105"/>
                  <a:pt x="26" y="110"/>
                </a:cubicBezTo>
                <a:cubicBezTo>
                  <a:pt x="25" y="108"/>
                  <a:pt x="25" y="107"/>
                  <a:pt x="25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6" name="Freeform 95"/>
          <p:cNvSpPr>
            <a:spLocks noEditPoints="1"/>
          </p:cNvSpPr>
          <p:nvPr/>
        </p:nvSpPr>
        <p:spPr bwMode="auto">
          <a:xfrm>
            <a:off x="8087785" y="4516967"/>
            <a:ext cx="605367" cy="590551"/>
          </a:xfrm>
          <a:custGeom>
            <a:avLst/>
            <a:gdLst>
              <a:gd name="T0" fmla="*/ 673506558 w 201"/>
              <a:gd name="T1" fmla="*/ 86810948 h 196"/>
              <a:gd name="T2" fmla="*/ 250014175 w 201"/>
              <a:gd name="T3" fmla="*/ 148088865 h 196"/>
              <a:gd name="T4" fmla="*/ 280628109 w 201"/>
              <a:gd name="T5" fmla="*/ 163407780 h 196"/>
              <a:gd name="T6" fmla="*/ 392878449 w 201"/>
              <a:gd name="T7" fmla="*/ 163407780 h 196"/>
              <a:gd name="T8" fmla="*/ 413286986 w 201"/>
              <a:gd name="T9" fmla="*/ 214473841 h 196"/>
              <a:gd name="T10" fmla="*/ 418389685 w 201"/>
              <a:gd name="T11" fmla="*/ 321710761 h 196"/>
              <a:gd name="T12" fmla="*/ 438798221 w 201"/>
              <a:gd name="T13" fmla="*/ 398307593 h 196"/>
              <a:gd name="T14" fmla="*/ 443900920 w 201"/>
              <a:gd name="T15" fmla="*/ 342136734 h 196"/>
              <a:gd name="T16" fmla="*/ 464311716 w 201"/>
              <a:gd name="T17" fmla="*/ 428947682 h 196"/>
              <a:gd name="T18" fmla="*/ 556153519 w 201"/>
              <a:gd name="T19" fmla="*/ 515758630 h 196"/>
              <a:gd name="T20" fmla="*/ 586767453 w 201"/>
              <a:gd name="T21" fmla="*/ 597462520 h 196"/>
              <a:gd name="T22" fmla="*/ 581664755 w 201"/>
              <a:gd name="T23" fmla="*/ 735337269 h 196"/>
              <a:gd name="T24" fmla="*/ 505128789 w 201"/>
              <a:gd name="T25" fmla="*/ 888533193 h 196"/>
              <a:gd name="T26" fmla="*/ 494925650 w 201"/>
              <a:gd name="T27" fmla="*/ 939599254 h 196"/>
              <a:gd name="T28" fmla="*/ 607175990 w 201"/>
              <a:gd name="T29" fmla="*/ 275751758 h 196"/>
              <a:gd name="T30" fmla="*/ 520436886 w 201"/>
              <a:gd name="T31" fmla="*/ 914066223 h 196"/>
              <a:gd name="T32" fmla="*/ 632687226 w 201"/>
              <a:gd name="T33" fmla="*/ 837469391 h 196"/>
              <a:gd name="T34" fmla="*/ 801062736 w 201"/>
              <a:gd name="T35" fmla="*/ 694485324 h 196"/>
              <a:gd name="T36" fmla="*/ 699017794 w 201"/>
              <a:gd name="T37" fmla="*/ 571929489 h 196"/>
              <a:gd name="T38" fmla="*/ 581664755 w 201"/>
              <a:gd name="T39" fmla="*/ 495332657 h 196"/>
              <a:gd name="T40" fmla="*/ 576562056 w 201"/>
              <a:gd name="T41" fmla="*/ 393202795 h 196"/>
              <a:gd name="T42" fmla="*/ 714323631 w 201"/>
              <a:gd name="T43" fmla="*/ 337029676 h 196"/>
              <a:gd name="T44" fmla="*/ 739834867 w 201"/>
              <a:gd name="T45" fmla="*/ 316603703 h 196"/>
              <a:gd name="T46" fmla="*/ 750040265 w 201"/>
              <a:gd name="T47" fmla="*/ 245111670 h 196"/>
              <a:gd name="T48" fmla="*/ 678609257 w 201"/>
              <a:gd name="T49" fmla="*/ 255325786 h 196"/>
              <a:gd name="T50" fmla="*/ 658198461 w 201"/>
              <a:gd name="T51" fmla="*/ 168514838 h 196"/>
              <a:gd name="T52" fmla="*/ 678609257 w 201"/>
              <a:gd name="T53" fmla="*/ 158302982 h 196"/>
              <a:gd name="T54" fmla="*/ 699017794 w 201"/>
              <a:gd name="T55" fmla="*/ 194047868 h 196"/>
              <a:gd name="T56" fmla="*/ 760245662 w 201"/>
              <a:gd name="T57" fmla="*/ 224685697 h 196"/>
              <a:gd name="T58" fmla="*/ 755142964 w 201"/>
              <a:gd name="T59" fmla="*/ 188940810 h 196"/>
              <a:gd name="T60" fmla="*/ 693915095 w 201"/>
              <a:gd name="T61" fmla="*/ 142981807 h 196"/>
              <a:gd name="T62" fmla="*/ 658198461 w 201"/>
              <a:gd name="T63" fmla="*/ 158302982 h 196"/>
              <a:gd name="T64" fmla="*/ 617381388 w 201"/>
              <a:gd name="T65" fmla="*/ 107236920 h 196"/>
              <a:gd name="T66" fmla="*/ 571459357 w 201"/>
              <a:gd name="T67" fmla="*/ 127662893 h 196"/>
              <a:gd name="T68" fmla="*/ 443900920 w 201"/>
              <a:gd name="T69" fmla="*/ 102129862 h 196"/>
              <a:gd name="T70" fmla="*/ 632687226 w 201"/>
              <a:gd name="T71" fmla="*/ 76596832 h 196"/>
              <a:gd name="T72" fmla="*/ 658198461 w 201"/>
              <a:gd name="T73" fmla="*/ 102129862 h 196"/>
              <a:gd name="T74" fmla="*/ 658198461 w 201"/>
              <a:gd name="T75" fmla="*/ 112343979 h 196"/>
              <a:gd name="T76" fmla="*/ 704120492 w 201"/>
              <a:gd name="T77" fmla="*/ 127662893 h 196"/>
              <a:gd name="T78" fmla="*/ 750040265 w 201"/>
              <a:gd name="T79" fmla="*/ 137877009 h 196"/>
              <a:gd name="T80" fmla="*/ 811268134 w 201"/>
              <a:gd name="T81" fmla="*/ 219580899 h 196"/>
              <a:gd name="T82" fmla="*/ 841882068 w 201"/>
              <a:gd name="T83" fmla="*/ 291070673 h 196"/>
              <a:gd name="T84" fmla="*/ 918418034 w 201"/>
              <a:gd name="T85" fmla="*/ 306391847 h 196"/>
              <a:gd name="T86" fmla="*/ 928621173 w 201"/>
              <a:gd name="T87" fmla="*/ 337029676 h 196"/>
              <a:gd name="T88" fmla="*/ 637789925 w 201"/>
              <a:gd name="T89" fmla="*/ 326817820 h 196"/>
              <a:gd name="T90" fmla="*/ 566356658 w 201"/>
              <a:gd name="T91" fmla="*/ 71492034 h 196"/>
              <a:gd name="T92" fmla="*/ 556153519 w 201"/>
              <a:gd name="T93" fmla="*/ 81703890 h 196"/>
              <a:gd name="T94" fmla="*/ 540845422 w 201"/>
              <a:gd name="T95" fmla="*/ 86810948 h 196"/>
              <a:gd name="T96" fmla="*/ 515334187 w 201"/>
              <a:gd name="T97" fmla="*/ 76596832 h 196"/>
              <a:gd name="T98" fmla="*/ 219400240 w 201"/>
              <a:gd name="T99" fmla="*/ 178728954 h 196"/>
              <a:gd name="T100" fmla="*/ 622481828 w 201"/>
              <a:gd name="T101" fmla="*/ 76596832 h 196"/>
              <a:gd name="T102" fmla="*/ 591867894 w 201"/>
              <a:gd name="T103" fmla="*/ 71492034 h 196"/>
              <a:gd name="T104" fmla="*/ 739834867 w 201"/>
              <a:gd name="T105" fmla="*/ 234899813 h 196"/>
              <a:gd name="T106" fmla="*/ 801062736 w 201"/>
              <a:gd name="T107" fmla="*/ 337029676 h 196"/>
              <a:gd name="T108" fmla="*/ 653095762 w 201"/>
              <a:gd name="T109" fmla="*/ 490225599 h 196"/>
              <a:gd name="T110" fmla="*/ 632687226 w 201"/>
              <a:gd name="T111" fmla="*/ 474906685 h 196"/>
              <a:gd name="T112" fmla="*/ 591867894 w 201"/>
              <a:gd name="T113" fmla="*/ 86810948 h 196"/>
              <a:gd name="T114" fmla="*/ 637789925 w 201"/>
              <a:gd name="T115" fmla="*/ 107236920 h 196"/>
              <a:gd name="T116" fmla="*/ 581664755 w 201"/>
              <a:gd name="T117" fmla="*/ 97022804 h 196"/>
              <a:gd name="T118" fmla="*/ 530640025 w 201"/>
              <a:gd name="T119" fmla="*/ 91918006 h 196"/>
              <a:gd name="T120" fmla="*/ 515334187 w 201"/>
              <a:gd name="T121" fmla="*/ 91918006 h 196"/>
              <a:gd name="T122" fmla="*/ 591867894 w 201"/>
              <a:gd name="T123" fmla="*/ 127662893 h 196"/>
              <a:gd name="T124" fmla="*/ 591867894 w 201"/>
              <a:gd name="T125" fmla="*/ 127662893 h 19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01" h="196">
                <a:moveTo>
                  <a:pt x="190" y="124"/>
                </a:moveTo>
                <a:cubicBezTo>
                  <a:pt x="201" y="86"/>
                  <a:pt x="187" y="47"/>
                  <a:pt x="156" y="25"/>
                </a:cubicBezTo>
                <a:cubicBezTo>
                  <a:pt x="148" y="19"/>
                  <a:pt x="138" y="14"/>
                  <a:pt x="127" y="11"/>
                </a:cubicBezTo>
                <a:cubicBezTo>
                  <a:pt x="89" y="0"/>
                  <a:pt x="49" y="14"/>
                  <a:pt x="26" y="44"/>
                </a:cubicBezTo>
                <a:cubicBezTo>
                  <a:pt x="20" y="52"/>
                  <a:pt x="15" y="62"/>
                  <a:pt x="12" y="72"/>
                </a:cubicBezTo>
                <a:cubicBezTo>
                  <a:pt x="0" y="110"/>
                  <a:pt x="15" y="149"/>
                  <a:pt x="46" y="171"/>
                </a:cubicBezTo>
                <a:cubicBezTo>
                  <a:pt x="54" y="177"/>
                  <a:pt x="64" y="182"/>
                  <a:pt x="75" y="185"/>
                </a:cubicBezTo>
                <a:cubicBezTo>
                  <a:pt x="113" y="196"/>
                  <a:pt x="153" y="182"/>
                  <a:pt x="176" y="152"/>
                </a:cubicBezTo>
                <a:cubicBezTo>
                  <a:pt x="182" y="144"/>
                  <a:pt x="187" y="134"/>
                  <a:pt x="190" y="124"/>
                </a:cubicBezTo>
                <a:close/>
                <a:moveTo>
                  <a:pt x="177" y="56"/>
                </a:moveTo>
                <a:cubicBezTo>
                  <a:pt x="177" y="57"/>
                  <a:pt x="178" y="57"/>
                  <a:pt x="178" y="57"/>
                </a:cubicBezTo>
                <a:cubicBezTo>
                  <a:pt x="178" y="57"/>
                  <a:pt x="178" y="57"/>
                  <a:pt x="178" y="57"/>
                </a:cubicBezTo>
                <a:cubicBezTo>
                  <a:pt x="178" y="57"/>
                  <a:pt x="178" y="57"/>
                  <a:pt x="178" y="57"/>
                </a:cubicBezTo>
                <a:cubicBezTo>
                  <a:pt x="179" y="58"/>
                  <a:pt x="179" y="58"/>
                  <a:pt x="179" y="58"/>
                </a:cubicBezTo>
                <a:cubicBezTo>
                  <a:pt x="179" y="59"/>
                  <a:pt x="179" y="59"/>
                  <a:pt x="179" y="59"/>
                </a:cubicBezTo>
                <a:cubicBezTo>
                  <a:pt x="179" y="59"/>
                  <a:pt x="180" y="59"/>
                  <a:pt x="180" y="59"/>
                </a:cubicBezTo>
                <a:cubicBezTo>
                  <a:pt x="179" y="59"/>
                  <a:pt x="179" y="59"/>
                  <a:pt x="179" y="59"/>
                </a:cubicBezTo>
                <a:cubicBezTo>
                  <a:pt x="179" y="58"/>
                  <a:pt x="179" y="58"/>
                  <a:pt x="178" y="58"/>
                </a:cubicBezTo>
                <a:cubicBezTo>
                  <a:pt x="178" y="57"/>
                  <a:pt x="178" y="57"/>
                  <a:pt x="177" y="57"/>
                </a:cubicBezTo>
                <a:cubicBezTo>
                  <a:pt x="177" y="57"/>
                  <a:pt x="177" y="57"/>
                  <a:pt x="177" y="56"/>
                </a:cubicBezTo>
                <a:cubicBezTo>
                  <a:pt x="177" y="56"/>
                  <a:pt x="177" y="56"/>
                  <a:pt x="177" y="56"/>
                </a:cubicBezTo>
                <a:close/>
                <a:moveTo>
                  <a:pt x="132" y="17"/>
                </a:moveTo>
                <a:cubicBezTo>
                  <a:pt x="132" y="17"/>
                  <a:pt x="132" y="18"/>
                  <a:pt x="132" y="18"/>
                </a:cubicBezTo>
                <a:cubicBezTo>
                  <a:pt x="132" y="17"/>
                  <a:pt x="132" y="17"/>
                  <a:pt x="132" y="17"/>
                </a:cubicBezTo>
                <a:cubicBezTo>
                  <a:pt x="132" y="17"/>
                  <a:pt x="132" y="17"/>
                  <a:pt x="132" y="17"/>
                </a:cubicBezTo>
                <a:close/>
                <a:moveTo>
                  <a:pt x="55" y="24"/>
                </a:moveTo>
                <a:cubicBezTo>
                  <a:pt x="55" y="24"/>
                  <a:pt x="55" y="24"/>
                  <a:pt x="55" y="24"/>
                </a:cubicBezTo>
                <a:cubicBezTo>
                  <a:pt x="55" y="24"/>
                  <a:pt x="57" y="24"/>
                  <a:pt x="57" y="25"/>
                </a:cubicBezTo>
                <a:cubicBezTo>
                  <a:pt x="56" y="25"/>
                  <a:pt x="56" y="25"/>
                  <a:pt x="56" y="25"/>
                </a:cubicBezTo>
                <a:cubicBezTo>
                  <a:pt x="55" y="25"/>
                  <a:pt x="55" y="25"/>
                  <a:pt x="55" y="25"/>
                </a:cubicBezTo>
                <a:cubicBezTo>
                  <a:pt x="55" y="25"/>
                  <a:pt x="55" y="25"/>
                  <a:pt x="55" y="25"/>
                </a:cubicBezTo>
                <a:cubicBezTo>
                  <a:pt x="55" y="25"/>
                  <a:pt x="55" y="25"/>
                  <a:pt x="54" y="25"/>
                </a:cubicBezTo>
                <a:cubicBezTo>
                  <a:pt x="55" y="25"/>
                  <a:pt x="55" y="25"/>
                  <a:pt x="55" y="24"/>
                </a:cubicBezTo>
                <a:close/>
                <a:moveTo>
                  <a:pt x="76" y="181"/>
                </a:moveTo>
                <a:cubicBezTo>
                  <a:pt x="66" y="178"/>
                  <a:pt x="57" y="173"/>
                  <a:pt x="49" y="167"/>
                </a:cubicBezTo>
                <a:cubicBezTo>
                  <a:pt x="20" y="146"/>
                  <a:pt x="6" y="109"/>
                  <a:pt x="16" y="74"/>
                </a:cubicBezTo>
                <a:cubicBezTo>
                  <a:pt x="19" y="64"/>
                  <a:pt x="24" y="55"/>
                  <a:pt x="30" y="47"/>
                </a:cubicBezTo>
                <a:cubicBezTo>
                  <a:pt x="36" y="39"/>
                  <a:pt x="43" y="32"/>
                  <a:pt x="51" y="27"/>
                </a:cubicBezTo>
                <a:cubicBezTo>
                  <a:pt x="51" y="27"/>
                  <a:pt x="51" y="27"/>
                  <a:pt x="51" y="27"/>
                </a:cubicBezTo>
                <a:cubicBezTo>
                  <a:pt x="52" y="27"/>
                  <a:pt x="54" y="26"/>
                  <a:pt x="54" y="26"/>
                </a:cubicBezTo>
                <a:cubicBezTo>
                  <a:pt x="54" y="27"/>
                  <a:pt x="56" y="26"/>
                  <a:pt x="56" y="26"/>
                </a:cubicBezTo>
                <a:cubicBezTo>
                  <a:pt x="56" y="27"/>
                  <a:pt x="55" y="27"/>
                  <a:pt x="55" y="27"/>
                </a:cubicBezTo>
                <a:cubicBezTo>
                  <a:pt x="55" y="27"/>
                  <a:pt x="55" y="27"/>
                  <a:pt x="54" y="27"/>
                </a:cubicBezTo>
                <a:cubicBezTo>
                  <a:pt x="54" y="27"/>
                  <a:pt x="53" y="27"/>
                  <a:pt x="53" y="27"/>
                </a:cubicBezTo>
                <a:cubicBezTo>
                  <a:pt x="53" y="27"/>
                  <a:pt x="52" y="27"/>
                  <a:pt x="52" y="27"/>
                </a:cubicBezTo>
                <a:cubicBezTo>
                  <a:pt x="52" y="27"/>
                  <a:pt x="52" y="27"/>
                  <a:pt x="52" y="28"/>
                </a:cubicBezTo>
                <a:cubicBezTo>
                  <a:pt x="51" y="28"/>
                  <a:pt x="51" y="28"/>
                  <a:pt x="51" y="28"/>
                </a:cubicBezTo>
                <a:cubicBezTo>
                  <a:pt x="50" y="28"/>
                  <a:pt x="50" y="28"/>
                  <a:pt x="50" y="28"/>
                </a:cubicBezTo>
                <a:cubicBezTo>
                  <a:pt x="50" y="29"/>
                  <a:pt x="50" y="29"/>
                  <a:pt x="50" y="29"/>
                </a:cubicBezTo>
                <a:cubicBezTo>
                  <a:pt x="50" y="29"/>
                  <a:pt x="50" y="29"/>
                  <a:pt x="49" y="29"/>
                </a:cubicBezTo>
                <a:cubicBezTo>
                  <a:pt x="49" y="29"/>
                  <a:pt x="50" y="29"/>
                  <a:pt x="50" y="30"/>
                </a:cubicBezTo>
                <a:cubicBezTo>
                  <a:pt x="49" y="30"/>
                  <a:pt x="50" y="30"/>
                  <a:pt x="50" y="30"/>
                </a:cubicBezTo>
                <a:cubicBezTo>
                  <a:pt x="50" y="30"/>
                  <a:pt x="50" y="31"/>
                  <a:pt x="51" y="30"/>
                </a:cubicBezTo>
                <a:cubicBezTo>
                  <a:pt x="51" y="30"/>
                  <a:pt x="51" y="31"/>
                  <a:pt x="51" y="31"/>
                </a:cubicBezTo>
                <a:cubicBezTo>
                  <a:pt x="51" y="31"/>
                  <a:pt x="52" y="31"/>
                  <a:pt x="53" y="31"/>
                </a:cubicBezTo>
                <a:cubicBezTo>
                  <a:pt x="53" y="31"/>
                  <a:pt x="53" y="31"/>
                  <a:pt x="53" y="31"/>
                </a:cubicBezTo>
                <a:cubicBezTo>
                  <a:pt x="53" y="31"/>
                  <a:pt x="53" y="31"/>
                  <a:pt x="54" y="31"/>
                </a:cubicBezTo>
                <a:cubicBezTo>
                  <a:pt x="54" y="31"/>
                  <a:pt x="54" y="31"/>
                  <a:pt x="55" y="31"/>
                </a:cubicBezTo>
                <a:cubicBezTo>
                  <a:pt x="55" y="31"/>
                  <a:pt x="55" y="31"/>
                  <a:pt x="54" y="32"/>
                </a:cubicBezTo>
                <a:cubicBezTo>
                  <a:pt x="53" y="32"/>
                  <a:pt x="52" y="33"/>
                  <a:pt x="52" y="33"/>
                </a:cubicBezTo>
                <a:cubicBezTo>
                  <a:pt x="52" y="33"/>
                  <a:pt x="51" y="33"/>
                  <a:pt x="51" y="33"/>
                </a:cubicBezTo>
                <a:cubicBezTo>
                  <a:pt x="50" y="33"/>
                  <a:pt x="50" y="33"/>
                  <a:pt x="50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33"/>
                  <a:pt x="48" y="34"/>
                  <a:pt x="47" y="34"/>
                </a:cubicBezTo>
                <a:cubicBezTo>
                  <a:pt x="47" y="34"/>
                  <a:pt x="46" y="35"/>
                  <a:pt x="46" y="35"/>
                </a:cubicBezTo>
                <a:cubicBezTo>
                  <a:pt x="46" y="35"/>
                  <a:pt x="46" y="35"/>
                  <a:pt x="46" y="35"/>
                </a:cubicBezTo>
                <a:cubicBezTo>
                  <a:pt x="46" y="35"/>
                  <a:pt x="47" y="35"/>
                  <a:pt x="47" y="35"/>
                </a:cubicBezTo>
                <a:cubicBezTo>
                  <a:pt x="47" y="35"/>
                  <a:pt x="47" y="35"/>
                  <a:pt x="48" y="34"/>
                </a:cubicBezTo>
                <a:cubicBezTo>
                  <a:pt x="48" y="34"/>
                  <a:pt x="49" y="34"/>
                  <a:pt x="49" y="34"/>
                </a:cubicBezTo>
                <a:cubicBezTo>
                  <a:pt x="49" y="34"/>
                  <a:pt x="49" y="34"/>
                  <a:pt x="50" y="34"/>
                </a:cubicBezTo>
                <a:cubicBezTo>
                  <a:pt x="50" y="34"/>
                  <a:pt x="51" y="34"/>
                  <a:pt x="51" y="34"/>
                </a:cubicBezTo>
                <a:cubicBezTo>
                  <a:pt x="51" y="34"/>
                  <a:pt x="51" y="34"/>
                  <a:pt x="51" y="34"/>
                </a:cubicBezTo>
                <a:cubicBezTo>
                  <a:pt x="51" y="34"/>
                  <a:pt x="51" y="34"/>
                  <a:pt x="51" y="33"/>
                </a:cubicBezTo>
                <a:cubicBezTo>
                  <a:pt x="51" y="33"/>
                  <a:pt x="52" y="33"/>
                  <a:pt x="53" y="33"/>
                </a:cubicBezTo>
                <a:cubicBezTo>
                  <a:pt x="54" y="32"/>
                  <a:pt x="55" y="33"/>
                  <a:pt x="55" y="32"/>
                </a:cubicBezTo>
                <a:cubicBezTo>
                  <a:pt x="56" y="32"/>
                  <a:pt x="56" y="32"/>
                  <a:pt x="57" y="32"/>
                </a:cubicBezTo>
                <a:cubicBezTo>
                  <a:pt x="58" y="31"/>
                  <a:pt x="58" y="31"/>
                  <a:pt x="58" y="31"/>
                </a:cubicBezTo>
                <a:cubicBezTo>
                  <a:pt x="58" y="31"/>
                  <a:pt x="58" y="31"/>
                  <a:pt x="59" y="31"/>
                </a:cubicBezTo>
                <a:cubicBezTo>
                  <a:pt x="60" y="31"/>
                  <a:pt x="59" y="30"/>
                  <a:pt x="59" y="30"/>
                </a:cubicBezTo>
                <a:cubicBezTo>
                  <a:pt x="59" y="30"/>
                  <a:pt x="59" y="30"/>
                  <a:pt x="60" y="30"/>
                </a:cubicBezTo>
                <a:cubicBezTo>
                  <a:pt x="60" y="29"/>
                  <a:pt x="60" y="30"/>
                  <a:pt x="61" y="29"/>
                </a:cubicBezTo>
                <a:cubicBezTo>
                  <a:pt x="62" y="28"/>
                  <a:pt x="62" y="30"/>
                  <a:pt x="61" y="30"/>
                </a:cubicBezTo>
                <a:cubicBezTo>
                  <a:pt x="61" y="30"/>
                  <a:pt x="62" y="30"/>
                  <a:pt x="62" y="30"/>
                </a:cubicBezTo>
                <a:cubicBezTo>
                  <a:pt x="62" y="30"/>
                  <a:pt x="63" y="30"/>
                  <a:pt x="63" y="30"/>
                </a:cubicBezTo>
                <a:cubicBezTo>
                  <a:pt x="64" y="29"/>
                  <a:pt x="65" y="29"/>
                  <a:pt x="65" y="29"/>
                </a:cubicBezTo>
                <a:cubicBezTo>
                  <a:pt x="65" y="29"/>
                  <a:pt x="65" y="29"/>
                  <a:pt x="65" y="29"/>
                </a:cubicBezTo>
                <a:cubicBezTo>
                  <a:pt x="66" y="28"/>
                  <a:pt x="66" y="28"/>
                  <a:pt x="67" y="28"/>
                </a:cubicBezTo>
                <a:cubicBezTo>
                  <a:pt x="67" y="28"/>
                  <a:pt x="67" y="29"/>
                  <a:pt x="67" y="29"/>
                </a:cubicBezTo>
                <a:cubicBezTo>
                  <a:pt x="67" y="29"/>
                  <a:pt x="66" y="29"/>
                  <a:pt x="66" y="29"/>
                </a:cubicBezTo>
                <a:cubicBezTo>
                  <a:pt x="66" y="29"/>
                  <a:pt x="67" y="29"/>
                  <a:pt x="68" y="29"/>
                </a:cubicBezTo>
                <a:cubicBezTo>
                  <a:pt x="69" y="30"/>
                  <a:pt x="70" y="29"/>
                  <a:pt x="70" y="29"/>
                </a:cubicBezTo>
                <a:cubicBezTo>
                  <a:pt x="70" y="29"/>
                  <a:pt x="70" y="29"/>
                  <a:pt x="70" y="29"/>
                </a:cubicBezTo>
                <a:cubicBezTo>
                  <a:pt x="71" y="30"/>
                  <a:pt x="71" y="30"/>
                  <a:pt x="71" y="30"/>
                </a:cubicBezTo>
                <a:cubicBezTo>
                  <a:pt x="71" y="30"/>
                  <a:pt x="73" y="30"/>
                  <a:pt x="73" y="30"/>
                </a:cubicBezTo>
                <a:cubicBezTo>
                  <a:pt x="73" y="31"/>
                  <a:pt x="74" y="31"/>
                  <a:pt x="74" y="31"/>
                </a:cubicBezTo>
                <a:cubicBezTo>
                  <a:pt x="74" y="31"/>
                  <a:pt x="75" y="32"/>
                  <a:pt x="75" y="32"/>
                </a:cubicBezTo>
                <a:cubicBezTo>
                  <a:pt x="75" y="33"/>
                  <a:pt x="75" y="33"/>
                  <a:pt x="75" y="33"/>
                </a:cubicBezTo>
                <a:cubicBezTo>
                  <a:pt x="76" y="33"/>
                  <a:pt x="76" y="33"/>
                  <a:pt x="76" y="34"/>
                </a:cubicBezTo>
                <a:cubicBezTo>
                  <a:pt x="76" y="33"/>
                  <a:pt x="76" y="33"/>
                  <a:pt x="77" y="33"/>
                </a:cubicBezTo>
                <a:cubicBezTo>
                  <a:pt x="77" y="33"/>
                  <a:pt x="76" y="33"/>
                  <a:pt x="77" y="32"/>
                </a:cubicBezTo>
                <a:cubicBezTo>
                  <a:pt x="77" y="31"/>
                  <a:pt x="77" y="31"/>
                  <a:pt x="77" y="31"/>
                </a:cubicBezTo>
                <a:cubicBezTo>
                  <a:pt x="77" y="31"/>
                  <a:pt x="77" y="32"/>
                  <a:pt x="77" y="32"/>
                </a:cubicBezTo>
                <a:cubicBezTo>
                  <a:pt x="77" y="33"/>
                  <a:pt x="77" y="33"/>
                  <a:pt x="77" y="33"/>
                </a:cubicBezTo>
                <a:cubicBezTo>
                  <a:pt x="78" y="33"/>
                  <a:pt x="78" y="32"/>
                  <a:pt x="78" y="32"/>
                </a:cubicBezTo>
                <a:cubicBezTo>
                  <a:pt x="78" y="32"/>
                  <a:pt x="78" y="33"/>
                  <a:pt x="78" y="33"/>
                </a:cubicBezTo>
                <a:cubicBezTo>
                  <a:pt x="78" y="33"/>
                  <a:pt x="77" y="33"/>
                  <a:pt x="77" y="33"/>
                </a:cubicBezTo>
                <a:cubicBezTo>
                  <a:pt x="77" y="33"/>
                  <a:pt x="76" y="34"/>
                  <a:pt x="77" y="34"/>
                </a:cubicBezTo>
                <a:cubicBezTo>
                  <a:pt x="77" y="34"/>
                  <a:pt x="77" y="34"/>
                  <a:pt x="77" y="35"/>
                </a:cubicBezTo>
                <a:cubicBezTo>
                  <a:pt x="76" y="35"/>
                  <a:pt x="77" y="35"/>
                  <a:pt x="77" y="35"/>
                </a:cubicBezTo>
                <a:cubicBezTo>
                  <a:pt x="77" y="35"/>
                  <a:pt x="78" y="35"/>
                  <a:pt x="78" y="36"/>
                </a:cubicBezTo>
                <a:cubicBezTo>
                  <a:pt x="78" y="36"/>
                  <a:pt x="78" y="35"/>
                  <a:pt x="78" y="35"/>
                </a:cubicBezTo>
                <a:cubicBezTo>
                  <a:pt x="78" y="35"/>
                  <a:pt x="79" y="35"/>
                  <a:pt x="78" y="35"/>
                </a:cubicBezTo>
                <a:cubicBezTo>
                  <a:pt x="78" y="36"/>
                  <a:pt x="79" y="36"/>
                  <a:pt x="79" y="36"/>
                </a:cubicBezTo>
                <a:cubicBezTo>
                  <a:pt x="79" y="36"/>
                  <a:pt x="79" y="36"/>
                  <a:pt x="79" y="37"/>
                </a:cubicBezTo>
                <a:cubicBezTo>
                  <a:pt x="79" y="37"/>
                  <a:pt x="79" y="37"/>
                  <a:pt x="79" y="38"/>
                </a:cubicBezTo>
                <a:cubicBezTo>
                  <a:pt x="79" y="38"/>
                  <a:pt x="79" y="38"/>
                  <a:pt x="80" y="38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8"/>
                  <a:pt x="80" y="39"/>
                  <a:pt x="80" y="39"/>
                </a:cubicBezTo>
                <a:cubicBezTo>
                  <a:pt x="80" y="39"/>
                  <a:pt x="80" y="40"/>
                  <a:pt x="81" y="40"/>
                </a:cubicBezTo>
                <a:cubicBezTo>
                  <a:pt x="81" y="40"/>
                  <a:pt x="80" y="40"/>
                  <a:pt x="81" y="41"/>
                </a:cubicBezTo>
                <a:cubicBezTo>
                  <a:pt x="81" y="41"/>
                  <a:pt x="81" y="41"/>
                  <a:pt x="80" y="40"/>
                </a:cubicBezTo>
                <a:cubicBezTo>
                  <a:pt x="80" y="40"/>
                  <a:pt x="80" y="40"/>
                  <a:pt x="79" y="41"/>
                </a:cubicBezTo>
                <a:cubicBezTo>
                  <a:pt x="79" y="41"/>
                  <a:pt x="80" y="42"/>
                  <a:pt x="81" y="42"/>
                </a:cubicBezTo>
                <a:cubicBezTo>
                  <a:pt x="81" y="42"/>
                  <a:pt x="81" y="42"/>
                  <a:pt x="81" y="42"/>
                </a:cubicBezTo>
                <a:cubicBezTo>
                  <a:pt x="81" y="42"/>
                  <a:pt x="81" y="43"/>
                  <a:pt x="82" y="43"/>
                </a:cubicBezTo>
                <a:cubicBezTo>
                  <a:pt x="82" y="43"/>
                  <a:pt x="82" y="43"/>
                  <a:pt x="82" y="43"/>
                </a:cubicBezTo>
                <a:cubicBezTo>
                  <a:pt x="82" y="43"/>
                  <a:pt x="82" y="43"/>
                  <a:pt x="82" y="43"/>
                </a:cubicBezTo>
                <a:cubicBezTo>
                  <a:pt x="82" y="43"/>
                  <a:pt x="82" y="43"/>
                  <a:pt x="82" y="44"/>
                </a:cubicBezTo>
                <a:cubicBezTo>
                  <a:pt x="82" y="44"/>
                  <a:pt x="83" y="44"/>
                  <a:pt x="83" y="44"/>
                </a:cubicBezTo>
                <a:cubicBezTo>
                  <a:pt x="83" y="44"/>
                  <a:pt x="83" y="44"/>
                  <a:pt x="82" y="44"/>
                </a:cubicBezTo>
                <a:cubicBezTo>
                  <a:pt x="82" y="44"/>
                  <a:pt x="82" y="45"/>
                  <a:pt x="82" y="45"/>
                </a:cubicBezTo>
                <a:cubicBezTo>
                  <a:pt x="82" y="45"/>
                  <a:pt x="82" y="45"/>
                  <a:pt x="82" y="46"/>
                </a:cubicBezTo>
                <a:cubicBezTo>
                  <a:pt x="82" y="46"/>
                  <a:pt x="81" y="48"/>
                  <a:pt x="81" y="49"/>
                </a:cubicBezTo>
                <a:cubicBezTo>
                  <a:pt x="81" y="49"/>
                  <a:pt x="80" y="50"/>
                  <a:pt x="80" y="50"/>
                </a:cubicBezTo>
                <a:cubicBezTo>
                  <a:pt x="80" y="51"/>
                  <a:pt x="80" y="51"/>
                  <a:pt x="80" y="51"/>
                </a:cubicBezTo>
                <a:cubicBezTo>
                  <a:pt x="80" y="51"/>
                  <a:pt x="80" y="52"/>
                  <a:pt x="79" y="53"/>
                </a:cubicBezTo>
                <a:cubicBezTo>
                  <a:pt x="78" y="53"/>
                  <a:pt x="78" y="54"/>
                  <a:pt x="79" y="54"/>
                </a:cubicBezTo>
                <a:cubicBezTo>
                  <a:pt x="79" y="54"/>
                  <a:pt x="79" y="54"/>
                  <a:pt x="79" y="54"/>
                </a:cubicBezTo>
                <a:cubicBezTo>
                  <a:pt x="79" y="55"/>
                  <a:pt x="79" y="55"/>
                  <a:pt x="79" y="55"/>
                </a:cubicBezTo>
                <a:cubicBezTo>
                  <a:pt x="79" y="56"/>
                  <a:pt x="79" y="56"/>
                  <a:pt x="79" y="56"/>
                </a:cubicBezTo>
                <a:cubicBezTo>
                  <a:pt x="79" y="57"/>
                  <a:pt x="79" y="57"/>
                  <a:pt x="79" y="58"/>
                </a:cubicBezTo>
                <a:cubicBezTo>
                  <a:pt x="79" y="58"/>
                  <a:pt x="79" y="58"/>
                  <a:pt x="80" y="58"/>
                </a:cubicBezTo>
                <a:cubicBezTo>
                  <a:pt x="80" y="58"/>
                  <a:pt x="80" y="59"/>
                  <a:pt x="79" y="59"/>
                </a:cubicBezTo>
                <a:cubicBezTo>
                  <a:pt x="79" y="59"/>
                  <a:pt x="80" y="59"/>
                  <a:pt x="80" y="59"/>
                </a:cubicBezTo>
                <a:cubicBezTo>
                  <a:pt x="80" y="59"/>
                  <a:pt x="80" y="60"/>
                  <a:pt x="80" y="61"/>
                </a:cubicBezTo>
                <a:cubicBezTo>
                  <a:pt x="81" y="61"/>
                  <a:pt x="81" y="61"/>
                  <a:pt x="81" y="62"/>
                </a:cubicBezTo>
                <a:cubicBezTo>
                  <a:pt x="81" y="62"/>
                  <a:pt x="81" y="62"/>
                  <a:pt x="81" y="62"/>
                </a:cubicBezTo>
                <a:cubicBezTo>
                  <a:pt x="82" y="62"/>
                  <a:pt x="82" y="62"/>
                  <a:pt x="82" y="62"/>
                </a:cubicBezTo>
                <a:cubicBezTo>
                  <a:pt x="82" y="63"/>
                  <a:pt x="82" y="63"/>
                  <a:pt x="82" y="63"/>
                </a:cubicBezTo>
                <a:cubicBezTo>
                  <a:pt x="82" y="63"/>
                  <a:pt x="83" y="63"/>
                  <a:pt x="83" y="63"/>
                </a:cubicBezTo>
                <a:cubicBezTo>
                  <a:pt x="83" y="63"/>
                  <a:pt x="83" y="63"/>
                  <a:pt x="83" y="63"/>
                </a:cubicBezTo>
                <a:cubicBezTo>
                  <a:pt x="83" y="63"/>
                  <a:pt x="83" y="63"/>
                  <a:pt x="83" y="63"/>
                </a:cubicBezTo>
                <a:cubicBezTo>
                  <a:pt x="83" y="64"/>
                  <a:pt x="83" y="64"/>
                  <a:pt x="83" y="65"/>
                </a:cubicBezTo>
                <a:cubicBezTo>
                  <a:pt x="83" y="65"/>
                  <a:pt x="83" y="65"/>
                  <a:pt x="83" y="65"/>
                </a:cubicBezTo>
                <a:cubicBezTo>
                  <a:pt x="83" y="65"/>
                  <a:pt x="83" y="65"/>
                  <a:pt x="83" y="65"/>
                </a:cubicBezTo>
                <a:cubicBezTo>
                  <a:pt x="83" y="65"/>
                  <a:pt x="83" y="66"/>
                  <a:pt x="83" y="66"/>
                </a:cubicBezTo>
                <a:cubicBezTo>
                  <a:pt x="83" y="66"/>
                  <a:pt x="83" y="67"/>
                  <a:pt x="83" y="67"/>
                </a:cubicBezTo>
                <a:cubicBezTo>
                  <a:pt x="83" y="67"/>
                  <a:pt x="83" y="68"/>
                  <a:pt x="83" y="68"/>
                </a:cubicBezTo>
                <a:cubicBezTo>
                  <a:pt x="83" y="68"/>
                  <a:pt x="84" y="68"/>
                  <a:pt x="84" y="69"/>
                </a:cubicBezTo>
                <a:cubicBezTo>
                  <a:pt x="84" y="69"/>
                  <a:pt x="83" y="69"/>
                  <a:pt x="84" y="69"/>
                </a:cubicBezTo>
                <a:cubicBezTo>
                  <a:pt x="84" y="69"/>
                  <a:pt x="84" y="70"/>
                  <a:pt x="84" y="70"/>
                </a:cubicBezTo>
                <a:cubicBezTo>
                  <a:pt x="84" y="71"/>
                  <a:pt x="85" y="71"/>
                  <a:pt x="85" y="71"/>
                </a:cubicBezTo>
                <a:cubicBezTo>
                  <a:pt x="85" y="71"/>
                  <a:pt x="84" y="71"/>
                  <a:pt x="84" y="71"/>
                </a:cubicBezTo>
                <a:cubicBezTo>
                  <a:pt x="84" y="71"/>
                  <a:pt x="83" y="70"/>
                  <a:pt x="84" y="70"/>
                </a:cubicBezTo>
                <a:cubicBezTo>
                  <a:pt x="84" y="70"/>
                  <a:pt x="83" y="71"/>
                  <a:pt x="83" y="72"/>
                </a:cubicBezTo>
                <a:cubicBezTo>
                  <a:pt x="84" y="72"/>
                  <a:pt x="84" y="73"/>
                  <a:pt x="84" y="73"/>
                </a:cubicBezTo>
                <a:cubicBezTo>
                  <a:pt x="85" y="73"/>
                  <a:pt x="85" y="73"/>
                  <a:pt x="85" y="73"/>
                </a:cubicBezTo>
                <a:cubicBezTo>
                  <a:pt x="85" y="73"/>
                  <a:pt x="85" y="73"/>
                  <a:pt x="85" y="74"/>
                </a:cubicBezTo>
                <a:cubicBezTo>
                  <a:pt x="85" y="74"/>
                  <a:pt x="86" y="74"/>
                  <a:pt x="86" y="74"/>
                </a:cubicBezTo>
                <a:cubicBezTo>
                  <a:pt x="86" y="74"/>
                  <a:pt x="86" y="75"/>
                  <a:pt x="86" y="75"/>
                </a:cubicBezTo>
                <a:cubicBezTo>
                  <a:pt x="86" y="76"/>
                  <a:pt x="85" y="76"/>
                  <a:pt x="85" y="76"/>
                </a:cubicBezTo>
                <a:cubicBezTo>
                  <a:pt x="85" y="76"/>
                  <a:pt x="85" y="76"/>
                  <a:pt x="86" y="76"/>
                </a:cubicBezTo>
                <a:cubicBezTo>
                  <a:pt x="86" y="76"/>
                  <a:pt x="85" y="77"/>
                  <a:pt x="86" y="77"/>
                </a:cubicBezTo>
                <a:cubicBezTo>
                  <a:pt x="86" y="77"/>
                  <a:pt x="86" y="77"/>
                  <a:pt x="86" y="78"/>
                </a:cubicBezTo>
                <a:cubicBezTo>
                  <a:pt x="86" y="78"/>
                  <a:pt x="86" y="78"/>
                  <a:pt x="87" y="78"/>
                </a:cubicBezTo>
                <a:cubicBezTo>
                  <a:pt x="87" y="78"/>
                  <a:pt x="87" y="79"/>
                  <a:pt x="87" y="79"/>
                </a:cubicBezTo>
                <a:cubicBezTo>
                  <a:pt x="87" y="79"/>
                  <a:pt x="87" y="80"/>
                  <a:pt x="88" y="79"/>
                </a:cubicBezTo>
                <a:cubicBezTo>
                  <a:pt x="88" y="79"/>
                  <a:pt x="88" y="79"/>
                  <a:pt x="88" y="79"/>
                </a:cubicBezTo>
                <a:cubicBezTo>
                  <a:pt x="88" y="78"/>
                  <a:pt x="88" y="78"/>
                  <a:pt x="88" y="78"/>
                </a:cubicBezTo>
                <a:cubicBezTo>
                  <a:pt x="88" y="77"/>
                  <a:pt x="87" y="77"/>
                  <a:pt x="87" y="77"/>
                </a:cubicBezTo>
                <a:cubicBezTo>
                  <a:pt x="87" y="76"/>
                  <a:pt x="87" y="76"/>
                  <a:pt x="87" y="76"/>
                </a:cubicBezTo>
                <a:cubicBezTo>
                  <a:pt x="87" y="76"/>
                  <a:pt x="87" y="75"/>
                  <a:pt x="87" y="75"/>
                </a:cubicBezTo>
                <a:cubicBezTo>
                  <a:pt x="87" y="75"/>
                  <a:pt x="87" y="75"/>
                  <a:pt x="87" y="74"/>
                </a:cubicBezTo>
                <a:cubicBezTo>
                  <a:pt x="87" y="74"/>
                  <a:pt x="87" y="74"/>
                  <a:pt x="87" y="74"/>
                </a:cubicBezTo>
                <a:cubicBezTo>
                  <a:pt x="87" y="73"/>
                  <a:pt x="87" y="73"/>
                  <a:pt x="87" y="73"/>
                </a:cubicBezTo>
                <a:cubicBezTo>
                  <a:pt x="87" y="73"/>
                  <a:pt x="87" y="73"/>
                  <a:pt x="87" y="73"/>
                </a:cubicBezTo>
                <a:cubicBezTo>
                  <a:pt x="87" y="73"/>
                  <a:pt x="86" y="73"/>
                  <a:pt x="86" y="72"/>
                </a:cubicBezTo>
                <a:cubicBezTo>
                  <a:pt x="86" y="72"/>
                  <a:pt x="86" y="72"/>
                  <a:pt x="86" y="72"/>
                </a:cubicBezTo>
                <a:cubicBezTo>
                  <a:pt x="86" y="72"/>
                  <a:pt x="86" y="71"/>
                  <a:pt x="86" y="71"/>
                </a:cubicBezTo>
                <a:cubicBezTo>
                  <a:pt x="86" y="71"/>
                  <a:pt x="86" y="70"/>
                  <a:pt x="86" y="70"/>
                </a:cubicBezTo>
                <a:cubicBezTo>
                  <a:pt x="86" y="70"/>
                  <a:pt x="86" y="70"/>
                  <a:pt x="86" y="69"/>
                </a:cubicBezTo>
                <a:cubicBezTo>
                  <a:pt x="86" y="69"/>
                  <a:pt x="86" y="69"/>
                  <a:pt x="86" y="69"/>
                </a:cubicBezTo>
                <a:cubicBezTo>
                  <a:pt x="85" y="69"/>
                  <a:pt x="85" y="69"/>
                  <a:pt x="85" y="69"/>
                </a:cubicBezTo>
                <a:cubicBezTo>
                  <a:pt x="85" y="69"/>
                  <a:pt x="85" y="69"/>
                  <a:pt x="85" y="68"/>
                </a:cubicBezTo>
                <a:cubicBezTo>
                  <a:pt x="85" y="68"/>
                  <a:pt x="85" y="68"/>
                  <a:pt x="85" y="68"/>
                </a:cubicBezTo>
                <a:cubicBezTo>
                  <a:pt x="85" y="67"/>
                  <a:pt x="85" y="67"/>
                  <a:pt x="85" y="67"/>
                </a:cubicBezTo>
                <a:cubicBezTo>
                  <a:pt x="85" y="67"/>
                  <a:pt x="85" y="67"/>
                  <a:pt x="85" y="66"/>
                </a:cubicBezTo>
                <a:cubicBezTo>
                  <a:pt x="86" y="67"/>
                  <a:pt x="86" y="67"/>
                  <a:pt x="86" y="67"/>
                </a:cubicBezTo>
                <a:cubicBezTo>
                  <a:pt x="86" y="67"/>
                  <a:pt x="86" y="67"/>
                  <a:pt x="87" y="67"/>
                </a:cubicBezTo>
                <a:cubicBezTo>
                  <a:pt x="87" y="68"/>
                  <a:pt x="87" y="68"/>
                  <a:pt x="87" y="68"/>
                </a:cubicBezTo>
                <a:cubicBezTo>
                  <a:pt x="87" y="68"/>
                  <a:pt x="87" y="68"/>
                  <a:pt x="87" y="68"/>
                </a:cubicBezTo>
                <a:cubicBezTo>
                  <a:pt x="87" y="69"/>
                  <a:pt x="87" y="69"/>
                  <a:pt x="87" y="69"/>
                </a:cubicBezTo>
                <a:cubicBezTo>
                  <a:pt x="87" y="70"/>
                  <a:pt x="87" y="70"/>
                  <a:pt x="87" y="70"/>
                </a:cubicBezTo>
                <a:cubicBezTo>
                  <a:pt x="87" y="70"/>
                  <a:pt x="87" y="70"/>
                  <a:pt x="87" y="70"/>
                </a:cubicBezTo>
                <a:cubicBezTo>
                  <a:pt x="87" y="71"/>
                  <a:pt x="87" y="71"/>
                  <a:pt x="87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87" y="71"/>
                  <a:pt x="87" y="71"/>
                  <a:pt x="87" y="72"/>
                </a:cubicBezTo>
                <a:cubicBezTo>
                  <a:pt x="88" y="72"/>
                  <a:pt x="88" y="72"/>
                  <a:pt x="88" y="72"/>
                </a:cubicBezTo>
                <a:cubicBezTo>
                  <a:pt x="88" y="73"/>
                  <a:pt x="88" y="73"/>
                  <a:pt x="88" y="73"/>
                </a:cubicBezTo>
                <a:cubicBezTo>
                  <a:pt x="88" y="73"/>
                  <a:pt x="88" y="73"/>
                  <a:pt x="88" y="73"/>
                </a:cubicBezTo>
                <a:cubicBezTo>
                  <a:pt x="88" y="73"/>
                  <a:pt x="89" y="73"/>
                  <a:pt x="89" y="74"/>
                </a:cubicBezTo>
                <a:cubicBezTo>
                  <a:pt x="89" y="74"/>
                  <a:pt x="89" y="74"/>
                  <a:pt x="89" y="74"/>
                </a:cubicBezTo>
                <a:cubicBezTo>
                  <a:pt x="89" y="74"/>
                  <a:pt x="89" y="74"/>
                  <a:pt x="89" y="75"/>
                </a:cubicBezTo>
                <a:cubicBezTo>
                  <a:pt x="89" y="75"/>
                  <a:pt x="89" y="75"/>
                  <a:pt x="89" y="75"/>
                </a:cubicBezTo>
                <a:cubicBezTo>
                  <a:pt x="89" y="75"/>
                  <a:pt x="89" y="75"/>
                  <a:pt x="89" y="75"/>
                </a:cubicBezTo>
                <a:cubicBezTo>
                  <a:pt x="89" y="76"/>
                  <a:pt x="89" y="76"/>
                  <a:pt x="89" y="76"/>
                </a:cubicBezTo>
                <a:cubicBezTo>
                  <a:pt x="89" y="76"/>
                  <a:pt x="89" y="76"/>
                  <a:pt x="90" y="76"/>
                </a:cubicBezTo>
                <a:cubicBezTo>
                  <a:pt x="90" y="77"/>
                  <a:pt x="90" y="77"/>
                  <a:pt x="90" y="78"/>
                </a:cubicBezTo>
                <a:cubicBezTo>
                  <a:pt x="90" y="78"/>
                  <a:pt x="91" y="78"/>
                  <a:pt x="91" y="79"/>
                </a:cubicBezTo>
                <a:cubicBezTo>
                  <a:pt x="91" y="79"/>
                  <a:pt x="91" y="79"/>
                  <a:pt x="91" y="80"/>
                </a:cubicBezTo>
                <a:cubicBezTo>
                  <a:pt x="92" y="81"/>
                  <a:pt x="92" y="81"/>
                  <a:pt x="92" y="82"/>
                </a:cubicBezTo>
                <a:cubicBezTo>
                  <a:pt x="92" y="82"/>
                  <a:pt x="92" y="82"/>
                  <a:pt x="92" y="82"/>
                </a:cubicBezTo>
                <a:cubicBezTo>
                  <a:pt x="92" y="82"/>
                  <a:pt x="92" y="83"/>
                  <a:pt x="92" y="83"/>
                </a:cubicBezTo>
                <a:cubicBezTo>
                  <a:pt x="92" y="83"/>
                  <a:pt x="91" y="83"/>
                  <a:pt x="91" y="84"/>
                </a:cubicBezTo>
                <a:cubicBezTo>
                  <a:pt x="91" y="84"/>
                  <a:pt x="91" y="84"/>
                  <a:pt x="91" y="84"/>
                </a:cubicBezTo>
                <a:cubicBezTo>
                  <a:pt x="91" y="84"/>
                  <a:pt x="91" y="84"/>
                  <a:pt x="91" y="84"/>
                </a:cubicBezTo>
                <a:cubicBezTo>
                  <a:pt x="91" y="85"/>
                  <a:pt x="91" y="85"/>
                  <a:pt x="92" y="86"/>
                </a:cubicBezTo>
                <a:cubicBezTo>
                  <a:pt x="92" y="86"/>
                  <a:pt x="92" y="86"/>
                  <a:pt x="93" y="87"/>
                </a:cubicBezTo>
                <a:cubicBezTo>
                  <a:pt x="93" y="88"/>
                  <a:pt x="94" y="88"/>
                  <a:pt x="94" y="88"/>
                </a:cubicBezTo>
                <a:cubicBezTo>
                  <a:pt x="95" y="89"/>
                  <a:pt x="95" y="89"/>
                  <a:pt x="95" y="90"/>
                </a:cubicBezTo>
                <a:cubicBezTo>
                  <a:pt x="95" y="90"/>
                  <a:pt x="95" y="90"/>
                  <a:pt x="96" y="90"/>
                </a:cubicBezTo>
                <a:cubicBezTo>
                  <a:pt x="96" y="90"/>
                  <a:pt x="97" y="92"/>
                  <a:pt x="98" y="92"/>
                </a:cubicBezTo>
                <a:cubicBezTo>
                  <a:pt x="98" y="92"/>
                  <a:pt x="99" y="93"/>
                  <a:pt x="99" y="93"/>
                </a:cubicBezTo>
                <a:cubicBezTo>
                  <a:pt x="99" y="93"/>
                  <a:pt x="100" y="93"/>
                  <a:pt x="100" y="93"/>
                </a:cubicBezTo>
                <a:cubicBezTo>
                  <a:pt x="100" y="93"/>
                  <a:pt x="101" y="94"/>
                  <a:pt x="101" y="93"/>
                </a:cubicBezTo>
                <a:cubicBezTo>
                  <a:pt x="102" y="92"/>
                  <a:pt x="103" y="93"/>
                  <a:pt x="103" y="93"/>
                </a:cubicBezTo>
                <a:cubicBezTo>
                  <a:pt x="103" y="94"/>
                  <a:pt x="104" y="94"/>
                  <a:pt x="104" y="94"/>
                </a:cubicBezTo>
                <a:cubicBezTo>
                  <a:pt x="104" y="95"/>
                  <a:pt x="104" y="95"/>
                  <a:pt x="104" y="95"/>
                </a:cubicBezTo>
                <a:cubicBezTo>
                  <a:pt x="104" y="95"/>
                  <a:pt x="104" y="96"/>
                  <a:pt x="104" y="96"/>
                </a:cubicBezTo>
                <a:cubicBezTo>
                  <a:pt x="104" y="96"/>
                  <a:pt x="104" y="97"/>
                  <a:pt x="105" y="97"/>
                </a:cubicBezTo>
                <a:cubicBezTo>
                  <a:pt x="105" y="97"/>
                  <a:pt x="105" y="97"/>
                  <a:pt x="105" y="97"/>
                </a:cubicBezTo>
                <a:cubicBezTo>
                  <a:pt x="106" y="98"/>
                  <a:pt x="106" y="98"/>
                  <a:pt x="106" y="98"/>
                </a:cubicBezTo>
                <a:cubicBezTo>
                  <a:pt x="107" y="98"/>
                  <a:pt x="107" y="98"/>
                  <a:pt x="107" y="99"/>
                </a:cubicBezTo>
                <a:cubicBezTo>
                  <a:pt x="107" y="99"/>
                  <a:pt x="107" y="99"/>
                  <a:pt x="107" y="99"/>
                </a:cubicBezTo>
                <a:cubicBezTo>
                  <a:pt x="107" y="99"/>
                  <a:pt x="107" y="99"/>
                  <a:pt x="108" y="99"/>
                </a:cubicBezTo>
                <a:cubicBezTo>
                  <a:pt x="108" y="99"/>
                  <a:pt x="108" y="99"/>
                  <a:pt x="109" y="100"/>
                </a:cubicBezTo>
                <a:cubicBezTo>
                  <a:pt x="109" y="100"/>
                  <a:pt x="109" y="100"/>
                  <a:pt x="109" y="100"/>
                </a:cubicBezTo>
                <a:cubicBezTo>
                  <a:pt x="109" y="100"/>
                  <a:pt x="109" y="100"/>
                  <a:pt x="109" y="100"/>
                </a:cubicBezTo>
                <a:cubicBezTo>
                  <a:pt x="109" y="101"/>
                  <a:pt x="109" y="101"/>
                  <a:pt x="109" y="101"/>
                </a:cubicBezTo>
                <a:cubicBezTo>
                  <a:pt x="110" y="102"/>
                  <a:pt x="110" y="102"/>
                  <a:pt x="110" y="102"/>
                </a:cubicBezTo>
                <a:cubicBezTo>
                  <a:pt x="110" y="103"/>
                  <a:pt x="110" y="103"/>
                  <a:pt x="111" y="103"/>
                </a:cubicBezTo>
                <a:cubicBezTo>
                  <a:pt x="110" y="103"/>
                  <a:pt x="110" y="103"/>
                  <a:pt x="110" y="104"/>
                </a:cubicBezTo>
                <a:cubicBezTo>
                  <a:pt x="110" y="104"/>
                  <a:pt x="110" y="104"/>
                  <a:pt x="110" y="105"/>
                </a:cubicBezTo>
                <a:cubicBezTo>
                  <a:pt x="110" y="105"/>
                  <a:pt x="111" y="105"/>
                  <a:pt x="111" y="105"/>
                </a:cubicBezTo>
                <a:cubicBezTo>
                  <a:pt x="111" y="105"/>
                  <a:pt x="111" y="105"/>
                  <a:pt x="111" y="105"/>
                </a:cubicBezTo>
                <a:cubicBezTo>
                  <a:pt x="112" y="106"/>
                  <a:pt x="112" y="106"/>
                  <a:pt x="112" y="107"/>
                </a:cubicBezTo>
                <a:cubicBezTo>
                  <a:pt x="112" y="107"/>
                  <a:pt x="112" y="107"/>
                  <a:pt x="112" y="107"/>
                </a:cubicBezTo>
                <a:cubicBezTo>
                  <a:pt x="112" y="107"/>
                  <a:pt x="112" y="107"/>
                  <a:pt x="113" y="108"/>
                </a:cubicBezTo>
                <a:cubicBezTo>
                  <a:pt x="113" y="108"/>
                  <a:pt x="114" y="108"/>
                  <a:pt x="114" y="108"/>
                </a:cubicBezTo>
                <a:cubicBezTo>
                  <a:pt x="114" y="109"/>
                  <a:pt x="114" y="109"/>
                  <a:pt x="114" y="109"/>
                </a:cubicBezTo>
                <a:cubicBezTo>
                  <a:pt x="114" y="109"/>
                  <a:pt x="114" y="109"/>
                  <a:pt x="114" y="109"/>
                </a:cubicBezTo>
                <a:cubicBezTo>
                  <a:pt x="114" y="109"/>
                  <a:pt x="114" y="109"/>
                  <a:pt x="114" y="110"/>
                </a:cubicBezTo>
                <a:cubicBezTo>
                  <a:pt x="114" y="110"/>
                  <a:pt x="115" y="110"/>
                  <a:pt x="116" y="110"/>
                </a:cubicBezTo>
                <a:cubicBezTo>
                  <a:pt x="116" y="109"/>
                  <a:pt x="115" y="109"/>
                  <a:pt x="115" y="109"/>
                </a:cubicBezTo>
                <a:cubicBezTo>
                  <a:pt x="115" y="109"/>
                  <a:pt x="116" y="109"/>
                  <a:pt x="117" y="108"/>
                </a:cubicBezTo>
                <a:cubicBezTo>
                  <a:pt x="117" y="108"/>
                  <a:pt x="118" y="108"/>
                  <a:pt x="118" y="109"/>
                </a:cubicBezTo>
                <a:cubicBezTo>
                  <a:pt x="118" y="109"/>
                  <a:pt x="118" y="110"/>
                  <a:pt x="118" y="110"/>
                </a:cubicBezTo>
                <a:cubicBezTo>
                  <a:pt x="118" y="110"/>
                  <a:pt x="118" y="110"/>
                  <a:pt x="118" y="111"/>
                </a:cubicBezTo>
                <a:cubicBezTo>
                  <a:pt x="118" y="111"/>
                  <a:pt x="118" y="111"/>
                  <a:pt x="118" y="111"/>
                </a:cubicBezTo>
                <a:cubicBezTo>
                  <a:pt x="118" y="112"/>
                  <a:pt x="118" y="112"/>
                  <a:pt x="118" y="112"/>
                </a:cubicBezTo>
                <a:cubicBezTo>
                  <a:pt x="118" y="113"/>
                  <a:pt x="118" y="113"/>
                  <a:pt x="118" y="113"/>
                </a:cubicBezTo>
                <a:cubicBezTo>
                  <a:pt x="117" y="114"/>
                  <a:pt x="117" y="114"/>
                  <a:pt x="117" y="115"/>
                </a:cubicBezTo>
                <a:cubicBezTo>
                  <a:pt x="117" y="115"/>
                  <a:pt x="117" y="116"/>
                  <a:pt x="116" y="116"/>
                </a:cubicBezTo>
                <a:cubicBezTo>
                  <a:pt x="115" y="117"/>
                  <a:pt x="116" y="117"/>
                  <a:pt x="115" y="117"/>
                </a:cubicBezTo>
                <a:cubicBezTo>
                  <a:pt x="114" y="118"/>
                  <a:pt x="114" y="118"/>
                  <a:pt x="114" y="118"/>
                </a:cubicBezTo>
                <a:cubicBezTo>
                  <a:pt x="113" y="118"/>
                  <a:pt x="113" y="118"/>
                  <a:pt x="113" y="119"/>
                </a:cubicBezTo>
                <a:cubicBezTo>
                  <a:pt x="113" y="119"/>
                  <a:pt x="112" y="119"/>
                  <a:pt x="112" y="119"/>
                </a:cubicBezTo>
                <a:cubicBezTo>
                  <a:pt x="112" y="120"/>
                  <a:pt x="112" y="120"/>
                  <a:pt x="112" y="120"/>
                </a:cubicBezTo>
                <a:cubicBezTo>
                  <a:pt x="112" y="120"/>
                  <a:pt x="111" y="120"/>
                  <a:pt x="111" y="121"/>
                </a:cubicBezTo>
                <a:cubicBezTo>
                  <a:pt x="111" y="122"/>
                  <a:pt x="110" y="122"/>
                  <a:pt x="110" y="123"/>
                </a:cubicBezTo>
                <a:cubicBezTo>
                  <a:pt x="111" y="123"/>
                  <a:pt x="111" y="123"/>
                  <a:pt x="111" y="123"/>
                </a:cubicBezTo>
                <a:cubicBezTo>
                  <a:pt x="111" y="123"/>
                  <a:pt x="111" y="123"/>
                  <a:pt x="111" y="124"/>
                </a:cubicBezTo>
                <a:cubicBezTo>
                  <a:pt x="111" y="124"/>
                  <a:pt x="111" y="124"/>
                  <a:pt x="111" y="124"/>
                </a:cubicBezTo>
                <a:cubicBezTo>
                  <a:pt x="111" y="124"/>
                  <a:pt x="110" y="124"/>
                  <a:pt x="110" y="124"/>
                </a:cubicBezTo>
                <a:cubicBezTo>
                  <a:pt x="109" y="125"/>
                  <a:pt x="109" y="125"/>
                  <a:pt x="109" y="125"/>
                </a:cubicBezTo>
                <a:cubicBezTo>
                  <a:pt x="109" y="126"/>
                  <a:pt x="109" y="126"/>
                  <a:pt x="109" y="127"/>
                </a:cubicBezTo>
                <a:cubicBezTo>
                  <a:pt x="109" y="127"/>
                  <a:pt x="108" y="126"/>
                  <a:pt x="109" y="127"/>
                </a:cubicBezTo>
                <a:cubicBezTo>
                  <a:pt x="109" y="128"/>
                  <a:pt x="110" y="128"/>
                  <a:pt x="110" y="128"/>
                </a:cubicBezTo>
                <a:cubicBezTo>
                  <a:pt x="110" y="129"/>
                  <a:pt x="110" y="129"/>
                  <a:pt x="110" y="130"/>
                </a:cubicBezTo>
                <a:cubicBezTo>
                  <a:pt x="110" y="130"/>
                  <a:pt x="110" y="130"/>
                  <a:pt x="110" y="130"/>
                </a:cubicBezTo>
                <a:cubicBezTo>
                  <a:pt x="110" y="132"/>
                  <a:pt x="110" y="132"/>
                  <a:pt x="110" y="133"/>
                </a:cubicBezTo>
                <a:cubicBezTo>
                  <a:pt x="110" y="134"/>
                  <a:pt x="110" y="135"/>
                  <a:pt x="111" y="136"/>
                </a:cubicBezTo>
                <a:cubicBezTo>
                  <a:pt x="111" y="137"/>
                  <a:pt x="111" y="137"/>
                  <a:pt x="111" y="138"/>
                </a:cubicBezTo>
                <a:cubicBezTo>
                  <a:pt x="111" y="138"/>
                  <a:pt x="111" y="138"/>
                  <a:pt x="110" y="138"/>
                </a:cubicBezTo>
                <a:cubicBezTo>
                  <a:pt x="110" y="138"/>
                  <a:pt x="111" y="139"/>
                  <a:pt x="111" y="139"/>
                </a:cubicBezTo>
                <a:cubicBezTo>
                  <a:pt x="111" y="139"/>
                  <a:pt x="111" y="140"/>
                  <a:pt x="111" y="140"/>
                </a:cubicBezTo>
                <a:cubicBezTo>
                  <a:pt x="112" y="141"/>
                  <a:pt x="112" y="141"/>
                  <a:pt x="112" y="141"/>
                </a:cubicBezTo>
                <a:cubicBezTo>
                  <a:pt x="113" y="142"/>
                  <a:pt x="113" y="142"/>
                  <a:pt x="113" y="143"/>
                </a:cubicBezTo>
                <a:cubicBezTo>
                  <a:pt x="114" y="143"/>
                  <a:pt x="114" y="143"/>
                  <a:pt x="114" y="144"/>
                </a:cubicBezTo>
                <a:cubicBezTo>
                  <a:pt x="114" y="144"/>
                  <a:pt x="114" y="144"/>
                  <a:pt x="114" y="144"/>
                </a:cubicBezTo>
                <a:cubicBezTo>
                  <a:pt x="114" y="144"/>
                  <a:pt x="115" y="145"/>
                  <a:pt x="115" y="145"/>
                </a:cubicBezTo>
                <a:cubicBezTo>
                  <a:pt x="114" y="146"/>
                  <a:pt x="114" y="147"/>
                  <a:pt x="114" y="148"/>
                </a:cubicBezTo>
                <a:cubicBezTo>
                  <a:pt x="114" y="148"/>
                  <a:pt x="114" y="149"/>
                  <a:pt x="113" y="150"/>
                </a:cubicBezTo>
                <a:cubicBezTo>
                  <a:pt x="112" y="151"/>
                  <a:pt x="112" y="153"/>
                  <a:pt x="111" y="153"/>
                </a:cubicBezTo>
                <a:cubicBezTo>
                  <a:pt x="111" y="153"/>
                  <a:pt x="110" y="155"/>
                  <a:pt x="110" y="155"/>
                </a:cubicBezTo>
                <a:cubicBezTo>
                  <a:pt x="110" y="155"/>
                  <a:pt x="110" y="154"/>
                  <a:pt x="110" y="155"/>
                </a:cubicBezTo>
                <a:cubicBezTo>
                  <a:pt x="109" y="157"/>
                  <a:pt x="108" y="157"/>
                  <a:pt x="109" y="157"/>
                </a:cubicBezTo>
                <a:cubicBezTo>
                  <a:pt x="109" y="158"/>
                  <a:pt x="108" y="158"/>
                  <a:pt x="108" y="158"/>
                </a:cubicBezTo>
                <a:cubicBezTo>
                  <a:pt x="108" y="158"/>
                  <a:pt x="107" y="159"/>
                  <a:pt x="107" y="160"/>
                </a:cubicBezTo>
                <a:cubicBezTo>
                  <a:pt x="107" y="160"/>
                  <a:pt x="106" y="162"/>
                  <a:pt x="106" y="162"/>
                </a:cubicBezTo>
                <a:cubicBezTo>
                  <a:pt x="106" y="162"/>
                  <a:pt x="106" y="163"/>
                  <a:pt x="105" y="163"/>
                </a:cubicBezTo>
                <a:cubicBezTo>
                  <a:pt x="104" y="164"/>
                  <a:pt x="104" y="165"/>
                  <a:pt x="104" y="165"/>
                </a:cubicBezTo>
                <a:cubicBezTo>
                  <a:pt x="103" y="165"/>
                  <a:pt x="103" y="165"/>
                  <a:pt x="102" y="166"/>
                </a:cubicBezTo>
                <a:cubicBezTo>
                  <a:pt x="102" y="166"/>
                  <a:pt x="103" y="166"/>
                  <a:pt x="103" y="166"/>
                </a:cubicBezTo>
                <a:cubicBezTo>
                  <a:pt x="102" y="167"/>
                  <a:pt x="102" y="167"/>
                  <a:pt x="102" y="167"/>
                </a:cubicBezTo>
                <a:cubicBezTo>
                  <a:pt x="102" y="168"/>
                  <a:pt x="102" y="168"/>
                  <a:pt x="102" y="168"/>
                </a:cubicBezTo>
                <a:cubicBezTo>
                  <a:pt x="101" y="169"/>
                  <a:pt x="101" y="170"/>
                  <a:pt x="101" y="170"/>
                </a:cubicBezTo>
                <a:cubicBezTo>
                  <a:pt x="100" y="170"/>
                  <a:pt x="100" y="171"/>
                  <a:pt x="99" y="171"/>
                </a:cubicBezTo>
                <a:cubicBezTo>
                  <a:pt x="99" y="172"/>
                  <a:pt x="99" y="172"/>
                  <a:pt x="99" y="172"/>
                </a:cubicBezTo>
                <a:cubicBezTo>
                  <a:pt x="100" y="172"/>
                  <a:pt x="101" y="171"/>
                  <a:pt x="101" y="171"/>
                </a:cubicBezTo>
                <a:cubicBezTo>
                  <a:pt x="101" y="171"/>
                  <a:pt x="101" y="170"/>
                  <a:pt x="101" y="171"/>
                </a:cubicBezTo>
                <a:cubicBezTo>
                  <a:pt x="102" y="171"/>
                  <a:pt x="101" y="171"/>
                  <a:pt x="101" y="171"/>
                </a:cubicBezTo>
                <a:cubicBezTo>
                  <a:pt x="101" y="171"/>
                  <a:pt x="101" y="172"/>
                  <a:pt x="100" y="172"/>
                </a:cubicBezTo>
                <a:cubicBezTo>
                  <a:pt x="100" y="173"/>
                  <a:pt x="99" y="174"/>
                  <a:pt x="99" y="174"/>
                </a:cubicBezTo>
                <a:cubicBezTo>
                  <a:pt x="99" y="174"/>
                  <a:pt x="100" y="173"/>
                  <a:pt x="99" y="173"/>
                </a:cubicBezTo>
                <a:cubicBezTo>
                  <a:pt x="99" y="173"/>
                  <a:pt x="99" y="173"/>
                  <a:pt x="98" y="173"/>
                </a:cubicBezTo>
                <a:cubicBezTo>
                  <a:pt x="98" y="174"/>
                  <a:pt x="98" y="174"/>
                  <a:pt x="98" y="174"/>
                </a:cubicBezTo>
                <a:cubicBezTo>
                  <a:pt x="97" y="174"/>
                  <a:pt x="97" y="175"/>
                  <a:pt x="97" y="175"/>
                </a:cubicBezTo>
                <a:cubicBezTo>
                  <a:pt x="97" y="175"/>
                  <a:pt x="97" y="175"/>
                  <a:pt x="96" y="175"/>
                </a:cubicBezTo>
                <a:cubicBezTo>
                  <a:pt x="97" y="175"/>
                  <a:pt x="97" y="175"/>
                  <a:pt x="98" y="176"/>
                </a:cubicBezTo>
                <a:cubicBezTo>
                  <a:pt x="97" y="176"/>
                  <a:pt x="97" y="177"/>
                  <a:pt x="97" y="177"/>
                </a:cubicBezTo>
                <a:cubicBezTo>
                  <a:pt x="95" y="177"/>
                  <a:pt x="95" y="178"/>
                  <a:pt x="95" y="178"/>
                </a:cubicBezTo>
                <a:cubicBezTo>
                  <a:pt x="95" y="178"/>
                  <a:pt x="95" y="179"/>
                  <a:pt x="95" y="179"/>
                </a:cubicBezTo>
                <a:cubicBezTo>
                  <a:pt x="94" y="180"/>
                  <a:pt x="95" y="179"/>
                  <a:pt x="95" y="179"/>
                </a:cubicBezTo>
                <a:cubicBezTo>
                  <a:pt x="95" y="180"/>
                  <a:pt x="95" y="180"/>
                  <a:pt x="94" y="180"/>
                </a:cubicBezTo>
                <a:cubicBezTo>
                  <a:pt x="94" y="180"/>
                  <a:pt x="94" y="180"/>
                  <a:pt x="95" y="180"/>
                </a:cubicBezTo>
                <a:cubicBezTo>
                  <a:pt x="94" y="180"/>
                  <a:pt x="94" y="180"/>
                  <a:pt x="94" y="181"/>
                </a:cubicBezTo>
                <a:cubicBezTo>
                  <a:pt x="94" y="181"/>
                  <a:pt x="95" y="181"/>
                  <a:pt x="94" y="181"/>
                </a:cubicBezTo>
                <a:cubicBezTo>
                  <a:pt x="94" y="182"/>
                  <a:pt x="95" y="182"/>
                  <a:pt x="95" y="182"/>
                </a:cubicBezTo>
                <a:cubicBezTo>
                  <a:pt x="95" y="182"/>
                  <a:pt x="95" y="182"/>
                  <a:pt x="94" y="182"/>
                </a:cubicBezTo>
                <a:cubicBezTo>
                  <a:pt x="95" y="182"/>
                  <a:pt x="95" y="182"/>
                  <a:pt x="95" y="182"/>
                </a:cubicBezTo>
                <a:cubicBezTo>
                  <a:pt x="95" y="182"/>
                  <a:pt x="95" y="183"/>
                  <a:pt x="95" y="183"/>
                </a:cubicBezTo>
                <a:cubicBezTo>
                  <a:pt x="95" y="183"/>
                  <a:pt x="95" y="183"/>
                  <a:pt x="95" y="183"/>
                </a:cubicBezTo>
                <a:cubicBezTo>
                  <a:pt x="96" y="183"/>
                  <a:pt x="96" y="183"/>
                  <a:pt x="96" y="183"/>
                </a:cubicBezTo>
                <a:cubicBezTo>
                  <a:pt x="96" y="183"/>
                  <a:pt x="96" y="183"/>
                  <a:pt x="96" y="183"/>
                </a:cubicBezTo>
                <a:cubicBezTo>
                  <a:pt x="96" y="183"/>
                  <a:pt x="96" y="183"/>
                  <a:pt x="96" y="183"/>
                </a:cubicBezTo>
                <a:cubicBezTo>
                  <a:pt x="96" y="184"/>
                  <a:pt x="97" y="184"/>
                  <a:pt x="97" y="184"/>
                </a:cubicBezTo>
                <a:cubicBezTo>
                  <a:pt x="97" y="184"/>
                  <a:pt x="97" y="184"/>
                  <a:pt x="97" y="184"/>
                </a:cubicBezTo>
                <a:cubicBezTo>
                  <a:pt x="97" y="184"/>
                  <a:pt x="97" y="184"/>
                  <a:pt x="97" y="184"/>
                </a:cubicBezTo>
                <a:cubicBezTo>
                  <a:pt x="97" y="184"/>
                  <a:pt x="97" y="184"/>
                  <a:pt x="97" y="184"/>
                </a:cubicBezTo>
                <a:cubicBezTo>
                  <a:pt x="90" y="184"/>
                  <a:pt x="83" y="183"/>
                  <a:pt x="76" y="181"/>
                </a:cubicBezTo>
                <a:close/>
                <a:moveTo>
                  <a:pt x="122" y="60"/>
                </a:moveTo>
                <a:cubicBezTo>
                  <a:pt x="122" y="62"/>
                  <a:pt x="121" y="62"/>
                  <a:pt x="121" y="62"/>
                </a:cubicBezTo>
                <a:cubicBezTo>
                  <a:pt x="121" y="62"/>
                  <a:pt x="120" y="62"/>
                  <a:pt x="120" y="62"/>
                </a:cubicBezTo>
                <a:cubicBezTo>
                  <a:pt x="120" y="61"/>
                  <a:pt x="120" y="61"/>
                  <a:pt x="120" y="61"/>
                </a:cubicBezTo>
                <a:cubicBezTo>
                  <a:pt x="121" y="60"/>
                  <a:pt x="121" y="60"/>
                  <a:pt x="121" y="59"/>
                </a:cubicBezTo>
                <a:cubicBezTo>
                  <a:pt x="121" y="59"/>
                  <a:pt x="121" y="58"/>
                  <a:pt x="122" y="58"/>
                </a:cubicBezTo>
                <a:cubicBezTo>
                  <a:pt x="121" y="58"/>
                  <a:pt x="121" y="58"/>
                  <a:pt x="121" y="58"/>
                </a:cubicBezTo>
                <a:cubicBezTo>
                  <a:pt x="121" y="58"/>
                  <a:pt x="121" y="57"/>
                  <a:pt x="122" y="57"/>
                </a:cubicBezTo>
                <a:cubicBezTo>
                  <a:pt x="122" y="57"/>
                  <a:pt x="122" y="57"/>
                  <a:pt x="123" y="57"/>
                </a:cubicBezTo>
                <a:cubicBezTo>
                  <a:pt x="123" y="57"/>
                  <a:pt x="124" y="57"/>
                  <a:pt x="124" y="57"/>
                </a:cubicBezTo>
                <a:cubicBezTo>
                  <a:pt x="124" y="58"/>
                  <a:pt x="124" y="58"/>
                  <a:pt x="123" y="58"/>
                </a:cubicBezTo>
                <a:cubicBezTo>
                  <a:pt x="123" y="58"/>
                  <a:pt x="122" y="59"/>
                  <a:pt x="122" y="60"/>
                </a:cubicBezTo>
                <a:close/>
                <a:moveTo>
                  <a:pt x="125" y="56"/>
                </a:moveTo>
                <a:cubicBezTo>
                  <a:pt x="124" y="56"/>
                  <a:pt x="124" y="56"/>
                  <a:pt x="124" y="56"/>
                </a:cubicBezTo>
                <a:cubicBezTo>
                  <a:pt x="123" y="56"/>
                  <a:pt x="123" y="56"/>
                  <a:pt x="123" y="56"/>
                </a:cubicBezTo>
                <a:cubicBezTo>
                  <a:pt x="122" y="56"/>
                  <a:pt x="122" y="56"/>
                  <a:pt x="122" y="56"/>
                </a:cubicBezTo>
                <a:cubicBezTo>
                  <a:pt x="122" y="56"/>
                  <a:pt x="122" y="55"/>
                  <a:pt x="122" y="55"/>
                </a:cubicBezTo>
                <a:cubicBezTo>
                  <a:pt x="122" y="55"/>
                  <a:pt x="122" y="55"/>
                  <a:pt x="121" y="55"/>
                </a:cubicBezTo>
                <a:cubicBezTo>
                  <a:pt x="121" y="55"/>
                  <a:pt x="122" y="55"/>
                  <a:pt x="122" y="55"/>
                </a:cubicBezTo>
                <a:cubicBezTo>
                  <a:pt x="121" y="55"/>
                  <a:pt x="121" y="54"/>
                  <a:pt x="121" y="54"/>
                </a:cubicBezTo>
                <a:cubicBezTo>
                  <a:pt x="120" y="55"/>
                  <a:pt x="120" y="55"/>
                  <a:pt x="120" y="55"/>
                </a:cubicBezTo>
                <a:cubicBezTo>
                  <a:pt x="119" y="55"/>
                  <a:pt x="119" y="55"/>
                  <a:pt x="118" y="55"/>
                </a:cubicBezTo>
                <a:cubicBezTo>
                  <a:pt x="119" y="55"/>
                  <a:pt x="119" y="55"/>
                  <a:pt x="119" y="54"/>
                </a:cubicBezTo>
                <a:cubicBezTo>
                  <a:pt x="118" y="54"/>
                  <a:pt x="118" y="54"/>
                  <a:pt x="117" y="54"/>
                </a:cubicBezTo>
                <a:cubicBezTo>
                  <a:pt x="118" y="54"/>
                  <a:pt x="118" y="54"/>
                  <a:pt x="119" y="53"/>
                </a:cubicBezTo>
                <a:cubicBezTo>
                  <a:pt x="119" y="53"/>
                  <a:pt x="120" y="53"/>
                  <a:pt x="120" y="53"/>
                </a:cubicBezTo>
                <a:cubicBezTo>
                  <a:pt x="121" y="53"/>
                  <a:pt x="121" y="53"/>
                  <a:pt x="121" y="53"/>
                </a:cubicBezTo>
                <a:cubicBezTo>
                  <a:pt x="122" y="53"/>
                  <a:pt x="122" y="53"/>
                  <a:pt x="123" y="53"/>
                </a:cubicBezTo>
                <a:cubicBezTo>
                  <a:pt x="123" y="53"/>
                  <a:pt x="123" y="53"/>
                  <a:pt x="124" y="54"/>
                </a:cubicBezTo>
                <a:cubicBezTo>
                  <a:pt x="124" y="54"/>
                  <a:pt x="124" y="54"/>
                  <a:pt x="124" y="55"/>
                </a:cubicBezTo>
                <a:cubicBezTo>
                  <a:pt x="124" y="55"/>
                  <a:pt x="124" y="55"/>
                  <a:pt x="125" y="55"/>
                </a:cubicBezTo>
                <a:cubicBezTo>
                  <a:pt x="125" y="56"/>
                  <a:pt x="125" y="56"/>
                  <a:pt x="125" y="56"/>
                </a:cubicBezTo>
                <a:cubicBezTo>
                  <a:pt x="125" y="57"/>
                  <a:pt x="125" y="57"/>
                  <a:pt x="125" y="57"/>
                </a:cubicBezTo>
                <a:cubicBezTo>
                  <a:pt x="125" y="57"/>
                  <a:pt x="125" y="57"/>
                  <a:pt x="125" y="56"/>
                </a:cubicBezTo>
                <a:close/>
                <a:moveTo>
                  <a:pt x="99" y="184"/>
                </a:moveTo>
                <a:cubicBezTo>
                  <a:pt x="100" y="184"/>
                  <a:pt x="100" y="184"/>
                  <a:pt x="100" y="184"/>
                </a:cubicBezTo>
                <a:cubicBezTo>
                  <a:pt x="101" y="184"/>
                  <a:pt x="102" y="184"/>
                  <a:pt x="102" y="184"/>
                </a:cubicBezTo>
                <a:cubicBezTo>
                  <a:pt x="101" y="184"/>
                  <a:pt x="101" y="183"/>
                  <a:pt x="101" y="183"/>
                </a:cubicBezTo>
                <a:cubicBezTo>
                  <a:pt x="100" y="183"/>
                  <a:pt x="100" y="183"/>
                  <a:pt x="100" y="183"/>
                </a:cubicBezTo>
                <a:cubicBezTo>
                  <a:pt x="100" y="182"/>
                  <a:pt x="100" y="182"/>
                  <a:pt x="100" y="182"/>
                </a:cubicBezTo>
                <a:cubicBezTo>
                  <a:pt x="100" y="182"/>
                  <a:pt x="100" y="182"/>
                  <a:pt x="100" y="182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1" y="180"/>
                </a:cubicBezTo>
                <a:cubicBezTo>
                  <a:pt x="100" y="180"/>
                  <a:pt x="100" y="180"/>
                  <a:pt x="100" y="180"/>
                </a:cubicBezTo>
                <a:cubicBezTo>
                  <a:pt x="100" y="180"/>
                  <a:pt x="101" y="180"/>
                  <a:pt x="101" y="180"/>
                </a:cubicBezTo>
                <a:cubicBezTo>
                  <a:pt x="101" y="180"/>
                  <a:pt x="101" y="180"/>
                  <a:pt x="101" y="180"/>
                </a:cubicBezTo>
                <a:cubicBezTo>
                  <a:pt x="102" y="179"/>
                  <a:pt x="102" y="179"/>
                  <a:pt x="102" y="179"/>
                </a:cubicBezTo>
                <a:cubicBezTo>
                  <a:pt x="102" y="179"/>
                  <a:pt x="102" y="179"/>
                  <a:pt x="103" y="178"/>
                </a:cubicBezTo>
                <a:cubicBezTo>
                  <a:pt x="103" y="178"/>
                  <a:pt x="103" y="178"/>
                  <a:pt x="103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5" y="177"/>
                  <a:pt x="105" y="177"/>
                  <a:pt x="105" y="177"/>
                </a:cubicBezTo>
                <a:cubicBezTo>
                  <a:pt x="105" y="177"/>
                  <a:pt x="105" y="177"/>
                  <a:pt x="105" y="176"/>
                </a:cubicBezTo>
                <a:cubicBezTo>
                  <a:pt x="105" y="176"/>
                  <a:pt x="105" y="176"/>
                  <a:pt x="104" y="176"/>
                </a:cubicBezTo>
                <a:cubicBezTo>
                  <a:pt x="104" y="176"/>
                  <a:pt x="104" y="176"/>
                  <a:pt x="104" y="175"/>
                </a:cubicBezTo>
                <a:cubicBezTo>
                  <a:pt x="105" y="175"/>
                  <a:pt x="105" y="175"/>
                  <a:pt x="105" y="175"/>
                </a:cubicBezTo>
                <a:cubicBezTo>
                  <a:pt x="105" y="175"/>
                  <a:pt x="106" y="174"/>
                  <a:pt x="106" y="174"/>
                </a:cubicBezTo>
                <a:cubicBezTo>
                  <a:pt x="106" y="174"/>
                  <a:pt x="107" y="174"/>
                  <a:pt x="108" y="173"/>
                </a:cubicBezTo>
                <a:cubicBezTo>
                  <a:pt x="108" y="173"/>
                  <a:pt x="109" y="172"/>
                  <a:pt x="109" y="172"/>
                </a:cubicBezTo>
                <a:cubicBezTo>
                  <a:pt x="110" y="172"/>
                  <a:pt x="110" y="172"/>
                  <a:pt x="110" y="172"/>
                </a:cubicBezTo>
                <a:cubicBezTo>
                  <a:pt x="110" y="172"/>
                  <a:pt x="110" y="172"/>
                  <a:pt x="110" y="172"/>
                </a:cubicBezTo>
                <a:cubicBezTo>
                  <a:pt x="110" y="172"/>
                  <a:pt x="109" y="172"/>
                  <a:pt x="109" y="172"/>
                </a:cubicBezTo>
                <a:cubicBezTo>
                  <a:pt x="109" y="172"/>
                  <a:pt x="109" y="172"/>
                  <a:pt x="109" y="172"/>
                </a:cubicBezTo>
                <a:cubicBezTo>
                  <a:pt x="109" y="171"/>
                  <a:pt x="109" y="171"/>
                  <a:pt x="109" y="170"/>
                </a:cubicBezTo>
                <a:cubicBezTo>
                  <a:pt x="109" y="170"/>
                  <a:pt x="111" y="171"/>
                  <a:pt x="112" y="171"/>
                </a:cubicBezTo>
                <a:cubicBezTo>
                  <a:pt x="113" y="170"/>
                  <a:pt x="113" y="169"/>
                  <a:pt x="113" y="169"/>
                </a:cubicBezTo>
                <a:cubicBezTo>
                  <a:pt x="114" y="169"/>
                  <a:pt x="114" y="169"/>
                  <a:pt x="114" y="169"/>
                </a:cubicBezTo>
                <a:cubicBezTo>
                  <a:pt x="115" y="169"/>
                  <a:pt x="116" y="168"/>
                  <a:pt x="116" y="168"/>
                </a:cubicBezTo>
                <a:cubicBezTo>
                  <a:pt x="116" y="168"/>
                  <a:pt x="117" y="169"/>
                  <a:pt x="118" y="168"/>
                </a:cubicBezTo>
                <a:cubicBezTo>
                  <a:pt x="119" y="167"/>
                  <a:pt x="120" y="167"/>
                  <a:pt x="120" y="167"/>
                </a:cubicBezTo>
                <a:cubicBezTo>
                  <a:pt x="120" y="166"/>
                  <a:pt x="120" y="166"/>
                  <a:pt x="120" y="166"/>
                </a:cubicBezTo>
                <a:cubicBezTo>
                  <a:pt x="120" y="166"/>
                  <a:pt x="121" y="165"/>
                  <a:pt x="122" y="165"/>
                </a:cubicBezTo>
                <a:cubicBezTo>
                  <a:pt x="123" y="165"/>
                  <a:pt x="123" y="165"/>
                  <a:pt x="124" y="164"/>
                </a:cubicBezTo>
                <a:cubicBezTo>
                  <a:pt x="124" y="164"/>
                  <a:pt x="125" y="164"/>
                  <a:pt x="125" y="164"/>
                </a:cubicBezTo>
                <a:cubicBezTo>
                  <a:pt x="125" y="164"/>
                  <a:pt x="126" y="162"/>
                  <a:pt x="126" y="162"/>
                </a:cubicBezTo>
                <a:cubicBezTo>
                  <a:pt x="127" y="162"/>
                  <a:pt x="128" y="162"/>
                  <a:pt x="128" y="162"/>
                </a:cubicBezTo>
                <a:cubicBezTo>
                  <a:pt x="128" y="162"/>
                  <a:pt x="129" y="161"/>
                  <a:pt x="130" y="161"/>
                </a:cubicBezTo>
                <a:cubicBezTo>
                  <a:pt x="130" y="160"/>
                  <a:pt x="131" y="159"/>
                  <a:pt x="131" y="159"/>
                </a:cubicBezTo>
                <a:cubicBezTo>
                  <a:pt x="131" y="159"/>
                  <a:pt x="133" y="158"/>
                  <a:pt x="133" y="158"/>
                </a:cubicBezTo>
                <a:cubicBezTo>
                  <a:pt x="133" y="157"/>
                  <a:pt x="134" y="156"/>
                  <a:pt x="134" y="156"/>
                </a:cubicBezTo>
                <a:cubicBezTo>
                  <a:pt x="134" y="156"/>
                  <a:pt x="135" y="156"/>
                  <a:pt x="136" y="155"/>
                </a:cubicBezTo>
                <a:cubicBezTo>
                  <a:pt x="136" y="155"/>
                  <a:pt x="138" y="154"/>
                  <a:pt x="138" y="154"/>
                </a:cubicBezTo>
                <a:cubicBezTo>
                  <a:pt x="139" y="154"/>
                  <a:pt x="139" y="154"/>
                  <a:pt x="139" y="154"/>
                </a:cubicBezTo>
                <a:cubicBezTo>
                  <a:pt x="140" y="154"/>
                  <a:pt x="141" y="154"/>
                  <a:pt x="142" y="154"/>
                </a:cubicBezTo>
                <a:cubicBezTo>
                  <a:pt x="142" y="154"/>
                  <a:pt x="142" y="154"/>
                  <a:pt x="142" y="153"/>
                </a:cubicBezTo>
                <a:cubicBezTo>
                  <a:pt x="143" y="153"/>
                  <a:pt x="143" y="154"/>
                  <a:pt x="143" y="153"/>
                </a:cubicBezTo>
                <a:cubicBezTo>
                  <a:pt x="144" y="153"/>
                  <a:pt x="144" y="152"/>
                  <a:pt x="145" y="152"/>
                </a:cubicBezTo>
                <a:cubicBezTo>
                  <a:pt x="145" y="151"/>
                  <a:pt x="146" y="150"/>
                  <a:pt x="146" y="150"/>
                </a:cubicBezTo>
                <a:cubicBezTo>
                  <a:pt x="146" y="150"/>
                  <a:pt x="147" y="149"/>
                  <a:pt x="148" y="149"/>
                </a:cubicBezTo>
                <a:cubicBezTo>
                  <a:pt x="149" y="149"/>
                  <a:pt x="148" y="148"/>
                  <a:pt x="148" y="148"/>
                </a:cubicBezTo>
                <a:cubicBezTo>
                  <a:pt x="148" y="148"/>
                  <a:pt x="149" y="147"/>
                  <a:pt x="149" y="146"/>
                </a:cubicBezTo>
                <a:cubicBezTo>
                  <a:pt x="149" y="146"/>
                  <a:pt x="151" y="144"/>
                  <a:pt x="151" y="144"/>
                </a:cubicBezTo>
                <a:cubicBezTo>
                  <a:pt x="152" y="144"/>
                  <a:pt x="154" y="142"/>
                  <a:pt x="154" y="142"/>
                </a:cubicBezTo>
                <a:cubicBezTo>
                  <a:pt x="154" y="142"/>
                  <a:pt x="154" y="141"/>
                  <a:pt x="155" y="141"/>
                </a:cubicBezTo>
                <a:cubicBezTo>
                  <a:pt x="157" y="141"/>
                  <a:pt x="157" y="139"/>
                  <a:pt x="157" y="139"/>
                </a:cubicBezTo>
                <a:cubicBezTo>
                  <a:pt x="158" y="138"/>
                  <a:pt x="157" y="138"/>
                  <a:pt x="158" y="137"/>
                </a:cubicBezTo>
                <a:cubicBezTo>
                  <a:pt x="158" y="136"/>
                  <a:pt x="158" y="136"/>
                  <a:pt x="158" y="136"/>
                </a:cubicBezTo>
                <a:cubicBezTo>
                  <a:pt x="158" y="136"/>
                  <a:pt x="157" y="136"/>
                  <a:pt x="157" y="136"/>
                </a:cubicBezTo>
                <a:cubicBezTo>
                  <a:pt x="156" y="136"/>
                  <a:pt x="155" y="134"/>
                  <a:pt x="155" y="134"/>
                </a:cubicBezTo>
                <a:cubicBezTo>
                  <a:pt x="155" y="134"/>
                  <a:pt x="155" y="133"/>
                  <a:pt x="155" y="133"/>
                </a:cubicBezTo>
                <a:cubicBezTo>
                  <a:pt x="155" y="133"/>
                  <a:pt x="155" y="133"/>
                  <a:pt x="155" y="132"/>
                </a:cubicBezTo>
                <a:cubicBezTo>
                  <a:pt x="154" y="132"/>
                  <a:pt x="153" y="132"/>
                  <a:pt x="152" y="132"/>
                </a:cubicBezTo>
                <a:cubicBezTo>
                  <a:pt x="152" y="132"/>
                  <a:pt x="152" y="132"/>
                  <a:pt x="151" y="132"/>
                </a:cubicBezTo>
                <a:cubicBezTo>
                  <a:pt x="151" y="131"/>
                  <a:pt x="151" y="132"/>
                  <a:pt x="151" y="132"/>
                </a:cubicBezTo>
                <a:cubicBezTo>
                  <a:pt x="151" y="132"/>
                  <a:pt x="150" y="131"/>
                  <a:pt x="150" y="130"/>
                </a:cubicBezTo>
                <a:cubicBezTo>
                  <a:pt x="150" y="129"/>
                  <a:pt x="148" y="128"/>
                  <a:pt x="148" y="128"/>
                </a:cubicBezTo>
                <a:cubicBezTo>
                  <a:pt x="147" y="128"/>
                  <a:pt x="147" y="125"/>
                  <a:pt x="147" y="125"/>
                </a:cubicBezTo>
                <a:cubicBezTo>
                  <a:pt x="147" y="125"/>
                  <a:pt x="146" y="125"/>
                  <a:pt x="146" y="124"/>
                </a:cubicBezTo>
                <a:cubicBezTo>
                  <a:pt x="146" y="124"/>
                  <a:pt x="146" y="122"/>
                  <a:pt x="146" y="122"/>
                </a:cubicBezTo>
                <a:cubicBezTo>
                  <a:pt x="146" y="122"/>
                  <a:pt x="145" y="122"/>
                  <a:pt x="145" y="121"/>
                </a:cubicBezTo>
                <a:cubicBezTo>
                  <a:pt x="145" y="120"/>
                  <a:pt x="144" y="119"/>
                  <a:pt x="144" y="119"/>
                </a:cubicBezTo>
                <a:cubicBezTo>
                  <a:pt x="144" y="119"/>
                  <a:pt x="144" y="119"/>
                  <a:pt x="143" y="119"/>
                </a:cubicBezTo>
                <a:cubicBezTo>
                  <a:pt x="142" y="118"/>
                  <a:pt x="141" y="119"/>
                  <a:pt x="141" y="119"/>
                </a:cubicBezTo>
                <a:cubicBezTo>
                  <a:pt x="141" y="119"/>
                  <a:pt x="140" y="118"/>
                  <a:pt x="140" y="117"/>
                </a:cubicBezTo>
                <a:cubicBezTo>
                  <a:pt x="140" y="117"/>
                  <a:pt x="140" y="116"/>
                  <a:pt x="140" y="116"/>
                </a:cubicBezTo>
                <a:cubicBezTo>
                  <a:pt x="139" y="116"/>
                  <a:pt x="139" y="115"/>
                  <a:pt x="139" y="115"/>
                </a:cubicBezTo>
                <a:cubicBezTo>
                  <a:pt x="139" y="114"/>
                  <a:pt x="138" y="114"/>
                  <a:pt x="138" y="113"/>
                </a:cubicBezTo>
                <a:cubicBezTo>
                  <a:pt x="138" y="113"/>
                  <a:pt x="138" y="113"/>
                  <a:pt x="137" y="112"/>
                </a:cubicBezTo>
                <a:cubicBezTo>
                  <a:pt x="138" y="112"/>
                  <a:pt x="138" y="112"/>
                  <a:pt x="138" y="112"/>
                </a:cubicBezTo>
                <a:cubicBezTo>
                  <a:pt x="138" y="111"/>
                  <a:pt x="138" y="111"/>
                  <a:pt x="138" y="111"/>
                </a:cubicBezTo>
                <a:cubicBezTo>
                  <a:pt x="138" y="111"/>
                  <a:pt x="138" y="111"/>
                  <a:pt x="137" y="111"/>
                </a:cubicBezTo>
                <a:cubicBezTo>
                  <a:pt x="137" y="111"/>
                  <a:pt x="137" y="112"/>
                  <a:pt x="137" y="112"/>
                </a:cubicBezTo>
                <a:cubicBezTo>
                  <a:pt x="137" y="112"/>
                  <a:pt x="137" y="112"/>
                  <a:pt x="137" y="112"/>
                </a:cubicBezTo>
                <a:cubicBezTo>
                  <a:pt x="137" y="111"/>
                  <a:pt x="137" y="111"/>
                  <a:pt x="137" y="111"/>
                </a:cubicBezTo>
                <a:cubicBezTo>
                  <a:pt x="136" y="111"/>
                  <a:pt x="136" y="111"/>
                  <a:pt x="135" y="110"/>
                </a:cubicBezTo>
                <a:cubicBezTo>
                  <a:pt x="135" y="110"/>
                  <a:pt x="135" y="110"/>
                  <a:pt x="135" y="110"/>
                </a:cubicBezTo>
                <a:cubicBezTo>
                  <a:pt x="135" y="110"/>
                  <a:pt x="134" y="111"/>
                  <a:pt x="133" y="111"/>
                </a:cubicBezTo>
                <a:cubicBezTo>
                  <a:pt x="132" y="111"/>
                  <a:pt x="133" y="109"/>
                  <a:pt x="132" y="110"/>
                </a:cubicBezTo>
                <a:cubicBezTo>
                  <a:pt x="132" y="110"/>
                  <a:pt x="130" y="109"/>
                  <a:pt x="130" y="109"/>
                </a:cubicBezTo>
                <a:cubicBezTo>
                  <a:pt x="131" y="108"/>
                  <a:pt x="129" y="108"/>
                  <a:pt x="129" y="108"/>
                </a:cubicBezTo>
                <a:cubicBezTo>
                  <a:pt x="129" y="107"/>
                  <a:pt x="129" y="107"/>
                  <a:pt x="129" y="107"/>
                </a:cubicBezTo>
                <a:cubicBezTo>
                  <a:pt x="128" y="107"/>
                  <a:pt x="128" y="107"/>
                  <a:pt x="128" y="108"/>
                </a:cubicBezTo>
                <a:cubicBezTo>
                  <a:pt x="127" y="108"/>
                  <a:pt x="127" y="108"/>
                  <a:pt x="127" y="108"/>
                </a:cubicBezTo>
                <a:cubicBezTo>
                  <a:pt x="127" y="108"/>
                  <a:pt x="127" y="107"/>
                  <a:pt x="128" y="106"/>
                </a:cubicBezTo>
                <a:cubicBezTo>
                  <a:pt x="128" y="106"/>
                  <a:pt x="127" y="105"/>
                  <a:pt x="126" y="106"/>
                </a:cubicBezTo>
                <a:cubicBezTo>
                  <a:pt x="124" y="108"/>
                  <a:pt x="124" y="106"/>
                  <a:pt x="123" y="107"/>
                </a:cubicBezTo>
                <a:cubicBezTo>
                  <a:pt x="121" y="107"/>
                  <a:pt x="121" y="109"/>
                  <a:pt x="121" y="109"/>
                </a:cubicBezTo>
                <a:cubicBezTo>
                  <a:pt x="120" y="108"/>
                  <a:pt x="119" y="109"/>
                  <a:pt x="119" y="109"/>
                </a:cubicBezTo>
                <a:cubicBezTo>
                  <a:pt x="119" y="109"/>
                  <a:pt x="118" y="107"/>
                  <a:pt x="117" y="107"/>
                </a:cubicBezTo>
                <a:cubicBezTo>
                  <a:pt x="116" y="107"/>
                  <a:pt x="116" y="108"/>
                  <a:pt x="114" y="107"/>
                </a:cubicBezTo>
                <a:cubicBezTo>
                  <a:pt x="113" y="107"/>
                  <a:pt x="113" y="104"/>
                  <a:pt x="113" y="104"/>
                </a:cubicBezTo>
                <a:cubicBezTo>
                  <a:pt x="113" y="103"/>
                  <a:pt x="113" y="103"/>
                  <a:pt x="113" y="103"/>
                </a:cubicBezTo>
                <a:cubicBezTo>
                  <a:pt x="114" y="102"/>
                  <a:pt x="114" y="102"/>
                  <a:pt x="114" y="102"/>
                </a:cubicBezTo>
                <a:cubicBezTo>
                  <a:pt x="114" y="101"/>
                  <a:pt x="114" y="101"/>
                  <a:pt x="114" y="100"/>
                </a:cubicBezTo>
                <a:cubicBezTo>
                  <a:pt x="114" y="100"/>
                  <a:pt x="115" y="100"/>
                  <a:pt x="115" y="100"/>
                </a:cubicBezTo>
                <a:cubicBezTo>
                  <a:pt x="115" y="99"/>
                  <a:pt x="115" y="99"/>
                  <a:pt x="115" y="98"/>
                </a:cubicBezTo>
                <a:cubicBezTo>
                  <a:pt x="115" y="98"/>
                  <a:pt x="115" y="98"/>
                  <a:pt x="114" y="98"/>
                </a:cubicBezTo>
                <a:cubicBezTo>
                  <a:pt x="114" y="97"/>
                  <a:pt x="114" y="97"/>
                  <a:pt x="114" y="97"/>
                </a:cubicBezTo>
                <a:cubicBezTo>
                  <a:pt x="113" y="97"/>
                  <a:pt x="113" y="97"/>
                  <a:pt x="112" y="96"/>
                </a:cubicBezTo>
                <a:cubicBezTo>
                  <a:pt x="112" y="96"/>
                  <a:pt x="110" y="96"/>
                  <a:pt x="109" y="96"/>
                </a:cubicBezTo>
                <a:cubicBezTo>
                  <a:pt x="109" y="96"/>
                  <a:pt x="109" y="95"/>
                  <a:pt x="110" y="95"/>
                </a:cubicBezTo>
                <a:cubicBezTo>
                  <a:pt x="111" y="95"/>
                  <a:pt x="111" y="93"/>
                  <a:pt x="111" y="93"/>
                </a:cubicBezTo>
                <a:cubicBezTo>
                  <a:pt x="111" y="92"/>
                  <a:pt x="111" y="92"/>
                  <a:pt x="112" y="92"/>
                </a:cubicBezTo>
                <a:cubicBezTo>
                  <a:pt x="112" y="92"/>
                  <a:pt x="112" y="90"/>
                  <a:pt x="112" y="90"/>
                </a:cubicBezTo>
                <a:cubicBezTo>
                  <a:pt x="113" y="90"/>
                  <a:pt x="113" y="89"/>
                  <a:pt x="113" y="89"/>
                </a:cubicBezTo>
                <a:cubicBezTo>
                  <a:pt x="113" y="89"/>
                  <a:pt x="113" y="89"/>
                  <a:pt x="113" y="88"/>
                </a:cubicBezTo>
                <a:cubicBezTo>
                  <a:pt x="112" y="88"/>
                  <a:pt x="112" y="88"/>
                  <a:pt x="111" y="88"/>
                </a:cubicBezTo>
                <a:cubicBezTo>
                  <a:pt x="111" y="88"/>
                  <a:pt x="110" y="88"/>
                  <a:pt x="110" y="88"/>
                </a:cubicBezTo>
                <a:cubicBezTo>
                  <a:pt x="110" y="88"/>
                  <a:pt x="110" y="88"/>
                  <a:pt x="109" y="88"/>
                </a:cubicBezTo>
                <a:cubicBezTo>
                  <a:pt x="109" y="88"/>
                  <a:pt x="109" y="88"/>
                  <a:pt x="109" y="88"/>
                </a:cubicBezTo>
                <a:cubicBezTo>
                  <a:pt x="108" y="88"/>
                  <a:pt x="108" y="89"/>
                  <a:pt x="108" y="89"/>
                </a:cubicBezTo>
                <a:cubicBezTo>
                  <a:pt x="108" y="89"/>
                  <a:pt x="108" y="90"/>
                  <a:pt x="107" y="90"/>
                </a:cubicBezTo>
                <a:cubicBezTo>
                  <a:pt x="106" y="90"/>
                  <a:pt x="105" y="91"/>
                  <a:pt x="105" y="91"/>
                </a:cubicBezTo>
                <a:cubicBezTo>
                  <a:pt x="105" y="91"/>
                  <a:pt x="104" y="90"/>
                  <a:pt x="104" y="90"/>
                </a:cubicBezTo>
                <a:cubicBezTo>
                  <a:pt x="104" y="90"/>
                  <a:pt x="103" y="89"/>
                  <a:pt x="102" y="89"/>
                </a:cubicBezTo>
                <a:cubicBezTo>
                  <a:pt x="102" y="89"/>
                  <a:pt x="102" y="87"/>
                  <a:pt x="102" y="87"/>
                </a:cubicBezTo>
                <a:cubicBezTo>
                  <a:pt x="101" y="86"/>
                  <a:pt x="101" y="85"/>
                  <a:pt x="101" y="85"/>
                </a:cubicBezTo>
                <a:cubicBezTo>
                  <a:pt x="101" y="85"/>
                  <a:pt x="100" y="84"/>
                  <a:pt x="102" y="83"/>
                </a:cubicBezTo>
                <a:cubicBezTo>
                  <a:pt x="103" y="81"/>
                  <a:pt x="102" y="81"/>
                  <a:pt x="103" y="80"/>
                </a:cubicBezTo>
                <a:cubicBezTo>
                  <a:pt x="104" y="79"/>
                  <a:pt x="102" y="77"/>
                  <a:pt x="104" y="77"/>
                </a:cubicBezTo>
                <a:cubicBezTo>
                  <a:pt x="106" y="76"/>
                  <a:pt x="108" y="75"/>
                  <a:pt x="108" y="75"/>
                </a:cubicBezTo>
                <a:cubicBezTo>
                  <a:pt x="108" y="75"/>
                  <a:pt x="109" y="75"/>
                  <a:pt x="110" y="76"/>
                </a:cubicBezTo>
                <a:cubicBezTo>
                  <a:pt x="111" y="77"/>
                  <a:pt x="113" y="78"/>
                  <a:pt x="113" y="77"/>
                </a:cubicBezTo>
                <a:cubicBezTo>
                  <a:pt x="113" y="77"/>
                  <a:pt x="113" y="78"/>
                  <a:pt x="114" y="78"/>
                </a:cubicBezTo>
                <a:cubicBezTo>
                  <a:pt x="114" y="78"/>
                  <a:pt x="114" y="76"/>
                  <a:pt x="114" y="76"/>
                </a:cubicBezTo>
                <a:cubicBezTo>
                  <a:pt x="114" y="76"/>
                  <a:pt x="115" y="77"/>
                  <a:pt x="117" y="77"/>
                </a:cubicBezTo>
                <a:cubicBezTo>
                  <a:pt x="118" y="77"/>
                  <a:pt x="118" y="78"/>
                  <a:pt x="118" y="78"/>
                </a:cubicBezTo>
                <a:cubicBezTo>
                  <a:pt x="118" y="78"/>
                  <a:pt x="119" y="79"/>
                  <a:pt x="120" y="79"/>
                </a:cubicBezTo>
                <a:cubicBezTo>
                  <a:pt x="120" y="78"/>
                  <a:pt x="121" y="80"/>
                  <a:pt x="120" y="81"/>
                </a:cubicBezTo>
                <a:cubicBezTo>
                  <a:pt x="120" y="82"/>
                  <a:pt x="121" y="82"/>
                  <a:pt x="121" y="83"/>
                </a:cubicBezTo>
                <a:cubicBezTo>
                  <a:pt x="121" y="84"/>
                  <a:pt x="121" y="84"/>
                  <a:pt x="121" y="85"/>
                </a:cubicBezTo>
                <a:cubicBezTo>
                  <a:pt x="121" y="87"/>
                  <a:pt x="122" y="87"/>
                  <a:pt x="123" y="85"/>
                </a:cubicBezTo>
                <a:cubicBezTo>
                  <a:pt x="123" y="83"/>
                  <a:pt x="124" y="83"/>
                  <a:pt x="123" y="82"/>
                </a:cubicBezTo>
                <a:cubicBezTo>
                  <a:pt x="123" y="82"/>
                  <a:pt x="124" y="81"/>
                  <a:pt x="123" y="80"/>
                </a:cubicBezTo>
                <a:cubicBezTo>
                  <a:pt x="123" y="79"/>
                  <a:pt x="123" y="77"/>
                  <a:pt x="124" y="77"/>
                </a:cubicBezTo>
                <a:cubicBezTo>
                  <a:pt x="125" y="77"/>
                  <a:pt x="126" y="76"/>
                  <a:pt x="127" y="76"/>
                </a:cubicBezTo>
                <a:cubicBezTo>
                  <a:pt x="127" y="76"/>
                  <a:pt x="127" y="75"/>
                  <a:pt x="129" y="75"/>
                </a:cubicBezTo>
                <a:cubicBezTo>
                  <a:pt x="130" y="75"/>
                  <a:pt x="132" y="74"/>
                  <a:pt x="131" y="73"/>
                </a:cubicBezTo>
                <a:cubicBezTo>
                  <a:pt x="131" y="72"/>
                  <a:pt x="132" y="71"/>
                  <a:pt x="132" y="71"/>
                </a:cubicBezTo>
                <a:cubicBezTo>
                  <a:pt x="132" y="71"/>
                  <a:pt x="133" y="71"/>
                  <a:pt x="133" y="70"/>
                </a:cubicBezTo>
                <a:cubicBezTo>
                  <a:pt x="133" y="70"/>
                  <a:pt x="134" y="70"/>
                  <a:pt x="134" y="68"/>
                </a:cubicBezTo>
                <a:cubicBezTo>
                  <a:pt x="134" y="68"/>
                  <a:pt x="136" y="69"/>
                  <a:pt x="137" y="68"/>
                </a:cubicBezTo>
                <a:cubicBezTo>
                  <a:pt x="137" y="68"/>
                  <a:pt x="138" y="68"/>
                  <a:pt x="138" y="69"/>
                </a:cubicBezTo>
                <a:cubicBezTo>
                  <a:pt x="138" y="69"/>
                  <a:pt x="139" y="69"/>
                  <a:pt x="139" y="68"/>
                </a:cubicBezTo>
                <a:cubicBezTo>
                  <a:pt x="139" y="68"/>
                  <a:pt x="139" y="68"/>
                  <a:pt x="138" y="68"/>
                </a:cubicBezTo>
                <a:cubicBezTo>
                  <a:pt x="138" y="68"/>
                  <a:pt x="138" y="68"/>
                  <a:pt x="138" y="67"/>
                </a:cubicBezTo>
                <a:cubicBezTo>
                  <a:pt x="138" y="67"/>
                  <a:pt x="138" y="67"/>
                  <a:pt x="139" y="66"/>
                </a:cubicBezTo>
                <a:cubicBezTo>
                  <a:pt x="139" y="66"/>
                  <a:pt x="140" y="66"/>
                  <a:pt x="140" y="66"/>
                </a:cubicBezTo>
                <a:cubicBezTo>
                  <a:pt x="140" y="66"/>
                  <a:pt x="141" y="66"/>
                  <a:pt x="141" y="66"/>
                </a:cubicBezTo>
                <a:cubicBezTo>
                  <a:pt x="141" y="66"/>
                  <a:pt x="142" y="66"/>
                  <a:pt x="142" y="66"/>
                </a:cubicBezTo>
                <a:cubicBezTo>
                  <a:pt x="143" y="66"/>
                  <a:pt x="143" y="65"/>
                  <a:pt x="143" y="65"/>
                </a:cubicBezTo>
                <a:cubicBezTo>
                  <a:pt x="144" y="66"/>
                  <a:pt x="144" y="65"/>
                  <a:pt x="145" y="66"/>
                </a:cubicBezTo>
                <a:cubicBezTo>
                  <a:pt x="145" y="66"/>
                  <a:pt x="144" y="66"/>
                  <a:pt x="144" y="66"/>
                </a:cubicBezTo>
                <a:cubicBezTo>
                  <a:pt x="143" y="67"/>
                  <a:pt x="143" y="67"/>
                  <a:pt x="144" y="68"/>
                </a:cubicBezTo>
                <a:cubicBezTo>
                  <a:pt x="144" y="68"/>
                  <a:pt x="145" y="68"/>
                  <a:pt x="145" y="67"/>
                </a:cubicBezTo>
                <a:cubicBezTo>
                  <a:pt x="146" y="67"/>
                  <a:pt x="146" y="68"/>
                  <a:pt x="147" y="67"/>
                </a:cubicBezTo>
                <a:cubicBezTo>
                  <a:pt x="147" y="67"/>
                  <a:pt x="148" y="68"/>
                  <a:pt x="148" y="67"/>
                </a:cubicBezTo>
                <a:cubicBezTo>
                  <a:pt x="148" y="67"/>
                  <a:pt x="149" y="68"/>
                  <a:pt x="149" y="67"/>
                </a:cubicBezTo>
                <a:cubicBezTo>
                  <a:pt x="149" y="67"/>
                  <a:pt x="150" y="68"/>
                  <a:pt x="150" y="67"/>
                </a:cubicBezTo>
                <a:cubicBezTo>
                  <a:pt x="150" y="67"/>
                  <a:pt x="150" y="66"/>
                  <a:pt x="150" y="66"/>
                </a:cubicBezTo>
                <a:cubicBezTo>
                  <a:pt x="150" y="66"/>
                  <a:pt x="150" y="66"/>
                  <a:pt x="150" y="66"/>
                </a:cubicBezTo>
                <a:cubicBezTo>
                  <a:pt x="149" y="65"/>
                  <a:pt x="149" y="66"/>
                  <a:pt x="149" y="66"/>
                </a:cubicBezTo>
                <a:cubicBezTo>
                  <a:pt x="149" y="66"/>
                  <a:pt x="148" y="66"/>
                  <a:pt x="148" y="67"/>
                </a:cubicBezTo>
                <a:cubicBezTo>
                  <a:pt x="148" y="67"/>
                  <a:pt x="148" y="66"/>
                  <a:pt x="147" y="66"/>
                </a:cubicBezTo>
                <a:cubicBezTo>
                  <a:pt x="147" y="66"/>
                  <a:pt x="148" y="66"/>
                  <a:pt x="148" y="66"/>
                </a:cubicBezTo>
                <a:cubicBezTo>
                  <a:pt x="148" y="65"/>
                  <a:pt x="147" y="65"/>
                  <a:pt x="147" y="65"/>
                </a:cubicBezTo>
                <a:cubicBezTo>
                  <a:pt x="147" y="65"/>
                  <a:pt x="147" y="65"/>
                  <a:pt x="146" y="65"/>
                </a:cubicBezTo>
                <a:cubicBezTo>
                  <a:pt x="146" y="64"/>
                  <a:pt x="146" y="64"/>
                  <a:pt x="146" y="64"/>
                </a:cubicBezTo>
                <a:cubicBezTo>
                  <a:pt x="146" y="64"/>
                  <a:pt x="146" y="64"/>
                  <a:pt x="146" y="64"/>
                </a:cubicBezTo>
                <a:cubicBezTo>
                  <a:pt x="146" y="64"/>
                  <a:pt x="146" y="64"/>
                  <a:pt x="146" y="65"/>
                </a:cubicBezTo>
                <a:cubicBezTo>
                  <a:pt x="146" y="64"/>
                  <a:pt x="146" y="64"/>
                  <a:pt x="146" y="64"/>
                </a:cubicBezTo>
                <a:cubicBezTo>
                  <a:pt x="146" y="64"/>
                  <a:pt x="145" y="63"/>
                  <a:pt x="146" y="63"/>
                </a:cubicBezTo>
                <a:cubicBezTo>
                  <a:pt x="146" y="63"/>
                  <a:pt x="145" y="63"/>
                  <a:pt x="145" y="62"/>
                </a:cubicBezTo>
                <a:cubicBezTo>
                  <a:pt x="145" y="62"/>
                  <a:pt x="145" y="63"/>
                  <a:pt x="146" y="62"/>
                </a:cubicBezTo>
                <a:cubicBezTo>
                  <a:pt x="146" y="62"/>
                  <a:pt x="146" y="63"/>
                  <a:pt x="146" y="62"/>
                </a:cubicBezTo>
                <a:cubicBezTo>
                  <a:pt x="147" y="61"/>
                  <a:pt x="145" y="61"/>
                  <a:pt x="145" y="61"/>
                </a:cubicBezTo>
                <a:cubicBezTo>
                  <a:pt x="145" y="61"/>
                  <a:pt x="145" y="61"/>
                  <a:pt x="144" y="60"/>
                </a:cubicBezTo>
                <a:cubicBezTo>
                  <a:pt x="144" y="60"/>
                  <a:pt x="142" y="60"/>
                  <a:pt x="141" y="61"/>
                </a:cubicBezTo>
                <a:cubicBezTo>
                  <a:pt x="141" y="61"/>
                  <a:pt x="142" y="59"/>
                  <a:pt x="143" y="60"/>
                </a:cubicBezTo>
                <a:cubicBezTo>
                  <a:pt x="143" y="60"/>
                  <a:pt x="144" y="59"/>
                  <a:pt x="145" y="59"/>
                </a:cubicBezTo>
                <a:cubicBezTo>
                  <a:pt x="145" y="59"/>
                  <a:pt x="148" y="60"/>
                  <a:pt x="149" y="61"/>
                </a:cubicBezTo>
                <a:cubicBezTo>
                  <a:pt x="150" y="62"/>
                  <a:pt x="151" y="62"/>
                  <a:pt x="151" y="62"/>
                </a:cubicBezTo>
                <a:cubicBezTo>
                  <a:pt x="151" y="62"/>
                  <a:pt x="153" y="61"/>
                  <a:pt x="154" y="62"/>
                </a:cubicBezTo>
                <a:cubicBezTo>
                  <a:pt x="154" y="62"/>
                  <a:pt x="155" y="61"/>
                  <a:pt x="155" y="61"/>
                </a:cubicBezTo>
                <a:cubicBezTo>
                  <a:pt x="155" y="61"/>
                  <a:pt x="155" y="60"/>
                  <a:pt x="155" y="60"/>
                </a:cubicBezTo>
                <a:cubicBezTo>
                  <a:pt x="155" y="59"/>
                  <a:pt x="155" y="59"/>
                  <a:pt x="154" y="59"/>
                </a:cubicBezTo>
                <a:cubicBezTo>
                  <a:pt x="154" y="59"/>
                  <a:pt x="154" y="58"/>
                  <a:pt x="154" y="58"/>
                </a:cubicBezTo>
                <a:cubicBezTo>
                  <a:pt x="154" y="58"/>
                  <a:pt x="154" y="58"/>
                  <a:pt x="154" y="58"/>
                </a:cubicBezTo>
                <a:cubicBezTo>
                  <a:pt x="153" y="57"/>
                  <a:pt x="153" y="57"/>
                  <a:pt x="153" y="57"/>
                </a:cubicBezTo>
                <a:cubicBezTo>
                  <a:pt x="153" y="57"/>
                  <a:pt x="153" y="57"/>
                  <a:pt x="153" y="56"/>
                </a:cubicBezTo>
                <a:cubicBezTo>
                  <a:pt x="152" y="56"/>
                  <a:pt x="152" y="56"/>
                  <a:pt x="152" y="56"/>
                </a:cubicBezTo>
                <a:cubicBezTo>
                  <a:pt x="151" y="55"/>
                  <a:pt x="151" y="55"/>
                  <a:pt x="151" y="55"/>
                </a:cubicBezTo>
                <a:cubicBezTo>
                  <a:pt x="151" y="55"/>
                  <a:pt x="151" y="55"/>
                  <a:pt x="151" y="55"/>
                </a:cubicBezTo>
                <a:cubicBezTo>
                  <a:pt x="151" y="55"/>
                  <a:pt x="151" y="54"/>
                  <a:pt x="151" y="53"/>
                </a:cubicBezTo>
                <a:cubicBezTo>
                  <a:pt x="151" y="52"/>
                  <a:pt x="150" y="52"/>
                  <a:pt x="150" y="52"/>
                </a:cubicBezTo>
                <a:cubicBezTo>
                  <a:pt x="150" y="52"/>
                  <a:pt x="150" y="50"/>
                  <a:pt x="149" y="50"/>
                </a:cubicBezTo>
                <a:cubicBezTo>
                  <a:pt x="149" y="49"/>
                  <a:pt x="148" y="47"/>
                  <a:pt x="148" y="47"/>
                </a:cubicBezTo>
                <a:cubicBezTo>
                  <a:pt x="148" y="47"/>
                  <a:pt x="148" y="48"/>
                  <a:pt x="147" y="48"/>
                </a:cubicBezTo>
                <a:cubicBezTo>
                  <a:pt x="147" y="48"/>
                  <a:pt x="147" y="48"/>
                  <a:pt x="147" y="49"/>
                </a:cubicBezTo>
                <a:cubicBezTo>
                  <a:pt x="147" y="49"/>
                  <a:pt x="146" y="49"/>
                  <a:pt x="146" y="49"/>
                </a:cubicBezTo>
                <a:cubicBezTo>
                  <a:pt x="145" y="49"/>
                  <a:pt x="145" y="48"/>
                  <a:pt x="144" y="48"/>
                </a:cubicBezTo>
                <a:cubicBezTo>
                  <a:pt x="144" y="48"/>
                  <a:pt x="143" y="47"/>
                  <a:pt x="144" y="46"/>
                </a:cubicBezTo>
                <a:cubicBezTo>
                  <a:pt x="144" y="46"/>
                  <a:pt x="144" y="46"/>
                  <a:pt x="144" y="45"/>
                </a:cubicBezTo>
                <a:cubicBezTo>
                  <a:pt x="144" y="45"/>
                  <a:pt x="143" y="45"/>
                  <a:pt x="143" y="45"/>
                </a:cubicBezTo>
                <a:cubicBezTo>
                  <a:pt x="143" y="45"/>
                  <a:pt x="143" y="45"/>
                  <a:pt x="142" y="44"/>
                </a:cubicBezTo>
                <a:cubicBezTo>
                  <a:pt x="142" y="44"/>
                  <a:pt x="142" y="44"/>
                  <a:pt x="142" y="43"/>
                </a:cubicBezTo>
                <a:cubicBezTo>
                  <a:pt x="141" y="43"/>
                  <a:pt x="141" y="42"/>
                  <a:pt x="141" y="42"/>
                </a:cubicBezTo>
                <a:cubicBezTo>
                  <a:pt x="141" y="42"/>
                  <a:pt x="140" y="41"/>
                  <a:pt x="140" y="41"/>
                </a:cubicBezTo>
                <a:cubicBezTo>
                  <a:pt x="139" y="41"/>
                  <a:pt x="139" y="41"/>
                  <a:pt x="138" y="41"/>
                </a:cubicBezTo>
                <a:cubicBezTo>
                  <a:pt x="138" y="41"/>
                  <a:pt x="138" y="40"/>
                  <a:pt x="137" y="40"/>
                </a:cubicBezTo>
                <a:cubicBezTo>
                  <a:pt x="136" y="40"/>
                  <a:pt x="135" y="39"/>
                  <a:pt x="136" y="41"/>
                </a:cubicBezTo>
                <a:cubicBezTo>
                  <a:pt x="136" y="42"/>
                  <a:pt x="135" y="42"/>
                  <a:pt x="135" y="42"/>
                </a:cubicBezTo>
                <a:cubicBezTo>
                  <a:pt x="135" y="42"/>
                  <a:pt x="136" y="42"/>
                  <a:pt x="136" y="43"/>
                </a:cubicBezTo>
                <a:cubicBezTo>
                  <a:pt x="136" y="43"/>
                  <a:pt x="136" y="43"/>
                  <a:pt x="135" y="43"/>
                </a:cubicBezTo>
                <a:cubicBezTo>
                  <a:pt x="135" y="44"/>
                  <a:pt x="135" y="44"/>
                  <a:pt x="135" y="44"/>
                </a:cubicBezTo>
                <a:cubicBezTo>
                  <a:pt x="135" y="44"/>
                  <a:pt x="135" y="44"/>
                  <a:pt x="135" y="44"/>
                </a:cubicBezTo>
                <a:cubicBezTo>
                  <a:pt x="135" y="44"/>
                  <a:pt x="135" y="44"/>
                  <a:pt x="134" y="44"/>
                </a:cubicBezTo>
                <a:cubicBezTo>
                  <a:pt x="135" y="45"/>
                  <a:pt x="135" y="45"/>
                  <a:pt x="136" y="45"/>
                </a:cubicBezTo>
                <a:cubicBezTo>
                  <a:pt x="136" y="45"/>
                  <a:pt x="136" y="46"/>
                  <a:pt x="136" y="47"/>
                </a:cubicBezTo>
                <a:cubicBezTo>
                  <a:pt x="136" y="48"/>
                  <a:pt x="134" y="49"/>
                  <a:pt x="134" y="49"/>
                </a:cubicBezTo>
                <a:cubicBezTo>
                  <a:pt x="134" y="48"/>
                  <a:pt x="133" y="48"/>
                  <a:pt x="132" y="48"/>
                </a:cubicBezTo>
                <a:cubicBezTo>
                  <a:pt x="132" y="49"/>
                  <a:pt x="132" y="49"/>
                  <a:pt x="132" y="49"/>
                </a:cubicBezTo>
                <a:cubicBezTo>
                  <a:pt x="133" y="49"/>
                  <a:pt x="133" y="50"/>
                  <a:pt x="133" y="50"/>
                </a:cubicBezTo>
                <a:cubicBezTo>
                  <a:pt x="133" y="50"/>
                  <a:pt x="133" y="51"/>
                  <a:pt x="133" y="51"/>
                </a:cubicBezTo>
                <a:cubicBezTo>
                  <a:pt x="133" y="51"/>
                  <a:pt x="133" y="52"/>
                  <a:pt x="132" y="52"/>
                </a:cubicBezTo>
                <a:cubicBezTo>
                  <a:pt x="132" y="52"/>
                  <a:pt x="132" y="52"/>
                  <a:pt x="132" y="52"/>
                </a:cubicBezTo>
                <a:cubicBezTo>
                  <a:pt x="132" y="52"/>
                  <a:pt x="131" y="52"/>
                  <a:pt x="131" y="52"/>
                </a:cubicBezTo>
                <a:cubicBezTo>
                  <a:pt x="131" y="52"/>
                  <a:pt x="131" y="52"/>
                  <a:pt x="131" y="52"/>
                </a:cubicBezTo>
                <a:cubicBezTo>
                  <a:pt x="131" y="51"/>
                  <a:pt x="130" y="51"/>
                  <a:pt x="130" y="51"/>
                </a:cubicBezTo>
                <a:cubicBezTo>
                  <a:pt x="131" y="51"/>
                  <a:pt x="131" y="51"/>
                  <a:pt x="131" y="51"/>
                </a:cubicBezTo>
                <a:cubicBezTo>
                  <a:pt x="131" y="51"/>
                  <a:pt x="131" y="50"/>
                  <a:pt x="131" y="50"/>
                </a:cubicBezTo>
                <a:cubicBezTo>
                  <a:pt x="131" y="50"/>
                  <a:pt x="130" y="50"/>
                  <a:pt x="130" y="49"/>
                </a:cubicBezTo>
                <a:cubicBezTo>
                  <a:pt x="130" y="49"/>
                  <a:pt x="130" y="49"/>
                  <a:pt x="130" y="49"/>
                </a:cubicBezTo>
                <a:cubicBezTo>
                  <a:pt x="130" y="49"/>
                  <a:pt x="130" y="48"/>
                  <a:pt x="130" y="48"/>
                </a:cubicBezTo>
                <a:cubicBezTo>
                  <a:pt x="131" y="47"/>
                  <a:pt x="129" y="46"/>
                  <a:pt x="129" y="46"/>
                </a:cubicBezTo>
                <a:cubicBezTo>
                  <a:pt x="129" y="46"/>
                  <a:pt x="127" y="46"/>
                  <a:pt x="127" y="45"/>
                </a:cubicBezTo>
                <a:cubicBezTo>
                  <a:pt x="126" y="45"/>
                  <a:pt x="125" y="45"/>
                  <a:pt x="124" y="43"/>
                </a:cubicBezTo>
                <a:cubicBezTo>
                  <a:pt x="124" y="42"/>
                  <a:pt x="123" y="42"/>
                  <a:pt x="123" y="42"/>
                </a:cubicBezTo>
                <a:cubicBezTo>
                  <a:pt x="123" y="42"/>
                  <a:pt x="122" y="42"/>
                  <a:pt x="121" y="41"/>
                </a:cubicBezTo>
                <a:cubicBezTo>
                  <a:pt x="120" y="41"/>
                  <a:pt x="120" y="39"/>
                  <a:pt x="120" y="39"/>
                </a:cubicBezTo>
                <a:cubicBezTo>
                  <a:pt x="119" y="39"/>
                  <a:pt x="119" y="39"/>
                  <a:pt x="118" y="39"/>
                </a:cubicBezTo>
                <a:cubicBezTo>
                  <a:pt x="118" y="39"/>
                  <a:pt x="118" y="37"/>
                  <a:pt x="120" y="36"/>
                </a:cubicBezTo>
                <a:cubicBezTo>
                  <a:pt x="121" y="36"/>
                  <a:pt x="123" y="35"/>
                  <a:pt x="124" y="35"/>
                </a:cubicBezTo>
                <a:cubicBezTo>
                  <a:pt x="124" y="35"/>
                  <a:pt x="124" y="35"/>
                  <a:pt x="124" y="34"/>
                </a:cubicBezTo>
                <a:cubicBezTo>
                  <a:pt x="124" y="34"/>
                  <a:pt x="125" y="35"/>
                  <a:pt x="125" y="34"/>
                </a:cubicBezTo>
                <a:cubicBezTo>
                  <a:pt x="125" y="34"/>
                  <a:pt x="126" y="35"/>
                  <a:pt x="127" y="34"/>
                </a:cubicBezTo>
                <a:cubicBezTo>
                  <a:pt x="127" y="34"/>
                  <a:pt x="128" y="34"/>
                  <a:pt x="128" y="33"/>
                </a:cubicBezTo>
                <a:cubicBezTo>
                  <a:pt x="128" y="33"/>
                  <a:pt x="129" y="33"/>
                  <a:pt x="129" y="33"/>
                </a:cubicBezTo>
                <a:cubicBezTo>
                  <a:pt x="130" y="32"/>
                  <a:pt x="129" y="32"/>
                  <a:pt x="129" y="32"/>
                </a:cubicBezTo>
                <a:cubicBezTo>
                  <a:pt x="129" y="32"/>
                  <a:pt x="130" y="32"/>
                  <a:pt x="130" y="33"/>
                </a:cubicBezTo>
                <a:cubicBezTo>
                  <a:pt x="130" y="33"/>
                  <a:pt x="130" y="33"/>
                  <a:pt x="130" y="33"/>
                </a:cubicBezTo>
                <a:cubicBezTo>
                  <a:pt x="130" y="34"/>
                  <a:pt x="130" y="33"/>
                  <a:pt x="129" y="33"/>
                </a:cubicBezTo>
                <a:cubicBezTo>
                  <a:pt x="129" y="34"/>
                  <a:pt x="128" y="35"/>
                  <a:pt x="128" y="35"/>
                </a:cubicBezTo>
                <a:cubicBezTo>
                  <a:pt x="128" y="35"/>
                  <a:pt x="128" y="35"/>
                  <a:pt x="127" y="35"/>
                </a:cubicBezTo>
                <a:cubicBezTo>
                  <a:pt x="127" y="35"/>
                  <a:pt x="128" y="36"/>
                  <a:pt x="129" y="36"/>
                </a:cubicBezTo>
                <a:cubicBezTo>
                  <a:pt x="129" y="36"/>
                  <a:pt x="129" y="36"/>
                  <a:pt x="129" y="37"/>
                </a:cubicBezTo>
                <a:cubicBezTo>
                  <a:pt x="129" y="37"/>
                  <a:pt x="130" y="36"/>
                  <a:pt x="130" y="36"/>
                </a:cubicBezTo>
                <a:cubicBezTo>
                  <a:pt x="130" y="36"/>
                  <a:pt x="131" y="37"/>
                  <a:pt x="131" y="36"/>
                </a:cubicBezTo>
                <a:cubicBezTo>
                  <a:pt x="131" y="36"/>
                  <a:pt x="131" y="36"/>
                  <a:pt x="132" y="37"/>
                </a:cubicBezTo>
                <a:cubicBezTo>
                  <a:pt x="132" y="37"/>
                  <a:pt x="133" y="37"/>
                  <a:pt x="133" y="37"/>
                </a:cubicBezTo>
                <a:cubicBezTo>
                  <a:pt x="133" y="37"/>
                  <a:pt x="133" y="38"/>
                  <a:pt x="134" y="38"/>
                </a:cubicBezTo>
                <a:cubicBezTo>
                  <a:pt x="134" y="38"/>
                  <a:pt x="135" y="38"/>
                  <a:pt x="135" y="38"/>
                </a:cubicBezTo>
                <a:cubicBezTo>
                  <a:pt x="135" y="38"/>
                  <a:pt x="134" y="37"/>
                  <a:pt x="133" y="37"/>
                </a:cubicBezTo>
                <a:cubicBezTo>
                  <a:pt x="133" y="37"/>
                  <a:pt x="133" y="36"/>
                  <a:pt x="132" y="35"/>
                </a:cubicBezTo>
                <a:cubicBezTo>
                  <a:pt x="132" y="35"/>
                  <a:pt x="132" y="35"/>
                  <a:pt x="132" y="35"/>
                </a:cubicBezTo>
                <a:cubicBezTo>
                  <a:pt x="132" y="35"/>
                  <a:pt x="131" y="35"/>
                  <a:pt x="131" y="34"/>
                </a:cubicBezTo>
                <a:cubicBezTo>
                  <a:pt x="131" y="34"/>
                  <a:pt x="131" y="35"/>
                  <a:pt x="132" y="35"/>
                </a:cubicBezTo>
                <a:cubicBezTo>
                  <a:pt x="132" y="35"/>
                  <a:pt x="132" y="33"/>
                  <a:pt x="131" y="33"/>
                </a:cubicBezTo>
                <a:cubicBezTo>
                  <a:pt x="131" y="33"/>
                  <a:pt x="132" y="33"/>
                  <a:pt x="132" y="34"/>
                </a:cubicBezTo>
                <a:cubicBezTo>
                  <a:pt x="132" y="34"/>
                  <a:pt x="132" y="34"/>
                  <a:pt x="132" y="33"/>
                </a:cubicBezTo>
                <a:cubicBezTo>
                  <a:pt x="132" y="33"/>
                  <a:pt x="133" y="34"/>
                  <a:pt x="134" y="34"/>
                </a:cubicBezTo>
                <a:cubicBezTo>
                  <a:pt x="134" y="34"/>
                  <a:pt x="135" y="33"/>
                  <a:pt x="134" y="33"/>
                </a:cubicBezTo>
                <a:cubicBezTo>
                  <a:pt x="133" y="32"/>
                  <a:pt x="133" y="31"/>
                  <a:pt x="133" y="31"/>
                </a:cubicBezTo>
                <a:cubicBezTo>
                  <a:pt x="133" y="31"/>
                  <a:pt x="134" y="32"/>
                  <a:pt x="135" y="32"/>
                </a:cubicBezTo>
                <a:cubicBezTo>
                  <a:pt x="135" y="32"/>
                  <a:pt x="135" y="31"/>
                  <a:pt x="134" y="31"/>
                </a:cubicBezTo>
                <a:cubicBezTo>
                  <a:pt x="134" y="31"/>
                  <a:pt x="134" y="30"/>
                  <a:pt x="134" y="30"/>
                </a:cubicBezTo>
                <a:cubicBezTo>
                  <a:pt x="134" y="30"/>
                  <a:pt x="134" y="30"/>
                  <a:pt x="135" y="30"/>
                </a:cubicBezTo>
                <a:cubicBezTo>
                  <a:pt x="135" y="30"/>
                  <a:pt x="135" y="31"/>
                  <a:pt x="135" y="31"/>
                </a:cubicBezTo>
                <a:cubicBezTo>
                  <a:pt x="136" y="31"/>
                  <a:pt x="136" y="31"/>
                  <a:pt x="136" y="31"/>
                </a:cubicBezTo>
                <a:cubicBezTo>
                  <a:pt x="136" y="31"/>
                  <a:pt x="136" y="31"/>
                  <a:pt x="137" y="31"/>
                </a:cubicBezTo>
                <a:cubicBezTo>
                  <a:pt x="137" y="31"/>
                  <a:pt x="137" y="31"/>
                  <a:pt x="137" y="31"/>
                </a:cubicBezTo>
                <a:cubicBezTo>
                  <a:pt x="138" y="31"/>
                  <a:pt x="138" y="31"/>
                  <a:pt x="138" y="31"/>
                </a:cubicBezTo>
                <a:cubicBezTo>
                  <a:pt x="138" y="32"/>
                  <a:pt x="138" y="32"/>
                  <a:pt x="139" y="32"/>
                </a:cubicBezTo>
                <a:cubicBezTo>
                  <a:pt x="139" y="33"/>
                  <a:pt x="139" y="33"/>
                  <a:pt x="140" y="33"/>
                </a:cubicBezTo>
                <a:cubicBezTo>
                  <a:pt x="140" y="33"/>
                  <a:pt x="140" y="34"/>
                  <a:pt x="140" y="34"/>
                </a:cubicBezTo>
                <a:cubicBezTo>
                  <a:pt x="140" y="34"/>
                  <a:pt x="140" y="34"/>
                  <a:pt x="141" y="34"/>
                </a:cubicBezTo>
                <a:cubicBezTo>
                  <a:pt x="141" y="35"/>
                  <a:pt x="141" y="35"/>
                  <a:pt x="141" y="36"/>
                </a:cubicBezTo>
                <a:cubicBezTo>
                  <a:pt x="141" y="35"/>
                  <a:pt x="141" y="35"/>
                  <a:pt x="142" y="35"/>
                </a:cubicBezTo>
                <a:cubicBezTo>
                  <a:pt x="142" y="36"/>
                  <a:pt x="142" y="36"/>
                  <a:pt x="142" y="36"/>
                </a:cubicBezTo>
                <a:cubicBezTo>
                  <a:pt x="142" y="36"/>
                  <a:pt x="142" y="36"/>
                  <a:pt x="142" y="37"/>
                </a:cubicBezTo>
                <a:cubicBezTo>
                  <a:pt x="142" y="37"/>
                  <a:pt x="141" y="37"/>
                  <a:pt x="141" y="37"/>
                </a:cubicBezTo>
                <a:cubicBezTo>
                  <a:pt x="141" y="37"/>
                  <a:pt x="140" y="37"/>
                  <a:pt x="140" y="37"/>
                </a:cubicBezTo>
                <a:cubicBezTo>
                  <a:pt x="140" y="38"/>
                  <a:pt x="140" y="38"/>
                  <a:pt x="140" y="38"/>
                </a:cubicBezTo>
                <a:cubicBezTo>
                  <a:pt x="140" y="38"/>
                  <a:pt x="139" y="38"/>
                  <a:pt x="139" y="37"/>
                </a:cubicBezTo>
                <a:cubicBezTo>
                  <a:pt x="138" y="37"/>
                  <a:pt x="138" y="37"/>
                  <a:pt x="137" y="37"/>
                </a:cubicBezTo>
                <a:cubicBezTo>
                  <a:pt x="137" y="37"/>
                  <a:pt x="137" y="37"/>
                  <a:pt x="137" y="37"/>
                </a:cubicBezTo>
                <a:cubicBezTo>
                  <a:pt x="136" y="37"/>
                  <a:pt x="136" y="37"/>
                  <a:pt x="136" y="38"/>
                </a:cubicBezTo>
                <a:cubicBezTo>
                  <a:pt x="137" y="38"/>
                  <a:pt x="137" y="38"/>
                  <a:pt x="137" y="38"/>
                </a:cubicBezTo>
                <a:cubicBezTo>
                  <a:pt x="138" y="38"/>
                  <a:pt x="138" y="39"/>
                  <a:pt x="138" y="39"/>
                </a:cubicBezTo>
                <a:cubicBezTo>
                  <a:pt x="138" y="39"/>
                  <a:pt x="138" y="39"/>
                  <a:pt x="139" y="39"/>
                </a:cubicBezTo>
                <a:cubicBezTo>
                  <a:pt x="139" y="39"/>
                  <a:pt x="140" y="39"/>
                  <a:pt x="140" y="39"/>
                </a:cubicBezTo>
                <a:cubicBezTo>
                  <a:pt x="140" y="40"/>
                  <a:pt x="141" y="40"/>
                  <a:pt x="141" y="40"/>
                </a:cubicBezTo>
                <a:cubicBezTo>
                  <a:pt x="141" y="41"/>
                  <a:pt x="142" y="41"/>
                  <a:pt x="142" y="41"/>
                </a:cubicBezTo>
                <a:cubicBezTo>
                  <a:pt x="142" y="41"/>
                  <a:pt x="142" y="42"/>
                  <a:pt x="142" y="42"/>
                </a:cubicBezTo>
                <a:cubicBezTo>
                  <a:pt x="142" y="42"/>
                  <a:pt x="142" y="42"/>
                  <a:pt x="142" y="42"/>
                </a:cubicBezTo>
                <a:cubicBezTo>
                  <a:pt x="143" y="42"/>
                  <a:pt x="143" y="42"/>
                  <a:pt x="143" y="43"/>
                </a:cubicBezTo>
                <a:cubicBezTo>
                  <a:pt x="143" y="43"/>
                  <a:pt x="143" y="43"/>
                  <a:pt x="143" y="43"/>
                </a:cubicBezTo>
                <a:cubicBezTo>
                  <a:pt x="144" y="43"/>
                  <a:pt x="144" y="43"/>
                  <a:pt x="144" y="43"/>
                </a:cubicBezTo>
                <a:cubicBezTo>
                  <a:pt x="144" y="43"/>
                  <a:pt x="144" y="44"/>
                  <a:pt x="145" y="44"/>
                </a:cubicBezTo>
                <a:cubicBezTo>
                  <a:pt x="145" y="44"/>
                  <a:pt x="146" y="45"/>
                  <a:pt x="146" y="45"/>
                </a:cubicBezTo>
                <a:cubicBezTo>
                  <a:pt x="147" y="45"/>
                  <a:pt x="147" y="45"/>
                  <a:pt x="147" y="45"/>
                </a:cubicBezTo>
                <a:cubicBezTo>
                  <a:pt x="147" y="45"/>
                  <a:pt x="147" y="45"/>
                  <a:pt x="147" y="45"/>
                </a:cubicBezTo>
                <a:cubicBezTo>
                  <a:pt x="146" y="44"/>
                  <a:pt x="146" y="44"/>
                  <a:pt x="146" y="44"/>
                </a:cubicBezTo>
                <a:cubicBezTo>
                  <a:pt x="146" y="43"/>
                  <a:pt x="146" y="43"/>
                  <a:pt x="145" y="43"/>
                </a:cubicBezTo>
                <a:cubicBezTo>
                  <a:pt x="146" y="43"/>
                  <a:pt x="146" y="43"/>
                  <a:pt x="146" y="43"/>
                </a:cubicBezTo>
                <a:cubicBezTo>
                  <a:pt x="147" y="44"/>
                  <a:pt x="147" y="44"/>
                  <a:pt x="147" y="44"/>
                </a:cubicBezTo>
                <a:cubicBezTo>
                  <a:pt x="147" y="44"/>
                  <a:pt x="147" y="44"/>
                  <a:pt x="148" y="45"/>
                </a:cubicBezTo>
                <a:cubicBezTo>
                  <a:pt x="148" y="45"/>
                  <a:pt x="148" y="45"/>
                  <a:pt x="148" y="45"/>
                </a:cubicBezTo>
                <a:cubicBezTo>
                  <a:pt x="148" y="45"/>
                  <a:pt x="148" y="46"/>
                  <a:pt x="149" y="46"/>
                </a:cubicBezTo>
                <a:cubicBezTo>
                  <a:pt x="149" y="45"/>
                  <a:pt x="148" y="45"/>
                  <a:pt x="148" y="45"/>
                </a:cubicBezTo>
                <a:cubicBezTo>
                  <a:pt x="148" y="45"/>
                  <a:pt x="148" y="45"/>
                  <a:pt x="148" y="44"/>
                </a:cubicBezTo>
                <a:cubicBezTo>
                  <a:pt x="149" y="44"/>
                  <a:pt x="149" y="44"/>
                  <a:pt x="149" y="44"/>
                </a:cubicBezTo>
                <a:cubicBezTo>
                  <a:pt x="149" y="44"/>
                  <a:pt x="149" y="44"/>
                  <a:pt x="149" y="44"/>
                </a:cubicBezTo>
                <a:cubicBezTo>
                  <a:pt x="149" y="44"/>
                  <a:pt x="149" y="44"/>
                  <a:pt x="149" y="44"/>
                </a:cubicBezTo>
                <a:cubicBezTo>
                  <a:pt x="149" y="43"/>
                  <a:pt x="149" y="43"/>
                  <a:pt x="149" y="43"/>
                </a:cubicBezTo>
                <a:cubicBezTo>
                  <a:pt x="148" y="43"/>
                  <a:pt x="148" y="43"/>
                  <a:pt x="148" y="43"/>
                </a:cubicBezTo>
                <a:cubicBezTo>
                  <a:pt x="148" y="43"/>
                  <a:pt x="148" y="43"/>
                  <a:pt x="148" y="42"/>
                </a:cubicBezTo>
                <a:cubicBezTo>
                  <a:pt x="148" y="42"/>
                  <a:pt x="148" y="42"/>
                  <a:pt x="147" y="42"/>
                </a:cubicBezTo>
                <a:cubicBezTo>
                  <a:pt x="147" y="42"/>
                  <a:pt x="147" y="41"/>
                  <a:pt x="147" y="41"/>
                </a:cubicBezTo>
                <a:cubicBezTo>
                  <a:pt x="147" y="41"/>
                  <a:pt x="147" y="41"/>
                  <a:pt x="147" y="40"/>
                </a:cubicBezTo>
                <a:cubicBezTo>
                  <a:pt x="147" y="40"/>
                  <a:pt x="147" y="40"/>
                  <a:pt x="147" y="40"/>
                </a:cubicBezTo>
                <a:cubicBezTo>
                  <a:pt x="147" y="40"/>
                  <a:pt x="147" y="40"/>
                  <a:pt x="147" y="40"/>
                </a:cubicBezTo>
                <a:cubicBezTo>
                  <a:pt x="148" y="40"/>
                  <a:pt x="148" y="41"/>
                  <a:pt x="148" y="41"/>
                </a:cubicBezTo>
                <a:cubicBezTo>
                  <a:pt x="148" y="41"/>
                  <a:pt x="148" y="41"/>
                  <a:pt x="148" y="41"/>
                </a:cubicBezTo>
                <a:cubicBezTo>
                  <a:pt x="148" y="42"/>
                  <a:pt x="148" y="42"/>
                  <a:pt x="148" y="42"/>
                </a:cubicBezTo>
                <a:cubicBezTo>
                  <a:pt x="149" y="42"/>
                  <a:pt x="149" y="42"/>
                  <a:pt x="149" y="42"/>
                </a:cubicBezTo>
                <a:cubicBezTo>
                  <a:pt x="149" y="43"/>
                  <a:pt x="149" y="43"/>
                  <a:pt x="149" y="43"/>
                </a:cubicBezTo>
                <a:cubicBezTo>
                  <a:pt x="149" y="43"/>
                  <a:pt x="150" y="43"/>
                  <a:pt x="150" y="43"/>
                </a:cubicBezTo>
                <a:cubicBezTo>
                  <a:pt x="150" y="43"/>
                  <a:pt x="150" y="43"/>
                  <a:pt x="150" y="42"/>
                </a:cubicBezTo>
                <a:cubicBezTo>
                  <a:pt x="150" y="43"/>
                  <a:pt x="150" y="43"/>
                  <a:pt x="151" y="43"/>
                </a:cubicBezTo>
                <a:cubicBezTo>
                  <a:pt x="151" y="43"/>
                  <a:pt x="151" y="43"/>
                  <a:pt x="151" y="42"/>
                </a:cubicBezTo>
                <a:cubicBezTo>
                  <a:pt x="151" y="42"/>
                  <a:pt x="152" y="42"/>
                  <a:pt x="152" y="42"/>
                </a:cubicBezTo>
                <a:cubicBezTo>
                  <a:pt x="152" y="42"/>
                  <a:pt x="151" y="41"/>
                  <a:pt x="150" y="41"/>
                </a:cubicBezTo>
                <a:cubicBezTo>
                  <a:pt x="150" y="41"/>
                  <a:pt x="150" y="40"/>
                  <a:pt x="150" y="40"/>
                </a:cubicBezTo>
                <a:cubicBezTo>
                  <a:pt x="150" y="40"/>
                  <a:pt x="150" y="40"/>
                  <a:pt x="149" y="39"/>
                </a:cubicBezTo>
                <a:cubicBezTo>
                  <a:pt x="149" y="39"/>
                  <a:pt x="149" y="39"/>
                  <a:pt x="148" y="38"/>
                </a:cubicBezTo>
                <a:cubicBezTo>
                  <a:pt x="147" y="38"/>
                  <a:pt x="147" y="37"/>
                  <a:pt x="147" y="37"/>
                </a:cubicBezTo>
                <a:cubicBezTo>
                  <a:pt x="147" y="37"/>
                  <a:pt x="147" y="37"/>
                  <a:pt x="148" y="37"/>
                </a:cubicBezTo>
                <a:cubicBezTo>
                  <a:pt x="147" y="37"/>
                  <a:pt x="147" y="37"/>
                  <a:pt x="147" y="36"/>
                </a:cubicBezTo>
                <a:cubicBezTo>
                  <a:pt x="147" y="36"/>
                  <a:pt x="147" y="36"/>
                  <a:pt x="147" y="36"/>
                </a:cubicBezTo>
                <a:cubicBezTo>
                  <a:pt x="147" y="35"/>
                  <a:pt x="147" y="35"/>
                  <a:pt x="146" y="35"/>
                </a:cubicBezTo>
                <a:cubicBezTo>
                  <a:pt x="146" y="35"/>
                  <a:pt x="146" y="35"/>
                  <a:pt x="146" y="34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5" y="34"/>
                  <a:pt x="145" y="34"/>
                  <a:pt x="145" y="33"/>
                </a:cubicBezTo>
                <a:cubicBezTo>
                  <a:pt x="145" y="33"/>
                  <a:pt x="145" y="33"/>
                  <a:pt x="144" y="33"/>
                </a:cubicBezTo>
                <a:cubicBezTo>
                  <a:pt x="144" y="33"/>
                  <a:pt x="144" y="33"/>
                  <a:pt x="144" y="32"/>
                </a:cubicBezTo>
                <a:cubicBezTo>
                  <a:pt x="144" y="32"/>
                  <a:pt x="142" y="31"/>
                  <a:pt x="142" y="31"/>
                </a:cubicBezTo>
                <a:cubicBezTo>
                  <a:pt x="142" y="31"/>
                  <a:pt x="142" y="31"/>
                  <a:pt x="142" y="31"/>
                </a:cubicBezTo>
                <a:cubicBezTo>
                  <a:pt x="141" y="30"/>
                  <a:pt x="141" y="30"/>
                  <a:pt x="141" y="30"/>
                </a:cubicBezTo>
                <a:cubicBezTo>
                  <a:pt x="141" y="30"/>
                  <a:pt x="141" y="30"/>
                  <a:pt x="141" y="29"/>
                </a:cubicBezTo>
                <a:cubicBezTo>
                  <a:pt x="140" y="29"/>
                  <a:pt x="140" y="29"/>
                  <a:pt x="140" y="29"/>
                </a:cubicBezTo>
                <a:cubicBezTo>
                  <a:pt x="140" y="29"/>
                  <a:pt x="140" y="29"/>
                  <a:pt x="140" y="29"/>
                </a:cubicBezTo>
                <a:cubicBezTo>
                  <a:pt x="140" y="29"/>
                  <a:pt x="140" y="29"/>
                  <a:pt x="140" y="29"/>
                </a:cubicBezTo>
                <a:cubicBezTo>
                  <a:pt x="140" y="28"/>
                  <a:pt x="139" y="28"/>
                  <a:pt x="139" y="28"/>
                </a:cubicBezTo>
                <a:cubicBezTo>
                  <a:pt x="139" y="27"/>
                  <a:pt x="139" y="27"/>
                  <a:pt x="138" y="27"/>
                </a:cubicBezTo>
                <a:cubicBezTo>
                  <a:pt x="138" y="27"/>
                  <a:pt x="138" y="27"/>
                  <a:pt x="137" y="27"/>
                </a:cubicBezTo>
                <a:cubicBezTo>
                  <a:pt x="137" y="26"/>
                  <a:pt x="136" y="26"/>
                  <a:pt x="136" y="26"/>
                </a:cubicBezTo>
                <a:cubicBezTo>
                  <a:pt x="136" y="26"/>
                  <a:pt x="136" y="26"/>
                  <a:pt x="136" y="26"/>
                </a:cubicBezTo>
                <a:cubicBezTo>
                  <a:pt x="136" y="27"/>
                  <a:pt x="136" y="27"/>
                  <a:pt x="137" y="27"/>
                </a:cubicBezTo>
                <a:cubicBezTo>
                  <a:pt x="137" y="27"/>
                  <a:pt x="137" y="28"/>
                  <a:pt x="137" y="28"/>
                </a:cubicBezTo>
                <a:cubicBezTo>
                  <a:pt x="138" y="28"/>
                  <a:pt x="138" y="28"/>
                  <a:pt x="138" y="28"/>
                </a:cubicBezTo>
                <a:cubicBezTo>
                  <a:pt x="138" y="28"/>
                  <a:pt x="138" y="28"/>
                  <a:pt x="137" y="28"/>
                </a:cubicBezTo>
                <a:cubicBezTo>
                  <a:pt x="137" y="28"/>
                  <a:pt x="137" y="28"/>
                  <a:pt x="136" y="28"/>
                </a:cubicBezTo>
                <a:cubicBezTo>
                  <a:pt x="136" y="28"/>
                  <a:pt x="136" y="28"/>
                  <a:pt x="135" y="28"/>
                </a:cubicBezTo>
                <a:cubicBezTo>
                  <a:pt x="135" y="28"/>
                  <a:pt x="136" y="28"/>
                  <a:pt x="136" y="27"/>
                </a:cubicBezTo>
                <a:cubicBezTo>
                  <a:pt x="136" y="27"/>
                  <a:pt x="136" y="26"/>
                  <a:pt x="136" y="26"/>
                </a:cubicBezTo>
                <a:cubicBezTo>
                  <a:pt x="135" y="26"/>
                  <a:pt x="135" y="25"/>
                  <a:pt x="134" y="25"/>
                </a:cubicBezTo>
                <a:cubicBezTo>
                  <a:pt x="134" y="25"/>
                  <a:pt x="134" y="25"/>
                  <a:pt x="133" y="25"/>
                </a:cubicBezTo>
                <a:cubicBezTo>
                  <a:pt x="133" y="25"/>
                  <a:pt x="133" y="25"/>
                  <a:pt x="132" y="25"/>
                </a:cubicBezTo>
                <a:cubicBezTo>
                  <a:pt x="132" y="25"/>
                  <a:pt x="132" y="25"/>
                  <a:pt x="132" y="25"/>
                </a:cubicBezTo>
                <a:cubicBezTo>
                  <a:pt x="131" y="25"/>
                  <a:pt x="131" y="26"/>
                  <a:pt x="131" y="26"/>
                </a:cubicBezTo>
                <a:cubicBezTo>
                  <a:pt x="132" y="26"/>
                  <a:pt x="132" y="26"/>
                  <a:pt x="132" y="26"/>
                </a:cubicBezTo>
                <a:cubicBezTo>
                  <a:pt x="132" y="26"/>
                  <a:pt x="131" y="26"/>
                  <a:pt x="131" y="26"/>
                </a:cubicBezTo>
                <a:cubicBezTo>
                  <a:pt x="131" y="26"/>
                  <a:pt x="131" y="27"/>
                  <a:pt x="132" y="27"/>
                </a:cubicBezTo>
                <a:cubicBezTo>
                  <a:pt x="132" y="27"/>
                  <a:pt x="130" y="27"/>
                  <a:pt x="131" y="26"/>
                </a:cubicBezTo>
                <a:cubicBezTo>
                  <a:pt x="131" y="25"/>
                  <a:pt x="131" y="25"/>
                  <a:pt x="131" y="25"/>
                </a:cubicBezTo>
                <a:cubicBezTo>
                  <a:pt x="131" y="25"/>
                  <a:pt x="132" y="24"/>
                  <a:pt x="132" y="24"/>
                </a:cubicBezTo>
                <a:cubicBezTo>
                  <a:pt x="132" y="24"/>
                  <a:pt x="131" y="24"/>
                  <a:pt x="130" y="24"/>
                </a:cubicBezTo>
                <a:cubicBezTo>
                  <a:pt x="130" y="24"/>
                  <a:pt x="129" y="24"/>
                  <a:pt x="128" y="24"/>
                </a:cubicBezTo>
                <a:cubicBezTo>
                  <a:pt x="127" y="25"/>
                  <a:pt x="127" y="26"/>
                  <a:pt x="127" y="26"/>
                </a:cubicBezTo>
                <a:cubicBezTo>
                  <a:pt x="128" y="26"/>
                  <a:pt x="128" y="26"/>
                  <a:pt x="129" y="26"/>
                </a:cubicBezTo>
                <a:cubicBezTo>
                  <a:pt x="128" y="26"/>
                  <a:pt x="128" y="26"/>
                  <a:pt x="127" y="26"/>
                </a:cubicBezTo>
                <a:cubicBezTo>
                  <a:pt x="127" y="26"/>
                  <a:pt x="128" y="27"/>
                  <a:pt x="129" y="27"/>
                </a:cubicBezTo>
                <a:cubicBezTo>
                  <a:pt x="129" y="27"/>
                  <a:pt x="129" y="28"/>
                  <a:pt x="130" y="28"/>
                </a:cubicBezTo>
                <a:cubicBezTo>
                  <a:pt x="130" y="28"/>
                  <a:pt x="130" y="28"/>
                  <a:pt x="131" y="29"/>
                </a:cubicBezTo>
                <a:cubicBezTo>
                  <a:pt x="131" y="29"/>
                  <a:pt x="130" y="31"/>
                  <a:pt x="130" y="31"/>
                </a:cubicBezTo>
                <a:cubicBezTo>
                  <a:pt x="130" y="31"/>
                  <a:pt x="130" y="30"/>
                  <a:pt x="129" y="30"/>
                </a:cubicBezTo>
                <a:cubicBezTo>
                  <a:pt x="129" y="30"/>
                  <a:pt x="129" y="31"/>
                  <a:pt x="129" y="31"/>
                </a:cubicBezTo>
                <a:cubicBezTo>
                  <a:pt x="129" y="31"/>
                  <a:pt x="128" y="31"/>
                  <a:pt x="128" y="30"/>
                </a:cubicBezTo>
                <a:cubicBezTo>
                  <a:pt x="128" y="29"/>
                  <a:pt x="129" y="30"/>
                  <a:pt x="128" y="29"/>
                </a:cubicBezTo>
                <a:cubicBezTo>
                  <a:pt x="128" y="29"/>
                  <a:pt x="128" y="29"/>
                  <a:pt x="127" y="28"/>
                </a:cubicBezTo>
                <a:cubicBezTo>
                  <a:pt x="127" y="28"/>
                  <a:pt x="126" y="28"/>
                  <a:pt x="126" y="29"/>
                </a:cubicBezTo>
                <a:cubicBezTo>
                  <a:pt x="126" y="29"/>
                  <a:pt x="125" y="29"/>
                  <a:pt x="126" y="28"/>
                </a:cubicBezTo>
                <a:cubicBezTo>
                  <a:pt x="127" y="27"/>
                  <a:pt x="126" y="27"/>
                  <a:pt x="126" y="27"/>
                </a:cubicBezTo>
                <a:cubicBezTo>
                  <a:pt x="125" y="27"/>
                  <a:pt x="125" y="27"/>
                  <a:pt x="125" y="27"/>
                </a:cubicBezTo>
                <a:cubicBezTo>
                  <a:pt x="125" y="27"/>
                  <a:pt x="125" y="27"/>
                  <a:pt x="124" y="27"/>
                </a:cubicBezTo>
                <a:cubicBezTo>
                  <a:pt x="124" y="26"/>
                  <a:pt x="125" y="26"/>
                  <a:pt x="125" y="26"/>
                </a:cubicBezTo>
                <a:cubicBezTo>
                  <a:pt x="125" y="26"/>
                  <a:pt x="125" y="26"/>
                  <a:pt x="124" y="25"/>
                </a:cubicBezTo>
                <a:cubicBezTo>
                  <a:pt x="124" y="25"/>
                  <a:pt x="124" y="25"/>
                  <a:pt x="123" y="24"/>
                </a:cubicBezTo>
                <a:cubicBezTo>
                  <a:pt x="123" y="24"/>
                  <a:pt x="124" y="24"/>
                  <a:pt x="124" y="23"/>
                </a:cubicBezTo>
                <a:cubicBezTo>
                  <a:pt x="124" y="23"/>
                  <a:pt x="125" y="23"/>
                  <a:pt x="125" y="23"/>
                </a:cubicBezTo>
                <a:cubicBezTo>
                  <a:pt x="125" y="23"/>
                  <a:pt x="125" y="23"/>
                  <a:pt x="126" y="23"/>
                </a:cubicBezTo>
                <a:cubicBezTo>
                  <a:pt x="126" y="23"/>
                  <a:pt x="127" y="23"/>
                  <a:pt x="128" y="23"/>
                </a:cubicBezTo>
                <a:cubicBezTo>
                  <a:pt x="128" y="23"/>
                  <a:pt x="128" y="22"/>
                  <a:pt x="127" y="22"/>
                </a:cubicBezTo>
                <a:cubicBezTo>
                  <a:pt x="126" y="23"/>
                  <a:pt x="126" y="22"/>
                  <a:pt x="126" y="22"/>
                </a:cubicBezTo>
                <a:cubicBezTo>
                  <a:pt x="126" y="22"/>
                  <a:pt x="123" y="21"/>
                  <a:pt x="123" y="21"/>
                </a:cubicBezTo>
                <a:cubicBezTo>
                  <a:pt x="122" y="21"/>
                  <a:pt x="122" y="22"/>
                  <a:pt x="122" y="22"/>
                </a:cubicBezTo>
                <a:cubicBezTo>
                  <a:pt x="122" y="22"/>
                  <a:pt x="122" y="22"/>
                  <a:pt x="122" y="23"/>
                </a:cubicBezTo>
                <a:cubicBezTo>
                  <a:pt x="122" y="23"/>
                  <a:pt x="122" y="23"/>
                  <a:pt x="122" y="23"/>
                </a:cubicBezTo>
                <a:cubicBezTo>
                  <a:pt x="122" y="23"/>
                  <a:pt x="122" y="23"/>
                  <a:pt x="121" y="24"/>
                </a:cubicBezTo>
                <a:cubicBezTo>
                  <a:pt x="121" y="23"/>
                  <a:pt x="121" y="23"/>
                  <a:pt x="121" y="23"/>
                </a:cubicBezTo>
                <a:cubicBezTo>
                  <a:pt x="121" y="23"/>
                  <a:pt x="121" y="23"/>
                  <a:pt x="121" y="23"/>
                </a:cubicBezTo>
                <a:cubicBezTo>
                  <a:pt x="121" y="22"/>
                  <a:pt x="121" y="22"/>
                  <a:pt x="121" y="21"/>
                </a:cubicBezTo>
                <a:cubicBezTo>
                  <a:pt x="121" y="21"/>
                  <a:pt x="121" y="21"/>
                  <a:pt x="120" y="21"/>
                </a:cubicBezTo>
                <a:cubicBezTo>
                  <a:pt x="120" y="20"/>
                  <a:pt x="120" y="20"/>
                  <a:pt x="120" y="20"/>
                </a:cubicBezTo>
                <a:cubicBezTo>
                  <a:pt x="120" y="20"/>
                  <a:pt x="119" y="20"/>
                  <a:pt x="119" y="20"/>
                </a:cubicBezTo>
                <a:cubicBezTo>
                  <a:pt x="118" y="20"/>
                  <a:pt x="118" y="20"/>
                  <a:pt x="118" y="20"/>
                </a:cubicBezTo>
                <a:cubicBezTo>
                  <a:pt x="117" y="20"/>
                  <a:pt x="117" y="20"/>
                  <a:pt x="117" y="20"/>
                </a:cubicBezTo>
                <a:cubicBezTo>
                  <a:pt x="117" y="20"/>
                  <a:pt x="117" y="20"/>
                  <a:pt x="117" y="21"/>
                </a:cubicBezTo>
                <a:cubicBezTo>
                  <a:pt x="117" y="21"/>
                  <a:pt x="117" y="21"/>
                  <a:pt x="117" y="21"/>
                </a:cubicBezTo>
                <a:cubicBezTo>
                  <a:pt x="117" y="21"/>
                  <a:pt x="117" y="21"/>
                  <a:pt x="116" y="20"/>
                </a:cubicBezTo>
                <a:cubicBezTo>
                  <a:pt x="116" y="20"/>
                  <a:pt x="116" y="20"/>
                  <a:pt x="116" y="21"/>
                </a:cubicBezTo>
                <a:cubicBezTo>
                  <a:pt x="115" y="21"/>
                  <a:pt x="115" y="21"/>
                  <a:pt x="115" y="21"/>
                </a:cubicBezTo>
                <a:cubicBezTo>
                  <a:pt x="116" y="21"/>
                  <a:pt x="116" y="21"/>
                  <a:pt x="116" y="22"/>
                </a:cubicBezTo>
                <a:cubicBezTo>
                  <a:pt x="117" y="22"/>
                  <a:pt x="117" y="22"/>
                  <a:pt x="117" y="22"/>
                </a:cubicBezTo>
                <a:cubicBezTo>
                  <a:pt x="118" y="22"/>
                  <a:pt x="118" y="23"/>
                  <a:pt x="118" y="23"/>
                </a:cubicBezTo>
                <a:cubicBezTo>
                  <a:pt x="118" y="23"/>
                  <a:pt x="119" y="23"/>
                  <a:pt x="119" y="23"/>
                </a:cubicBezTo>
                <a:cubicBezTo>
                  <a:pt x="119" y="23"/>
                  <a:pt x="120" y="23"/>
                  <a:pt x="120" y="23"/>
                </a:cubicBezTo>
                <a:cubicBezTo>
                  <a:pt x="120" y="24"/>
                  <a:pt x="120" y="24"/>
                  <a:pt x="121" y="24"/>
                </a:cubicBezTo>
                <a:cubicBezTo>
                  <a:pt x="121" y="24"/>
                  <a:pt x="120" y="24"/>
                  <a:pt x="120" y="25"/>
                </a:cubicBezTo>
                <a:cubicBezTo>
                  <a:pt x="120" y="25"/>
                  <a:pt x="121" y="25"/>
                  <a:pt x="120" y="26"/>
                </a:cubicBezTo>
                <a:cubicBezTo>
                  <a:pt x="120" y="26"/>
                  <a:pt x="120" y="25"/>
                  <a:pt x="120" y="25"/>
                </a:cubicBezTo>
                <a:cubicBezTo>
                  <a:pt x="120" y="25"/>
                  <a:pt x="119" y="25"/>
                  <a:pt x="119" y="25"/>
                </a:cubicBezTo>
                <a:cubicBezTo>
                  <a:pt x="118" y="25"/>
                  <a:pt x="118" y="26"/>
                  <a:pt x="118" y="26"/>
                </a:cubicBezTo>
                <a:cubicBezTo>
                  <a:pt x="118" y="26"/>
                  <a:pt x="118" y="26"/>
                  <a:pt x="118" y="26"/>
                </a:cubicBezTo>
                <a:cubicBezTo>
                  <a:pt x="118" y="26"/>
                  <a:pt x="118" y="26"/>
                  <a:pt x="117" y="27"/>
                </a:cubicBezTo>
                <a:cubicBezTo>
                  <a:pt x="117" y="27"/>
                  <a:pt x="116" y="27"/>
                  <a:pt x="115" y="27"/>
                </a:cubicBezTo>
                <a:cubicBezTo>
                  <a:pt x="114" y="26"/>
                  <a:pt x="112" y="25"/>
                  <a:pt x="112" y="25"/>
                </a:cubicBezTo>
                <a:cubicBezTo>
                  <a:pt x="111" y="24"/>
                  <a:pt x="110" y="24"/>
                  <a:pt x="109" y="24"/>
                </a:cubicBezTo>
                <a:cubicBezTo>
                  <a:pt x="109" y="24"/>
                  <a:pt x="108" y="24"/>
                  <a:pt x="108" y="24"/>
                </a:cubicBezTo>
                <a:cubicBezTo>
                  <a:pt x="107" y="25"/>
                  <a:pt x="109" y="25"/>
                  <a:pt x="108" y="27"/>
                </a:cubicBezTo>
                <a:cubicBezTo>
                  <a:pt x="108" y="27"/>
                  <a:pt x="109" y="25"/>
                  <a:pt x="107" y="25"/>
                </a:cubicBezTo>
                <a:cubicBezTo>
                  <a:pt x="107" y="25"/>
                  <a:pt x="107" y="25"/>
                  <a:pt x="106" y="25"/>
                </a:cubicBezTo>
                <a:cubicBezTo>
                  <a:pt x="106" y="25"/>
                  <a:pt x="107" y="24"/>
                  <a:pt x="106" y="24"/>
                </a:cubicBezTo>
                <a:cubicBezTo>
                  <a:pt x="106" y="24"/>
                  <a:pt x="105" y="25"/>
                  <a:pt x="104" y="25"/>
                </a:cubicBezTo>
                <a:cubicBezTo>
                  <a:pt x="102" y="24"/>
                  <a:pt x="101" y="24"/>
                  <a:pt x="101" y="24"/>
                </a:cubicBezTo>
                <a:cubicBezTo>
                  <a:pt x="102" y="24"/>
                  <a:pt x="102" y="24"/>
                  <a:pt x="103" y="23"/>
                </a:cubicBezTo>
                <a:cubicBezTo>
                  <a:pt x="103" y="23"/>
                  <a:pt x="103" y="23"/>
                  <a:pt x="101" y="22"/>
                </a:cubicBezTo>
                <a:cubicBezTo>
                  <a:pt x="100" y="22"/>
                  <a:pt x="99" y="22"/>
                  <a:pt x="99" y="22"/>
                </a:cubicBezTo>
                <a:cubicBezTo>
                  <a:pt x="99" y="22"/>
                  <a:pt x="99" y="22"/>
                  <a:pt x="98" y="22"/>
                </a:cubicBezTo>
                <a:cubicBezTo>
                  <a:pt x="97" y="21"/>
                  <a:pt x="97" y="21"/>
                  <a:pt x="97" y="21"/>
                </a:cubicBezTo>
                <a:cubicBezTo>
                  <a:pt x="96" y="21"/>
                  <a:pt x="96" y="21"/>
                  <a:pt x="96" y="21"/>
                </a:cubicBezTo>
                <a:cubicBezTo>
                  <a:pt x="96" y="21"/>
                  <a:pt x="94" y="20"/>
                  <a:pt x="94" y="21"/>
                </a:cubicBezTo>
                <a:cubicBezTo>
                  <a:pt x="94" y="21"/>
                  <a:pt x="94" y="21"/>
                  <a:pt x="93" y="21"/>
                </a:cubicBezTo>
                <a:cubicBezTo>
                  <a:pt x="93" y="21"/>
                  <a:pt x="94" y="21"/>
                  <a:pt x="94" y="20"/>
                </a:cubicBezTo>
                <a:cubicBezTo>
                  <a:pt x="93" y="20"/>
                  <a:pt x="93" y="20"/>
                  <a:pt x="93" y="20"/>
                </a:cubicBezTo>
                <a:cubicBezTo>
                  <a:pt x="93" y="20"/>
                  <a:pt x="93" y="20"/>
                  <a:pt x="93" y="20"/>
                </a:cubicBezTo>
                <a:cubicBezTo>
                  <a:pt x="93" y="20"/>
                  <a:pt x="92" y="21"/>
                  <a:pt x="92" y="21"/>
                </a:cubicBezTo>
                <a:cubicBezTo>
                  <a:pt x="91" y="21"/>
                  <a:pt x="91" y="20"/>
                  <a:pt x="91" y="20"/>
                </a:cubicBezTo>
                <a:cubicBezTo>
                  <a:pt x="91" y="20"/>
                  <a:pt x="90" y="19"/>
                  <a:pt x="90" y="20"/>
                </a:cubicBezTo>
                <a:cubicBezTo>
                  <a:pt x="89" y="20"/>
                  <a:pt x="89" y="20"/>
                  <a:pt x="89" y="20"/>
                </a:cubicBezTo>
                <a:cubicBezTo>
                  <a:pt x="89" y="20"/>
                  <a:pt x="89" y="20"/>
                  <a:pt x="89" y="20"/>
                </a:cubicBezTo>
                <a:cubicBezTo>
                  <a:pt x="88" y="20"/>
                  <a:pt x="88" y="20"/>
                  <a:pt x="87" y="20"/>
                </a:cubicBezTo>
                <a:cubicBezTo>
                  <a:pt x="87" y="20"/>
                  <a:pt x="87" y="20"/>
                  <a:pt x="87" y="20"/>
                </a:cubicBezTo>
                <a:cubicBezTo>
                  <a:pt x="86" y="20"/>
                  <a:pt x="86" y="20"/>
                  <a:pt x="86" y="20"/>
                </a:cubicBezTo>
                <a:cubicBezTo>
                  <a:pt x="85" y="20"/>
                  <a:pt x="85" y="20"/>
                  <a:pt x="85" y="20"/>
                </a:cubicBezTo>
                <a:cubicBezTo>
                  <a:pt x="85" y="20"/>
                  <a:pt x="84" y="20"/>
                  <a:pt x="84" y="20"/>
                </a:cubicBezTo>
                <a:cubicBezTo>
                  <a:pt x="84" y="20"/>
                  <a:pt x="83" y="20"/>
                  <a:pt x="82" y="20"/>
                </a:cubicBezTo>
                <a:cubicBezTo>
                  <a:pt x="81" y="20"/>
                  <a:pt x="80" y="21"/>
                  <a:pt x="80" y="21"/>
                </a:cubicBezTo>
                <a:cubicBezTo>
                  <a:pt x="80" y="21"/>
                  <a:pt x="80" y="21"/>
                  <a:pt x="80" y="20"/>
                </a:cubicBezTo>
                <a:cubicBezTo>
                  <a:pt x="80" y="20"/>
                  <a:pt x="79" y="20"/>
                  <a:pt x="79" y="20"/>
                </a:cubicBezTo>
                <a:cubicBezTo>
                  <a:pt x="79" y="20"/>
                  <a:pt x="78" y="20"/>
                  <a:pt x="78" y="20"/>
                </a:cubicBezTo>
                <a:cubicBezTo>
                  <a:pt x="78" y="20"/>
                  <a:pt x="77" y="20"/>
                  <a:pt x="77" y="20"/>
                </a:cubicBezTo>
                <a:cubicBezTo>
                  <a:pt x="76" y="20"/>
                  <a:pt x="76" y="20"/>
                  <a:pt x="75" y="20"/>
                </a:cubicBezTo>
                <a:cubicBezTo>
                  <a:pt x="74" y="20"/>
                  <a:pt x="73" y="20"/>
                  <a:pt x="73" y="20"/>
                </a:cubicBezTo>
                <a:cubicBezTo>
                  <a:pt x="73" y="20"/>
                  <a:pt x="73" y="20"/>
                  <a:pt x="72" y="20"/>
                </a:cubicBezTo>
                <a:cubicBezTo>
                  <a:pt x="72" y="20"/>
                  <a:pt x="68" y="20"/>
                  <a:pt x="68" y="20"/>
                </a:cubicBezTo>
                <a:cubicBezTo>
                  <a:pt x="68" y="20"/>
                  <a:pt x="68" y="20"/>
                  <a:pt x="68" y="20"/>
                </a:cubicBezTo>
                <a:cubicBezTo>
                  <a:pt x="67" y="20"/>
                  <a:pt x="67" y="20"/>
                  <a:pt x="66" y="20"/>
                </a:cubicBezTo>
                <a:cubicBezTo>
                  <a:pt x="66" y="20"/>
                  <a:pt x="66" y="20"/>
                  <a:pt x="66" y="20"/>
                </a:cubicBezTo>
                <a:cubicBezTo>
                  <a:pt x="65" y="20"/>
                  <a:pt x="65" y="20"/>
                  <a:pt x="64" y="20"/>
                </a:cubicBezTo>
                <a:cubicBezTo>
                  <a:pt x="64" y="20"/>
                  <a:pt x="64" y="20"/>
                  <a:pt x="64" y="21"/>
                </a:cubicBezTo>
                <a:cubicBezTo>
                  <a:pt x="63" y="21"/>
                  <a:pt x="63" y="21"/>
                  <a:pt x="62" y="21"/>
                </a:cubicBezTo>
                <a:cubicBezTo>
                  <a:pt x="62" y="21"/>
                  <a:pt x="62" y="21"/>
                  <a:pt x="61" y="21"/>
                </a:cubicBezTo>
                <a:cubicBezTo>
                  <a:pt x="61" y="21"/>
                  <a:pt x="61" y="21"/>
                  <a:pt x="60" y="22"/>
                </a:cubicBezTo>
                <a:cubicBezTo>
                  <a:pt x="60" y="22"/>
                  <a:pt x="60" y="22"/>
                  <a:pt x="60" y="22"/>
                </a:cubicBezTo>
                <a:cubicBezTo>
                  <a:pt x="79" y="12"/>
                  <a:pt x="102" y="9"/>
                  <a:pt x="124" y="15"/>
                </a:cubicBezTo>
                <a:cubicBezTo>
                  <a:pt x="124" y="15"/>
                  <a:pt x="124" y="15"/>
                  <a:pt x="124" y="15"/>
                </a:cubicBezTo>
                <a:cubicBezTo>
                  <a:pt x="124" y="15"/>
                  <a:pt x="124" y="15"/>
                  <a:pt x="124" y="15"/>
                </a:cubicBezTo>
                <a:cubicBezTo>
                  <a:pt x="124" y="15"/>
                  <a:pt x="124" y="15"/>
                  <a:pt x="124" y="15"/>
                </a:cubicBezTo>
                <a:cubicBezTo>
                  <a:pt x="125" y="16"/>
                  <a:pt x="125" y="16"/>
                  <a:pt x="125" y="16"/>
                </a:cubicBezTo>
                <a:cubicBezTo>
                  <a:pt x="125" y="16"/>
                  <a:pt x="125" y="16"/>
                  <a:pt x="125" y="16"/>
                </a:cubicBezTo>
                <a:cubicBezTo>
                  <a:pt x="125" y="16"/>
                  <a:pt x="125" y="16"/>
                  <a:pt x="126" y="16"/>
                </a:cubicBezTo>
                <a:cubicBezTo>
                  <a:pt x="126" y="17"/>
                  <a:pt x="126" y="17"/>
                  <a:pt x="126" y="17"/>
                </a:cubicBezTo>
                <a:cubicBezTo>
                  <a:pt x="127" y="17"/>
                  <a:pt x="127" y="18"/>
                  <a:pt x="127" y="18"/>
                </a:cubicBezTo>
                <a:cubicBezTo>
                  <a:pt x="128" y="18"/>
                  <a:pt x="128" y="18"/>
                  <a:pt x="128" y="18"/>
                </a:cubicBezTo>
                <a:cubicBezTo>
                  <a:pt x="129" y="18"/>
                  <a:pt x="129" y="18"/>
                  <a:pt x="129" y="18"/>
                </a:cubicBezTo>
                <a:cubicBezTo>
                  <a:pt x="130" y="18"/>
                  <a:pt x="130" y="19"/>
                  <a:pt x="130" y="19"/>
                </a:cubicBezTo>
                <a:cubicBezTo>
                  <a:pt x="130" y="19"/>
                  <a:pt x="130" y="19"/>
                  <a:pt x="131" y="19"/>
                </a:cubicBezTo>
                <a:cubicBezTo>
                  <a:pt x="131" y="19"/>
                  <a:pt x="131" y="18"/>
                  <a:pt x="132" y="18"/>
                </a:cubicBezTo>
                <a:cubicBezTo>
                  <a:pt x="132" y="18"/>
                  <a:pt x="131" y="18"/>
                  <a:pt x="131" y="19"/>
                </a:cubicBezTo>
                <a:cubicBezTo>
                  <a:pt x="131" y="19"/>
                  <a:pt x="131" y="19"/>
                  <a:pt x="132" y="19"/>
                </a:cubicBezTo>
                <a:cubicBezTo>
                  <a:pt x="132" y="19"/>
                  <a:pt x="132" y="20"/>
                  <a:pt x="133" y="20"/>
                </a:cubicBezTo>
                <a:cubicBezTo>
                  <a:pt x="133" y="20"/>
                  <a:pt x="133" y="20"/>
                  <a:pt x="133" y="21"/>
                </a:cubicBezTo>
                <a:cubicBezTo>
                  <a:pt x="133" y="20"/>
                  <a:pt x="133" y="20"/>
                  <a:pt x="133" y="20"/>
                </a:cubicBezTo>
                <a:cubicBezTo>
                  <a:pt x="132" y="20"/>
                  <a:pt x="132" y="20"/>
                  <a:pt x="132" y="20"/>
                </a:cubicBezTo>
                <a:cubicBezTo>
                  <a:pt x="132" y="19"/>
                  <a:pt x="131" y="19"/>
                  <a:pt x="131" y="19"/>
                </a:cubicBezTo>
                <a:cubicBezTo>
                  <a:pt x="131" y="19"/>
                  <a:pt x="131" y="19"/>
                  <a:pt x="130" y="19"/>
                </a:cubicBezTo>
                <a:cubicBezTo>
                  <a:pt x="131" y="19"/>
                  <a:pt x="131" y="19"/>
                  <a:pt x="131" y="19"/>
                </a:cubicBezTo>
                <a:cubicBezTo>
                  <a:pt x="131" y="20"/>
                  <a:pt x="131" y="20"/>
                  <a:pt x="131" y="20"/>
                </a:cubicBezTo>
                <a:cubicBezTo>
                  <a:pt x="131" y="20"/>
                  <a:pt x="131" y="20"/>
                  <a:pt x="131" y="20"/>
                </a:cubicBezTo>
                <a:cubicBezTo>
                  <a:pt x="131" y="20"/>
                  <a:pt x="130" y="20"/>
                  <a:pt x="130" y="20"/>
                </a:cubicBezTo>
                <a:cubicBezTo>
                  <a:pt x="130" y="20"/>
                  <a:pt x="129" y="20"/>
                  <a:pt x="129" y="20"/>
                </a:cubicBezTo>
                <a:cubicBezTo>
                  <a:pt x="129" y="19"/>
                  <a:pt x="129" y="20"/>
                  <a:pt x="129" y="20"/>
                </a:cubicBezTo>
                <a:cubicBezTo>
                  <a:pt x="129" y="20"/>
                  <a:pt x="128" y="19"/>
                  <a:pt x="128" y="20"/>
                </a:cubicBezTo>
                <a:cubicBezTo>
                  <a:pt x="128" y="20"/>
                  <a:pt x="128" y="20"/>
                  <a:pt x="128" y="20"/>
                </a:cubicBezTo>
                <a:cubicBezTo>
                  <a:pt x="128" y="20"/>
                  <a:pt x="128" y="20"/>
                  <a:pt x="127" y="19"/>
                </a:cubicBezTo>
                <a:cubicBezTo>
                  <a:pt x="127" y="19"/>
                  <a:pt x="127" y="19"/>
                  <a:pt x="127" y="19"/>
                </a:cubicBezTo>
                <a:cubicBezTo>
                  <a:pt x="126" y="19"/>
                  <a:pt x="126" y="19"/>
                  <a:pt x="126" y="19"/>
                </a:cubicBezTo>
                <a:cubicBezTo>
                  <a:pt x="126" y="19"/>
                  <a:pt x="126" y="19"/>
                  <a:pt x="126" y="19"/>
                </a:cubicBezTo>
                <a:cubicBezTo>
                  <a:pt x="126" y="19"/>
                  <a:pt x="126" y="18"/>
                  <a:pt x="125" y="18"/>
                </a:cubicBezTo>
                <a:cubicBezTo>
                  <a:pt x="125" y="18"/>
                  <a:pt x="125" y="18"/>
                  <a:pt x="124" y="18"/>
                </a:cubicBezTo>
                <a:cubicBezTo>
                  <a:pt x="124" y="18"/>
                  <a:pt x="124" y="18"/>
                  <a:pt x="123" y="18"/>
                </a:cubicBezTo>
                <a:cubicBezTo>
                  <a:pt x="123" y="18"/>
                  <a:pt x="123" y="18"/>
                  <a:pt x="122" y="17"/>
                </a:cubicBezTo>
                <a:cubicBezTo>
                  <a:pt x="122" y="17"/>
                  <a:pt x="122" y="17"/>
                  <a:pt x="122" y="17"/>
                </a:cubicBezTo>
                <a:cubicBezTo>
                  <a:pt x="122" y="17"/>
                  <a:pt x="123" y="18"/>
                  <a:pt x="123" y="18"/>
                </a:cubicBezTo>
                <a:cubicBezTo>
                  <a:pt x="123" y="19"/>
                  <a:pt x="124" y="19"/>
                  <a:pt x="124" y="19"/>
                </a:cubicBezTo>
                <a:cubicBezTo>
                  <a:pt x="124" y="19"/>
                  <a:pt x="124" y="19"/>
                  <a:pt x="125" y="19"/>
                </a:cubicBezTo>
                <a:cubicBezTo>
                  <a:pt x="125" y="19"/>
                  <a:pt x="125" y="19"/>
                  <a:pt x="126" y="19"/>
                </a:cubicBezTo>
                <a:cubicBezTo>
                  <a:pt x="126" y="20"/>
                  <a:pt x="126" y="20"/>
                  <a:pt x="126" y="20"/>
                </a:cubicBezTo>
                <a:cubicBezTo>
                  <a:pt x="126" y="20"/>
                  <a:pt x="126" y="20"/>
                  <a:pt x="126" y="20"/>
                </a:cubicBezTo>
                <a:cubicBezTo>
                  <a:pt x="126" y="20"/>
                  <a:pt x="126" y="20"/>
                  <a:pt x="126" y="20"/>
                </a:cubicBezTo>
                <a:cubicBezTo>
                  <a:pt x="126" y="21"/>
                  <a:pt x="126" y="21"/>
                  <a:pt x="126" y="21"/>
                </a:cubicBezTo>
                <a:cubicBezTo>
                  <a:pt x="126" y="21"/>
                  <a:pt x="126" y="21"/>
                  <a:pt x="126" y="21"/>
                </a:cubicBezTo>
                <a:cubicBezTo>
                  <a:pt x="127" y="21"/>
                  <a:pt x="127" y="22"/>
                  <a:pt x="127" y="22"/>
                </a:cubicBezTo>
                <a:cubicBezTo>
                  <a:pt x="127" y="22"/>
                  <a:pt x="127" y="22"/>
                  <a:pt x="128" y="22"/>
                </a:cubicBezTo>
                <a:cubicBezTo>
                  <a:pt x="128" y="22"/>
                  <a:pt x="128" y="22"/>
                  <a:pt x="129" y="22"/>
                </a:cubicBezTo>
                <a:cubicBezTo>
                  <a:pt x="129" y="22"/>
                  <a:pt x="129" y="22"/>
                  <a:pt x="129" y="22"/>
                </a:cubicBezTo>
                <a:cubicBezTo>
                  <a:pt x="130" y="23"/>
                  <a:pt x="130" y="23"/>
                  <a:pt x="131" y="23"/>
                </a:cubicBezTo>
                <a:cubicBezTo>
                  <a:pt x="132" y="24"/>
                  <a:pt x="133" y="24"/>
                  <a:pt x="134" y="24"/>
                </a:cubicBezTo>
                <a:cubicBezTo>
                  <a:pt x="134" y="24"/>
                  <a:pt x="135" y="25"/>
                  <a:pt x="135" y="25"/>
                </a:cubicBezTo>
                <a:cubicBezTo>
                  <a:pt x="135" y="25"/>
                  <a:pt x="135" y="25"/>
                  <a:pt x="136" y="25"/>
                </a:cubicBezTo>
                <a:cubicBezTo>
                  <a:pt x="136" y="25"/>
                  <a:pt x="136" y="25"/>
                  <a:pt x="137" y="25"/>
                </a:cubicBezTo>
                <a:cubicBezTo>
                  <a:pt x="137" y="25"/>
                  <a:pt x="137" y="25"/>
                  <a:pt x="137" y="25"/>
                </a:cubicBezTo>
                <a:cubicBezTo>
                  <a:pt x="137" y="25"/>
                  <a:pt x="137" y="25"/>
                  <a:pt x="137" y="25"/>
                </a:cubicBezTo>
                <a:cubicBezTo>
                  <a:pt x="137" y="24"/>
                  <a:pt x="137" y="24"/>
                  <a:pt x="137" y="24"/>
                </a:cubicBezTo>
                <a:cubicBezTo>
                  <a:pt x="136" y="24"/>
                  <a:pt x="136" y="24"/>
                  <a:pt x="136" y="23"/>
                </a:cubicBezTo>
                <a:cubicBezTo>
                  <a:pt x="135" y="23"/>
                  <a:pt x="135" y="23"/>
                  <a:pt x="134" y="23"/>
                </a:cubicBezTo>
                <a:cubicBezTo>
                  <a:pt x="133" y="23"/>
                  <a:pt x="133" y="23"/>
                  <a:pt x="132" y="22"/>
                </a:cubicBezTo>
                <a:cubicBezTo>
                  <a:pt x="132" y="22"/>
                  <a:pt x="131" y="23"/>
                  <a:pt x="131" y="22"/>
                </a:cubicBezTo>
                <a:cubicBezTo>
                  <a:pt x="130" y="21"/>
                  <a:pt x="129" y="21"/>
                  <a:pt x="129" y="21"/>
                </a:cubicBezTo>
                <a:cubicBezTo>
                  <a:pt x="129" y="21"/>
                  <a:pt x="129" y="21"/>
                  <a:pt x="128" y="20"/>
                </a:cubicBezTo>
                <a:cubicBezTo>
                  <a:pt x="128" y="20"/>
                  <a:pt x="129" y="20"/>
                  <a:pt x="129" y="21"/>
                </a:cubicBezTo>
                <a:cubicBezTo>
                  <a:pt x="129" y="21"/>
                  <a:pt x="129" y="21"/>
                  <a:pt x="130" y="20"/>
                </a:cubicBezTo>
                <a:cubicBezTo>
                  <a:pt x="130" y="21"/>
                  <a:pt x="130" y="21"/>
                  <a:pt x="131" y="21"/>
                </a:cubicBezTo>
                <a:cubicBezTo>
                  <a:pt x="132" y="21"/>
                  <a:pt x="132" y="21"/>
                  <a:pt x="132" y="22"/>
                </a:cubicBezTo>
                <a:cubicBezTo>
                  <a:pt x="133" y="22"/>
                  <a:pt x="133" y="22"/>
                  <a:pt x="133" y="22"/>
                </a:cubicBezTo>
                <a:cubicBezTo>
                  <a:pt x="133" y="22"/>
                  <a:pt x="134" y="22"/>
                  <a:pt x="134" y="22"/>
                </a:cubicBezTo>
                <a:cubicBezTo>
                  <a:pt x="134" y="22"/>
                  <a:pt x="135" y="22"/>
                  <a:pt x="135" y="22"/>
                </a:cubicBezTo>
                <a:cubicBezTo>
                  <a:pt x="136" y="23"/>
                  <a:pt x="136" y="23"/>
                  <a:pt x="136" y="23"/>
                </a:cubicBezTo>
                <a:cubicBezTo>
                  <a:pt x="136" y="23"/>
                  <a:pt x="136" y="23"/>
                  <a:pt x="136" y="23"/>
                </a:cubicBezTo>
                <a:cubicBezTo>
                  <a:pt x="137" y="24"/>
                  <a:pt x="137" y="24"/>
                  <a:pt x="137" y="24"/>
                </a:cubicBezTo>
                <a:cubicBezTo>
                  <a:pt x="137" y="24"/>
                  <a:pt x="138" y="24"/>
                  <a:pt x="138" y="25"/>
                </a:cubicBezTo>
                <a:cubicBezTo>
                  <a:pt x="138" y="24"/>
                  <a:pt x="138" y="24"/>
                  <a:pt x="138" y="24"/>
                </a:cubicBezTo>
                <a:cubicBezTo>
                  <a:pt x="139" y="24"/>
                  <a:pt x="139" y="24"/>
                  <a:pt x="139" y="24"/>
                </a:cubicBezTo>
                <a:cubicBezTo>
                  <a:pt x="139" y="24"/>
                  <a:pt x="139" y="24"/>
                  <a:pt x="139" y="23"/>
                </a:cubicBezTo>
                <a:cubicBezTo>
                  <a:pt x="139" y="23"/>
                  <a:pt x="139" y="23"/>
                  <a:pt x="139" y="23"/>
                </a:cubicBezTo>
                <a:cubicBezTo>
                  <a:pt x="139" y="23"/>
                  <a:pt x="139" y="23"/>
                  <a:pt x="139" y="23"/>
                </a:cubicBezTo>
                <a:cubicBezTo>
                  <a:pt x="140" y="23"/>
                  <a:pt x="140" y="23"/>
                  <a:pt x="141" y="23"/>
                </a:cubicBezTo>
                <a:cubicBezTo>
                  <a:pt x="141" y="23"/>
                  <a:pt x="141" y="23"/>
                  <a:pt x="141" y="23"/>
                </a:cubicBezTo>
                <a:cubicBezTo>
                  <a:pt x="142" y="23"/>
                  <a:pt x="142" y="23"/>
                  <a:pt x="142" y="23"/>
                </a:cubicBezTo>
                <a:cubicBezTo>
                  <a:pt x="142" y="23"/>
                  <a:pt x="142" y="23"/>
                  <a:pt x="143" y="23"/>
                </a:cubicBezTo>
                <a:cubicBezTo>
                  <a:pt x="142" y="23"/>
                  <a:pt x="142" y="23"/>
                  <a:pt x="142" y="22"/>
                </a:cubicBezTo>
                <a:cubicBezTo>
                  <a:pt x="142" y="22"/>
                  <a:pt x="143" y="22"/>
                  <a:pt x="143" y="22"/>
                </a:cubicBezTo>
                <a:cubicBezTo>
                  <a:pt x="143" y="22"/>
                  <a:pt x="143" y="22"/>
                  <a:pt x="143" y="22"/>
                </a:cubicBezTo>
                <a:cubicBezTo>
                  <a:pt x="143" y="22"/>
                  <a:pt x="143" y="23"/>
                  <a:pt x="143" y="23"/>
                </a:cubicBezTo>
                <a:cubicBezTo>
                  <a:pt x="144" y="23"/>
                  <a:pt x="144" y="23"/>
                  <a:pt x="144" y="23"/>
                </a:cubicBezTo>
                <a:cubicBezTo>
                  <a:pt x="144" y="23"/>
                  <a:pt x="144" y="23"/>
                  <a:pt x="144" y="23"/>
                </a:cubicBezTo>
                <a:cubicBezTo>
                  <a:pt x="146" y="24"/>
                  <a:pt x="148" y="25"/>
                  <a:pt x="150" y="26"/>
                </a:cubicBezTo>
                <a:cubicBezTo>
                  <a:pt x="150" y="27"/>
                  <a:pt x="150" y="27"/>
                  <a:pt x="150" y="27"/>
                </a:cubicBezTo>
                <a:cubicBezTo>
                  <a:pt x="150" y="26"/>
                  <a:pt x="149" y="26"/>
                  <a:pt x="149" y="26"/>
                </a:cubicBezTo>
                <a:cubicBezTo>
                  <a:pt x="148" y="25"/>
                  <a:pt x="147" y="25"/>
                  <a:pt x="147" y="25"/>
                </a:cubicBezTo>
                <a:cubicBezTo>
                  <a:pt x="146" y="25"/>
                  <a:pt x="146" y="25"/>
                  <a:pt x="146" y="25"/>
                </a:cubicBezTo>
                <a:cubicBezTo>
                  <a:pt x="145" y="24"/>
                  <a:pt x="145" y="24"/>
                  <a:pt x="144" y="24"/>
                </a:cubicBezTo>
                <a:cubicBezTo>
                  <a:pt x="144" y="24"/>
                  <a:pt x="144" y="24"/>
                  <a:pt x="143" y="24"/>
                </a:cubicBezTo>
                <a:cubicBezTo>
                  <a:pt x="144" y="25"/>
                  <a:pt x="144" y="25"/>
                  <a:pt x="145" y="25"/>
                </a:cubicBezTo>
                <a:cubicBezTo>
                  <a:pt x="145" y="26"/>
                  <a:pt x="145" y="26"/>
                  <a:pt x="146" y="26"/>
                </a:cubicBezTo>
                <a:cubicBezTo>
                  <a:pt x="146" y="26"/>
                  <a:pt x="146" y="26"/>
                  <a:pt x="147" y="27"/>
                </a:cubicBezTo>
                <a:cubicBezTo>
                  <a:pt x="146" y="26"/>
                  <a:pt x="146" y="26"/>
                  <a:pt x="145" y="26"/>
                </a:cubicBezTo>
                <a:cubicBezTo>
                  <a:pt x="145" y="26"/>
                  <a:pt x="145" y="26"/>
                  <a:pt x="145" y="26"/>
                </a:cubicBezTo>
                <a:cubicBezTo>
                  <a:pt x="145" y="27"/>
                  <a:pt x="145" y="27"/>
                  <a:pt x="146" y="27"/>
                </a:cubicBezTo>
                <a:cubicBezTo>
                  <a:pt x="146" y="27"/>
                  <a:pt x="146" y="27"/>
                  <a:pt x="146" y="28"/>
                </a:cubicBezTo>
                <a:cubicBezTo>
                  <a:pt x="146" y="28"/>
                  <a:pt x="146" y="28"/>
                  <a:pt x="147" y="28"/>
                </a:cubicBezTo>
                <a:cubicBezTo>
                  <a:pt x="147" y="29"/>
                  <a:pt x="147" y="29"/>
                  <a:pt x="148" y="29"/>
                </a:cubicBezTo>
                <a:cubicBezTo>
                  <a:pt x="148" y="29"/>
                  <a:pt x="149" y="29"/>
                  <a:pt x="149" y="29"/>
                </a:cubicBezTo>
                <a:cubicBezTo>
                  <a:pt x="150" y="30"/>
                  <a:pt x="150" y="30"/>
                  <a:pt x="150" y="30"/>
                </a:cubicBezTo>
                <a:cubicBezTo>
                  <a:pt x="150" y="30"/>
                  <a:pt x="151" y="30"/>
                  <a:pt x="151" y="31"/>
                </a:cubicBezTo>
                <a:cubicBezTo>
                  <a:pt x="152" y="31"/>
                  <a:pt x="152" y="31"/>
                  <a:pt x="153" y="32"/>
                </a:cubicBezTo>
                <a:cubicBezTo>
                  <a:pt x="153" y="32"/>
                  <a:pt x="153" y="32"/>
                  <a:pt x="153" y="33"/>
                </a:cubicBezTo>
                <a:cubicBezTo>
                  <a:pt x="154" y="33"/>
                  <a:pt x="154" y="33"/>
                  <a:pt x="154" y="33"/>
                </a:cubicBezTo>
                <a:cubicBezTo>
                  <a:pt x="155" y="34"/>
                  <a:pt x="155" y="34"/>
                  <a:pt x="155" y="34"/>
                </a:cubicBezTo>
                <a:cubicBezTo>
                  <a:pt x="155" y="35"/>
                  <a:pt x="155" y="35"/>
                  <a:pt x="156" y="36"/>
                </a:cubicBezTo>
                <a:cubicBezTo>
                  <a:pt x="156" y="37"/>
                  <a:pt x="156" y="37"/>
                  <a:pt x="156" y="37"/>
                </a:cubicBezTo>
                <a:cubicBezTo>
                  <a:pt x="156" y="37"/>
                  <a:pt x="156" y="38"/>
                  <a:pt x="157" y="38"/>
                </a:cubicBezTo>
                <a:cubicBezTo>
                  <a:pt x="157" y="38"/>
                  <a:pt x="157" y="38"/>
                  <a:pt x="157" y="38"/>
                </a:cubicBezTo>
                <a:cubicBezTo>
                  <a:pt x="157" y="39"/>
                  <a:pt x="157" y="39"/>
                  <a:pt x="157" y="40"/>
                </a:cubicBezTo>
                <a:cubicBezTo>
                  <a:pt x="157" y="40"/>
                  <a:pt x="157" y="40"/>
                  <a:pt x="158" y="40"/>
                </a:cubicBezTo>
                <a:cubicBezTo>
                  <a:pt x="158" y="41"/>
                  <a:pt x="158" y="41"/>
                  <a:pt x="158" y="41"/>
                </a:cubicBezTo>
                <a:cubicBezTo>
                  <a:pt x="157" y="41"/>
                  <a:pt x="157" y="41"/>
                  <a:pt x="157" y="41"/>
                </a:cubicBezTo>
                <a:cubicBezTo>
                  <a:pt x="157" y="42"/>
                  <a:pt x="157" y="42"/>
                  <a:pt x="157" y="42"/>
                </a:cubicBezTo>
                <a:cubicBezTo>
                  <a:pt x="158" y="42"/>
                  <a:pt x="158" y="42"/>
                  <a:pt x="158" y="42"/>
                </a:cubicBezTo>
                <a:cubicBezTo>
                  <a:pt x="158" y="43"/>
                  <a:pt x="158" y="43"/>
                  <a:pt x="159" y="43"/>
                </a:cubicBezTo>
                <a:cubicBezTo>
                  <a:pt x="159" y="43"/>
                  <a:pt x="159" y="43"/>
                  <a:pt x="159" y="43"/>
                </a:cubicBezTo>
                <a:cubicBezTo>
                  <a:pt x="159" y="43"/>
                  <a:pt x="159" y="43"/>
                  <a:pt x="159" y="43"/>
                </a:cubicBezTo>
                <a:cubicBezTo>
                  <a:pt x="159" y="43"/>
                  <a:pt x="159" y="43"/>
                  <a:pt x="160" y="43"/>
                </a:cubicBezTo>
                <a:cubicBezTo>
                  <a:pt x="160" y="43"/>
                  <a:pt x="160" y="43"/>
                  <a:pt x="160" y="43"/>
                </a:cubicBezTo>
                <a:cubicBezTo>
                  <a:pt x="160" y="44"/>
                  <a:pt x="160" y="44"/>
                  <a:pt x="160" y="45"/>
                </a:cubicBezTo>
                <a:cubicBezTo>
                  <a:pt x="160" y="44"/>
                  <a:pt x="160" y="44"/>
                  <a:pt x="159" y="44"/>
                </a:cubicBezTo>
                <a:cubicBezTo>
                  <a:pt x="159" y="44"/>
                  <a:pt x="159" y="44"/>
                  <a:pt x="158" y="44"/>
                </a:cubicBezTo>
                <a:cubicBezTo>
                  <a:pt x="158" y="44"/>
                  <a:pt x="158" y="44"/>
                  <a:pt x="158" y="45"/>
                </a:cubicBezTo>
                <a:cubicBezTo>
                  <a:pt x="158" y="45"/>
                  <a:pt x="158" y="45"/>
                  <a:pt x="158" y="45"/>
                </a:cubicBezTo>
                <a:cubicBezTo>
                  <a:pt x="158" y="45"/>
                  <a:pt x="158" y="45"/>
                  <a:pt x="158" y="45"/>
                </a:cubicBezTo>
                <a:cubicBezTo>
                  <a:pt x="158" y="46"/>
                  <a:pt x="158" y="46"/>
                  <a:pt x="158" y="46"/>
                </a:cubicBezTo>
                <a:cubicBezTo>
                  <a:pt x="158" y="47"/>
                  <a:pt x="158" y="47"/>
                  <a:pt x="159" y="47"/>
                </a:cubicBezTo>
                <a:cubicBezTo>
                  <a:pt x="159" y="48"/>
                  <a:pt x="159" y="48"/>
                  <a:pt x="159" y="48"/>
                </a:cubicBezTo>
                <a:cubicBezTo>
                  <a:pt x="159" y="49"/>
                  <a:pt x="159" y="49"/>
                  <a:pt x="159" y="49"/>
                </a:cubicBezTo>
                <a:cubicBezTo>
                  <a:pt x="159" y="49"/>
                  <a:pt x="160" y="50"/>
                  <a:pt x="160" y="50"/>
                </a:cubicBezTo>
                <a:cubicBezTo>
                  <a:pt x="160" y="50"/>
                  <a:pt x="160" y="50"/>
                  <a:pt x="160" y="51"/>
                </a:cubicBezTo>
                <a:cubicBezTo>
                  <a:pt x="160" y="51"/>
                  <a:pt x="160" y="51"/>
                  <a:pt x="161" y="51"/>
                </a:cubicBezTo>
                <a:cubicBezTo>
                  <a:pt x="161" y="52"/>
                  <a:pt x="161" y="52"/>
                  <a:pt x="161" y="53"/>
                </a:cubicBezTo>
                <a:cubicBezTo>
                  <a:pt x="161" y="53"/>
                  <a:pt x="161" y="53"/>
                  <a:pt x="162" y="54"/>
                </a:cubicBezTo>
                <a:cubicBezTo>
                  <a:pt x="162" y="54"/>
                  <a:pt x="162" y="54"/>
                  <a:pt x="162" y="54"/>
                </a:cubicBezTo>
                <a:cubicBezTo>
                  <a:pt x="162" y="55"/>
                  <a:pt x="162" y="55"/>
                  <a:pt x="162" y="55"/>
                </a:cubicBezTo>
                <a:cubicBezTo>
                  <a:pt x="162" y="55"/>
                  <a:pt x="163" y="55"/>
                  <a:pt x="163" y="55"/>
                </a:cubicBezTo>
                <a:cubicBezTo>
                  <a:pt x="163" y="56"/>
                  <a:pt x="163" y="56"/>
                  <a:pt x="164" y="56"/>
                </a:cubicBezTo>
                <a:cubicBezTo>
                  <a:pt x="164" y="56"/>
                  <a:pt x="164" y="56"/>
                  <a:pt x="164" y="56"/>
                </a:cubicBezTo>
                <a:cubicBezTo>
                  <a:pt x="164" y="56"/>
                  <a:pt x="164" y="57"/>
                  <a:pt x="165" y="57"/>
                </a:cubicBezTo>
                <a:cubicBezTo>
                  <a:pt x="165" y="57"/>
                  <a:pt x="165" y="57"/>
                  <a:pt x="165" y="57"/>
                </a:cubicBezTo>
                <a:cubicBezTo>
                  <a:pt x="165" y="57"/>
                  <a:pt x="165" y="57"/>
                  <a:pt x="165" y="58"/>
                </a:cubicBezTo>
                <a:cubicBezTo>
                  <a:pt x="165" y="58"/>
                  <a:pt x="165" y="58"/>
                  <a:pt x="166" y="58"/>
                </a:cubicBezTo>
                <a:cubicBezTo>
                  <a:pt x="166" y="58"/>
                  <a:pt x="166" y="58"/>
                  <a:pt x="166" y="58"/>
                </a:cubicBezTo>
                <a:cubicBezTo>
                  <a:pt x="167" y="58"/>
                  <a:pt x="167" y="57"/>
                  <a:pt x="167" y="57"/>
                </a:cubicBezTo>
                <a:cubicBezTo>
                  <a:pt x="167" y="56"/>
                  <a:pt x="167" y="56"/>
                  <a:pt x="167" y="56"/>
                </a:cubicBezTo>
                <a:cubicBezTo>
                  <a:pt x="167" y="56"/>
                  <a:pt x="167" y="56"/>
                  <a:pt x="168" y="56"/>
                </a:cubicBezTo>
                <a:cubicBezTo>
                  <a:pt x="168" y="56"/>
                  <a:pt x="168" y="56"/>
                  <a:pt x="168" y="55"/>
                </a:cubicBezTo>
                <a:cubicBezTo>
                  <a:pt x="168" y="55"/>
                  <a:pt x="168" y="55"/>
                  <a:pt x="168" y="54"/>
                </a:cubicBezTo>
                <a:cubicBezTo>
                  <a:pt x="169" y="54"/>
                  <a:pt x="169" y="54"/>
                  <a:pt x="169" y="54"/>
                </a:cubicBezTo>
                <a:cubicBezTo>
                  <a:pt x="170" y="55"/>
                  <a:pt x="170" y="55"/>
                  <a:pt x="170" y="55"/>
                </a:cubicBezTo>
                <a:cubicBezTo>
                  <a:pt x="170" y="55"/>
                  <a:pt x="170" y="55"/>
                  <a:pt x="170" y="55"/>
                </a:cubicBezTo>
                <a:cubicBezTo>
                  <a:pt x="170" y="55"/>
                  <a:pt x="170" y="55"/>
                  <a:pt x="171" y="55"/>
                </a:cubicBezTo>
                <a:cubicBezTo>
                  <a:pt x="171" y="55"/>
                  <a:pt x="171" y="55"/>
                  <a:pt x="172" y="56"/>
                </a:cubicBezTo>
                <a:cubicBezTo>
                  <a:pt x="172" y="56"/>
                  <a:pt x="172" y="56"/>
                  <a:pt x="172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4" y="56"/>
                  <a:pt x="174" y="56"/>
                  <a:pt x="174" y="56"/>
                </a:cubicBezTo>
                <a:cubicBezTo>
                  <a:pt x="174" y="55"/>
                  <a:pt x="174" y="55"/>
                  <a:pt x="173" y="54"/>
                </a:cubicBezTo>
                <a:cubicBezTo>
                  <a:pt x="174" y="55"/>
                  <a:pt x="174" y="55"/>
                  <a:pt x="175" y="56"/>
                </a:cubicBezTo>
                <a:cubicBezTo>
                  <a:pt x="175" y="57"/>
                  <a:pt x="175" y="57"/>
                  <a:pt x="175" y="57"/>
                </a:cubicBezTo>
                <a:cubicBezTo>
                  <a:pt x="176" y="57"/>
                  <a:pt x="176" y="57"/>
                  <a:pt x="176" y="57"/>
                </a:cubicBezTo>
                <a:cubicBezTo>
                  <a:pt x="176" y="58"/>
                  <a:pt x="177" y="58"/>
                  <a:pt x="177" y="58"/>
                </a:cubicBezTo>
                <a:cubicBezTo>
                  <a:pt x="177" y="58"/>
                  <a:pt x="178" y="58"/>
                  <a:pt x="178" y="59"/>
                </a:cubicBezTo>
                <a:cubicBezTo>
                  <a:pt x="178" y="59"/>
                  <a:pt x="178" y="59"/>
                  <a:pt x="178" y="58"/>
                </a:cubicBezTo>
                <a:cubicBezTo>
                  <a:pt x="179" y="59"/>
                  <a:pt x="179" y="59"/>
                  <a:pt x="180" y="60"/>
                </a:cubicBezTo>
                <a:cubicBezTo>
                  <a:pt x="180" y="60"/>
                  <a:pt x="180" y="60"/>
                  <a:pt x="180" y="60"/>
                </a:cubicBezTo>
                <a:cubicBezTo>
                  <a:pt x="181" y="61"/>
                  <a:pt x="181" y="63"/>
                  <a:pt x="182" y="65"/>
                </a:cubicBezTo>
                <a:cubicBezTo>
                  <a:pt x="182" y="65"/>
                  <a:pt x="182" y="65"/>
                  <a:pt x="182" y="65"/>
                </a:cubicBezTo>
                <a:cubicBezTo>
                  <a:pt x="182" y="65"/>
                  <a:pt x="182" y="65"/>
                  <a:pt x="182" y="65"/>
                </a:cubicBezTo>
                <a:cubicBezTo>
                  <a:pt x="182" y="65"/>
                  <a:pt x="182" y="65"/>
                  <a:pt x="182" y="65"/>
                </a:cubicBezTo>
                <a:cubicBezTo>
                  <a:pt x="182" y="65"/>
                  <a:pt x="182" y="65"/>
                  <a:pt x="182" y="65"/>
                </a:cubicBezTo>
                <a:cubicBezTo>
                  <a:pt x="182" y="65"/>
                  <a:pt x="182" y="65"/>
                  <a:pt x="182" y="65"/>
                </a:cubicBezTo>
                <a:cubicBezTo>
                  <a:pt x="182" y="64"/>
                  <a:pt x="182" y="64"/>
                  <a:pt x="181" y="64"/>
                </a:cubicBezTo>
                <a:cubicBezTo>
                  <a:pt x="181" y="64"/>
                  <a:pt x="181" y="64"/>
                  <a:pt x="181" y="64"/>
                </a:cubicBezTo>
                <a:cubicBezTo>
                  <a:pt x="181" y="63"/>
                  <a:pt x="181" y="63"/>
                  <a:pt x="181" y="63"/>
                </a:cubicBezTo>
                <a:cubicBezTo>
                  <a:pt x="180" y="63"/>
                  <a:pt x="180" y="62"/>
                  <a:pt x="180" y="62"/>
                </a:cubicBezTo>
                <a:cubicBezTo>
                  <a:pt x="180" y="62"/>
                  <a:pt x="180" y="62"/>
                  <a:pt x="180" y="62"/>
                </a:cubicBezTo>
                <a:cubicBezTo>
                  <a:pt x="180" y="63"/>
                  <a:pt x="180" y="63"/>
                  <a:pt x="179" y="63"/>
                </a:cubicBezTo>
                <a:cubicBezTo>
                  <a:pt x="180" y="63"/>
                  <a:pt x="180" y="63"/>
                  <a:pt x="180" y="63"/>
                </a:cubicBezTo>
                <a:cubicBezTo>
                  <a:pt x="180" y="64"/>
                  <a:pt x="181" y="64"/>
                  <a:pt x="181" y="64"/>
                </a:cubicBezTo>
                <a:cubicBezTo>
                  <a:pt x="181" y="64"/>
                  <a:pt x="181" y="64"/>
                  <a:pt x="181" y="64"/>
                </a:cubicBezTo>
                <a:cubicBezTo>
                  <a:pt x="181" y="64"/>
                  <a:pt x="181" y="64"/>
                  <a:pt x="180" y="64"/>
                </a:cubicBezTo>
                <a:cubicBezTo>
                  <a:pt x="180" y="64"/>
                  <a:pt x="180" y="64"/>
                  <a:pt x="180" y="64"/>
                </a:cubicBezTo>
                <a:cubicBezTo>
                  <a:pt x="180" y="64"/>
                  <a:pt x="180" y="64"/>
                  <a:pt x="180" y="64"/>
                </a:cubicBezTo>
                <a:cubicBezTo>
                  <a:pt x="181" y="64"/>
                  <a:pt x="181" y="64"/>
                  <a:pt x="181" y="65"/>
                </a:cubicBezTo>
                <a:cubicBezTo>
                  <a:pt x="181" y="65"/>
                  <a:pt x="181" y="65"/>
                  <a:pt x="181" y="65"/>
                </a:cubicBezTo>
                <a:cubicBezTo>
                  <a:pt x="181" y="65"/>
                  <a:pt x="181" y="65"/>
                  <a:pt x="182" y="65"/>
                </a:cubicBezTo>
                <a:cubicBezTo>
                  <a:pt x="181" y="65"/>
                  <a:pt x="181" y="65"/>
                  <a:pt x="181" y="65"/>
                </a:cubicBezTo>
                <a:cubicBezTo>
                  <a:pt x="181" y="65"/>
                  <a:pt x="181" y="65"/>
                  <a:pt x="181" y="65"/>
                </a:cubicBezTo>
                <a:cubicBezTo>
                  <a:pt x="181" y="66"/>
                  <a:pt x="181" y="66"/>
                  <a:pt x="182" y="66"/>
                </a:cubicBezTo>
                <a:cubicBezTo>
                  <a:pt x="182" y="66"/>
                  <a:pt x="182" y="66"/>
                  <a:pt x="182" y="66"/>
                </a:cubicBezTo>
                <a:cubicBezTo>
                  <a:pt x="182" y="67"/>
                  <a:pt x="182" y="67"/>
                  <a:pt x="183" y="67"/>
                </a:cubicBezTo>
                <a:cubicBezTo>
                  <a:pt x="183" y="67"/>
                  <a:pt x="183" y="68"/>
                  <a:pt x="183" y="68"/>
                </a:cubicBezTo>
                <a:cubicBezTo>
                  <a:pt x="183" y="68"/>
                  <a:pt x="183" y="68"/>
                  <a:pt x="184" y="68"/>
                </a:cubicBezTo>
                <a:cubicBezTo>
                  <a:pt x="190" y="85"/>
                  <a:pt x="191" y="104"/>
                  <a:pt x="186" y="122"/>
                </a:cubicBezTo>
                <a:cubicBezTo>
                  <a:pt x="183" y="132"/>
                  <a:pt x="178" y="141"/>
                  <a:pt x="172" y="149"/>
                </a:cubicBezTo>
                <a:cubicBezTo>
                  <a:pt x="155" y="171"/>
                  <a:pt x="128" y="185"/>
                  <a:pt x="99" y="184"/>
                </a:cubicBezTo>
                <a:close/>
                <a:moveTo>
                  <a:pt x="128" y="59"/>
                </a:moveTo>
                <a:cubicBezTo>
                  <a:pt x="128" y="59"/>
                  <a:pt x="129" y="59"/>
                  <a:pt x="129" y="59"/>
                </a:cubicBezTo>
                <a:cubicBezTo>
                  <a:pt x="129" y="60"/>
                  <a:pt x="129" y="60"/>
                  <a:pt x="129" y="61"/>
                </a:cubicBezTo>
                <a:cubicBezTo>
                  <a:pt x="129" y="61"/>
                  <a:pt x="129" y="61"/>
                  <a:pt x="129" y="61"/>
                </a:cubicBezTo>
                <a:cubicBezTo>
                  <a:pt x="128" y="60"/>
                  <a:pt x="128" y="60"/>
                  <a:pt x="128" y="60"/>
                </a:cubicBezTo>
                <a:cubicBezTo>
                  <a:pt x="128" y="60"/>
                  <a:pt x="128" y="60"/>
                  <a:pt x="128" y="60"/>
                </a:cubicBezTo>
                <a:cubicBezTo>
                  <a:pt x="128" y="61"/>
                  <a:pt x="127" y="61"/>
                  <a:pt x="127" y="61"/>
                </a:cubicBezTo>
                <a:cubicBezTo>
                  <a:pt x="127" y="61"/>
                  <a:pt x="127" y="61"/>
                  <a:pt x="127" y="62"/>
                </a:cubicBezTo>
                <a:cubicBezTo>
                  <a:pt x="127" y="62"/>
                  <a:pt x="126" y="62"/>
                  <a:pt x="126" y="62"/>
                </a:cubicBezTo>
                <a:cubicBezTo>
                  <a:pt x="126" y="62"/>
                  <a:pt x="127" y="61"/>
                  <a:pt x="126" y="61"/>
                </a:cubicBezTo>
                <a:cubicBezTo>
                  <a:pt x="125" y="60"/>
                  <a:pt x="126" y="60"/>
                  <a:pt x="126" y="60"/>
                </a:cubicBezTo>
                <a:cubicBezTo>
                  <a:pt x="126" y="60"/>
                  <a:pt x="126" y="58"/>
                  <a:pt x="125" y="58"/>
                </a:cubicBezTo>
                <a:cubicBezTo>
                  <a:pt x="125" y="58"/>
                  <a:pt x="126" y="58"/>
                  <a:pt x="127" y="59"/>
                </a:cubicBezTo>
                <a:cubicBezTo>
                  <a:pt x="128" y="60"/>
                  <a:pt x="128" y="59"/>
                  <a:pt x="128" y="59"/>
                </a:cubicBezTo>
                <a:close/>
                <a:moveTo>
                  <a:pt x="130" y="64"/>
                </a:moveTo>
                <a:cubicBezTo>
                  <a:pt x="129" y="64"/>
                  <a:pt x="129" y="64"/>
                  <a:pt x="128" y="64"/>
                </a:cubicBezTo>
                <a:cubicBezTo>
                  <a:pt x="128" y="64"/>
                  <a:pt x="127" y="64"/>
                  <a:pt x="127" y="64"/>
                </a:cubicBezTo>
                <a:cubicBezTo>
                  <a:pt x="127" y="64"/>
                  <a:pt x="126" y="64"/>
                  <a:pt x="126" y="64"/>
                </a:cubicBezTo>
                <a:cubicBezTo>
                  <a:pt x="126" y="64"/>
                  <a:pt x="126" y="64"/>
                  <a:pt x="125" y="64"/>
                </a:cubicBezTo>
                <a:cubicBezTo>
                  <a:pt x="125" y="64"/>
                  <a:pt x="126" y="63"/>
                  <a:pt x="126" y="63"/>
                </a:cubicBezTo>
                <a:cubicBezTo>
                  <a:pt x="127" y="63"/>
                  <a:pt x="127" y="63"/>
                  <a:pt x="128" y="63"/>
                </a:cubicBezTo>
                <a:cubicBezTo>
                  <a:pt x="129" y="63"/>
                  <a:pt x="130" y="64"/>
                  <a:pt x="130" y="64"/>
                </a:cubicBezTo>
                <a:close/>
                <a:moveTo>
                  <a:pt x="129" y="62"/>
                </a:moveTo>
                <a:cubicBezTo>
                  <a:pt x="129" y="62"/>
                  <a:pt x="130" y="62"/>
                  <a:pt x="131" y="62"/>
                </a:cubicBezTo>
                <a:cubicBezTo>
                  <a:pt x="131" y="63"/>
                  <a:pt x="132" y="63"/>
                  <a:pt x="132" y="63"/>
                </a:cubicBezTo>
                <a:cubicBezTo>
                  <a:pt x="132" y="63"/>
                  <a:pt x="132" y="63"/>
                  <a:pt x="133" y="63"/>
                </a:cubicBezTo>
                <a:cubicBezTo>
                  <a:pt x="133" y="63"/>
                  <a:pt x="133" y="63"/>
                  <a:pt x="133" y="64"/>
                </a:cubicBezTo>
                <a:cubicBezTo>
                  <a:pt x="133" y="64"/>
                  <a:pt x="133" y="64"/>
                  <a:pt x="133" y="64"/>
                </a:cubicBezTo>
                <a:cubicBezTo>
                  <a:pt x="132" y="64"/>
                  <a:pt x="132" y="64"/>
                  <a:pt x="131" y="64"/>
                </a:cubicBezTo>
                <a:cubicBezTo>
                  <a:pt x="131" y="63"/>
                  <a:pt x="131" y="63"/>
                  <a:pt x="131" y="63"/>
                </a:cubicBezTo>
                <a:cubicBezTo>
                  <a:pt x="130" y="63"/>
                  <a:pt x="130" y="63"/>
                  <a:pt x="129" y="62"/>
                </a:cubicBezTo>
                <a:close/>
                <a:moveTo>
                  <a:pt x="135" y="99"/>
                </a:moveTo>
                <a:cubicBezTo>
                  <a:pt x="134" y="99"/>
                  <a:pt x="134" y="100"/>
                  <a:pt x="134" y="100"/>
                </a:cubicBezTo>
                <a:cubicBezTo>
                  <a:pt x="135" y="100"/>
                  <a:pt x="135" y="100"/>
                  <a:pt x="136" y="100"/>
                </a:cubicBezTo>
                <a:cubicBezTo>
                  <a:pt x="136" y="100"/>
                  <a:pt x="136" y="100"/>
                  <a:pt x="135" y="99"/>
                </a:cubicBezTo>
                <a:close/>
                <a:moveTo>
                  <a:pt x="109" y="14"/>
                </a:moveTo>
                <a:cubicBezTo>
                  <a:pt x="109" y="14"/>
                  <a:pt x="109" y="14"/>
                  <a:pt x="108" y="13"/>
                </a:cubicBezTo>
                <a:cubicBezTo>
                  <a:pt x="108" y="13"/>
                  <a:pt x="108" y="13"/>
                  <a:pt x="107" y="13"/>
                </a:cubicBezTo>
                <a:cubicBezTo>
                  <a:pt x="108" y="14"/>
                  <a:pt x="108" y="14"/>
                  <a:pt x="108" y="14"/>
                </a:cubicBezTo>
                <a:cubicBezTo>
                  <a:pt x="108" y="14"/>
                  <a:pt x="108" y="14"/>
                  <a:pt x="107" y="14"/>
                </a:cubicBezTo>
                <a:cubicBezTo>
                  <a:pt x="108" y="14"/>
                  <a:pt x="108" y="14"/>
                  <a:pt x="108" y="14"/>
                </a:cubicBezTo>
                <a:cubicBezTo>
                  <a:pt x="108" y="14"/>
                  <a:pt x="109" y="14"/>
                  <a:pt x="109" y="15"/>
                </a:cubicBezTo>
                <a:cubicBezTo>
                  <a:pt x="109" y="14"/>
                  <a:pt x="109" y="14"/>
                  <a:pt x="110" y="14"/>
                </a:cubicBezTo>
                <a:cubicBezTo>
                  <a:pt x="110" y="14"/>
                  <a:pt x="110" y="15"/>
                  <a:pt x="111" y="14"/>
                </a:cubicBezTo>
                <a:cubicBezTo>
                  <a:pt x="111" y="14"/>
                  <a:pt x="112" y="13"/>
                  <a:pt x="112" y="13"/>
                </a:cubicBezTo>
                <a:cubicBezTo>
                  <a:pt x="112" y="13"/>
                  <a:pt x="112" y="13"/>
                  <a:pt x="111" y="13"/>
                </a:cubicBezTo>
                <a:cubicBezTo>
                  <a:pt x="111" y="13"/>
                  <a:pt x="111" y="13"/>
                  <a:pt x="111" y="13"/>
                </a:cubicBezTo>
                <a:cubicBezTo>
                  <a:pt x="110" y="13"/>
                  <a:pt x="110" y="13"/>
                  <a:pt x="110" y="13"/>
                </a:cubicBezTo>
                <a:cubicBezTo>
                  <a:pt x="109" y="13"/>
                  <a:pt x="109" y="13"/>
                  <a:pt x="109" y="13"/>
                </a:cubicBezTo>
                <a:cubicBezTo>
                  <a:pt x="109" y="13"/>
                  <a:pt x="108" y="13"/>
                  <a:pt x="108" y="13"/>
                </a:cubicBezTo>
                <a:cubicBezTo>
                  <a:pt x="108" y="13"/>
                  <a:pt x="108" y="13"/>
                  <a:pt x="108" y="13"/>
                </a:cubicBezTo>
                <a:cubicBezTo>
                  <a:pt x="108" y="13"/>
                  <a:pt x="108" y="13"/>
                  <a:pt x="108" y="13"/>
                </a:cubicBezTo>
                <a:cubicBezTo>
                  <a:pt x="109" y="13"/>
                  <a:pt x="109" y="14"/>
                  <a:pt x="109" y="14"/>
                </a:cubicBezTo>
                <a:close/>
                <a:moveTo>
                  <a:pt x="107" y="14"/>
                </a:moveTo>
                <a:cubicBezTo>
                  <a:pt x="107" y="13"/>
                  <a:pt x="107" y="13"/>
                  <a:pt x="107" y="13"/>
                </a:cubicBezTo>
                <a:cubicBezTo>
                  <a:pt x="107" y="13"/>
                  <a:pt x="106" y="13"/>
                  <a:pt x="106" y="13"/>
                </a:cubicBezTo>
                <a:cubicBezTo>
                  <a:pt x="106" y="13"/>
                  <a:pt x="106" y="13"/>
                  <a:pt x="10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07" y="14"/>
                  <a:pt x="107" y="14"/>
                  <a:pt x="107" y="14"/>
                </a:cubicBezTo>
                <a:close/>
                <a:moveTo>
                  <a:pt x="114" y="15"/>
                </a:moveTo>
                <a:cubicBezTo>
                  <a:pt x="114" y="15"/>
                  <a:pt x="114" y="15"/>
                  <a:pt x="114" y="15"/>
                </a:cubicBezTo>
                <a:cubicBezTo>
                  <a:pt x="115" y="15"/>
                  <a:pt x="115" y="16"/>
                  <a:pt x="116" y="16"/>
                </a:cubicBezTo>
                <a:cubicBezTo>
                  <a:pt x="115" y="15"/>
                  <a:pt x="115" y="15"/>
                  <a:pt x="115" y="15"/>
                </a:cubicBezTo>
                <a:cubicBezTo>
                  <a:pt x="115" y="15"/>
                  <a:pt x="114" y="15"/>
                  <a:pt x="114" y="15"/>
                </a:cubicBezTo>
                <a:close/>
                <a:moveTo>
                  <a:pt x="110" y="15"/>
                </a:moveTo>
                <a:cubicBezTo>
                  <a:pt x="109" y="15"/>
                  <a:pt x="109" y="15"/>
                  <a:pt x="109" y="16"/>
                </a:cubicBezTo>
                <a:cubicBezTo>
                  <a:pt x="109" y="16"/>
                  <a:pt x="110" y="16"/>
                  <a:pt x="110" y="16"/>
                </a:cubicBezTo>
                <a:cubicBezTo>
                  <a:pt x="110" y="16"/>
                  <a:pt x="110" y="16"/>
                  <a:pt x="110" y="16"/>
                </a:cubicBezTo>
                <a:cubicBezTo>
                  <a:pt x="110" y="16"/>
                  <a:pt x="110" y="16"/>
                  <a:pt x="109" y="16"/>
                </a:cubicBezTo>
                <a:cubicBezTo>
                  <a:pt x="110" y="16"/>
                  <a:pt x="110" y="16"/>
                  <a:pt x="110" y="16"/>
                </a:cubicBezTo>
                <a:cubicBezTo>
                  <a:pt x="110" y="16"/>
                  <a:pt x="110" y="16"/>
                  <a:pt x="109" y="16"/>
                </a:cubicBezTo>
                <a:cubicBezTo>
                  <a:pt x="109" y="16"/>
                  <a:pt x="109" y="16"/>
                  <a:pt x="108" y="16"/>
                </a:cubicBezTo>
                <a:cubicBezTo>
                  <a:pt x="108" y="16"/>
                  <a:pt x="108" y="16"/>
                  <a:pt x="108" y="15"/>
                </a:cubicBezTo>
                <a:cubicBezTo>
                  <a:pt x="107" y="15"/>
                  <a:pt x="107" y="15"/>
                  <a:pt x="107" y="15"/>
                </a:cubicBezTo>
                <a:cubicBezTo>
                  <a:pt x="107" y="15"/>
                  <a:pt x="107" y="15"/>
                  <a:pt x="106" y="15"/>
                </a:cubicBezTo>
                <a:cubicBezTo>
                  <a:pt x="106" y="15"/>
                  <a:pt x="106" y="15"/>
                  <a:pt x="106" y="15"/>
                </a:cubicBezTo>
                <a:cubicBezTo>
                  <a:pt x="106" y="15"/>
                  <a:pt x="106" y="15"/>
                  <a:pt x="106" y="15"/>
                </a:cubicBezTo>
                <a:cubicBezTo>
                  <a:pt x="106" y="15"/>
                  <a:pt x="107" y="15"/>
                  <a:pt x="107" y="15"/>
                </a:cubicBezTo>
                <a:cubicBezTo>
                  <a:pt x="107" y="15"/>
                  <a:pt x="107" y="14"/>
                  <a:pt x="107" y="14"/>
                </a:cubicBezTo>
                <a:cubicBezTo>
                  <a:pt x="107" y="14"/>
                  <a:pt x="107" y="14"/>
                  <a:pt x="107" y="14"/>
                </a:cubicBezTo>
                <a:cubicBezTo>
                  <a:pt x="107" y="14"/>
                  <a:pt x="107" y="14"/>
                  <a:pt x="106" y="14"/>
                </a:cubicBezTo>
                <a:cubicBezTo>
                  <a:pt x="106" y="14"/>
                  <a:pt x="106" y="14"/>
                  <a:pt x="106" y="15"/>
                </a:cubicBezTo>
                <a:cubicBezTo>
                  <a:pt x="106" y="15"/>
                  <a:pt x="105" y="14"/>
                  <a:pt x="104" y="15"/>
                </a:cubicBezTo>
                <a:cubicBezTo>
                  <a:pt x="104" y="15"/>
                  <a:pt x="104" y="15"/>
                  <a:pt x="104" y="15"/>
                </a:cubicBezTo>
                <a:cubicBezTo>
                  <a:pt x="104" y="15"/>
                  <a:pt x="104" y="15"/>
                  <a:pt x="103" y="15"/>
                </a:cubicBezTo>
                <a:cubicBezTo>
                  <a:pt x="102" y="15"/>
                  <a:pt x="102" y="16"/>
                  <a:pt x="102" y="16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3" y="16"/>
                  <a:pt x="104" y="17"/>
                  <a:pt x="104" y="16"/>
                </a:cubicBezTo>
                <a:cubicBezTo>
                  <a:pt x="104" y="16"/>
                  <a:pt x="104" y="17"/>
                  <a:pt x="105" y="16"/>
                </a:cubicBezTo>
                <a:cubicBezTo>
                  <a:pt x="106" y="16"/>
                  <a:pt x="106" y="16"/>
                  <a:pt x="106" y="16"/>
                </a:cubicBezTo>
                <a:cubicBezTo>
                  <a:pt x="106" y="16"/>
                  <a:pt x="106" y="16"/>
                  <a:pt x="106" y="16"/>
                </a:cubicBezTo>
                <a:cubicBezTo>
                  <a:pt x="106" y="17"/>
                  <a:pt x="106" y="17"/>
                  <a:pt x="105" y="17"/>
                </a:cubicBezTo>
                <a:cubicBezTo>
                  <a:pt x="105" y="17"/>
                  <a:pt x="105" y="17"/>
                  <a:pt x="105" y="17"/>
                </a:cubicBezTo>
                <a:cubicBezTo>
                  <a:pt x="105" y="17"/>
                  <a:pt x="106" y="17"/>
                  <a:pt x="106" y="17"/>
                </a:cubicBezTo>
                <a:cubicBezTo>
                  <a:pt x="106" y="17"/>
                  <a:pt x="106" y="17"/>
                  <a:pt x="107" y="17"/>
                </a:cubicBezTo>
                <a:cubicBezTo>
                  <a:pt x="107" y="17"/>
                  <a:pt x="107" y="17"/>
                  <a:pt x="108" y="17"/>
                </a:cubicBezTo>
                <a:cubicBezTo>
                  <a:pt x="108" y="17"/>
                  <a:pt x="108" y="17"/>
                  <a:pt x="109" y="17"/>
                </a:cubicBezTo>
                <a:cubicBezTo>
                  <a:pt x="109" y="17"/>
                  <a:pt x="109" y="17"/>
                  <a:pt x="110" y="17"/>
                </a:cubicBezTo>
                <a:cubicBezTo>
                  <a:pt x="111" y="17"/>
                  <a:pt x="111" y="17"/>
                  <a:pt x="112" y="18"/>
                </a:cubicBezTo>
                <a:cubicBezTo>
                  <a:pt x="112" y="18"/>
                  <a:pt x="113" y="18"/>
                  <a:pt x="113" y="18"/>
                </a:cubicBezTo>
                <a:cubicBezTo>
                  <a:pt x="114" y="17"/>
                  <a:pt x="114" y="17"/>
                  <a:pt x="114" y="17"/>
                </a:cubicBezTo>
                <a:cubicBezTo>
                  <a:pt x="114" y="17"/>
                  <a:pt x="114" y="17"/>
                  <a:pt x="114" y="16"/>
                </a:cubicBezTo>
                <a:cubicBezTo>
                  <a:pt x="113" y="16"/>
                  <a:pt x="113" y="16"/>
                  <a:pt x="113" y="17"/>
                </a:cubicBezTo>
                <a:cubicBezTo>
                  <a:pt x="112" y="16"/>
                  <a:pt x="112" y="16"/>
                  <a:pt x="112" y="16"/>
                </a:cubicBezTo>
                <a:cubicBezTo>
                  <a:pt x="112" y="16"/>
                  <a:pt x="112" y="16"/>
                  <a:pt x="112" y="16"/>
                </a:cubicBezTo>
                <a:cubicBezTo>
                  <a:pt x="112" y="16"/>
                  <a:pt x="112" y="15"/>
                  <a:pt x="112" y="15"/>
                </a:cubicBezTo>
                <a:cubicBezTo>
                  <a:pt x="111" y="15"/>
                  <a:pt x="111" y="15"/>
                  <a:pt x="111" y="15"/>
                </a:cubicBezTo>
                <a:cubicBezTo>
                  <a:pt x="111" y="15"/>
                  <a:pt x="111" y="15"/>
                  <a:pt x="110" y="15"/>
                </a:cubicBezTo>
                <a:cubicBezTo>
                  <a:pt x="110" y="15"/>
                  <a:pt x="110" y="15"/>
                  <a:pt x="110" y="15"/>
                </a:cubicBezTo>
                <a:close/>
                <a:moveTo>
                  <a:pt x="40" y="36"/>
                </a:moveTo>
                <a:cubicBezTo>
                  <a:pt x="40" y="36"/>
                  <a:pt x="40" y="36"/>
                  <a:pt x="40" y="37"/>
                </a:cubicBezTo>
                <a:cubicBezTo>
                  <a:pt x="40" y="37"/>
                  <a:pt x="40" y="36"/>
                  <a:pt x="40" y="36"/>
                </a:cubicBezTo>
                <a:cubicBezTo>
                  <a:pt x="41" y="36"/>
                  <a:pt x="41" y="36"/>
                  <a:pt x="41" y="36"/>
                </a:cubicBezTo>
                <a:cubicBezTo>
                  <a:pt x="40" y="36"/>
                  <a:pt x="40" y="36"/>
                  <a:pt x="40" y="36"/>
                </a:cubicBezTo>
                <a:close/>
                <a:moveTo>
                  <a:pt x="99" y="15"/>
                </a:moveTo>
                <a:cubicBezTo>
                  <a:pt x="99" y="15"/>
                  <a:pt x="99" y="15"/>
                  <a:pt x="100" y="15"/>
                </a:cubicBezTo>
                <a:cubicBezTo>
                  <a:pt x="100" y="15"/>
                  <a:pt x="100" y="15"/>
                  <a:pt x="100" y="15"/>
                </a:cubicBezTo>
                <a:cubicBezTo>
                  <a:pt x="100" y="15"/>
                  <a:pt x="100" y="15"/>
                  <a:pt x="101" y="15"/>
                </a:cubicBezTo>
                <a:cubicBezTo>
                  <a:pt x="101" y="15"/>
                  <a:pt x="101" y="15"/>
                  <a:pt x="101" y="15"/>
                </a:cubicBezTo>
                <a:cubicBezTo>
                  <a:pt x="102" y="15"/>
                  <a:pt x="102" y="15"/>
                  <a:pt x="102" y="15"/>
                </a:cubicBezTo>
                <a:cubicBezTo>
                  <a:pt x="102" y="15"/>
                  <a:pt x="102" y="14"/>
                  <a:pt x="103" y="14"/>
                </a:cubicBezTo>
                <a:cubicBezTo>
                  <a:pt x="103" y="14"/>
                  <a:pt x="103" y="14"/>
                  <a:pt x="103" y="15"/>
                </a:cubicBezTo>
                <a:cubicBezTo>
                  <a:pt x="103" y="15"/>
                  <a:pt x="103" y="15"/>
                  <a:pt x="103" y="15"/>
                </a:cubicBezTo>
                <a:cubicBezTo>
                  <a:pt x="103" y="15"/>
                  <a:pt x="103" y="15"/>
                  <a:pt x="103" y="15"/>
                </a:cubicBezTo>
                <a:cubicBezTo>
                  <a:pt x="103" y="15"/>
                  <a:pt x="103" y="15"/>
                  <a:pt x="104" y="14"/>
                </a:cubicBezTo>
                <a:cubicBezTo>
                  <a:pt x="104" y="14"/>
                  <a:pt x="104" y="14"/>
                  <a:pt x="104" y="14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105" y="13"/>
                  <a:pt x="105" y="13"/>
                  <a:pt x="104" y="13"/>
                </a:cubicBezTo>
                <a:cubicBezTo>
                  <a:pt x="104" y="13"/>
                  <a:pt x="104" y="13"/>
                  <a:pt x="104" y="14"/>
                </a:cubicBezTo>
                <a:cubicBezTo>
                  <a:pt x="104" y="14"/>
                  <a:pt x="103" y="14"/>
                  <a:pt x="103" y="13"/>
                </a:cubicBezTo>
                <a:cubicBezTo>
                  <a:pt x="103" y="13"/>
                  <a:pt x="103" y="13"/>
                  <a:pt x="102" y="13"/>
                </a:cubicBezTo>
                <a:cubicBezTo>
                  <a:pt x="102" y="13"/>
                  <a:pt x="102" y="13"/>
                  <a:pt x="102" y="13"/>
                </a:cubicBezTo>
                <a:cubicBezTo>
                  <a:pt x="102" y="14"/>
                  <a:pt x="102" y="14"/>
                  <a:pt x="101" y="14"/>
                </a:cubicBezTo>
                <a:cubicBezTo>
                  <a:pt x="101" y="14"/>
                  <a:pt x="101" y="14"/>
                  <a:pt x="101" y="14"/>
                </a:cubicBezTo>
                <a:cubicBezTo>
                  <a:pt x="100" y="14"/>
                  <a:pt x="100" y="14"/>
                  <a:pt x="99" y="14"/>
                </a:cubicBezTo>
                <a:cubicBezTo>
                  <a:pt x="99" y="14"/>
                  <a:pt x="99" y="14"/>
                  <a:pt x="98" y="14"/>
                </a:cubicBezTo>
                <a:cubicBezTo>
                  <a:pt x="98" y="14"/>
                  <a:pt x="98" y="14"/>
                  <a:pt x="98" y="14"/>
                </a:cubicBezTo>
                <a:cubicBezTo>
                  <a:pt x="98" y="15"/>
                  <a:pt x="98" y="15"/>
                  <a:pt x="98" y="15"/>
                </a:cubicBezTo>
                <a:cubicBezTo>
                  <a:pt x="98" y="15"/>
                  <a:pt x="99" y="15"/>
                  <a:pt x="99" y="15"/>
                </a:cubicBezTo>
                <a:close/>
                <a:moveTo>
                  <a:pt x="44" y="35"/>
                </a:moveTo>
                <a:cubicBezTo>
                  <a:pt x="44" y="35"/>
                  <a:pt x="44" y="35"/>
                  <a:pt x="43" y="35"/>
                </a:cubicBezTo>
                <a:cubicBezTo>
                  <a:pt x="43" y="35"/>
                  <a:pt x="43" y="35"/>
                  <a:pt x="43" y="36"/>
                </a:cubicBezTo>
                <a:cubicBezTo>
                  <a:pt x="43" y="36"/>
                  <a:pt x="43" y="36"/>
                  <a:pt x="42" y="36"/>
                </a:cubicBezTo>
                <a:cubicBezTo>
                  <a:pt x="42" y="36"/>
                  <a:pt x="42" y="36"/>
                  <a:pt x="41" y="36"/>
                </a:cubicBezTo>
                <a:cubicBezTo>
                  <a:pt x="41" y="36"/>
                  <a:pt x="41" y="36"/>
                  <a:pt x="41" y="36"/>
                </a:cubicBezTo>
                <a:cubicBezTo>
                  <a:pt x="41" y="36"/>
                  <a:pt x="42" y="36"/>
                  <a:pt x="43" y="36"/>
                </a:cubicBezTo>
                <a:cubicBezTo>
                  <a:pt x="43" y="36"/>
                  <a:pt x="44" y="35"/>
                  <a:pt x="44" y="35"/>
                </a:cubicBezTo>
                <a:cubicBezTo>
                  <a:pt x="44" y="35"/>
                  <a:pt x="44" y="35"/>
                  <a:pt x="45" y="35"/>
                </a:cubicBezTo>
                <a:cubicBezTo>
                  <a:pt x="45" y="35"/>
                  <a:pt x="45" y="35"/>
                  <a:pt x="44" y="35"/>
                </a:cubicBezTo>
                <a:close/>
                <a:moveTo>
                  <a:pt x="122" y="16"/>
                </a:moveTo>
                <a:cubicBezTo>
                  <a:pt x="122" y="16"/>
                  <a:pt x="122" y="16"/>
                  <a:pt x="122" y="16"/>
                </a:cubicBezTo>
                <a:cubicBezTo>
                  <a:pt x="122" y="17"/>
                  <a:pt x="122" y="17"/>
                  <a:pt x="123" y="17"/>
                </a:cubicBezTo>
                <a:cubicBezTo>
                  <a:pt x="123" y="17"/>
                  <a:pt x="123" y="17"/>
                  <a:pt x="124" y="18"/>
                </a:cubicBezTo>
                <a:cubicBezTo>
                  <a:pt x="124" y="18"/>
                  <a:pt x="124" y="18"/>
                  <a:pt x="124" y="18"/>
                </a:cubicBezTo>
                <a:cubicBezTo>
                  <a:pt x="124" y="18"/>
                  <a:pt x="125" y="18"/>
                  <a:pt x="125" y="18"/>
                </a:cubicBezTo>
                <a:cubicBezTo>
                  <a:pt x="125" y="18"/>
                  <a:pt x="125" y="18"/>
                  <a:pt x="126" y="18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5" y="17"/>
                  <a:pt x="125" y="17"/>
                  <a:pt x="125" y="17"/>
                </a:cubicBezTo>
                <a:cubicBezTo>
                  <a:pt x="125" y="17"/>
                  <a:pt x="125" y="17"/>
                  <a:pt x="125" y="17"/>
                </a:cubicBezTo>
                <a:cubicBezTo>
                  <a:pt x="125" y="17"/>
                  <a:pt x="125" y="17"/>
                  <a:pt x="125" y="17"/>
                </a:cubicBezTo>
                <a:cubicBezTo>
                  <a:pt x="125" y="16"/>
                  <a:pt x="125" y="16"/>
                  <a:pt x="125" y="16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4" y="16"/>
                  <a:pt x="123" y="16"/>
                  <a:pt x="123" y="16"/>
                </a:cubicBezTo>
                <a:cubicBezTo>
                  <a:pt x="123" y="16"/>
                  <a:pt x="123" y="16"/>
                  <a:pt x="123" y="15"/>
                </a:cubicBezTo>
                <a:cubicBezTo>
                  <a:pt x="122" y="15"/>
                  <a:pt x="122" y="15"/>
                  <a:pt x="122" y="15"/>
                </a:cubicBezTo>
                <a:cubicBezTo>
                  <a:pt x="122" y="15"/>
                  <a:pt x="122" y="15"/>
                  <a:pt x="121" y="16"/>
                </a:cubicBezTo>
                <a:cubicBezTo>
                  <a:pt x="121" y="16"/>
                  <a:pt x="121" y="16"/>
                  <a:pt x="121" y="16"/>
                </a:cubicBezTo>
                <a:cubicBezTo>
                  <a:pt x="121" y="16"/>
                  <a:pt x="122" y="16"/>
                  <a:pt x="122" y="16"/>
                </a:cubicBezTo>
                <a:close/>
                <a:moveTo>
                  <a:pt x="48" y="30"/>
                </a:moveTo>
                <a:cubicBezTo>
                  <a:pt x="48" y="30"/>
                  <a:pt x="47" y="30"/>
                  <a:pt x="47" y="30"/>
                </a:cubicBezTo>
                <a:cubicBezTo>
                  <a:pt x="47" y="31"/>
                  <a:pt x="47" y="31"/>
                  <a:pt x="47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30"/>
                  <a:pt x="48" y="30"/>
                  <a:pt x="49" y="30"/>
                </a:cubicBezTo>
                <a:cubicBezTo>
                  <a:pt x="49" y="30"/>
                  <a:pt x="49" y="30"/>
                  <a:pt x="49" y="30"/>
                </a:cubicBezTo>
                <a:cubicBezTo>
                  <a:pt x="48" y="30"/>
                  <a:pt x="48" y="30"/>
                  <a:pt x="48" y="30"/>
                </a:cubicBezTo>
                <a:close/>
                <a:moveTo>
                  <a:pt x="60" y="31"/>
                </a:moveTo>
                <a:cubicBezTo>
                  <a:pt x="59" y="31"/>
                  <a:pt x="59" y="31"/>
                  <a:pt x="59" y="31"/>
                </a:cubicBezTo>
                <a:cubicBezTo>
                  <a:pt x="59" y="31"/>
                  <a:pt x="58" y="31"/>
                  <a:pt x="58" y="32"/>
                </a:cubicBezTo>
                <a:cubicBezTo>
                  <a:pt x="58" y="32"/>
                  <a:pt x="58" y="32"/>
                  <a:pt x="58" y="32"/>
                </a:cubicBezTo>
                <a:cubicBezTo>
                  <a:pt x="57" y="32"/>
                  <a:pt x="57" y="32"/>
                  <a:pt x="57" y="32"/>
                </a:cubicBezTo>
                <a:cubicBezTo>
                  <a:pt x="57" y="32"/>
                  <a:pt x="57" y="32"/>
                  <a:pt x="57" y="32"/>
                </a:cubicBezTo>
                <a:cubicBezTo>
                  <a:pt x="57" y="32"/>
                  <a:pt x="57" y="33"/>
                  <a:pt x="56" y="33"/>
                </a:cubicBezTo>
                <a:cubicBezTo>
                  <a:pt x="57" y="33"/>
                  <a:pt x="57" y="33"/>
                  <a:pt x="57" y="33"/>
                </a:cubicBezTo>
                <a:cubicBezTo>
                  <a:pt x="57" y="33"/>
                  <a:pt x="58" y="33"/>
                  <a:pt x="58" y="32"/>
                </a:cubicBezTo>
                <a:cubicBezTo>
                  <a:pt x="58" y="32"/>
                  <a:pt x="58" y="32"/>
                  <a:pt x="59" y="32"/>
                </a:cubicBezTo>
                <a:cubicBezTo>
                  <a:pt x="59" y="32"/>
                  <a:pt x="59" y="32"/>
                  <a:pt x="59" y="32"/>
                </a:cubicBezTo>
                <a:cubicBezTo>
                  <a:pt x="59" y="32"/>
                  <a:pt x="60" y="31"/>
                  <a:pt x="60" y="31"/>
                </a:cubicBezTo>
                <a:cubicBezTo>
                  <a:pt x="60" y="31"/>
                  <a:pt x="60" y="31"/>
                  <a:pt x="60" y="31"/>
                </a:cubicBezTo>
                <a:close/>
                <a:moveTo>
                  <a:pt x="115" y="14"/>
                </a:moveTo>
                <a:cubicBezTo>
                  <a:pt x="116" y="14"/>
                  <a:pt x="116" y="14"/>
                  <a:pt x="116" y="14"/>
                </a:cubicBezTo>
                <a:cubicBezTo>
                  <a:pt x="116" y="14"/>
                  <a:pt x="116" y="14"/>
                  <a:pt x="115" y="14"/>
                </a:cubicBezTo>
                <a:cubicBezTo>
                  <a:pt x="115" y="14"/>
                  <a:pt x="115" y="14"/>
                  <a:pt x="115" y="14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7" y="15"/>
                  <a:pt x="117" y="15"/>
                  <a:pt x="117" y="15"/>
                </a:cubicBezTo>
                <a:cubicBezTo>
                  <a:pt x="117" y="15"/>
                  <a:pt x="117" y="15"/>
                  <a:pt x="118" y="15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9" y="15"/>
                  <a:pt x="119" y="15"/>
                  <a:pt x="119" y="15"/>
                </a:cubicBezTo>
                <a:cubicBezTo>
                  <a:pt x="119" y="16"/>
                  <a:pt x="119" y="16"/>
                  <a:pt x="120" y="16"/>
                </a:cubicBezTo>
                <a:cubicBezTo>
                  <a:pt x="120" y="16"/>
                  <a:pt x="120" y="16"/>
                  <a:pt x="121" y="16"/>
                </a:cubicBezTo>
                <a:cubicBezTo>
                  <a:pt x="121" y="16"/>
                  <a:pt x="121" y="16"/>
                  <a:pt x="121" y="16"/>
                </a:cubicBezTo>
                <a:cubicBezTo>
                  <a:pt x="121" y="16"/>
                  <a:pt x="121" y="16"/>
                  <a:pt x="121" y="16"/>
                </a:cubicBezTo>
                <a:cubicBezTo>
                  <a:pt x="121" y="16"/>
                  <a:pt x="121" y="16"/>
                  <a:pt x="121" y="15"/>
                </a:cubicBezTo>
                <a:cubicBezTo>
                  <a:pt x="120" y="15"/>
                  <a:pt x="120" y="15"/>
                  <a:pt x="120" y="15"/>
                </a:cubicBezTo>
                <a:cubicBezTo>
                  <a:pt x="120" y="15"/>
                  <a:pt x="120" y="15"/>
                  <a:pt x="120" y="15"/>
                </a:cubicBezTo>
                <a:cubicBezTo>
                  <a:pt x="119" y="15"/>
                  <a:pt x="119" y="15"/>
                  <a:pt x="119" y="14"/>
                </a:cubicBezTo>
                <a:cubicBezTo>
                  <a:pt x="119" y="14"/>
                  <a:pt x="119" y="14"/>
                  <a:pt x="119" y="14"/>
                </a:cubicBezTo>
                <a:cubicBezTo>
                  <a:pt x="118" y="14"/>
                  <a:pt x="118" y="14"/>
                  <a:pt x="118" y="14"/>
                </a:cubicBezTo>
                <a:cubicBezTo>
                  <a:pt x="118" y="14"/>
                  <a:pt x="118" y="14"/>
                  <a:pt x="118" y="14"/>
                </a:cubicBezTo>
                <a:cubicBezTo>
                  <a:pt x="117" y="14"/>
                  <a:pt x="117" y="13"/>
                  <a:pt x="116" y="13"/>
                </a:cubicBezTo>
                <a:cubicBezTo>
                  <a:pt x="116" y="13"/>
                  <a:pt x="116" y="13"/>
                  <a:pt x="115" y="13"/>
                </a:cubicBezTo>
                <a:cubicBezTo>
                  <a:pt x="115" y="13"/>
                  <a:pt x="115" y="13"/>
                  <a:pt x="115" y="13"/>
                </a:cubicBezTo>
                <a:cubicBezTo>
                  <a:pt x="115" y="13"/>
                  <a:pt x="115" y="13"/>
                  <a:pt x="115" y="14"/>
                </a:cubicBezTo>
                <a:cubicBezTo>
                  <a:pt x="115" y="14"/>
                  <a:pt x="115" y="14"/>
                  <a:pt x="115" y="14"/>
                </a:cubicBezTo>
                <a:close/>
                <a:moveTo>
                  <a:pt x="145" y="46"/>
                </a:moveTo>
                <a:cubicBezTo>
                  <a:pt x="145" y="46"/>
                  <a:pt x="145" y="46"/>
                  <a:pt x="145" y="46"/>
                </a:cubicBezTo>
                <a:cubicBezTo>
                  <a:pt x="145" y="46"/>
                  <a:pt x="145" y="46"/>
                  <a:pt x="145" y="46"/>
                </a:cubicBezTo>
                <a:cubicBezTo>
                  <a:pt x="145" y="46"/>
                  <a:pt x="145" y="46"/>
                  <a:pt x="145" y="46"/>
                </a:cubicBezTo>
                <a:cubicBezTo>
                  <a:pt x="145" y="46"/>
                  <a:pt x="145" y="46"/>
                  <a:pt x="145" y="46"/>
                </a:cubicBezTo>
                <a:close/>
                <a:moveTo>
                  <a:pt x="148" y="46"/>
                </a:moveTo>
                <a:cubicBezTo>
                  <a:pt x="148" y="46"/>
                  <a:pt x="148" y="46"/>
                  <a:pt x="148" y="47"/>
                </a:cubicBezTo>
                <a:cubicBezTo>
                  <a:pt x="148" y="46"/>
                  <a:pt x="148" y="46"/>
                  <a:pt x="148" y="46"/>
                </a:cubicBezTo>
                <a:cubicBezTo>
                  <a:pt x="148" y="46"/>
                  <a:pt x="148" y="46"/>
                  <a:pt x="148" y="45"/>
                </a:cubicBezTo>
                <a:cubicBezTo>
                  <a:pt x="148" y="46"/>
                  <a:pt x="148" y="46"/>
                  <a:pt x="148" y="46"/>
                </a:cubicBezTo>
                <a:close/>
                <a:moveTo>
                  <a:pt x="123" y="96"/>
                </a:moveTo>
                <a:cubicBezTo>
                  <a:pt x="121" y="95"/>
                  <a:pt x="121" y="96"/>
                  <a:pt x="123" y="97"/>
                </a:cubicBezTo>
                <a:cubicBezTo>
                  <a:pt x="124" y="98"/>
                  <a:pt x="124" y="97"/>
                  <a:pt x="124" y="97"/>
                </a:cubicBezTo>
                <a:cubicBezTo>
                  <a:pt x="124" y="97"/>
                  <a:pt x="124" y="96"/>
                  <a:pt x="123" y="96"/>
                </a:cubicBezTo>
                <a:close/>
                <a:moveTo>
                  <a:pt x="134" y="39"/>
                </a:moveTo>
                <a:cubicBezTo>
                  <a:pt x="134" y="40"/>
                  <a:pt x="134" y="40"/>
                  <a:pt x="134" y="40"/>
                </a:cubicBezTo>
                <a:cubicBezTo>
                  <a:pt x="134" y="40"/>
                  <a:pt x="135" y="41"/>
                  <a:pt x="135" y="40"/>
                </a:cubicBezTo>
                <a:cubicBezTo>
                  <a:pt x="135" y="39"/>
                  <a:pt x="134" y="39"/>
                  <a:pt x="134" y="39"/>
                </a:cubicBezTo>
                <a:close/>
                <a:moveTo>
                  <a:pt x="132" y="47"/>
                </a:moveTo>
                <a:cubicBezTo>
                  <a:pt x="132" y="47"/>
                  <a:pt x="133" y="47"/>
                  <a:pt x="134" y="47"/>
                </a:cubicBezTo>
                <a:cubicBezTo>
                  <a:pt x="134" y="47"/>
                  <a:pt x="134" y="47"/>
                  <a:pt x="134" y="46"/>
                </a:cubicBezTo>
                <a:cubicBezTo>
                  <a:pt x="133" y="46"/>
                  <a:pt x="133" y="47"/>
                  <a:pt x="133" y="47"/>
                </a:cubicBezTo>
                <a:cubicBezTo>
                  <a:pt x="132" y="47"/>
                  <a:pt x="132" y="47"/>
                  <a:pt x="132" y="47"/>
                </a:cubicBezTo>
                <a:close/>
                <a:moveTo>
                  <a:pt x="157" y="68"/>
                </a:moveTo>
                <a:cubicBezTo>
                  <a:pt x="157" y="67"/>
                  <a:pt x="157" y="67"/>
                  <a:pt x="157" y="67"/>
                </a:cubicBezTo>
                <a:cubicBezTo>
                  <a:pt x="157" y="66"/>
                  <a:pt x="157" y="66"/>
                  <a:pt x="157" y="66"/>
                </a:cubicBezTo>
                <a:cubicBezTo>
                  <a:pt x="156" y="66"/>
                  <a:pt x="156" y="65"/>
                  <a:pt x="156" y="65"/>
                </a:cubicBezTo>
                <a:cubicBezTo>
                  <a:pt x="155" y="65"/>
                  <a:pt x="155" y="65"/>
                  <a:pt x="155" y="65"/>
                </a:cubicBezTo>
                <a:cubicBezTo>
                  <a:pt x="155" y="64"/>
                  <a:pt x="155" y="64"/>
                  <a:pt x="155" y="64"/>
                </a:cubicBezTo>
                <a:cubicBezTo>
                  <a:pt x="154" y="64"/>
                  <a:pt x="154" y="64"/>
                  <a:pt x="154" y="64"/>
                </a:cubicBezTo>
                <a:cubicBezTo>
                  <a:pt x="154" y="63"/>
                  <a:pt x="155" y="63"/>
                  <a:pt x="155" y="63"/>
                </a:cubicBezTo>
                <a:cubicBezTo>
                  <a:pt x="155" y="62"/>
                  <a:pt x="155" y="62"/>
                  <a:pt x="155" y="62"/>
                </a:cubicBezTo>
                <a:cubicBezTo>
                  <a:pt x="154" y="62"/>
                  <a:pt x="154" y="62"/>
                  <a:pt x="153" y="63"/>
                </a:cubicBezTo>
                <a:cubicBezTo>
                  <a:pt x="153" y="63"/>
                  <a:pt x="152" y="64"/>
                  <a:pt x="152" y="64"/>
                </a:cubicBezTo>
                <a:cubicBezTo>
                  <a:pt x="151" y="64"/>
                  <a:pt x="151" y="64"/>
                  <a:pt x="151" y="64"/>
                </a:cubicBezTo>
                <a:cubicBezTo>
                  <a:pt x="151" y="64"/>
                  <a:pt x="151" y="64"/>
                  <a:pt x="152" y="65"/>
                </a:cubicBezTo>
                <a:cubicBezTo>
                  <a:pt x="151" y="65"/>
                  <a:pt x="151" y="65"/>
                  <a:pt x="151" y="66"/>
                </a:cubicBezTo>
                <a:cubicBezTo>
                  <a:pt x="151" y="66"/>
                  <a:pt x="152" y="66"/>
                  <a:pt x="152" y="66"/>
                </a:cubicBezTo>
                <a:cubicBezTo>
                  <a:pt x="153" y="66"/>
                  <a:pt x="153" y="66"/>
                  <a:pt x="153" y="67"/>
                </a:cubicBezTo>
                <a:cubicBezTo>
                  <a:pt x="154" y="67"/>
                  <a:pt x="154" y="67"/>
                  <a:pt x="155" y="67"/>
                </a:cubicBezTo>
                <a:cubicBezTo>
                  <a:pt x="154" y="67"/>
                  <a:pt x="154" y="67"/>
                  <a:pt x="153" y="67"/>
                </a:cubicBezTo>
                <a:cubicBezTo>
                  <a:pt x="154" y="68"/>
                  <a:pt x="154" y="68"/>
                  <a:pt x="155" y="68"/>
                </a:cubicBezTo>
                <a:cubicBezTo>
                  <a:pt x="155" y="68"/>
                  <a:pt x="155" y="68"/>
                  <a:pt x="156" y="68"/>
                </a:cubicBezTo>
                <a:cubicBezTo>
                  <a:pt x="156" y="68"/>
                  <a:pt x="156" y="68"/>
                  <a:pt x="156" y="69"/>
                </a:cubicBezTo>
                <a:cubicBezTo>
                  <a:pt x="156" y="69"/>
                  <a:pt x="156" y="69"/>
                  <a:pt x="157" y="69"/>
                </a:cubicBezTo>
                <a:cubicBezTo>
                  <a:pt x="157" y="69"/>
                  <a:pt x="157" y="69"/>
                  <a:pt x="157" y="68"/>
                </a:cubicBezTo>
                <a:cubicBezTo>
                  <a:pt x="157" y="68"/>
                  <a:pt x="157" y="68"/>
                  <a:pt x="157" y="68"/>
                </a:cubicBezTo>
                <a:close/>
                <a:moveTo>
                  <a:pt x="132" y="98"/>
                </a:moveTo>
                <a:cubicBezTo>
                  <a:pt x="132" y="98"/>
                  <a:pt x="132" y="97"/>
                  <a:pt x="131" y="96"/>
                </a:cubicBezTo>
                <a:cubicBezTo>
                  <a:pt x="130" y="96"/>
                  <a:pt x="129" y="96"/>
                  <a:pt x="129" y="96"/>
                </a:cubicBezTo>
                <a:cubicBezTo>
                  <a:pt x="129" y="95"/>
                  <a:pt x="128" y="96"/>
                  <a:pt x="128" y="96"/>
                </a:cubicBezTo>
                <a:cubicBezTo>
                  <a:pt x="128" y="96"/>
                  <a:pt x="129" y="96"/>
                  <a:pt x="128" y="97"/>
                </a:cubicBezTo>
                <a:cubicBezTo>
                  <a:pt x="127" y="97"/>
                  <a:pt x="129" y="97"/>
                  <a:pt x="129" y="97"/>
                </a:cubicBezTo>
                <a:cubicBezTo>
                  <a:pt x="129" y="97"/>
                  <a:pt x="128" y="98"/>
                  <a:pt x="128" y="97"/>
                </a:cubicBezTo>
                <a:cubicBezTo>
                  <a:pt x="127" y="97"/>
                  <a:pt x="126" y="96"/>
                  <a:pt x="126" y="97"/>
                </a:cubicBezTo>
                <a:cubicBezTo>
                  <a:pt x="126" y="98"/>
                  <a:pt x="127" y="98"/>
                  <a:pt x="127" y="98"/>
                </a:cubicBezTo>
                <a:cubicBezTo>
                  <a:pt x="128" y="98"/>
                  <a:pt x="128" y="98"/>
                  <a:pt x="129" y="98"/>
                </a:cubicBezTo>
                <a:cubicBezTo>
                  <a:pt x="129" y="98"/>
                  <a:pt x="129" y="99"/>
                  <a:pt x="129" y="99"/>
                </a:cubicBezTo>
                <a:cubicBezTo>
                  <a:pt x="130" y="99"/>
                  <a:pt x="130" y="98"/>
                  <a:pt x="130" y="98"/>
                </a:cubicBezTo>
                <a:cubicBezTo>
                  <a:pt x="131" y="99"/>
                  <a:pt x="131" y="99"/>
                  <a:pt x="131" y="99"/>
                </a:cubicBezTo>
                <a:cubicBezTo>
                  <a:pt x="131" y="99"/>
                  <a:pt x="133" y="100"/>
                  <a:pt x="133" y="99"/>
                </a:cubicBezTo>
                <a:cubicBezTo>
                  <a:pt x="133" y="98"/>
                  <a:pt x="132" y="98"/>
                  <a:pt x="132" y="98"/>
                </a:cubicBezTo>
                <a:close/>
                <a:moveTo>
                  <a:pt x="127" y="94"/>
                </a:moveTo>
                <a:cubicBezTo>
                  <a:pt x="127" y="94"/>
                  <a:pt x="126" y="93"/>
                  <a:pt x="126" y="93"/>
                </a:cubicBezTo>
                <a:cubicBezTo>
                  <a:pt x="126" y="93"/>
                  <a:pt x="125" y="93"/>
                  <a:pt x="125" y="92"/>
                </a:cubicBezTo>
                <a:cubicBezTo>
                  <a:pt x="124" y="91"/>
                  <a:pt x="124" y="91"/>
                  <a:pt x="124" y="90"/>
                </a:cubicBezTo>
                <a:cubicBezTo>
                  <a:pt x="123" y="90"/>
                  <a:pt x="123" y="90"/>
                  <a:pt x="123" y="90"/>
                </a:cubicBezTo>
                <a:cubicBezTo>
                  <a:pt x="123" y="90"/>
                  <a:pt x="123" y="89"/>
                  <a:pt x="121" y="88"/>
                </a:cubicBezTo>
                <a:cubicBezTo>
                  <a:pt x="119" y="87"/>
                  <a:pt x="116" y="88"/>
                  <a:pt x="116" y="88"/>
                </a:cubicBezTo>
                <a:cubicBezTo>
                  <a:pt x="116" y="88"/>
                  <a:pt x="116" y="89"/>
                  <a:pt x="117" y="89"/>
                </a:cubicBezTo>
                <a:cubicBezTo>
                  <a:pt x="117" y="89"/>
                  <a:pt x="118" y="89"/>
                  <a:pt x="119" y="89"/>
                </a:cubicBezTo>
                <a:cubicBezTo>
                  <a:pt x="120" y="89"/>
                  <a:pt x="120" y="90"/>
                  <a:pt x="120" y="90"/>
                </a:cubicBezTo>
                <a:cubicBezTo>
                  <a:pt x="120" y="90"/>
                  <a:pt x="121" y="90"/>
                  <a:pt x="121" y="91"/>
                </a:cubicBezTo>
                <a:cubicBezTo>
                  <a:pt x="121" y="91"/>
                  <a:pt x="122" y="91"/>
                  <a:pt x="122" y="91"/>
                </a:cubicBezTo>
                <a:cubicBezTo>
                  <a:pt x="122" y="91"/>
                  <a:pt x="123" y="93"/>
                  <a:pt x="123" y="93"/>
                </a:cubicBezTo>
                <a:cubicBezTo>
                  <a:pt x="124" y="93"/>
                  <a:pt x="124" y="93"/>
                  <a:pt x="124" y="93"/>
                </a:cubicBezTo>
                <a:cubicBezTo>
                  <a:pt x="124" y="93"/>
                  <a:pt x="124" y="93"/>
                  <a:pt x="123" y="93"/>
                </a:cubicBezTo>
                <a:cubicBezTo>
                  <a:pt x="123" y="94"/>
                  <a:pt x="123" y="94"/>
                  <a:pt x="123" y="94"/>
                </a:cubicBezTo>
                <a:cubicBezTo>
                  <a:pt x="124" y="94"/>
                  <a:pt x="124" y="94"/>
                  <a:pt x="125" y="95"/>
                </a:cubicBezTo>
                <a:cubicBezTo>
                  <a:pt x="125" y="95"/>
                  <a:pt x="127" y="95"/>
                  <a:pt x="127" y="95"/>
                </a:cubicBezTo>
                <a:cubicBezTo>
                  <a:pt x="127" y="95"/>
                  <a:pt x="127" y="95"/>
                  <a:pt x="127" y="94"/>
                </a:cubicBezTo>
                <a:close/>
                <a:moveTo>
                  <a:pt x="124" y="19"/>
                </a:moveTo>
                <a:cubicBezTo>
                  <a:pt x="124" y="19"/>
                  <a:pt x="124" y="20"/>
                  <a:pt x="123" y="19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9"/>
                  <a:pt x="122" y="19"/>
                  <a:pt x="122" y="19"/>
                </a:cubicBezTo>
                <a:cubicBezTo>
                  <a:pt x="122" y="19"/>
                  <a:pt x="122" y="19"/>
                  <a:pt x="122" y="19"/>
                </a:cubicBezTo>
                <a:cubicBezTo>
                  <a:pt x="122" y="19"/>
                  <a:pt x="121" y="19"/>
                  <a:pt x="121" y="18"/>
                </a:cubicBezTo>
                <a:cubicBezTo>
                  <a:pt x="121" y="18"/>
                  <a:pt x="121" y="18"/>
                  <a:pt x="121" y="18"/>
                </a:cubicBezTo>
                <a:cubicBezTo>
                  <a:pt x="121" y="18"/>
                  <a:pt x="121" y="18"/>
                  <a:pt x="121" y="17"/>
                </a:cubicBezTo>
                <a:cubicBezTo>
                  <a:pt x="121" y="17"/>
                  <a:pt x="121" y="17"/>
                  <a:pt x="120" y="17"/>
                </a:cubicBezTo>
                <a:cubicBezTo>
                  <a:pt x="120" y="17"/>
                  <a:pt x="120" y="17"/>
                  <a:pt x="120" y="17"/>
                </a:cubicBezTo>
                <a:cubicBezTo>
                  <a:pt x="120" y="17"/>
                  <a:pt x="120" y="17"/>
                  <a:pt x="120" y="17"/>
                </a:cubicBezTo>
                <a:cubicBezTo>
                  <a:pt x="120" y="17"/>
                  <a:pt x="119" y="17"/>
                  <a:pt x="119" y="17"/>
                </a:cubicBezTo>
                <a:cubicBezTo>
                  <a:pt x="119" y="17"/>
                  <a:pt x="119" y="17"/>
                  <a:pt x="118" y="17"/>
                </a:cubicBezTo>
                <a:cubicBezTo>
                  <a:pt x="118" y="17"/>
                  <a:pt x="119" y="18"/>
                  <a:pt x="119" y="18"/>
                </a:cubicBezTo>
                <a:cubicBezTo>
                  <a:pt x="119" y="18"/>
                  <a:pt x="118" y="17"/>
                  <a:pt x="118" y="17"/>
                </a:cubicBezTo>
                <a:cubicBezTo>
                  <a:pt x="118" y="17"/>
                  <a:pt x="118" y="17"/>
                  <a:pt x="118" y="17"/>
                </a:cubicBezTo>
                <a:cubicBezTo>
                  <a:pt x="118" y="17"/>
                  <a:pt x="117" y="17"/>
                  <a:pt x="117" y="17"/>
                </a:cubicBezTo>
                <a:cubicBezTo>
                  <a:pt x="117" y="17"/>
                  <a:pt x="117" y="17"/>
                  <a:pt x="117" y="17"/>
                </a:cubicBezTo>
                <a:cubicBezTo>
                  <a:pt x="117" y="17"/>
                  <a:pt x="117" y="17"/>
                  <a:pt x="117" y="17"/>
                </a:cubicBezTo>
                <a:cubicBezTo>
                  <a:pt x="117" y="17"/>
                  <a:pt x="117" y="17"/>
                  <a:pt x="116" y="17"/>
                </a:cubicBezTo>
                <a:cubicBezTo>
                  <a:pt x="116" y="16"/>
                  <a:pt x="116" y="16"/>
                  <a:pt x="116" y="16"/>
                </a:cubicBezTo>
                <a:cubicBezTo>
                  <a:pt x="116" y="16"/>
                  <a:pt x="116" y="16"/>
                  <a:pt x="116" y="16"/>
                </a:cubicBezTo>
                <a:cubicBezTo>
                  <a:pt x="115" y="16"/>
                  <a:pt x="115" y="16"/>
                  <a:pt x="115" y="16"/>
                </a:cubicBezTo>
                <a:cubicBezTo>
                  <a:pt x="115" y="16"/>
                  <a:pt x="115" y="16"/>
                  <a:pt x="115" y="16"/>
                </a:cubicBezTo>
                <a:cubicBezTo>
                  <a:pt x="115" y="16"/>
                  <a:pt x="115" y="16"/>
                  <a:pt x="115" y="17"/>
                </a:cubicBezTo>
                <a:cubicBezTo>
                  <a:pt x="115" y="17"/>
                  <a:pt x="115" y="17"/>
                  <a:pt x="115" y="17"/>
                </a:cubicBezTo>
                <a:cubicBezTo>
                  <a:pt x="115" y="17"/>
                  <a:pt x="115" y="17"/>
                  <a:pt x="116" y="17"/>
                </a:cubicBezTo>
                <a:cubicBezTo>
                  <a:pt x="116" y="17"/>
                  <a:pt x="116" y="17"/>
                  <a:pt x="116" y="18"/>
                </a:cubicBezTo>
                <a:cubicBezTo>
                  <a:pt x="116" y="18"/>
                  <a:pt x="116" y="18"/>
                  <a:pt x="116" y="18"/>
                </a:cubicBezTo>
                <a:cubicBezTo>
                  <a:pt x="117" y="18"/>
                  <a:pt x="117" y="18"/>
                  <a:pt x="117" y="18"/>
                </a:cubicBezTo>
                <a:cubicBezTo>
                  <a:pt x="118" y="18"/>
                  <a:pt x="118" y="18"/>
                  <a:pt x="118" y="18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19" y="19"/>
                  <a:pt x="119" y="19"/>
                  <a:pt x="119" y="19"/>
                </a:cubicBezTo>
                <a:cubicBezTo>
                  <a:pt x="119" y="19"/>
                  <a:pt x="119" y="19"/>
                  <a:pt x="120" y="19"/>
                </a:cubicBezTo>
                <a:cubicBezTo>
                  <a:pt x="120" y="19"/>
                  <a:pt x="120" y="19"/>
                  <a:pt x="121" y="20"/>
                </a:cubicBezTo>
                <a:cubicBezTo>
                  <a:pt x="121" y="19"/>
                  <a:pt x="121" y="19"/>
                  <a:pt x="121" y="19"/>
                </a:cubicBezTo>
                <a:cubicBezTo>
                  <a:pt x="121" y="19"/>
                  <a:pt x="121" y="19"/>
                  <a:pt x="121" y="19"/>
                </a:cubicBezTo>
                <a:cubicBezTo>
                  <a:pt x="121" y="19"/>
                  <a:pt x="122" y="19"/>
                  <a:pt x="122" y="19"/>
                </a:cubicBezTo>
                <a:cubicBezTo>
                  <a:pt x="122" y="19"/>
                  <a:pt x="122" y="19"/>
                  <a:pt x="122" y="19"/>
                </a:cubicBezTo>
                <a:cubicBezTo>
                  <a:pt x="122" y="19"/>
                  <a:pt x="122" y="19"/>
                  <a:pt x="122" y="20"/>
                </a:cubicBezTo>
                <a:cubicBezTo>
                  <a:pt x="122" y="20"/>
                  <a:pt x="122" y="20"/>
                  <a:pt x="122" y="20"/>
                </a:cubicBezTo>
                <a:cubicBezTo>
                  <a:pt x="122" y="20"/>
                  <a:pt x="122" y="20"/>
                  <a:pt x="122" y="20"/>
                </a:cubicBezTo>
                <a:cubicBezTo>
                  <a:pt x="123" y="20"/>
                  <a:pt x="123" y="21"/>
                  <a:pt x="123" y="21"/>
                </a:cubicBezTo>
                <a:cubicBezTo>
                  <a:pt x="123" y="21"/>
                  <a:pt x="123" y="21"/>
                  <a:pt x="123" y="21"/>
                </a:cubicBezTo>
                <a:cubicBezTo>
                  <a:pt x="124" y="21"/>
                  <a:pt x="124" y="21"/>
                  <a:pt x="125" y="21"/>
                </a:cubicBezTo>
                <a:cubicBezTo>
                  <a:pt x="125" y="21"/>
                  <a:pt x="125" y="21"/>
                  <a:pt x="125" y="20"/>
                </a:cubicBezTo>
                <a:cubicBezTo>
                  <a:pt x="125" y="20"/>
                  <a:pt x="124" y="19"/>
                  <a:pt x="124" y="19"/>
                </a:cubicBezTo>
                <a:close/>
                <a:moveTo>
                  <a:pt x="139" y="35"/>
                </a:moveTo>
                <a:cubicBezTo>
                  <a:pt x="139" y="35"/>
                  <a:pt x="139" y="35"/>
                  <a:pt x="140" y="35"/>
                </a:cubicBezTo>
                <a:cubicBezTo>
                  <a:pt x="140" y="35"/>
                  <a:pt x="140" y="35"/>
                  <a:pt x="140" y="35"/>
                </a:cubicBezTo>
                <a:cubicBezTo>
                  <a:pt x="140" y="34"/>
                  <a:pt x="139" y="34"/>
                  <a:pt x="139" y="34"/>
                </a:cubicBezTo>
                <a:cubicBezTo>
                  <a:pt x="139" y="34"/>
                  <a:pt x="138" y="34"/>
                  <a:pt x="138" y="34"/>
                </a:cubicBezTo>
                <a:cubicBezTo>
                  <a:pt x="138" y="34"/>
                  <a:pt x="138" y="34"/>
                  <a:pt x="138" y="34"/>
                </a:cubicBezTo>
                <a:cubicBezTo>
                  <a:pt x="138" y="35"/>
                  <a:pt x="138" y="35"/>
                  <a:pt x="139" y="35"/>
                </a:cubicBezTo>
                <a:close/>
                <a:moveTo>
                  <a:pt x="117" y="24"/>
                </a:moveTo>
                <a:cubicBezTo>
                  <a:pt x="117" y="24"/>
                  <a:pt x="117" y="24"/>
                  <a:pt x="117" y="24"/>
                </a:cubicBezTo>
                <a:cubicBezTo>
                  <a:pt x="117" y="24"/>
                  <a:pt x="117" y="24"/>
                  <a:pt x="117" y="23"/>
                </a:cubicBezTo>
                <a:cubicBezTo>
                  <a:pt x="117" y="23"/>
                  <a:pt x="117" y="23"/>
                  <a:pt x="116" y="23"/>
                </a:cubicBezTo>
                <a:cubicBezTo>
                  <a:pt x="116" y="23"/>
                  <a:pt x="116" y="23"/>
                  <a:pt x="116" y="24"/>
                </a:cubicBezTo>
                <a:cubicBezTo>
                  <a:pt x="116" y="24"/>
                  <a:pt x="117" y="24"/>
                  <a:pt x="117" y="24"/>
                </a:cubicBezTo>
                <a:close/>
                <a:moveTo>
                  <a:pt x="116" y="18"/>
                </a:moveTo>
                <a:cubicBezTo>
                  <a:pt x="116" y="17"/>
                  <a:pt x="115" y="17"/>
                  <a:pt x="115" y="17"/>
                </a:cubicBezTo>
                <a:cubicBezTo>
                  <a:pt x="114" y="17"/>
                  <a:pt x="114" y="17"/>
                  <a:pt x="114" y="18"/>
                </a:cubicBezTo>
                <a:cubicBezTo>
                  <a:pt x="114" y="18"/>
                  <a:pt x="114" y="18"/>
                  <a:pt x="114" y="18"/>
                </a:cubicBezTo>
                <a:cubicBezTo>
                  <a:pt x="114" y="18"/>
                  <a:pt x="115" y="19"/>
                  <a:pt x="116" y="18"/>
                </a:cubicBezTo>
                <a:close/>
                <a:moveTo>
                  <a:pt x="113" y="21"/>
                </a:moveTo>
                <a:cubicBezTo>
                  <a:pt x="113" y="21"/>
                  <a:pt x="113" y="21"/>
                  <a:pt x="113" y="21"/>
                </a:cubicBezTo>
                <a:cubicBezTo>
                  <a:pt x="113" y="20"/>
                  <a:pt x="113" y="20"/>
                  <a:pt x="113" y="20"/>
                </a:cubicBezTo>
                <a:cubicBezTo>
                  <a:pt x="114" y="20"/>
                  <a:pt x="114" y="20"/>
                  <a:pt x="114" y="20"/>
                </a:cubicBezTo>
                <a:cubicBezTo>
                  <a:pt x="114" y="20"/>
                  <a:pt x="114" y="19"/>
                  <a:pt x="114" y="19"/>
                </a:cubicBezTo>
                <a:cubicBezTo>
                  <a:pt x="113" y="19"/>
                  <a:pt x="113" y="19"/>
                  <a:pt x="113" y="19"/>
                </a:cubicBezTo>
                <a:cubicBezTo>
                  <a:pt x="113" y="19"/>
                  <a:pt x="112" y="19"/>
                  <a:pt x="112" y="19"/>
                </a:cubicBezTo>
                <a:cubicBezTo>
                  <a:pt x="112" y="19"/>
                  <a:pt x="112" y="19"/>
                  <a:pt x="112" y="19"/>
                </a:cubicBezTo>
                <a:cubicBezTo>
                  <a:pt x="111" y="19"/>
                  <a:pt x="111" y="19"/>
                  <a:pt x="111" y="19"/>
                </a:cubicBezTo>
                <a:cubicBezTo>
                  <a:pt x="111" y="19"/>
                  <a:pt x="111" y="19"/>
                  <a:pt x="110" y="19"/>
                </a:cubicBezTo>
                <a:cubicBezTo>
                  <a:pt x="110" y="20"/>
                  <a:pt x="110" y="21"/>
                  <a:pt x="110" y="21"/>
                </a:cubicBezTo>
                <a:cubicBezTo>
                  <a:pt x="110" y="21"/>
                  <a:pt x="110" y="21"/>
                  <a:pt x="110" y="21"/>
                </a:cubicBezTo>
                <a:cubicBezTo>
                  <a:pt x="110" y="21"/>
                  <a:pt x="110" y="21"/>
                  <a:pt x="110" y="20"/>
                </a:cubicBezTo>
                <a:cubicBezTo>
                  <a:pt x="110" y="20"/>
                  <a:pt x="110" y="20"/>
                  <a:pt x="110" y="20"/>
                </a:cubicBezTo>
                <a:cubicBezTo>
                  <a:pt x="110" y="20"/>
                  <a:pt x="110" y="20"/>
                  <a:pt x="109" y="20"/>
                </a:cubicBezTo>
                <a:cubicBezTo>
                  <a:pt x="110" y="20"/>
                  <a:pt x="110" y="20"/>
                  <a:pt x="110" y="20"/>
                </a:cubicBezTo>
                <a:cubicBezTo>
                  <a:pt x="110" y="20"/>
                  <a:pt x="110" y="20"/>
                  <a:pt x="110" y="20"/>
                </a:cubicBezTo>
                <a:cubicBezTo>
                  <a:pt x="109" y="20"/>
                  <a:pt x="109" y="20"/>
                  <a:pt x="109" y="19"/>
                </a:cubicBezTo>
                <a:cubicBezTo>
                  <a:pt x="109" y="19"/>
                  <a:pt x="109" y="19"/>
                  <a:pt x="109" y="19"/>
                </a:cubicBezTo>
                <a:cubicBezTo>
                  <a:pt x="109" y="19"/>
                  <a:pt x="109" y="19"/>
                  <a:pt x="109" y="19"/>
                </a:cubicBezTo>
                <a:cubicBezTo>
                  <a:pt x="108" y="19"/>
                  <a:pt x="108" y="19"/>
                  <a:pt x="108" y="19"/>
                </a:cubicBezTo>
                <a:cubicBezTo>
                  <a:pt x="108" y="19"/>
                  <a:pt x="108" y="19"/>
                  <a:pt x="108" y="19"/>
                </a:cubicBezTo>
                <a:cubicBezTo>
                  <a:pt x="108" y="19"/>
                  <a:pt x="108" y="19"/>
                  <a:pt x="108" y="19"/>
                </a:cubicBezTo>
                <a:cubicBezTo>
                  <a:pt x="107" y="19"/>
                  <a:pt x="107" y="19"/>
                  <a:pt x="107" y="19"/>
                </a:cubicBezTo>
                <a:cubicBezTo>
                  <a:pt x="107" y="19"/>
                  <a:pt x="106" y="19"/>
                  <a:pt x="106" y="19"/>
                </a:cubicBezTo>
                <a:cubicBezTo>
                  <a:pt x="106" y="19"/>
                  <a:pt x="106" y="19"/>
                  <a:pt x="105" y="18"/>
                </a:cubicBezTo>
                <a:cubicBezTo>
                  <a:pt x="105" y="19"/>
                  <a:pt x="105" y="19"/>
                  <a:pt x="105" y="19"/>
                </a:cubicBezTo>
                <a:cubicBezTo>
                  <a:pt x="105" y="19"/>
                  <a:pt x="105" y="18"/>
                  <a:pt x="105" y="18"/>
                </a:cubicBezTo>
                <a:cubicBezTo>
                  <a:pt x="105" y="18"/>
                  <a:pt x="105" y="18"/>
                  <a:pt x="104" y="18"/>
                </a:cubicBezTo>
                <a:cubicBezTo>
                  <a:pt x="104" y="18"/>
                  <a:pt x="104" y="18"/>
                  <a:pt x="104" y="18"/>
                </a:cubicBezTo>
                <a:cubicBezTo>
                  <a:pt x="104" y="18"/>
                  <a:pt x="104" y="18"/>
                  <a:pt x="103" y="17"/>
                </a:cubicBezTo>
                <a:cubicBezTo>
                  <a:pt x="103" y="17"/>
                  <a:pt x="103" y="17"/>
                  <a:pt x="103" y="17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101" y="17"/>
                  <a:pt x="101" y="17"/>
                  <a:pt x="101" y="16"/>
                </a:cubicBezTo>
                <a:cubicBezTo>
                  <a:pt x="100" y="16"/>
                  <a:pt x="99" y="16"/>
                  <a:pt x="99" y="16"/>
                </a:cubicBezTo>
                <a:cubicBezTo>
                  <a:pt x="98" y="16"/>
                  <a:pt x="98" y="16"/>
                  <a:pt x="97" y="16"/>
                </a:cubicBezTo>
                <a:cubicBezTo>
                  <a:pt x="96" y="16"/>
                  <a:pt x="96" y="16"/>
                  <a:pt x="95" y="16"/>
                </a:cubicBezTo>
                <a:cubicBezTo>
                  <a:pt x="95" y="16"/>
                  <a:pt x="95" y="16"/>
                  <a:pt x="95" y="17"/>
                </a:cubicBezTo>
                <a:cubicBezTo>
                  <a:pt x="96" y="17"/>
                  <a:pt x="96" y="17"/>
                  <a:pt x="96" y="17"/>
                </a:cubicBezTo>
                <a:cubicBezTo>
                  <a:pt x="95" y="17"/>
                  <a:pt x="95" y="17"/>
                  <a:pt x="95" y="17"/>
                </a:cubicBezTo>
                <a:cubicBezTo>
                  <a:pt x="95" y="17"/>
                  <a:pt x="95" y="17"/>
                  <a:pt x="95" y="17"/>
                </a:cubicBezTo>
                <a:cubicBezTo>
                  <a:pt x="94" y="17"/>
                  <a:pt x="94" y="17"/>
                  <a:pt x="94" y="18"/>
                </a:cubicBezTo>
                <a:cubicBezTo>
                  <a:pt x="94" y="18"/>
                  <a:pt x="93" y="18"/>
                  <a:pt x="93" y="18"/>
                </a:cubicBezTo>
                <a:cubicBezTo>
                  <a:pt x="94" y="18"/>
                  <a:pt x="94" y="19"/>
                  <a:pt x="94" y="19"/>
                </a:cubicBezTo>
                <a:cubicBezTo>
                  <a:pt x="95" y="19"/>
                  <a:pt x="95" y="19"/>
                  <a:pt x="95" y="19"/>
                </a:cubicBezTo>
                <a:cubicBezTo>
                  <a:pt x="95" y="19"/>
                  <a:pt x="95" y="19"/>
                  <a:pt x="95" y="19"/>
                </a:cubicBezTo>
                <a:cubicBezTo>
                  <a:pt x="95" y="19"/>
                  <a:pt x="95" y="20"/>
                  <a:pt x="96" y="20"/>
                </a:cubicBezTo>
                <a:cubicBezTo>
                  <a:pt x="96" y="19"/>
                  <a:pt x="96" y="19"/>
                  <a:pt x="96" y="19"/>
                </a:cubicBezTo>
                <a:cubicBezTo>
                  <a:pt x="97" y="19"/>
                  <a:pt x="97" y="19"/>
                  <a:pt x="97" y="19"/>
                </a:cubicBezTo>
                <a:cubicBezTo>
                  <a:pt x="98" y="19"/>
                  <a:pt x="98" y="19"/>
                  <a:pt x="98" y="19"/>
                </a:cubicBezTo>
                <a:cubicBezTo>
                  <a:pt x="98" y="19"/>
                  <a:pt x="98" y="19"/>
                  <a:pt x="98" y="19"/>
                </a:cubicBezTo>
                <a:cubicBezTo>
                  <a:pt x="99" y="19"/>
                  <a:pt x="99" y="19"/>
                  <a:pt x="99" y="19"/>
                </a:cubicBezTo>
                <a:cubicBezTo>
                  <a:pt x="100" y="18"/>
                  <a:pt x="100" y="18"/>
                  <a:pt x="100" y="18"/>
                </a:cubicBezTo>
                <a:cubicBezTo>
                  <a:pt x="101" y="18"/>
                  <a:pt x="102" y="18"/>
                  <a:pt x="102" y="18"/>
                </a:cubicBezTo>
                <a:cubicBezTo>
                  <a:pt x="102" y="18"/>
                  <a:pt x="101" y="18"/>
                  <a:pt x="101" y="18"/>
                </a:cubicBezTo>
                <a:cubicBezTo>
                  <a:pt x="100" y="19"/>
                  <a:pt x="100" y="19"/>
                  <a:pt x="100" y="19"/>
                </a:cubicBezTo>
                <a:cubicBezTo>
                  <a:pt x="100" y="19"/>
                  <a:pt x="99" y="19"/>
                  <a:pt x="99" y="19"/>
                </a:cubicBezTo>
                <a:cubicBezTo>
                  <a:pt x="99" y="19"/>
                  <a:pt x="100" y="19"/>
                  <a:pt x="100" y="20"/>
                </a:cubicBezTo>
                <a:cubicBezTo>
                  <a:pt x="100" y="20"/>
                  <a:pt x="100" y="20"/>
                  <a:pt x="101" y="20"/>
                </a:cubicBezTo>
                <a:cubicBezTo>
                  <a:pt x="100" y="20"/>
                  <a:pt x="100" y="20"/>
                  <a:pt x="100" y="20"/>
                </a:cubicBezTo>
                <a:cubicBezTo>
                  <a:pt x="100" y="20"/>
                  <a:pt x="100" y="20"/>
                  <a:pt x="101" y="20"/>
                </a:cubicBezTo>
                <a:cubicBezTo>
                  <a:pt x="102" y="21"/>
                  <a:pt x="103" y="21"/>
                  <a:pt x="105" y="21"/>
                </a:cubicBezTo>
                <a:cubicBezTo>
                  <a:pt x="104" y="21"/>
                  <a:pt x="103" y="21"/>
                  <a:pt x="101" y="21"/>
                </a:cubicBezTo>
                <a:cubicBezTo>
                  <a:pt x="100" y="21"/>
                  <a:pt x="100" y="21"/>
                  <a:pt x="100" y="21"/>
                </a:cubicBezTo>
                <a:cubicBezTo>
                  <a:pt x="100" y="21"/>
                  <a:pt x="100" y="21"/>
                  <a:pt x="100" y="22"/>
                </a:cubicBezTo>
                <a:cubicBezTo>
                  <a:pt x="101" y="22"/>
                  <a:pt x="101" y="22"/>
                  <a:pt x="101" y="22"/>
                </a:cubicBezTo>
                <a:cubicBezTo>
                  <a:pt x="101" y="22"/>
                  <a:pt x="103" y="22"/>
                  <a:pt x="103" y="23"/>
                </a:cubicBezTo>
                <a:cubicBezTo>
                  <a:pt x="103" y="23"/>
                  <a:pt x="104" y="23"/>
                  <a:pt x="104" y="23"/>
                </a:cubicBezTo>
                <a:cubicBezTo>
                  <a:pt x="105" y="23"/>
                  <a:pt x="105" y="24"/>
                  <a:pt x="106" y="24"/>
                </a:cubicBezTo>
                <a:cubicBezTo>
                  <a:pt x="106" y="24"/>
                  <a:pt x="107" y="24"/>
                  <a:pt x="107" y="24"/>
                </a:cubicBezTo>
                <a:cubicBezTo>
                  <a:pt x="108" y="24"/>
                  <a:pt x="108" y="24"/>
                  <a:pt x="108" y="24"/>
                </a:cubicBezTo>
                <a:cubicBezTo>
                  <a:pt x="108" y="24"/>
                  <a:pt x="109" y="24"/>
                  <a:pt x="109" y="24"/>
                </a:cubicBezTo>
                <a:cubicBezTo>
                  <a:pt x="110" y="24"/>
                  <a:pt x="110" y="24"/>
                  <a:pt x="110" y="24"/>
                </a:cubicBezTo>
                <a:cubicBezTo>
                  <a:pt x="111" y="24"/>
                  <a:pt x="111" y="24"/>
                  <a:pt x="111" y="24"/>
                </a:cubicBezTo>
                <a:cubicBezTo>
                  <a:pt x="112" y="24"/>
                  <a:pt x="112" y="24"/>
                  <a:pt x="112" y="24"/>
                </a:cubicBezTo>
                <a:cubicBezTo>
                  <a:pt x="112" y="25"/>
                  <a:pt x="112" y="25"/>
                  <a:pt x="113" y="25"/>
                </a:cubicBezTo>
                <a:cubicBezTo>
                  <a:pt x="113" y="25"/>
                  <a:pt x="114" y="25"/>
                  <a:pt x="114" y="25"/>
                </a:cubicBezTo>
                <a:cubicBezTo>
                  <a:pt x="114" y="25"/>
                  <a:pt x="114" y="25"/>
                  <a:pt x="115" y="26"/>
                </a:cubicBezTo>
                <a:cubicBezTo>
                  <a:pt x="115" y="25"/>
                  <a:pt x="115" y="25"/>
                  <a:pt x="115" y="25"/>
                </a:cubicBezTo>
                <a:cubicBezTo>
                  <a:pt x="116" y="25"/>
                  <a:pt x="116" y="25"/>
                  <a:pt x="116" y="25"/>
                </a:cubicBezTo>
                <a:cubicBezTo>
                  <a:pt x="116" y="24"/>
                  <a:pt x="116" y="24"/>
                  <a:pt x="116" y="24"/>
                </a:cubicBezTo>
                <a:cubicBezTo>
                  <a:pt x="116" y="24"/>
                  <a:pt x="115" y="24"/>
                  <a:pt x="115" y="24"/>
                </a:cubicBezTo>
                <a:cubicBezTo>
                  <a:pt x="115" y="23"/>
                  <a:pt x="115" y="23"/>
                  <a:pt x="115" y="23"/>
                </a:cubicBezTo>
                <a:cubicBezTo>
                  <a:pt x="114" y="23"/>
                  <a:pt x="114" y="23"/>
                  <a:pt x="114" y="23"/>
                </a:cubicBezTo>
                <a:cubicBezTo>
                  <a:pt x="114" y="22"/>
                  <a:pt x="114" y="22"/>
                  <a:pt x="113" y="22"/>
                </a:cubicBezTo>
                <a:cubicBezTo>
                  <a:pt x="113" y="22"/>
                  <a:pt x="113" y="22"/>
                  <a:pt x="113" y="21"/>
                </a:cubicBezTo>
                <a:close/>
                <a:moveTo>
                  <a:pt x="131" y="37"/>
                </a:moveTo>
                <a:cubicBezTo>
                  <a:pt x="130" y="37"/>
                  <a:pt x="130" y="38"/>
                  <a:pt x="130" y="38"/>
                </a:cubicBezTo>
                <a:cubicBezTo>
                  <a:pt x="131" y="39"/>
                  <a:pt x="132" y="39"/>
                  <a:pt x="132" y="39"/>
                </a:cubicBezTo>
                <a:cubicBezTo>
                  <a:pt x="132" y="38"/>
                  <a:pt x="132" y="38"/>
                  <a:pt x="132" y="38"/>
                </a:cubicBezTo>
                <a:cubicBezTo>
                  <a:pt x="132" y="38"/>
                  <a:pt x="132" y="37"/>
                  <a:pt x="131" y="37"/>
                </a:cubicBezTo>
                <a:close/>
                <a:moveTo>
                  <a:pt x="136" y="32"/>
                </a:moveTo>
                <a:cubicBezTo>
                  <a:pt x="136" y="32"/>
                  <a:pt x="136" y="32"/>
                  <a:pt x="136" y="33"/>
                </a:cubicBezTo>
                <a:cubicBezTo>
                  <a:pt x="136" y="33"/>
                  <a:pt x="136" y="33"/>
                  <a:pt x="137" y="33"/>
                </a:cubicBezTo>
                <a:cubicBezTo>
                  <a:pt x="137" y="33"/>
                  <a:pt x="137" y="32"/>
                  <a:pt x="137" y="32"/>
                </a:cubicBezTo>
                <a:cubicBezTo>
                  <a:pt x="137" y="32"/>
                  <a:pt x="138" y="32"/>
                  <a:pt x="138" y="32"/>
                </a:cubicBezTo>
                <a:cubicBezTo>
                  <a:pt x="138" y="31"/>
                  <a:pt x="137" y="31"/>
                  <a:pt x="137" y="31"/>
                </a:cubicBezTo>
                <a:cubicBezTo>
                  <a:pt x="137" y="32"/>
                  <a:pt x="136" y="32"/>
                  <a:pt x="136" y="32"/>
                </a:cubicBezTo>
                <a:close/>
                <a:moveTo>
                  <a:pt x="116" y="25"/>
                </a:moveTo>
                <a:cubicBezTo>
                  <a:pt x="116" y="26"/>
                  <a:pt x="115" y="26"/>
                  <a:pt x="115" y="26"/>
                </a:cubicBezTo>
                <a:cubicBezTo>
                  <a:pt x="116" y="26"/>
                  <a:pt x="116" y="26"/>
                  <a:pt x="116" y="26"/>
                </a:cubicBezTo>
                <a:cubicBezTo>
                  <a:pt x="116" y="26"/>
                  <a:pt x="116" y="26"/>
                  <a:pt x="116" y="26"/>
                </a:cubicBezTo>
                <a:cubicBezTo>
                  <a:pt x="116" y="26"/>
                  <a:pt x="117" y="26"/>
                  <a:pt x="117" y="26"/>
                </a:cubicBezTo>
                <a:cubicBezTo>
                  <a:pt x="117" y="26"/>
                  <a:pt x="117" y="25"/>
                  <a:pt x="116" y="25"/>
                </a:cubicBezTo>
                <a:cubicBezTo>
                  <a:pt x="116" y="25"/>
                  <a:pt x="116" y="25"/>
                  <a:pt x="116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7" name="Freeform 96"/>
          <p:cNvSpPr>
            <a:spLocks noEditPoints="1"/>
          </p:cNvSpPr>
          <p:nvPr/>
        </p:nvSpPr>
        <p:spPr bwMode="auto">
          <a:xfrm>
            <a:off x="9093200" y="4563534"/>
            <a:ext cx="400051" cy="455084"/>
          </a:xfrm>
          <a:custGeom>
            <a:avLst/>
            <a:gdLst>
              <a:gd name="T0" fmla="*/ 468205915 w 133"/>
              <a:gd name="T1" fmla="*/ 689739325 h 151"/>
              <a:gd name="T2" fmla="*/ 55980774 w 133"/>
              <a:gd name="T3" fmla="*/ 229913862 h 151"/>
              <a:gd name="T4" fmla="*/ 122140281 w 133"/>
              <a:gd name="T5" fmla="*/ 633540218 h 151"/>
              <a:gd name="T6" fmla="*/ 422403874 w 133"/>
              <a:gd name="T7" fmla="*/ 735723905 h 151"/>
              <a:gd name="T8" fmla="*/ 676863169 w 133"/>
              <a:gd name="T9" fmla="*/ 689739325 h 151"/>
              <a:gd name="T10" fmla="*/ 468205915 w 133"/>
              <a:gd name="T11" fmla="*/ 689739325 h 151"/>
              <a:gd name="T12" fmla="*/ 111961548 w 133"/>
              <a:gd name="T13" fmla="*/ 0 h 151"/>
              <a:gd name="T14" fmla="*/ 101782816 w 133"/>
              <a:gd name="T15" fmla="*/ 265677135 h 151"/>
              <a:gd name="T16" fmla="*/ 137408380 w 133"/>
              <a:gd name="T17" fmla="*/ 183931541 h 151"/>
              <a:gd name="T18" fmla="*/ 122140281 w 133"/>
              <a:gd name="T19" fmla="*/ 352533382 h 151"/>
              <a:gd name="T20" fmla="*/ 178121055 w 133"/>
              <a:gd name="T21" fmla="*/ 454717070 h 151"/>
              <a:gd name="T22" fmla="*/ 218835986 w 133"/>
              <a:gd name="T23" fmla="*/ 286115229 h 151"/>
              <a:gd name="T24" fmla="*/ 234104086 w 133"/>
              <a:gd name="T25" fmla="*/ 516026830 h 151"/>
              <a:gd name="T26" fmla="*/ 315529436 w 133"/>
              <a:gd name="T27" fmla="*/ 582447244 h 151"/>
              <a:gd name="T28" fmla="*/ 325708168 w 133"/>
              <a:gd name="T29" fmla="*/ 372971476 h 151"/>
              <a:gd name="T30" fmla="*/ 381688943 w 133"/>
              <a:gd name="T31" fmla="*/ 618210517 h 151"/>
              <a:gd name="T32" fmla="*/ 498742113 w 133"/>
              <a:gd name="T33" fmla="*/ 659084444 h 151"/>
              <a:gd name="T34" fmla="*/ 356244367 w 133"/>
              <a:gd name="T35" fmla="*/ 255460349 h 151"/>
              <a:gd name="T36" fmla="*/ 111961548 w 133"/>
              <a:gd name="T37" fmla="*/ 0 h 15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33" h="151">
                <a:moveTo>
                  <a:pt x="92" y="135"/>
                </a:moveTo>
                <a:cubicBezTo>
                  <a:pt x="80" y="132"/>
                  <a:pt x="16" y="113"/>
                  <a:pt x="11" y="45"/>
                </a:cubicBezTo>
                <a:cubicBezTo>
                  <a:pt x="11" y="45"/>
                  <a:pt x="0" y="86"/>
                  <a:pt x="24" y="124"/>
                </a:cubicBezTo>
                <a:cubicBezTo>
                  <a:pt x="42" y="151"/>
                  <a:pt x="68" y="150"/>
                  <a:pt x="83" y="144"/>
                </a:cubicBezTo>
                <a:cubicBezTo>
                  <a:pt x="114" y="146"/>
                  <a:pt x="133" y="135"/>
                  <a:pt x="133" y="135"/>
                </a:cubicBezTo>
                <a:cubicBezTo>
                  <a:pt x="119" y="140"/>
                  <a:pt x="96" y="136"/>
                  <a:pt x="92" y="135"/>
                </a:cubicBezTo>
                <a:close/>
                <a:moveTo>
                  <a:pt x="22" y="0"/>
                </a:moveTo>
                <a:cubicBezTo>
                  <a:pt x="17" y="21"/>
                  <a:pt x="17" y="38"/>
                  <a:pt x="20" y="52"/>
                </a:cubicBezTo>
                <a:cubicBezTo>
                  <a:pt x="22" y="41"/>
                  <a:pt x="27" y="36"/>
                  <a:pt x="27" y="36"/>
                </a:cubicBezTo>
                <a:cubicBezTo>
                  <a:pt x="22" y="49"/>
                  <a:pt x="24" y="64"/>
                  <a:pt x="24" y="69"/>
                </a:cubicBezTo>
                <a:cubicBezTo>
                  <a:pt x="27" y="77"/>
                  <a:pt x="31" y="83"/>
                  <a:pt x="35" y="89"/>
                </a:cubicBezTo>
                <a:cubicBezTo>
                  <a:pt x="35" y="68"/>
                  <a:pt x="43" y="56"/>
                  <a:pt x="43" y="56"/>
                </a:cubicBezTo>
                <a:cubicBezTo>
                  <a:pt x="39" y="76"/>
                  <a:pt x="44" y="96"/>
                  <a:pt x="46" y="101"/>
                </a:cubicBezTo>
                <a:cubicBezTo>
                  <a:pt x="51" y="106"/>
                  <a:pt x="56" y="111"/>
                  <a:pt x="62" y="114"/>
                </a:cubicBezTo>
                <a:cubicBezTo>
                  <a:pt x="57" y="89"/>
                  <a:pt x="64" y="73"/>
                  <a:pt x="64" y="73"/>
                </a:cubicBezTo>
                <a:cubicBezTo>
                  <a:pt x="63" y="94"/>
                  <a:pt x="72" y="114"/>
                  <a:pt x="75" y="121"/>
                </a:cubicBezTo>
                <a:cubicBezTo>
                  <a:pt x="88" y="127"/>
                  <a:pt x="98" y="129"/>
                  <a:pt x="98" y="129"/>
                </a:cubicBezTo>
                <a:cubicBezTo>
                  <a:pt x="98" y="129"/>
                  <a:pt x="115" y="82"/>
                  <a:pt x="70" y="50"/>
                </a:cubicBezTo>
                <a:cubicBezTo>
                  <a:pt x="36" y="26"/>
                  <a:pt x="22" y="0"/>
                  <a:pt x="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8" name="Freeform 97"/>
          <p:cNvSpPr>
            <a:spLocks/>
          </p:cNvSpPr>
          <p:nvPr/>
        </p:nvSpPr>
        <p:spPr bwMode="auto">
          <a:xfrm>
            <a:off x="10056285" y="4851400"/>
            <a:ext cx="196849" cy="228600"/>
          </a:xfrm>
          <a:custGeom>
            <a:avLst/>
            <a:gdLst>
              <a:gd name="T0" fmla="*/ 92861402 w 65"/>
              <a:gd name="T1" fmla="*/ 50891323 h 76"/>
              <a:gd name="T2" fmla="*/ 144452583 w 65"/>
              <a:gd name="T3" fmla="*/ 386777664 h 76"/>
              <a:gd name="T4" fmla="*/ 170248174 w 65"/>
              <a:gd name="T5" fmla="*/ 0 h 76"/>
              <a:gd name="T6" fmla="*/ 149610793 w 65"/>
              <a:gd name="T7" fmla="*/ 203567548 h 76"/>
              <a:gd name="T8" fmla="*/ 92861402 w 65"/>
              <a:gd name="T9" fmla="*/ 50891323 h 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5" h="76">
                <a:moveTo>
                  <a:pt x="18" y="10"/>
                </a:moveTo>
                <a:cubicBezTo>
                  <a:pt x="18" y="10"/>
                  <a:pt x="0" y="52"/>
                  <a:pt x="28" y="76"/>
                </a:cubicBezTo>
                <a:cubicBezTo>
                  <a:pt x="28" y="76"/>
                  <a:pt x="65" y="40"/>
                  <a:pt x="33" y="0"/>
                </a:cubicBezTo>
                <a:cubicBezTo>
                  <a:pt x="33" y="0"/>
                  <a:pt x="38" y="23"/>
                  <a:pt x="29" y="40"/>
                </a:cubicBezTo>
                <a:cubicBezTo>
                  <a:pt x="29" y="40"/>
                  <a:pt x="27" y="18"/>
                  <a:pt x="18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39" name="Freeform 98"/>
          <p:cNvSpPr>
            <a:spLocks/>
          </p:cNvSpPr>
          <p:nvPr/>
        </p:nvSpPr>
        <p:spPr bwMode="auto">
          <a:xfrm>
            <a:off x="10191751" y="4745568"/>
            <a:ext cx="220133" cy="192617"/>
          </a:xfrm>
          <a:custGeom>
            <a:avLst/>
            <a:gdLst>
              <a:gd name="T0" fmla="*/ 25574668 w 73"/>
              <a:gd name="T1" fmla="*/ 173233709 h 64"/>
              <a:gd name="T2" fmla="*/ 373397397 w 73"/>
              <a:gd name="T3" fmla="*/ 229280839 h 64"/>
              <a:gd name="T4" fmla="*/ 0 w 73"/>
              <a:gd name="T5" fmla="*/ 86616855 h 64"/>
              <a:gd name="T6" fmla="*/ 194370195 w 73"/>
              <a:gd name="T7" fmla="*/ 168139131 h 64"/>
              <a:gd name="T8" fmla="*/ 25574668 w 73"/>
              <a:gd name="T9" fmla="*/ 173233709 h 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64">
                <a:moveTo>
                  <a:pt x="5" y="34"/>
                </a:moveTo>
                <a:cubicBezTo>
                  <a:pt x="5" y="34"/>
                  <a:pt x="40" y="64"/>
                  <a:pt x="73" y="45"/>
                </a:cubicBezTo>
                <a:cubicBezTo>
                  <a:pt x="73" y="45"/>
                  <a:pt x="49" y="0"/>
                  <a:pt x="0" y="17"/>
                </a:cubicBezTo>
                <a:cubicBezTo>
                  <a:pt x="0" y="17"/>
                  <a:pt x="25" y="19"/>
                  <a:pt x="38" y="33"/>
                </a:cubicBezTo>
                <a:cubicBezTo>
                  <a:pt x="38" y="33"/>
                  <a:pt x="16" y="28"/>
                  <a:pt x="5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0" name="Freeform 99"/>
          <p:cNvSpPr>
            <a:spLocks/>
          </p:cNvSpPr>
          <p:nvPr/>
        </p:nvSpPr>
        <p:spPr bwMode="auto">
          <a:xfrm>
            <a:off x="10147300" y="4567767"/>
            <a:ext cx="179917" cy="179917"/>
          </a:xfrm>
          <a:custGeom>
            <a:avLst/>
            <a:gdLst>
              <a:gd name="T0" fmla="*/ 101156272 w 60"/>
              <a:gd name="T1" fmla="*/ 303471064 h 60"/>
              <a:gd name="T2" fmla="*/ 257949730 w 60"/>
              <a:gd name="T3" fmla="*/ 0 h 60"/>
              <a:gd name="T4" fmla="*/ 5057926 w 60"/>
              <a:gd name="T5" fmla="*/ 298413138 h 60"/>
              <a:gd name="T6" fmla="*/ 146677606 w 60"/>
              <a:gd name="T7" fmla="*/ 146677606 h 60"/>
              <a:gd name="T8" fmla="*/ 101156272 w 60"/>
              <a:gd name="T9" fmla="*/ 303471064 h 6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0" h="60">
                <a:moveTo>
                  <a:pt x="20" y="60"/>
                </a:moveTo>
                <a:cubicBezTo>
                  <a:pt x="20" y="60"/>
                  <a:pt x="60" y="36"/>
                  <a:pt x="51" y="0"/>
                </a:cubicBezTo>
                <a:cubicBezTo>
                  <a:pt x="51" y="0"/>
                  <a:pt x="0" y="8"/>
                  <a:pt x="1" y="59"/>
                </a:cubicBezTo>
                <a:cubicBezTo>
                  <a:pt x="1" y="59"/>
                  <a:pt x="11" y="37"/>
                  <a:pt x="29" y="29"/>
                </a:cubicBezTo>
                <a:cubicBezTo>
                  <a:pt x="29" y="29"/>
                  <a:pt x="17" y="48"/>
                  <a:pt x="20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1" name="Freeform 100"/>
          <p:cNvSpPr>
            <a:spLocks/>
          </p:cNvSpPr>
          <p:nvPr/>
        </p:nvSpPr>
        <p:spPr bwMode="auto">
          <a:xfrm>
            <a:off x="9939867" y="4576234"/>
            <a:ext cx="169333" cy="192617"/>
          </a:xfrm>
          <a:custGeom>
            <a:avLst/>
            <a:gdLst>
              <a:gd name="T0" fmla="*/ 288017857 w 56"/>
              <a:gd name="T1" fmla="*/ 239469995 h 64"/>
              <a:gd name="T2" fmla="*/ 41145732 w 56"/>
              <a:gd name="T3" fmla="*/ 0 h 64"/>
              <a:gd name="T4" fmla="*/ 257159125 w 56"/>
              <a:gd name="T5" fmla="*/ 326086850 h 64"/>
              <a:gd name="T6" fmla="*/ 149152429 w 56"/>
              <a:gd name="T7" fmla="*/ 147758562 h 64"/>
              <a:gd name="T8" fmla="*/ 288017857 w 56"/>
              <a:gd name="T9" fmla="*/ 239469995 h 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6" h="64">
                <a:moveTo>
                  <a:pt x="56" y="47"/>
                </a:moveTo>
                <a:cubicBezTo>
                  <a:pt x="56" y="47"/>
                  <a:pt x="45" y="2"/>
                  <a:pt x="8" y="0"/>
                </a:cubicBezTo>
                <a:cubicBezTo>
                  <a:pt x="8" y="0"/>
                  <a:pt x="0" y="49"/>
                  <a:pt x="50" y="64"/>
                </a:cubicBezTo>
                <a:cubicBezTo>
                  <a:pt x="50" y="64"/>
                  <a:pt x="31" y="47"/>
                  <a:pt x="29" y="29"/>
                </a:cubicBezTo>
                <a:cubicBezTo>
                  <a:pt x="29" y="29"/>
                  <a:pt x="44" y="46"/>
                  <a:pt x="5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2" name="Freeform 101"/>
          <p:cNvSpPr>
            <a:spLocks/>
          </p:cNvSpPr>
          <p:nvPr/>
        </p:nvSpPr>
        <p:spPr bwMode="auto">
          <a:xfrm>
            <a:off x="9863667" y="4787900"/>
            <a:ext cx="228600" cy="171451"/>
          </a:xfrm>
          <a:custGeom>
            <a:avLst/>
            <a:gdLst>
              <a:gd name="T0" fmla="*/ 310439552 w 76"/>
              <a:gd name="T1" fmla="*/ 20357511 h 57"/>
              <a:gd name="T2" fmla="*/ 0 w 76"/>
              <a:gd name="T3" fmla="*/ 173034329 h 57"/>
              <a:gd name="T4" fmla="*/ 386777664 w 76"/>
              <a:gd name="T5" fmla="*/ 76338409 h 57"/>
              <a:gd name="T6" fmla="*/ 178120759 w 76"/>
              <a:gd name="T7" fmla="*/ 122140553 h 57"/>
              <a:gd name="T8" fmla="*/ 310439552 w 76"/>
              <a:gd name="T9" fmla="*/ 20357511 h 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6" h="57">
                <a:moveTo>
                  <a:pt x="61" y="4"/>
                </a:moveTo>
                <a:cubicBezTo>
                  <a:pt x="61" y="4"/>
                  <a:pt x="15" y="0"/>
                  <a:pt x="0" y="34"/>
                </a:cubicBezTo>
                <a:cubicBezTo>
                  <a:pt x="0" y="34"/>
                  <a:pt x="46" y="57"/>
                  <a:pt x="76" y="15"/>
                </a:cubicBezTo>
                <a:cubicBezTo>
                  <a:pt x="76" y="15"/>
                  <a:pt x="54" y="27"/>
                  <a:pt x="35" y="24"/>
                </a:cubicBezTo>
                <a:cubicBezTo>
                  <a:pt x="35" y="24"/>
                  <a:pt x="57" y="15"/>
                  <a:pt x="61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3" name="Freeform 102"/>
          <p:cNvSpPr>
            <a:spLocks/>
          </p:cNvSpPr>
          <p:nvPr/>
        </p:nvSpPr>
        <p:spPr bwMode="auto">
          <a:xfrm>
            <a:off x="10803468" y="4694767"/>
            <a:ext cx="283633" cy="230717"/>
          </a:xfrm>
          <a:custGeom>
            <a:avLst/>
            <a:gdLst>
              <a:gd name="T0" fmla="*/ 0 w 94"/>
              <a:gd name="T1" fmla="*/ 186854073 h 77"/>
              <a:gd name="T2" fmla="*/ 481403464 w 94"/>
              <a:gd name="T3" fmla="*/ 181804510 h 77"/>
              <a:gd name="T4" fmla="*/ 481403464 w 94"/>
              <a:gd name="T5" fmla="*/ 181804510 h 77"/>
              <a:gd name="T6" fmla="*/ 0 w 94"/>
              <a:gd name="T7" fmla="*/ 186854073 h 7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94" h="77">
                <a:moveTo>
                  <a:pt x="0" y="37"/>
                </a:moveTo>
                <a:cubicBezTo>
                  <a:pt x="21" y="0"/>
                  <a:pt x="68" y="53"/>
                  <a:pt x="94" y="36"/>
                </a:cubicBezTo>
                <a:cubicBezTo>
                  <a:pt x="94" y="36"/>
                  <a:pt x="94" y="36"/>
                  <a:pt x="94" y="36"/>
                </a:cubicBezTo>
                <a:cubicBezTo>
                  <a:pt x="81" y="77"/>
                  <a:pt x="25" y="24"/>
                  <a:pt x="0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4" name="Freeform 103"/>
          <p:cNvSpPr>
            <a:spLocks/>
          </p:cNvSpPr>
          <p:nvPr/>
        </p:nvSpPr>
        <p:spPr bwMode="auto">
          <a:xfrm>
            <a:off x="10858500" y="4631267"/>
            <a:ext cx="281517" cy="230717"/>
          </a:xfrm>
          <a:custGeom>
            <a:avLst/>
            <a:gdLst>
              <a:gd name="T0" fmla="*/ 0 w 94"/>
              <a:gd name="T1" fmla="*/ 186854073 h 77"/>
              <a:gd name="T2" fmla="*/ 474247394 w 94"/>
              <a:gd name="T3" fmla="*/ 181804510 h 77"/>
              <a:gd name="T4" fmla="*/ 474247394 w 94"/>
              <a:gd name="T5" fmla="*/ 181804510 h 77"/>
              <a:gd name="T6" fmla="*/ 0 w 94"/>
              <a:gd name="T7" fmla="*/ 186854073 h 7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94" h="77">
                <a:moveTo>
                  <a:pt x="0" y="37"/>
                </a:moveTo>
                <a:cubicBezTo>
                  <a:pt x="21" y="0"/>
                  <a:pt x="68" y="53"/>
                  <a:pt x="94" y="36"/>
                </a:cubicBezTo>
                <a:cubicBezTo>
                  <a:pt x="94" y="36"/>
                  <a:pt x="94" y="36"/>
                  <a:pt x="94" y="36"/>
                </a:cubicBezTo>
                <a:cubicBezTo>
                  <a:pt x="81" y="77"/>
                  <a:pt x="25" y="25"/>
                  <a:pt x="0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5" name="Freeform 104"/>
          <p:cNvSpPr>
            <a:spLocks/>
          </p:cNvSpPr>
          <p:nvPr/>
        </p:nvSpPr>
        <p:spPr bwMode="auto">
          <a:xfrm>
            <a:off x="10911418" y="4569885"/>
            <a:ext cx="283633" cy="232833"/>
          </a:xfrm>
          <a:custGeom>
            <a:avLst/>
            <a:gdLst>
              <a:gd name="T0" fmla="*/ 0 w 94"/>
              <a:gd name="T1" fmla="*/ 190298161 h 77"/>
              <a:gd name="T2" fmla="*/ 481403464 w 94"/>
              <a:gd name="T3" fmla="*/ 185154661 h 77"/>
              <a:gd name="T4" fmla="*/ 481403464 w 94"/>
              <a:gd name="T5" fmla="*/ 185154661 h 77"/>
              <a:gd name="T6" fmla="*/ 0 w 94"/>
              <a:gd name="T7" fmla="*/ 190298161 h 7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94" h="77">
                <a:moveTo>
                  <a:pt x="0" y="37"/>
                </a:moveTo>
                <a:cubicBezTo>
                  <a:pt x="21" y="0"/>
                  <a:pt x="68" y="53"/>
                  <a:pt x="94" y="36"/>
                </a:cubicBezTo>
                <a:cubicBezTo>
                  <a:pt x="94" y="36"/>
                  <a:pt x="94" y="36"/>
                  <a:pt x="94" y="36"/>
                </a:cubicBezTo>
                <a:cubicBezTo>
                  <a:pt x="81" y="77"/>
                  <a:pt x="25" y="24"/>
                  <a:pt x="0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6" name="Freeform 105"/>
          <p:cNvSpPr>
            <a:spLocks/>
          </p:cNvSpPr>
          <p:nvPr/>
        </p:nvSpPr>
        <p:spPr bwMode="auto">
          <a:xfrm>
            <a:off x="10974918" y="4542367"/>
            <a:ext cx="156633" cy="103717"/>
          </a:xfrm>
          <a:custGeom>
            <a:avLst/>
            <a:gdLst>
              <a:gd name="T0" fmla="*/ 0 w 52"/>
              <a:gd name="T1" fmla="*/ 136094682 h 34"/>
              <a:gd name="T2" fmla="*/ 127591405 w 52"/>
              <a:gd name="T3" fmla="*/ 141329357 h 34"/>
              <a:gd name="T4" fmla="*/ 250081684 w 52"/>
              <a:gd name="T5" fmla="*/ 136094682 h 34"/>
              <a:gd name="T6" fmla="*/ 0 w 52"/>
              <a:gd name="T7" fmla="*/ 136094682 h 3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2" h="34">
                <a:moveTo>
                  <a:pt x="0" y="26"/>
                </a:moveTo>
                <a:cubicBezTo>
                  <a:pt x="0" y="26"/>
                  <a:pt x="4" y="20"/>
                  <a:pt x="25" y="27"/>
                </a:cubicBezTo>
                <a:cubicBezTo>
                  <a:pt x="45" y="34"/>
                  <a:pt x="46" y="31"/>
                  <a:pt x="49" y="26"/>
                </a:cubicBezTo>
                <a:cubicBezTo>
                  <a:pt x="52" y="17"/>
                  <a:pt x="7" y="0"/>
                  <a:pt x="0" y="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7" name="Freeform 106"/>
          <p:cNvSpPr>
            <a:spLocks/>
          </p:cNvSpPr>
          <p:nvPr/>
        </p:nvSpPr>
        <p:spPr bwMode="auto">
          <a:xfrm>
            <a:off x="10833100" y="4872567"/>
            <a:ext cx="171451" cy="99484"/>
          </a:xfrm>
          <a:custGeom>
            <a:avLst/>
            <a:gdLst>
              <a:gd name="T0" fmla="*/ 213747095 w 57"/>
              <a:gd name="T1" fmla="*/ 0 h 33"/>
              <a:gd name="T2" fmla="*/ 0 w 57"/>
              <a:gd name="T3" fmla="*/ 102242420 h 33"/>
              <a:gd name="T4" fmla="*/ 66159654 w 57"/>
              <a:gd name="T5" fmla="*/ 168699993 h 33"/>
              <a:gd name="T6" fmla="*/ 147587441 w 57"/>
              <a:gd name="T7" fmla="*/ 143139388 h 33"/>
              <a:gd name="T8" fmla="*/ 290085504 w 57"/>
              <a:gd name="T9" fmla="*/ 25560605 h 33"/>
              <a:gd name="T10" fmla="*/ 213747095 w 57"/>
              <a:gd name="T11" fmla="*/ 0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" h="33">
                <a:moveTo>
                  <a:pt x="42" y="0"/>
                </a:moveTo>
                <a:cubicBezTo>
                  <a:pt x="37" y="25"/>
                  <a:pt x="13" y="6"/>
                  <a:pt x="0" y="20"/>
                </a:cubicBezTo>
                <a:cubicBezTo>
                  <a:pt x="13" y="33"/>
                  <a:pt x="13" y="33"/>
                  <a:pt x="13" y="33"/>
                </a:cubicBezTo>
                <a:cubicBezTo>
                  <a:pt x="13" y="33"/>
                  <a:pt x="15" y="27"/>
                  <a:pt x="29" y="28"/>
                </a:cubicBezTo>
                <a:cubicBezTo>
                  <a:pt x="47" y="29"/>
                  <a:pt x="57" y="14"/>
                  <a:pt x="57" y="5"/>
                </a:cubicBezTo>
                <a:lnTo>
                  <a:pt x="4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8" name="Freeform 107"/>
          <p:cNvSpPr>
            <a:spLocks/>
          </p:cNvSpPr>
          <p:nvPr/>
        </p:nvSpPr>
        <p:spPr bwMode="auto">
          <a:xfrm>
            <a:off x="10795001" y="4811184"/>
            <a:ext cx="80433" cy="107949"/>
          </a:xfrm>
          <a:custGeom>
            <a:avLst/>
            <a:gdLst>
              <a:gd name="T0" fmla="*/ 134781690 w 27"/>
              <a:gd name="T1" fmla="*/ 30347256 h 36"/>
              <a:gd name="T2" fmla="*/ 44926485 w 27"/>
              <a:gd name="T3" fmla="*/ 0 h 36"/>
              <a:gd name="T4" fmla="*/ 29952480 w 27"/>
              <a:gd name="T5" fmla="*/ 91041769 h 36"/>
              <a:gd name="T6" fmla="*/ 29952480 w 27"/>
              <a:gd name="T7" fmla="*/ 166907661 h 36"/>
              <a:gd name="T8" fmla="*/ 44926485 w 27"/>
              <a:gd name="T9" fmla="*/ 182081289 h 36"/>
              <a:gd name="T10" fmla="*/ 109822780 w 27"/>
              <a:gd name="T11" fmla="*/ 146676157 h 36"/>
              <a:gd name="T12" fmla="*/ 134781690 w 27"/>
              <a:gd name="T13" fmla="*/ 30347256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36">
                <a:moveTo>
                  <a:pt x="27" y="6"/>
                </a:moveTo>
                <a:cubicBezTo>
                  <a:pt x="9" y="0"/>
                  <a:pt x="9" y="0"/>
                  <a:pt x="9" y="0"/>
                </a:cubicBezTo>
                <a:cubicBezTo>
                  <a:pt x="0" y="1"/>
                  <a:pt x="5" y="12"/>
                  <a:pt x="6" y="18"/>
                </a:cubicBezTo>
                <a:cubicBezTo>
                  <a:pt x="9" y="31"/>
                  <a:pt x="6" y="33"/>
                  <a:pt x="6" y="33"/>
                </a:cubicBezTo>
                <a:cubicBezTo>
                  <a:pt x="9" y="36"/>
                  <a:pt x="9" y="36"/>
                  <a:pt x="9" y="36"/>
                </a:cubicBezTo>
                <a:cubicBezTo>
                  <a:pt x="13" y="31"/>
                  <a:pt x="17" y="30"/>
                  <a:pt x="22" y="29"/>
                </a:cubicBezTo>
                <a:cubicBezTo>
                  <a:pt x="21" y="20"/>
                  <a:pt x="17" y="12"/>
                  <a:pt x="27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49" name="Freeform 108"/>
          <p:cNvSpPr>
            <a:spLocks/>
          </p:cNvSpPr>
          <p:nvPr/>
        </p:nvSpPr>
        <p:spPr bwMode="auto">
          <a:xfrm>
            <a:off x="10752667" y="4938184"/>
            <a:ext cx="95251" cy="93133"/>
          </a:xfrm>
          <a:custGeom>
            <a:avLst/>
            <a:gdLst>
              <a:gd name="T0" fmla="*/ 149513037 w 32"/>
              <a:gd name="T1" fmla="*/ 152311305 h 31"/>
              <a:gd name="T2" fmla="*/ 129577370 w 32"/>
              <a:gd name="T3" fmla="*/ 152311305 h 31"/>
              <a:gd name="T4" fmla="*/ 4982801 w 32"/>
              <a:gd name="T5" fmla="*/ 25384842 h 31"/>
              <a:gd name="T6" fmla="*/ 4982801 w 32"/>
              <a:gd name="T7" fmla="*/ 5076518 h 31"/>
              <a:gd name="T8" fmla="*/ 4982801 w 32"/>
              <a:gd name="T9" fmla="*/ 5076518 h 31"/>
              <a:gd name="T10" fmla="*/ 29903500 w 32"/>
              <a:gd name="T11" fmla="*/ 5076518 h 31"/>
              <a:gd name="T12" fmla="*/ 154498070 w 32"/>
              <a:gd name="T13" fmla="*/ 132002981 h 31"/>
              <a:gd name="T14" fmla="*/ 149513037 w 32"/>
              <a:gd name="T15" fmla="*/ 152311305 h 3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2" h="31">
                <a:moveTo>
                  <a:pt x="30" y="30"/>
                </a:moveTo>
                <a:cubicBezTo>
                  <a:pt x="29" y="31"/>
                  <a:pt x="27" y="31"/>
                  <a:pt x="26" y="30"/>
                </a:cubicBezTo>
                <a:cubicBezTo>
                  <a:pt x="1" y="5"/>
                  <a:pt x="1" y="5"/>
                  <a:pt x="1" y="5"/>
                </a:cubicBezTo>
                <a:cubicBezTo>
                  <a:pt x="0" y="4"/>
                  <a:pt x="0" y="2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3" y="0"/>
                  <a:pt x="4" y="0"/>
                  <a:pt x="6" y="1"/>
                </a:cubicBezTo>
                <a:cubicBezTo>
                  <a:pt x="31" y="26"/>
                  <a:pt x="31" y="26"/>
                  <a:pt x="31" y="26"/>
                </a:cubicBezTo>
                <a:cubicBezTo>
                  <a:pt x="32" y="27"/>
                  <a:pt x="32" y="29"/>
                  <a:pt x="30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50" name="Freeform 109"/>
          <p:cNvSpPr>
            <a:spLocks/>
          </p:cNvSpPr>
          <p:nvPr/>
        </p:nvSpPr>
        <p:spPr bwMode="auto">
          <a:xfrm>
            <a:off x="10744200" y="4950884"/>
            <a:ext cx="93133" cy="93133"/>
          </a:xfrm>
          <a:custGeom>
            <a:avLst/>
            <a:gdLst>
              <a:gd name="T0" fmla="*/ 152311305 w 31"/>
              <a:gd name="T1" fmla="*/ 152311305 h 31"/>
              <a:gd name="T2" fmla="*/ 132002981 w 31"/>
              <a:gd name="T3" fmla="*/ 152311305 h 31"/>
              <a:gd name="T4" fmla="*/ 5076518 w 31"/>
              <a:gd name="T5" fmla="*/ 25384842 h 31"/>
              <a:gd name="T6" fmla="*/ 5076518 w 31"/>
              <a:gd name="T7" fmla="*/ 5076518 h 31"/>
              <a:gd name="T8" fmla="*/ 5076518 w 31"/>
              <a:gd name="T9" fmla="*/ 5076518 h 31"/>
              <a:gd name="T10" fmla="*/ 25384842 w 31"/>
              <a:gd name="T11" fmla="*/ 5076518 h 31"/>
              <a:gd name="T12" fmla="*/ 152311305 w 31"/>
              <a:gd name="T13" fmla="*/ 132002981 h 31"/>
              <a:gd name="T14" fmla="*/ 152311305 w 31"/>
              <a:gd name="T15" fmla="*/ 152311305 h 3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1" h="31">
                <a:moveTo>
                  <a:pt x="30" y="30"/>
                </a:moveTo>
                <a:cubicBezTo>
                  <a:pt x="29" y="31"/>
                  <a:pt x="27" y="31"/>
                  <a:pt x="26" y="30"/>
                </a:cubicBezTo>
                <a:cubicBezTo>
                  <a:pt x="1" y="5"/>
                  <a:pt x="1" y="5"/>
                  <a:pt x="1" y="5"/>
                </a:cubicBezTo>
                <a:cubicBezTo>
                  <a:pt x="0" y="4"/>
                  <a:pt x="0" y="2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30" y="26"/>
                  <a:pt x="30" y="26"/>
                  <a:pt x="30" y="26"/>
                </a:cubicBezTo>
                <a:cubicBezTo>
                  <a:pt x="31" y="27"/>
                  <a:pt x="31" y="29"/>
                  <a:pt x="30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51" name="Freeform 110"/>
          <p:cNvSpPr>
            <a:spLocks/>
          </p:cNvSpPr>
          <p:nvPr/>
        </p:nvSpPr>
        <p:spPr bwMode="auto">
          <a:xfrm>
            <a:off x="10765367" y="4925484"/>
            <a:ext cx="93133" cy="93133"/>
          </a:xfrm>
          <a:custGeom>
            <a:avLst/>
            <a:gdLst>
              <a:gd name="T0" fmla="*/ 152311305 w 31"/>
              <a:gd name="T1" fmla="*/ 152311305 h 31"/>
              <a:gd name="T2" fmla="*/ 132002981 w 31"/>
              <a:gd name="T3" fmla="*/ 152311305 h 31"/>
              <a:gd name="T4" fmla="*/ 5076518 w 31"/>
              <a:gd name="T5" fmla="*/ 25384842 h 31"/>
              <a:gd name="T6" fmla="*/ 5076518 w 31"/>
              <a:gd name="T7" fmla="*/ 5076518 h 31"/>
              <a:gd name="T8" fmla="*/ 5076518 w 31"/>
              <a:gd name="T9" fmla="*/ 5076518 h 31"/>
              <a:gd name="T10" fmla="*/ 25384842 w 31"/>
              <a:gd name="T11" fmla="*/ 5076518 h 31"/>
              <a:gd name="T12" fmla="*/ 152311305 w 31"/>
              <a:gd name="T13" fmla="*/ 132002981 h 31"/>
              <a:gd name="T14" fmla="*/ 152311305 w 31"/>
              <a:gd name="T15" fmla="*/ 152311305 h 3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1" h="31">
                <a:moveTo>
                  <a:pt x="30" y="30"/>
                </a:moveTo>
                <a:cubicBezTo>
                  <a:pt x="29" y="31"/>
                  <a:pt x="27" y="31"/>
                  <a:pt x="26" y="30"/>
                </a:cubicBezTo>
                <a:cubicBezTo>
                  <a:pt x="1" y="5"/>
                  <a:pt x="1" y="5"/>
                  <a:pt x="1" y="5"/>
                </a:cubicBezTo>
                <a:cubicBezTo>
                  <a:pt x="0" y="4"/>
                  <a:pt x="0" y="2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2" y="0"/>
                  <a:pt x="4" y="0"/>
                  <a:pt x="5" y="1"/>
                </a:cubicBezTo>
                <a:cubicBezTo>
                  <a:pt x="30" y="26"/>
                  <a:pt x="30" y="26"/>
                  <a:pt x="30" y="26"/>
                </a:cubicBezTo>
                <a:cubicBezTo>
                  <a:pt x="31" y="27"/>
                  <a:pt x="31" y="29"/>
                  <a:pt x="30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52" name="Freeform 111"/>
          <p:cNvSpPr>
            <a:spLocks/>
          </p:cNvSpPr>
          <p:nvPr/>
        </p:nvSpPr>
        <p:spPr bwMode="auto">
          <a:xfrm>
            <a:off x="10773833" y="4910667"/>
            <a:ext cx="95251" cy="97367"/>
          </a:xfrm>
          <a:custGeom>
            <a:avLst/>
            <a:gdLst>
              <a:gd name="T0" fmla="*/ 154498070 w 32"/>
              <a:gd name="T1" fmla="*/ 161437737 h 32"/>
              <a:gd name="T2" fmla="*/ 129577370 w 32"/>
              <a:gd name="T3" fmla="*/ 161437737 h 32"/>
              <a:gd name="T4" fmla="*/ 9967833 w 32"/>
              <a:gd name="T5" fmla="*/ 31245572 h 32"/>
              <a:gd name="T6" fmla="*/ 9967833 w 32"/>
              <a:gd name="T7" fmla="*/ 10415191 h 32"/>
              <a:gd name="T8" fmla="*/ 9967833 w 32"/>
              <a:gd name="T9" fmla="*/ 10415191 h 32"/>
              <a:gd name="T10" fmla="*/ 29903500 w 32"/>
              <a:gd name="T11" fmla="*/ 10415191 h 32"/>
              <a:gd name="T12" fmla="*/ 154498070 w 32"/>
              <a:gd name="T13" fmla="*/ 140607355 h 32"/>
              <a:gd name="T14" fmla="*/ 154498070 w 32"/>
              <a:gd name="T15" fmla="*/ 161437737 h 3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2" h="32">
                <a:moveTo>
                  <a:pt x="31" y="31"/>
                </a:moveTo>
                <a:cubicBezTo>
                  <a:pt x="29" y="32"/>
                  <a:pt x="28" y="32"/>
                  <a:pt x="26" y="31"/>
                </a:cubicBezTo>
                <a:cubicBezTo>
                  <a:pt x="2" y="6"/>
                  <a:pt x="2" y="6"/>
                  <a:pt x="2" y="6"/>
                </a:cubicBezTo>
                <a:cubicBezTo>
                  <a:pt x="0" y="5"/>
                  <a:pt x="0" y="3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3" y="0"/>
                  <a:pt x="5" y="1"/>
                  <a:pt x="6" y="2"/>
                </a:cubicBezTo>
                <a:cubicBezTo>
                  <a:pt x="31" y="27"/>
                  <a:pt x="31" y="27"/>
                  <a:pt x="31" y="27"/>
                </a:cubicBezTo>
                <a:cubicBezTo>
                  <a:pt x="32" y="28"/>
                  <a:pt x="32" y="30"/>
                  <a:pt x="31" y="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53" name="Freeform 112"/>
          <p:cNvSpPr>
            <a:spLocks/>
          </p:cNvSpPr>
          <p:nvPr/>
        </p:nvSpPr>
        <p:spPr bwMode="auto">
          <a:xfrm>
            <a:off x="10754784" y="4982633"/>
            <a:ext cx="48683" cy="50800"/>
          </a:xfrm>
          <a:custGeom>
            <a:avLst/>
            <a:gdLst>
              <a:gd name="T0" fmla="*/ 46869998 w 16"/>
              <a:gd name="T1" fmla="*/ 80366347 h 17"/>
              <a:gd name="T2" fmla="*/ 41662474 w 16"/>
              <a:gd name="T3" fmla="*/ 80366347 h 17"/>
              <a:gd name="T4" fmla="*/ 0 w 16"/>
              <a:gd name="T5" fmla="*/ 50229247 h 17"/>
              <a:gd name="T6" fmla="*/ 0 w 16"/>
              <a:gd name="T7" fmla="*/ 45206771 h 17"/>
              <a:gd name="T8" fmla="*/ 36452668 w 16"/>
              <a:gd name="T9" fmla="*/ 5022476 h 17"/>
              <a:gd name="T10" fmla="*/ 41662474 w 16"/>
              <a:gd name="T11" fmla="*/ 5022476 h 17"/>
              <a:gd name="T12" fmla="*/ 83322666 w 16"/>
              <a:gd name="T13" fmla="*/ 35159576 h 17"/>
              <a:gd name="T14" fmla="*/ 83322666 w 16"/>
              <a:gd name="T15" fmla="*/ 40182053 h 17"/>
              <a:gd name="T16" fmla="*/ 46869998 w 16"/>
              <a:gd name="T17" fmla="*/ 80366347 h 1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6" h="17">
                <a:moveTo>
                  <a:pt x="9" y="16"/>
                </a:moveTo>
                <a:cubicBezTo>
                  <a:pt x="9" y="17"/>
                  <a:pt x="8" y="17"/>
                  <a:pt x="8" y="16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0" y="9"/>
                  <a:pt x="0" y="9"/>
                </a:cubicBezTo>
                <a:cubicBezTo>
                  <a:pt x="7" y="1"/>
                  <a:pt x="7" y="1"/>
                  <a:pt x="7" y="1"/>
                </a:cubicBezTo>
                <a:cubicBezTo>
                  <a:pt x="8" y="0"/>
                  <a:pt x="8" y="0"/>
                  <a:pt x="8" y="1"/>
                </a:cubicBezTo>
                <a:cubicBezTo>
                  <a:pt x="16" y="7"/>
                  <a:pt x="16" y="7"/>
                  <a:pt x="16" y="7"/>
                </a:cubicBezTo>
                <a:cubicBezTo>
                  <a:pt x="16" y="7"/>
                  <a:pt x="16" y="8"/>
                  <a:pt x="16" y="8"/>
                </a:cubicBezTo>
                <a:lnTo>
                  <a:pt x="9" y="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54" name="Freeform 113"/>
          <p:cNvSpPr>
            <a:spLocks/>
          </p:cNvSpPr>
          <p:nvPr/>
        </p:nvSpPr>
        <p:spPr bwMode="auto">
          <a:xfrm>
            <a:off x="1295401" y="5338234"/>
            <a:ext cx="565151" cy="484717"/>
          </a:xfrm>
          <a:custGeom>
            <a:avLst/>
            <a:gdLst>
              <a:gd name="T0" fmla="*/ 594731645 w 188"/>
              <a:gd name="T1" fmla="*/ 545546348 h 161"/>
              <a:gd name="T2" fmla="*/ 569315647 w 188"/>
              <a:gd name="T3" fmla="*/ 565940604 h 161"/>
              <a:gd name="T4" fmla="*/ 533733701 w 188"/>
              <a:gd name="T5" fmla="*/ 550644912 h 161"/>
              <a:gd name="T6" fmla="*/ 538817802 w 188"/>
              <a:gd name="T7" fmla="*/ 535349220 h 161"/>
              <a:gd name="T8" fmla="*/ 493067653 w 188"/>
              <a:gd name="T9" fmla="*/ 484363580 h 161"/>
              <a:gd name="T10" fmla="*/ 498151755 w 188"/>
              <a:gd name="T11" fmla="*/ 443575068 h 161"/>
              <a:gd name="T12" fmla="*/ 533733701 w 188"/>
              <a:gd name="T13" fmla="*/ 433377940 h 161"/>
              <a:gd name="T14" fmla="*/ 503233601 w 188"/>
              <a:gd name="T15" fmla="*/ 10197128 h 161"/>
              <a:gd name="T16" fmla="*/ 462569808 w 188"/>
              <a:gd name="T17" fmla="*/ 10197128 h 161"/>
              <a:gd name="T18" fmla="*/ 432069709 w 188"/>
              <a:gd name="T19" fmla="*/ 433377940 h 161"/>
              <a:gd name="T20" fmla="*/ 462569808 w 188"/>
              <a:gd name="T21" fmla="*/ 443575068 h 161"/>
              <a:gd name="T22" fmla="*/ 467651655 w 188"/>
              <a:gd name="T23" fmla="*/ 484363580 h 161"/>
              <a:gd name="T24" fmla="*/ 421903761 w 188"/>
              <a:gd name="T25" fmla="*/ 535349220 h 161"/>
              <a:gd name="T26" fmla="*/ 426987862 w 188"/>
              <a:gd name="T27" fmla="*/ 550644912 h 161"/>
              <a:gd name="T28" fmla="*/ 386321815 w 188"/>
              <a:gd name="T29" fmla="*/ 565940604 h 161"/>
              <a:gd name="T30" fmla="*/ 365989918 w 188"/>
              <a:gd name="T31" fmla="*/ 545546348 h 161"/>
              <a:gd name="T32" fmla="*/ 0 w 188"/>
              <a:gd name="T33" fmla="*/ 780080292 h 161"/>
              <a:gd name="T34" fmla="*/ 25415998 w 188"/>
              <a:gd name="T35" fmla="*/ 815770240 h 161"/>
              <a:gd name="T36" fmla="*/ 416819660 w 188"/>
              <a:gd name="T37" fmla="*/ 627123372 h 161"/>
              <a:gd name="T38" fmla="*/ 406653711 w 188"/>
              <a:gd name="T39" fmla="*/ 596531988 h 161"/>
              <a:gd name="T40" fmla="*/ 437153811 w 188"/>
              <a:gd name="T41" fmla="*/ 576137732 h 161"/>
              <a:gd name="T42" fmla="*/ 482901705 w 188"/>
              <a:gd name="T43" fmla="*/ 591433424 h 161"/>
              <a:gd name="T44" fmla="*/ 523567752 w 188"/>
              <a:gd name="T45" fmla="*/ 576137732 h 161"/>
              <a:gd name="T46" fmla="*/ 554065597 w 188"/>
              <a:gd name="T47" fmla="*/ 601630552 h 161"/>
              <a:gd name="T48" fmla="*/ 543899649 w 188"/>
              <a:gd name="T49" fmla="*/ 632221936 h 161"/>
              <a:gd name="T50" fmla="*/ 935305565 w 188"/>
              <a:gd name="T51" fmla="*/ 820868804 h 161"/>
              <a:gd name="T52" fmla="*/ 955637462 w 188"/>
              <a:gd name="T53" fmla="*/ 785178856 h 161"/>
              <a:gd name="T54" fmla="*/ 594731645 w 188"/>
              <a:gd name="T55" fmla="*/ 545546348 h 16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88" h="161">
                <a:moveTo>
                  <a:pt x="117" y="107"/>
                </a:moveTo>
                <a:cubicBezTo>
                  <a:pt x="117" y="107"/>
                  <a:pt x="115" y="108"/>
                  <a:pt x="112" y="111"/>
                </a:cubicBezTo>
                <a:cubicBezTo>
                  <a:pt x="105" y="108"/>
                  <a:pt x="105" y="108"/>
                  <a:pt x="105" y="108"/>
                </a:cubicBezTo>
                <a:cubicBezTo>
                  <a:pt x="106" y="107"/>
                  <a:pt x="106" y="106"/>
                  <a:pt x="106" y="105"/>
                </a:cubicBezTo>
                <a:cubicBezTo>
                  <a:pt x="106" y="100"/>
                  <a:pt x="102" y="96"/>
                  <a:pt x="97" y="95"/>
                </a:cubicBezTo>
                <a:cubicBezTo>
                  <a:pt x="98" y="87"/>
                  <a:pt x="98" y="87"/>
                  <a:pt x="98" y="87"/>
                </a:cubicBezTo>
                <a:cubicBezTo>
                  <a:pt x="100" y="86"/>
                  <a:pt x="103" y="86"/>
                  <a:pt x="105" y="85"/>
                </a:cubicBezTo>
                <a:cubicBezTo>
                  <a:pt x="99" y="2"/>
                  <a:pt x="99" y="2"/>
                  <a:pt x="99" y="2"/>
                </a:cubicBezTo>
                <a:cubicBezTo>
                  <a:pt x="99" y="2"/>
                  <a:pt x="95" y="0"/>
                  <a:pt x="91" y="2"/>
                </a:cubicBezTo>
                <a:cubicBezTo>
                  <a:pt x="85" y="85"/>
                  <a:pt x="85" y="85"/>
                  <a:pt x="85" y="85"/>
                </a:cubicBezTo>
                <a:cubicBezTo>
                  <a:pt x="85" y="85"/>
                  <a:pt x="87" y="86"/>
                  <a:pt x="91" y="87"/>
                </a:cubicBezTo>
                <a:cubicBezTo>
                  <a:pt x="92" y="95"/>
                  <a:pt x="92" y="95"/>
                  <a:pt x="92" y="95"/>
                </a:cubicBezTo>
                <a:cubicBezTo>
                  <a:pt x="87" y="96"/>
                  <a:pt x="83" y="100"/>
                  <a:pt x="83" y="105"/>
                </a:cubicBezTo>
                <a:cubicBezTo>
                  <a:pt x="83" y="106"/>
                  <a:pt x="83" y="107"/>
                  <a:pt x="84" y="108"/>
                </a:cubicBezTo>
                <a:cubicBezTo>
                  <a:pt x="76" y="111"/>
                  <a:pt x="76" y="111"/>
                  <a:pt x="76" y="111"/>
                </a:cubicBezTo>
                <a:cubicBezTo>
                  <a:pt x="75" y="110"/>
                  <a:pt x="73" y="108"/>
                  <a:pt x="72" y="107"/>
                </a:cubicBezTo>
                <a:cubicBezTo>
                  <a:pt x="0" y="153"/>
                  <a:pt x="0" y="153"/>
                  <a:pt x="0" y="153"/>
                </a:cubicBezTo>
                <a:cubicBezTo>
                  <a:pt x="0" y="153"/>
                  <a:pt x="1" y="157"/>
                  <a:pt x="5" y="160"/>
                </a:cubicBezTo>
                <a:cubicBezTo>
                  <a:pt x="82" y="123"/>
                  <a:pt x="82" y="123"/>
                  <a:pt x="82" y="123"/>
                </a:cubicBezTo>
                <a:cubicBezTo>
                  <a:pt x="82" y="123"/>
                  <a:pt x="82" y="121"/>
                  <a:pt x="80" y="117"/>
                </a:cubicBezTo>
                <a:cubicBezTo>
                  <a:pt x="86" y="113"/>
                  <a:pt x="86" y="113"/>
                  <a:pt x="86" y="113"/>
                </a:cubicBezTo>
                <a:cubicBezTo>
                  <a:pt x="89" y="115"/>
                  <a:pt x="91" y="116"/>
                  <a:pt x="95" y="116"/>
                </a:cubicBezTo>
                <a:cubicBezTo>
                  <a:pt x="98" y="116"/>
                  <a:pt x="101" y="115"/>
                  <a:pt x="103" y="113"/>
                </a:cubicBezTo>
                <a:cubicBezTo>
                  <a:pt x="109" y="118"/>
                  <a:pt x="109" y="118"/>
                  <a:pt x="109" y="118"/>
                </a:cubicBezTo>
                <a:cubicBezTo>
                  <a:pt x="108" y="119"/>
                  <a:pt x="108" y="122"/>
                  <a:pt x="107" y="124"/>
                </a:cubicBezTo>
                <a:cubicBezTo>
                  <a:pt x="184" y="161"/>
                  <a:pt x="184" y="161"/>
                  <a:pt x="184" y="161"/>
                </a:cubicBezTo>
                <a:cubicBezTo>
                  <a:pt x="184" y="161"/>
                  <a:pt x="188" y="158"/>
                  <a:pt x="188" y="154"/>
                </a:cubicBezTo>
                <a:lnTo>
                  <a:pt x="117" y="1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55" name="Freeform 114"/>
          <p:cNvSpPr>
            <a:spLocks/>
          </p:cNvSpPr>
          <p:nvPr/>
        </p:nvSpPr>
        <p:spPr bwMode="auto">
          <a:xfrm>
            <a:off x="2222501" y="5564718"/>
            <a:ext cx="505884" cy="162983"/>
          </a:xfrm>
          <a:custGeom>
            <a:avLst/>
            <a:gdLst>
              <a:gd name="T0" fmla="*/ 856870384 w 168"/>
              <a:gd name="T1" fmla="*/ 40992404 h 54"/>
              <a:gd name="T2" fmla="*/ 663053577 w 168"/>
              <a:gd name="T3" fmla="*/ 40992404 h 54"/>
              <a:gd name="T4" fmla="*/ 663053577 w 168"/>
              <a:gd name="T5" fmla="*/ 0 h 54"/>
              <a:gd name="T6" fmla="*/ 392733106 w 168"/>
              <a:gd name="T7" fmla="*/ 0 h 54"/>
              <a:gd name="T8" fmla="*/ 392733106 w 168"/>
              <a:gd name="T9" fmla="*/ 40992404 h 54"/>
              <a:gd name="T10" fmla="*/ 260121488 w 168"/>
              <a:gd name="T11" fmla="*/ 40992404 h 54"/>
              <a:gd name="T12" fmla="*/ 0 w 168"/>
              <a:gd name="T13" fmla="*/ 276703822 h 54"/>
              <a:gd name="T14" fmla="*/ 142812860 w 168"/>
              <a:gd name="T15" fmla="*/ 276703822 h 54"/>
              <a:gd name="T16" fmla="*/ 260121488 w 168"/>
              <a:gd name="T17" fmla="*/ 179344315 h 54"/>
              <a:gd name="T18" fmla="*/ 392733106 w 168"/>
              <a:gd name="T19" fmla="*/ 179344315 h 54"/>
              <a:gd name="T20" fmla="*/ 392733106 w 168"/>
              <a:gd name="T21" fmla="*/ 220338983 h 54"/>
              <a:gd name="T22" fmla="*/ 663053577 w 168"/>
              <a:gd name="T23" fmla="*/ 220338983 h 54"/>
              <a:gd name="T24" fmla="*/ 663053577 w 168"/>
              <a:gd name="T25" fmla="*/ 179344315 h 54"/>
              <a:gd name="T26" fmla="*/ 856870384 w 168"/>
              <a:gd name="T27" fmla="*/ 179344315 h 54"/>
              <a:gd name="T28" fmla="*/ 856870384 w 168"/>
              <a:gd name="T29" fmla="*/ 40992404 h 5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8" h="54">
                <a:moveTo>
                  <a:pt x="168" y="8"/>
                </a:moveTo>
                <a:cubicBezTo>
                  <a:pt x="130" y="8"/>
                  <a:pt x="130" y="8"/>
                  <a:pt x="130" y="8"/>
                </a:cubicBezTo>
                <a:cubicBezTo>
                  <a:pt x="130" y="0"/>
                  <a:pt x="130" y="0"/>
                  <a:pt x="130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77" y="8"/>
                  <a:pt x="77" y="8"/>
                  <a:pt x="77" y="8"/>
                </a:cubicBezTo>
                <a:cubicBezTo>
                  <a:pt x="51" y="8"/>
                  <a:pt x="51" y="8"/>
                  <a:pt x="51" y="8"/>
                </a:cubicBezTo>
                <a:cubicBezTo>
                  <a:pt x="24" y="8"/>
                  <a:pt x="2" y="28"/>
                  <a:pt x="0" y="54"/>
                </a:cubicBezTo>
                <a:cubicBezTo>
                  <a:pt x="28" y="54"/>
                  <a:pt x="28" y="54"/>
                  <a:pt x="28" y="54"/>
                </a:cubicBezTo>
                <a:cubicBezTo>
                  <a:pt x="30" y="43"/>
                  <a:pt x="40" y="35"/>
                  <a:pt x="51" y="35"/>
                </a:cubicBezTo>
                <a:cubicBezTo>
                  <a:pt x="77" y="35"/>
                  <a:pt x="77" y="35"/>
                  <a:pt x="77" y="35"/>
                </a:cubicBezTo>
                <a:cubicBezTo>
                  <a:pt x="77" y="43"/>
                  <a:pt x="77" y="43"/>
                  <a:pt x="77" y="43"/>
                </a:cubicBezTo>
                <a:cubicBezTo>
                  <a:pt x="130" y="43"/>
                  <a:pt x="130" y="43"/>
                  <a:pt x="130" y="43"/>
                </a:cubicBezTo>
                <a:cubicBezTo>
                  <a:pt x="130" y="35"/>
                  <a:pt x="130" y="35"/>
                  <a:pt x="130" y="35"/>
                </a:cubicBezTo>
                <a:cubicBezTo>
                  <a:pt x="168" y="35"/>
                  <a:pt x="168" y="35"/>
                  <a:pt x="168" y="35"/>
                </a:cubicBezTo>
                <a:lnTo>
                  <a:pt x="168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56" name="Rectangle 115"/>
          <p:cNvSpPr>
            <a:spLocks noChangeArrowheads="1"/>
          </p:cNvSpPr>
          <p:nvPr/>
        </p:nvSpPr>
        <p:spPr bwMode="auto">
          <a:xfrm>
            <a:off x="2209800" y="5761567"/>
            <a:ext cx="112184" cy="592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57" name="Oval 116"/>
          <p:cNvSpPr>
            <a:spLocks noChangeArrowheads="1"/>
          </p:cNvSpPr>
          <p:nvPr/>
        </p:nvSpPr>
        <p:spPr bwMode="auto">
          <a:xfrm>
            <a:off x="2480734" y="5441951"/>
            <a:ext cx="105833" cy="101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58" name="Freeform 117"/>
          <p:cNvSpPr>
            <a:spLocks noEditPoints="1"/>
          </p:cNvSpPr>
          <p:nvPr/>
        </p:nvSpPr>
        <p:spPr bwMode="auto">
          <a:xfrm>
            <a:off x="2385484" y="5467351"/>
            <a:ext cx="302683" cy="57149"/>
          </a:xfrm>
          <a:custGeom>
            <a:avLst/>
            <a:gdLst>
              <a:gd name="T0" fmla="*/ 146505903 w 101"/>
              <a:gd name="T1" fmla="*/ 0 h 19"/>
              <a:gd name="T2" fmla="*/ 45467582 w 101"/>
              <a:gd name="T3" fmla="*/ 0 h 19"/>
              <a:gd name="T4" fmla="*/ 0 w 101"/>
              <a:gd name="T5" fmla="*/ 50890729 h 19"/>
              <a:gd name="T6" fmla="*/ 45467582 w 101"/>
              <a:gd name="T7" fmla="*/ 96694416 h 19"/>
              <a:gd name="T8" fmla="*/ 151558606 w 101"/>
              <a:gd name="T9" fmla="*/ 96694416 h 19"/>
              <a:gd name="T10" fmla="*/ 136402745 w 101"/>
              <a:gd name="T11" fmla="*/ 40714388 h 19"/>
              <a:gd name="T12" fmla="*/ 146505903 w 101"/>
              <a:gd name="T13" fmla="*/ 0 h 19"/>
              <a:gd name="T14" fmla="*/ 459724024 w 101"/>
              <a:gd name="T15" fmla="*/ 0 h 19"/>
              <a:gd name="T16" fmla="*/ 358685703 w 101"/>
              <a:gd name="T17" fmla="*/ 0 h 19"/>
              <a:gd name="T18" fmla="*/ 368791108 w 101"/>
              <a:gd name="T19" fmla="*/ 40714388 h 19"/>
              <a:gd name="T20" fmla="*/ 353635248 w 101"/>
              <a:gd name="T21" fmla="*/ 96694416 h 19"/>
              <a:gd name="T22" fmla="*/ 459724024 w 101"/>
              <a:gd name="T23" fmla="*/ 96694416 h 19"/>
              <a:gd name="T24" fmla="*/ 510244308 w 101"/>
              <a:gd name="T25" fmla="*/ 50890729 h 19"/>
              <a:gd name="T26" fmla="*/ 459724024 w 101"/>
              <a:gd name="T27" fmla="*/ 0 h 1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01" h="19">
                <a:moveTo>
                  <a:pt x="29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15"/>
                  <a:pt x="4" y="19"/>
                  <a:pt x="9" y="19"/>
                </a:cubicBezTo>
                <a:cubicBezTo>
                  <a:pt x="30" y="19"/>
                  <a:pt x="30" y="19"/>
                  <a:pt x="30" y="19"/>
                </a:cubicBezTo>
                <a:cubicBezTo>
                  <a:pt x="28" y="16"/>
                  <a:pt x="27" y="12"/>
                  <a:pt x="27" y="8"/>
                </a:cubicBezTo>
                <a:cubicBezTo>
                  <a:pt x="27" y="5"/>
                  <a:pt x="28" y="3"/>
                  <a:pt x="29" y="0"/>
                </a:cubicBezTo>
                <a:close/>
                <a:moveTo>
                  <a:pt x="91" y="0"/>
                </a:moveTo>
                <a:cubicBezTo>
                  <a:pt x="71" y="0"/>
                  <a:pt x="71" y="0"/>
                  <a:pt x="71" y="0"/>
                </a:cubicBezTo>
                <a:cubicBezTo>
                  <a:pt x="72" y="3"/>
                  <a:pt x="73" y="5"/>
                  <a:pt x="73" y="8"/>
                </a:cubicBezTo>
                <a:cubicBezTo>
                  <a:pt x="73" y="12"/>
                  <a:pt x="71" y="16"/>
                  <a:pt x="70" y="19"/>
                </a:cubicBezTo>
                <a:cubicBezTo>
                  <a:pt x="91" y="19"/>
                  <a:pt x="91" y="19"/>
                  <a:pt x="91" y="19"/>
                </a:cubicBezTo>
                <a:cubicBezTo>
                  <a:pt x="97" y="19"/>
                  <a:pt x="101" y="15"/>
                  <a:pt x="101" y="10"/>
                </a:cubicBezTo>
                <a:cubicBezTo>
                  <a:pt x="101" y="4"/>
                  <a:pt x="97" y="0"/>
                  <a:pt x="9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59" name="Freeform 118"/>
          <p:cNvSpPr>
            <a:spLocks/>
          </p:cNvSpPr>
          <p:nvPr/>
        </p:nvSpPr>
        <p:spPr bwMode="auto">
          <a:xfrm>
            <a:off x="3335867" y="5579534"/>
            <a:ext cx="215900" cy="292100"/>
          </a:xfrm>
          <a:custGeom>
            <a:avLst/>
            <a:gdLst>
              <a:gd name="T0" fmla="*/ 60483750 w 102"/>
              <a:gd name="T1" fmla="*/ 0 h 138"/>
              <a:gd name="T2" fmla="*/ 0 w 102"/>
              <a:gd name="T3" fmla="*/ 347781563 h 138"/>
              <a:gd name="T4" fmla="*/ 141128750 w 102"/>
              <a:gd name="T5" fmla="*/ 146169063 h 138"/>
              <a:gd name="T6" fmla="*/ 189012513 w 102"/>
              <a:gd name="T7" fmla="*/ 345262200 h 138"/>
              <a:gd name="T8" fmla="*/ 257055938 w 102"/>
              <a:gd name="T9" fmla="*/ 0 h 138"/>
              <a:gd name="T10" fmla="*/ 60483750 w 102"/>
              <a:gd name="T11" fmla="*/ 0 h 1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2" h="138">
                <a:moveTo>
                  <a:pt x="24" y="0"/>
                </a:moveTo>
                <a:lnTo>
                  <a:pt x="0" y="138"/>
                </a:lnTo>
                <a:lnTo>
                  <a:pt x="56" y="58"/>
                </a:lnTo>
                <a:lnTo>
                  <a:pt x="75" y="137"/>
                </a:lnTo>
                <a:lnTo>
                  <a:pt x="102" y="0"/>
                </a:lnTo>
                <a:lnTo>
                  <a:pt x="2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60" name="Freeform 119"/>
          <p:cNvSpPr>
            <a:spLocks/>
          </p:cNvSpPr>
          <p:nvPr/>
        </p:nvSpPr>
        <p:spPr bwMode="auto">
          <a:xfrm>
            <a:off x="3166534" y="5405967"/>
            <a:ext cx="383117" cy="150284"/>
          </a:xfrm>
          <a:custGeom>
            <a:avLst/>
            <a:gdLst>
              <a:gd name="T0" fmla="*/ 259577339 w 181"/>
              <a:gd name="T1" fmla="*/ 178932681 h 71"/>
              <a:gd name="T2" fmla="*/ 224295090 w 181"/>
              <a:gd name="T3" fmla="*/ 73085649 h 71"/>
              <a:gd name="T4" fmla="*/ 0 w 181"/>
              <a:gd name="T5" fmla="*/ 35282344 h 71"/>
              <a:gd name="T6" fmla="*/ 398185380 w 181"/>
              <a:gd name="T7" fmla="*/ 0 h 71"/>
              <a:gd name="T8" fmla="*/ 456149869 w 181"/>
              <a:gd name="T9" fmla="*/ 173892346 h 71"/>
              <a:gd name="T10" fmla="*/ 259577339 w 181"/>
              <a:gd name="T11" fmla="*/ 178932681 h 7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81" h="71">
                <a:moveTo>
                  <a:pt x="103" y="71"/>
                </a:moveTo>
                <a:lnTo>
                  <a:pt x="89" y="29"/>
                </a:lnTo>
                <a:lnTo>
                  <a:pt x="0" y="14"/>
                </a:lnTo>
                <a:lnTo>
                  <a:pt x="158" y="0"/>
                </a:lnTo>
                <a:lnTo>
                  <a:pt x="181" y="69"/>
                </a:lnTo>
                <a:lnTo>
                  <a:pt x="103" y="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61" name="Oval 120"/>
          <p:cNvSpPr>
            <a:spLocks noChangeArrowheads="1"/>
          </p:cNvSpPr>
          <p:nvPr/>
        </p:nvSpPr>
        <p:spPr bwMode="auto">
          <a:xfrm>
            <a:off x="3348567" y="5289552"/>
            <a:ext cx="110067" cy="1058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62" name="Freeform 121"/>
          <p:cNvSpPr>
            <a:spLocks noEditPoints="1"/>
          </p:cNvSpPr>
          <p:nvPr/>
        </p:nvSpPr>
        <p:spPr bwMode="auto">
          <a:xfrm>
            <a:off x="3071284" y="5609167"/>
            <a:ext cx="234949" cy="266700"/>
          </a:xfrm>
          <a:custGeom>
            <a:avLst/>
            <a:gdLst>
              <a:gd name="T0" fmla="*/ 2520943 w 111"/>
              <a:gd name="T1" fmla="*/ 15120938 h 126"/>
              <a:gd name="T2" fmla="*/ 2520943 w 111"/>
              <a:gd name="T3" fmla="*/ 15120938 h 126"/>
              <a:gd name="T4" fmla="*/ 57964223 w 111"/>
              <a:gd name="T5" fmla="*/ 317539688 h 126"/>
              <a:gd name="T6" fmla="*/ 274697046 w 111"/>
              <a:gd name="T7" fmla="*/ 15120938 h 126"/>
              <a:gd name="T8" fmla="*/ 0 w 111"/>
              <a:gd name="T9" fmla="*/ 0 h 126"/>
              <a:gd name="T10" fmla="*/ 118447801 w 111"/>
              <a:gd name="T11" fmla="*/ 274697825 h 126"/>
              <a:gd name="T12" fmla="*/ 176410437 w 111"/>
              <a:gd name="T13" fmla="*/ 274697825 h 126"/>
              <a:gd name="T14" fmla="*/ 138608994 w 111"/>
              <a:gd name="T15" fmla="*/ 304939700 h 126"/>
              <a:gd name="T16" fmla="*/ 45362684 w 111"/>
              <a:gd name="T17" fmla="*/ 168851263 h 126"/>
              <a:gd name="T18" fmla="*/ 100805964 w 111"/>
              <a:gd name="T19" fmla="*/ 173891575 h 126"/>
              <a:gd name="T20" fmla="*/ 45362684 w 111"/>
              <a:gd name="T21" fmla="*/ 181451250 h 126"/>
              <a:gd name="T22" fmla="*/ 57964223 w 111"/>
              <a:gd name="T23" fmla="*/ 229335013 h 126"/>
              <a:gd name="T24" fmla="*/ 60483578 w 111"/>
              <a:gd name="T25" fmla="*/ 224294700 h 126"/>
              <a:gd name="T26" fmla="*/ 176410437 w 111"/>
              <a:gd name="T27" fmla="*/ 173891575 h 126"/>
              <a:gd name="T28" fmla="*/ 118447801 w 111"/>
              <a:gd name="T29" fmla="*/ 173891575 h 126"/>
              <a:gd name="T30" fmla="*/ 108367205 w 111"/>
              <a:gd name="T31" fmla="*/ 161290000 h 126"/>
              <a:gd name="T32" fmla="*/ 108367205 w 111"/>
              <a:gd name="T33" fmla="*/ 88206263 h 126"/>
              <a:gd name="T34" fmla="*/ 108367205 w 111"/>
              <a:gd name="T35" fmla="*/ 161290000 h 126"/>
              <a:gd name="T36" fmla="*/ 211692524 w 111"/>
              <a:gd name="T37" fmla="*/ 224294700 h 126"/>
              <a:gd name="T38" fmla="*/ 153729889 w 111"/>
              <a:gd name="T39" fmla="*/ 224294700 h 126"/>
              <a:gd name="T40" fmla="*/ 153729889 w 111"/>
              <a:gd name="T41" fmla="*/ 123488450 h 126"/>
              <a:gd name="T42" fmla="*/ 211692524 w 111"/>
              <a:gd name="T43" fmla="*/ 123488450 h 126"/>
              <a:gd name="T44" fmla="*/ 153729889 w 111"/>
              <a:gd name="T45" fmla="*/ 123488450 h 126"/>
              <a:gd name="T46" fmla="*/ 118447801 w 111"/>
              <a:gd name="T47" fmla="*/ 75604688 h 126"/>
              <a:gd name="T48" fmla="*/ 176410437 w 111"/>
              <a:gd name="T49" fmla="*/ 75604688 h 126"/>
              <a:gd name="T50" fmla="*/ 136088051 w 111"/>
              <a:gd name="T51" fmla="*/ 25201563 h 126"/>
              <a:gd name="T52" fmla="*/ 78125416 w 111"/>
              <a:gd name="T53" fmla="*/ 25201563 h 126"/>
              <a:gd name="T54" fmla="*/ 128528398 w 111"/>
              <a:gd name="T55" fmla="*/ 15120938 h 126"/>
              <a:gd name="T56" fmla="*/ 100805964 w 111"/>
              <a:gd name="T57" fmla="*/ 75604688 h 126"/>
              <a:gd name="T58" fmla="*/ 42843328 w 111"/>
              <a:gd name="T59" fmla="*/ 75604688 h 126"/>
              <a:gd name="T60" fmla="*/ 100805964 w 111"/>
              <a:gd name="T61" fmla="*/ 75604688 h 126"/>
              <a:gd name="T62" fmla="*/ 42843328 w 111"/>
              <a:gd name="T63" fmla="*/ 151209375 h 126"/>
              <a:gd name="T64" fmla="*/ 32762732 w 111"/>
              <a:gd name="T65" fmla="*/ 88206263 h 126"/>
              <a:gd name="T66" fmla="*/ 108367205 w 111"/>
              <a:gd name="T67" fmla="*/ 183972200 h 126"/>
              <a:gd name="T68" fmla="*/ 108367205 w 111"/>
              <a:gd name="T69" fmla="*/ 262096250 h 126"/>
              <a:gd name="T70" fmla="*/ 108367205 w 111"/>
              <a:gd name="T71" fmla="*/ 183972200 h 126"/>
              <a:gd name="T72" fmla="*/ 93246310 w 111"/>
              <a:gd name="T73" fmla="*/ 304939700 h 126"/>
              <a:gd name="T74" fmla="*/ 126007455 w 111"/>
              <a:gd name="T75" fmla="*/ 304939700 h 126"/>
              <a:gd name="T76" fmla="*/ 196571630 w 111"/>
              <a:gd name="T77" fmla="*/ 304939700 h 126"/>
              <a:gd name="T78" fmla="*/ 181450735 w 111"/>
              <a:gd name="T79" fmla="*/ 284778450 h 126"/>
              <a:gd name="T80" fmla="*/ 219253765 w 111"/>
              <a:gd name="T81" fmla="*/ 234375325 h 126"/>
              <a:gd name="T82" fmla="*/ 211692524 w 111"/>
              <a:gd name="T83" fmla="*/ 302418750 h 126"/>
              <a:gd name="T84" fmla="*/ 219253765 w 111"/>
              <a:gd name="T85" fmla="*/ 211693125 h 126"/>
              <a:gd name="T86" fmla="*/ 219253765 w 111"/>
              <a:gd name="T87" fmla="*/ 136088438 h 126"/>
              <a:gd name="T88" fmla="*/ 229334362 w 111"/>
              <a:gd name="T89" fmla="*/ 199093138 h 126"/>
              <a:gd name="T90" fmla="*/ 229334362 w 111"/>
              <a:gd name="T91" fmla="*/ 123488450 h 126"/>
              <a:gd name="T92" fmla="*/ 239414958 w 111"/>
              <a:gd name="T93" fmla="*/ 141128750 h 126"/>
              <a:gd name="T94" fmla="*/ 219253765 w 111"/>
              <a:gd name="T95" fmla="*/ 110886875 h 126"/>
              <a:gd name="T96" fmla="*/ 219253765 w 111"/>
              <a:gd name="T97" fmla="*/ 37803138 h 126"/>
              <a:gd name="T98" fmla="*/ 219253765 w 111"/>
              <a:gd name="T99" fmla="*/ 110886875 h 126"/>
              <a:gd name="T100" fmla="*/ 181450735 w 111"/>
              <a:gd name="T101" fmla="*/ 65524063 h 126"/>
              <a:gd name="T102" fmla="*/ 161289542 w 111"/>
              <a:gd name="T103" fmla="*/ 15120938 h 126"/>
              <a:gd name="T104" fmla="*/ 211692524 w 111"/>
              <a:gd name="T105" fmla="*/ 25201563 h 126"/>
              <a:gd name="T106" fmla="*/ 60483578 w 111"/>
              <a:gd name="T107" fmla="*/ 25201563 h 126"/>
              <a:gd name="T108" fmla="*/ 25201491 w 111"/>
              <a:gd name="T109" fmla="*/ 50403125 h 126"/>
              <a:gd name="T110" fmla="*/ 52923925 w 111"/>
              <a:gd name="T111" fmla="*/ 15120938 h 126"/>
              <a:gd name="T112" fmla="*/ 70564175 w 111"/>
              <a:gd name="T113" fmla="*/ 234375325 h 126"/>
              <a:gd name="T114" fmla="*/ 75604473 w 111"/>
              <a:gd name="T115" fmla="*/ 304939700 h 126"/>
              <a:gd name="T116" fmla="*/ 60483578 w 111"/>
              <a:gd name="T117" fmla="*/ 249496263 h 126"/>
              <a:gd name="T118" fmla="*/ 229334362 w 111"/>
              <a:gd name="T119" fmla="*/ 25201563 h 126"/>
              <a:gd name="T120" fmla="*/ 262095506 w 111"/>
              <a:gd name="T121" fmla="*/ 15120938 h 1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11" h="126">
                <a:moveTo>
                  <a:pt x="0" y="0"/>
                </a:moveTo>
                <a:lnTo>
                  <a:pt x="1" y="6"/>
                </a:lnTo>
                <a:lnTo>
                  <a:pt x="23" y="126"/>
                </a:lnTo>
                <a:lnTo>
                  <a:pt x="88" y="126"/>
                </a:lnTo>
                <a:lnTo>
                  <a:pt x="109" y="6"/>
                </a:lnTo>
                <a:lnTo>
                  <a:pt x="111" y="0"/>
                </a:lnTo>
                <a:lnTo>
                  <a:pt x="0" y="0"/>
                </a:lnTo>
                <a:close/>
                <a:moveTo>
                  <a:pt x="55" y="121"/>
                </a:moveTo>
                <a:lnTo>
                  <a:pt x="47" y="109"/>
                </a:lnTo>
                <a:lnTo>
                  <a:pt x="58" y="93"/>
                </a:lnTo>
                <a:lnTo>
                  <a:pt x="70" y="109"/>
                </a:lnTo>
                <a:lnTo>
                  <a:pt x="60" y="121"/>
                </a:lnTo>
                <a:lnTo>
                  <a:pt x="55" y="121"/>
                </a:lnTo>
                <a:close/>
                <a:moveTo>
                  <a:pt x="18" y="72"/>
                </a:moveTo>
                <a:lnTo>
                  <a:pt x="18" y="67"/>
                </a:lnTo>
                <a:lnTo>
                  <a:pt x="28" y="54"/>
                </a:lnTo>
                <a:lnTo>
                  <a:pt x="40" y="69"/>
                </a:lnTo>
                <a:lnTo>
                  <a:pt x="28" y="84"/>
                </a:lnTo>
                <a:lnTo>
                  <a:pt x="18" y="72"/>
                </a:lnTo>
                <a:close/>
                <a:moveTo>
                  <a:pt x="24" y="89"/>
                </a:moveTo>
                <a:lnTo>
                  <a:pt x="23" y="91"/>
                </a:lnTo>
                <a:lnTo>
                  <a:pt x="21" y="83"/>
                </a:lnTo>
                <a:lnTo>
                  <a:pt x="24" y="89"/>
                </a:lnTo>
                <a:close/>
                <a:moveTo>
                  <a:pt x="58" y="54"/>
                </a:moveTo>
                <a:lnTo>
                  <a:pt x="70" y="69"/>
                </a:lnTo>
                <a:lnTo>
                  <a:pt x="58" y="84"/>
                </a:lnTo>
                <a:lnTo>
                  <a:pt x="47" y="69"/>
                </a:lnTo>
                <a:lnTo>
                  <a:pt x="58" y="54"/>
                </a:lnTo>
                <a:close/>
                <a:moveTo>
                  <a:pt x="43" y="64"/>
                </a:moveTo>
                <a:lnTo>
                  <a:pt x="31" y="49"/>
                </a:lnTo>
                <a:lnTo>
                  <a:pt x="43" y="35"/>
                </a:lnTo>
                <a:lnTo>
                  <a:pt x="54" y="49"/>
                </a:lnTo>
                <a:lnTo>
                  <a:pt x="43" y="64"/>
                </a:lnTo>
                <a:close/>
                <a:moveTo>
                  <a:pt x="72" y="73"/>
                </a:moveTo>
                <a:lnTo>
                  <a:pt x="84" y="89"/>
                </a:lnTo>
                <a:lnTo>
                  <a:pt x="72" y="104"/>
                </a:lnTo>
                <a:lnTo>
                  <a:pt x="61" y="89"/>
                </a:lnTo>
                <a:lnTo>
                  <a:pt x="72" y="73"/>
                </a:lnTo>
                <a:close/>
                <a:moveTo>
                  <a:pt x="61" y="49"/>
                </a:moveTo>
                <a:lnTo>
                  <a:pt x="72" y="35"/>
                </a:lnTo>
                <a:lnTo>
                  <a:pt x="84" y="49"/>
                </a:lnTo>
                <a:lnTo>
                  <a:pt x="72" y="64"/>
                </a:lnTo>
                <a:lnTo>
                  <a:pt x="61" y="49"/>
                </a:lnTo>
                <a:close/>
                <a:moveTo>
                  <a:pt x="58" y="44"/>
                </a:moveTo>
                <a:lnTo>
                  <a:pt x="47" y="30"/>
                </a:lnTo>
                <a:lnTo>
                  <a:pt x="58" y="15"/>
                </a:lnTo>
                <a:lnTo>
                  <a:pt x="70" y="30"/>
                </a:lnTo>
                <a:lnTo>
                  <a:pt x="58" y="44"/>
                </a:lnTo>
                <a:close/>
                <a:moveTo>
                  <a:pt x="54" y="10"/>
                </a:moveTo>
                <a:lnTo>
                  <a:pt x="43" y="26"/>
                </a:lnTo>
                <a:lnTo>
                  <a:pt x="31" y="10"/>
                </a:lnTo>
                <a:lnTo>
                  <a:pt x="34" y="6"/>
                </a:lnTo>
                <a:lnTo>
                  <a:pt x="51" y="6"/>
                </a:lnTo>
                <a:lnTo>
                  <a:pt x="54" y="10"/>
                </a:lnTo>
                <a:close/>
                <a:moveTo>
                  <a:pt x="40" y="30"/>
                </a:moveTo>
                <a:lnTo>
                  <a:pt x="28" y="44"/>
                </a:lnTo>
                <a:lnTo>
                  <a:pt x="17" y="30"/>
                </a:lnTo>
                <a:lnTo>
                  <a:pt x="28" y="15"/>
                </a:lnTo>
                <a:lnTo>
                  <a:pt x="40" y="30"/>
                </a:lnTo>
                <a:close/>
                <a:moveTo>
                  <a:pt x="24" y="49"/>
                </a:moveTo>
                <a:lnTo>
                  <a:pt x="17" y="60"/>
                </a:lnTo>
                <a:lnTo>
                  <a:pt x="13" y="36"/>
                </a:lnTo>
                <a:lnTo>
                  <a:pt x="13" y="35"/>
                </a:lnTo>
                <a:lnTo>
                  <a:pt x="24" y="49"/>
                </a:lnTo>
                <a:close/>
                <a:moveTo>
                  <a:pt x="43" y="73"/>
                </a:moveTo>
                <a:lnTo>
                  <a:pt x="54" y="89"/>
                </a:lnTo>
                <a:lnTo>
                  <a:pt x="43" y="104"/>
                </a:lnTo>
                <a:lnTo>
                  <a:pt x="31" y="89"/>
                </a:lnTo>
                <a:lnTo>
                  <a:pt x="43" y="73"/>
                </a:lnTo>
                <a:close/>
                <a:moveTo>
                  <a:pt x="50" y="121"/>
                </a:moveTo>
                <a:lnTo>
                  <a:pt x="37" y="121"/>
                </a:lnTo>
                <a:lnTo>
                  <a:pt x="43" y="113"/>
                </a:lnTo>
                <a:lnTo>
                  <a:pt x="50" y="121"/>
                </a:lnTo>
                <a:close/>
                <a:moveTo>
                  <a:pt x="72" y="113"/>
                </a:moveTo>
                <a:lnTo>
                  <a:pt x="78" y="121"/>
                </a:lnTo>
                <a:lnTo>
                  <a:pt x="65" y="121"/>
                </a:lnTo>
                <a:lnTo>
                  <a:pt x="72" y="113"/>
                </a:lnTo>
                <a:close/>
                <a:moveTo>
                  <a:pt x="75" y="109"/>
                </a:moveTo>
                <a:lnTo>
                  <a:pt x="87" y="93"/>
                </a:lnTo>
                <a:lnTo>
                  <a:pt x="88" y="94"/>
                </a:lnTo>
                <a:lnTo>
                  <a:pt x="84" y="120"/>
                </a:lnTo>
                <a:lnTo>
                  <a:pt x="75" y="109"/>
                </a:lnTo>
                <a:close/>
                <a:moveTo>
                  <a:pt x="87" y="84"/>
                </a:moveTo>
                <a:lnTo>
                  <a:pt x="75" y="69"/>
                </a:lnTo>
                <a:lnTo>
                  <a:pt x="87" y="54"/>
                </a:lnTo>
                <a:lnTo>
                  <a:pt x="94" y="63"/>
                </a:lnTo>
                <a:lnTo>
                  <a:pt x="91" y="79"/>
                </a:lnTo>
                <a:lnTo>
                  <a:pt x="87" y="84"/>
                </a:lnTo>
                <a:close/>
                <a:moveTo>
                  <a:pt x="91" y="49"/>
                </a:moveTo>
                <a:lnTo>
                  <a:pt x="98" y="39"/>
                </a:lnTo>
                <a:lnTo>
                  <a:pt x="95" y="56"/>
                </a:lnTo>
                <a:lnTo>
                  <a:pt x="91" y="49"/>
                </a:lnTo>
                <a:close/>
                <a:moveTo>
                  <a:pt x="87" y="44"/>
                </a:moveTo>
                <a:lnTo>
                  <a:pt x="75" y="30"/>
                </a:lnTo>
                <a:lnTo>
                  <a:pt x="87" y="15"/>
                </a:lnTo>
                <a:lnTo>
                  <a:pt x="98" y="30"/>
                </a:lnTo>
                <a:lnTo>
                  <a:pt x="87" y="44"/>
                </a:lnTo>
                <a:close/>
                <a:moveTo>
                  <a:pt x="84" y="10"/>
                </a:moveTo>
                <a:lnTo>
                  <a:pt x="72" y="26"/>
                </a:lnTo>
                <a:lnTo>
                  <a:pt x="61" y="10"/>
                </a:lnTo>
                <a:lnTo>
                  <a:pt x="64" y="6"/>
                </a:lnTo>
                <a:lnTo>
                  <a:pt x="81" y="6"/>
                </a:lnTo>
                <a:lnTo>
                  <a:pt x="84" y="10"/>
                </a:lnTo>
                <a:close/>
                <a:moveTo>
                  <a:pt x="21" y="6"/>
                </a:moveTo>
                <a:lnTo>
                  <a:pt x="24" y="10"/>
                </a:lnTo>
                <a:lnTo>
                  <a:pt x="13" y="26"/>
                </a:lnTo>
                <a:lnTo>
                  <a:pt x="10" y="20"/>
                </a:lnTo>
                <a:lnTo>
                  <a:pt x="7" y="6"/>
                </a:lnTo>
                <a:lnTo>
                  <a:pt x="21" y="6"/>
                </a:lnTo>
                <a:close/>
                <a:moveTo>
                  <a:pt x="24" y="99"/>
                </a:moveTo>
                <a:lnTo>
                  <a:pt x="28" y="93"/>
                </a:lnTo>
                <a:lnTo>
                  <a:pt x="40" y="109"/>
                </a:lnTo>
                <a:lnTo>
                  <a:pt x="30" y="121"/>
                </a:lnTo>
                <a:lnTo>
                  <a:pt x="27" y="121"/>
                </a:lnTo>
                <a:lnTo>
                  <a:pt x="24" y="99"/>
                </a:lnTo>
                <a:close/>
                <a:moveTo>
                  <a:pt x="101" y="23"/>
                </a:moveTo>
                <a:lnTo>
                  <a:pt x="91" y="10"/>
                </a:lnTo>
                <a:lnTo>
                  <a:pt x="94" y="6"/>
                </a:lnTo>
                <a:lnTo>
                  <a:pt x="104" y="6"/>
                </a:lnTo>
                <a:lnTo>
                  <a:pt x="101" y="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63" name="Freeform 122"/>
          <p:cNvSpPr>
            <a:spLocks/>
          </p:cNvSpPr>
          <p:nvPr/>
        </p:nvSpPr>
        <p:spPr bwMode="auto">
          <a:xfrm>
            <a:off x="3130551" y="5505451"/>
            <a:ext cx="93133" cy="71967"/>
          </a:xfrm>
          <a:custGeom>
            <a:avLst/>
            <a:gdLst>
              <a:gd name="T0" fmla="*/ 30241875 w 44"/>
              <a:gd name="T1" fmla="*/ 42843450 h 34"/>
              <a:gd name="T2" fmla="*/ 0 w 44"/>
              <a:gd name="T3" fmla="*/ 10080625 h 34"/>
              <a:gd name="T4" fmla="*/ 42843450 w 44"/>
              <a:gd name="T5" fmla="*/ 17641888 h 34"/>
              <a:gd name="T6" fmla="*/ 110886875 w 44"/>
              <a:gd name="T7" fmla="*/ 0 h 34"/>
              <a:gd name="T8" fmla="*/ 65524063 w 44"/>
              <a:gd name="T9" fmla="*/ 42843450 h 34"/>
              <a:gd name="T10" fmla="*/ 80645000 w 44"/>
              <a:gd name="T11" fmla="*/ 85685313 h 34"/>
              <a:gd name="T12" fmla="*/ 50403125 w 44"/>
              <a:gd name="T13" fmla="*/ 68045013 h 34"/>
              <a:gd name="T14" fmla="*/ 30241875 w 44"/>
              <a:gd name="T15" fmla="*/ 85685313 h 34"/>
              <a:gd name="T16" fmla="*/ 30241875 w 44"/>
              <a:gd name="T17" fmla="*/ 73085325 h 34"/>
              <a:gd name="T18" fmla="*/ 7561263 w 44"/>
              <a:gd name="T19" fmla="*/ 70564375 h 34"/>
              <a:gd name="T20" fmla="*/ 30241875 w 44"/>
              <a:gd name="T21" fmla="*/ 42843450 h 3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44" h="34">
                <a:moveTo>
                  <a:pt x="12" y="17"/>
                </a:moveTo>
                <a:lnTo>
                  <a:pt x="0" y="4"/>
                </a:lnTo>
                <a:lnTo>
                  <a:pt x="17" y="7"/>
                </a:lnTo>
                <a:lnTo>
                  <a:pt x="44" y="0"/>
                </a:lnTo>
                <a:lnTo>
                  <a:pt x="26" y="17"/>
                </a:lnTo>
                <a:lnTo>
                  <a:pt x="32" y="34"/>
                </a:lnTo>
                <a:lnTo>
                  <a:pt x="20" y="27"/>
                </a:lnTo>
                <a:lnTo>
                  <a:pt x="12" y="34"/>
                </a:lnTo>
                <a:lnTo>
                  <a:pt x="12" y="29"/>
                </a:lnTo>
                <a:lnTo>
                  <a:pt x="3" y="28"/>
                </a:lnTo>
                <a:lnTo>
                  <a:pt x="12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64" name="Freeform 123"/>
          <p:cNvSpPr>
            <a:spLocks/>
          </p:cNvSpPr>
          <p:nvPr/>
        </p:nvSpPr>
        <p:spPr bwMode="auto">
          <a:xfrm>
            <a:off x="3920067" y="5363634"/>
            <a:ext cx="429684" cy="345017"/>
          </a:xfrm>
          <a:custGeom>
            <a:avLst/>
            <a:gdLst>
              <a:gd name="T0" fmla="*/ 589123807 w 143"/>
              <a:gd name="T1" fmla="*/ 35441531 h 115"/>
              <a:gd name="T2" fmla="*/ 578966889 w 143"/>
              <a:gd name="T3" fmla="*/ 5062754 h 115"/>
              <a:gd name="T4" fmla="*/ 543416547 w 143"/>
              <a:gd name="T5" fmla="*/ 15188263 h 115"/>
              <a:gd name="T6" fmla="*/ 314875740 w 143"/>
              <a:gd name="T7" fmla="*/ 405040599 h 115"/>
              <a:gd name="T8" fmla="*/ 238697725 w 143"/>
              <a:gd name="T9" fmla="*/ 324032029 h 115"/>
              <a:gd name="T10" fmla="*/ 35550341 w 143"/>
              <a:gd name="T11" fmla="*/ 354410805 h 115"/>
              <a:gd name="T12" fmla="*/ 111730610 w 143"/>
              <a:gd name="T13" fmla="*/ 541741717 h 115"/>
              <a:gd name="T14" fmla="*/ 314875740 w 143"/>
              <a:gd name="T15" fmla="*/ 511362940 h 115"/>
              <a:gd name="T16" fmla="*/ 319955326 w 143"/>
              <a:gd name="T17" fmla="*/ 506300186 h 115"/>
              <a:gd name="T18" fmla="*/ 319955326 w 143"/>
              <a:gd name="T19" fmla="*/ 501237432 h 115"/>
              <a:gd name="T20" fmla="*/ 507866206 w 143"/>
              <a:gd name="T21" fmla="*/ 177205403 h 115"/>
              <a:gd name="T22" fmla="*/ 726247840 w 143"/>
              <a:gd name="T23" fmla="*/ 243023459 h 115"/>
              <a:gd name="T24" fmla="*/ 589123807 w 143"/>
              <a:gd name="T25" fmla="*/ 35441531 h 11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43" h="115">
                <a:moveTo>
                  <a:pt x="116" y="7"/>
                </a:moveTo>
                <a:cubicBezTo>
                  <a:pt x="116" y="5"/>
                  <a:pt x="116" y="2"/>
                  <a:pt x="114" y="1"/>
                </a:cubicBezTo>
                <a:cubicBezTo>
                  <a:pt x="111" y="0"/>
                  <a:pt x="108" y="1"/>
                  <a:pt x="107" y="3"/>
                </a:cubicBezTo>
                <a:cubicBezTo>
                  <a:pt x="62" y="80"/>
                  <a:pt x="62" y="80"/>
                  <a:pt x="62" y="80"/>
                </a:cubicBezTo>
                <a:cubicBezTo>
                  <a:pt x="60" y="73"/>
                  <a:pt x="54" y="68"/>
                  <a:pt x="47" y="64"/>
                </a:cubicBezTo>
                <a:cubicBezTo>
                  <a:pt x="32" y="55"/>
                  <a:pt x="14" y="58"/>
                  <a:pt x="7" y="70"/>
                </a:cubicBezTo>
                <a:cubicBezTo>
                  <a:pt x="0" y="82"/>
                  <a:pt x="7" y="99"/>
                  <a:pt x="22" y="107"/>
                </a:cubicBezTo>
                <a:cubicBezTo>
                  <a:pt x="37" y="115"/>
                  <a:pt x="55" y="112"/>
                  <a:pt x="62" y="101"/>
                </a:cubicBezTo>
                <a:cubicBezTo>
                  <a:pt x="62" y="100"/>
                  <a:pt x="62" y="100"/>
                  <a:pt x="63" y="100"/>
                </a:cubicBezTo>
                <a:cubicBezTo>
                  <a:pt x="63" y="99"/>
                  <a:pt x="63" y="99"/>
                  <a:pt x="63" y="99"/>
                </a:cubicBezTo>
                <a:cubicBezTo>
                  <a:pt x="100" y="35"/>
                  <a:pt x="100" y="35"/>
                  <a:pt x="100" y="35"/>
                </a:cubicBezTo>
                <a:cubicBezTo>
                  <a:pt x="116" y="55"/>
                  <a:pt x="143" y="48"/>
                  <a:pt x="143" y="48"/>
                </a:cubicBezTo>
                <a:cubicBezTo>
                  <a:pt x="115" y="40"/>
                  <a:pt x="116" y="12"/>
                  <a:pt x="116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65" name="Freeform 124"/>
          <p:cNvSpPr>
            <a:spLocks noEditPoints="1"/>
          </p:cNvSpPr>
          <p:nvPr/>
        </p:nvSpPr>
        <p:spPr bwMode="auto">
          <a:xfrm>
            <a:off x="4072467" y="5528734"/>
            <a:ext cx="304800" cy="294217"/>
          </a:xfrm>
          <a:custGeom>
            <a:avLst/>
            <a:gdLst>
              <a:gd name="T0" fmla="*/ 425193737 w 101"/>
              <a:gd name="T1" fmla="*/ 35490716 h 98"/>
              <a:gd name="T2" fmla="*/ 271508899 w 101"/>
              <a:gd name="T3" fmla="*/ 0 h 98"/>
              <a:gd name="T4" fmla="*/ 92211808 w 101"/>
              <a:gd name="T5" fmla="*/ 299128961 h 98"/>
              <a:gd name="T6" fmla="*/ 0 w 101"/>
              <a:gd name="T7" fmla="*/ 354898157 h 98"/>
              <a:gd name="T8" fmla="*/ 240772384 w 101"/>
              <a:gd name="T9" fmla="*/ 496858771 h 98"/>
              <a:gd name="T10" fmla="*/ 517405545 w 101"/>
              <a:gd name="T11" fmla="*/ 233220526 h 98"/>
              <a:gd name="T12" fmla="*/ 425193737 w 101"/>
              <a:gd name="T13" fmla="*/ 35490716 h 98"/>
              <a:gd name="T14" fmla="*/ 240772384 w 101"/>
              <a:gd name="T15" fmla="*/ 314338947 h 98"/>
              <a:gd name="T16" fmla="*/ 158806836 w 101"/>
              <a:gd name="T17" fmla="*/ 233220526 h 98"/>
              <a:gd name="T18" fmla="*/ 240772384 w 101"/>
              <a:gd name="T19" fmla="*/ 152099854 h 98"/>
              <a:gd name="T20" fmla="*/ 322737933 w 101"/>
              <a:gd name="T21" fmla="*/ 233220526 h 98"/>
              <a:gd name="T22" fmla="*/ 240772384 w 101"/>
              <a:gd name="T23" fmla="*/ 314338947 h 98"/>
              <a:gd name="T24" fmla="*/ 414949741 w 101"/>
              <a:gd name="T25" fmla="*/ 400528113 h 98"/>
              <a:gd name="T26" fmla="*/ 322737933 w 101"/>
              <a:gd name="T27" fmla="*/ 304199707 h 98"/>
              <a:gd name="T28" fmla="*/ 343230451 w 101"/>
              <a:gd name="T29" fmla="*/ 278848230 h 98"/>
              <a:gd name="T30" fmla="*/ 455932515 w 101"/>
              <a:gd name="T31" fmla="*/ 344758918 h 98"/>
              <a:gd name="T32" fmla="*/ 414949741 w 101"/>
              <a:gd name="T33" fmla="*/ 400528113 h 9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1" h="98">
                <a:moveTo>
                  <a:pt x="83" y="7"/>
                </a:moveTo>
                <a:cubicBezTo>
                  <a:pt x="65" y="9"/>
                  <a:pt x="53" y="0"/>
                  <a:pt x="53" y="0"/>
                </a:cubicBezTo>
                <a:cubicBezTo>
                  <a:pt x="53" y="0"/>
                  <a:pt x="24" y="51"/>
                  <a:pt x="18" y="59"/>
                </a:cubicBezTo>
                <a:cubicBezTo>
                  <a:pt x="14" y="64"/>
                  <a:pt x="5" y="69"/>
                  <a:pt x="0" y="70"/>
                </a:cubicBezTo>
                <a:cubicBezTo>
                  <a:pt x="9" y="87"/>
                  <a:pt x="27" y="98"/>
                  <a:pt x="47" y="98"/>
                </a:cubicBezTo>
                <a:cubicBezTo>
                  <a:pt x="77" y="98"/>
                  <a:pt x="101" y="75"/>
                  <a:pt x="101" y="46"/>
                </a:cubicBezTo>
                <a:cubicBezTo>
                  <a:pt x="101" y="31"/>
                  <a:pt x="94" y="17"/>
                  <a:pt x="83" y="7"/>
                </a:cubicBezTo>
                <a:close/>
                <a:moveTo>
                  <a:pt x="47" y="62"/>
                </a:moveTo>
                <a:cubicBezTo>
                  <a:pt x="38" y="62"/>
                  <a:pt x="31" y="55"/>
                  <a:pt x="31" y="46"/>
                </a:cubicBezTo>
                <a:cubicBezTo>
                  <a:pt x="31" y="37"/>
                  <a:pt x="38" y="30"/>
                  <a:pt x="47" y="30"/>
                </a:cubicBezTo>
                <a:cubicBezTo>
                  <a:pt x="56" y="30"/>
                  <a:pt x="63" y="37"/>
                  <a:pt x="63" y="46"/>
                </a:cubicBezTo>
                <a:cubicBezTo>
                  <a:pt x="63" y="55"/>
                  <a:pt x="56" y="62"/>
                  <a:pt x="47" y="62"/>
                </a:cubicBezTo>
                <a:close/>
                <a:moveTo>
                  <a:pt x="81" y="79"/>
                </a:moveTo>
                <a:cubicBezTo>
                  <a:pt x="63" y="60"/>
                  <a:pt x="63" y="60"/>
                  <a:pt x="63" y="60"/>
                </a:cubicBezTo>
                <a:cubicBezTo>
                  <a:pt x="63" y="60"/>
                  <a:pt x="65" y="58"/>
                  <a:pt x="67" y="55"/>
                </a:cubicBezTo>
                <a:cubicBezTo>
                  <a:pt x="89" y="68"/>
                  <a:pt x="89" y="68"/>
                  <a:pt x="89" y="68"/>
                </a:cubicBezTo>
                <a:cubicBezTo>
                  <a:pt x="89" y="68"/>
                  <a:pt x="86" y="74"/>
                  <a:pt x="81" y="7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66" name="Freeform 125"/>
          <p:cNvSpPr>
            <a:spLocks noEditPoints="1"/>
          </p:cNvSpPr>
          <p:nvPr/>
        </p:nvSpPr>
        <p:spPr bwMode="auto">
          <a:xfrm>
            <a:off x="4732867" y="5488518"/>
            <a:ext cx="529167" cy="283633"/>
          </a:xfrm>
          <a:custGeom>
            <a:avLst/>
            <a:gdLst>
              <a:gd name="T0" fmla="*/ 503404368 w 176"/>
              <a:gd name="T1" fmla="*/ 189488188 h 94"/>
              <a:gd name="T2" fmla="*/ 437302131 w 176"/>
              <a:gd name="T3" fmla="*/ 256066587 h 94"/>
              <a:gd name="T4" fmla="*/ 472894602 w 176"/>
              <a:gd name="T5" fmla="*/ 312400241 h 94"/>
              <a:gd name="T6" fmla="*/ 533914134 w 176"/>
              <a:gd name="T7" fmla="*/ 312400241 h 94"/>
              <a:gd name="T8" fmla="*/ 564423899 w 176"/>
              <a:gd name="T9" fmla="*/ 256066587 h 94"/>
              <a:gd name="T10" fmla="*/ 533914134 w 176"/>
              <a:gd name="T11" fmla="*/ 199730671 h 94"/>
              <a:gd name="T12" fmla="*/ 213566104 w 176"/>
              <a:gd name="T13" fmla="*/ 0 h 94"/>
              <a:gd name="T14" fmla="*/ 0 w 176"/>
              <a:gd name="T15" fmla="*/ 266309070 h 94"/>
              <a:gd name="T16" fmla="*/ 681375746 w 176"/>
              <a:gd name="T17" fmla="*/ 481403464 h 94"/>
              <a:gd name="T18" fmla="*/ 894941850 w 176"/>
              <a:gd name="T19" fmla="*/ 215094394 h 94"/>
              <a:gd name="T20" fmla="*/ 376282599 w 176"/>
              <a:gd name="T21" fmla="*/ 332885206 h 94"/>
              <a:gd name="T22" fmla="*/ 355942756 w 176"/>
              <a:gd name="T23" fmla="*/ 245824105 h 94"/>
              <a:gd name="T24" fmla="*/ 340687873 w 176"/>
              <a:gd name="T25" fmla="*/ 199730671 h 94"/>
              <a:gd name="T26" fmla="*/ 289838263 w 176"/>
              <a:gd name="T27" fmla="*/ 199730671 h 94"/>
              <a:gd name="T28" fmla="*/ 269498420 w 176"/>
              <a:gd name="T29" fmla="*/ 271430311 h 94"/>
              <a:gd name="T30" fmla="*/ 249160831 w 176"/>
              <a:gd name="T31" fmla="*/ 332885206 h 94"/>
              <a:gd name="T32" fmla="*/ 244075870 w 176"/>
              <a:gd name="T33" fmla="*/ 215094394 h 94"/>
              <a:gd name="T34" fmla="*/ 208481143 w 176"/>
              <a:gd name="T35" fmla="*/ 189488188 h 94"/>
              <a:gd name="T36" fmla="*/ 162716495 w 176"/>
              <a:gd name="T37" fmla="*/ 220215636 h 94"/>
              <a:gd name="T38" fmla="*/ 157631534 w 176"/>
              <a:gd name="T39" fmla="*/ 332885206 h 94"/>
              <a:gd name="T40" fmla="*/ 137291690 w 176"/>
              <a:gd name="T41" fmla="*/ 174124465 h 94"/>
              <a:gd name="T42" fmla="*/ 157631534 w 176"/>
              <a:gd name="T43" fmla="*/ 204851912 h 94"/>
              <a:gd name="T44" fmla="*/ 213566104 w 176"/>
              <a:gd name="T45" fmla="*/ 174124465 h 94"/>
              <a:gd name="T46" fmla="*/ 254245792 w 176"/>
              <a:gd name="T47" fmla="*/ 189488188 h 94"/>
              <a:gd name="T48" fmla="*/ 289838263 w 176"/>
              <a:gd name="T49" fmla="*/ 179245706 h 94"/>
              <a:gd name="T50" fmla="*/ 350857795 w 176"/>
              <a:gd name="T51" fmla="*/ 179245706 h 94"/>
              <a:gd name="T52" fmla="*/ 376282599 w 176"/>
              <a:gd name="T53" fmla="*/ 245824105 h 94"/>
              <a:gd name="T54" fmla="*/ 564423899 w 176"/>
              <a:gd name="T55" fmla="*/ 312400241 h 94"/>
              <a:gd name="T56" fmla="*/ 467809641 w 176"/>
              <a:gd name="T57" fmla="*/ 327763964 h 94"/>
              <a:gd name="T58" fmla="*/ 442387092 w 176"/>
              <a:gd name="T59" fmla="*/ 389218859 h 94"/>
              <a:gd name="T60" fmla="*/ 422047248 w 176"/>
              <a:gd name="T61" fmla="*/ 174124465 h 94"/>
              <a:gd name="T62" fmla="*/ 442387092 w 176"/>
              <a:gd name="T63" fmla="*/ 204851912 h 94"/>
              <a:gd name="T64" fmla="*/ 503404368 w 176"/>
              <a:gd name="T65" fmla="*/ 174124465 h 94"/>
              <a:gd name="T66" fmla="*/ 584763743 w 176"/>
              <a:gd name="T67" fmla="*/ 256066587 h 94"/>
              <a:gd name="T68" fmla="*/ 747480238 w 176"/>
              <a:gd name="T69" fmla="*/ 302157758 h 94"/>
              <a:gd name="T70" fmla="*/ 686460707 w 176"/>
              <a:gd name="T71" fmla="*/ 338006447 h 94"/>
              <a:gd name="T72" fmla="*/ 615273509 w 176"/>
              <a:gd name="T73" fmla="*/ 276551552 h 94"/>
              <a:gd name="T74" fmla="*/ 650865980 w 176"/>
              <a:gd name="T75" fmla="*/ 307278999 h 94"/>
              <a:gd name="T76" fmla="*/ 722055433 w 176"/>
              <a:gd name="T77" fmla="*/ 302157758 h 94"/>
              <a:gd name="T78" fmla="*/ 727140394 w 176"/>
              <a:gd name="T79" fmla="*/ 245824105 h 94"/>
              <a:gd name="T80" fmla="*/ 671205824 w 176"/>
              <a:gd name="T81" fmla="*/ 225336877 h 94"/>
              <a:gd name="T82" fmla="*/ 701715589 w 176"/>
              <a:gd name="T83" fmla="*/ 199730671 h 94"/>
              <a:gd name="T84" fmla="*/ 722055433 w 176"/>
              <a:gd name="T85" fmla="*/ 169003223 h 94"/>
              <a:gd name="T86" fmla="*/ 681375746 w 176"/>
              <a:gd name="T87" fmla="*/ 133154535 h 94"/>
              <a:gd name="T88" fmla="*/ 640696058 w 176"/>
              <a:gd name="T89" fmla="*/ 169003223 h 94"/>
              <a:gd name="T90" fmla="*/ 645781019 w 176"/>
              <a:gd name="T91" fmla="*/ 128033294 h 94"/>
              <a:gd name="T92" fmla="*/ 716970472 w 176"/>
              <a:gd name="T93" fmla="*/ 122912052 h 94"/>
              <a:gd name="T94" fmla="*/ 747480238 w 176"/>
              <a:gd name="T95" fmla="*/ 169003223 h 94"/>
              <a:gd name="T96" fmla="*/ 742395277 w 176"/>
              <a:gd name="T97" fmla="*/ 230458118 h 94"/>
              <a:gd name="T98" fmla="*/ 747480238 w 176"/>
              <a:gd name="T99" fmla="*/ 302157758 h 9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76" h="94">
                <a:moveTo>
                  <a:pt x="105" y="39"/>
                </a:moveTo>
                <a:cubicBezTo>
                  <a:pt x="103" y="38"/>
                  <a:pt x="101" y="37"/>
                  <a:pt x="99" y="37"/>
                </a:cubicBezTo>
                <a:cubicBezTo>
                  <a:pt x="95" y="37"/>
                  <a:pt x="92" y="39"/>
                  <a:pt x="90" y="41"/>
                </a:cubicBezTo>
                <a:cubicBezTo>
                  <a:pt x="88" y="43"/>
                  <a:pt x="86" y="46"/>
                  <a:pt x="86" y="50"/>
                </a:cubicBezTo>
                <a:cubicBezTo>
                  <a:pt x="86" y="52"/>
                  <a:pt x="87" y="54"/>
                  <a:pt x="88" y="56"/>
                </a:cubicBezTo>
                <a:cubicBezTo>
                  <a:pt x="89" y="58"/>
                  <a:pt x="91" y="59"/>
                  <a:pt x="93" y="61"/>
                </a:cubicBezTo>
                <a:cubicBezTo>
                  <a:pt x="95" y="62"/>
                  <a:pt x="97" y="62"/>
                  <a:pt x="99" y="62"/>
                </a:cubicBezTo>
                <a:cubicBezTo>
                  <a:pt x="101" y="62"/>
                  <a:pt x="103" y="62"/>
                  <a:pt x="105" y="61"/>
                </a:cubicBezTo>
                <a:cubicBezTo>
                  <a:pt x="107" y="59"/>
                  <a:pt x="109" y="58"/>
                  <a:pt x="110" y="56"/>
                </a:cubicBezTo>
                <a:cubicBezTo>
                  <a:pt x="111" y="54"/>
                  <a:pt x="111" y="52"/>
                  <a:pt x="111" y="50"/>
                </a:cubicBezTo>
                <a:cubicBezTo>
                  <a:pt x="111" y="48"/>
                  <a:pt x="111" y="45"/>
                  <a:pt x="110" y="44"/>
                </a:cubicBezTo>
                <a:cubicBezTo>
                  <a:pt x="109" y="42"/>
                  <a:pt x="107" y="40"/>
                  <a:pt x="105" y="39"/>
                </a:cubicBezTo>
                <a:close/>
                <a:moveTo>
                  <a:pt x="134" y="0"/>
                </a:moveTo>
                <a:cubicBezTo>
                  <a:pt x="42" y="0"/>
                  <a:pt x="42" y="0"/>
                  <a:pt x="42" y="0"/>
                </a:cubicBezTo>
                <a:cubicBezTo>
                  <a:pt x="19" y="0"/>
                  <a:pt x="0" y="19"/>
                  <a:pt x="0" y="42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75"/>
                  <a:pt x="19" y="94"/>
                  <a:pt x="42" y="94"/>
                </a:cubicBezTo>
                <a:cubicBezTo>
                  <a:pt x="134" y="94"/>
                  <a:pt x="134" y="94"/>
                  <a:pt x="134" y="94"/>
                </a:cubicBezTo>
                <a:cubicBezTo>
                  <a:pt x="157" y="94"/>
                  <a:pt x="176" y="75"/>
                  <a:pt x="176" y="52"/>
                </a:cubicBezTo>
                <a:cubicBezTo>
                  <a:pt x="176" y="42"/>
                  <a:pt x="176" y="42"/>
                  <a:pt x="176" y="42"/>
                </a:cubicBezTo>
                <a:cubicBezTo>
                  <a:pt x="176" y="19"/>
                  <a:pt x="157" y="0"/>
                  <a:pt x="134" y="0"/>
                </a:cubicBezTo>
                <a:close/>
                <a:moveTo>
                  <a:pt x="74" y="65"/>
                </a:moveTo>
                <a:cubicBezTo>
                  <a:pt x="70" y="65"/>
                  <a:pt x="70" y="65"/>
                  <a:pt x="70" y="65"/>
                </a:cubicBezTo>
                <a:cubicBezTo>
                  <a:pt x="70" y="48"/>
                  <a:pt x="70" y="48"/>
                  <a:pt x="70" y="48"/>
                </a:cubicBezTo>
                <a:cubicBezTo>
                  <a:pt x="70" y="45"/>
                  <a:pt x="70" y="43"/>
                  <a:pt x="69" y="41"/>
                </a:cubicBezTo>
                <a:cubicBezTo>
                  <a:pt x="69" y="40"/>
                  <a:pt x="68" y="39"/>
                  <a:pt x="67" y="39"/>
                </a:cubicBezTo>
                <a:cubicBezTo>
                  <a:pt x="66" y="38"/>
                  <a:pt x="64" y="37"/>
                  <a:pt x="63" y="37"/>
                </a:cubicBezTo>
                <a:cubicBezTo>
                  <a:pt x="61" y="37"/>
                  <a:pt x="59" y="38"/>
                  <a:pt x="57" y="39"/>
                </a:cubicBezTo>
                <a:cubicBezTo>
                  <a:pt x="56" y="40"/>
                  <a:pt x="54" y="42"/>
                  <a:pt x="54" y="44"/>
                </a:cubicBezTo>
                <a:cubicBezTo>
                  <a:pt x="53" y="45"/>
                  <a:pt x="53" y="49"/>
                  <a:pt x="53" y="53"/>
                </a:cubicBezTo>
                <a:cubicBezTo>
                  <a:pt x="53" y="65"/>
                  <a:pt x="53" y="65"/>
                  <a:pt x="53" y="65"/>
                </a:cubicBezTo>
                <a:cubicBezTo>
                  <a:pt x="49" y="65"/>
                  <a:pt x="49" y="65"/>
                  <a:pt x="49" y="65"/>
                </a:cubicBezTo>
                <a:cubicBezTo>
                  <a:pt x="49" y="49"/>
                  <a:pt x="49" y="49"/>
                  <a:pt x="49" y="49"/>
                </a:cubicBezTo>
                <a:cubicBezTo>
                  <a:pt x="49" y="46"/>
                  <a:pt x="48" y="43"/>
                  <a:pt x="48" y="42"/>
                </a:cubicBezTo>
                <a:cubicBezTo>
                  <a:pt x="47" y="40"/>
                  <a:pt x="46" y="39"/>
                  <a:pt x="45" y="39"/>
                </a:cubicBezTo>
                <a:cubicBezTo>
                  <a:pt x="44" y="38"/>
                  <a:pt x="43" y="37"/>
                  <a:pt x="41" y="37"/>
                </a:cubicBezTo>
                <a:cubicBezTo>
                  <a:pt x="39" y="37"/>
                  <a:pt x="38" y="38"/>
                  <a:pt x="36" y="39"/>
                </a:cubicBezTo>
                <a:cubicBezTo>
                  <a:pt x="34" y="40"/>
                  <a:pt x="33" y="42"/>
                  <a:pt x="32" y="43"/>
                </a:cubicBezTo>
                <a:cubicBezTo>
                  <a:pt x="31" y="45"/>
                  <a:pt x="31" y="48"/>
                  <a:pt x="31" y="52"/>
                </a:cubicBezTo>
                <a:cubicBezTo>
                  <a:pt x="31" y="65"/>
                  <a:pt x="31" y="65"/>
                  <a:pt x="31" y="65"/>
                </a:cubicBezTo>
                <a:cubicBezTo>
                  <a:pt x="27" y="65"/>
                  <a:pt x="27" y="65"/>
                  <a:pt x="27" y="65"/>
                </a:cubicBezTo>
                <a:cubicBezTo>
                  <a:pt x="27" y="34"/>
                  <a:pt x="27" y="34"/>
                  <a:pt x="27" y="34"/>
                </a:cubicBezTo>
                <a:cubicBezTo>
                  <a:pt x="31" y="34"/>
                  <a:pt x="31" y="34"/>
                  <a:pt x="31" y="34"/>
                </a:cubicBezTo>
                <a:cubicBezTo>
                  <a:pt x="31" y="40"/>
                  <a:pt x="31" y="40"/>
                  <a:pt x="31" y="40"/>
                </a:cubicBezTo>
                <a:cubicBezTo>
                  <a:pt x="32" y="38"/>
                  <a:pt x="34" y="36"/>
                  <a:pt x="35" y="35"/>
                </a:cubicBezTo>
                <a:cubicBezTo>
                  <a:pt x="37" y="34"/>
                  <a:pt x="40" y="34"/>
                  <a:pt x="42" y="34"/>
                </a:cubicBezTo>
                <a:cubicBezTo>
                  <a:pt x="43" y="34"/>
                  <a:pt x="45" y="34"/>
                  <a:pt x="46" y="34"/>
                </a:cubicBezTo>
                <a:cubicBezTo>
                  <a:pt x="48" y="35"/>
                  <a:pt x="49" y="36"/>
                  <a:pt x="50" y="37"/>
                </a:cubicBezTo>
                <a:cubicBezTo>
                  <a:pt x="50" y="38"/>
                  <a:pt x="51" y="39"/>
                  <a:pt x="52" y="41"/>
                </a:cubicBezTo>
                <a:cubicBezTo>
                  <a:pt x="53" y="38"/>
                  <a:pt x="55" y="37"/>
                  <a:pt x="57" y="35"/>
                </a:cubicBezTo>
                <a:cubicBezTo>
                  <a:pt x="59" y="34"/>
                  <a:pt x="61" y="34"/>
                  <a:pt x="63" y="34"/>
                </a:cubicBezTo>
                <a:cubicBezTo>
                  <a:pt x="66" y="34"/>
                  <a:pt x="68" y="34"/>
                  <a:pt x="69" y="35"/>
                </a:cubicBezTo>
                <a:cubicBezTo>
                  <a:pt x="71" y="36"/>
                  <a:pt x="72" y="38"/>
                  <a:pt x="73" y="40"/>
                </a:cubicBezTo>
                <a:cubicBezTo>
                  <a:pt x="74" y="42"/>
                  <a:pt x="74" y="44"/>
                  <a:pt x="74" y="48"/>
                </a:cubicBezTo>
                <a:lnTo>
                  <a:pt x="74" y="65"/>
                </a:lnTo>
                <a:close/>
                <a:moveTo>
                  <a:pt x="111" y="61"/>
                </a:moveTo>
                <a:cubicBezTo>
                  <a:pt x="108" y="64"/>
                  <a:pt x="104" y="66"/>
                  <a:pt x="99" y="66"/>
                </a:cubicBezTo>
                <a:cubicBezTo>
                  <a:pt x="97" y="66"/>
                  <a:pt x="95" y="65"/>
                  <a:pt x="92" y="64"/>
                </a:cubicBezTo>
                <a:cubicBezTo>
                  <a:pt x="90" y="63"/>
                  <a:pt x="88" y="62"/>
                  <a:pt x="87" y="60"/>
                </a:cubicBezTo>
                <a:cubicBezTo>
                  <a:pt x="87" y="76"/>
                  <a:pt x="87" y="76"/>
                  <a:pt x="87" y="76"/>
                </a:cubicBezTo>
                <a:cubicBezTo>
                  <a:pt x="83" y="76"/>
                  <a:pt x="83" y="76"/>
                  <a:pt x="83" y="76"/>
                </a:cubicBezTo>
                <a:cubicBezTo>
                  <a:pt x="83" y="34"/>
                  <a:pt x="83" y="34"/>
                  <a:pt x="83" y="34"/>
                </a:cubicBezTo>
                <a:cubicBezTo>
                  <a:pt x="87" y="34"/>
                  <a:pt x="87" y="34"/>
                  <a:pt x="87" y="34"/>
                </a:cubicBezTo>
                <a:cubicBezTo>
                  <a:pt x="87" y="40"/>
                  <a:pt x="87" y="40"/>
                  <a:pt x="87" y="40"/>
                </a:cubicBezTo>
                <a:cubicBezTo>
                  <a:pt x="88" y="38"/>
                  <a:pt x="90" y="36"/>
                  <a:pt x="92" y="35"/>
                </a:cubicBezTo>
                <a:cubicBezTo>
                  <a:pt x="94" y="34"/>
                  <a:pt x="97" y="34"/>
                  <a:pt x="99" y="34"/>
                </a:cubicBezTo>
                <a:cubicBezTo>
                  <a:pt x="104" y="34"/>
                  <a:pt x="108" y="35"/>
                  <a:pt x="111" y="38"/>
                </a:cubicBezTo>
                <a:cubicBezTo>
                  <a:pt x="114" y="41"/>
                  <a:pt x="115" y="45"/>
                  <a:pt x="115" y="50"/>
                </a:cubicBezTo>
                <a:cubicBezTo>
                  <a:pt x="115" y="54"/>
                  <a:pt x="114" y="58"/>
                  <a:pt x="111" y="61"/>
                </a:cubicBezTo>
                <a:close/>
                <a:moveTo>
                  <a:pt x="147" y="59"/>
                </a:moveTo>
                <a:cubicBezTo>
                  <a:pt x="146" y="62"/>
                  <a:pt x="144" y="63"/>
                  <a:pt x="142" y="64"/>
                </a:cubicBezTo>
                <a:cubicBezTo>
                  <a:pt x="140" y="66"/>
                  <a:pt x="137" y="66"/>
                  <a:pt x="135" y="66"/>
                </a:cubicBezTo>
                <a:cubicBezTo>
                  <a:pt x="131" y="66"/>
                  <a:pt x="128" y="65"/>
                  <a:pt x="125" y="63"/>
                </a:cubicBezTo>
                <a:cubicBezTo>
                  <a:pt x="123" y="61"/>
                  <a:pt x="121" y="58"/>
                  <a:pt x="121" y="54"/>
                </a:cubicBezTo>
                <a:cubicBezTo>
                  <a:pt x="125" y="54"/>
                  <a:pt x="125" y="54"/>
                  <a:pt x="125" y="54"/>
                </a:cubicBezTo>
                <a:cubicBezTo>
                  <a:pt x="126" y="57"/>
                  <a:pt x="127" y="59"/>
                  <a:pt x="128" y="60"/>
                </a:cubicBezTo>
                <a:cubicBezTo>
                  <a:pt x="130" y="61"/>
                  <a:pt x="132" y="62"/>
                  <a:pt x="135" y="62"/>
                </a:cubicBezTo>
                <a:cubicBezTo>
                  <a:pt x="138" y="62"/>
                  <a:pt x="140" y="61"/>
                  <a:pt x="142" y="59"/>
                </a:cubicBezTo>
                <a:cubicBezTo>
                  <a:pt x="144" y="58"/>
                  <a:pt x="145" y="55"/>
                  <a:pt x="145" y="53"/>
                </a:cubicBezTo>
                <a:cubicBezTo>
                  <a:pt x="145" y="51"/>
                  <a:pt x="144" y="50"/>
                  <a:pt x="143" y="48"/>
                </a:cubicBezTo>
                <a:cubicBezTo>
                  <a:pt x="143" y="47"/>
                  <a:pt x="141" y="46"/>
                  <a:pt x="140" y="45"/>
                </a:cubicBezTo>
                <a:cubicBezTo>
                  <a:pt x="138" y="45"/>
                  <a:pt x="136" y="44"/>
                  <a:pt x="132" y="44"/>
                </a:cubicBezTo>
                <a:cubicBezTo>
                  <a:pt x="132" y="40"/>
                  <a:pt x="132" y="40"/>
                  <a:pt x="132" y="40"/>
                </a:cubicBezTo>
                <a:cubicBezTo>
                  <a:pt x="134" y="40"/>
                  <a:pt x="136" y="40"/>
                  <a:pt x="138" y="39"/>
                </a:cubicBezTo>
                <a:cubicBezTo>
                  <a:pt x="139" y="38"/>
                  <a:pt x="140" y="38"/>
                  <a:pt x="141" y="37"/>
                </a:cubicBezTo>
                <a:cubicBezTo>
                  <a:pt x="142" y="36"/>
                  <a:pt x="142" y="34"/>
                  <a:pt x="142" y="33"/>
                </a:cubicBezTo>
                <a:cubicBezTo>
                  <a:pt x="142" y="31"/>
                  <a:pt x="142" y="30"/>
                  <a:pt x="140" y="28"/>
                </a:cubicBezTo>
                <a:cubicBezTo>
                  <a:pt x="139" y="27"/>
                  <a:pt x="137" y="26"/>
                  <a:pt x="134" y="26"/>
                </a:cubicBezTo>
                <a:cubicBezTo>
                  <a:pt x="133" y="26"/>
                  <a:pt x="131" y="27"/>
                  <a:pt x="130" y="28"/>
                </a:cubicBezTo>
                <a:cubicBezTo>
                  <a:pt x="128" y="29"/>
                  <a:pt x="127" y="31"/>
                  <a:pt x="126" y="33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123" y="30"/>
                  <a:pt x="124" y="27"/>
                  <a:pt x="127" y="25"/>
                </a:cubicBezTo>
                <a:cubicBezTo>
                  <a:pt x="129" y="23"/>
                  <a:pt x="131" y="22"/>
                  <a:pt x="134" y="22"/>
                </a:cubicBezTo>
                <a:cubicBezTo>
                  <a:pt x="137" y="22"/>
                  <a:pt x="139" y="23"/>
                  <a:pt x="141" y="24"/>
                </a:cubicBezTo>
                <a:cubicBezTo>
                  <a:pt x="143" y="25"/>
                  <a:pt x="144" y="26"/>
                  <a:pt x="145" y="28"/>
                </a:cubicBezTo>
                <a:cubicBezTo>
                  <a:pt x="146" y="30"/>
                  <a:pt x="147" y="31"/>
                  <a:pt x="147" y="33"/>
                </a:cubicBezTo>
                <a:cubicBezTo>
                  <a:pt x="147" y="37"/>
                  <a:pt x="145" y="40"/>
                  <a:pt x="141" y="42"/>
                </a:cubicBezTo>
                <a:cubicBezTo>
                  <a:pt x="143" y="43"/>
                  <a:pt x="145" y="44"/>
                  <a:pt x="146" y="45"/>
                </a:cubicBezTo>
                <a:cubicBezTo>
                  <a:pt x="148" y="47"/>
                  <a:pt x="149" y="50"/>
                  <a:pt x="149" y="53"/>
                </a:cubicBezTo>
                <a:cubicBezTo>
                  <a:pt x="149" y="55"/>
                  <a:pt x="148" y="57"/>
                  <a:pt x="147" y="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67" name="Freeform 126"/>
          <p:cNvSpPr>
            <a:spLocks noEditPoints="1"/>
          </p:cNvSpPr>
          <p:nvPr/>
        </p:nvSpPr>
        <p:spPr bwMode="auto">
          <a:xfrm>
            <a:off x="5596468" y="5395384"/>
            <a:ext cx="486833" cy="423333"/>
          </a:xfrm>
          <a:custGeom>
            <a:avLst/>
            <a:gdLst>
              <a:gd name="T0" fmla="*/ 0 w 230"/>
              <a:gd name="T1" fmla="*/ 0 h 200"/>
              <a:gd name="T2" fmla="*/ 0 w 230"/>
              <a:gd name="T3" fmla="*/ 504031250 h 200"/>
              <a:gd name="T4" fmla="*/ 579635938 w 230"/>
              <a:gd name="T5" fmla="*/ 504031250 h 200"/>
              <a:gd name="T6" fmla="*/ 579635938 w 230"/>
              <a:gd name="T7" fmla="*/ 0 h 200"/>
              <a:gd name="T8" fmla="*/ 0 w 230"/>
              <a:gd name="T9" fmla="*/ 0 h 200"/>
              <a:gd name="T10" fmla="*/ 549394063 w 230"/>
              <a:gd name="T11" fmla="*/ 471270013 h 200"/>
              <a:gd name="T12" fmla="*/ 32762825 w 230"/>
              <a:gd name="T13" fmla="*/ 471270013 h 200"/>
              <a:gd name="T14" fmla="*/ 32762825 w 230"/>
              <a:gd name="T15" fmla="*/ 40322500 h 200"/>
              <a:gd name="T16" fmla="*/ 549394063 w 230"/>
              <a:gd name="T17" fmla="*/ 40322500 h 200"/>
              <a:gd name="T18" fmla="*/ 549394063 w 230"/>
              <a:gd name="T19" fmla="*/ 471270013 h 2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30" h="200">
                <a:moveTo>
                  <a:pt x="0" y="0"/>
                </a:moveTo>
                <a:lnTo>
                  <a:pt x="0" y="200"/>
                </a:lnTo>
                <a:lnTo>
                  <a:pt x="230" y="200"/>
                </a:lnTo>
                <a:lnTo>
                  <a:pt x="230" y="0"/>
                </a:lnTo>
                <a:lnTo>
                  <a:pt x="0" y="0"/>
                </a:lnTo>
                <a:close/>
                <a:moveTo>
                  <a:pt x="218" y="187"/>
                </a:moveTo>
                <a:lnTo>
                  <a:pt x="13" y="187"/>
                </a:lnTo>
                <a:lnTo>
                  <a:pt x="13" y="16"/>
                </a:lnTo>
                <a:lnTo>
                  <a:pt x="218" y="16"/>
                </a:lnTo>
                <a:lnTo>
                  <a:pt x="218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68" name="Rectangle 127"/>
          <p:cNvSpPr>
            <a:spLocks noChangeArrowheads="1"/>
          </p:cNvSpPr>
          <p:nvPr/>
        </p:nvSpPr>
        <p:spPr bwMode="auto">
          <a:xfrm>
            <a:off x="5668434" y="5507568"/>
            <a:ext cx="57151" cy="550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69" name="Rectangle 128"/>
          <p:cNvSpPr>
            <a:spLocks noChangeArrowheads="1"/>
          </p:cNvSpPr>
          <p:nvPr/>
        </p:nvSpPr>
        <p:spPr bwMode="auto">
          <a:xfrm>
            <a:off x="5744633" y="5528734"/>
            <a:ext cx="273051" cy="1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70" name="Rectangle 129"/>
          <p:cNvSpPr>
            <a:spLocks noChangeArrowheads="1"/>
          </p:cNvSpPr>
          <p:nvPr/>
        </p:nvSpPr>
        <p:spPr bwMode="auto">
          <a:xfrm>
            <a:off x="5668434" y="5592234"/>
            <a:ext cx="57151" cy="571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71" name="Rectangle 130"/>
          <p:cNvSpPr>
            <a:spLocks noChangeArrowheads="1"/>
          </p:cNvSpPr>
          <p:nvPr/>
        </p:nvSpPr>
        <p:spPr bwMode="auto">
          <a:xfrm>
            <a:off x="5744633" y="5615518"/>
            <a:ext cx="273051" cy="1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72" name="Rectangle 131"/>
          <p:cNvSpPr>
            <a:spLocks noChangeArrowheads="1"/>
          </p:cNvSpPr>
          <p:nvPr/>
        </p:nvSpPr>
        <p:spPr bwMode="auto">
          <a:xfrm>
            <a:off x="5668434" y="5679018"/>
            <a:ext cx="57151" cy="550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73" name="Rectangle 132"/>
          <p:cNvSpPr>
            <a:spLocks noChangeArrowheads="1"/>
          </p:cNvSpPr>
          <p:nvPr/>
        </p:nvSpPr>
        <p:spPr bwMode="auto">
          <a:xfrm>
            <a:off x="5744633" y="5700185"/>
            <a:ext cx="273051" cy="1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74" name="Freeform 133"/>
          <p:cNvSpPr>
            <a:spLocks noEditPoints="1"/>
          </p:cNvSpPr>
          <p:nvPr/>
        </p:nvSpPr>
        <p:spPr bwMode="auto">
          <a:xfrm>
            <a:off x="6438901" y="5401734"/>
            <a:ext cx="463551" cy="410633"/>
          </a:xfrm>
          <a:custGeom>
            <a:avLst/>
            <a:gdLst>
              <a:gd name="T0" fmla="*/ 254827949 w 154"/>
              <a:gd name="T1" fmla="*/ 697416181 h 136"/>
              <a:gd name="T2" fmla="*/ 0 w 154"/>
              <a:gd name="T3" fmla="*/ 451269427 h 136"/>
              <a:gd name="T4" fmla="*/ 0 w 154"/>
              <a:gd name="T5" fmla="*/ 451269427 h 136"/>
              <a:gd name="T6" fmla="*/ 0 w 154"/>
              <a:gd name="T7" fmla="*/ 246146754 h 136"/>
              <a:gd name="T8" fmla="*/ 254827949 w 154"/>
              <a:gd name="T9" fmla="*/ 0 h 136"/>
              <a:gd name="T10" fmla="*/ 254827949 w 154"/>
              <a:gd name="T11" fmla="*/ 0 h 136"/>
              <a:gd name="T12" fmla="*/ 530039334 w 154"/>
              <a:gd name="T13" fmla="*/ 0 h 136"/>
              <a:gd name="T14" fmla="*/ 784867283 w 154"/>
              <a:gd name="T15" fmla="*/ 246146754 h 136"/>
              <a:gd name="T16" fmla="*/ 784867283 w 154"/>
              <a:gd name="T17" fmla="*/ 246146754 h 136"/>
              <a:gd name="T18" fmla="*/ 784867283 w 154"/>
              <a:gd name="T19" fmla="*/ 451269427 h 136"/>
              <a:gd name="T20" fmla="*/ 530039334 w 154"/>
              <a:gd name="T21" fmla="*/ 697416181 h 136"/>
              <a:gd name="T22" fmla="*/ 530039334 w 154"/>
              <a:gd name="T23" fmla="*/ 697416181 h 136"/>
              <a:gd name="T24" fmla="*/ 254827949 w 154"/>
              <a:gd name="T25" fmla="*/ 697416181 h 136"/>
              <a:gd name="T26" fmla="*/ 56061788 w 154"/>
              <a:gd name="T27" fmla="*/ 246146754 h 136"/>
              <a:gd name="T28" fmla="*/ 56061788 w 154"/>
              <a:gd name="T29" fmla="*/ 451269427 h 136"/>
              <a:gd name="T30" fmla="*/ 254827949 w 154"/>
              <a:gd name="T31" fmla="*/ 646136079 h 136"/>
              <a:gd name="T32" fmla="*/ 254827949 w 154"/>
              <a:gd name="T33" fmla="*/ 646136079 h 136"/>
              <a:gd name="T34" fmla="*/ 530039334 w 154"/>
              <a:gd name="T35" fmla="*/ 646136079 h 136"/>
              <a:gd name="T36" fmla="*/ 728805495 w 154"/>
              <a:gd name="T37" fmla="*/ 451269427 h 136"/>
              <a:gd name="T38" fmla="*/ 728805495 w 154"/>
              <a:gd name="T39" fmla="*/ 451269427 h 136"/>
              <a:gd name="T40" fmla="*/ 728805495 w 154"/>
              <a:gd name="T41" fmla="*/ 246146754 h 136"/>
              <a:gd name="T42" fmla="*/ 530039334 w 154"/>
              <a:gd name="T43" fmla="*/ 51280102 h 136"/>
              <a:gd name="T44" fmla="*/ 530039334 w 154"/>
              <a:gd name="T45" fmla="*/ 51280102 h 136"/>
              <a:gd name="T46" fmla="*/ 254827949 w 154"/>
              <a:gd name="T47" fmla="*/ 51280102 h 136"/>
              <a:gd name="T48" fmla="*/ 56061788 w 154"/>
              <a:gd name="T49" fmla="*/ 246146754 h 1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54" h="136">
                <a:moveTo>
                  <a:pt x="50" y="136"/>
                </a:moveTo>
                <a:cubicBezTo>
                  <a:pt x="22" y="136"/>
                  <a:pt x="0" y="115"/>
                  <a:pt x="0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21"/>
                  <a:pt x="22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32" y="0"/>
                  <a:pt x="154" y="21"/>
                  <a:pt x="154" y="48"/>
                </a:cubicBezTo>
                <a:cubicBezTo>
                  <a:pt x="154" y="48"/>
                  <a:pt x="154" y="48"/>
                  <a:pt x="154" y="48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154" y="115"/>
                  <a:pt x="132" y="136"/>
                  <a:pt x="104" y="136"/>
                </a:cubicBezTo>
                <a:cubicBezTo>
                  <a:pt x="104" y="136"/>
                  <a:pt x="104" y="136"/>
                  <a:pt x="104" y="136"/>
                </a:cubicBezTo>
                <a:cubicBezTo>
                  <a:pt x="50" y="136"/>
                  <a:pt x="50" y="136"/>
                  <a:pt x="50" y="136"/>
                </a:cubicBezTo>
                <a:close/>
                <a:moveTo>
                  <a:pt x="11" y="48"/>
                </a:moveTo>
                <a:cubicBezTo>
                  <a:pt x="11" y="88"/>
                  <a:pt x="11" y="88"/>
                  <a:pt x="11" y="88"/>
                </a:cubicBezTo>
                <a:cubicBezTo>
                  <a:pt x="11" y="109"/>
                  <a:pt x="28" y="126"/>
                  <a:pt x="50" y="126"/>
                </a:cubicBezTo>
                <a:cubicBezTo>
                  <a:pt x="50" y="126"/>
                  <a:pt x="50" y="126"/>
                  <a:pt x="50" y="126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126" y="126"/>
                  <a:pt x="143" y="109"/>
                  <a:pt x="143" y="88"/>
                </a:cubicBezTo>
                <a:cubicBezTo>
                  <a:pt x="143" y="88"/>
                  <a:pt x="143" y="88"/>
                  <a:pt x="143" y="88"/>
                </a:cubicBezTo>
                <a:cubicBezTo>
                  <a:pt x="143" y="48"/>
                  <a:pt x="143" y="48"/>
                  <a:pt x="143" y="48"/>
                </a:cubicBezTo>
                <a:cubicBezTo>
                  <a:pt x="143" y="27"/>
                  <a:pt x="126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28" y="10"/>
                  <a:pt x="11" y="27"/>
                  <a:pt x="11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75" name="Rectangle 134"/>
          <p:cNvSpPr>
            <a:spLocks noChangeArrowheads="1"/>
          </p:cNvSpPr>
          <p:nvPr/>
        </p:nvSpPr>
        <p:spPr bwMode="auto">
          <a:xfrm>
            <a:off x="6593418" y="5516033"/>
            <a:ext cx="63500" cy="177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76" name="Rectangle 135"/>
          <p:cNvSpPr>
            <a:spLocks noChangeArrowheads="1"/>
          </p:cNvSpPr>
          <p:nvPr/>
        </p:nvSpPr>
        <p:spPr bwMode="auto">
          <a:xfrm>
            <a:off x="6688667" y="5516033"/>
            <a:ext cx="63500" cy="177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77" name="Freeform 136"/>
          <p:cNvSpPr>
            <a:spLocks noEditPoints="1"/>
          </p:cNvSpPr>
          <p:nvPr/>
        </p:nvSpPr>
        <p:spPr bwMode="auto">
          <a:xfrm>
            <a:off x="7281334" y="5401734"/>
            <a:ext cx="463551" cy="410633"/>
          </a:xfrm>
          <a:custGeom>
            <a:avLst/>
            <a:gdLst>
              <a:gd name="T0" fmla="*/ 254827949 w 154"/>
              <a:gd name="T1" fmla="*/ 697416181 h 136"/>
              <a:gd name="T2" fmla="*/ 0 w 154"/>
              <a:gd name="T3" fmla="*/ 451269427 h 136"/>
              <a:gd name="T4" fmla="*/ 0 w 154"/>
              <a:gd name="T5" fmla="*/ 451269427 h 136"/>
              <a:gd name="T6" fmla="*/ 0 w 154"/>
              <a:gd name="T7" fmla="*/ 246146754 h 136"/>
              <a:gd name="T8" fmla="*/ 254827949 w 154"/>
              <a:gd name="T9" fmla="*/ 0 h 136"/>
              <a:gd name="T10" fmla="*/ 254827949 w 154"/>
              <a:gd name="T11" fmla="*/ 0 h 136"/>
              <a:gd name="T12" fmla="*/ 530039334 w 154"/>
              <a:gd name="T13" fmla="*/ 0 h 136"/>
              <a:gd name="T14" fmla="*/ 784867283 w 154"/>
              <a:gd name="T15" fmla="*/ 246146754 h 136"/>
              <a:gd name="T16" fmla="*/ 784867283 w 154"/>
              <a:gd name="T17" fmla="*/ 246146754 h 136"/>
              <a:gd name="T18" fmla="*/ 784867283 w 154"/>
              <a:gd name="T19" fmla="*/ 451269427 h 136"/>
              <a:gd name="T20" fmla="*/ 530039334 w 154"/>
              <a:gd name="T21" fmla="*/ 697416181 h 136"/>
              <a:gd name="T22" fmla="*/ 530039334 w 154"/>
              <a:gd name="T23" fmla="*/ 697416181 h 136"/>
              <a:gd name="T24" fmla="*/ 254827949 w 154"/>
              <a:gd name="T25" fmla="*/ 697416181 h 136"/>
              <a:gd name="T26" fmla="*/ 56061788 w 154"/>
              <a:gd name="T27" fmla="*/ 246146754 h 136"/>
              <a:gd name="T28" fmla="*/ 56061788 w 154"/>
              <a:gd name="T29" fmla="*/ 451269427 h 136"/>
              <a:gd name="T30" fmla="*/ 254827949 w 154"/>
              <a:gd name="T31" fmla="*/ 646136079 h 136"/>
              <a:gd name="T32" fmla="*/ 254827949 w 154"/>
              <a:gd name="T33" fmla="*/ 646136079 h 136"/>
              <a:gd name="T34" fmla="*/ 530039334 w 154"/>
              <a:gd name="T35" fmla="*/ 646136079 h 136"/>
              <a:gd name="T36" fmla="*/ 728805495 w 154"/>
              <a:gd name="T37" fmla="*/ 451269427 h 136"/>
              <a:gd name="T38" fmla="*/ 728805495 w 154"/>
              <a:gd name="T39" fmla="*/ 451269427 h 136"/>
              <a:gd name="T40" fmla="*/ 728805495 w 154"/>
              <a:gd name="T41" fmla="*/ 246146754 h 136"/>
              <a:gd name="T42" fmla="*/ 530039334 w 154"/>
              <a:gd name="T43" fmla="*/ 51280102 h 136"/>
              <a:gd name="T44" fmla="*/ 530039334 w 154"/>
              <a:gd name="T45" fmla="*/ 51280102 h 136"/>
              <a:gd name="T46" fmla="*/ 254827949 w 154"/>
              <a:gd name="T47" fmla="*/ 51280102 h 136"/>
              <a:gd name="T48" fmla="*/ 56061788 w 154"/>
              <a:gd name="T49" fmla="*/ 246146754 h 1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54" h="136">
                <a:moveTo>
                  <a:pt x="50" y="136"/>
                </a:moveTo>
                <a:cubicBezTo>
                  <a:pt x="22" y="136"/>
                  <a:pt x="0" y="115"/>
                  <a:pt x="0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21"/>
                  <a:pt x="22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32" y="0"/>
                  <a:pt x="154" y="21"/>
                  <a:pt x="154" y="48"/>
                </a:cubicBezTo>
                <a:cubicBezTo>
                  <a:pt x="154" y="48"/>
                  <a:pt x="154" y="48"/>
                  <a:pt x="154" y="48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154" y="115"/>
                  <a:pt x="132" y="136"/>
                  <a:pt x="104" y="136"/>
                </a:cubicBezTo>
                <a:cubicBezTo>
                  <a:pt x="104" y="136"/>
                  <a:pt x="104" y="136"/>
                  <a:pt x="104" y="136"/>
                </a:cubicBezTo>
                <a:cubicBezTo>
                  <a:pt x="50" y="136"/>
                  <a:pt x="50" y="136"/>
                  <a:pt x="50" y="136"/>
                </a:cubicBezTo>
                <a:close/>
                <a:moveTo>
                  <a:pt x="11" y="48"/>
                </a:moveTo>
                <a:cubicBezTo>
                  <a:pt x="11" y="88"/>
                  <a:pt x="11" y="88"/>
                  <a:pt x="11" y="88"/>
                </a:cubicBezTo>
                <a:cubicBezTo>
                  <a:pt x="11" y="109"/>
                  <a:pt x="28" y="126"/>
                  <a:pt x="50" y="126"/>
                </a:cubicBezTo>
                <a:cubicBezTo>
                  <a:pt x="50" y="126"/>
                  <a:pt x="50" y="126"/>
                  <a:pt x="50" y="126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126" y="126"/>
                  <a:pt x="143" y="109"/>
                  <a:pt x="143" y="88"/>
                </a:cubicBezTo>
                <a:cubicBezTo>
                  <a:pt x="143" y="88"/>
                  <a:pt x="143" y="88"/>
                  <a:pt x="143" y="88"/>
                </a:cubicBezTo>
                <a:cubicBezTo>
                  <a:pt x="143" y="48"/>
                  <a:pt x="143" y="48"/>
                  <a:pt x="143" y="48"/>
                </a:cubicBezTo>
                <a:cubicBezTo>
                  <a:pt x="143" y="27"/>
                  <a:pt x="126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28" y="10"/>
                  <a:pt x="11" y="27"/>
                  <a:pt x="11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78" name="Freeform 137"/>
          <p:cNvSpPr>
            <a:spLocks/>
          </p:cNvSpPr>
          <p:nvPr/>
        </p:nvSpPr>
        <p:spPr bwMode="auto">
          <a:xfrm>
            <a:off x="7484534" y="5509684"/>
            <a:ext cx="93133" cy="184149"/>
          </a:xfrm>
          <a:custGeom>
            <a:avLst/>
            <a:gdLst>
              <a:gd name="T0" fmla="*/ 0 w 44"/>
              <a:gd name="T1" fmla="*/ 0 h 87"/>
              <a:gd name="T2" fmla="*/ 110886875 w 44"/>
              <a:gd name="T3" fmla="*/ 110886474 h 87"/>
              <a:gd name="T4" fmla="*/ 0 w 44"/>
              <a:gd name="T5" fmla="*/ 219253594 h 87"/>
              <a:gd name="T6" fmla="*/ 0 w 44"/>
              <a:gd name="T7" fmla="*/ 0 h 8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4" h="87">
                <a:moveTo>
                  <a:pt x="0" y="0"/>
                </a:moveTo>
                <a:lnTo>
                  <a:pt x="44" y="44"/>
                </a:lnTo>
                <a:lnTo>
                  <a:pt x="0" y="8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79" name="Freeform 138"/>
          <p:cNvSpPr>
            <a:spLocks noEditPoints="1"/>
          </p:cNvSpPr>
          <p:nvPr/>
        </p:nvSpPr>
        <p:spPr bwMode="auto">
          <a:xfrm>
            <a:off x="8149167" y="5401734"/>
            <a:ext cx="463551" cy="410633"/>
          </a:xfrm>
          <a:custGeom>
            <a:avLst/>
            <a:gdLst>
              <a:gd name="T0" fmla="*/ 254827949 w 154"/>
              <a:gd name="T1" fmla="*/ 697416181 h 136"/>
              <a:gd name="T2" fmla="*/ 0 w 154"/>
              <a:gd name="T3" fmla="*/ 451269427 h 136"/>
              <a:gd name="T4" fmla="*/ 0 w 154"/>
              <a:gd name="T5" fmla="*/ 451269427 h 136"/>
              <a:gd name="T6" fmla="*/ 0 w 154"/>
              <a:gd name="T7" fmla="*/ 246146754 h 136"/>
              <a:gd name="T8" fmla="*/ 254827949 w 154"/>
              <a:gd name="T9" fmla="*/ 0 h 136"/>
              <a:gd name="T10" fmla="*/ 254827949 w 154"/>
              <a:gd name="T11" fmla="*/ 0 h 136"/>
              <a:gd name="T12" fmla="*/ 530039334 w 154"/>
              <a:gd name="T13" fmla="*/ 0 h 136"/>
              <a:gd name="T14" fmla="*/ 784867283 w 154"/>
              <a:gd name="T15" fmla="*/ 246146754 h 136"/>
              <a:gd name="T16" fmla="*/ 784867283 w 154"/>
              <a:gd name="T17" fmla="*/ 246146754 h 136"/>
              <a:gd name="T18" fmla="*/ 784867283 w 154"/>
              <a:gd name="T19" fmla="*/ 451269427 h 136"/>
              <a:gd name="T20" fmla="*/ 530039334 w 154"/>
              <a:gd name="T21" fmla="*/ 697416181 h 136"/>
              <a:gd name="T22" fmla="*/ 530039334 w 154"/>
              <a:gd name="T23" fmla="*/ 697416181 h 136"/>
              <a:gd name="T24" fmla="*/ 254827949 w 154"/>
              <a:gd name="T25" fmla="*/ 697416181 h 136"/>
              <a:gd name="T26" fmla="*/ 56061788 w 154"/>
              <a:gd name="T27" fmla="*/ 246146754 h 136"/>
              <a:gd name="T28" fmla="*/ 56061788 w 154"/>
              <a:gd name="T29" fmla="*/ 451269427 h 136"/>
              <a:gd name="T30" fmla="*/ 254827949 w 154"/>
              <a:gd name="T31" fmla="*/ 646136079 h 136"/>
              <a:gd name="T32" fmla="*/ 254827949 w 154"/>
              <a:gd name="T33" fmla="*/ 646136079 h 136"/>
              <a:gd name="T34" fmla="*/ 530039334 w 154"/>
              <a:gd name="T35" fmla="*/ 646136079 h 136"/>
              <a:gd name="T36" fmla="*/ 728805495 w 154"/>
              <a:gd name="T37" fmla="*/ 451269427 h 136"/>
              <a:gd name="T38" fmla="*/ 728805495 w 154"/>
              <a:gd name="T39" fmla="*/ 451269427 h 136"/>
              <a:gd name="T40" fmla="*/ 728805495 w 154"/>
              <a:gd name="T41" fmla="*/ 246146754 h 136"/>
              <a:gd name="T42" fmla="*/ 530039334 w 154"/>
              <a:gd name="T43" fmla="*/ 51280102 h 136"/>
              <a:gd name="T44" fmla="*/ 530039334 w 154"/>
              <a:gd name="T45" fmla="*/ 51280102 h 136"/>
              <a:gd name="T46" fmla="*/ 254827949 w 154"/>
              <a:gd name="T47" fmla="*/ 51280102 h 136"/>
              <a:gd name="T48" fmla="*/ 56061788 w 154"/>
              <a:gd name="T49" fmla="*/ 246146754 h 1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54" h="136">
                <a:moveTo>
                  <a:pt x="50" y="136"/>
                </a:moveTo>
                <a:cubicBezTo>
                  <a:pt x="22" y="136"/>
                  <a:pt x="0" y="115"/>
                  <a:pt x="0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21"/>
                  <a:pt x="22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32" y="0"/>
                  <a:pt x="154" y="21"/>
                  <a:pt x="154" y="48"/>
                </a:cubicBezTo>
                <a:cubicBezTo>
                  <a:pt x="154" y="48"/>
                  <a:pt x="154" y="48"/>
                  <a:pt x="154" y="48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154" y="115"/>
                  <a:pt x="132" y="136"/>
                  <a:pt x="104" y="136"/>
                </a:cubicBezTo>
                <a:cubicBezTo>
                  <a:pt x="104" y="136"/>
                  <a:pt x="104" y="136"/>
                  <a:pt x="104" y="136"/>
                </a:cubicBezTo>
                <a:cubicBezTo>
                  <a:pt x="50" y="136"/>
                  <a:pt x="50" y="136"/>
                  <a:pt x="50" y="136"/>
                </a:cubicBezTo>
                <a:close/>
                <a:moveTo>
                  <a:pt x="11" y="48"/>
                </a:moveTo>
                <a:cubicBezTo>
                  <a:pt x="11" y="88"/>
                  <a:pt x="11" y="88"/>
                  <a:pt x="11" y="88"/>
                </a:cubicBezTo>
                <a:cubicBezTo>
                  <a:pt x="11" y="109"/>
                  <a:pt x="28" y="126"/>
                  <a:pt x="50" y="126"/>
                </a:cubicBezTo>
                <a:cubicBezTo>
                  <a:pt x="50" y="126"/>
                  <a:pt x="50" y="126"/>
                  <a:pt x="50" y="126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126" y="126"/>
                  <a:pt x="143" y="109"/>
                  <a:pt x="143" y="88"/>
                </a:cubicBezTo>
                <a:cubicBezTo>
                  <a:pt x="143" y="88"/>
                  <a:pt x="143" y="88"/>
                  <a:pt x="143" y="88"/>
                </a:cubicBezTo>
                <a:cubicBezTo>
                  <a:pt x="143" y="48"/>
                  <a:pt x="143" y="48"/>
                  <a:pt x="143" y="48"/>
                </a:cubicBezTo>
                <a:cubicBezTo>
                  <a:pt x="143" y="27"/>
                  <a:pt x="126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28" y="10"/>
                  <a:pt x="11" y="27"/>
                  <a:pt x="11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80" name="Rectangle 139"/>
          <p:cNvSpPr>
            <a:spLocks noChangeArrowheads="1"/>
          </p:cNvSpPr>
          <p:nvPr/>
        </p:nvSpPr>
        <p:spPr bwMode="auto">
          <a:xfrm>
            <a:off x="8394701" y="5522384"/>
            <a:ext cx="63500" cy="177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81" name="Freeform 140"/>
          <p:cNvSpPr>
            <a:spLocks/>
          </p:cNvSpPr>
          <p:nvPr/>
        </p:nvSpPr>
        <p:spPr bwMode="auto">
          <a:xfrm>
            <a:off x="8299451" y="5520268"/>
            <a:ext cx="93133" cy="182033"/>
          </a:xfrm>
          <a:custGeom>
            <a:avLst/>
            <a:gdLst>
              <a:gd name="T0" fmla="*/ 0 w 44"/>
              <a:gd name="T1" fmla="*/ 0 h 86"/>
              <a:gd name="T2" fmla="*/ 110886875 w 44"/>
              <a:gd name="T3" fmla="*/ 105846563 h 86"/>
              <a:gd name="T4" fmla="*/ 0 w 44"/>
              <a:gd name="T5" fmla="*/ 216733438 h 86"/>
              <a:gd name="T6" fmla="*/ 0 w 44"/>
              <a:gd name="T7" fmla="*/ 0 h 8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4" h="86">
                <a:moveTo>
                  <a:pt x="0" y="0"/>
                </a:moveTo>
                <a:lnTo>
                  <a:pt x="44" y="42"/>
                </a:lnTo>
                <a:lnTo>
                  <a:pt x="0" y="8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82" name="Freeform 141"/>
          <p:cNvSpPr>
            <a:spLocks noEditPoints="1"/>
          </p:cNvSpPr>
          <p:nvPr/>
        </p:nvSpPr>
        <p:spPr bwMode="auto">
          <a:xfrm>
            <a:off x="9027584" y="5414434"/>
            <a:ext cx="463549" cy="408517"/>
          </a:xfrm>
          <a:custGeom>
            <a:avLst/>
            <a:gdLst>
              <a:gd name="T0" fmla="*/ 254827216 w 154"/>
              <a:gd name="T1" fmla="*/ 690247107 h 136"/>
              <a:gd name="T2" fmla="*/ 0 w 154"/>
              <a:gd name="T3" fmla="*/ 446630348 h 136"/>
              <a:gd name="T4" fmla="*/ 0 w 154"/>
              <a:gd name="T5" fmla="*/ 446630348 h 136"/>
              <a:gd name="T6" fmla="*/ 0 w 154"/>
              <a:gd name="T7" fmla="*/ 243616759 h 136"/>
              <a:gd name="T8" fmla="*/ 254827216 w 154"/>
              <a:gd name="T9" fmla="*/ 0 h 136"/>
              <a:gd name="T10" fmla="*/ 254827216 w 154"/>
              <a:gd name="T11" fmla="*/ 0 h 136"/>
              <a:gd name="T12" fmla="*/ 530037810 w 154"/>
              <a:gd name="T13" fmla="*/ 0 h 136"/>
              <a:gd name="T14" fmla="*/ 784865025 w 154"/>
              <a:gd name="T15" fmla="*/ 243616759 h 136"/>
              <a:gd name="T16" fmla="*/ 784865025 w 154"/>
              <a:gd name="T17" fmla="*/ 243616759 h 136"/>
              <a:gd name="T18" fmla="*/ 784865025 w 154"/>
              <a:gd name="T19" fmla="*/ 446630348 h 136"/>
              <a:gd name="T20" fmla="*/ 530037810 w 154"/>
              <a:gd name="T21" fmla="*/ 690247107 h 136"/>
              <a:gd name="T22" fmla="*/ 530037810 w 154"/>
              <a:gd name="T23" fmla="*/ 690247107 h 136"/>
              <a:gd name="T24" fmla="*/ 254827216 w 154"/>
              <a:gd name="T25" fmla="*/ 690247107 h 136"/>
              <a:gd name="T26" fmla="*/ 56061626 w 154"/>
              <a:gd name="T27" fmla="*/ 243616759 h 136"/>
              <a:gd name="T28" fmla="*/ 56061626 w 154"/>
              <a:gd name="T29" fmla="*/ 446630348 h 136"/>
              <a:gd name="T30" fmla="*/ 254827216 w 154"/>
              <a:gd name="T31" fmla="*/ 639492583 h 136"/>
              <a:gd name="T32" fmla="*/ 254827216 w 154"/>
              <a:gd name="T33" fmla="*/ 639492583 h 136"/>
              <a:gd name="T34" fmla="*/ 530037810 w 154"/>
              <a:gd name="T35" fmla="*/ 639492583 h 136"/>
              <a:gd name="T36" fmla="*/ 728803399 w 154"/>
              <a:gd name="T37" fmla="*/ 446630348 h 136"/>
              <a:gd name="T38" fmla="*/ 728803399 w 154"/>
              <a:gd name="T39" fmla="*/ 446630348 h 136"/>
              <a:gd name="T40" fmla="*/ 728803399 w 154"/>
              <a:gd name="T41" fmla="*/ 243616759 h 136"/>
              <a:gd name="T42" fmla="*/ 530037810 w 154"/>
              <a:gd name="T43" fmla="*/ 50754524 h 136"/>
              <a:gd name="T44" fmla="*/ 530037810 w 154"/>
              <a:gd name="T45" fmla="*/ 50754524 h 136"/>
              <a:gd name="T46" fmla="*/ 254827216 w 154"/>
              <a:gd name="T47" fmla="*/ 50754524 h 136"/>
              <a:gd name="T48" fmla="*/ 56061626 w 154"/>
              <a:gd name="T49" fmla="*/ 243616759 h 1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54" h="136">
                <a:moveTo>
                  <a:pt x="50" y="136"/>
                </a:moveTo>
                <a:cubicBezTo>
                  <a:pt x="22" y="136"/>
                  <a:pt x="0" y="115"/>
                  <a:pt x="0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21"/>
                  <a:pt x="22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32" y="0"/>
                  <a:pt x="154" y="21"/>
                  <a:pt x="154" y="48"/>
                </a:cubicBezTo>
                <a:cubicBezTo>
                  <a:pt x="154" y="48"/>
                  <a:pt x="154" y="48"/>
                  <a:pt x="154" y="48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154" y="115"/>
                  <a:pt x="132" y="136"/>
                  <a:pt x="104" y="136"/>
                </a:cubicBezTo>
                <a:cubicBezTo>
                  <a:pt x="104" y="136"/>
                  <a:pt x="104" y="136"/>
                  <a:pt x="104" y="136"/>
                </a:cubicBezTo>
                <a:cubicBezTo>
                  <a:pt x="50" y="136"/>
                  <a:pt x="50" y="136"/>
                  <a:pt x="50" y="136"/>
                </a:cubicBezTo>
                <a:close/>
                <a:moveTo>
                  <a:pt x="11" y="48"/>
                </a:moveTo>
                <a:cubicBezTo>
                  <a:pt x="11" y="88"/>
                  <a:pt x="11" y="88"/>
                  <a:pt x="11" y="88"/>
                </a:cubicBezTo>
                <a:cubicBezTo>
                  <a:pt x="11" y="109"/>
                  <a:pt x="28" y="126"/>
                  <a:pt x="50" y="126"/>
                </a:cubicBezTo>
                <a:cubicBezTo>
                  <a:pt x="50" y="126"/>
                  <a:pt x="50" y="126"/>
                  <a:pt x="50" y="126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126" y="126"/>
                  <a:pt x="143" y="109"/>
                  <a:pt x="143" y="88"/>
                </a:cubicBezTo>
                <a:cubicBezTo>
                  <a:pt x="143" y="88"/>
                  <a:pt x="143" y="88"/>
                  <a:pt x="143" y="88"/>
                </a:cubicBezTo>
                <a:cubicBezTo>
                  <a:pt x="143" y="48"/>
                  <a:pt x="143" y="48"/>
                  <a:pt x="143" y="48"/>
                </a:cubicBezTo>
                <a:cubicBezTo>
                  <a:pt x="143" y="27"/>
                  <a:pt x="126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28" y="10"/>
                  <a:pt x="11" y="27"/>
                  <a:pt x="11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83" name="Rectangle 142"/>
          <p:cNvSpPr>
            <a:spLocks noChangeArrowheads="1"/>
          </p:cNvSpPr>
          <p:nvPr/>
        </p:nvSpPr>
        <p:spPr bwMode="auto">
          <a:xfrm>
            <a:off x="9190567" y="5535084"/>
            <a:ext cx="63500" cy="177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84" name="Freeform 143"/>
          <p:cNvSpPr>
            <a:spLocks/>
          </p:cNvSpPr>
          <p:nvPr/>
        </p:nvSpPr>
        <p:spPr bwMode="auto">
          <a:xfrm>
            <a:off x="9256184" y="5530851"/>
            <a:ext cx="93133" cy="184149"/>
          </a:xfrm>
          <a:custGeom>
            <a:avLst/>
            <a:gdLst>
              <a:gd name="T0" fmla="*/ 110886875 w 44"/>
              <a:gd name="T1" fmla="*/ 0 h 87"/>
              <a:gd name="T2" fmla="*/ 0 w 44"/>
              <a:gd name="T3" fmla="*/ 108367120 h 87"/>
              <a:gd name="T4" fmla="*/ 110886875 w 44"/>
              <a:gd name="T5" fmla="*/ 219253594 h 87"/>
              <a:gd name="T6" fmla="*/ 110886875 w 44"/>
              <a:gd name="T7" fmla="*/ 0 h 8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4" h="87">
                <a:moveTo>
                  <a:pt x="44" y="0"/>
                </a:moveTo>
                <a:lnTo>
                  <a:pt x="0" y="43"/>
                </a:lnTo>
                <a:lnTo>
                  <a:pt x="44" y="87"/>
                </a:lnTo>
                <a:lnTo>
                  <a:pt x="4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85" name="Freeform 144"/>
          <p:cNvSpPr>
            <a:spLocks noEditPoints="1"/>
          </p:cNvSpPr>
          <p:nvPr/>
        </p:nvSpPr>
        <p:spPr bwMode="auto">
          <a:xfrm>
            <a:off x="9895418" y="5401734"/>
            <a:ext cx="463549" cy="410633"/>
          </a:xfrm>
          <a:custGeom>
            <a:avLst/>
            <a:gdLst>
              <a:gd name="T0" fmla="*/ 254827216 w 154"/>
              <a:gd name="T1" fmla="*/ 697416181 h 136"/>
              <a:gd name="T2" fmla="*/ 0 w 154"/>
              <a:gd name="T3" fmla="*/ 451269427 h 136"/>
              <a:gd name="T4" fmla="*/ 0 w 154"/>
              <a:gd name="T5" fmla="*/ 451269427 h 136"/>
              <a:gd name="T6" fmla="*/ 0 w 154"/>
              <a:gd name="T7" fmla="*/ 246146754 h 136"/>
              <a:gd name="T8" fmla="*/ 254827216 w 154"/>
              <a:gd name="T9" fmla="*/ 0 h 136"/>
              <a:gd name="T10" fmla="*/ 254827216 w 154"/>
              <a:gd name="T11" fmla="*/ 0 h 136"/>
              <a:gd name="T12" fmla="*/ 530037810 w 154"/>
              <a:gd name="T13" fmla="*/ 0 h 136"/>
              <a:gd name="T14" fmla="*/ 784865025 w 154"/>
              <a:gd name="T15" fmla="*/ 246146754 h 136"/>
              <a:gd name="T16" fmla="*/ 784865025 w 154"/>
              <a:gd name="T17" fmla="*/ 246146754 h 136"/>
              <a:gd name="T18" fmla="*/ 784865025 w 154"/>
              <a:gd name="T19" fmla="*/ 451269427 h 136"/>
              <a:gd name="T20" fmla="*/ 530037810 w 154"/>
              <a:gd name="T21" fmla="*/ 697416181 h 136"/>
              <a:gd name="T22" fmla="*/ 530037810 w 154"/>
              <a:gd name="T23" fmla="*/ 697416181 h 136"/>
              <a:gd name="T24" fmla="*/ 254827216 w 154"/>
              <a:gd name="T25" fmla="*/ 697416181 h 136"/>
              <a:gd name="T26" fmla="*/ 56061626 w 154"/>
              <a:gd name="T27" fmla="*/ 246146754 h 136"/>
              <a:gd name="T28" fmla="*/ 56061626 w 154"/>
              <a:gd name="T29" fmla="*/ 451269427 h 136"/>
              <a:gd name="T30" fmla="*/ 254827216 w 154"/>
              <a:gd name="T31" fmla="*/ 646136079 h 136"/>
              <a:gd name="T32" fmla="*/ 254827216 w 154"/>
              <a:gd name="T33" fmla="*/ 646136079 h 136"/>
              <a:gd name="T34" fmla="*/ 530037810 w 154"/>
              <a:gd name="T35" fmla="*/ 646136079 h 136"/>
              <a:gd name="T36" fmla="*/ 728803399 w 154"/>
              <a:gd name="T37" fmla="*/ 451269427 h 136"/>
              <a:gd name="T38" fmla="*/ 728803399 w 154"/>
              <a:gd name="T39" fmla="*/ 451269427 h 136"/>
              <a:gd name="T40" fmla="*/ 728803399 w 154"/>
              <a:gd name="T41" fmla="*/ 246146754 h 136"/>
              <a:gd name="T42" fmla="*/ 530037810 w 154"/>
              <a:gd name="T43" fmla="*/ 51280102 h 136"/>
              <a:gd name="T44" fmla="*/ 530037810 w 154"/>
              <a:gd name="T45" fmla="*/ 51280102 h 136"/>
              <a:gd name="T46" fmla="*/ 254827216 w 154"/>
              <a:gd name="T47" fmla="*/ 51280102 h 136"/>
              <a:gd name="T48" fmla="*/ 56061626 w 154"/>
              <a:gd name="T49" fmla="*/ 246146754 h 1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54" h="136">
                <a:moveTo>
                  <a:pt x="50" y="136"/>
                </a:moveTo>
                <a:cubicBezTo>
                  <a:pt x="22" y="136"/>
                  <a:pt x="0" y="115"/>
                  <a:pt x="0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21"/>
                  <a:pt x="22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32" y="0"/>
                  <a:pt x="154" y="21"/>
                  <a:pt x="154" y="48"/>
                </a:cubicBezTo>
                <a:cubicBezTo>
                  <a:pt x="154" y="48"/>
                  <a:pt x="154" y="48"/>
                  <a:pt x="154" y="48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154" y="115"/>
                  <a:pt x="132" y="136"/>
                  <a:pt x="104" y="136"/>
                </a:cubicBezTo>
                <a:cubicBezTo>
                  <a:pt x="104" y="136"/>
                  <a:pt x="104" y="136"/>
                  <a:pt x="104" y="136"/>
                </a:cubicBezTo>
                <a:cubicBezTo>
                  <a:pt x="50" y="136"/>
                  <a:pt x="50" y="136"/>
                  <a:pt x="50" y="136"/>
                </a:cubicBezTo>
                <a:close/>
                <a:moveTo>
                  <a:pt x="11" y="48"/>
                </a:moveTo>
                <a:cubicBezTo>
                  <a:pt x="11" y="88"/>
                  <a:pt x="11" y="88"/>
                  <a:pt x="11" y="88"/>
                </a:cubicBezTo>
                <a:cubicBezTo>
                  <a:pt x="11" y="109"/>
                  <a:pt x="28" y="126"/>
                  <a:pt x="50" y="126"/>
                </a:cubicBezTo>
                <a:cubicBezTo>
                  <a:pt x="50" y="126"/>
                  <a:pt x="50" y="126"/>
                  <a:pt x="50" y="126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126" y="126"/>
                  <a:pt x="143" y="109"/>
                  <a:pt x="143" y="88"/>
                </a:cubicBezTo>
                <a:cubicBezTo>
                  <a:pt x="143" y="88"/>
                  <a:pt x="143" y="88"/>
                  <a:pt x="143" y="88"/>
                </a:cubicBezTo>
                <a:cubicBezTo>
                  <a:pt x="143" y="48"/>
                  <a:pt x="143" y="48"/>
                  <a:pt x="143" y="48"/>
                </a:cubicBezTo>
                <a:cubicBezTo>
                  <a:pt x="143" y="27"/>
                  <a:pt x="126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28" y="10"/>
                  <a:pt x="11" y="27"/>
                  <a:pt x="11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86" name="Rectangle 145"/>
          <p:cNvSpPr>
            <a:spLocks noChangeArrowheads="1"/>
          </p:cNvSpPr>
          <p:nvPr/>
        </p:nvSpPr>
        <p:spPr bwMode="auto">
          <a:xfrm>
            <a:off x="10052052" y="5541434"/>
            <a:ext cx="146049" cy="1439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87" name="Freeform 146"/>
          <p:cNvSpPr>
            <a:spLocks noEditPoints="1"/>
          </p:cNvSpPr>
          <p:nvPr/>
        </p:nvSpPr>
        <p:spPr bwMode="auto">
          <a:xfrm>
            <a:off x="10761134" y="5389034"/>
            <a:ext cx="463551" cy="410633"/>
          </a:xfrm>
          <a:custGeom>
            <a:avLst/>
            <a:gdLst>
              <a:gd name="T0" fmla="*/ 254827949 w 154"/>
              <a:gd name="T1" fmla="*/ 697416181 h 136"/>
              <a:gd name="T2" fmla="*/ 0 w 154"/>
              <a:gd name="T3" fmla="*/ 451269427 h 136"/>
              <a:gd name="T4" fmla="*/ 0 w 154"/>
              <a:gd name="T5" fmla="*/ 451269427 h 136"/>
              <a:gd name="T6" fmla="*/ 0 w 154"/>
              <a:gd name="T7" fmla="*/ 246146754 h 136"/>
              <a:gd name="T8" fmla="*/ 254827949 w 154"/>
              <a:gd name="T9" fmla="*/ 0 h 136"/>
              <a:gd name="T10" fmla="*/ 254827949 w 154"/>
              <a:gd name="T11" fmla="*/ 0 h 136"/>
              <a:gd name="T12" fmla="*/ 530039334 w 154"/>
              <a:gd name="T13" fmla="*/ 0 h 136"/>
              <a:gd name="T14" fmla="*/ 784867283 w 154"/>
              <a:gd name="T15" fmla="*/ 246146754 h 136"/>
              <a:gd name="T16" fmla="*/ 784867283 w 154"/>
              <a:gd name="T17" fmla="*/ 246146754 h 136"/>
              <a:gd name="T18" fmla="*/ 784867283 w 154"/>
              <a:gd name="T19" fmla="*/ 451269427 h 136"/>
              <a:gd name="T20" fmla="*/ 530039334 w 154"/>
              <a:gd name="T21" fmla="*/ 697416181 h 136"/>
              <a:gd name="T22" fmla="*/ 530039334 w 154"/>
              <a:gd name="T23" fmla="*/ 697416181 h 136"/>
              <a:gd name="T24" fmla="*/ 254827949 w 154"/>
              <a:gd name="T25" fmla="*/ 697416181 h 136"/>
              <a:gd name="T26" fmla="*/ 56061788 w 154"/>
              <a:gd name="T27" fmla="*/ 246146754 h 136"/>
              <a:gd name="T28" fmla="*/ 56061788 w 154"/>
              <a:gd name="T29" fmla="*/ 451269427 h 136"/>
              <a:gd name="T30" fmla="*/ 254827949 w 154"/>
              <a:gd name="T31" fmla="*/ 646136079 h 136"/>
              <a:gd name="T32" fmla="*/ 254827949 w 154"/>
              <a:gd name="T33" fmla="*/ 646136079 h 136"/>
              <a:gd name="T34" fmla="*/ 530039334 w 154"/>
              <a:gd name="T35" fmla="*/ 646136079 h 136"/>
              <a:gd name="T36" fmla="*/ 728805495 w 154"/>
              <a:gd name="T37" fmla="*/ 451269427 h 136"/>
              <a:gd name="T38" fmla="*/ 728805495 w 154"/>
              <a:gd name="T39" fmla="*/ 451269427 h 136"/>
              <a:gd name="T40" fmla="*/ 728805495 w 154"/>
              <a:gd name="T41" fmla="*/ 246146754 h 136"/>
              <a:gd name="T42" fmla="*/ 530039334 w 154"/>
              <a:gd name="T43" fmla="*/ 51280102 h 136"/>
              <a:gd name="T44" fmla="*/ 530039334 w 154"/>
              <a:gd name="T45" fmla="*/ 51280102 h 136"/>
              <a:gd name="T46" fmla="*/ 254827949 w 154"/>
              <a:gd name="T47" fmla="*/ 51280102 h 136"/>
              <a:gd name="T48" fmla="*/ 56061788 w 154"/>
              <a:gd name="T49" fmla="*/ 246146754 h 1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54" h="136">
                <a:moveTo>
                  <a:pt x="50" y="136"/>
                </a:moveTo>
                <a:cubicBezTo>
                  <a:pt x="22" y="136"/>
                  <a:pt x="0" y="115"/>
                  <a:pt x="0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21"/>
                  <a:pt x="22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32" y="0"/>
                  <a:pt x="154" y="21"/>
                  <a:pt x="154" y="48"/>
                </a:cubicBezTo>
                <a:cubicBezTo>
                  <a:pt x="154" y="48"/>
                  <a:pt x="154" y="48"/>
                  <a:pt x="154" y="48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154" y="115"/>
                  <a:pt x="132" y="136"/>
                  <a:pt x="104" y="136"/>
                </a:cubicBezTo>
                <a:cubicBezTo>
                  <a:pt x="104" y="136"/>
                  <a:pt x="104" y="136"/>
                  <a:pt x="104" y="136"/>
                </a:cubicBezTo>
                <a:cubicBezTo>
                  <a:pt x="50" y="136"/>
                  <a:pt x="50" y="136"/>
                  <a:pt x="50" y="136"/>
                </a:cubicBezTo>
                <a:close/>
                <a:moveTo>
                  <a:pt x="11" y="48"/>
                </a:moveTo>
                <a:cubicBezTo>
                  <a:pt x="11" y="88"/>
                  <a:pt x="11" y="88"/>
                  <a:pt x="11" y="88"/>
                </a:cubicBezTo>
                <a:cubicBezTo>
                  <a:pt x="11" y="109"/>
                  <a:pt x="28" y="126"/>
                  <a:pt x="50" y="126"/>
                </a:cubicBezTo>
                <a:cubicBezTo>
                  <a:pt x="50" y="126"/>
                  <a:pt x="50" y="126"/>
                  <a:pt x="50" y="126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126" y="126"/>
                  <a:pt x="143" y="109"/>
                  <a:pt x="143" y="88"/>
                </a:cubicBezTo>
                <a:cubicBezTo>
                  <a:pt x="143" y="88"/>
                  <a:pt x="143" y="88"/>
                  <a:pt x="143" y="88"/>
                </a:cubicBezTo>
                <a:cubicBezTo>
                  <a:pt x="143" y="48"/>
                  <a:pt x="143" y="48"/>
                  <a:pt x="143" y="48"/>
                </a:cubicBezTo>
                <a:cubicBezTo>
                  <a:pt x="143" y="27"/>
                  <a:pt x="126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28" y="10"/>
                  <a:pt x="11" y="27"/>
                  <a:pt x="11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88" name="Freeform 147"/>
          <p:cNvSpPr>
            <a:spLocks/>
          </p:cNvSpPr>
          <p:nvPr/>
        </p:nvSpPr>
        <p:spPr bwMode="auto">
          <a:xfrm>
            <a:off x="10911418" y="5505452"/>
            <a:ext cx="93133" cy="182033"/>
          </a:xfrm>
          <a:custGeom>
            <a:avLst/>
            <a:gdLst>
              <a:gd name="T0" fmla="*/ 0 w 44"/>
              <a:gd name="T1" fmla="*/ 0 h 86"/>
              <a:gd name="T2" fmla="*/ 110886875 w 44"/>
              <a:gd name="T3" fmla="*/ 110886875 h 86"/>
              <a:gd name="T4" fmla="*/ 0 w 44"/>
              <a:gd name="T5" fmla="*/ 216733438 h 86"/>
              <a:gd name="T6" fmla="*/ 0 w 44"/>
              <a:gd name="T7" fmla="*/ 0 h 8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4" h="86">
                <a:moveTo>
                  <a:pt x="0" y="0"/>
                </a:moveTo>
                <a:lnTo>
                  <a:pt x="44" y="44"/>
                </a:lnTo>
                <a:lnTo>
                  <a:pt x="0" y="8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89" name="Freeform 148"/>
          <p:cNvSpPr>
            <a:spLocks/>
          </p:cNvSpPr>
          <p:nvPr/>
        </p:nvSpPr>
        <p:spPr bwMode="auto">
          <a:xfrm>
            <a:off x="10998200" y="5505452"/>
            <a:ext cx="95251" cy="182033"/>
          </a:xfrm>
          <a:custGeom>
            <a:avLst/>
            <a:gdLst>
              <a:gd name="T0" fmla="*/ 0 w 45"/>
              <a:gd name="T1" fmla="*/ 0 h 86"/>
              <a:gd name="T2" fmla="*/ 113408619 w 45"/>
              <a:gd name="T3" fmla="*/ 110886875 h 86"/>
              <a:gd name="T4" fmla="*/ 0 w 45"/>
              <a:gd name="T5" fmla="*/ 216733438 h 86"/>
              <a:gd name="T6" fmla="*/ 0 w 45"/>
              <a:gd name="T7" fmla="*/ 0 h 8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5" h="86">
                <a:moveTo>
                  <a:pt x="0" y="0"/>
                </a:moveTo>
                <a:lnTo>
                  <a:pt x="45" y="44"/>
                </a:lnTo>
                <a:lnTo>
                  <a:pt x="0" y="8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90" name="Freeform 149"/>
          <p:cNvSpPr>
            <a:spLocks/>
          </p:cNvSpPr>
          <p:nvPr/>
        </p:nvSpPr>
        <p:spPr bwMode="auto">
          <a:xfrm>
            <a:off x="3378200" y="3094567"/>
            <a:ext cx="194733" cy="59267"/>
          </a:xfrm>
          <a:custGeom>
            <a:avLst/>
            <a:gdLst>
              <a:gd name="T0" fmla="*/ 0 w 92"/>
              <a:gd name="T1" fmla="*/ 70564375 h 28"/>
              <a:gd name="T2" fmla="*/ 0 w 92"/>
              <a:gd name="T3" fmla="*/ 0 h 28"/>
              <a:gd name="T4" fmla="*/ 231854375 w 92"/>
              <a:gd name="T5" fmla="*/ 0 h 28"/>
              <a:gd name="T6" fmla="*/ 231854375 w 92"/>
              <a:gd name="T7" fmla="*/ 70564375 h 28"/>
              <a:gd name="T8" fmla="*/ 0 w 92"/>
              <a:gd name="T9" fmla="*/ 70564375 h 28"/>
              <a:gd name="T10" fmla="*/ 0 w 92"/>
              <a:gd name="T11" fmla="*/ 70564375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92" h="28">
                <a:moveTo>
                  <a:pt x="0" y="28"/>
                </a:moveTo>
                <a:lnTo>
                  <a:pt x="0" y="0"/>
                </a:lnTo>
                <a:lnTo>
                  <a:pt x="92" y="0"/>
                </a:lnTo>
                <a:lnTo>
                  <a:pt x="92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91" name="Freeform 150"/>
          <p:cNvSpPr>
            <a:spLocks/>
          </p:cNvSpPr>
          <p:nvPr/>
        </p:nvSpPr>
        <p:spPr bwMode="auto">
          <a:xfrm>
            <a:off x="3378200" y="3187701"/>
            <a:ext cx="194733" cy="63500"/>
          </a:xfrm>
          <a:custGeom>
            <a:avLst/>
            <a:gdLst>
              <a:gd name="T0" fmla="*/ 0 w 92"/>
              <a:gd name="T1" fmla="*/ 75604688 h 30"/>
              <a:gd name="T2" fmla="*/ 0 w 92"/>
              <a:gd name="T3" fmla="*/ 0 h 30"/>
              <a:gd name="T4" fmla="*/ 231854375 w 92"/>
              <a:gd name="T5" fmla="*/ 0 h 30"/>
              <a:gd name="T6" fmla="*/ 231854375 w 92"/>
              <a:gd name="T7" fmla="*/ 75604688 h 30"/>
              <a:gd name="T8" fmla="*/ 0 w 92"/>
              <a:gd name="T9" fmla="*/ 75604688 h 30"/>
              <a:gd name="T10" fmla="*/ 0 w 92"/>
              <a:gd name="T11" fmla="*/ 75604688 h 3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92" h="30">
                <a:moveTo>
                  <a:pt x="0" y="30"/>
                </a:moveTo>
                <a:lnTo>
                  <a:pt x="0" y="0"/>
                </a:lnTo>
                <a:lnTo>
                  <a:pt x="92" y="0"/>
                </a:lnTo>
                <a:lnTo>
                  <a:pt x="92" y="30"/>
                </a:lnTo>
                <a:lnTo>
                  <a:pt x="0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92" name="Freeform 151"/>
          <p:cNvSpPr>
            <a:spLocks/>
          </p:cNvSpPr>
          <p:nvPr/>
        </p:nvSpPr>
        <p:spPr bwMode="auto">
          <a:xfrm>
            <a:off x="3378200" y="3333751"/>
            <a:ext cx="194733" cy="63500"/>
          </a:xfrm>
          <a:custGeom>
            <a:avLst/>
            <a:gdLst>
              <a:gd name="T0" fmla="*/ 0 w 92"/>
              <a:gd name="T1" fmla="*/ 75604688 h 30"/>
              <a:gd name="T2" fmla="*/ 0 w 92"/>
              <a:gd name="T3" fmla="*/ 0 h 30"/>
              <a:gd name="T4" fmla="*/ 231854375 w 92"/>
              <a:gd name="T5" fmla="*/ 0 h 30"/>
              <a:gd name="T6" fmla="*/ 231854375 w 92"/>
              <a:gd name="T7" fmla="*/ 75604688 h 30"/>
              <a:gd name="T8" fmla="*/ 0 w 92"/>
              <a:gd name="T9" fmla="*/ 75604688 h 30"/>
              <a:gd name="T10" fmla="*/ 0 w 92"/>
              <a:gd name="T11" fmla="*/ 75604688 h 3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92" h="30">
                <a:moveTo>
                  <a:pt x="0" y="30"/>
                </a:moveTo>
                <a:lnTo>
                  <a:pt x="0" y="0"/>
                </a:lnTo>
                <a:lnTo>
                  <a:pt x="92" y="0"/>
                </a:lnTo>
                <a:lnTo>
                  <a:pt x="92" y="30"/>
                </a:lnTo>
                <a:lnTo>
                  <a:pt x="0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93" name="Freeform 152"/>
          <p:cNvSpPr>
            <a:spLocks/>
          </p:cNvSpPr>
          <p:nvPr/>
        </p:nvSpPr>
        <p:spPr bwMode="auto">
          <a:xfrm>
            <a:off x="3378200" y="3431117"/>
            <a:ext cx="194733" cy="59267"/>
          </a:xfrm>
          <a:custGeom>
            <a:avLst/>
            <a:gdLst>
              <a:gd name="T0" fmla="*/ 0 w 92"/>
              <a:gd name="T1" fmla="*/ 70564375 h 28"/>
              <a:gd name="T2" fmla="*/ 0 w 92"/>
              <a:gd name="T3" fmla="*/ 0 h 28"/>
              <a:gd name="T4" fmla="*/ 231854375 w 92"/>
              <a:gd name="T5" fmla="*/ 0 h 28"/>
              <a:gd name="T6" fmla="*/ 231854375 w 92"/>
              <a:gd name="T7" fmla="*/ 70564375 h 28"/>
              <a:gd name="T8" fmla="*/ 0 w 92"/>
              <a:gd name="T9" fmla="*/ 70564375 h 28"/>
              <a:gd name="T10" fmla="*/ 0 w 92"/>
              <a:gd name="T11" fmla="*/ 70564375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92" h="28">
                <a:moveTo>
                  <a:pt x="0" y="28"/>
                </a:moveTo>
                <a:lnTo>
                  <a:pt x="0" y="0"/>
                </a:lnTo>
                <a:lnTo>
                  <a:pt x="92" y="0"/>
                </a:lnTo>
                <a:lnTo>
                  <a:pt x="92" y="28"/>
                </a:lnTo>
                <a:lnTo>
                  <a:pt x="0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94" name="Rectangle 153"/>
          <p:cNvSpPr>
            <a:spLocks noChangeArrowheads="1"/>
          </p:cNvSpPr>
          <p:nvPr/>
        </p:nvSpPr>
        <p:spPr bwMode="auto">
          <a:xfrm>
            <a:off x="3170768" y="3094568"/>
            <a:ext cx="156633" cy="1566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95" name="Rectangle 154"/>
          <p:cNvSpPr>
            <a:spLocks noChangeArrowheads="1"/>
          </p:cNvSpPr>
          <p:nvPr/>
        </p:nvSpPr>
        <p:spPr bwMode="auto">
          <a:xfrm>
            <a:off x="3170768" y="3333752"/>
            <a:ext cx="156633" cy="1566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7496" name="Freeform 155"/>
          <p:cNvSpPr>
            <a:spLocks noEditPoints="1"/>
          </p:cNvSpPr>
          <p:nvPr/>
        </p:nvSpPr>
        <p:spPr bwMode="auto">
          <a:xfrm>
            <a:off x="4011085" y="1447801"/>
            <a:ext cx="359833" cy="505884"/>
          </a:xfrm>
          <a:custGeom>
            <a:avLst/>
            <a:gdLst>
              <a:gd name="T0" fmla="*/ 546244992 w 120"/>
              <a:gd name="T1" fmla="*/ 76505921 h 168"/>
              <a:gd name="T2" fmla="*/ 495665919 w 120"/>
              <a:gd name="T3" fmla="*/ 173414325 h 168"/>
              <a:gd name="T4" fmla="*/ 440028939 w 120"/>
              <a:gd name="T5" fmla="*/ 76505921 h 168"/>
              <a:gd name="T6" fmla="*/ 359104671 w 120"/>
              <a:gd name="T7" fmla="*/ 30601465 h 168"/>
              <a:gd name="T8" fmla="*/ 369220485 w 120"/>
              <a:gd name="T9" fmla="*/ 112209136 h 168"/>
              <a:gd name="T10" fmla="*/ 242775052 w 120"/>
              <a:gd name="T11" fmla="*/ 112209136 h 168"/>
              <a:gd name="T12" fmla="*/ 252890867 w 120"/>
              <a:gd name="T13" fmla="*/ 30601465 h 168"/>
              <a:gd name="T14" fmla="*/ 166908692 w 120"/>
              <a:gd name="T15" fmla="*/ 76505921 h 168"/>
              <a:gd name="T16" fmla="*/ 111271711 w 120"/>
              <a:gd name="T17" fmla="*/ 173414325 h 168"/>
              <a:gd name="T18" fmla="*/ 60694888 w 120"/>
              <a:gd name="T19" fmla="*/ 76505921 h 168"/>
              <a:gd name="T20" fmla="*/ 0 w 120"/>
              <a:gd name="T21" fmla="*/ 30601465 h 168"/>
              <a:gd name="T22" fmla="*/ 15173722 w 120"/>
              <a:gd name="T23" fmla="*/ 673254818 h 168"/>
              <a:gd name="T24" fmla="*/ 606937630 w 120"/>
              <a:gd name="T25" fmla="*/ 856870384 h 168"/>
              <a:gd name="T26" fmla="*/ 546244992 w 120"/>
              <a:gd name="T27" fmla="*/ 30601465 h 168"/>
              <a:gd name="T28" fmla="*/ 268064589 w 120"/>
              <a:gd name="T29" fmla="*/ 805866437 h 168"/>
              <a:gd name="T30" fmla="*/ 50579073 w 120"/>
              <a:gd name="T31" fmla="*/ 591649405 h 168"/>
              <a:gd name="T32" fmla="*/ 556358557 w 120"/>
              <a:gd name="T33" fmla="*/ 224418273 h 168"/>
              <a:gd name="T34" fmla="*/ 510839641 w 120"/>
              <a:gd name="T35" fmla="*/ 382531865 h 168"/>
              <a:gd name="T36" fmla="*/ 106213804 w 120"/>
              <a:gd name="T37" fmla="*/ 448836545 h 168"/>
              <a:gd name="T38" fmla="*/ 510839641 w 120"/>
              <a:gd name="T39" fmla="*/ 382531865 h 168"/>
              <a:gd name="T40" fmla="*/ 106213804 w 120"/>
              <a:gd name="T41" fmla="*/ 280523970 h 168"/>
              <a:gd name="T42" fmla="*/ 510839641 w 120"/>
              <a:gd name="T43" fmla="*/ 341729159 h 168"/>
              <a:gd name="T44" fmla="*/ 510839641 w 120"/>
              <a:gd name="T45" fmla="*/ 489639252 h 168"/>
              <a:gd name="T46" fmla="*/ 106213804 w 120"/>
              <a:gd name="T47" fmla="*/ 550844441 h 168"/>
              <a:gd name="T48" fmla="*/ 510839641 w 120"/>
              <a:gd name="T49" fmla="*/ 489639252 h 168"/>
              <a:gd name="T50" fmla="*/ 526013363 w 120"/>
              <a:gd name="T51" fmla="*/ 117308628 h 168"/>
              <a:gd name="T52" fmla="*/ 495665919 w 120"/>
              <a:gd name="T53" fmla="*/ 0 h 168"/>
              <a:gd name="T54" fmla="*/ 465318475 w 120"/>
              <a:gd name="T55" fmla="*/ 117308628 h 168"/>
              <a:gd name="T56" fmla="*/ 111271711 w 120"/>
              <a:gd name="T57" fmla="*/ 147912351 h 168"/>
              <a:gd name="T58" fmla="*/ 146677063 w 120"/>
              <a:gd name="T59" fmla="*/ 30601465 h 168"/>
              <a:gd name="T60" fmla="*/ 80924268 w 120"/>
              <a:gd name="T61" fmla="*/ 30601465 h 168"/>
              <a:gd name="T62" fmla="*/ 111271711 w 120"/>
              <a:gd name="T63" fmla="*/ 147912351 h 168"/>
              <a:gd name="T64" fmla="*/ 333815134 w 120"/>
              <a:gd name="T65" fmla="*/ 117308628 h 168"/>
              <a:gd name="T66" fmla="*/ 303469940 w 120"/>
              <a:gd name="T67" fmla="*/ 0 h 168"/>
              <a:gd name="T68" fmla="*/ 273122496 w 120"/>
              <a:gd name="T69" fmla="*/ 117308628 h 16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20" h="168">
                <a:moveTo>
                  <a:pt x="108" y="6"/>
                </a:moveTo>
                <a:cubicBezTo>
                  <a:pt x="108" y="15"/>
                  <a:pt x="108" y="15"/>
                  <a:pt x="108" y="15"/>
                </a:cubicBezTo>
                <a:cubicBezTo>
                  <a:pt x="110" y="17"/>
                  <a:pt x="110" y="20"/>
                  <a:pt x="110" y="22"/>
                </a:cubicBezTo>
                <a:cubicBezTo>
                  <a:pt x="110" y="29"/>
                  <a:pt x="105" y="34"/>
                  <a:pt x="98" y="34"/>
                </a:cubicBezTo>
                <a:cubicBezTo>
                  <a:pt x="91" y="34"/>
                  <a:pt x="86" y="29"/>
                  <a:pt x="86" y="22"/>
                </a:cubicBezTo>
                <a:cubicBezTo>
                  <a:pt x="86" y="20"/>
                  <a:pt x="86" y="17"/>
                  <a:pt x="87" y="15"/>
                </a:cubicBezTo>
                <a:cubicBezTo>
                  <a:pt x="87" y="6"/>
                  <a:pt x="87" y="6"/>
                  <a:pt x="87" y="6"/>
                </a:cubicBezTo>
                <a:cubicBezTo>
                  <a:pt x="71" y="6"/>
                  <a:pt x="71" y="6"/>
                  <a:pt x="71" y="6"/>
                </a:cubicBezTo>
                <a:cubicBezTo>
                  <a:pt x="71" y="15"/>
                  <a:pt x="71" y="15"/>
                  <a:pt x="71" y="15"/>
                </a:cubicBezTo>
                <a:cubicBezTo>
                  <a:pt x="72" y="17"/>
                  <a:pt x="73" y="20"/>
                  <a:pt x="73" y="22"/>
                </a:cubicBezTo>
                <a:cubicBezTo>
                  <a:pt x="73" y="29"/>
                  <a:pt x="67" y="34"/>
                  <a:pt x="60" y="34"/>
                </a:cubicBezTo>
                <a:cubicBezTo>
                  <a:pt x="53" y="34"/>
                  <a:pt x="48" y="29"/>
                  <a:pt x="48" y="22"/>
                </a:cubicBezTo>
                <a:cubicBezTo>
                  <a:pt x="48" y="20"/>
                  <a:pt x="48" y="17"/>
                  <a:pt x="50" y="15"/>
                </a:cubicBezTo>
                <a:cubicBezTo>
                  <a:pt x="50" y="6"/>
                  <a:pt x="50" y="6"/>
                  <a:pt x="50" y="6"/>
                </a:cubicBezTo>
                <a:cubicBezTo>
                  <a:pt x="33" y="6"/>
                  <a:pt x="33" y="6"/>
                  <a:pt x="33" y="6"/>
                </a:cubicBezTo>
                <a:cubicBezTo>
                  <a:pt x="33" y="15"/>
                  <a:pt x="33" y="15"/>
                  <a:pt x="33" y="15"/>
                </a:cubicBezTo>
                <a:cubicBezTo>
                  <a:pt x="34" y="17"/>
                  <a:pt x="35" y="20"/>
                  <a:pt x="35" y="22"/>
                </a:cubicBezTo>
                <a:cubicBezTo>
                  <a:pt x="35" y="29"/>
                  <a:pt x="29" y="34"/>
                  <a:pt x="22" y="34"/>
                </a:cubicBezTo>
                <a:cubicBezTo>
                  <a:pt x="16" y="34"/>
                  <a:pt x="10" y="29"/>
                  <a:pt x="10" y="22"/>
                </a:cubicBezTo>
                <a:cubicBezTo>
                  <a:pt x="10" y="20"/>
                  <a:pt x="11" y="17"/>
                  <a:pt x="12" y="15"/>
                </a:cubicBezTo>
                <a:cubicBezTo>
                  <a:pt x="12" y="6"/>
                  <a:pt x="12" y="6"/>
                  <a:pt x="12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129"/>
                  <a:pt x="0" y="129"/>
                  <a:pt x="0" y="129"/>
                </a:cubicBezTo>
                <a:cubicBezTo>
                  <a:pt x="3" y="132"/>
                  <a:pt x="3" y="132"/>
                  <a:pt x="3" y="132"/>
                </a:cubicBezTo>
                <a:cubicBezTo>
                  <a:pt x="40" y="168"/>
                  <a:pt x="40" y="168"/>
                  <a:pt x="40" y="168"/>
                </a:cubicBezTo>
                <a:cubicBezTo>
                  <a:pt x="120" y="168"/>
                  <a:pt x="120" y="168"/>
                  <a:pt x="120" y="168"/>
                </a:cubicBezTo>
                <a:cubicBezTo>
                  <a:pt x="120" y="6"/>
                  <a:pt x="120" y="6"/>
                  <a:pt x="120" y="6"/>
                </a:cubicBezTo>
                <a:lnTo>
                  <a:pt x="108" y="6"/>
                </a:lnTo>
                <a:close/>
                <a:moveTo>
                  <a:pt x="110" y="158"/>
                </a:moveTo>
                <a:cubicBezTo>
                  <a:pt x="53" y="158"/>
                  <a:pt x="53" y="158"/>
                  <a:pt x="53" y="158"/>
                </a:cubicBezTo>
                <a:cubicBezTo>
                  <a:pt x="38" y="158"/>
                  <a:pt x="45" y="123"/>
                  <a:pt x="45" y="123"/>
                </a:cubicBezTo>
                <a:cubicBezTo>
                  <a:pt x="45" y="123"/>
                  <a:pt x="11" y="131"/>
                  <a:pt x="10" y="116"/>
                </a:cubicBezTo>
                <a:cubicBezTo>
                  <a:pt x="10" y="44"/>
                  <a:pt x="10" y="44"/>
                  <a:pt x="10" y="44"/>
                </a:cubicBezTo>
                <a:cubicBezTo>
                  <a:pt x="110" y="44"/>
                  <a:pt x="110" y="44"/>
                  <a:pt x="110" y="44"/>
                </a:cubicBezTo>
                <a:lnTo>
                  <a:pt x="110" y="158"/>
                </a:lnTo>
                <a:close/>
                <a:moveTo>
                  <a:pt x="101" y="75"/>
                </a:moveTo>
                <a:cubicBezTo>
                  <a:pt x="21" y="75"/>
                  <a:pt x="21" y="75"/>
                  <a:pt x="21" y="75"/>
                </a:cubicBezTo>
                <a:cubicBezTo>
                  <a:pt x="21" y="88"/>
                  <a:pt x="21" y="88"/>
                  <a:pt x="21" y="88"/>
                </a:cubicBezTo>
                <a:cubicBezTo>
                  <a:pt x="101" y="88"/>
                  <a:pt x="101" y="88"/>
                  <a:pt x="101" y="88"/>
                </a:cubicBezTo>
                <a:lnTo>
                  <a:pt x="101" y="75"/>
                </a:lnTo>
                <a:close/>
                <a:moveTo>
                  <a:pt x="101" y="55"/>
                </a:moveTo>
                <a:cubicBezTo>
                  <a:pt x="21" y="55"/>
                  <a:pt x="21" y="55"/>
                  <a:pt x="21" y="55"/>
                </a:cubicBezTo>
                <a:cubicBezTo>
                  <a:pt x="21" y="67"/>
                  <a:pt x="21" y="67"/>
                  <a:pt x="21" y="67"/>
                </a:cubicBezTo>
                <a:cubicBezTo>
                  <a:pt x="101" y="67"/>
                  <a:pt x="101" y="67"/>
                  <a:pt x="101" y="67"/>
                </a:cubicBezTo>
                <a:lnTo>
                  <a:pt x="101" y="55"/>
                </a:lnTo>
                <a:close/>
                <a:moveTo>
                  <a:pt x="101" y="96"/>
                </a:moveTo>
                <a:cubicBezTo>
                  <a:pt x="21" y="96"/>
                  <a:pt x="21" y="96"/>
                  <a:pt x="21" y="96"/>
                </a:cubicBezTo>
                <a:cubicBezTo>
                  <a:pt x="21" y="108"/>
                  <a:pt x="21" y="108"/>
                  <a:pt x="21" y="108"/>
                </a:cubicBezTo>
                <a:cubicBezTo>
                  <a:pt x="101" y="108"/>
                  <a:pt x="101" y="108"/>
                  <a:pt x="101" y="108"/>
                </a:cubicBezTo>
                <a:lnTo>
                  <a:pt x="101" y="96"/>
                </a:lnTo>
                <a:close/>
                <a:moveTo>
                  <a:pt x="98" y="29"/>
                </a:moveTo>
                <a:cubicBezTo>
                  <a:pt x="101" y="29"/>
                  <a:pt x="104" y="26"/>
                  <a:pt x="104" y="23"/>
                </a:cubicBezTo>
                <a:cubicBezTo>
                  <a:pt x="104" y="6"/>
                  <a:pt x="104" y="6"/>
                  <a:pt x="104" y="6"/>
                </a:cubicBezTo>
                <a:cubicBezTo>
                  <a:pt x="104" y="2"/>
                  <a:pt x="101" y="0"/>
                  <a:pt x="98" y="0"/>
                </a:cubicBezTo>
                <a:cubicBezTo>
                  <a:pt x="94" y="0"/>
                  <a:pt x="92" y="2"/>
                  <a:pt x="92" y="6"/>
                </a:cubicBezTo>
                <a:cubicBezTo>
                  <a:pt x="92" y="23"/>
                  <a:pt x="92" y="23"/>
                  <a:pt x="92" y="23"/>
                </a:cubicBezTo>
                <a:cubicBezTo>
                  <a:pt x="92" y="26"/>
                  <a:pt x="94" y="29"/>
                  <a:pt x="98" y="29"/>
                </a:cubicBezTo>
                <a:close/>
                <a:moveTo>
                  <a:pt x="22" y="29"/>
                </a:moveTo>
                <a:cubicBezTo>
                  <a:pt x="26" y="29"/>
                  <a:pt x="29" y="26"/>
                  <a:pt x="29" y="23"/>
                </a:cubicBezTo>
                <a:cubicBezTo>
                  <a:pt x="29" y="6"/>
                  <a:pt x="29" y="6"/>
                  <a:pt x="29" y="6"/>
                </a:cubicBezTo>
                <a:cubicBezTo>
                  <a:pt x="29" y="2"/>
                  <a:pt x="26" y="0"/>
                  <a:pt x="22" y="0"/>
                </a:cubicBezTo>
                <a:cubicBezTo>
                  <a:pt x="19" y="0"/>
                  <a:pt x="16" y="2"/>
                  <a:pt x="16" y="6"/>
                </a:cubicBezTo>
                <a:cubicBezTo>
                  <a:pt x="16" y="23"/>
                  <a:pt x="16" y="23"/>
                  <a:pt x="16" y="23"/>
                </a:cubicBezTo>
                <a:cubicBezTo>
                  <a:pt x="16" y="26"/>
                  <a:pt x="19" y="29"/>
                  <a:pt x="22" y="29"/>
                </a:cubicBezTo>
                <a:close/>
                <a:moveTo>
                  <a:pt x="60" y="29"/>
                </a:moveTo>
                <a:cubicBezTo>
                  <a:pt x="64" y="29"/>
                  <a:pt x="66" y="26"/>
                  <a:pt x="66" y="23"/>
                </a:cubicBezTo>
                <a:cubicBezTo>
                  <a:pt x="66" y="6"/>
                  <a:pt x="66" y="6"/>
                  <a:pt x="66" y="6"/>
                </a:cubicBezTo>
                <a:cubicBezTo>
                  <a:pt x="66" y="2"/>
                  <a:pt x="64" y="0"/>
                  <a:pt x="60" y="0"/>
                </a:cubicBezTo>
                <a:cubicBezTo>
                  <a:pt x="57" y="0"/>
                  <a:pt x="54" y="2"/>
                  <a:pt x="54" y="6"/>
                </a:cubicBezTo>
                <a:cubicBezTo>
                  <a:pt x="54" y="23"/>
                  <a:pt x="54" y="23"/>
                  <a:pt x="54" y="23"/>
                </a:cubicBezTo>
                <a:cubicBezTo>
                  <a:pt x="54" y="26"/>
                  <a:pt x="57" y="29"/>
                  <a:pt x="60" y="2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97" name="Freeform 156"/>
          <p:cNvSpPr>
            <a:spLocks/>
          </p:cNvSpPr>
          <p:nvPr/>
        </p:nvSpPr>
        <p:spPr bwMode="auto">
          <a:xfrm>
            <a:off x="2355852" y="1494367"/>
            <a:ext cx="323849" cy="99484"/>
          </a:xfrm>
          <a:custGeom>
            <a:avLst/>
            <a:gdLst>
              <a:gd name="T0" fmla="*/ 0 w 153"/>
              <a:gd name="T1" fmla="*/ 118448931 h 47"/>
              <a:gd name="T2" fmla="*/ 0 w 153"/>
              <a:gd name="T3" fmla="*/ 0 h 47"/>
              <a:gd name="T4" fmla="*/ 385583906 w 153"/>
              <a:gd name="T5" fmla="*/ 0 h 47"/>
              <a:gd name="T6" fmla="*/ 385583906 w 153"/>
              <a:gd name="T7" fmla="*/ 118448931 h 47"/>
              <a:gd name="T8" fmla="*/ 0 w 153"/>
              <a:gd name="T9" fmla="*/ 118448931 h 47"/>
              <a:gd name="T10" fmla="*/ 0 w 153"/>
              <a:gd name="T11" fmla="*/ 118448931 h 4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3" h="47">
                <a:moveTo>
                  <a:pt x="0" y="47"/>
                </a:moveTo>
                <a:lnTo>
                  <a:pt x="0" y="0"/>
                </a:lnTo>
                <a:lnTo>
                  <a:pt x="153" y="0"/>
                </a:lnTo>
                <a:lnTo>
                  <a:pt x="153" y="47"/>
                </a:lnTo>
                <a:lnTo>
                  <a:pt x="0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98" name="Freeform 157"/>
          <p:cNvSpPr>
            <a:spLocks/>
          </p:cNvSpPr>
          <p:nvPr/>
        </p:nvSpPr>
        <p:spPr bwMode="auto">
          <a:xfrm>
            <a:off x="2355852" y="1653117"/>
            <a:ext cx="323849" cy="99483"/>
          </a:xfrm>
          <a:custGeom>
            <a:avLst/>
            <a:gdLst>
              <a:gd name="T0" fmla="*/ 0 w 153"/>
              <a:gd name="T1" fmla="*/ 118447344 h 47"/>
              <a:gd name="T2" fmla="*/ 0 w 153"/>
              <a:gd name="T3" fmla="*/ 0 h 47"/>
              <a:gd name="T4" fmla="*/ 385583906 w 153"/>
              <a:gd name="T5" fmla="*/ 0 h 47"/>
              <a:gd name="T6" fmla="*/ 385583906 w 153"/>
              <a:gd name="T7" fmla="*/ 118447344 h 47"/>
              <a:gd name="T8" fmla="*/ 0 w 153"/>
              <a:gd name="T9" fmla="*/ 118447344 h 47"/>
              <a:gd name="T10" fmla="*/ 0 w 153"/>
              <a:gd name="T11" fmla="*/ 118447344 h 4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3" h="47">
                <a:moveTo>
                  <a:pt x="0" y="47"/>
                </a:moveTo>
                <a:lnTo>
                  <a:pt x="0" y="0"/>
                </a:lnTo>
                <a:lnTo>
                  <a:pt x="153" y="0"/>
                </a:lnTo>
                <a:lnTo>
                  <a:pt x="153" y="47"/>
                </a:lnTo>
                <a:lnTo>
                  <a:pt x="0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499" name="Freeform 158"/>
          <p:cNvSpPr>
            <a:spLocks/>
          </p:cNvSpPr>
          <p:nvPr/>
        </p:nvSpPr>
        <p:spPr bwMode="auto">
          <a:xfrm>
            <a:off x="2355852" y="1809751"/>
            <a:ext cx="323849" cy="99483"/>
          </a:xfrm>
          <a:custGeom>
            <a:avLst/>
            <a:gdLst>
              <a:gd name="T0" fmla="*/ 0 w 153"/>
              <a:gd name="T1" fmla="*/ 118447344 h 47"/>
              <a:gd name="T2" fmla="*/ 0 w 153"/>
              <a:gd name="T3" fmla="*/ 0 h 47"/>
              <a:gd name="T4" fmla="*/ 385583906 w 153"/>
              <a:gd name="T5" fmla="*/ 0 h 47"/>
              <a:gd name="T6" fmla="*/ 385583906 w 153"/>
              <a:gd name="T7" fmla="*/ 118447344 h 47"/>
              <a:gd name="T8" fmla="*/ 0 w 153"/>
              <a:gd name="T9" fmla="*/ 118447344 h 47"/>
              <a:gd name="T10" fmla="*/ 0 w 153"/>
              <a:gd name="T11" fmla="*/ 118447344 h 4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3" h="47">
                <a:moveTo>
                  <a:pt x="0" y="47"/>
                </a:moveTo>
                <a:lnTo>
                  <a:pt x="0" y="0"/>
                </a:lnTo>
                <a:lnTo>
                  <a:pt x="153" y="0"/>
                </a:lnTo>
                <a:lnTo>
                  <a:pt x="153" y="47"/>
                </a:lnTo>
                <a:lnTo>
                  <a:pt x="0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500" name="Freeform 159"/>
          <p:cNvSpPr>
            <a:spLocks/>
          </p:cNvSpPr>
          <p:nvPr/>
        </p:nvSpPr>
        <p:spPr bwMode="auto">
          <a:xfrm>
            <a:off x="2216151" y="1490134"/>
            <a:ext cx="48683" cy="107951"/>
          </a:xfrm>
          <a:custGeom>
            <a:avLst/>
            <a:gdLst>
              <a:gd name="T0" fmla="*/ 0 w 16"/>
              <a:gd name="T1" fmla="*/ 55637324 h 36"/>
              <a:gd name="T2" fmla="*/ 0 w 16"/>
              <a:gd name="T3" fmla="*/ 30347631 h 36"/>
              <a:gd name="T4" fmla="*/ 26037620 w 16"/>
              <a:gd name="T5" fmla="*/ 25289693 h 36"/>
              <a:gd name="T6" fmla="*/ 46869998 w 16"/>
              <a:gd name="T7" fmla="*/ 20231754 h 36"/>
              <a:gd name="T8" fmla="*/ 52077522 w 16"/>
              <a:gd name="T9" fmla="*/ 5057939 h 36"/>
              <a:gd name="T10" fmla="*/ 52077522 w 16"/>
              <a:gd name="T11" fmla="*/ 0 h 36"/>
              <a:gd name="T12" fmla="*/ 83322666 w 16"/>
              <a:gd name="T13" fmla="*/ 0 h 36"/>
              <a:gd name="T14" fmla="*/ 83322666 w 16"/>
              <a:gd name="T15" fmla="*/ 182083538 h 36"/>
              <a:gd name="T16" fmla="*/ 46869998 w 16"/>
              <a:gd name="T17" fmla="*/ 182083538 h 36"/>
              <a:gd name="T18" fmla="*/ 46869998 w 16"/>
              <a:gd name="T19" fmla="*/ 55637324 h 36"/>
              <a:gd name="T20" fmla="*/ 0 w 16"/>
              <a:gd name="T21" fmla="*/ 55637324 h 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6" h="36">
                <a:moveTo>
                  <a:pt x="0" y="11"/>
                </a:moveTo>
                <a:cubicBezTo>
                  <a:pt x="0" y="6"/>
                  <a:pt x="0" y="6"/>
                  <a:pt x="0" y="6"/>
                </a:cubicBezTo>
                <a:cubicBezTo>
                  <a:pt x="3" y="6"/>
                  <a:pt x="4" y="6"/>
                  <a:pt x="5" y="5"/>
                </a:cubicBezTo>
                <a:cubicBezTo>
                  <a:pt x="7" y="5"/>
                  <a:pt x="8" y="5"/>
                  <a:pt x="9" y="4"/>
                </a:cubicBezTo>
                <a:cubicBezTo>
                  <a:pt x="9" y="3"/>
                  <a:pt x="10" y="2"/>
                  <a:pt x="10" y="1"/>
                </a:cubicBezTo>
                <a:cubicBezTo>
                  <a:pt x="10" y="0"/>
                  <a:pt x="10" y="0"/>
                  <a:pt x="1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36"/>
                  <a:pt x="16" y="36"/>
                  <a:pt x="16" y="36"/>
                </a:cubicBezTo>
                <a:cubicBezTo>
                  <a:pt x="9" y="36"/>
                  <a:pt x="9" y="36"/>
                  <a:pt x="9" y="36"/>
                </a:cubicBezTo>
                <a:cubicBezTo>
                  <a:pt x="9" y="11"/>
                  <a:pt x="9" y="11"/>
                  <a:pt x="9" y="11"/>
                </a:cubicBezTo>
                <a:lnTo>
                  <a:pt x="0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501" name="Freeform 160"/>
          <p:cNvSpPr>
            <a:spLocks/>
          </p:cNvSpPr>
          <p:nvPr/>
        </p:nvSpPr>
        <p:spPr bwMode="auto">
          <a:xfrm>
            <a:off x="2214034" y="1646767"/>
            <a:ext cx="71967" cy="112184"/>
          </a:xfrm>
          <a:custGeom>
            <a:avLst/>
            <a:gdLst>
              <a:gd name="T0" fmla="*/ 5057907 w 24"/>
              <a:gd name="T1" fmla="*/ 155132280 h 37"/>
              <a:gd name="T2" fmla="*/ 40463258 w 24"/>
              <a:gd name="T3" fmla="*/ 113763672 h 37"/>
              <a:gd name="T4" fmla="*/ 75866360 w 24"/>
              <a:gd name="T5" fmla="*/ 87908292 h 37"/>
              <a:gd name="T6" fmla="*/ 85982175 w 24"/>
              <a:gd name="T7" fmla="*/ 62052912 h 37"/>
              <a:gd name="T8" fmla="*/ 80924268 w 24"/>
              <a:gd name="T9" fmla="*/ 41368608 h 37"/>
              <a:gd name="T10" fmla="*/ 60694888 w 24"/>
              <a:gd name="T11" fmla="*/ 31026456 h 37"/>
              <a:gd name="T12" fmla="*/ 40463258 w 24"/>
              <a:gd name="T13" fmla="*/ 46539684 h 37"/>
              <a:gd name="T14" fmla="*/ 35405351 w 24"/>
              <a:gd name="T15" fmla="*/ 67223988 h 37"/>
              <a:gd name="T16" fmla="*/ 0 w 24"/>
              <a:gd name="T17" fmla="*/ 67223988 h 37"/>
              <a:gd name="T18" fmla="*/ 10115815 w 24"/>
              <a:gd name="T19" fmla="*/ 31026456 h 37"/>
              <a:gd name="T20" fmla="*/ 60694888 w 24"/>
              <a:gd name="T21" fmla="*/ 0 h 37"/>
              <a:gd name="T22" fmla="*/ 106213804 w 24"/>
              <a:gd name="T23" fmla="*/ 20684304 h 37"/>
              <a:gd name="T24" fmla="*/ 121387526 w 24"/>
              <a:gd name="T25" fmla="*/ 62052912 h 37"/>
              <a:gd name="T26" fmla="*/ 111271711 w 24"/>
              <a:gd name="T27" fmla="*/ 98250444 h 37"/>
              <a:gd name="T28" fmla="*/ 85982175 w 24"/>
              <a:gd name="T29" fmla="*/ 124105824 h 37"/>
              <a:gd name="T30" fmla="*/ 70808453 w 24"/>
              <a:gd name="T31" fmla="*/ 134447976 h 37"/>
              <a:gd name="T32" fmla="*/ 50579073 w 24"/>
              <a:gd name="T33" fmla="*/ 144790128 h 37"/>
              <a:gd name="T34" fmla="*/ 40463258 w 24"/>
              <a:gd name="T35" fmla="*/ 155132280 h 37"/>
              <a:gd name="T36" fmla="*/ 121387526 w 24"/>
              <a:gd name="T37" fmla="*/ 155132280 h 37"/>
              <a:gd name="T38" fmla="*/ 121387526 w 24"/>
              <a:gd name="T39" fmla="*/ 191329812 h 37"/>
              <a:gd name="T40" fmla="*/ 0 w 24"/>
              <a:gd name="T41" fmla="*/ 191329812 h 37"/>
              <a:gd name="T42" fmla="*/ 5057907 w 24"/>
              <a:gd name="T43" fmla="*/ 155132280 h 3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24" h="37">
                <a:moveTo>
                  <a:pt x="1" y="30"/>
                </a:moveTo>
                <a:cubicBezTo>
                  <a:pt x="2" y="27"/>
                  <a:pt x="5" y="25"/>
                  <a:pt x="8" y="22"/>
                </a:cubicBezTo>
                <a:cubicBezTo>
                  <a:pt x="12" y="20"/>
                  <a:pt x="14" y="18"/>
                  <a:pt x="15" y="17"/>
                </a:cubicBezTo>
                <a:cubicBezTo>
                  <a:pt x="16" y="15"/>
                  <a:pt x="17" y="14"/>
                  <a:pt x="17" y="12"/>
                </a:cubicBezTo>
                <a:cubicBezTo>
                  <a:pt x="17" y="10"/>
                  <a:pt x="16" y="9"/>
                  <a:pt x="16" y="8"/>
                </a:cubicBezTo>
                <a:cubicBezTo>
                  <a:pt x="15" y="7"/>
                  <a:pt x="14" y="6"/>
                  <a:pt x="12" y="6"/>
                </a:cubicBezTo>
                <a:cubicBezTo>
                  <a:pt x="10" y="6"/>
                  <a:pt x="8" y="7"/>
                  <a:pt x="8" y="9"/>
                </a:cubicBezTo>
                <a:cubicBezTo>
                  <a:pt x="7" y="10"/>
                  <a:pt x="7" y="11"/>
                  <a:pt x="7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0"/>
                  <a:pt x="1" y="8"/>
                  <a:pt x="2" y="6"/>
                </a:cubicBezTo>
                <a:cubicBezTo>
                  <a:pt x="3" y="2"/>
                  <a:pt x="7" y="0"/>
                  <a:pt x="12" y="0"/>
                </a:cubicBezTo>
                <a:cubicBezTo>
                  <a:pt x="15" y="0"/>
                  <a:pt x="18" y="1"/>
                  <a:pt x="21" y="4"/>
                </a:cubicBezTo>
                <a:cubicBezTo>
                  <a:pt x="23" y="6"/>
                  <a:pt x="24" y="8"/>
                  <a:pt x="24" y="12"/>
                </a:cubicBezTo>
                <a:cubicBezTo>
                  <a:pt x="24" y="15"/>
                  <a:pt x="23" y="17"/>
                  <a:pt x="22" y="19"/>
                </a:cubicBezTo>
                <a:cubicBezTo>
                  <a:pt x="21" y="20"/>
                  <a:pt x="19" y="22"/>
                  <a:pt x="17" y="24"/>
                </a:cubicBezTo>
                <a:cubicBezTo>
                  <a:pt x="14" y="26"/>
                  <a:pt x="14" y="26"/>
                  <a:pt x="14" y="26"/>
                </a:cubicBezTo>
                <a:cubicBezTo>
                  <a:pt x="12" y="27"/>
                  <a:pt x="11" y="28"/>
                  <a:pt x="10" y="28"/>
                </a:cubicBezTo>
                <a:cubicBezTo>
                  <a:pt x="9" y="29"/>
                  <a:pt x="9" y="30"/>
                  <a:pt x="8" y="30"/>
                </a:cubicBezTo>
                <a:cubicBezTo>
                  <a:pt x="24" y="30"/>
                  <a:pt x="24" y="30"/>
                  <a:pt x="24" y="30"/>
                </a:cubicBezTo>
                <a:cubicBezTo>
                  <a:pt x="24" y="37"/>
                  <a:pt x="24" y="37"/>
                  <a:pt x="24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4"/>
                  <a:pt x="0" y="32"/>
                  <a:pt x="1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502" name="Freeform 161"/>
          <p:cNvSpPr>
            <a:spLocks/>
          </p:cNvSpPr>
          <p:nvPr/>
        </p:nvSpPr>
        <p:spPr bwMode="auto">
          <a:xfrm>
            <a:off x="2209800" y="1801284"/>
            <a:ext cx="76200" cy="110067"/>
          </a:xfrm>
          <a:custGeom>
            <a:avLst/>
            <a:gdLst>
              <a:gd name="T0" fmla="*/ 36580572 w 25"/>
              <a:gd name="T1" fmla="*/ 124443009 h 37"/>
              <a:gd name="T2" fmla="*/ 41806368 w 25"/>
              <a:gd name="T3" fmla="*/ 144353177 h 37"/>
              <a:gd name="T4" fmla="*/ 67935348 w 25"/>
              <a:gd name="T5" fmla="*/ 159288034 h 37"/>
              <a:gd name="T6" fmla="*/ 83612736 w 25"/>
              <a:gd name="T7" fmla="*/ 149330719 h 37"/>
              <a:gd name="T8" fmla="*/ 94064328 w 25"/>
              <a:gd name="T9" fmla="*/ 129420551 h 37"/>
              <a:gd name="T10" fmla="*/ 78386940 w 25"/>
              <a:gd name="T11" fmla="*/ 104532842 h 37"/>
              <a:gd name="T12" fmla="*/ 52257960 w 25"/>
              <a:gd name="T13" fmla="*/ 104532842 h 37"/>
              <a:gd name="T14" fmla="*/ 52257960 w 25"/>
              <a:gd name="T15" fmla="*/ 79642901 h 37"/>
              <a:gd name="T16" fmla="*/ 78386940 w 25"/>
              <a:gd name="T17" fmla="*/ 74665359 h 37"/>
              <a:gd name="T18" fmla="*/ 88838532 w 25"/>
              <a:gd name="T19" fmla="*/ 54755192 h 37"/>
              <a:gd name="T20" fmla="*/ 83612736 w 25"/>
              <a:gd name="T21" fmla="*/ 34845024 h 37"/>
              <a:gd name="T22" fmla="*/ 62709552 w 25"/>
              <a:gd name="T23" fmla="*/ 29865251 h 37"/>
              <a:gd name="T24" fmla="*/ 47032164 w 25"/>
              <a:gd name="T25" fmla="*/ 39822566 h 37"/>
              <a:gd name="T26" fmla="*/ 41806368 w 25"/>
              <a:gd name="T27" fmla="*/ 59732734 h 37"/>
              <a:gd name="T28" fmla="*/ 5225796 w 25"/>
              <a:gd name="T29" fmla="*/ 59732734 h 37"/>
              <a:gd name="T30" fmla="*/ 10451592 w 25"/>
              <a:gd name="T31" fmla="*/ 34845024 h 37"/>
              <a:gd name="T32" fmla="*/ 26128980 w 25"/>
              <a:gd name="T33" fmla="*/ 14932626 h 37"/>
              <a:gd name="T34" fmla="*/ 41806368 w 25"/>
              <a:gd name="T35" fmla="*/ 4977542 h 37"/>
              <a:gd name="T36" fmla="*/ 67935348 w 25"/>
              <a:gd name="T37" fmla="*/ 0 h 37"/>
              <a:gd name="T38" fmla="*/ 109741716 w 25"/>
              <a:gd name="T39" fmla="*/ 14932626 h 37"/>
              <a:gd name="T40" fmla="*/ 125419104 w 25"/>
              <a:gd name="T41" fmla="*/ 49777650 h 37"/>
              <a:gd name="T42" fmla="*/ 114967512 w 25"/>
              <a:gd name="T43" fmla="*/ 79642901 h 37"/>
              <a:gd name="T44" fmla="*/ 104515920 w 25"/>
              <a:gd name="T45" fmla="*/ 84620443 h 37"/>
              <a:gd name="T46" fmla="*/ 114967512 w 25"/>
              <a:gd name="T47" fmla="*/ 94577758 h 37"/>
              <a:gd name="T48" fmla="*/ 130644900 w 25"/>
              <a:gd name="T49" fmla="*/ 129420551 h 37"/>
              <a:gd name="T50" fmla="*/ 114967512 w 25"/>
              <a:gd name="T51" fmla="*/ 169243118 h 37"/>
              <a:gd name="T52" fmla="*/ 67935348 w 25"/>
              <a:gd name="T53" fmla="*/ 184175743 h 37"/>
              <a:gd name="T54" fmla="*/ 10451592 w 25"/>
              <a:gd name="T55" fmla="*/ 159288034 h 37"/>
              <a:gd name="T56" fmla="*/ 0 w 25"/>
              <a:gd name="T57" fmla="*/ 124443009 h 37"/>
              <a:gd name="T58" fmla="*/ 36580572 w 25"/>
              <a:gd name="T59" fmla="*/ 124443009 h 3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25" h="37">
                <a:moveTo>
                  <a:pt x="7" y="25"/>
                </a:moveTo>
                <a:cubicBezTo>
                  <a:pt x="7" y="27"/>
                  <a:pt x="7" y="28"/>
                  <a:pt x="8" y="29"/>
                </a:cubicBezTo>
                <a:cubicBezTo>
                  <a:pt x="9" y="31"/>
                  <a:pt x="10" y="32"/>
                  <a:pt x="13" y="32"/>
                </a:cubicBezTo>
                <a:cubicBezTo>
                  <a:pt x="14" y="32"/>
                  <a:pt x="15" y="31"/>
                  <a:pt x="16" y="30"/>
                </a:cubicBezTo>
                <a:cubicBezTo>
                  <a:pt x="17" y="29"/>
                  <a:pt x="18" y="28"/>
                  <a:pt x="18" y="26"/>
                </a:cubicBezTo>
                <a:cubicBezTo>
                  <a:pt x="18" y="24"/>
                  <a:pt x="17" y="22"/>
                  <a:pt x="15" y="21"/>
                </a:cubicBezTo>
                <a:cubicBezTo>
                  <a:pt x="14" y="21"/>
                  <a:pt x="12" y="21"/>
                  <a:pt x="10" y="21"/>
                </a:cubicBezTo>
                <a:cubicBezTo>
                  <a:pt x="10" y="16"/>
                  <a:pt x="10" y="16"/>
                  <a:pt x="10" y="16"/>
                </a:cubicBezTo>
                <a:cubicBezTo>
                  <a:pt x="12" y="16"/>
                  <a:pt x="14" y="15"/>
                  <a:pt x="15" y="15"/>
                </a:cubicBezTo>
                <a:cubicBezTo>
                  <a:pt x="16" y="14"/>
                  <a:pt x="17" y="13"/>
                  <a:pt x="17" y="11"/>
                </a:cubicBezTo>
                <a:cubicBezTo>
                  <a:pt x="17" y="9"/>
                  <a:pt x="16" y="8"/>
                  <a:pt x="16" y="7"/>
                </a:cubicBezTo>
                <a:cubicBezTo>
                  <a:pt x="15" y="7"/>
                  <a:pt x="14" y="6"/>
                  <a:pt x="12" y="6"/>
                </a:cubicBezTo>
                <a:cubicBezTo>
                  <a:pt x="11" y="6"/>
                  <a:pt x="9" y="7"/>
                  <a:pt x="9" y="8"/>
                </a:cubicBezTo>
                <a:cubicBezTo>
                  <a:pt x="8" y="9"/>
                  <a:pt x="7" y="10"/>
                  <a:pt x="8" y="12"/>
                </a:cubicBezTo>
                <a:cubicBezTo>
                  <a:pt x="1" y="12"/>
                  <a:pt x="1" y="12"/>
                  <a:pt x="1" y="12"/>
                </a:cubicBezTo>
                <a:cubicBezTo>
                  <a:pt x="1" y="10"/>
                  <a:pt x="1" y="8"/>
                  <a:pt x="2" y="7"/>
                </a:cubicBezTo>
                <a:cubicBezTo>
                  <a:pt x="2" y="5"/>
                  <a:pt x="3" y="4"/>
                  <a:pt x="5" y="3"/>
                </a:cubicBezTo>
                <a:cubicBezTo>
                  <a:pt x="5" y="2"/>
                  <a:pt x="7" y="2"/>
                  <a:pt x="8" y="1"/>
                </a:cubicBezTo>
                <a:cubicBezTo>
                  <a:pt x="9" y="1"/>
                  <a:pt x="11" y="0"/>
                  <a:pt x="13" y="0"/>
                </a:cubicBezTo>
                <a:cubicBezTo>
                  <a:pt x="16" y="0"/>
                  <a:pt x="19" y="1"/>
                  <a:pt x="21" y="3"/>
                </a:cubicBezTo>
                <a:cubicBezTo>
                  <a:pt x="23" y="5"/>
                  <a:pt x="24" y="7"/>
                  <a:pt x="24" y="10"/>
                </a:cubicBezTo>
                <a:cubicBezTo>
                  <a:pt x="24" y="12"/>
                  <a:pt x="23" y="14"/>
                  <a:pt x="22" y="16"/>
                </a:cubicBezTo>
                <a:cubicBezTo>
                  <a:pt x="21" y="16"/>
                  <a:pt x="20" y="17"/>
                  <a:pt x="20" y="17"/>
                </a:cubicBezTo>
                <a:cubicBezTo>
                  <a:pt x="20" y="17"/>
                  <a:pt x="21" y="18"/>
                  <a:pt x="22" y="19"/>
                </a:cubicBezTo>
                <a:cubicBezTo>
                  <a:pt x="24" y="21"/>
                  <a:pt x="25" y="23"/>
                  <a:pt x="25" y="26"/>
                </a:cubicBezTo>
                <a:cubicBezTo>
                  <a:pt x="25" y="29"/>
                  <a:pt x="24" y="32"/>
                  <a:pt x="22" y="34"/>
                </a:cubicBezTo>
                <a:cubicBezTo>
                  <a:pt x="20" y="36"/>
                  <a:pt x="17" y="37"/>
                  <a:pt x="13" y="37"/>
                </a:cubicBezTo>
                <a:cubicBezTo>
                  <a:pt x="8" y="37"/>
                  <a:pt x="4" y="36"/>
                  <a:pt x="2" y="32"/>
                </a:cubicBezTo>
                <a:cubicBezTo>
                  <a:pt x="1" y="31"/>
                  <a:pt x="0" y="28"/>
                  <a:pt x="0" y="25"/>
                </a:cubicBezTo>
                <a:lnTo>
                  <a:pt x="7" y="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7503" name="Freeform 162"/>
          <p:cNvSpPr>
            <a:spLocks noEditPoints="1"/>
          </p:cNvSpPr>
          <p:nvPr/>
        </p:nvSpPr>
        <p:spPr bwMode="auto">
          <a:xfrm>
            <a:off x="3058584" y="1511301"/>
            <a:ext cx="531283" cy="404284"/>
          </a:xfrm>
          <a:custGeom>
            <a:avLst/>
            <a:gdLst>
              <a:gd name="T0" fmla="*/ 574594904 w 251"/>
              <a:gd name="T1" fmla="*/ 428427269 h 191"/>
              <a:gd name="T2" fmla="*/ 57964315 w 251"/>
              <a:gd name="T3" fmla="*/ 428427269 h 191"/>
              <a:gd name="T4" fmla="*/ 57964315 w 251"/>
              <a:gd name="T5" fmla="*/ 52924162 h 191"/>
              <a:gd name="T6" fmla="*/ 330140848 w 251"/>
              <a:gd name="T7" fmla="*/ 52924162 h 191"/>
              <a:gd name="T8" fmla="*/ 330140848 w 251"/>
              <a:gd name="T9" fmla="*/ 0 h 191"/>
              <a:gd name="T10" fmla="*/ 0 w 251"/>
              <a:gd name="T11" fmla="*/ 0 h 191"/>
              <a:gd name="T12" fmla="*/ 0 w 251"/>
              <a:gd name="T13" fmla="*/ 481351431 h 191"/>
              <a:gd name="T14" fmla="*/ 632559219 w 251"/>
              <a:gd name="T15" fmla="*/ 481351431 h 191"/>
              <a:gd name="T16" fmla="*/ 632559219 w 251"/>
              <a:gd name="T17" fmla="*/ 312499890 h 191"/>
              <a:gd name="T18" fmla="*/ 574594904 w 251"/>
              <a:gd name="T19" fmla="*/ 312499890 h 191"/>
              <a:gd name="T20" fmla="*/ 574594904 w 251"/>
              <a:gd name="T21" fmla="*/ 428427269 h 191"/>
              <a:gd name="T22" fmla="*/ 441027584 w 251"/>
              <a:gd name="T23" fmla="*/ 0 h 191"/>
              <a:gd name="T24" fmla="*/ 501511258 w 251"/>
              <a:gd name="T25" fmla="*/ 60483850 h 191"/>
              <a:gd name="T26" fmla="*/ 355342379 w 251"/>
              <a:gd name="T27" fmla="*/ 209174107 h 191"/>
              <a:gd name="T28" fmla="*/ 423385719 w 251"/>
              <a:gd name="T29" fmla="*/ 277217645 h 191"/>
              <a:gd name="T30" fmla="*/ 569554598 w 251"/>
              <a:gd name="T31" fmla="*/ 128528974 h 191"/>
              <a:gd name="T32" fmla="*/ 632559219 w 251"/>
              <a:gd name="T33" fmla="*/ 186491870 h 191"/>
              <a:gd name="T34" fmla="*/ 632559219 w 251"/>
              <a:gd name="T35" fmla="*/ 0 h 191"/>
              <a:gd name="T36" fmla="*/ 441027584 w 251"/>
              <a:gd name="T37" fmla="*/ 0 h 19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51" h="191">
                <a:moveTo>
                  <a:pt x="228" y="170"/>
                </a:moveTo>
                <a:lnTo>
                  <a:pt x="23" y="170"/>
                </a:lnTo>
                <a:lnTo>
                  <a:pt x="23" y="21"/>
                </a:lnTo>
                <a:lnTo>
                  <a:pt x="131" y="21"/>
                </a:lnTo>
                <a:lnTo>
                  <a:pt x="131" y="0"/>
                </a:lnTo>
                <a:lnTo>
                  <a:pt x="0" y="0"/>
                </a:lnTo>
                <a:lnTo>
                  <a:pt x="0" y="191"/>
                </a:lnTo>
                <a:lnTo>
                  <a:pt x="251" y="191"/>
                </a:lnTo>
                <a:lnTo>
                  <a:pt x="251" y="124"/>
                </a:lnTo>
                <a:lnTo>
                  <a:pt x="228" y="124"/>
                </a:lnTo>
                <a:lnTo>
                  <a:pt x="228" y="170"/>
                </a:lnTo>
                <a:close/>
                <a:moveTo>
                  <a:pt x="175" y="0"/>
                </a:moveTo>
                <a:lnTo>
                  <a:pt x="199" y="24"/>
                </a:lnTo>
                <a:lnTo>
                  <a:pt x="141" y="83"/>
                </a:lnTo>
                <a:lnTo>
                  <a:pt x="168" y="110"/>
                </a:lnTo>
                <a:lnTo>
                  <a:pt x="226" y="51"/>
                </a:lnTo>
                <a:lnTo>
                  <a:pt x="251" y="74"/>
                </a:lnTo>
                <a:lnTo>
                  <a:pt x="251" y="0"/>
                </a:lnTo>
                <a:lnTo>
                  <a:pt x="17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Freeform 5"/>
          <p:cNvSpPr>
            <a:spLocks noEditPoints="1"/>
          </p:cNvSpPr>
          <p:nvPr/>
        </p:nvSpPr>
        <p:spPr bwMode="auto">
          <a:xfrm>
            <a:off x="1115485" y="1416051"/>
            <a:ext cx="461433" cy="406400"/>
          </a:xfrm>
          <a:custGeom>
            <a:avLst/>
            <a:gdLst>
              <a:gd name="T0" fmla="*/ 525209263 w 154"/>
              <a:gd name="T1" fmla="*/ 683110588 h 136"/>
              <a:gd name="T2" fmla="*/ 252504410 w 154"/>
              <a:gd name="T3" fmla="*/ 683110588 h 136"/>
              <a:gd name="T4" fmla="*/ 252504410 w 154"/>
              <a:gd name="T5" fmla="*/ 683110588 h 136"/>
              <a:gd name="T6" fmla="*/ 0 w 154"/>
              <a:gd name="T7" fmla="*/ 442013788 h 136"/>
              <a:gd name="T8" fmla="*/ 0 w 154"/>
              <a:gd name="T9" fmla="*/ 241096800 h 136"/>
              <a:gd name="T10" fmla="*/ 0 w 154"/>
              <a:gd name="T11" fmla="*/ 241096800 h 136"/>
              <a:gd name="T12" fmla="*/ 252504410 w 154"/>
              <a:gd name="T13" fmla="*/ 0 h 136"/>
              <a:gd name="T14" fmla="*/ 525209263 w 154"/>
              <a:gd name="T15" fmla="*/ 0 h 136"/>
              <a:gd name="T16" fmla="*/ 525209263 w 154"/>
              <a:gd name="T17" fmla="*/ 0 h 136"/>
              <a:gd name="T18" fmla="*/ 777713673 w 154"/>
              <a:gd name="T19" fmla="*/ 241096800 h 136"/>
              <a:gd name="T20" fmla="*/ 777713673 w 154"/>
              <a:gd name="T21" fmla="*/ 442013788 h 136"/>
              <a:gd name="T22" fmla="*/ 777713673 w 154"/>
              <a:gd name="T23" fmla="*/ 442013788 h 136"/>
              <a:gd name="T24" fmla="*/ 525209263 w 154"/>
              <a:gd name="T25" fmla="*/ 683110588 h 136"/>
              <a:gd name="T26" fmla="*/ 722161894 w 154"/>
              <a:gd name="T27" fmla="*/ 241096800 h 136"/>
              <a:gd name="T28" fmla="*/ 525209263 w 154"/>
              <a:gd name="T29" fmla="*/ 50229247 h 136"/>
              <a:gd name="T30" fmla="*/ 252504410 w 154"/>
              <a:gd name="T31" fmla="*/ 50229247 h 136"/>
              <a:gd name="T32" fmla="*/ 252504410 w 154"/>
              <a:gd name="T33" fmla="*/ 50229247 h 136"/>
              <a:gd name="T34" fmla="*/ 55551779 w 154"/>
              <a:gd name="T35" fmla="*/ 241096800 h 136"/>
              <a:gd name="T36" fmla="*/ 55551779 w 154"/>
              <a:gd name="T37" fmla="*/ 442013788 h 136"/>
              <a:gd name="T38" fmla="*/ 55551779 w 154"/>
              <a:gd name="T39" fmla="*/ 442013788 h 136"/>
              <a:gd name="T40" fmla="*/ 252504410 w 154"/>
              <a:gd name="T41" fmla="*/ 632881341 h 136"/>
              <a:gd name="T42" fmla="*/ 525209263 w 154"/>
              <a:gd name="T43" fmla="*/ 632881341 h 136"/>
              <a:gd name="T44" fmla="*/ 525209263 w 154"/>
              <a:gd name="T45" fmla="*/ 632881341 h 136"/>
              <a:gd name="T46" fmla="*/ 722161894 w 154"/>
              <a:gd name="T47" fmla="*/ 442013788 h 136"/>
              <a:gd name="T48" fmla="*/ 722161894 w 154"/>
              <a:gd name="T49" fmla="*/ 241096800 h 1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54" h="136">
                <a:moveTo>
                  <a:pt x="104" y="136"/>
                </a:moveTo>
                <a:cubicBezTo>
                  <a:pt x="50" y="136"/>
                  <a:pt x="50" y="136"/>
                  <a:pt x="50" y="136"/>
                </a:cubicBezTo>
                <a:cubicBezTo>
                  <a:pt x="50" y="136"/>
                  <a:pt x="50" y="136"/>
                  <a:pt x="50" y="136"/>
                </a:cubicBezTo>
                <a:cubicBezTo>
                  <a:pt x="22" y="136"/>
                  <a:pt x="0" y="115"/>
                  <a:pt x="0" y="8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21"/>
                  <a:pt x="22" y="0"/>
                  <a:pt x="50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32" y="0"/>
                  <a:pt x="154" y="21"/>
                  <a:pt x="154" y="48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154" y="88"/>
                  <a:pt x="154" y="88"/>
                  <a:pt x="154" y="88"/>
                </a:cubicBezTo>
                <a:cubicBezTo>
                  <a:pt x="154" y="115"/>
                  <a:pt x="132" y="136"/>
                  <a:pt x="104" y="136"/>
                </a:cubicBezTo>
                <a:close/>
                <a:moveTo>
                  <a:pt x="143" y="48"/>
                </a:moveTo>
                <a:cubicBezTo>
                  <a:pt x="143" y="27"/>
                  <a:pt x="126" y="10"/>
                  <a:pt x="104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28" y="10"/>
                  <a:pt x="11" y="27"/>
                  <a:pt x="11" y="48"/>
                </a:cubicBezTo>
                <a:cubicBezTo>
                  <a:pt x="11" y="88"/>
                  <a:pt x="11" y="88"/>
                  <a:pt x="11" y="88"/>
                </a:cubicBezTo>
                <a:cubicBezTo>
                  <a:pt x="11" y="88"/>
                  <a:pt x="11" y="88"/>
                  <a:pt x="11" y="88"/>
                </a:cubicBezTo>
                <a:cubicBezTo>
                  <a:pt x="11" y="109"/>
                  <a:pt x="28" y="126"/>
                  <a:pt x="50" y="126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126" y="126"/>
                  <a:pt x="143" y="109"/>
                  <a:pt x="143" y="88"/>
                </a:cubicBezTo>
                <a:cubicBezTo>
                  <a:pt x="143" y="48"/>
                  <a:pt x="143" y="48"/>
                  <a:pt x="143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71" name="Freeform 6"/>
          <p:cNvSpPr>
            <a:spLocks/>
          </p:cNvSpPr>
          <p:nvPr/>
        </p:nvSpPr>
        <p:spPr bwMode="auto">
          <a:xfrm>
            <a:off x="1333500" y="1530352"/>
            <a:ext cx="93133" cy="182033"/>
          </a:xfrm>
          <a:custGeom>
            <a:avLst/>
            <a:gdLst>
              <a:gd name="T0" fmla="*/ 110886875 w 44"/>
              <a:gd name="T1" fmla="*/ 0 h 86"/>
              <a:gd name="T2" fmla="*/ 0 w 44"/>
              <a:gd name="T3" fmla="*/ 110886875 h 86"/>
              <a:gd name="T4" fmla="*/ 110886875 w 44"/>
              <a:gd name="T5" fmla="*/ 216733438 h 86"/>
              <a:gd name="T6" fmla="*/ 110886875 w 44"/>
              <a:gd name="T7" fmla="*/ 0 h 8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4" h="86">
                <a:moveTo>
                  <a:pt x="44" y="0"/>
                </a:moveTo>
                <a:lnTo>
                  <a:pt x="0" y="44"/>
                </a:lnTo>
                <a:lnTo>
                  <a:pt x="44" y="86"/>
                </a:lnTo>
                <a:lnTo>
                  <a:pt x="4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72" name="Freeform 7"/>
          <p:cNvSpPr>
            <a:spLocks/>
          </p:cNvSpPr>
          <p:nvPr/>
        </p:nvSpPr>
        <p:spPr bwMode="auto">
          <a:xfrm>
            <a:off x="1246718" y="1530352"/>
            <a:ext cx="93133" cy="182033"/>
          </a:xfrm>
          <a:custGeom>
            <a:avLst/>
            <a:gdLst>
              <a:gd name="T0" fmla="*/ 110886875 w 44"/>
              <a:gd name="T1" fmla="*/ 0 h 86"/>
              <a:gd name="T2" fmla="*/ 0 w 44"/>
              <a:gd name="T3" fmla="*/ 110886875 h 86"/>
              <a:gd name="T4" fmla="*/ 110886875 w 44"/>
              <a:gd name="T5" fmla="*/ 216733438 h 86"/>
              <a:gd name="T6" fmla="*/ 110886875 w 44"/>
              <a:gd name="T7" fmla="*/ 0 h 8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4" h="86">
                <a:moveTo>
                  <a:pt x="44" y="0"/>
                </a:moveTo>
                <a:lnTo>
                  <a:pt x="0" y="44"/>
                </a:lnTo>
                <a:lnTo>
                  <a:pt x="44" y="86"/>
                </a:lnTo>
                <a:lnTo>
                  <a:pt x="4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73" name="Freeform 8"/>
          <p:cNvSpPr>
            <a:spLocks/>
          </p:cNvSpPr>
          <p:nvPr/>
        </p:nvSpPr>
        <p:spPr bwMode="auto">
          <a:xfrm>
            <a:off x="1996017" y="1407585"/>
            <a:ext cx="505883" cy="410633"/>
          </a:xfrm>
          <a:custGeom>
            <a:avLst/>
            <a:gdLst>
              <a:gd name="T0" fmla="*/ 690509635 w 169"/>
              <a:gd name="T1" fmla="*/ 40427901 h 137"/>
              <a:gd name="T2" fmla="*/ 675389281 w 169"/>
              <a:gd name="T3" fmla="*/ 10106975 h 137"/>
              <a:gd name="T4" fmla="*/ 635066092 w 169"/>
              <a:gd name="T5" fmla="*/ 20213950 h 137"/>
              <a:gd name="T6" fmla="*/ 372975466 w 169"/>
              <a:gd name="T7" fmla="*/ 480079073 h 137"/>
              <a:gd name="T8" fmla="*/ 277210979 w 169"/>
              <a:gd name="T9" fmla="*/ 384062809 h 137"/>
              <a:gd name="T10" fmla="*/ 40320944 w 169"/>
              <a:gd name="T11" fmla="*/ 419437222 h 137"/>
              <a:gd name="T12" fmla="*/ 131045313 w 169"/>
              <a:gd name="T13" fmla="*/ 641790676 h 137"/>
              <a:gd name="T14" fmla="*/ 367935348 w 169"/>
              <a:gd name="T15" fmla="*/ 601362775 h 137"/>
              <a:gd name="T16" fmla="*/ 372975466 w 169"/>
              <a:gd name="T17" fmla="*/ 596309288 h 137"/>
              <a:gd name="T18" fmla="*/ 372975466 w 169"/>
              <a:gd name="T19" fmla="*/ 591255800 h 137"/>
              <a:gd name="T20" fmla="*/ 594745148 w 169"/>
              <a:gd name="T21" fmla="*/ 212246479 h 137"/>
              <a:gd name="T22" fmla="*/ 851795655 w 169"/>
              <a:gd name="T23" fmla="*/ 288048793 h 137"/>
              <a:gd name="T24" fmla="*/ 690509635 w 169"/>
              <a:gd name="T25" fmla="*/ 40427901 h 13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69" h="137">
                <a:moveTo>
                  <a:pt x="137" y="8"/>
                </a:moveTo>
                <a:cubicBezTo>
                  <a:pt x="137" y="6"/>
                  <a:pt x="136" y="3"/>
                  <a:pt x="134" y="2"/>
                </a:cubicBezTo>
                <a:cubicBezTo>
                  <a:pt x="131" y="0"/>
                  <a:pt x="127" y="1"/>
                  <a:pt x="126" y="4"/>
                </a:cubicBezTo>
                <a:cubicBezTo>
                  <a:pt x="74" y="95"/>
                  <a:pt x="74" y="95"/>
                  <a:pt x="74" y="95"/>
                </a:cubicBezTo>
                <a:cubicBezTo>
                  <a:pt x="70" y="87"/>
                  <a:pt x="64" y="80"/>
                  <a:pt x="55" y="76"/>
                </a:cubicBezTo>
                <a:cubicBezTo>
                  <a:pt x="37" y="66"/>
                  <a:pt x="16" y="69"/>
                  <a:pt x="8" y="83"/>
                </a:cubicBezTo>
                <a:cubicBezTo>
                  <a:pt x="0" y="97"/>
                  <a:pt x="8" y="117"/>
                  <a:pt x="26" y="127"/>
                </a:cubicBezTo>
                <a:cubicBezTo>
                  <a:pt x="44" y="137"/>
                  <a:pt x="65" y="133"/>
                  <a:pt x="73" y="119"/>
                </a:cubicBezTo>
                <a:cubicBezTo>
                  <a:pt x="73" y="119"/>
                  <a:pt x="74" y="119"/>
                  <a:pt x="74" y="118"/>
                </a:cubicBezTo>
                <a:cubicBezTo>
                  <a:pt x="74" y="118"/>
                  <a:pt x="74" y="118"/>
                  <a:pt x="74" y="117"/>
                </a:cubicBezTo>
                <a:cubicBezTo>
                  <a:pt x="118" y="42"/>
                  <a:pt x="118" y="42"/>
                  <a:pt x="118" y="42"/>
                </a:cubicBezTo>
                <a:cubicBezTo>
                  <a:pt x="137" y="66"/>
                  <a:pt x="169" y="57"/>
                  <a:pt x="169" y="57"/>
                </a:cubicBezTo>
                <a:cubicBezTo>
                  <a:pt x="136" y="48"/>
                  <a:pt x="137" y="15"/>
                  <a:pt x="137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74" name="Freeform 9"/>
          <p:cNvSpPr>
            <a:spLocks noEditPoints="1"/>
          </p:cNvSpPr>
          <p:nvPr/>
        </p:nvSpPr>
        <p:spPr bwMode="auto">
          <a:xfrm>
            <a:off x="2774951" y="1462618"/>
            <a:ext cx="575733" cy="315383"/>
          </a:xfrm>
          <a:custGeom>
            <a:avLst/>
            <a:gdLst>
              <a:gd name="T0" fmla="*/ 293354125 w 192"/>
              <a:gd name="T1" fmla="*/ 25374788 h 105"/>
              <a:gd name="T2" fmla="*/ 207369701 w 192"/>
              <a:gd name="T3" fmla="*/ 411060757 h 105"/>
              <a:gd name="T4" fmla="*/ 187138072 w 192"/>
              <a:gd name="T5" fmla="*/ 395836785 h 105"/>
              <a:gd name="T6" fmla="*/ 60694888 w 192"/>
              <a:gd name="T7" fmla="*/ 405985349 h 105"/>
              <a:gd name="T8" fmla="*/ 70808453 w 192"/>
              <a:gd name="T9" fmla="*/ 512557657 h 105"/>
              <a:gd name="T10" fmla="*/ 212427608 w 192"/>
              <a:gd name="T11" fmla="*/ 441510953 h 105"/>
              <a:gd name="T12" fmla="*/ 303469940 w 192"/>
              <a:gd name="T13" fmla="*/ 101496900 h 105"/>
              <a:gd name="T14" fmla="*/ 591763908 w 192"/>
              <a:gd name="T15" fmla="*/ 96421492 h 105"/>
              <a:gd name="T16" fmla="*/ 526013363 w 192"/>
              <a:gd name="T17" fmla="*/ 395836785 h 105"/>
              <a:gd name="T18" fmla="*/ 399567929 w 192"/>
              <a:gd name="T19" fmla="*/ 395836785 h 105"/>
              <a:gd name="T20" fmla="*/ 414741651 w 192"/>
              <a:gd name="T21" fmla="*/ 512557657 h 105"/>
              <a:gd name="T22" fmla="*/ 551300650 w 192"/>
              <a:gd name="T23" fmla="*/ 411060757 h 105"/>
              <a:gd name="T24" fmla="*/ 586706001 w 192"/>
              <a:gd name="T25" fmla="*/ 233441744 h 105"/>
              <a:gd name="T26" fmla="*/ 895233848 w 192"/>
              <a:gd name="T27" fmla="*/ 228366336 h 105"/>
              <a:gd name="T28" fmla="*/ 854770590 w 192"/>
              <a:gd name="T29" fmla="*/ 395836785 h 105"/>
              <a:gd name="T30" fmla="*/ 728325156 w 192"/>
              <a:gd name="T31" fmla="*/ 405985349 h 105"/>
              <a:gd name="T32" fmla="*/ 743498878 w 192"/>
              <a:gd name="T33" fmla="*/ 522708474 h 105"/>
              <a:gd name="T34" fmla="*/ 880060126 w 192"/>
              <a:gd name="T35" fmla="*/ 416136165 h 105"/>
              <a:gd name="T36" fmla="*/ 971100208 w 192"/>
              <a:gd name="T37" fmla="*/ 0 h 105"/>
              <a:gd name="T38" fmla="*/ 293354125 w 192"/>
              <a:gd name="T39" fmla="*/ 25374788 h 105"/>
              <a:gd name="T40" fmla="*/ 617053445 w 192"/>
              <a:gd name="T41" fmla="*/ 152244224 h 105"/>
              <a:gd name="T42" fmla="*/ 627169259 w 192"/>
              <a:gd name="T43" fmla="*/ 96421492 h 105"/>
              <a:gd name="T44" fmla="*/ 925579043 w 192"/>
              <a:gd name="T45" fmla="*/ 91346084 h 105"/>
              <a:gd name="T46" fmla="*/ 915463228 w 192"/>
              <a:gd name="T47" fmla="*/ 152244224 h 105"/>
              <a:gd name="T48" fmla="*/ 617053445 w 192"/>
              <a:gd name="T49" fmla="*/ 152244224 h 105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92" h="105">
                <a:moveTo>
                  <a:pt x="58" y="5"/>
                </a:moveTo>
                <a:cubicBezTo>
                  <a:pt x="41" y="81"/>
                  <a:pt x="41" y="81"/>
                  <a:pt x="41" y="81"/>
                </a:cubicBezTo>
                <a:cubicBezTo>
                  <a:pt x="37" y="78"/>
                  <a:pt x="37" y="78"/>
                  <a:pt x="37" y="78"/>
                </a:cubicBezTo>
                <a:cubicBezTo>
                  <a:pt x="37" y="78"/>
                  <a:pt x="25" y="72"/>
                  <a:pt x="12" y="80"/>
                </a:cubicBezTo>
                <a:cubicBezTo>
                  <a:pt x="0" y="87"/>
                  <a:pt x="6" y="99"/>
                  <a:pt x="14" y="101"/>
                </a:cubicBezTo>
                <a:cubicBezTo>
                  <a:pt x="22" y="103"/>
                  <a:pt x="38" y="96"/>
                  <a:pt x="42" y="87"/>
                </a:cubicBezTo>
                <a:cubicBezTo>
                  <a:pt x="47" y="79"/>
                  <a:pt x="60" y="20"/>
                  <a:pt x="60" y="20"/>
                </a:cubicBezTo>
                <a:cubicBezTo>
                  <a:pt x="117" y="19"/>
                  <a:pt x="117" y="19"/>
                  <a:pt x="117" y="19"/>
                </a:cubicBezTo>
                <a:cubicBezTo>
                  <a:pt x="104" y="78"/>
                  <a:pt x="104" y="78"/>
                  <a:pt x="104" y="78"/>
                </a:cubicBezTo>
                <a:cubicBezTo>
                  <a:pt x="104" y="78"/>
                  <a:pt x="92" y="71"/>
                  <a:pt x="79" y="78"/>
                </a:cubicBezTo>
                <a:cubicBezTo>
                  <a:pt x="66" y="85"/>
                  <a:pt x="71" y="98"/>
                  <a:pt x="82" y="101"/>
                </a:cubicBezTo>
                <a:cubicBezTo>
                  <a:pt x="94" y="104"/>
                  <a:pt x="105" y="100"/>
                  <a:pt x="109" y="81"/>
                </a:cubicBezTo>
                <a:cubicBezTo>
                  <a:pt x="113" y="62"/>
                  <a:pt x="116" y="46"/>
                  <a:pt x="116" y="46"/>
                </a:cubicBezTo>
                <a:cubicBezTo>
                  <a:pt x="177" y="45"/>
                  <a:pt x="177" y="45"/>
                  <a:pt x="177" y="45"/>
                </a:cubicBezTo>
                <a:cubicBezTo>
                  <a:pt x="169" y="78"/>
                  <a:pt x="169" y="78"/>
                  <a:pt x="169" y="78"/>
                </a:cubicBezTo>
                <a:cubicBezTo>
                  <a:pt x="169" y="78"/>
                  <a:pt x="156" y="72"/>
                  <a:pt x="144" y="80"/>
                </a:cubicBezTo>
                <a:cubicBezTo>
                  <a:pt x="133" y="88"/>
                  <a:pt x="135" y="102"/>
                  <a:pt x="147" y="103"/>
                </a:cubicBezTo>
                <a:cubicBezTo>
                  <a:pt x="158" y="105"/>
                  <a:pt x="170" y="100"/>
                  <a:pt x="174" y="82"/>
                </a:cubicBezTo>
                <a:cubicBezTo>
                  <a:pt x="177" y="65"/>
                  <a:pt x="192" y="0"/>
                  <a:pt x="192" y="0"/>
                </a:cubicBezTo>
                <a:lnTo>
                  <a:pt x="58" y="5"/>
                </a:lnTo>
                <a:close/>
                <a:moveTo>
                  <a:pt x="122" y="30"/>
                </a:moveTo>
                <a:cubicBezTo>
                  <a:pt x="124" y="19"/>
                  <a:pt x="124" y="19"/>
                  <a:pt x="124" y="19"/>
                </a:cubicBezTo>
                <a:cubicBezTo>
                  <a:pt x="183" y="18"/>
                  <a:pt x="183" y="18"/>
                  <a:pt x="183" y="18"/>
                </a:cubicBezTo>
                <a:cubicBezTo>
                  <a:pt x="181" y="30"/>
                  <a:pt x="181" y="30"/>
                  <a:pt x="181" y="30"/>
                </a:cubicBezTo>
                <a:lnTo>
                  <a:pt x="122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75" name="Freeform 10"/>
          <p:cNvSpPr>
            <a:spLocks/>
          </p:cNvSpPr>
          <p:nvPr/>
        </p:nvSpPr>
        <p:spPr bwMode="auto">
          <a:xfrm>
            <a:off x="3778251" y="1386418"/>
            <a:ext cx="368300" cy="514349"/>
          </a:xfrm>
          <a:custGeom>
            <a:avLst/>
            <a:gdLst>
              <a:gd name="T0" fmla="*/ 166428931 w 123"/>
              <a:gd name="T1" fmla="*/ 819919189 h 172"/>
              <a:gd name="T2" fmla="*/ 181558426 w 123"/>
              <a:gd name="T3" fmla="*/ 694165262 h 172"/>
              <a:gd name="T4" fmla="*/ 181558426 w 123"/>
              <a:gd name="T5" fmla="*/ 709254836 h 172"/>
              <a:gd name="T6" fmla="*/ 181558426 w 123"/>
              <a:gd name="T7" fmla="*/ 709254836 h 172"/>
              <a:gd name="T8" fmla="*/ 267295971 w 123"/>
              <a:gd name="T9" fmla="*/ 809857977 h 172"/>
              <a:gd name="T10" fmla="*/ 267295971 w 123"/>
              <a:gd name="T11" fmla="*/ 809857977 h 172"/>
              <a:gd name="T12" fmla="*/ 353031270 w 123"/>
              <a:gd name="T13" fmla="*/ 774645981 h 172"/>
              <a:gd name="T14" fmla="*/ 353031270 w 123"/>
              <a:gd name="T15" fmla="*/ 774645981 h 172"/>
              <a:gd name="T16" fmla="*/ 373204678 w 123"/>
              <a:gd name="T17" fmla="*/ 734405622 h 172"/>
              <a:gd name="T18" fmla="*/ 373204678 w 123"/>
              <a:gd name="T19" fmla="*/ 734405622 h 172"/>
              <a:gd name="T20" fmla="*/ 342945689 w 123"/>
              <a:gd name="T21" fmla="*/ 603621090 h 172"/>
              <a:gd name="T22" fmla="*/ 342945689 w 123"/>
              <a:gd name="T23" fmla="*/ 603621090 h 172"/>
              <a:gd name="T24" fmla="*/ 443810483 w 123"/>
              <a:gd name="T25" fmla="*/ 462775346 h 172"/>
              <a:gd name="T26" fmla="*/ 443810483 w 123"/>
              <a:gd name="T27" fmla="*/ 462775346 h 172"/>
              <a:gd name="T28" fmla="*/ 559807017 w 123"/>
              <a:gd name="T29" fmla="*/ 246479490 h 172"/>
              <a:gd name="T30" fmla="*/ 559807017 w 123"/>
              <a:gd name="T31" fmla="*/ 246479490 h 172"/>
              <a:gd name="T32" fmla="*/ 509374620 w 123"/>
              <a:gd name="T33" fmla="*/ 115694958 h 172"/>
              <a:gd name="T34" fmla="*/ 509374620 w 123"/>
              <a:gd name="T35" fmla="*/ 115694958 h 172"/>
              <a:gd name="T36" fmla="*/ 342945689 w 123"/>
              <a:gd name="T37" fmla="*/ 55332176 h 172"/>
              <a:gd name="T38" fmla="*/ 342945689 w 123"/>
              <a:gd name="T39" fmla="*/ 55332176 h 172"/>
              <a:gd name="T40" fmla="*/ 337901776 w 123"/>
              <a:gd name="T41" fmla="*/ 55332176 h 172"/>
              <a:gd name="T42" fmla="*/ 337901776 w 123"/>
              <a:gd name="T43" fmla="*/ 55332176 h 172"/>
              <a:gd name="T44" fmla="*/ 110952621 w 123"/>
              <a:gd name="T45" fmla="*/ 176055497 h 172"/>
              <a:gd name="T46" fmla="*/ 110952621 w 123"/>
              <a:gd name="T47" fmla="*/ 176055497 h 172"/>
              <a:gd name="T48" fmla="*/ 60520224 w 123"/>
              <a:gd name="T49" fmla="*/ 337021420 h 172"/>
              <a:gd name="T50" fmla="*/ 60520224 w 123"/>
              <a:gd name="T51" fmla="*/ 337021420 h 172"/>
              <a:gd name="T52" fmla="*/ 60520224 w 123"/>
              <a:gd name="T53" fmla="*/ 347082631 h 172"/>
              <a:gd name="T54" fmla="*/ 60520224 w 123"/>
              <a:gd name="T55" fmla="*/ 347082631 h 172"/>
              <a:gd name="T56" fmla="*/ 60520224 w 123"/>
              <a:gd name="T57" fmla="*/ 347082631 h 172"/>
              <a:gd name="T58" fmla="*/ 45390729 w 123"/>
              <a:gd name="T59" fmla="*/ 181086103 h 172"/>
              <a:gd name="T60" fmla="*/ 45390729 w 123"/>
              <a:gd name="T61" fmla="*/ 181086103 h 172"/>
              <a:gd name="T62" fmla="*/ 337901776 w 123"/>
              <a:gd name="T63" fmla="*/ 0 h 172"/>
              <a:gd name="T64" fmla="*/ 337901776 w 123"/>
              <a:gd name="T65" fmla="*/ 0 h 172"/>
              <a:gd name="T66" fmla="*/ 342945689 w 123"/>
              <a:gd name="T67" fmla="*/ 0 h 172"/>
              <a:gd name="T68" fmla="*/ 342945689 w 123"/>
              <a:gd name="T69" fmla="*/ 0 h 172"/>
              <a:gd name="T70" fmla="*/ 549721436 w 123"/>
              <a:gd name="T71" fmla="*/ 75452356 h 172"/>
              <a:gd name="T72" fmla="*/ 549721436 w 123"/>
              <a:gd name="T73" fmla="*/ 75452356 h 172"/>
              <a:gd name="T74" fmla="*/ 620327241 w 123"/>
              <a:gd name="T75" fmla="*/ 246479490 h 172"/>
              <a:gd name="T76" fmla="*/ 620327241 w 123"/>
              <a:gd name="T77" fmla="*/ 246479490 h 172"/>
              <a:gd name="T78" fmla="*/ 474071718 w 123"/>
              <a:gd name="T79" fmla="*/ 508048554 h 172"/>
              <a:gd name="T80" fmla="*/ 474071718 w 123"/>
              <a:gd name="T81" fmla="*/ 508048554 h 172"/>
              <a:gd name="T82" fmla="*/ 398421999 w 123"/>
              <a:gd name="T83" fmla="*/ 603621090 h 172"/>
              <a:gd name="T84" fmla="*/ 398421999 w 123"/>
              <a:gd name="T85" fmla="*/ 603621090 h 172"/>
              <a:gd name="T86" fmla="*/ 428680988 w 123"/>
              <a:gd name="T87" fmla="*/ 734405622 h 172"/>
              <a:gd name="T88" fmla="*/ 428680988 w 123"/>
              <a:gd name="T89" fmla="*/ 734405622 h 172"/>
              <a:gd name="T90" fmla="*/ 393378086 w 123"/>
              <a:gd name="T91" fmla="*/ 814888583 h 172"/>
              <a:gd name="T92" fmla="*/ 393378086 w 123"/>
              <a:gd name="T93" fmla="*/ 814888583 h 172"/>
              <a:gd name="T94" fmla="*/ 267295971 w 123"/>
              <a:gd name="T95" fmla="*/ 865190154 h 172"/>
              <a:gd name="T96" fmla="*/ 267295971 w 123"/>
              <a:gd name="T97" fmla="*/ 865190154 h 172"/>
              <a:gd name="T98" fmla="*/ 267295971 w 123"/>
              <a:gd name="T99" fmla="*/ 865190154 h 172"/>
              <a:gd name="T100" fmla="*/ 267295971 w 123"/>
              <a:gd name="T101" fmla="*/ 865190154 h 172"/>
              <a:gd name="T102" fmla="*/ 166428931 w 123"/>
              <a:gd name="T103" fmla="*/ 819919189 h 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123" h="172">
                <a:moveTo>
                  <a:pt x="33" y="163"/>
                </a:moveTo>
                <a:cubicBezTo>
                  <a:pt x="24" y="150"/>
                  <a:pt x="36" y="138"/>
                  <a:pt x="36" y="138"/>
                </a:cubicBezTo>
                <a:cubicBezTo>
                  <a:pt x="36" y="139"/>
                  <a:pt x="36" y="140"/>
                  <a:pt x="36" y="141"/>
                </a:cubicBezTo>
                <a:cubicBezTo>
                  <a:pt x="36" y="141"/>
                  <a:pt x="36" y="141"/>
                  <a:pt x="36" y="141"/>
                </a:cubicBezTo>
                <a:cubicBezTo>
                  <a:pt x="36" y="154"/>
                  <a:pt x="44" y="161"/>
                  <a:pt x="53" y="161"/>
                </a:cubicBezTo>
                <a:cubicBezTo>
                  <a:pt x="53" y="161"/>
                  <a:pt x="53" y="161"/>
                  <a:pt x="53" y="161"/>
                </a:cubicBezTo>
                <a:cubicBezTo>
                  <a:pt x="58" y="161"/>
                  <a:pt x="64" y="159"/>
                  <a:pt x="70" y="154"/>
                </a:cubicBezTo>
                <a:cubicBezTo>
                  <a:pt x="70" y="154"/>
                  <a:pt x="70" y="154"/>
                  <a:pt x="70" y="154"/>
                </a:cubicBezTo>
                <a:cubicBezTo>
                  <a:pt x="73" y="151"/>
                  <a:pt x="73" y="149"/>
                  <a:pt x="74" y="146"/>
                </a:cubicBezTo>
                <a:cubicBezTo>
                  <a:pt x="74" y="146"/>
                  <a:pt x="74" y="146"/>
                  <a:pt x="74" y="146"/>
                </a:cubicBezTo>
                <a:cubicBezTo>
                  <a:pt x="74" y="140"/>
                  <a:pt x="68" y="132"/>
                  <a:pt x="68" y="120"/>
                </a:cubicBezTo>
                <a:cubicBezTo>
                  <a:pt x="68" y="120"/>
                  <a:pt x="68" y="120"/>
                  <a:pt x="68" y="120"/>
                </a:cubicBezTo>
                <a:cubicBezTo>
                  <a:pt x="68" y="111"/>
                  <a:pt x="73" y="101"/>
                  <a:pt x="88" y="92"/>
                </a:cubicBezTo>
                <a:cubicBezTo>
                  <a:pt x="88" y="92"/>
                  <a:pt x="88" y="92"/>
                  <a:pt x="88" y="92"/>
                </a:cubicBezTo>
                <a:cubicBezTo>
                  <a:pt x="103" y="82"/>
                  <a:pt x="111" y="65"/>
                  <a:pt x="111" y="49"/>
                </a:cubicBezTo>
                <a:cubicBezTo>
                  <a:pt x="111" y="49"/>
                  <a:pt x="111" y="49"/>
                  <a:pt x="111" y="49"/>
                </a:cubicBezTo>
                <a:cubicBezTo>
                  <a:pt x="111" y="39"/>
                  <a:pt x="108" y="30"/>
                  <a:pt x="101" y="23"/>
                </a:cubicBezTo>
                <a:cubicBezTo>
                  <a:pt x="101" y="23"/>
                  <a:pt x="101" y="23"/>
                  <a:pt x="101" y="23"/>
                </a:cubicBezTo>
                <a:cubicBezTo>
                  <a:pt x="94" y="16"/>
                  <a:pt x="84" y="11"/>
                  <a:pt x="68" y="11"/>
                </a:cubicBezTo>
                <a:cubicBezTo>
                  <a:pt x="68" y="11"/>
                  <a:pt x="68" y="11"/>
                  <a:pt x="68" y="11"/>
                </a:cubicBezTo>
                <a:cubicBezTo>
                  <a:pt x="68" y="11"/>
                  <a:pt x="67" y="11"/>
                  <a:pt x="67" y="11"/>
                </a:cubicBezTo>
                <a:cubicBezTo>
                  <a:pt x="67" y="11"/>
                  <a:pt x="67" y="11"/>
                  <a:pt x="67" y="11"/>
                </a:cubicBezTo>
                <a:cubicBezTo>
                  <a:pt x="42" y="12"/>
                  <a:pt x="30" y="23"/>
                  <a:pt x="22" y="35"/>
                </a:cubicBezTo>
                <a:cubicBezTo>
                  <a:pt x="22" y="35"/>
                  <a:pt x="22" y="35"/>
                  <a:pt x="22" y="35"/>
                </a:cubicBezTo>
                <a:cubicBezTo>
                  <a:pt x="14" y="47"/>
                  <a:pt x="12" y="62"/>
                  <a:pt x="12" y="67"/>
                </a:cubicBezTo>
                <a:cubicBezTo>
                  <a:pt x="12" y="67"/>
                  <a:pt x="12" y="67"/>
                  <a:pt x="12" y="67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69"/>
                  <a:pt x="0" y="57"/>
                  <a:pt x="9" y="36"/>
                </a:cubicBezTo>
                <a:cubicBezTo>
                  <a:pt x="9" y="36"/>
                  <a:pt x="9" y="36"/>
                  <a:pt x="9" y="36"/>
                </a:cubicBezTo>
                <a:cubicBezTo>
                  <a:pt x="17" y="19"/>
                  <a:pt x="34" y="1"/>
                  <a:pt x="6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8" y="0"/>
                  <a:pt x="68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86" y="0"/>
                  <a:pt x="100" y="6"/>
                  <a:pt x="109" y="15"/>
                </a:cubicBezTo>
                <a:cubicBezTo>
                  <a:pt x="109" y="15"/>
                  <a:pt x="109" y="15"/>
                  <a:pt x="109" y="15"/>
                </a:cubicBezTo>
                <a:cubicBezTo>
                  <a:pt x="118" y="24"/>
                  <a:pt x="123" y="37"/>
                  <a:pt x="123" y="49"/>
                </a:cubicBezTo>
                <a:cubicBezTo>
                  <a:pt x="123" y="49"/>
                  <a:pt x="123" y="49"/>
                  <a:pt x="123" y="49"/>
                </a:cubicBezTo>
                <a:cubicBezTo>
                  <a:pt x="122" y="69"/>
                  <a:pt x="113" y="89"/>
                  <a:pt x="94" y="101"/>
                </a:cubicBezTo>
                <a:cubicBezTo>
                  <a:pt x="94" y="101"/>
                  <a:pt x="94" y="101"/>
                  <a:pt x="94" y="101"/>
                </a:cubicBezTo>
                <a:cubicBezTo>
                  <a:pt x="81" y="109"/>
                  <a:pt x="79" y="115"/>
                  <a:pt x="79" y="120"/>
                </a:cubicBezTo>
                <a:cubicBezTo>
                  <a:pt x="79" y="120"/>
                  <a:pt x="79" y="120"/>
                  <a:pt x="79" y="120"/>
                </a:cubicBezTo>
                <a:cubicBezTo>
                  <a:pt x="79" y="127"/>
                  <a:pt x="85" y="135"/>
                  <a:pt x="85" y="146"/>
                </a:cubicBezTo>
                <a:cubicBezTo>
                  <a:pt x="85" y="146"/>
                  <a:pt x="85" y="146"/>
                  <a:pt x="85" y="146"/>
                </a:cubicBezTo>
                <a:cubicBezTo>
                  <a:pt x="85" y="151"/>
                  <a:pt x="83" y="157"/>
                  <a:pt x="78" y="162"/>
                </a:cubicBezTo>
                <a:cubicBezTo>
                  <a:pt x="78" y="162"/>
                  <a:pt x="78" y="162"/>
                  <a:pt x="78" y="162"/>
                </a:cubicBezTo>
                <a:cubicBezTo>
                  <a:pt x="70" y="169"/>
                  <a:pt x="62" y="172"/>
                  <a:pt x="53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53" y="172"/>
                  <a:pt x="53" y="172"/>
                  <a:pt x="53" y="172"/>
                </a:cubicBezTo>
                <a:cubicBezTo>
                  <a:pt x="45" y="172"/>
                  <a:pt x="38" y="169"/>
                  <a:pt x="33" y="16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76" name="Freeform 11"/>
          <p:cNvSpPr>
            <a:spLocks/>
          </p:cNvSpPr>
          <p:nvPr/>
        </p:nvSpPr>
        <p:spPr bwMode="auto">
          <a:xfrm>
            <a:off x="3894667" y="1460501"/>
            <a:ext cx="171451" cy="156633"/>
          </a:xfrm>
          <a:custGeom>
            <a:avLst/>
            <a:gdLst>
              <a:gd name="T0" fmla="*/ 122140553 w 57"/>
              <a:gd name="T1" fmla="*/ 214355729 h 52"/>
              <a:gd name="T2" fmla="*/ 162853318 w 57"/>
              <a:gd name="T3" fmla="*/ 229665884 h 52"/>
              <a:gd name="T4" fmla="*/ 162853318 w 57"/>
              <a:gd name="T5" fmla="*/ 229665884 h 52"/>
              <a:gd name="T6" fmla="*/ 223923594 w 57"/>
              <a:gd name="T7" fmla="*/ 193939929 h 52"/>
              <a:gd name="T8" fmla="*/ 223923594 w 57"/>
              <a:gd name="T9" fmla="*/ 193939929 h 52"/>
              <a:gd name="T10" fmla="*/ 249370483 w 57"/>
              <a:gd name="T11" fmla="*/ 117384635 h 52"/>
              <a:gd name="T12" fmla="*/ 249370483 w 57"/>
              <a:gd name="T13" fmla="*/ 117384635 h 52"/>
              <a:gd name="T14" fmla="*/ 178121451 w 57"/>
              <a:gd name="T15" fmla="*/ 40829340 h 52"/>
              <a:gd name="T16" fmla="*/ 178121451 w 57"/>
              <a:gd name="T17" fmla="*/ 40829340 h 52"/>
              <a:gd name="T18" fmla="*/ 147585185 w 57"/>
              <a:gd name="T19" fmla="*/ 40829340 h 52"/>
              <a:gd name="T20" fmla="*/ 147585185 w 57"/>
              <a:gd name="T21" fmla="*/ 40829340 h 52"/>
              <a:gd name="T22" fmla="*/ 0 w 57"/>
              <a:gd name="T23" fmla="*/ 168420745 h 52"/>
              <a:gd name="T24" fmla="*/ 0 w 57"/>
              <a:gd name="T25" fmla="*/ 168420745 h 52"/>
              <a:gd name="T26" fmla="*/ 25446888 w 57"/>
              <a:gd name="T27" fmla="*/ 81658680 h 52"/>
              <a:gd name="T28" fmla="*/ 147585185 w 57"/>
              <a:gd name="T29" fmla="*/ 0 h 52"/>
              <a:gd name="T30" fmla="*/ 147585185 w 57"/>
              <a:gd name="T31" fmla="*/ 0 h 52"/>
              <a:gd name="T32" fmla="*/ 183210829 w 57"/>
              <a:gd name="T33" fmla="*/ 5103385 h 52"/>
              <a:gd name="T34" fmla="*/ 290083248 w 57"/>
              <a:gd name="T35" fmla="*/ 117384635 h 52"/>
              <a:gd name="T36" fmla="*/ 290083248 w 57"/>
              <a:gd name="T37" fmla="*/ 117384635 h 52"/>
              <a:gd name="T38" fmla="*/ 162853318 w 57"/>
              <a:gd name="T39" fmla="*/ 265391839 h 52"/>
              <a:gd name="T40" fmla="*/ 162853318 w 57"/>
              <a:gd name="T41" fmla="*/ 265391839 h 52"/>
              <a:gd name="T42" fmla="*/ 162853318 w 57"/>
              <a:gd name="T43" fmla="*/ 265391839 h 52"/>
              <a:gd name="T44" fmla="*/ 162853318 w 57"/>
              <a:gd name="T45" fmla="*/ 265391839 h 52"/>
              <a:gd name="T46" fmla="*/ 122140553 w 57"/>
              <a:gd name="T47" fmla="*/ 214355729 h 5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57" h="52">
                <a:moveTo>
                  <a:pt x="24" y="42"/>
                </a:moveTo>
                <a:cubicBezTo>
                  <a:pt x="27" y="44"/>
                  <a:pt x="30" y="45"/>
                  <a:pt x="32" y="45"/>
                </a:cubicBezTo>
                <a:cubicBezTo>
                  <a:pt x="32" y="45"/>
                  <a:pt x="32" y="45"/>
                  <a:pt x="32" y="45"/>
                </a:cubicBezTo>
                <a:cubicBezTo>
                  <a:pt x="36" y="45"/>
                  <a:pt x="41" y="42"/>
                  <a:pt x="44" y="38"/>
                </a:cubicBezTo>
                <a:cubicBezTo>
                  <a:pt x="44" y="38"/>
                  <a:pt x="44" y="38"/>
                  <a:pt x="44" y="38"/>
                </a:cubicBezTo>
                <a:cubicBezTo>
                  <a:pt x="47" y="34"/>
                  <a:pt x="49" y="28"/>
                  <a:pt x="49" y="23"/>
                </a:cubicBezTo>
                <a:cubicBezTo>
                  <a:pt x="49" y="23"/>
                  <a:pt x="49" y="23"/>
                  <a:pt x="49" y="23"/>
                </a:cubicBezTo>
                <a:cubicBezTo>
                  <a:pt x="49" y="16"/>
                  <a:pt x="46" y="10"/>
                  <a:pt x="35" y="8"/>
                </a:cubicBezTo>
                <a:cubicBezTo>
                  <a:pt x="35" y="8"/>
                  <a:pt x="35" y="8"/>
                  <a:pt x="35" y="8"/>
                </a:cubicBezTo>
                <a:cubicBezTo>
                  <a:pt x="33" y="8"/>
                  <a:pt x="31" y="8"/>
                  <a:pt x="29" y="8"/>
                </a:cubicBezTo>
                <a:cubicBezTo>
                  <a:pt x="29" y="8"/>
                  <a:pt x="29" y="8"/>
                  <a:pt x="29" y="8"/>
                </a:cubicBezTo>
                <a:cubicBezTo>
                  <a:pt x="7" y="8"/>
                  <a:pt x="0" y="33"/>
                  <a:pt x="0" y="33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3"/>
                  <a:pt x="0" y="23"/>
                  <a:pt x="5" y="16"/>
                </a:cubicBezTo>
                <a:cubicBezTo>
                  <a:pt x="5" y="16"/>
                  <a:pt x="13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31" y="0"/>
                  <a:pt x="36" y="1"/>
                  <a:pt x="36" y="1"/>
                </a:cubicBezTo>
                <a:cubicBezTo>
                  <a:pt x="50" y="3"/>
                  <a:pt x="57" y="13"/>
                  <a:pt x="57" y="23"/>
                </a:cubicBezTo>
                <a:cubicBezTo>
                  <a:pt x="57" y="23"/>
                  <a:pt x="57" y="23"/>
                  <a:pt x="57" y="23"/>
                </a:cubicBezTo>
                <a:cubicBezTo>
                  <a:pt x="56" y="37"/>
                  <a:pt x="47" y="52"/>
                  <a:pt x="32" y="52"/>
                </a:cubicBezTo>
                <a:cubicBezTo>
                  <a:pt x="32" y="52"/>
                  <a:pt x="32" y="52"/>
                  <a:pt x="32" y="52"/>
                </a:cubicBezTo>
                <a:cubicBezTo>
                  <a:pt x="32" y="52"/>
                  <a:pt x="32" y="52"/>
                  <a:pt x="32" y="52"/>
                </a:cubicBezTo>
                <a:cubicBezTo>
                  <a:pt x="32" y="52"/>
                  <a:pt x="32" y="52"/>
                  <a:pt x="32" y="52"/>
                </a:cubicBezTo>
                <a:cubicBezTo>
                  <a:pt x="24" y="52"/>
                  <a:pt x="24" y="42"/>
                  <a:pt x="24" y="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77" name="Freeform 12"/>
          <p:cNvSpPr>
            <a:spLocks/>
          </p:cNvSpPr>
          <p:nvPr/>
        </p:nvSpPr>
        <p:spPr bwMode="auto">
          <a:xfrm>
            <a:off x="3922184" y="1699684"/>
            <a:ext cx="42333" cy="118533"/>
          </a:xfrm>
          <a:custGeom>
            <a:avLst/>
            <a:gdLst>
              <a:gd name="T0" fmla="*/ 15430500 w 14"/>
              <a:gd name="T1" fmla="*/ 72745274 h 39"/>
              <a:gd name="T2" fmla="*/ 36002232 w 14"/>
              <a:gd name="T3" fmla="*/ 0 h 39"/>
              <a:gd name="T4" fmla="*/ 30858732 w 14"/>
              <a:gd name="T5" fmla="*/ 36371497 h 39"/>
              <a:gd name="T6" fmla="*/ 30858732 w 14"/>
              <a:gd name="T7" fmla="*/ 36371497 h 39"/>
              <a:gd name="T8" fmla="*/ 72004464 w 14"/>
              <a:gd name="T9" fmla="*/ 181862046 h 39"/>
              <a:gd name="T10" fmla="*/ 72004464 w 14"/>
              <a:gd name="T11" fmla="*/ 181862046 h 39"/>
              <a:gd name="T12" fmla="*/ 41145732 w 14"/>
              <a:gd name="T13" fmla="*/ 202646410 h 39"/>
              <a:gd name="T14" fmla="*/ 15430500 w 14"/>
              <a:gd name="T15" fmla="*/ 72745274 h 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39">
                <a:moveTo>
                  <a:pt x="3" y="14"/>
                </a:moveTo>
                <a:cubicBezTo>
                  <a:pt x="3" y="9"/>
                  <a:pt x="7" y="0"/>
                  <a:pt x="7" y="0"/>
                </a:cubicBezTo>
                <a:cubicBezTo>
                  <a:pt x="7" y="0"/>
                  <a:pt x="6" y="3"/>
                  <a:pt x="6" y="7"/>
                </a:cubicBezTo>
                <a:cubicBezTo>
                  <a:pt x="6" y="7"/>
                  <a:pt x="6" y="7"/>
                  <a:pt x="6" y="7"/>
                </a:cubicBezTo>
                <a:cubicBezTo>
                  <a:pt x="6" y="14"/>
                  <a:pt x="8" y="25"/>
                  <a:pt x="14" y="35"/>
                </a:cubicBezTo>
                <a:cubicBezTo>
                  <a:pt x="14" y="35"/>
                  <a:pt x="14" y="35"/>
                  <a:pt x="14" y="35"/>
                </a:cubicBezTo>
                <a:cubicBezTo>
                  <a:pt x="8" y="39"/>
                  <a:pt x="8" y="39"/>
                  <a:pt x="8" y="39"/>
                </a:cubicBezTo>
                <a:cubicBezTo>
                  <a:pt x="0" y="28"/>
                  <a:pt x="3" y="14"/>
                  <a:pt x="3" y="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78" name="Freeform 13"/>
          <p:cNvSpPr>
            <a:spLocks noEditPoints="1"/>
          </p:cNvSpPr>
          <p:nvPr/>
        </p:nvSpPr>
        <p:spPr bwMode="auto">
          <a:xfrm>
            <a:off x="4578351" y="1443567"/>
            <a:ext cx="201083" cy="188384"/>
          </a:xfrm>
          <a:custGeom>
            <a:avLst/>
            <a:gdLst>
              <a:gd name="T0" fmla="*/ 293867311 w 67"/>
              <a:gd name="T1" fmla="*/ 45265984 h 63"/>
              <a:gd name="T2" fmla="*/ 172265570 w 67"/>
              <a:gd name="T3" fmla="*/ 0 h 63"/>
              <a:gd name="T4" fmla="*/ 81067077 w 67"/>
              <a:gd name="T5" fmla="*/ 20118963 h 63"/>
              <a:gd name="T6" fmla="*/ 20267332 w 67"/>
              <a:gd name="T7" fmla="*/ 80473608 h 63"/>
              <a:gd name="T8" fmla="*/ 0 w 67"/>
              <a:gd name="T9" fmla="*/ 160944973 h 63"/>
              <a:gd name="T10" fmla="*/ 20267332 w 67"/>
              <a:gd name="T11" fmla="*/ 241418581 h 63"/>
              <a:gd name="T12" fmla="*/ 81067077 w 67"/>
              <a:gd name="T13" fmla="*/ 296742925 h 63"/>
              <a:gd name="T14" fmla="*/ 172265570 w 67"/>
              <a:gd name="T15" fmla="*/ 316861888 h 63"/>
              <a:gd name="T16" fmla="*/ 293867311 w 67"/>
              <a:gd name="T17" fmla="*/ 276626205 h 63"/>
              <a:gd name="T18" fmla="*/ 339466557 w 67"/>
              <a:gd name="T19" fmla="*/ 160944973 h 63"/>
              <a:gd name="T20" fmla="*/ 293867311 w 67"/>
              <a:gd name="T21" fmla="*/ 45265984 h 63"/>
              <a:gd name="T22" fmla="*/ 202666568 w 67"/>
              <a:gd name="T23" fmla="*/ 236388280 h 63"/>
              <a:gd name="T24" fmla="*/ 172265570 w 67"/>
              <a:gd name="T25" fmla="*/ 251476941 h 63"/>
              <a:gd name="T26" fmla="*/ 136799990 w 67"/>
              <a:gd name="T27" fmla="*/ 236388280 h 63"/>
              <a:gd name="T28" fmla="*/ 121599491 w 67"/>
              <a:gd name="T29" fmla="*/ 160944973 h 63"/>
              <a:gd name="T30" fmla="*/ 136799990 w 67"/>
              <a:gd name="T31" fmla="*/ 85501667 h 63"/>
              <a:gd name="T32" fmla="*/ 172265570 w 67"/>
              <a:gd name="T33" fmla="*/ 70413005 h 63"/>
              <a:gd name="T34" fmla="*/ 202666568 w 67"/>
              <a:gd name="T35" fmla="*/ 85501667 h 63"/>
              <a:gd name="T36" fmla="*/ 217867067 w 67"/>
              <a:gd name="T37" fmla="*/ 160944973 h 63"/>
              <a:gd name="T38" fmla="*/ 202666568 w 67"/>
              <a:gd name="T39" fmla="*/ 236388280 h 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67" h="63">
                <a:moveTo>
                  <a:pt x="58" y="9"/>
                </a:moveTo>
                <a:cubicBezTo>
                  <a:pt x="52" y="3"/>
                  <a:pt x="44" y="0"/>
                  <a:pt x="34" y="0"/>
                </a:cubicBezTo>
                <a:cubicBezTo>
                  <a:pt x="27" y="0"/>
                  <a:pt x="21" y="1"/>
                  <a:pt x="16" y="4"/>
                </a:cubicBezTo>
                <a:cubicBezTo>
                  <a:pt x="10" y="7"/>
                  <a:pt x="7" y="11"/>
                  <a:pt x="4" y="16"/>
                </a:cubicBezTo>
                <a:cubicBezTo>
                  <a:pt x="2" y="21"/>
                  <a:pt x="0" y="26"/>
                  <a:pt x="0" y="32"/>
                </a:cubicBezTo>
                <a:cubicBezTo>
                  <a:pt x="0" y="37"/>
                  <a:pt x="2" y="43"/>
                  <a:pt x="4" y="48"/>
                </a:cubicBezTo>
                <a:cubicBezTo>
                  <a:pt x="7" y="53"/>
                  <a:pt x="10" y="57"/>
                  <a:pt x="16" y="59"/>
                </a:cubicBezTo>
                <a:cubicBezTo>
                  <a:pt x="21" y="62"/>
                  <a:pt x="27" y="63"/>
                  <a:pt x="34" y="63"/>
                </a:cubicBezTo>
                <a:cubicBezTo>
                  <a:pt x="44" y="63"/>
                  <a:pt x="52" y="61"/>
                  <a:pt x="58" y="55"/>
                </a:cubicBezTo>
                <a:cubicBezTo>
                  <a:pt x="64" y="49"/>
                  <a:pt x="67" y="41"/>
                  <a:pt x="67" y="32"/>
                </a:cubicBezTo>
                <a:cubicBezTo>
                  <a:pt x="67" y="22"/>
                  <a:pt x="64" y="14"/>
                  <a:pt x="58" y="9"/>
                </a:cubicBezTo>
                <a:close/>
                <a:moveTo>
                  <a:pt x="40" y="47"/>
                </a:moveTo>
                <a:cubicBezTo>
                  <a:pt x="39" y="49"/>
                  <a:pt x="37" y="50"/>
                  <a:pt x="34" y="50"/>
                </a:cubicBezTo>
                <a:cubicBezTo>
                  <a:pt x="31" y="50"/>
                  <a:pt x="29" y="49"/>
                  <a:pt x="27" y="47"/>
                </a:cubicBezTo>
                <a:cubicBezTo>
                  <a:pt x="25" y="44"/>
                  <a:pt x="24" y="39"/>
                  <a:pt x="24" y="32"/>
                </a:cubicBezTo>
                <a:cubicBezTo>
                  <a:pt x="24" y="25"/>
                  <a:pt x="25" y="20"/>
                  <a:pt x="27" y="17"/>
                </a:cubicBezTo>
                <a:cubicBezTo>
                  <a:pt x="29" y="15"/>
                  <a:pt x="31" y="14"/>
                  <a:pt x="34" y="14"/>
                </a:cubicBezTo>
                <a:cubicBezTo>
                  <a:pt x="37" y="14"/>
                  <a:pt x="39" y="15"/>
                  <a:pt x="40" y="17"/>
                </a:cubicBezTo>
                <a:cubicBezTo>
                  <a:pt x="42" y="20"/>
                  <a:pt x="43" y="25"/>
                  <a:pt x="43" y="32"/>
                </a:cubicBezTo>
                <a:cubicBezTo>
                  <a:pt x="43" y="39"/>
                  <a:pt x="42" y="44"/>
                  <a:pt x="40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79" name="Freeform 14"/>
          <p:cNvSpPr>
            <a:spLocks/>
          </p:cNvSpPr>
          <p:nvPr/>
        </p:nvSpPr>
        <p:spPr bwMode="auto">
          <a:xfrm>
            <a:off x="4635501" y="1416051"/>
            <a:ext cx="266700" cy="387349"/>
          </a:xfrm>
          <a:custGeom>
            <a:avLst/>
            <a:gdLst>
              <a:gd name="T0" fmla="*/ 254536575 w 126"/>
              <a:gd name="T1" fmla="*/ 0 h 183"/>
              <a:gd name="T2" fmla="*/ 317539688 w 126"/>
              <a:gd name="T3" fmla="*/ 0 h 183"/>
              <a:gd name="T4" fmla="*/ 60483750 w 126"/>
              <a:gd name="T5" fmla="*/ 461188594 h 183"/>
              <a:gd name="T6" fmla="*/ 0 w 126"/>
              <a:gd name="T7" fmla="*/ 461188594 h 183"/>
              <a:gd name="T8" fmla="*/ 254536575 w 126"/>
              <a:gd name="T9" fmla="*/ 0 h 18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6" h="183">
                <a:moveTo>
                  <a:pt x="101" y="0"/>
                </a:moveTo>
                <a:lnTo>
                  <a:pt x="126" y="0"/>
                </a:lnTo>
                <a:lnTo>
                  <a:pt x="24" y="183"/>
                </a:lnTo>
                <a:lnTo>
                  <a:pt x="0" y="183"/>
                </a:lnTo>
                <a:lnTo>
                  <a:pt x="10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80" name="Freeform 15"/>
          <p:cNvSpPr>
            <a:spLocks noEditPoints="1"/>
          </p:cNvSpPr>
          <p:nvPr/>
        </p:nvSpPr>
        <p:spPr bwMode="auto">
          <a:xfrm>
            <a:off x="4760384" y="1562101"/>
            <a:ext cx="279400" cy="260351"/>
          </a:xfrm>
          <a:custGeom>
            <a:avLst/>
            <a:gdLst>
              <a:gd name="T0" fmla="*/ 406161977 w 93"/>
              <a:gd name="T1" fmla="*/ 60448487 h 87"/>
              <a:gd name="T2" fmla="*/ 233542348 w 93"/>
              <a:gd name="T3" fmla="*/ 0 h 87"/>
              <a:gd name="T4" fmla="*/ 106618139 w 93"/>
              <a:gd name="T5" fmla="*/ 25186683 h 87"/>
              <a:gd name="T6" fmla="*/ 25384842 w 93"/>
              <a:gd name="T7" fmla="*/ 105783169 h 87"/>
              <a:gd name="T8" fmla="*/ 0 w 93"/>
              <a:gd name="T9" fmla="*/ 216605021 h 87"/>
              <a:gd name="T10" fmla="*/ 25384842 w 93"/>
              <a:gd name="T11" fmla="*/ 332465557 h 87"/>
              <a:gd name="T12" fmla="*/ 106618139 w 93"/>
              <a:gd name="T13" fmla="*/ 413062043 h 87"/>
              <a:gd name="T14" fmla="*/ 233542348 w 93"/>
              <a:gd name="T15" fmla="*/ 438248726 h 87"/>
              <a:gd name="T16" fmla="*/ 406161977 w 93"/>
              <a:gd name="T17" fmla="*/ 377800239 h 87"/>
              <a:gd name="T18" fmla="*/ 472163468 w 93"/>
              <a:gd name="T19" fmla="*/ 216605021 h 87"/>
              <a:gd name="T20" fmla="*/ 406161977 w 93"/>
              <a:gd name="T21" fmla="*/ 60448487 h 87"/>
              <a:gd name="T22" fmla="*/ 279235515 w 93"/>
              <a:gd name="T23" fmla="*/ 322390435 h 87"/>
              <a:gd name="T24" fmla="*/ 233542348 w 93"/>
              <a:gd name="T25" fmla="*/ 342538434 h 87"/>
              <a:gd name="T26" fmla="*/ 192927953 w 93"/>
              <a:gd name="T27" fmla="*/ 322390435 h 87"/>
              <a:gd name="T28" fmla="*/ 167540858 w 93"/>
              <a:gd name="T29" fmla="*/ 221643705 h 87"/>
              <a:gd name="T30" fmla="*/ 192927953 w 93"/>
              <a:gd name="T31" fmla="*/ 115858291 h 87"/>
              <a:gd name="T32" fmla="*/ 233542348 w 93"/>
              <a:gd name="T33" fmla="*/ 95710292 h 87"/>
              <a:gd name="T34" fmla="*/ 279235515 w 93"/>
              <a:gd name="T35" fmla="*/ 115858291 h 87"/>
              <a:gd name="T36" fmla="*/ 304622610 w 93"/>
              <a:gd name="T37" fmla="*/ 221643705 h 87"/>
              <a:gd name="T38" fmla="*/ 279235515 w 93"/>
              <a:gd name="T39" fmla="*/ 322390435 h 8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93" h="87">
                <a:moveTo>
                  <a:pt x="80" y="12"/>
                </a:moveTo>
                <a:cubicBezTo>
                  <a:pt x="72" y="4"/>
                  <a:pt x="61" y="0"/>
                  <a:pt x="46" y="0"/>
                </a:cubicBezTo>
                <a:cubicBezTo>
                  <a:pt x="37" y="0"/>
                  <a:pt x="28" y="1"/>
                  <a:pt x="21" y="5"/>
                </a:cubicBezTo>
                <a:cubicBezTo>
                  <a:pt x="14" y="9"/>
                  <a:pt x="9" y="14"/>
                  <a:pt x="5" y="21"/>
                </a:cubicBezTo>
                <a:cubicBezTo>
                  <a:pt x="2" y="28"/>
                  <a:pt x="0" y="36"/>
                  <a:pt x="0" y="43"/>
                </a:cubicBezTo>
                <a:cubicBezTo>
                  <a:pt x="0" y="51"/>
                  <a:pt x="2" y="59"/>
                  <a:pt x="5" y="66"/>
                </a:cubicBezTo>
                <a:cubicBezTo>
                  <a:pt x="9" y="73"/>
                  <a:pt x="14" y="78"/>
                  <a:pt x="21" y="82"/>
                </a:cubicBezTo>
                <a:cubicBezTo>
                  <a:pt x="28" y="85"/>
                  <a:pt x="37" y="87"/>
                  <a:pt x="46" y="87"/>
                </a:cubicBezTo>
                <a:cubicBezTo>
                  <a:pt x="61" y="87"/>
                  <a:pt x="72" y="83"/>
                  <a:pt x="80" y="75"/>
                </a:cubicBezTo>
                <a:cubicBezTo>
                  <a:pt x="89" y="67"/>
                  <a:pt x="93" y="57"/>
                  <a:pt x="93" y="43"/>
                </a:cubicBezTo>
                <a:cubicBezTo>
                  <a:pt x="93" y="30"/>
                  <a:pt x="89" y="20"/>
                  <a:pt x="80" y="12"/>
                </a:cubicBezTo>
                <a:close/>
                <a:moveTo>
                  <a:pt x="55" y="64"/>
                </a:moveTo>
                <a:cubicBezTo>
                  <a:pt x="53" y="67"/>
                  <a:pt x="50" y="68"/>
                  <a:pt x="46" y="68"/>
                </a:cubicBezTo>
                <a:cubicBezTo>
                  <a:pt x="43" y="68"/>
                  <a:pt x="40" y="67"/>
                  <a:pt x="38" y="64"/>
                </a:cubicBezTo>
                <a:cubicBezTo>
                  <a:pt x="35" y="60"/>
                  <a:pt x="33" y="53"/>
                  <a:pt x="33" y="44"/>
                </a:cubicBezTo>
                <a:cubicBezTo>
                  <a:pt x="33" y="34"/>
                  <a:pt x="35" y="27"/>
                  <a:pt x="38" y="23"/>
                </a:cubicBezTo>
                <a:cubicBezTo>
                  <a:pt x="40" y="20"/>
                  <a:pt x="43" y="19"/>
                  <a:pt x="46" y="19"/>
                </a:cubicBezTo>
                <a:cubicBezTo>
                  <a:pt x="50" y="19"/>
                  <a:pt x="53" y="20"/>
                  <a:pt x="55" y="23"/>
                </a:cubicBezTo>
                <a:cubicBezTo>
                  <a:pt x="58" y="27"/>
                  <a:pt x="60" y="34"/>
                  <a:pt x="60" y="44"/>
                </a:cubicBezTo>
                <a:cubicBezTo>
                  <a:pt x="60" y="53"/>
                  <a:pt x="58" y="60"/>
                  <a:pt x="55" y="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81" name="Freeform 16"/>
          <p:cNvSpPr>
            <a:spLocks/>
          </p:cNvSpPr>
          <p:nvPr/>
        </p:nvSpPr>
        <p:spPr bwMode="auto">
          <a:xfrm>
            <a:off x="5344585" y="1337734"/>
            <a:ext cx="486833" cy="122767"/>
          </a:xfrm>
          <a:custGeom>
            <a:avLst/>
            <a:gdLst>
              <a:gd name="T0" fmla="*/ 0 w 230"/>
              <a:gd name="T1" fmla="*/ 146169063 h 58"/>
              <a:gd name="T2" fmla="*/ 579635938 w 230"/>
              <a:gd name="T3" fmla="*/ 146169063 h 58"/>
              <a:gd name="T4" fmla="*/ 289818763 w 230"/>
              <a:gd name="T5" fmla="*/ 0 h 58"/>
              <a:gd name="T6" fmla="*/ 0 w 230"/>
              <a:gd name="T7" fmla="*/ 146169063 h 5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30" h="58">
                <a:moveTo>
                  <a:pt x="0" y="58"/>
                </a:moveTo>
                <a:lnTo>
                  <a:pt x="230" y="58"/>
                </a:lnTo>
                <a:lnTo>
                  <a:pt x="115" y="0"/>
                </a:lnTo>
                <a:lnTo>
                  <a:pt x="0" y="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82" name="Rectangle 17"/>
          <p:cNvSpPr>
            <a:spLocks noChangeArrowheads="1"/>
          </p:cNvSpPr>
          <p:nvPr/>
        </p:nvSpPr>
        <p:spPr bwMode="auto">
          <a:xfrm>
            <a:off x="5378451" y="1502833"/>
            <a:ext cx="78316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383" name="Rectangle 18"/>
          <p:cNvSpPr>
            <a:spLocks noChangeArrowheads="1"/>
          </p:cNvSpPr>
          <p:nvPr/>
        </p:nvSpPr>
        <p:spPr bwMode="auto">
          <a:xfrm>
            <a:off x="5543551" y="1502833"/>
            <a:ext cx="78316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384" name="Rectangle 19"/>
          <p:cNvSpPr>
            <a:spLocks noChangeArrowheads="1"/>
          </p:cNvSpPr>
          <p:nvPr/>
        </p:nvSpPr>
        <p:spPr bwMode="auto">
          <a:xfrm>
            <a:off x="5708651" y="1502833"/>
            <a:ext cx="78316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385" name="Freeform 20"/>
          <p:cNvSpPr>
            <a:spLocks/>
          </p:cNvSpPr>
          <p:nvPr/>
        </p:nvSpPr>
        <p:spPr bwMode="auto">
          <a:xfrm>
            <a:off x="5348817" y="1767418"/>
            <a:ext cx="150283" cy="67733"/>
          </a:xfrm>
          <a:custGeom>
            <a:avLst/>
            <a:gdLst>
              <a:gd name="T0" fmla="*/ 254079899 w 50"/>
              <a:gd name="T1" fmla="*/ 29269635 h 23"/>
              <a:gd name="T2" fmla="*/ 223591303 w 50"/>
              <a:gd name="T3" fmla="*/ 0 h 23"/>
              <a:gd name="T4" fmla="*/ 30488596 w 50"/>
              <a:gd name="T5" fmla="*/ 0 h 23"/>
              <a:gd name="T6" fmla="*/ 0 w 50"/>
              <a:gd name="T7" fmla="*/ 29269635 h 23"/>
              <a:gd name="T8" fmla="*/ 0 w 50"/>
              <a:gd name="T9" fmla="*/ 82932104 h 23"/>
              <a:gd name="T10" fmla="*/ 30488596 w 50"/>
              <a:gd name="T11" fmla="*/ 112201739 h 23"/>
              <a:gd name="T12" fmla="*/ 223591303 w 50"/>
              <a:gd name="T13" fmla="*/ 112201739 h 23"/>
              <a:gd name="T14" fmla="*/ 254079899 w 50"/>
              <a:gd name="T15" fmla="*/ 82932104 h 23"/>
              <a:gd name="T16" fmla="*/ 254079899 w 50"/>
              <a:gd name="T17" fmla="*/ 29269635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0" h="23">
                <a:moveTo>
                  <a:pt x="50" y="6"/>
                </a:moveTo>
                <a:cubicBezTo>
                  <a:pt x="50" y="3"/>
                  <a:pt x="47" y="0"/>
                  <a:pt x="44" y="0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6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0"/>
                  <a:pt x="3" y="23"/>
                  <a:pt x="6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7" y="23"/>
                  <a:pt x="50" y="20"/>
                  <a:pt x="50" y="17"/>
                </a:cubicBezTo>
                <a:lnTo>
                  <a:pt x="5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86" name="Freeform 21"/>
          <p:cNvSpPr>
            <a:spLocks/>
          </p:cNvSpPr>
          <p:nvPr/>
        </p:nvSpPr>
        <p:spPr bwMode="auto">
          <a:xfrm>
            <a:off x="5674784" y="1767418"/>
            <a:ext cx="150283" cy="67733"/>
          </a:xfrm>
          <a:custGeom>
            <a:avLst/>
            <a:gdLst>
              <a:gd name="T0" fmla="*/ 254079899 w 50"/>
              <a:gd name="T1" fmla="*/ 29269635 h 23"/>
              <a:gd name="T2" fmla="*/ 223591303 w 50"/>
              <a:gd name="T3" fmla="*/ 0 h 23"/>
              <a:gd name="T4" fmla="*/ 30488596 w 50"/>
              <a:gd name="T5" fmla="*/ 0 h 23"/>
              <a:gd name="T6" fmla="*/ 0 w 50"/>
              <a:gd name="T7" fmla="*/ 29269635 h 23"/>
              <a:gd name="T8" fmla="*/ 0 w 50"/>
              <a:gd name="T9" fmla="*/ 82932104 h 23"/>
              <a:gd name="T10" fmla="*/ 30488596 w 50"/>
              <a:gd name="T11" fmla="*/ 112201739 h 23"/>
              <a:gd name="T12" fmla="*/ 223591303 w 50"/>
              <a:gd name="T13" fmla="*/ 112201739 h 23"/>
              <a:gd name="T14" fmla="*/ 254079899 w 50"/>
              <a:gd name="T15" fmla="*/ 82932104 h 23"/>
              <a:gd name="T16" fmla="*/ 254079899 w 50"/>
              <a:gd name="T17" fmla="*/ 29269635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0" h="23">
                <a:moveTo>
                  <a:pt x="50" y="6"/>
                </a:moveTo>
                <a:cubicBezTo>
                  <a:pt x="50" y="3"/>
                  <a:pt x="47" y="0"/>
                  <a:pt x="44" y="0"/>
                </a:cubicBezTo>
                <a:cubicBezTo>
                  <a:pt x="6" y="0"/>
                  <a:pt x="6" y="0"/>
                  <a:pt x="6" y="0"/>
                </a:cubicBezTo>
                <a:cubicBezTo>
                  <a:pt x="2" y="0"/>
                  <a:pt x="0" y="3"/>
                  <a:pt x="0" y="6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0"/>
                  <a:pt x="2" y="23"/>
                  <a:pt x="6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7" y="23"/>
                  <a:pt x="50" y="20"/>
                  <a:pt x="50" y="17"/>
                </a:cubicBezTo>
                <a:lnTo>
                  <a:pt x="5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87" name="Freeform 22"/>
          <p:cNvSpPr>
            <a:spLocks/>
          </p:cNvSpPr>
          <p:nvPr/>
        </p:nvSpPr>
        <p:spPr bwMode="auto">
          <a:xfrm>
            <a:off x="5516033" y="1767417"/>
            <a:ext cx="137584" cy="14816"/>
          </a:xfrm>
          <a:custGeom>
            <a:avLst/>
            <a:gdLst>
              <a:gd name="T0" fmla="*/ 231470873 w 46"/>
              <a:gd name="T1" fmla="*/ 14818963 h 5"/>
              <a:gd name="T2" fmla="*/ 211342483 w 46"/>
              <a:gd name="T3" fmla="*/ 0 h 5"/>
              <a:gd name="T4" fmla="*/ 15096853 w 46"/>
              <a:gd name="T5" fmla="*/ 0 h 5"/>
              <a:gd name="T6" fmla="*/ 0 w 46"/>
              <a:gd name="T7" fmla="*/ 14818963 h 5"/>
              <a:gd name="T8" fmla="*/ 0 w 46"/>
              <a:gd name="T9" fmla="*/ 14818963 h 5"/>
              <a:gd name="T10" fmla="*/ 15096853 w 46"/>
              <a:gd name="T11" fmla="*/ 24697531 h 5"/>
              <a:gd name="T12" fmla="*/ 211342483 w 46"/>
              <a:gd name="T13" fmla="*/ 24697531 h 5"/>
              <a:gd name="T14" fmla="*/ 231470873 w 46"/>
              <a:gd name="T15" fmla="*/ 14818963 h 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6" h="5">
                <a:moveTo>
                  <a:pt x="46" y="3"/>
                </a:moveTo>
                <a:cubicBezTo>
                  <a:pt x="46" y="1"/>
                  <a:pt x="45" y="0"/>
                  <a:pt x="42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4"/>
                  <a:pt x="1" y="5"/>
                  <a:pt x="3" y="5"/>
                </a:cubicBezTo>
                <a:cubicBezTo>
                  <a:pt x="42" y="5"/>
                  <a:pt x="42" y="5"/>
                  <a:pt x="42" y="5"/>
                </a:cubicBezTo>
                <a:cubicBezTo>
                  <a:pt x="45" y="5"/>
                  <a:pt x="46" y="4"/>
                  <a:pt x="46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88" name="Freeform 23"/>
          <p:cNvSpPr>
            <a:spLocks/>
          </p:cNvSpPr>
          <p:nvPr/>
        </p:nvSpPr>
        <p:spPr bwMode="auto">
          <a:xfrm>
            <a:off x="5516033" y="1813984"/>
            <a:ext cx="137584" cy="14816"/>
          </a:xfrm>
          <a:custGeom>
            <a:avLst/>
            <a:gdLst>
              <a:gd name="T0" fmla="*/ 231470873 w 46"/>
              <a:gd name="T1" fmla="*/ 14818963 h 5"/>
              <a:gd name="T2" fmla="*/ 211342483 w 46"/>
              <a:gd name="T3" fmla="*/ 0 h 5"/>
              <a:gd name="T4" fmla="*/ 15096853 w 46"/>
              <a:gd name="T5" fmla="*/ 0 h 5"/>
              <a:gd name="T6" fmla="*/ 0 w 46"/>
              <a:gd name="T7" fmla="*/ 14818963 h 5"/>
              <a:gd name="T8" fmla="*/ 0 w 46"/>
              <a:gd name="T9" fmla="*/ 14818963 h 5"/>
              <a:gd name="T10" fmla="*/ 15096853 w 46"/>
              <a:gd name="T11" fmla="*/ 24697531 h 5"/>
              <a:gd name="T12" fmla="*/ 211342483 w 46"/>
              <a:gd name="T13" fmla="*/ 24697531 h 5"/>
              <a:gd name="T14" fmla="*/ 231470873 w 46"/>
              <a:gd name="T15" fmla="*/ 14818963 h 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6" h="5">
                <a:moveTo>
                  <a:pt x="46" y="3"/>
                </a:moveTo>
                <a:cubicBezTo>
                  <a:pt x="46" y="1"/>
                  <a:pt x="45" y="0"/>
                  <a:pt x="42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4"/>
                  <a:pt x="1" y="5"/>
                  <a:pt x="3" y="5"/>
                </a:cubicBezTo>
                <a:cubicBezTo>
                  <a:pt x="42" y="5"/>
                  <a:pt x="42" y="5"/>
                  <a:pt x="42" y="5"/>
                </a:cubicBezTo>
                <a:cubicBezTo>
                  <a:pt x="45" y="5"/>
                  <a:pt x="46" y="4"/>
                  <a:pt x="46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89" name="Freeform 24"/>
          <p:cNvSpPr>
            <a:spLocks/>
          </p:cNvSpPr>
          <p:nvPr/>
        </p:nvSpPr>
        <p:spPr bwMode="auto">
          <a:xfrm>
            <a:off x="5516033" y="1862668"/>
            <a:ext cx="137584" cy="14817"/>
          </a:xfrm>
          <a:custGeom>
            <a:avLst/>
            <a:gdLst>
              <a:gd name="T0" fmla="*/ 231470873 w 46"/>
              <a:gd name="T1" fmla="*/ 14820297 h 5"/>
              <a:gd name="T2" fmla="*/ 211342483 w 46"/>
              <a:gd name="T3" fmla="*/ 0 h 5"/>
              <a:gd name="T4" fmla="*/ 15096853 w 46"/>
              <a:gd name="T5" fmla="*/ 0 h 5"/>
              <a:gd name="T6" fmla="*/ 0 w 46"/>
              <a:gd name="T7" fmla="*/ 14820297 h 5"/>
              <a:gd name="T8" fmla="*/ 0 w 46"/>
              <a:gd name="T9" fmla="*/ 14820297 h 5"/>
              <a:gd name="T10" fmla="*/ 15096853 w 46"/>
              <a:gd name="T11" fmla="*/ 24699754 h 5"/>
              <a:gd name="T12" fmla="*/ 211342483 w 46"/>
              <a:gd name="T13" fmla="*/ 24699754 h 5"/>
              <a:gd name="T14" fmla="*/ 231470873 w 46"/>
              <a:gd name="T15" fmla="*/ 14820297 h 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6" h="5">
                <a:moveTo>
                  <a:pt x="46" y="3"/>
                </a:moveTo>
                <a:cubicBezTo>
                  <a:pt x="46" y="1"/>
                  <a:pt x="45" y="0"/>
                  <a:pt x="42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3"/>
                  <a:pt x="0" y="3"/>
                  <a:pt x="0" y="3"/>
                </a:cubicBezTo>
                <a:cubicBezTo>
                  <a:pt x="0" y="4"/>
                  <a:pt x="1" y="5"/>
                  <a:pt x="3" y="5"/>
                </a:cubicBezTo>
                <a:cubicBezTo>
                  <a:pt x="42" y="5"/>
                  <a:pt x="42" y="5"/>
                  <a:pt x="42" y="5"/>
                </a:cubicBezTo>
                <a:cubicBezTo>
                  <a:pt x="45" y="5"/>
                  <a:pt x="46" y="4"/>
                  <a:pt x="46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0" name="Freeform 25"/>
          <p:cNvSpPr>
            <a:spLocks/>
          </p:cNvSpPr>
          <p:nvPr/>
        </p:nvSpPr>
        <p:spPr bwMode="auto">
          <a:xfrm>
            <a:off x="6322484" y="1439334"/>
            <a:ext cx="209549" cy="99484"/>
          </a:xfrm>
          <a:custGeom>
            <a:avLst/>
            <a:gdLst>
              <a:gd name="T0" fmla="*/ 352855632 w 70"/>
              <a:gd name="T1" fmla="*/ 132915146 h 33"/>
              <a:gd name="T2" fmla="*/ 317570518 w 70"/>
              <a:gd name="T3" fmla="*/ 168699993 h 33"/>
              <a:gd name="T4" fmla="*/ 35285114 w 70"/>
              <a:gd name="T5" fmla="*/ 168699993 h 33"/>
              <a:gd name="T6" fmla="*/ 0 w 70"/>
              <a:gd name="T7" fmla="*/ 132915146 h 33"/>
              <a:gd name="T8" fmla="*/ 0 w 70"/>
              <a:gd name="T9" fmla="*/ 40896968 h 33"/>
              <a:gd name="T10" fmla="*/ 35285114 w 70"/>
              <a:gd name="T11" fmla="*/ 0 h 33"/>
              <a:gd name="T12" fmla="*/ 317570518 w 70"/>
              <a:gd name="T13" fmla="*/ 0 h 33"/>
              <a:gd name="T14" fmla="*/ 352855632 w 70"/>
              <a:gd name="T15" fmla="*/ 40896968 h 33"/>
              <a:gd name="T16" fmla="*/ 352855632 w 70"/>
              <a:gd name="T17" fmla="*/ 132915146 h 3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0" h="33">
                <a:moveTo>
                  <a:pt x="70" y="26"/>
                </a:moveTo>
                <a:cubicBezTo>
                  <a:pt x="70" y="30"/>
                  <a:pt x="67" y="33"/>
                  <a:pt x="63" y="33"/>
                </a:cubicBezTo>
                <a:cubicBezTo>
                  <a:pt x="7" y="33"/>
                  <a:pt x="7" y="33"/>
                  <a:pt x="7" y="33"/>
                </a:cubicBezTo>
                <a:cubicBezTo>
                  <a:pt x="3" y="33"/>
                  <a:pt x="0" y="30"/>
                  <a:pt x="0" y="26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3" y="0"/>
                  <a:pt x="7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67" y="0"/>
                  <a:pt x="70" y="4"/>
                  <a:pt x="70" y="8"/>
                </a:cubicBezTo>
                <a:lnTo>
                  <a:pt x="70" y="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1" name="Freeform 26"/>
          <p:cNvSpPr>
            <a:spLocks/>
          </p:cNvSpPr>
          <p:nvPr/>
        </p:nvSpPr>
        <p:spPr bwMode="auto">
          <a:xfrm>
            <a:off x="6170085" y="1697567"/>
            <a:ext cx="146049" cy="101600"/>
          </a:xfrm>
          <a:custGeom>
            <a:avLst/>
            <a:gdLst>
              <a:gd name="T0" fmla="*/ 244864375 w 49"/>
              <a:gd name="T1" fmla="*/ 35159576 h 34"/>
              <a:gd name="T2" fmla="*/ 209884069 w 49"/>
              <a:gd name="T3" fmla="*/ 0 h 34"/>
              <a:gd name="T4" fmla="*/ 39978770 w 49"/>
              <a:gd name="T5" fmla="*/ 0 h 34"/>
              <a:gd name="T6" fmla="*/ 0 w 49"/>
              <a:gd name="T7" fmla="*/ 35159576 h 34"/>
              <a:gd name="T8" fmla="*/ 0 w 49"/>
              <a:gd name="T9" fmla="*/ 130595594 h 34"/>
              <a:gd name="T10" fmla="*/ 39978770 w 49"/>
              <a:gd name="T11" fmla="*/ 170777647 h 34"/>
              <a:gd name="T12" fmla="*/ 209884069 w 49"/>
              <a:gd name="T13" fmla="*/ 170777647 h 34"/>
              <a:gd name="T14" fmla="*/ 244864375 w 49"/>
              <a:gd name="T15" fmla="*/ 130595594 h 34"/>
              <a:gd name="T16" fmla="*/ 244864375 w 49"/>
              <a:gd name="T17" fmla="*/ 35159576 h 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" h="34">
                <a:moveTo>
                  <a:pt x="49" y="7"/>
                </a:moveTo>
                <a:cubicBezTo>
                  <a:pt x="49" y="3"/>
                  <a:pt x="46" y="0"/>
                  <a:pt x="42" y="0"/>
                </a:cubicBez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3"/>
                  <a:pt x="0" y="7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30"/>
                  <a:pt x="4" y="34"/>
                  <a:pt x="8" y="34"/>
                </a:cubicBezTo>
                <a:cubicBezTo>
                  <a:pt x="42" y="34"/>
                  <a:pt x="42" y="34"/>
                  <a:pt x="42" y="34"/>
                </a:cubicBezTo>
                <a:cubicBezTo>
                  <a:pt x="46" y="34"/>
                  <a:pt x="49" y="30"/>
                  <a:pt x="49" y="26"/>
                </a:cubicBezTo>
                <a:lnTo>
                  <a:pt x="49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2" name="Freeform 27"/>
          <p:cNvSpPr>
            <a:spLocks/>
          </p:cNvSpPr>
          <p:nvPr/>
        </p:nvSpPr>
        <p:spPr bwMode="auto">
          <a:xfrm>
            <a:off x="6356351" y="1697567"/>
            <a:ext cx="141816" cy="101600"/>
          </a:xfrm>
          <a:custGeom>
            <a:avLst/>
            <a:gdLst>
              <a:gd name="T0" fmla="*/ 235684897 w 48"/>
              <a:gd name="T1" fmla="*/ 35159576 h 34"/>
              <a:gd name="T2" fmla="*/ 201314460 w 48"/>
              <a:gd name="T3" fmla="*/ 0 h 34"/>
              <a:gd name="T4" fmla="*/ 34370437 w 48"/>
              <a:gd name="T5" fmla="*/ 0 h 34"/>
              <a:gd name="T6" fmla="*/ 0 w 48"/>
              <a:gd name="T7" fmla="*/ 35159576 h 34"/>
              <a:gd name="T8" fmla="*/ 0 w 48"/>
              <a:gd name="T9" fmla="*/ 130595594 h 34"/>
              <a:gd name="T10" fmla="*/ 34370437 w 48"/>
              <a:gd name="T11" fmla="*/ 170777647 h 34"/>
              <a:gd name="T12" fmla="*/ 201314460 w 48"/>
              <a:gd name="T13" fmla="*/ 170777647 h 34"/>
              <a:gd name="T14" fmla="*/ 235684897 w 48"/>
              <a:gd name="T15" fmla="*/ 130595594 h 34"/>
              <a:gd name="T16" fmla="*/ 235684897 w 48"/>
              <a:gd name="T17" fmla="*/ 35159576 h 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8" h="34">
                <a:moveTo>
                  <a:pt x="48" y="7"/>
                </a:moveTo>
                <a:cubicBezTo>
                  <a:pt x="48" y="3"/>
                  <a:pt x="45" y="0"/>
                  <a:pt x="41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30"/>
                  <a:pt x="3" y="34"/>
                  <a:pt x="7" y="34"/>
                </a:cubicBezTo>
                <a:cubicBezTo>
                  <a:pt x="41" y="34"/>
                  <a:pt x="41" y="34"/>
                  <a:pt x="41" y="34"/>
                </a:cubicBezTo>
                <a:cubicBezTo>
                  <a:pt x="45" y="34"/>
                  <a:pt x="48" y="30"/>
                  <a:pt x="48" y="26"/>
                </a:cubicBezTo>
                <a:lnTo>
                  <a:pt x="48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3" name="Freeform 28"/>
          <p:cNvSpPr>
            <a:spLocks/>
          </p:cNvSpPr>
          <p:nvPr/>
        </p:nvSpPr>
        <p:spPr bwMode="auto">
          <a:xfrm>
            <a:off x="6538385" y="1697567"/>
            <a:ext cx="146049" cy="101600"/>
          </a:xfrm>
          <a:custGeom>
            <a:avLst/>
            <a:gdLst>
              <a:gd name="T0" fmla="*/ 244864375 w 49"/>
              <a:gd name="T1" fmla="*/ 35159576 h 34"/>
              <a:gd name="T2" fmla="*/ 204885605 w 49"/>
              <a:gd name="T3" fmla="*/ 0 h 34"/>
              <a:gd name="T4" fmla="*/ 34980306 w 49"/>
              <a:gd name="T5" fmla="*/ 0 h 34"/>
              <a:gd name="T6" fmla="*/ 0 w 49"/>
              <a:gd name="T7" fmla="*/ 35159576 h 34"/>
              <a:gd name="T8" fmla="*/ 0 w 49"/>
              <a:gd name="T9" fmla="*/ 130595594 h 34"/>
              <a:gd name="T10" fmla="*/ 34980306 w 49"/>
              <a:gd name="T11" fmla="*/ 170777647 h 34"/>
              <a:gd name="T12" fmla="*/ 204885605 w 49"/>
              <a:gd name="T13" fmla="*/ 170777647 h 34"/>
              <a:gd name="T14" fmla="*/ 244864375 w 49"/>
              <a:gd name="T15" fmla="*/ 130595594 h 34"/>
              <a:gd name="T16" fmla="*/ 244864375 w 49"/>
              <a:gd name="T17" fmla="*/ 35159576 h 3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9" h="34">
                <a:moveTo>
                  <a:pt x="49" y="7"/>
                </a:moveTo>
                <a:cubicBezTo>
                  <a:pt x="49" y="3"/>
                  <a:pt x="45" y="0"/>
                  <a:pt x="41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30"/>
                  <a:pt x="3" y="34"/>
                  <a:pt x="7" y="34"/>
                </a:cubicBezTo>
                <a:cubicBezTo>
                  <a:pt x="41" y="34"/>
                  <a:pt x="41" y="34"/>
                  <a:pt x="41" y="34"/>
                </a:cubicBezTo>
                <a:cubicBezTo>
                  <a:pt x="45" y="34"/>
                  <a:pt x="49" y="30"/>
                  <a:pt x="49" y="26"/>
                </a:cubicBezTo>
                <a:lnTo>
                  <a:pt x="49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4" name="Freeform 29"/>
          <p:cNvSpPr>
            <a:spLocks/>
          </p:cNvSpPr>
          <p:nvPr/>
        </p:nvSpPr>
        <p:spPr bwMode="auto">
          <a:xfrm>
            <a:off x="6223000" y="1559984"/>
            <a:ext cx="397933" cy="118533"/>
          </a:xfrm>
          <a:custGeom>
            <a:avLst/>
            <a:gdLst>
              <a:gd name="T0" fmla="*/ 619362289 w 133"/>
              <a:gd name="T1" fmla="*/ 83972718 h 40"/>
              <a:gd name="T2" fmla="*/ 362553918 w 133"/>
              <a:gd name="T3" fmla="*/ 83972718 h 40"/>
              <a:gd name="T4" fmla="*/ 362553918 w 133"/>
              <a:gd name="T5" fmla="*/ 0 h 40"/>
              <a:gd name="T6" fmla="*/ 327305403 w 133"/>
              <a:gd name="T7" fmla="*/ 0 h 40"/>
              <a:gd name="T8" fmla="*/ 327305403 w 133"/>
              <a:gd name="T9" fmla="*/ 83972718 h 40"/>
              <a:gd name="T10" fmla="*/ 50355023 w 133"/>
              <a:gd name="T11" fmla="*/ 83972718 h 40"/>
              <a:gd name="T12" fmla="*/ 0 w 133"/>
              <a:gd name="T13" fmla="*/ 128427163 h 40"/>
              <a:gd name="T14" fmla="*/ 0 w 133"/>
              <a:gd name="T15" fmla="*/ 197580250 h 40"/>
              <a:gd name="T16" fmla="*/ 25177511 w 133"/>
              <a:gd name="T17" fmla="*/ 197580250 h 40"/>
              <a:gd name="T18" fmla="*/ 25177511 w 133"/>
              <a:gd name="T19" fmla="*/ 128427163 h 40"/>
              <a:gd name="T20" fmla="*/ 50355023 w 133"/>
              <a:gd name="T21" fmla="*/ 108669138 h 40"/>
              <a:gd name="T22" fmla="*/ 327305403 w 133"/>
              <a:gd name="T23" fmla="*/ 108669138 h 40"/>
              <a:gd name="T24" fmla="*/ 327305403 w 133"/>
              <a:gd name="T25" fmla="*/ 197580250 h 40"/>
              <a:gd name="T26" fmla="*/ 362553918 w 133"/>
              <a:gd name="T27" fmla="*/ 197580250 h 40"/>
              <a:gd name="T28" fmla="*/ 362553918 w 133"/>
              <a:gd name="T29" fmla="*/ 108669138 h 40"/>
              <a:gd name="T30" fmla="*/ 619362289 w 133"/>
              <a:gd name="T31" fmla="*/ 108669138 h 40"/>
              <a:gd name="T32" fmla="*/ 644539801 w 133"/>
              <a:gd name="T33" fmla="*/ 128427163 h 40"/>
              <a:gd name="T34" fmla="*/ 644539801 w 133"/>
              <a:gd name="T35" fmla="*/ 197580250 h 40"/>
              <a:gd name="T36" fmla="*/ 669717312 w 133"/>
              <a:gd name="T37" fmla="*/ 197580250 h 40"/>
              <a:gd name="T38" fmla="*/ 669717312 w 133"/>
              <a:gd name="T39" fmla="*/ 128427163 h 40"/>
              <a:gd name="T40" fmla="*/ 619362289 w 133"/>
              <a:gd name="T41" fmla="*/ 83972718 h 4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33" h="40">
                <a:moveTo>
                  <a:pt x="123" y="17"/>
                </a:moveTo>
                <a:cubicBezTo>
                  <a:pt x="72" y="17"/>
                  <a:pt x="72" y="17"/>
                  <a:pt x="72" y="17"/>
                </a:cubicBezTo>
                <a:cubicBezTo>
                  <a:pt x="72" y="0"/>
                  <a:pt x="72" y="0"/>
                  <a:pt x="72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5" y="17"/>
                  <a:pt x="65" y="17"/>
                  <a:pt x="65" y="17"/>
                </a:cubicBezTo>
                <a:cubicBezTo>
                  <a:pt x="10" y="17"/>
                  <a:pt x="10" y="17"/>
                  <a:pt x="10" y="17"/>
                </a:cubicBezTo>
                <a:cubicBezTo>
                  <a:pt x="4" y="17"/>
                  <a:pt x="0" y="21"/>
                  <a:pt x="0" y="26"/>
                </a:cubicBezTo>
                <a:cubicBezTo>
                  <a:pt x="0" y="40"/>
                  <a:pt x="0" y="40"/>
                  <a:pt x="0" y="40"/>
                </a:cubicBezTo>
                <a:cubicBezTo>
                  <a:pt x="5" y="40"/>
                  <a:pt x="5" y="40"/>
                  <a:pt x="5" y="40"/>
                </a:cubicBezTo>
                <a:cubicBezTo>
                  <a:pt x="5" y="26"/>
                  <a:pt x="5" y="26"/>
                  <a:pt x="5" y="26"/>
                </a:cubicBezTo>
                <a:cubicBezTo>
                  <a:pt x="5" y="24"/>
                  <a:pt x="7" y="22"/>
                  <a:pt x="10" y="22"/>
                </a:cubicBezTo>
                <a:cubicBezTo>
                  <a:pt x="65" y="22"/>
                  <a:pt x="65" y="22"/>
                  <a:pt x="65" y="22"/>
                </a:cubicBezTo>
                <a:cubicBezTo>
                  <a:pt x="65" y="40"/>
                  <a:pt x="65" y="40"/>
                  <a:pt x="65" y="40"/>
                </a:cubicBezTo>
                <a:cubicBezTo>
                  <a:pt x="72" y="40"/>
                  <a:pt x="72" y="40"/>
                  <a:pt x="72" y="40"/>
                </a:cubicBezTo>
                <a:cubicBezTo>
                  <a:pt x="72" y="22"/>
                  <a:pt x="72" y="22"/>
                  <a:pt x="72" y="22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25" y="22"/>
                  <a:pt x="128" y="24"/>
                  <a:pt x="128" y="26"/>
                </a:cubicBezTo>
                <a:cubicBezTo>
                  <a:pt x="128" y="40"/>
                  <a:pt x="128" y="40"/>
                  <a:pt x="128" y="40"/>
                </a:cubicBezTo>
                <a:cubicBezTo>
                  <a:pt x="133" y="40"/>
                  <a:pt x="133" y="40"/>
                  <a:pt x="133" y="40"/>
                </a:cubicBezTo>
                <a:cubicBezTo>
                  <a:pt x="133" y="26"/>
                  <a:pt x="133" y="26"/>
                  <a:pt x="133" y="26"/>
                </a:cubicBezTo>
                <a:cubicBezTo>
                  <a:pt x="133" y="21"/>
                  <a:pt x="128" y="17"/>
                  <a:pt x="123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5" name="Freeform 30"/>
          <p:cNvSpPr>
            <a:spLocks noEditPoints="1"/>
          </p:cNvSpPr>
          <p:nvPr/>
        </p:nvSpPr>
        <p:spPr bwMode="auto">
          <a:xfrm>
            <a:off x="7006167" y="1540934"/>
            <a:ext cx="448733" cy="266700"/>
          </a:xfrm>
          <a:custGeom>
            <a:avLst/>
            <a:gdLst>
              <a:gd name="T0" fmla="*/ 148690013 w 212"/>
              <a:gd name="T1" fmla="*/ 120967500 h 126"/>
              <a:gd name="T2" fmla="*/ 148690013 w 212"/>
              <a:gd name="T3" fmla="*/ 317539688 h 126"/>
              <a:gd name="T4" fmla="*/ 234375325 w 212"/>
              <a:gd name="T5" fmla="*/ 317539688 h 126"/>
              <a:gd name="T6" fmla="*/ 234375325 w 212"/>
              <a:gd name="T7" fmla="*/ 120967500 h 126"/>
              <a:gd name="T8" fmla="*/ 191531875 w 212"/>
              <a:gd name="T9" fmla="*/ 83165950 h 126"/>
              <a:gd name="T10" fmla="*/ 148690013 w 212"/>
              <a:gd name="T11" fmla="*/ 120967500 h 126"/>
              <a:gd name="T12" fmla="*/ 0 w 212"/>
              <a:gd name="T13" fmla="*/ 317539688 h 126"/>
              <a:gd name="T14" fmla="*/ 88206263 w 212"/>
              <a:gd name="T15" fmla="*/ 317539688 h 126"/>
              <a:gd name="T16" fmla="*/ 88206263 w 212"/>
              <a:gd name="T17" fmla="*/ 168851263 h 126"/>
              <a:gd name="T18" fmla="*/ 0 w 212"/>
              <a:gd name="T19" fmla="*/ 244455950 h 126"/>
              <a:gd name="T20" fmla="*/ 0 w 212"/>
              <a:gd name="T21" fmla="*/ 317539688 h 126"/>
              <a:gd name="T22" fmla="*/ 446068450 w 212"/>
              <a:gd name="T23" fmla="*/ 75604688 h 126"/>
              <a:gd name="T24" fmla="*/ 446068450 w 212"/>
              <a:gd name="T25" fmla="*/ 317539688 h 126"/>
              <a:gd name="T26" fmla="*/ 534273125 w 212"/>
              <a:gd name="T27" fmla="*/ 317539688 h 126"/>
              <a:gd name="T28" fmla="*/ 534273125 w 212"/>
              <a:gd name="T29" fmla="*/ 0 h 126"/>
              <a:gd name="T30" fmla="*/ 446068450 w 212"/>
              <a:gd name="T31" fmla="*/ 75604688 h 126"/>
              <a:gd name="T32" fmla="*/ 294859075 w 212"/>
              <a:gd name="T33" fmla="*/ 171370625 h 126"/>
              <a:gd name="T34" fmla="*/ 294859075 w 212"/>
              <a:gd name="T35" fmla="*/ 317539688 h 126"/>
              <a:gd name="T36" fmla="*/ 385584700 w 212"/>
              <a:gd name="T37" fmla="*/ 317539688 h 126"/>
              <a:gd name="T38" fmla="*/ 385584700 w 212"/>
              <a:gd name="T39" fmla="*/ 126007813 h 126"/>
              <a:gd name="T40" fmla="*/ 312499375 w 212"/>
              <a:gd name="T41" fmla="*/ 186491563 h 126"/>
              <a:gd name="T42" fmla="*/ 294859075 w 212"/>
              <a:gd name="T43" fmla="*/ 171370625 h 12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212" h="126">
                <a:moveTo>
                  <a:pt x="59" y="48"/>
                </a:moveTo>
                <a:lnTo>
                  <a:pt x="59" y="126"/>
                </a:lnTo>
                <a:lnTo>
                  <a:pt x="93" y="126"/>
                </a:lnTo>
                <a:lnTo>
                  <a:pt x="93" y="48"/>
                </a:lnTo>
                <a:lnTo>
                  <a:pt x="76" y="33"/>
                </a:lnTo>
                <a:lnTo>
                  <a:pt x="59" y="48"/>
                </a:lnTo>
                <a:close/>
                <a:moveTo>
                  <a:pt x="0" y="126"/>
                </a:moveTo>
                <a:lnTo>
                  <a:pt x="35" y="126"/>
                </a:lnTo>
                <a:lnTo>
                  <a:pt x="35" y="67"/>
                </a:lnTo>
                <a:lnTo>
                  <a:pt x="0" y="97"/>
                </a:lnTo>
                <a:lnTo>
                  <a:pt x="0" y="126"/>
                </a:lnTo>
                <a:close/>
                <a:moveTo>
                  <a:pt x="177" y="30"/>
                </a:moveTo>
                <a:lnTo>
                  <a:pt x="177" y="126"/>
                </a:lnTo>
                <a:lnTo>
                  <a:pt x="212" y="126"/>
                </a:lnTo>
                <a:lnTo>
                  <a:pt x="212" y="0"/>
                </a:lnTo>
                <a:lnTo>
                  <a:pt x="177" y="30"/>
                </a:lnTo>
                <a:close/>
                <a:moveTo>
                  <a:pt x="117" y="68"/>
                </a:moveTo>
                <a:lnTo>
                  <a:pt x="117" y="126"/>
                </a:lnTo>
                <a:lnTo>
                  <a:pt x="153" y="126"/>
                </a:lnTo>
                <a:lnTo>
                  <a:pt x="153" y="50"/>
                </a:lnTo>
                <a:lnTo>
                  <a:pt x="124" y="74"/>
                </a:lnTo>
                <a:lnTo>
                  <a:pt x="117" y="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6" name="Freeform 31"/>
          <p:cNvSpPr>
            <a:spLocks/>
          </p:cNvSpPr>
          <p:nvPr/>
        </p:nvSpPr>
        <p:spPr bwMode="auto">
          <a:xfrm>
            <a:off x="7006168" y="1407585"/>
            <a:ext cx="497417" cy="289983"/>
          </a:xfrm>
          <a:custGeom>
            <a:avLst/>
            <a:gdLst>
              <a:gd name="T0" fmla="*/ 592236719 w 235"/>
              <a:gd name="T1" fmla="*/ 0 h 137"/>
              <a:gd name="T2" fmla="*/ 423386817 w 235"/>
              <a:gd name="T3" fmla="*/ 0 h 137"/>
              <a:gd name="T4" fmla="*/ 493951287 w 235"/>
              <a:gd name="T5" fmla="*/ 65523912 h 137"/>
              <a:gd name="T6" fmla="*/ 312499794 w 235"/>
              <a:gd name="T7" fmla="*/ 224294184 h 137"/>
              <a:gd name="T8" fmla="*/ 191532132 w 235"/>
              <a:gd name="T9" fmla="*/ 120967222 h 137"/>
              <a:gd name="T10" fmla="*/ 0 w 235"/>
              <a:gd name="T11" fmla="*/ 277216550 h 137"/>
              <a:gd name="T12" fmla="*/ 0 w 235"/>
              <a:gd name="T13" fmla="*/ 345261406 h 137"/>
              <a:gd name="T14" fmla="*/ 191532132 w 235"/>
              <a:gd name="T15" fmla="*/ 189012078 h 137"/>
              <a:gd name="T16" fmla="*/ 312499794 w 235"/>
              <a:gd name="T17" fmla="*/ 292337453 h 137"/>
              <a:gd name="T18" fmla="*/ 531752888 w 235"/>
              <a:gd name="T19" fmla="*/ 105846319 h 137"/>
              <a:gd name="T20" fmla="*/ 592236719 w 235"/>
              <a:gd name="T21" fmla="*/ 163810573 h 137"/>
              <a:gd name="T22" fmla="*/ 592236719 w 235"/>
              <a:gd name="T23" fmla="*/ 0 h 1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35" h="137">
                <a:moveTo>
                  <a:pt x="235" y="0"/>
                </a:moveTo>
                <a:lnTo>
                  <a:pt x="168" y="0"/>
                </a:lnTo>
                <a:lnTo>
                  <a:pt x="196" y="26"/>
                </a:lnTo>
                <a:lnTo>
                  <a:pt x="124" y="89"/>
                </a:lnTo>
                <a:lnTo>
                  <a:pt x="76" y="48"/>
                </a:lnTo>
                <a:lnTo>
                  <a:pt x="0" y="110"/>
                </a:lnTo>
                <a:lnTo>
                  <a:pt x="0" y="137"/>
                </a:lnTo>
                <a:lnTo>
                  <a:pt x="76" y="75"/>
                </a:lnTo>
                <a:lnTo>
                  <a:pt x="124" y="116"/>
                </a:lnTo>
                <a:lnTo>
                  <a:pt x="211" y="42"/>
                </a:lnTo>
                <a:lnTo>
                  <a:pt x="235" y="65"/>
                </a:lnTo>
                <a:lnTo>
                  <a:pt x="23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7" name="Freeform 32"/>
          <p:cNvSpPr>
            <a:spLocks noEditPoints="1"/>
          </p:cNvSpPr>
          <p:nvPr/>
        </p:nvSpPr>
        <p:spPr bwMode="auto">
          <a:xfrm>
            <a:off x="7806267" y="1424518"/>
            <a:ext cx="414867" cy="476249"/>
          </a:xfrm>
          <a:custGeom>
            <a:avLst/>
            <a:gdLst>
              <a:gd name="T0" fmla="*/ 105226901 w 139"/>
              <a:gd name="T1" fmla="*/ 802408240 h 159"/>
              <a:gd name="T2" fmla="*/ 0 w 139"/>
              <a:gd name="T3" fmla="*/ 696429285 h 159"/>
              <a:gd name="T4" fmla="*/ 0 w 139"/>
              <a:gd name="T5" fmla="*/ 696429285 h 159"/>
              <a:gd name="T6" fmla="*/ 0 w 139"/>
              <a:gd name="T7" fmla="*/ 105978955 h 159"/>
              <a:gd name="T8" fmla="*/ 105226901 w 139"/>
              <a:gd name="T9" fmla="*/ 0 h 159"/>
              <a:gd name="T10" fmla="*/ 105226901 w 139"/>
              <a:gd name="T11" fmla="*/ 0 h 159"/>
              <a:gd name="T12" fmla="*/ 586267039 w 139"/>
              <a:gd name="T13" fmla="*/ 0 h 159"/>
              <a:gd name="T14" fmla="*/ 696505917 w 139"/>
              <a:gd name="T15" fmla="*/ 105978955 h 159"/>
              <a:gd name="T16" fmla="*/ 696505917 w 139"/>
              <a:gd name="T17" fmla="*/ 105978955 h 159"/>
              <a:gd name="T18" fmla="*/ 696505917 w 139"/>
              <a:gd name="T19" fmla="*/ 696429285 h 159"/>
              <a:gd name="T20" fmla="*/ 586267039 w 139"/>
              <a:gd name="T21" fmla="*/ 802408240 h 159"/>
              <a:gd name="T22" fmla="*/ 586267039 w 139"/>
              <a:gd name="T23" fmla="*/ 802408240 h 159"/>
              <a:gd name="T24" fmla="*/ 105226901 w 139"/>
              <a:gd name="T25" fmla="*/ 802408240 h 159"/>
              <a:gd name="T26" fmla="*/ 65140036 w 139"/>
              <a:gd name="T27" fmla="*/ 105978955 h 159"/>
              <a:gd name="T28" fmla="*/ 65140036 w 139"/>
              <a:gd name="T29" fmla="*/ 696429285 h 159"/>
              <a:gd name="T30" fmla="*/ 105226901 w 139"/>
              <a:gd name="T31" fmla="*/ 736802648 h 159"/>
              <a:gd name="T32" fmla="*/ 105226901 w 139"/>
              <a:gd name="T33" fmla="*/ 736802648 h 159"/>
              <a:gd name="T34" fmla="*/ 586267039 w 139"/>
              <a:gd name="T35" fmla="*/ 736802648 h 159"/>
              <a:gd name="T36" fmla="*/ 626353904 w 139"/>
              <a:gd name="T37" fmla="*/ 696429285 h 159"/>
              <a:gd name="T38" fmla="*/ 626353904 w 139"/>
              <a:gd name="T39" fmla="*/ 696429285 h 159"/>
              <a:gd name="T40" fmla="*/ 626353904 w 139"/>
              <a:gd name="T41" fmla="*/ 105978955 h 159"/>
              <a:gd name="T42" fmla="*/ 586267039 w 139"/>
              <a:gd name="T43" fmla="*/ 70653386 h 159"/>
              <a:gd name="T44" fmla="*/ 586267039 w 139"/>
              <a:gd name="T45" fmla="*/ 70653386 h 159"/>
              <a:gd name="T46" fmla="*/ 105226901 w 139"/>
              <a:gd name="T47" fmla="*/ 70653386 h 159"/>
              <a:gd name="T48" fmla="*/ 65140036 w 139"/>
              <a:gd name="T49" fmla="*/ 105978955 h 15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39" h="159">
                <a:moveTo>
                  <a:pt x="21" y="159"/>
                </a:moveTo>
                <a:cubicBezTo>
                  <a:pt x="9" y="159"/>
                  <a:pt x="0" y="150"/>
                  <a:pt x="0" y="138"/>
                </a:cubicBezTo>
                <a:cubicBezTo>
                  <a:pt x="0" y="138"/>
                  <a:pt x="0" y="138"/>
                  <a:pt x="0" y="138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0"/>
                  <a:pt x="9" y="0"/>
                  <a:pt x="21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117" y="0"/>
                  <a:pt x="117" y="0"/>
                  <a:pt x="117" y="0"/>
                </a:cubicBezTo>
                <a:cubicBezTo>
                  <a:pt x="129" y="0"/>
                  <a:pt x="139" y="10"/>
                  <a:pt x="139" y="21"/>
                </a:cubicBezTo>
                <a:cubicBezTo>
                  <a:pt x="139" y="21"/>
                  <a:pt x="139" y="21"/>
                  <a:pt x="139" y="21"/>
                </a:cubicBezTo>
                <a:cubicBezTo>
                  <a:pt x="139" y="138"/>
                  <a:pt x="139" y="138"/>
                  <a:pt x="139" y="138"/>
                </a:cubicBezTo>
                <a:cubicBezTo>
                  <a:pt x="139" y="150"/>
                  <a:pt x="129" y="159"/>
                  <a:pt x="117" y="159"/>
                </a:cubicBezTo>
                <a:cubicBezTo>
                  <a:pt x="117" y="159"/>
                  <a:pt x="117" y="159"/>
                  <a:pt x="117" y="159"/>
                </a:cubicBezTo>
                <a:cubicBezTo>
                  <a:pt x="21" y="159"/>
                  <a:pt x="21" y="159"/>
                  <a:pt x="21" y="159"/>
                </a:cubicBezTo>
                <a:close/>
                <a:moveTo>
                  <a:pt x="13" y="21"/>
                </a:moveTo>
                <a:cubicBezTo>
                  <a:pt x="13" y="138"/>
                  <a:pt x="13" y="138"/>
                  <a:pt x="13" y="138"/>
                </a:cubicBezTo>
                <a:cubicBezTo>
                  <a:pt x="13" y="142"/>
                  <a:pt x="17" y="146"/>
                  <a:pt x="21" y="146"/>
                </a:cubicBezTo>
                <a:cubicBezTo>
                  <a:pt x="21" y="146"/>
                  <a:pt x="21" y="146"/>
                  <a:pt x="21" y="146"/>
                </a:cubicBezTo>
                <a:cubicBezTo>
                  <a:pt x="117" y="146"/>
                  <a:pt x="117" y="146"/>
                  <a:pt x="117" y="146"/>
                </a:cubicBezTo>
                <a:cubicBezTo>
                  <a:pt x="121" y="146"/>
                  <a:pt x="125" y="142"/>
                  <a:pt x="125" y="138"/>
                </a:cubicBezTo>
                <a:cubicBezTo>
                  <a:pt x="125" y="138"/>
                  <a:pt x="125" y="138"/>
                  <a:pt x="125" y="138"/>
                </a:cubicBezTo>
                <a:cubicBezTo>
                  <a:pt x="125" y="21"/>
                  <a:pt x="125" y="21"/>
                  <a:pt x="125" y="21"/>
                </a:cubicBezTo>
                <a:cubicBezTo>
                  <a:pt x="125" y="17"/>
                  <a:pt x="121" y="14"/>
                  <a:pt x="117" y="14"/>
                </a:cubicBezTo>
                <a:cubicBezTo>
                  <a:pt x="117" y="14"/>
                  <a:pt x="117" y="14"/>
                  <a:pt x="117" y="14"/>
                </a:cubicBezTo>
                <a:cubicBezTo>
                  <a:pt x="21" y="14"/>
                  <a:pt x="21" y="14"/>
                  <a:pt x="21" y="14"/>
                </a:cubicBezTo>
                <a:cubicBezTo>
                  <a:pt x="17" y="14"/>
                  <a:pt x="13" y="17"/>
                  <a:pt x="13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8" name="Freeform 33"/>
          <p:cNvSpPr>
            <a:spLocks/>
          </p:cNvSpPr>
          <p:nvPr/>
        </p:nvSpPr>
        <p:spPr bwMode="auto">
          <a:xfrm>
            <a:off x="8015818" y="1631951"/>
            <a:ext cx="133349" cy="135467"/>
          </a:xfrm>
          <a:custGeom>
            <a:avLst/>
            <a:gdLst>
              <a:gd name="T0" fmla="*/ 158768256 w 63"/>
              <a:gd name="T1" fmla="*/ 85685313 h 64"/>
              <a:gd name="T2" fmla="*/ 73083372 w 63"/>
              <a:gd name="T3" fmla="*/ 0 h 64"/>
              <a:gd name="T4" fmla="*/ 0 w 63"/>
              <a:gd name="T5" fmla="*/ 128528763 h 64"/>
              <a:gd name="T6" fmla="*/ 27720786 w 63"/>
              <a:gd name="T7" fmla="*/ 161290000 h 64"/>
              <a:gd name="T8" fmla="*/ 158768256 w 63"/>
              <a:gd name="T9" fmla="*/ 85685313 h 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" h="64">
                <a:moveTo>
                  <a:pt x="63" y="34"/>
                </a:moveTo>
                <a:lnTo>
                  <a:pt x="29" y="0"/>
                </a:lnTo>
                <a:lnTo>
                  <a:pt x="0" y="51"/>
                </a:lnTo>
                <a:lnTo>
                  <a:pt x="11" y="64"/>
                </a:lnTo>
                <a:lnTo>
                  <a:pt x="63" y="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399" name="Freeform 34"/>
          <p:cNvSpPr>
            <a:spLocks noEditPoints="1"/>
          </p:cNvSpPr>
          <p:nvPr/>
        </p:nvSpPr>
        <p:spPr bwMode="auto">
          <a:xfrm>
            <a:off x="8089901" y="1308100"/>
            <a:ext cx="393700" cy="383117"/>
          </a:xfrm>
          <a:custGeom>
            <a:avLst/>
            <a:gdLst>
              <a:gd name="T0" fmla="*/ 629988372 w 131"/>
              <a:gd name="T1" fmla="*/ 35275229 h 128"/>
              <a:gd name="T2" fmla="*/ 497894508 w 131"/>
              <a:gd name="T3" fmla="*/ 35275229 h 128"/>
              <a:gd name="T4" fmla="*/ 462330776 w 131"/>
              <a:gd name="T5" fmla="*/ 70550458 h 128"/>
              <a:gd name="T6" fmla="*/ 594424639 w 131"/>
              <a:gd name="T7" fmla="*/ 201569852 h 128"/>
              <a:gd name="T8" fmla="*/ 629988372 w 131"/>
              <a:gd name="T9" fmla="*/ 161257228 h 128"/>
              <a:gd name="T10" fmla="*/ 629988372 w 131"/>
              <a:gd name="T11" fmla="*/ 35275229 h 128"/>
              <a:gd name="T12" fmla="*/ 563941440 w 131"/>
              <a:gd name="T13" fmla="*/ 231805442 h 128"/>
              <a:gd name="T14" fmla="*/ 431847577 w 131"/>
              <a:gd name="T15" fmla="*/ 100786048 h 128"/>
              <a:gd name="T16" fmla="*/ 0 w 131"/>
              <a:gd name="T17" fmla="*/ 519042425 h 128"/>
              <a:gd name="T18" fmla="*/ 132093863 w 131"/>
              <a:gd name="T19" fmla="*/ 645024424 h 128"/>
              <a:gd name="T20" fmla="*/ 563941440 w 131"/>
              <a:gd name="T21" fmla="*/ 231805442 h 12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1" h="128">
                <a:moveTo>
                  <a:pt x="124" y="7"/>
                </a:moveTo>
                <a:cubicBezTo>
                  <a:pt x="117" y="0"/>
                  <a:pt x="105" y="0"/>
                  <a:pt x="98" y="7"/>
                </a:cubicBezTo>
                <a:cubicBezTo>
                  <a:pt x="91" y="14"/>
                  <a:pt x="91" y="14"/>
                  <a:pt x="91" y="14"/>
                </a:cubicBezTo>
                <a:cubicBezTo>
                  <a:pt x="117" y="40"/>
                  <a:pt x="117" y="40"/>
                  <a:pt x="117" y="40"/>
                </a:cubicBezTo>
                <a:cubicBezTo>
                  <a:pt x="124" y="32"/>
                  <a:pt x="124" y="32"/>
                  <a:pt x="124" y="32"/>
                </a:cubicBezTo>
                <a:cubicBezTo>
                  <a:pt x="131" y="25"/>
                  <a:pt x="131" y="14"/>
                  <a:pt x="124" y="7"/>
                </a:cubicBezTo>
                <a:close/>
                <a:moveTo>
                  <a:pt x="111" y="46"/>
                </a:moveTo>
                <a:cubicBezTo>
                  <a:pt x="85" y="20"/>
                  <a:pt x="85" y="20"/>
                  <a:pt x="85" y="20"/>
                </a:cubicBezTo>
                <a:cubicBezTo>
                  <a:pt x="0" y="103"/>
                  <a:pt x="0" y="103"/>
                  <a:pt x="0" y="103"/>
                </a:cubicBezTo>
                <a:cubicBezTo>
                  <a:pt x="26" y="128"/>
                  <a:pt x="26" y="128"/>
                  <a:pt x="26" y="128"/>
                </a:cubicBezTo>
                <a:lnTo>
                  <a:pt x="111" y="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0" name="Freeform 35"/>
          <p:cNvSpPr>
            <a:spLocks/>
          </p:cNvSpPr>
          <p:nvPr/>
        </p:nvSpPr>
        <p:spPr bwMode="auto">
          <a:xfrm>
            <a:off x="7965018" y="1750485"/>
            <a:ext cx="61383" cy="61383"/>
          </a:xfrm>
          <a:custGeom>
            <a:avLst/>
            <a:gdLst>
              <a:gd name="T0" fmla="*/ 73082944 w 29"/>
              <a:gd name="T1" fmla="*/ 30241547 h 29"/>
              <a:gd name="T2" fmla="*/ 45362320 w 29"/>
              <a:gd name="T3" fmla="*/ 0 h 29"/>
              <a:gd name="T4" fmla="*/ 0 w 29"/>
              <a:gd name="T5" fmla="*/ 73084531 h 29"/>
              <a:gd name="T6" fmla="*/ 73082944 w 29"/>
              <a:gd name="T7" fmla="*/ 30241547 h 2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9" h="29">
                <a:moveTo>
                  <a:pt x="29" y="12"/>
                </a:moveTo>
                <a:lnTo>
                  <a:pt x="18" y="0"/>
                </a:lnTo>
                <a:lnTo>
                  <a:pt x="0" y="29"/>
                </a:lnTo>
                <a:lnTo>
                  <a:pt x="29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1" name="Freeform 36"/>
          <p:cNvSpPr>
            <a:spLocks noEditPoints="1"/>
          </p:cNvSpPr>
          <p:nvPr/>
        </p:nvSpPr>
        <p:spPr bwMode="auto">
          <a:xfrm>
            <a:off x="8009467" y="1627717"/>
            <a:ext cx="146051" cy="141816"/>
          </a:xfrm>
          <a:custGeom>
            <a:avLst/>
            <a:gdLst>
              <a:gd name="T0" fmla="*/ 173890781 w 69"/>
              <a:gd name="T1" fmla="*/ 90725199 h 67"/>
              <a:gd name="T2" fmla="*/ 35282349 w 69"/>
              <a:gd name="T3" fmla="*/ 168850469 h 67"/>
              <a:gd name="T4" fmla="*/ 0 w 69"/>
              <a:gd name="T5" fmla="*/ 133568447 h 67"/>
              <a:gd name="T6" fmla="*/ 80645368 w 69"/>
              <a:gd name="T7" fmla="*/ 5040289 h 67"/>
              <a:gd name="T8" fmla="*/ 80645368 w 69"/>
              <a:gd name="T9" fmla="*/ 5040289 h 67"/>
              <a:gd name="T10" fmla="*/ 80645368 w 69"/>
              <a:gd name="T11" fmla="*/ 5040289 h 67"/>
              <a:gd name="T12" fmla="*/ 80645368 w 69"/>
              <a:gd name="T13" fmla="*/ 0 h 67"/>
              <a:gd name="T14" fmla="*/ 173890781 w 69"/>
              <a:gd name="T15" fmla="*/ 90725199 h 67"/>
              <a:gd name="T16" fmla="*/ 173890781 w 69"/>
              <a:gd name="T17" fmla="*/ 90725199 h 67"/>
              <a:gd name="T18" fmla="*/ 85685704 w 69"/>
              <a:gd name="T19" fmla="*/ 12601516 h 67"/>
              <a:gd name="T20" fmla="*/ 10080671 w 69"/>
              <a:gd name="T21" fmla="*/ 133568447 h 67"/>
              <a:gd name="T22" fmla="*/ 37801723 w 69"/>
              <a:gd name="T23" fmla="*/ 158769891 h 67"/>
              <a:gd name="T24" fmla="*/ 161290736 w 69"/>
              <a:gd name="T25" fmla="*/ 85684910 h 67"/>
              <a:gd name="T26" fmla="*/ 85685704 w 69"/>
              <a:gd name="T27" fmla="*/ 12601516 h 67"/>
              <a:gd name="T28" fmla="*/ 85685704 w 69"/>
              <a:gd name="T29" fmla="*/ 12601516 h 6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69" h="67">
                <a:moveTo>
                  <a:pt x="69" y="36"/>
                </a:moveTo>
                <a:lnTo>
                  <a:pt x="14" y="67"/>
                </a:lnTo>
                <a:lnTo>
                  <a:pt x="0" y="53"/>
                </a:lnTo>
                <a:lnTo>
                  <a:pt x="32" y="2"/>
                </a:lnTo>
                <a:lnTo>
                  <a:pt x="32" y="0"/>
                </a:lnTo>
                <a:lnTo>
                  <a:pt x="69" y="36"/>
                </a:lnTo>
                <a:close/>
                <a:moveTo>
                  <a:pt x="34" y="5"/>
                </a:moveTo>
                <a:lnTo>
                  <a:pt x="4" y="53"/>
                </a:lnTo>
                <a:lnTo>
                  <a:pt x="15" y="63"/>
                </a:lnTo>
                <a:lnTo>
                  <a:pt x="64" y="34"/>
                </a:lnTo>
                <a:lnTo>
                  <a:pt x="34" y="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2" name="Freeform 37"/>
          <p:cNvSpPr>
            <a:spLocks noEditPoints="1"/>
          </p:cNvSpPr>
          <p:nvPr/>
        </p:nvSpPr>
        <p:spPr bwMode="auto">
          <a:xfrm>
            <a:off x="8769351" y="1354667"/>
            <a:ext cx="395816" cy="503767"/>
          </a:xfrm>
          <a:custGeom>
            <a:avLst/>
            <a:gdLst>
              <a:gd name="T0" fmla="*/ 333814572 w 132"/>
              <a:gd name="T1" fmla="*/ 374278393 h 168"/>
              <a:gd name="T2" fmla="*/ 0 w 132"/>
              <a:gd name="T3" fmla="*/ 824423146 h 168"/>
              <a:gd name="T4" fmla="*/ 0 w 132"/>
              <a:gd name="T5" fmla="*/ 849712682 h 168"/>
              <a:gd name="T6" fmla="*/ 667629144 w 132"/>
              <a:gd name="T7" fmla="*/ 849712682 h 168"/>
              <a:gd name="T8" fmla="*/ 667629144 w 132"/>
              <a:gd name="T9" fmla="*/ 824423146 h 168"/>
              <a:gd name="T10" fmla="*/ 333814572 w 132"/>
              <a:gd name="T11" fmla="*/ 374278393 h 168"/>
              <a:gd name="T12" fmla="*/ 338872471 w 132"/>
              <a:gd name="T13" fmla="*/ 323699320 h 168"/>
              <a:gd name="T14" fmla="*/ 505778633 w 132"/>
              <a:gd name="T15" fmla="*/ 161850784 h 168"/>
              <a:gd name="T16" fmla="*/ 338872471 w 132"/>
              <a:gd name="T17" fmla="*/ 0 h 168"/>
              <a:gd name="T18" fmla="*/ 166908411 w 132"/>
              <a:gd name="T19" fmla="*/ 161850784 h 168"/>
              <a:gd name="T20" fmla="*/ 338872471 w 132"/>
              <a:gd name="T21" fmla="*/ 323699320 h 16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2" h="168">
                <a:moveTo>
                  <a:pt x="66" y="74"/>
                </a:moveTo>
                <a:cubicBezTo>
                  <a:pt x="30" y="74"/>
                  <a:pt x="0" y="114"/>
                  <a:pt x="0" y="163"/>
                </a:cubicBezTo>
                <a:cubicBezTo>
                  <a:pt x="0" y="165"/>
                  <a:pt x="0" y="167"/>
                  <a:pt x="0" y="168"/>
                </a:cubicBezTo>
                <a:cubicBezTo>
                  <a:pt x="132" y="168"/>
                  <a:pt x="132" y="168"/>
                  <a:pt x="132" y="168"/>
                </a:cubicBezTo>
                <a:cubicBezTo>
                  <a:pt x="132" y="167"/>
                  <a:pt x="132" y="165"/>
                  <a:pt x="132" y="163"/>
                </a:cubicBezTo>
                <a:cubicBezTo>
                  <a:pt x="132" y="114"/>
                  <a:pt x="102" y="74"/>
                  <a:pt x="66" y="74"/>
                </a:cubicBezTo>
                <a:close/>
                <a:moveTo>
                  <a:pt x="67" y="64"/>
                </a:moveTo>
                <a:cubicBezTo>
                  <a:pt x="85" y="64"/>
                  <a:pt x="100" y="50"/>
                  <a:pt x="100" y="32"/>
                </a:cubicBezTo>
                <a:cubicBezTo>
                  <a:pt x="100" y="14"/>
                  <a:pt x="85" y="0"/>
                  <a:pt x="67" y="0"/>
                </a:cubicBezTo>
                <a:cubicBezTo>
                  <a:pt x="48" y="0"/>
                  <a:pt x="33" y="14"/>
                  <a:pt x="33" y="32"/>
                </a:cubicBezTo>
                <a:cubicBezTo>
                  <a:pt x="33" y="50"/>
                  <a:pt x="48" y="64"/>
                  <a:pt x="67" y="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3" name="Freeform 38"/>
          <p:cNvSpPr>
            <a:spLocks/>
          </p:cNvSpPr>
          <p:nvPr/>
        </p:nvSpPr>
        <p:spPr bwMode="auto">
          <a:xfrm>
            <a:off x="10805585" y="1515534"/>
            <a:ext cx="247649" cy="241300"/>
          </a:xfrm>
          <a:custGeom>
            <a:avLst/>
            <a:gdLst>
              <a:gd name="T0" fmla="*/ 355547612 w 83"/>
              <a:gd name="T1" fmla="*/ 139773025 h 81"/>
              <a:gd name="T2" fmla="*/ 270417407 w 83"/>
              <a:gd name="T3" fmla="*/ 139773025 h 81"/>
              <a:gd name="T4" fmla="*/ 270417407 w 83"/>
              <a:gd name="T5" fmla="*/ 59902725 h 81"/>
              <a:gd name="T6" fmla="*/ 210323656 w 83"/>
              <a:gd name="T7" fmla="*/ 0 h 81"/>
              <a:gd name="T8" fmla="*/ 145223956 w 83"/>
              <a:gd name="T9" fmla="*/ 59902725 h 81"/>
              <a:gd name="T10" fmla="*/ 145223956 w 83"/>
              <a:gd name="T11" fmla="*/ 139773025 h 81"/>
              <a:gd name="T12" fmla="*/ 65099700 w 83"/>
              <a:gd name="T13" fmla="*/ 139773025 h 81"/>
              <a:gd name="T14" fmla="*/ 0 w 83"/>
              <a:gd name="T15" fmla="*/ 199675750 h 81"/>
              <a:gd name="T16" fmla="*/ 65099700 w 83"/>
              <a:gd name="T17" fmla="*/ 264572044 h 81"/>
              <a:gd name="T18" fmla="*/ 145223956 w 83"/>
              <a:gd name="T19" fmla="*/ 264572044 h 81"/>
              <a:gd name="T20" fmla="*/ 145223956 w 83"/>
              <a:gd name="T21" fmla="*/ 344442344 h 81"/>
              <a:gd name="T22" fmla="*/ 210323656 w 83"/>
              <a:gd name="T23" fmla="*/ 404345069 h 81"/>
              <a:gd name="T24" fmla="*/ 270417407 w 83"/>
              <a:gd name="T25" fmla="*/ 344442344 h 81"/>
              <a:gd name="T26" fmla="*/ 270417407 w 83"/>
              <a:gd name="T27" fmla="*/ 264572044 h 81"/>
              <a:gd name="T28" fmla="*/ 355547612 w 83"/>
              <a:gd name="T29" fmla="*/ 264572044 h 81"/>
              <a:gd name="T30" fmla="*/ 415641363 w 83"/>
              <a:gd name="T31" fmla="*/ 199675750 h 81"/>
              <a:gd name="T32" fmla="*/ 355547612 w 83"/>
              <a:gd name="T33" fmla="*/ 139773025 h 8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83" h="81">
                <a:moveTo>
                  <a:pt x="71" y="28"/>
                </a:moveTo>
                <a:cubicBezTo>
                  <a:pt x="54" y="28"/>
                  <a:pt x="54" y="28"/>
                  <a:pt x="54" y="28"/>
                </a:cubicBezTo>
                <a:cubicBezTo>
                  <a:pt x="54" y="12"/>
                  <a:pt x="54" y="12"/>
                  <a:pt x="54" y="12"/>
                </a:cubicBezTo>
                <a:cubicBezTo>
                  <a:pt x="54" y="5"/>
                  <a:pt x="49" y="0"/>
                  <a:pt x="42" y="0"/>
                </a:cubicBezTo>
                <a:cubicBezTo>
                  <a:pt x="35" y="0"/>
                  <a:pt x="29" y="5"/>
                  <a:pt x="29" y="12"/>
                </a:cubicBezTo>
                <a:cubicBezTo>
                  <a:pt x="29" y="28"/>
                  <a:pt x="29" y="28"/>
                  <a:pt x="29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6" y="28"/>
                  <a:pt x="0" y="34"/>
                  <a:pt x="0" y="40"/>
                </a:cubicBezTo>
                <a:cubicBezTo>
                  <a:pt x="0" y="47"/>
                  <a:pt x="6" y="53"/>
                  <a:pt x="13" y="53"/>
                </a:cubicBezTo>
                <a:cubicBezTo>
                  <a:pt x="29" y="53"/>
                  <a:pt x="29" y="53"/>
                  <a:pt x="29" y="53"/>
                </a:cubicBezTo>
                <a:cubicBezTo>
                  <a:pt x="29" y="69"/>
                  <a:pt x="29" y="69"/>
                  <a:pt x="29" y="69"/>
                </a:cubicBezTo>
                <a:cubicBezTo>
                  <a:pt x="29" y="76"/>
                  <a:pt x="35" y="81"/>
                  <a:pt x="42" y="81"/>
                </a:cubicBezTo>
                <a:cubicBezTo>
                  <a:pt x="49" y="81"/>
                  <a:pt x="54" y="76"/>
                  <a:pt x="54" y="69"/>
                </a:cubicBezTo>
                <a:cubicBezTo>
                  <a:pt x="54" y="53"/>
                  <a:pt x="54" y="53"/>
                  <a:pt x="54" y="53"/>
                </a:cubicBezTo>
                <a:cubicBezTo>
                  <a:pt x="71" y="53"/>
                  <a:pt x="71" y="53"/>
                  <a:pt x="71" y="53"/>
                </a:cubicBezTo>
                <a:cubicBezTo>
                  <a:pt x="78" y="53"/>
                  <a:pt x="83" y="47"/>
                  <a:pt x="83" y="40"/>
                </a:cubicBezTo>
                <a:cubicBezTo>
                  <a:pt x="83" y="34"/>
                  <a:pt x="78" y="28"/>
                  <a:pt x="71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4" name="Freeform 39"/>
          <p:cNvSpPr>
            <a:spLocks noEditPoints="1"/>
          </p:cNvSpPr>
          <p:nvPr/>
        </p:nvSpPr>
        <p:spPr bwMode="auto">
          <a:xfrm>
            <a:off x="10526184" y="1331385"/>
            <a:ext cx="389467" cy="503767"/>
          </a:xfrm>
          <a:custGeom>
            <a:avLst/>
            <a:gdLst>
              <a:gd name="T0" fmla="*/ 328163115 w 130"/>
              <a:gd name="T1" fmla="*/ 323699320 h 168"/>
              <a:gd name="T2" fmla="*/ 494767968 w 130"/>
              <a:gd name="T3" fmla="*/ 161850784 h 168"/>
              <a:gd name="T4" fmla="*/ 328163115 w 130"/>
              <a:gd name="T5" fmla="*/ 0 h 168"/>
              <a:gd name="T6" fmla="*/ 161558263 w 130"/>
              <a:gd name="T7" fmla="*/ 161850784 h 168"/>
              <a:gd name="T8" fmla="*/ 328163115 w 130"/>
              <a:gd name="T9" fmla="*/ 323699320 h 168"/>
              <a:gd name="T10" fmla="*/ 656326231 w 130"/>
              <a:gd name="T11" fmla="*/ 789020044 h 168"/>
              <a:gd name="T12" fmla="*/ 525060985 w 130"/>
              <a:gd name="T13" fmla="*/ 647400889 h 168"/>
              <a:gd name="T14" fmla="*/ 378649230 w 130"/>
              <a:gd name="T15" fmla="*/ 515897548 h 168"/>
              <a:gd name="T16" fmla="*/ 469526034 w 130"/>
              <a:gd name="T17" fmla="*/ 414741651 h 168"/>
              <a:gd name="T18" fmla="*/ 328163115 w 130"/>
              <a:gd name="T19" fmla="*/ 374278393 h 168"/>
              <a:gd name="T20" fmla="*/ 0 w 130"/>
              <a:gd name="T21" fmla="*/ 824423146 h 168"/>
              <a:gd name="T22" fmla="*/ 0 w 130"/>
              <a:gd name="T23" fmla="*/ 849712682 h 168"/>
              <a:gd name="T24" fmla="*/ 656326231 w 130"/>
              <a:gd name="T25" fmla="*/ 849712682 h 168"/>
              <a:gd name="T26" fmla="*/ 656326231 w 130"/>
              <a:gd name="T27" fmla="*/ 824423146 h 168"/>
              <a:gd name="T28" fmla="*/ 656326231 w 130"/>
              <a:gd name="T29" fmla="*/ 789020044 h 16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30" h="168">
                <a:moveTo>
                  <a:pt x="65" y="64"/>
                </a:moveTo>
                <a:cubicBezTo>
                  <a:pt x="84" y="64"/>
                  <a:pt x="98" y="50"/>
                  <a:pt x="98" y="32"/>
                </a:cubicBezTo>
                <a:cubicBezTo>
                  <a:pt x="98" y="14"/>
                  <a:pt x="84" y="0"/>
                  <a:pt x="65" y="0"/>
                </a:cubicBezTo>
                <a:cubicBezTo>
                  <a:pt x="47" y="0"/>
                  <a:pt x="32" y="14"/>
                  <a:pt x="32" y="32"/>
                </a:cubicBezTo>
                <a:cubicBezTo>
                  <a:pt x="32" y="50"/>
                  <a:pt x="47" y="64"/>
                  <a:pt x="65" y="64"/>
                </a:cubicBezTo>
                <a:close/>
                <a:moveTo>
                  <a:pt x="130" y="156"/>
                </a:moveTo>
                <a:cubicBezTo>
                  <a:pt x="120" y="156"/>
                  <a:pt x="103" y="152"/>
                  <a:pt x="104" y="128"/>
                </a:cubicBezTo>
                <a:cubicBezTo>
                  <a:pt x="104" y="128"/>
                  <a:pt x="73" y="131"/>
                  <a:pt x="75" y="102"/>
                </a:cubicBezTo>
                <a:cubicBezTo>
                  <a:pt x="76" y="90"/>
                  <a:pt x="85" y="84"/>
                  <a:pt x="93" y="82"/>
                </a:cubicBezTo>
                <a:cubicBezTo>
                  <a:pt x="84" y="77"/>
                  <a:pt x="75" y="74"/>
                  <a:pt x="65" y="74"/>
                </a:cubicBezTo>
                <a:cubicBezTo>
                  <a:pt x="29" y="74"/>
                  <a:pt x="0" y="114"/>
                  <a:pt x="0" y="163"/>
                </a:cubicBezTo>
                <a:cubicBezTo>
                  <a:pt x="0" y="165"/>
                  <a:pt x="0" y="166"/>
                  <a:pt x="0" y="168"/>
                </a:cubicBezTo>
                <a:cubicBezTo>
                  <a:pt x="130" y="168"/>
                  <a:pt x="130" y="168"/>
                  <a:pt x="130" y="168"/>
                </a:cubicBezTo>
                <a:cubicBezTo>
                  <a:pt x="130" y="166"/>
                  <a:pt x="130" y="165"/>
                  <a:pt x="130" y="163"/>
                </a:cubicBezTo>
                <a:cubicBezTo>
                  <a:pt x="130" y="161"/>
                  <a:pt x="130" y="158"/>
                  <a:pt x="130" y="1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5" name="Freeform 40"/>
          <p:cNvSpPr>
            <a:spLocks noEditPoints="1"/>
          </p:cNvSpPr>
          <p:nvPr/>
        </p:nvSpPr>
        <p:spPr bwMode="auto">
          <a:xfrm>
            <a:off x="2027768" y="2338917"/>
            <a:ext cx="294217" cy="378883"/>
          </a:xfrm>
          <a:custGeom>
            <a:avLst/>
            <a:gdLst>
              <a:gd name="T0" fmla="*/ 248428260 w 98"/>
              <a:gd name="T1" fmla="*/ 279739447 h 126"/>
              <a:gd name="T2" fmla="*/ 0 w 98"/>
              <a:gd name="T3" fmla="*/ 620515087 h 126"/>
              <a:gd name="T4" fmla="*/ 0 w 98"/>
              <a:gd name="T5" fmla="*/ 640859733 h 126"/>
              <a:gd name="T6" fmla="*/ 496856519 w 98"/>
              <a:gd name="T7" fmla="*/ 640859733 h 126"/>
              <a:gd name="T8" fmla="*/ 496856519 w 98"/>
              <a:gd name="T9" fmla="*/ 620515087 h 126"/>
              <a:gd name="T10" fmla="*/ 248428260 w 98"/>
              <a:gd name="T11" fmla="*/ 279739447 h 126"/>
              <a:gd name="T12" fmla="*/ 253499005 w 98"/>
              <a:gd name="T13" fmla="*/ 244138008 h 126"/>
              <a:gd name="T14" fmla="*/ 375176637 w 98"/>
              <a:gd name="T15" fmla="*/ 122067876 h 126"/>
              <a:gd name="T16" fmla="*/ 253499005 w 98"/>
              <a:gd name="T17" fmla="*/ 0 h 126"/>
              <a:gd name="T18" fmla="*/ 126748377 w 98"/>
              <a:gd name="T19" fmla="*/ 122067876 h 126"/>
              <a:gd name="T20" fmla="*/ 253499005 w 98"/>
              <a:gd name="T21" fmla="*/ 244138008 h 12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98" h="126">
                <a:moveTo>
                  <a:pt x="49" y="55"/>
                </a:moveTo>
                <a:cubicBezTo>
                  <a:pt x="22" y="55"/>
                  <a:pt x="0" y="85"/>
                  <a:pt x="0" y="122"/>
                </a:cubicBezTo>
                <a:cubicBezTo>
                  <a:pt x="0" y="123"/>
                  <a:pt x="0" y="124"/>
                  <a:pt x="0" y="126"/>
                </a:cubicBezTo>
                <a:cubicBezTo>
                  <a:pt x="98" y="126"/>
                  <a:pt x="98" y="126"/>
                  <a:pt x="98" y="126"/>
                </a:cubicBezTo>
                <a:cubicBezTo>
                  <a:pt x="98" y="124"/>
                  <a:pt x="98" y="123"/>
                  <a:pt x="98" y="122"/>
                </a:cubicBezTo>
                <a:cubicBezTo>
                  <a:pt x="98" y="85"/>
                  <a:pt x="76" y="55"/>
                  <a:pt x="49" y="55"/>
                </a:cubicBezTo>
                <a:close/>
                <a:moveTo>
                  <a:pt x="50" y="48"/>
                </a:moveTo>
                <a:cubicBezTo>
                  <a:pt x="63" y="48"/>
                  <a:pt x="74" y="37"/>
                  <a:pt x="74" y="24"/>
                </a:cubicBezTo>
                <a:cubicBezTo>
                  <a:pt x="74" y="11"/>
                  <a:pt x="63" y="0"/>
                  <a:pt x="50" y="0"/>
                </a:cubicBezTo>
                <a:cubicBezTo>
                  <a:pt x="36" y="0"/>
                  <a:pt x="25" y="11"/>
                  <a:pt x="25" y="24"/>
                </a:cubicBezTo>
                <a:cubicBezTo>
                  <a:pt x="25" y="37"/>
                  <a:pt x="36" y="48"/>
                  <a:pt x="50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6" name="Freeform 41"/>
          <p:cNvSpPr>
            <a:spLocks/>
          </p:cNvSpPr>
          <p:nvPr/>
        </p:nvSpPr>
        <p:spPr bwMode="auto">
          <a:xfrm>
            <a:off x="2243667" y="2106085"/>
            <a:ext cx="336551" cy="298449"/>
          </a:xfrm>
          <a:custGeom>
            <a:avLst/>
            <a:gdLst>
              <a:gd name="T0" fmla="*/ 568857769 w 112"/>
              <a:gd name="T1" fmla="*/ 185381803 h 100"/>
              <a:gd name="T2" fmla="*/ 284428885 w 112"/>
              <a:gd name="T3" fmla="*/ 0 h 100"/>
              <a:gd name="T4" fmla="*/ 0 w 112"/>
              <a:gd name="T5" fmla="*/ 185381803 h 100"/>
              <a:gd name="T6" fmla="*/ 193005798 w 112"/>
              <a:gd name="T7" fmla="*/ 355732952 h 100"/>
              <a:gd name="T8" fmla="*/ 81265718 w 112"/>
              <a:gd name="T9" fmla="*/ 491011082 h 100"/>
              <a:gd name="T10" fmla="*/ 360614791 w 112"/>
              <a:gd name="T11" fmla="*/ 360742424 h 100"/>
              <a:gd name="T12" fmla="*/ 568857769 w 112"/>
              <a:gd name="T13" fmla="*/ 185381803 h 1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2" h="100">
                <a:moveTo>
                  <a:pt x="112" y="37"/>
                </a:moveTo>
                <a:cubicBezTo>
                  <a:pt x="112" y="17"/>
                  <a:pt x="87" y="0"/>
                  <a:pt x="56" y="0"/>
                </a:cubicBezTo>
                <a:cubicBezTo>
                  <a:pt x="25" y="0"/>
                  <a:pt x="0" y="17"/>
                  <a:pt x="0" y="37"/>
                </a:cubicBezTo>
                <a:cubicBezTo>
                  <a:pt x="0" y="53"/>
                  <a:pt x="16" y="66"/>
                  <a:pt x="38" y="71"/>
                </a:cubicBezTo>
                <a:cubicBezTo>
                  <a:pt x="37" y="79"/>
                  <a:pt x="33" y="92"/>
                  <a:pt x="16" y="98"/>
                </a:cubicBezTo>
                <a:cubicBezTo>
                  <a:pt x="16" y="98"/>
                  <a:pt x="47" y="100"/>
                  <a:pt x="71" y="72"/>
                </a:cubicBezTo>
                <a:cubicBezTo>
                  <a:pt x="95" y="67"/>
                  <a:pt x="112" y="53"/>
                  <a:pt x="112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7" name="Freeform 42"/>
          <p:cNvSpPr>
            <a:spLocks/>
          </p:cNvSpPr>
          <p:nvPr/>
        </p:nvSpPr>
        <p:spPr bwMode="auto">
          <a:xfrm>
            <a:off x="2963334" y="2351618"/>
            <a:ext cx="131233" cy="120649"/>
          </a:xfrm>
          <a:custGeom>
            <a:avLst/>
            <a:gdLst>
              <a:gd name="T0" fmla="*/ 155120037 w 44"/>
              <a:gd name="T1" fmla="*/ 66528305 h 40"/>
              <a:gd name="T2" fmla="*/ 155120037 w 44"/>
              <a:gd name="T3" fmla="*/ 0 h 40"/>
              <a:gd name="T4" fmla="*/ 15012049 w 44"/>
              <a:gd name="T5" fmla="*/ 138171387 h 40"/>
              <a:gd name="T6" fmla="*/ 15012049 w 44"/>
              <a:gd name="T7" fmla="*/ 189346310 h 40"/>
              <a:gd name="T8" fmla="*/ 70053994 w 44"/>
              <a:gd name="T9" fmla="*/ 189346310 h 40"/>
              <a:gd name="T10" fmla="*/ 220170014 w 44"/>
              <a:gd name="T11" fmla="*/ 40940843 h 40"/>
              <a:gd name="T12" fmla="*/ 220170014 w 44"/>
              <a:gd name="T13" fmla="*/ 5117040 h 40"/>
              <a:gd name="T14" fmla="*/ 155120037 w 44"/>
              <a:gd name="T15" fmla="*/ 66528305 h 4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4" h="40">
                <a:moveTo>
                  <a:pt x="31" y="13"/>
                </a:moveTo>
                <a:cubicBezTo>
                  <a:pt x="31" y="9"/>
                  <a:pt x="31" y="4"/>
                  <a:pt x="31" y="0"/>
                </a:cubicBezTo>
                <a:cubicBezTo>
                  <a:pt x="3" y="27"/>
                  <a:pt x="3" y="27"/>
                  <a:pt x="3" y="27"/>
                </a:cubicBezTo>
                <a:cubicBezTo>
                  <a:pt x="0" y="30"/>
                  <a:pt x="0" y="34"/>
                  <a:pt x="3" y="37"/>
                </a:cubicBezTo>
                <a:cubicBezTo>
                  <a:pt x="6" y="40"/>
                  <a:pt x="11" y="40"/>
                  <a:pt x="14" y="37"/>
                </a:cubicBezTo>
                <a:cubicBezTo>
                  <a:pt x="44" y="8"/>
                  <a:pt x="44" y="8"/>
                  <a:pt x="44" y="8"/>
                </a:cubicBezTo>
                <a:cubicBezTo>
                  <a:pt x="44" y="6"/>
                  <a:pt x="44" y="3"/>
                  <a:pt x="44" y="1"/>
                </a:cubicBezTo>
                <a:lnTo>
                  <a:pt x="31" y="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8" name="Freeform 43"/>
          <p:cNvSpPr>
            <a:spLocks/>
          </p:cNvSpPr>
          <p:nvPr/>
        </p:nvSpPr>
        <p:spPr bwMode="auto">
          <a:xfrm>
            <a:off x="3086100" y="2315634"/>
            <a:ext cx="127000" cy="63500"/>
          </a:xfrm>
          <a:custGeom>
            <a:avLst/>
            <a:gdLst>
              <a:gd name="T0" fmla="*/ 210869893 w 42"/>
              <a:gd name="T1" fmla="*/ 77147964 h 21"/>
              <a:gd name="T2" fmla="*/ 185154661 w 42"/>
              <a:gd name="T3" fmla="*/ 30858732 h 21"/>
              <a:gd name="T4" fmla="*/ 61717464 w 42"/>
              <a:gd name="T5" fmla="*/ 0 h 21"/>
              <a:gd name="T6" fmla="*/ 0 w 42"/>
              <a:gd name="T7" fmla="*/ 36002232 h 21"/>
              <a:gd name="T8" fmla="*/ 92576196 w 42"/>
              <a:gd name="T9" fmla="*/ 56573964 h 21"/>
              <a:gd name="T10" fmla="*/ 56573964 w 42"/>
              <a:gd name="T11" fmla="*/ 82291464 h 21"/>
              <a:gd name="T12" fmla="*/ 164580661 w 42"/>
              <a:gd name="T13" fmla="*/ 102863196 h 21"/>
              <a:gd name="T14" fmla="*/ 210869893 w 42"/>
              <a:gd name="T15" fmla="*/ 77147964 h 2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2" h="21">
                <a:moveTo>
                  <a:pt x="41" y="15"/>
                </a:moveTo>
                <a:cubicBezTo>
                  <a:pt x="42" y="11"/>
                  <a:pt x="40" y="7"/>
                  <a:pt x="36" y="6"/>
                </a:cubicBezTo>
                <a:cubicBezTo>
                  <a:pt x="12" y="0"/>
                  <a:pt x="12" y="0"/>
                  <a:pt x="12" y="0"/>
                </a:cubicBezTo>
                <a:cubicBezTo>
                  <a:pt x="8" y="3"/>
                  <a:pt x="0" y="7"/>
                  <a:pt x="0" y="7"/>
                </a:cubicBezTo>
                <a:cubicBezTo>
                  <a:pt x="18" y="11"/>
                  <a:pt x="18" y="11"/>
                  <a:pt x="18" y="11"/>
                </a:cubicBezTo>
                <a:cubicBezTo>
                  <a:pt x="16" y="12"/>
                  <a:pt x="13" y="14"/>
                  <a:pt x="11" y="16"/>
                </a:cubicBezTo>
                <a:cubicBezTo>
                  <a:pt x="32" y="20"/>
                  <a:pt x="32" y="20"/>
                  <a:pt x="32" y="20"/>
                </a:cubicBezTo>
                <a:cubicBezTo>
                  <a:pt x="36" y="21"/>
                  <a:pt x="41" y="19"/>
                  <a:pt x="41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09" name="Freeform 44"/>
          <p:cNvSpPr>
            <a:spLocks/>
          </p:cNvSpPr>
          <p:nvPr/>
        </p:nvSpPr>
        <p:spPr bwMode="auto">
          <a:xfrm>
            <a:off x="2781301" y="2372784"/>
            <a:ext cx="283633" cy="279400"/>
          </a:xfrm>
          <a:custGeom>
            <a:avLst/>
            <a:gdLst>
              <a:gd name="T0" fmla="*/ 340955630 w 95"/>
              <a:gd name="T1" fmla="*/ 218312795 h 93"/>
              <a:gd name="T2" fmla="*/ 225631809 w 95"/>
              <a:gd name="T3" fmla="*/ 330007452 h 93"/>
              <a:gd name="T4" fmla="*/ 155437038 w 95"/>
              <a:gd name="T5" fmla="*/ 330007452 h 93"/>
              <a:gd name="T6" fmla="*/ 145407614 w 95"/>
              <a:gd name="T7" fmla="*/ 314775645 h 93"/>
              <a:gd name="T8" fmla="*/ 145407614 w 95"/>
              <a:gd name="T9" fmla="*/ 248774155 h 93"/>
              <a:gd name="T10" fmla="*/ 255717842 w 95"/>
              <a:gd name="T11" fmla="*/ 142156016 h 93"/>
              <a:gd name="T12" fmla="*/ 325914853 w 95"/>
              <a:gd name="T13" fmla="*/ 10153035 h 93"/>
              <a:gd name="T14" fmla="*/ 175491407 w 95"/>
              <a:gd name="T15" fmla="*/ 55846202 h 93"/>
              <a:gd name="T16" fmla="*/ 60169826 w 95"/>
              <a:gd name="T17" fmla="*/ 167540858 h 93"/>
              <a:gd name="T18" fmla="*/ 60169826 w 95"/>
              <a:gd name="T19" fmla="*/ 396008942 h 93"/>
              <a:gd name="T20" fmla="*/ 75210603 w 95"/>
              <a:gd name="T21" fmla="*/ 411238495 h 93"/>
              <a:gd name="T22" fmla="*/ 305858244 w 95"/>
              <a:gd name="T23" fmla="*/ 411238495 h 93"/>
              <a:gd name="T24" fmla="*/ 421182065 w 95"/>
              <a:gd name="T25" fmla="*/ 294467321 h 93"/>
              <a:gd name="T26" fmla="*/ 466308874 w 95"/>
              <a:gd name="T27" fmla="*/ 142156016 h 93"/>
              <a:gd name="T28" fmla="*/ 340955630 w 95"/>
              <a:gd name="T29" fmla="*/ 218312795 h 9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95" h="93">
                <a:moveTo>
                  <a:pt x="68" y="43"/>
                </a:moveTo>
                <a:cubicBezTo>
                  <a:pt x="45" y="65"/>
                  <a:pt x="45" y="65"/>
                  <a:pt x="45" y="65"/>
                </a:cubicBezTo>
                <a:cubicBezTo>
                  <a:pt x="41" y="68"/>
                  <a:pt x="35" y="68"/>
                  <a:pt x="31" y="65"/>
                </a:cubicBezTo>
                <a:cubicBezTo>
                  <a:pt x="29" y="62"/>
                  <a:pt x="29" y="62"/>
                  <a:pt x="29" y="62"/>
                </a:cubicBezTo>
                <a:cubicBezTo>
                  <a:pt x="25" y="58"/>
                  <a:pt x="25" y="53"/>
                  <a:pt x="29" y="49"/>
                </a:cubicBezTo>
                <a:cubicBezTo>
                  <a:pt x="51" y="28"/>
                  <a:pt x="51" y="28"/>
                  <a:pt x="51" y="28"/>
                </a:cubicBezTo>
                <a:cubicBezTo>
                  <a:pt x="53" y="24"/>
                  <a:pt x="60" y="15"/>
                  <a:pt x="65" y="2"/>
                </a:cubicBezTo>
                <a:cubicBezTo>
                  <a:pt x="55" y="0"/>
                  <a:pt x="43" y="3"/>
                  <a:pt x="35" y="11"/>
                </a:cubicBezTo>
                <a:cubicBezTo>
                  <a:pt x="12" y="33"/>
                  <a:pt x="12" y="33"/>
                  <a:pt x="12" y="33"/>
                </a:cubicBezTo>
                <a:cubicBezTo>
                  <a:pt x="0" y="45"/>
                  <a:pt x="0" y="66"/>
                  <a:pt x="12" y="78"/>
                </a:cubicBezTo>
                <a:cubicBezTo>
                  <a:pt x="15" y="81"/>
                  <a:pt x="15" y="81"/>
                  <a:pt x="15" y="81"/>
                </a:cubicBezTo>
                <a:cubicBezTo>
                  <a:pt x="28" y="93"/>
                  <a:pt x="49" y="93"/>
                  <a:pt x="61" y="81"/>
                </a:cubicBezTo>
                <a:cubicBezTo>
                  <a:pt x="84" y="58"/>
                  <a:pt x="84" y="58"/>
                  <a:pt x="84" y="58"/>
                </a:cubicBezTo>
                <a:cubicBezTo>
                  <a:pt x="93" y="50"/>
                  <a:pt x="95" y="39"/>
                  <a:pt x="93" y="28"/>
                </a:cubicBezTo>
                <a:cubicBezTo>
                  <a:pt x="83" y="33"/>
                  <a:pt x="74" y="38"/>
                  <a:pt x="68" y="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0" name="Freeform 45"/>
          <p:cNvSpPr>
            <a:spLocks/>
          </p:cNvSpPr>
          <p:nvPr/>
        </p:nvSpPr>
        <p:spPr bwMode="auto">
          <a:xfrm>
            <a:off x="3141134" y="2252133"/>
            <a:ext cx="292100" cy="239184"/>
          </a:xfrm>
          <a:custGeom>
            <a:avLst/>
            <a:gdLst>
              <a:gd name="T0" fmla="*/ 349809124 w 98"/>
              <a:gd name="T1" fmla="*/ 50282456 h 80"/>
              <a:gd name="T2" fmla="*/ 189895551 w 98"/>
              <a:gd name="T3" fmla="*/ 15084288 h 80"/>
              <a:gd name="T4" fmla="*/ 44975203 w 98"/>
              <a:gd name="T5" fmla="*/ 50282456 h 80"/>
              <a:gd name="T6" fmla="*/ 169908311 w 98"/>
              <a:gd name="T7" fmla="*/ 125703899 h 80"/>
              <a:gd name="T8" fmla="*/ 324823397 w 98"/>
              <a:gd name="T9" fmla="*/ 160899824 h 80"/>
              <a:gd name="T10" fmla="*/ 359803862 w 98"/>
              <a:gd name="T11" fmla="*/ 216209629 h 80"/>
              <a:gd name="T12" fmla="*/ 354807611 w 98"/>
              <a:gd name="T13" fmla="*/ 236321267 h 80"/>
              <a:gd name="T14" fmla="*/ 294839183 w 98"/>
              <a:gd name="T15" fmla="*/ 271519434 h 80"/>
              <a:gd name="T16" fmla="*/ 139924097 w 98"/>
              <a:gd name="T17" fmla="*/ 236321267 h 80"/>
              <a:gd name="T18" fmla="*/ 0 w 98"/>
              <a:gd name="T19" fmla="*/ 246378206 h 80"/>
              <a:gd name="T20" fmla="*/ 114938369 w 98"/>
              <a:gd name="T21" fmla="*/ 341913528 h 80"/>
              <a:gd name="T22" fmla="*/ 269853455 w 98"/>
              <a:gd name="T23" fmla="*/ 382139045 h 80"/>
              <a:gd name="T24" fmla="*/ 464747493 w 98"/>
              <a:gd name="T25" fmla="*/ 261462495 h 80"/>
              <a:gd name="T26" fmla="*/ 469743745 w 98"/>
              <a:gd name="T27" fmla="*/ 241350858 h 80"/>
              <a:gd name="T28" fmla="*/ 349809124 w 98"/>
              <a:gd name="T29" fmla="*/ 50282456 h 8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98" h="80">
                <a:moveTo>
                  <a:pt x="70" y="10"/>
                </a:moveTo>
                <a:cubicBezTo>
                  <a:pt x="38" y="3"/>
                  <a:pt x="38" y="3"/>
                  <a:pt x="38" y="3"/>
                </a:cubicBezTo>
                <a:cubicBezTo>
                  <a:pt x="27" y="0"/>
                  <a:pt x="17" y="3"/>
                  <a:pt x="9" y="10"/>
                </a:cubicBezTo>
                <a:cubicBezTo>
                  <a:pt x="15" y="15"/>
                  <a:pt x="23" y="20"/>
                  <a:pt x="34" y="25"/>
                </a:cubicBezTo>
                <a:cubicBezTo>
                  <a:pt x="65" y="32"/>
                  <a:pt x="65" y="32"/>
                  <a:pt x="65" y="32"/>
                </a:cubicBezTo>
                <a:cubicBezTo>
                  <a:pt x="70" y="33"/>
                  <a:pt x="73" y="38"/>
                  <a:pt x="72" y="43"/>
                </a:cubicBezTo>
                <a:cubicBezTo>
                  <a:pt x="71" y="47"/>
                  <a:pt x="71" y="47"/>
                  <a:pt x="71" y="47"/>
                </a:cubicBezTo>
                <a:cubicBezTo>
                  <a:pt x="70" y="52"/>
                  <a:pt x="65" y="55"/>
                  <a:pt x="59" y="54"/>
                </a:cubicBezTo>
                <a:cubicBezTo>
                  <a:pt x="28" y="47"/>
                  <a:pt x="28" y="47"/>
                  <a:pt x="28" y="47"/>
                </a:cubicBezTo>
                <a:cubicBezTo>
                  <a:pt x="14" y="45"/>
                  <a:pt x="6" y="47"/>
                  <a:pt x="0" y="49"/>
                </a:cubicBezTo>
                <a:cubicBezTo>
                  <a:pt x="3" y="58"/>
                  <a:pt x="12" y="66"/>
                  <a:pt x="23" y="68"/>
                </a:cubicBezTo>
                <a:cubicBezTo>
                  <a:pt x="54" y="76"/>
                  <a:pt x="54" y="76"/>
                  <a:pt x="54" y="76"/>
                </a:cubicBezTo>
                <a:cubicBezTo>
                  <a:pt x="72" y="80"/>
                  <a:pt x="89" y="69"/>
                  <a:pt x="93" y="52"/>
                </a:cubicBezTo>
                <a:cubicBezTo>
                  <a:pt x="94" y="48"/>
                  <a:pt x="94" y="48"/>
                  <a:pt x="94" y="48"/>
                </a:cubicBezTo>
                <a:cubicBezTo>
                  <a:pt x="98" y="31"/>
                  <a:pt x="87" y="14"/>
                  <a:pt x="70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1" name="Freeform 46"/>
          <p:cNvSpPr>
            <a:spLocks/>
          </p:cNvSpPr>
          <p:nvPr/>
        </p:nvSpPr>
        <p:spPr bwMode="auto">
          <a:xfrm>
            <a:off x="2992968" y="2264834"/>
            <a:ext cx="55033" cy="57151"/>
          </a:xfrm>
          <a:custGeom>
            <a:avLst/>
            <a:gdLst>
              <a:gd name="T0" fmla="*/ 65524063 w 26"/>
              <a:gd name="T1" fmla="*/ 68045806 h 27"/>
              <a:gd name="T2" fmla="*/ 0 w 26"/>
              <a:gd name="T3" fmla="*/ 45363342 h 27"/>
              <a:gd name="T4" fmla="*/ 22682200 w 26"/>
              <a:gd name="T5" fmla="*/ 0 h 27"/>
              <a:gd name="T6" fmla="*/ 65524063 w 26"/>
              <a:gd name="T7" fmla="*/ 68045806 h 2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6" h="27">
                <a:moveTo>
                  <a:pt x="26" y="27"/>
                </a:moveTo>
                <a:lnTo>
                  <a:pt x="0" y="18"/>
                </a:lnTo>
                <a:lnTo>
                  <a:pt x="9" y="0"/>
                </a:lnTo>
                <a:lnTo>
                  <a:pt x="26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2" name="Freeform 47"/>
          <p:cNvSpPr>
            <a:spLocks/>
          </p:cNvSpPr>
          <p:nvPr/>
        </p:nvSpPr>
        <p:spPr bwMode="auto">
          <a:xfrm>
            <a:off x="3098800" y="2237317"/>
            <a:ext cx="27517" cy="50800"/>
          </a:xfrm>
          <a:custGeom>
            <a:avLst/>
            <a:gdLst>
              <a:gd name="T0" fmla="*/ 27721597 w 13"/>
              <a:gd name="T1" fmla="*/ 60483750 h 24"/>
              <a:gd name="T2" fmla="*/ 0 w 13"/>
              <a:gd name="T3" fmla="*/ 22682200 h 24"/>
              <a:gd name="T4" fmla="*/ 32762031 w 13"/>
              <a:gd name="T5" fmla="*/ 0 h 24"/>
              <a:gd name="T6" fmla="*/ 27721597 w 13"/>
              <a:gd name="T7" fmla="*/ 604837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3" h="24">
                <a:moveTo>
                  <a:pt x="11" y="24"/>
                </a:moveTo>
                <a:lnTo>
                  <a:pt x="0" y="9"/>
                </a:lnTo>
                <a:lnTo>
                  <a:pt x="13" y="0"/>
                </a:lnTo>
                <a:lnTo>
                  <a:pt x="11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3" name="Freeform 48"/>
          <p:cNvSpPr>
            <a:spLocks/>
          </p:cNvSpPr>
          <p:nvPr/>
        </p:nvSpPr>
        <p:spPr bwMode="auto">
          <a:xfrm>
            <a:off x="3033185" y="2203451"/>
            <a:ext cx="38100" cy="88900"/>
          </a:xfrm>
          <a:custGeom>
            <a:avLst/>
            <a:gdLst>
              <a:gd name="T0" fmla="*/ 45362813 w 18"/>
              <a:gd name="T1" fmla="*/ 105846563 h 42"/>
              <a:gd name="T2" fmla="*/ 0 w 18"/>
              <a:gd name="T3" fmla="*/ 0 h 42"/>
              <a:gd name="T4" fmla="*/ 30241875 w 18"/>
              <a:gd name="T5" fmla="*/ 5040313 h 42"/>
              <a:gd name="T6" fmla="*/ 45362813 w 18"/>
              <a:gd name="T7" fmla="*/ 105846563 h 4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" h="42">
                <a:moveTo>
                  <a:pt x="18" y="42"/>
                </a:moveTo>
                <a:lnTo>
                  <a:pt x="0" y="0"/>
                </a:lnTo>
                <a:lnTo>
                  <a:pt x="12" y="2"/>
                </a:lnTo>
                <a:lnTo>
                  <a:pt x="18" y="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4" name="Freeform 49"/>
          <p:cNvSpPr>
            <a:spLocks/>
          </p:cNvSpPr>
          <p:nvPr/>
        </p:nvSpPr>
        <p:spPr bwMode="auto">
          <a:xfrm>
            <a:off x="9929285" y="1642534"/>
            <a:ext cx="213783" cy="63500"/>
          </a:xfrm>
          <a:custGeom>
            <a:avLst/>
            <a:gdLst>
              <a:gd name="T0" fmla="*/ 305986227 w 71"/>
              <a:gd name="T1" fmla="*/ 0 h 21"/>
              <a:gd name="T2" fmla="*/ 362083853 w 71"/>
              <a:gd name="T3" fmla="*/ 56573964 h 21"/>
              <a:gd name="T4" fmla="*/ 362083853 w 71"/>
              <a:gd name="T5" fmla="*/ 56573964 h 21"/>
              <a:gd name="T6" fmla="*/ 305986227 w 71"/>
              <a:gd name="T7" fmla="*/ 108006696 h 21"/>
              <a:gd name="T8" fmla="*/ 50998457 w 71"/>
              <a:gd name="T9" fmla="*/ 108006696 h 21"/>
              <a:gd name="T10" fmla="*/ 0 w 71"/>
              <a:gd name="T11" fmla="*/ 56573964 h 21"/>
              <a:gd name="T12" fmla="*/ 0 w 71"/>
              <a:gd name="T13" fmla="*/ 56573964 h 21"/>
              <a:gd name="T14" fmla="*/ 50998457 w 71"/>
              <a:gd name="T15" fmla="*/ 0 h 21"/>
              <a:gd name="T16" fmla="*/ 305986227 w 71"/>
              <a:gd name="T17" fmla="*/ 0 h 2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1" h="21">
                <a:moveTo>
                  <a:pt x="60" y="0"/>
                </a:moveTo>
                <a:cubicBezTo>
                  <a:pt x="66" y="0"/>
                  <a:pt x="71" y="5"/>
                  <a:pt x="71" y="11"/>
                </a:cubicBezTo>
                <a:cubicBezTo>
                  <a:pt x="71" y="11"/>
                  <a:pt x="71" y="11"/>
                  <a:pt x="71" y="11"/>
                </a:cubicBezTo>
                <a:cubicBezTo>
                  <a:pt x="71" y="17"/>
                  <a:pt x="66" y="21"/>
                  <a:pt x="60" y="21"/>
                </a:cubicBezTo>
                <a:cubicBezTo>
                  <a:pt x="10" y="21"/>
                  <a:pt x="10" y="21"/>
                  <a:pt x="10" y="21"/>
                </a:cubicBezTo>
                <a:cubicBezTo>
                  <a:pt x="4" y="21"/>
                  <a:pt x="0" y="17"/>
                  <a:pt x="0" y="11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4" y="0"/>
                  <a:pt x="10" y="0"/>
                </a:cubicBezTo>
                <a:lnTo>
                  <a:pt x="6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5" name="Freeform 50"/>
          <p:cNvSpPr>
            <a:spLocks noEditPoints="1"/>
          </p:cNvSpPr>
          <p:nvPr/>
        </p:nvSpPr>
        <p:spPr bwMode="auto">
          <a:xfrm>
            <a:off x="9687985" y="1367367"/>
            <a:ext cx="391583" cy="503767"/>
          </a:xfrm>
          <a:custGeom>
            <a:avLst/>
            <a:gdLst>
              <a:gd name="T0" fmla="*/ 331718346 w 131"/>
              <a:gd name="T1" fmla="*/ 323699320 h 168"/>
              <a:gd name="T2" fmla="*/ 497579760 w 131"/>
              <a:gd name="T3" fmla="*/ 161850784 h 168"/>
              <a:gd name="T4" fmla="*/ 331718346 w 131"/>
              <a:gd name="T5" fmla="*/ 0 h 168"/>
              <a:gd name="T6" fmla="*/ 165859173 w 131"/>
              <a:gd name="T7" fmla="*/ 161850784 h 168"/>
              <a:gd name="T8" fmla="*/ 331718346 w 131"/>
              <a:gd name="T9" fmla="*/ 323699320 h 168"/>
              <a:gd name="T10" fmla="*/ 628257024 w 131"/>
              <a:gd name="T11" fmla="*/ 632227167 h 168"/>
              <a:gd name="T12" fmla="*/ 452345237 w 131"/>
              <a:gd name="T13" fmla="*/ 632227167 h 168"/>
              <a:gd name="T14" fmla="*/ 341770960 w 131"/>
              <a:gd name="T15" fmla="*/ 536129177 h 168"/>
              <a:gd name="T16" fmla="*/ 422187393 w 131"/>
              <a:gd name="T17" fmla="*/ 419799558 h 168"/>
              <a:gd name="T18" fmla="*/ 467421917 w 131"/>
              <a:gd name="T19" fmla="*/ 414741651 h 168"/>
              <a:gd name="T20" fmla="*/ 331718346 w 131"/>
              <a:gd name="T21" fmla="*/ 374278393 h 168"/>
              <a:gd name="T22" fmla="*/ 0 w 131"/>
              <a:gd name="T23" fmla="*/ 824423146 h 168"/>
              <a:gd name="T24" fmla="*/ 0 w 131"/>
              <a:gd name="T25" fmla="*/ 849712682 h 168"/>
              <a:gd name="T26" fmla="*/ 658412626 w 131"/>
              <a:gd name="T27" fmla="*/ 849712682 h 168"/>
              <a:gd name="T28" fmla="*/ 658412626 w 131"/>
              <a:gd name="T29" fmla="*/ 824423146 h 168"/>
              <a:gd name="T30" fmla="*/ 628257024 w 131"/>
              <a:gd name="T31" fmla="*/ 632227167 h 16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31" h="168">
                <a:moveTo>
                  <a:pt x="66" y="64"/>
                </a:moveTo>
                <a:cubicBezTo>
                  <a:pt x="84" y="64"/>
                  <a:pt x="99" y="50"/>
                  <a:pt x="99" y="32"/>
                </a:cubicBezTo>
                <a:cubicBezTo>
                  <a:pt x="99" y="14"/>
                  <a:pt x="84" y="0"/>
                  <a:pt x="66" y="0"/>
                </a:cubicBezTo>
                <a:cubicBezTo>
                  <a:pt x="48" y="0"/>
                  <a:pt x="33" y="14"/>
                  <a:pt x="33" y="32"/>
                </a:cubicBezTo>
                <a:cubicBezTo>
                  <a:pt x="33" y="50"/>
                  <a:pt x="48" y="64"/>
                  <a:pt x="66" y="64"/>
                </a:cubicBezTo>
                <a:close/>
                <a:moveTo>
                  <a:pt x="125" y="125"/>
                </a:moveTo>
                <a:cubicBezTo>
                  <a:pt x="90" y="125"/>
                  <a:pt x="90" y="125"/>
                  <a:pt x="90" y="125"/>
                </a:cubicBezTo>
                <a:cubicBezTo>
                  <a:pt x="79" y="125"/>
                  <a:pt x="69" y="118"/>
                  <a:pt x="68" y="106"/>
                </a:cubicBezTo>
                <a:cubicBezTo>
                  <a:pt x="66" y="94"/>
                  <a:pt x="76" y="85"/>
                  <a:pt x="84" y="83"/>
                </a:cubicBezTo>
                <a:cubicBezTo>
                  <a:pt x="85" y="82"/>
                  <a:pt x="89" y="82"/>
                  <a:pt x="93" y="82"/>
                </a:cubicBezTo>
                <a:cubicBezTo>
                  <a:pt x="84" y="76"/>
                  <a:pt x="75" y="74"/>
                  <a:pt x="66" y="74"/>
                </a:cubicBezTo>
                <a:cubicBezTo>
                  <a:pt x="29" y="74"/>
                  <a:pt x="0" y="114"/>
                  <a:pt x="0" y="163"/>
                </a:cubicBezTo>
                <a:cubicBezTo>
                  <a:pt x="0" y="165"/>
                  <a:pt x="0" y="167"/>
                  <a:pt x="0" y="168"/>
                </a:cubicBezTo>
                <a:cubicBezTo>
                  <a:pt x="131" y="168"/>
                  <a:pt x="131" y="168"/>
                  <a:pt x="131" y="168"/>
                </a:cubicBezTo>
                <a:cubicBezTo>
                  <a:pt x="131" y="167"/>
                  <a:pt x="131" y="165"/>
                  <a:pt x="131" y="163"/>
                </a:cubicBezTo>
                <a:cubicBezTo>
                  <a:pt x="131" y="150"/>
                  <a:pt x="129" y="137"/>
                  <a:pt x="125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6" name="Freeform 51"/>
          <p:cNvSpPr>
            <a:spLocks noEditPoints="1"/>
          </p:cNvSpPr>
          <p:nvPr/>
        </p:nvSpPr>
        <p:spPr bwMode="auto">
          <a:xfrm>
            <a:off x="1153584" y="2199218"/>
            <a:ext cx="330200" cy="425449"/>
          </a:xfrm>
          <a:custGeom>
            <a:avLst/>
            <a:gdLst>
              <a:gd name="T0" fmla="*/ 278775102 w 110"/>
              <a:gd name="T1" fmla="*/ 313064795 h 142"/>
              <a:gd name="T2" fmla="*/ 0 w 110"/>
              <a:gd name="T3" fmla="*/ 696823089 h 142"/>
              <a:gd name="T4" fmla="*/ 0 w 110"/>
              <a:gd name="T5" fmla="*/ 717019948 h 142"/>
              <a:gd name="T6" fmla="*/ 557550205 w 110"/>
              <a:gd name="T7" fmla="*/ 717019948 h 142"/>
              <a:gd name="T8" fmla="*/ 557550205 w 110"/>
              <a:gd name="T9" fmla="*/ 696823089 h 142"/>
              <a:gd name="T10" fmla="*/ 278775102 w 110"/>
              <a:gd name="T11" fmla="*/ 313064795 h 142"/>
              <a:gd name="T12" fmla="*/ 283842922 w 110"/>
              <a:gd name="T13" fmla="*/ 277718045 h 142"/>
              <a:gd name="T14" fmla="*/ 425766634 w 110"/>
              <a:gd name="T15" fmla="*/ 136335538 h 142"/>
              <a:gd name="T16" fmla="*/ 283842922 w 110"/>
              <a:gd name="T17" fmla="*/ 0 h 142"/>
              <a:gd name="T18" fmla="*/ 141921461 w 110"/>
              <a:gd name="T19" fmla="*/ 136335538 h 142"/>
              <a:gd name="T20" fmla="*/ 283842922 w 110"/>
              <a:gd name="T21" fmla="*/ 277718045 h 14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10" h="142">
                <a:moveTo>
                  <a:pt x="55" y="62"/>
                </a:moveTo>
                <a:cubicBezTo>
                  <a:pt x="25" y="62"/>
                  <a:pt x="0" y="96"/>
                  <a:pt x="0" y="138"/>
                </a:cubicBezTo>
                <a:cubicBezTo>
                  <a:pt x="0" y="139"/>
                  <a:pt x="0" y="140"/>
                  <a:pt x="0" y="142"/>
                </a:cubicBezTo>
                <a:cubicBezTo>
                  <a:pt x="110" y="142"/>
                  <a:pt x="110" y="142"/>
                  <a:pt x="110" y="142"/>
                </a:cubicBezTo>
                <a:cubicBezTo>
                  <a:pt x="110" y="140"/>
                  <a:pt x="110" y="139"/>
                  <a:pt x="110" y="138"/>
                </a:cubicBezTo>
                <a:cubicBezTo>
                  <a:pt x="110" y="96"/>
                  <a:pt x="86" y="62"/>
                  <a:pt x="55" y="62"/>
                </a:cubicBezTo>
                <a:close/>
                <a:moveTo>
                  <a:pt x="56" y="55"/>
                </a:moveTo>
                <a:cubicBezTo>
                  <a:pt x="71" y="55"/>
                  <a:pt x="84" y="42"/>
                  <a:pt x="84" y="27"/>
                </a:cubicBezTo>
                <a:cubicBezTo>
                  <a:pt x="84" y="12"/>
                  <a:pt x="71" y="0"/>
                  <a:pt x="56" y="0"/>
                </a:cubicBezTo>
                <a:cubicBezTo>
                  <a:pt x="40" y="0"/>
                  <a:pt x="28" y="12"/>
                  <a:pt x="28" y="27"/>
                </a:cubicBezTo>
                <a:cubicBezTo>
                  <a:pt x="28" y="42"/>
                  <a:pt x="40" y="55"/>
                  <a:pt x="56" y="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7" name="Freeform 52"/>
          <p:cNvSpPr>
            <a:spLocks noEditPoints="1"/>
          </p:cNvSpPr>
          <p:nvPr/>
        </p:nvSpPr>
        <p:spPr bwMode="auto">
          <a:xfrm>
            <a:off x="1468967" y="2338918"/>
            <a:ext cx="165100" cy="285749"/>
          </a:xfrm>
          <a:custGeom>
            <a:avLst/>
            <a:gdLst>
              <a:gd name="T0" fmla="*/ 91236511 w 55"/>
              <a:gd name="T1" fmla="*/ 213745765 h 95"/>
              <a:gd name="T2" fmla="*/ 50687201 w 55"/>
              <a:gd name="T3" fmla="*/ 218835111 h 95"/>
              <a:gd name="T4" fmla="*/ 106442221 w 55"/>
              <a:gd name="T5" fmla="*/ 463114697 h 95"/>
              <a:gd name="T6" fmla="*/ 106442221 w 55"/>
              <a:gd name="T7" fmla="*/ 483472081 h 95"/>
              <a:gd name="T8" fmla="*/ 278775102 w 55"/>
              <a:gd name="T9" fmla="*/ 483472081 h 95"/>
              <a:gd name="T10" fmla="*/ 278775102 w 55"/>
              <a:gd name="T11" fmla="*/ 468204043 h 95"/>
              <a:gd name="T12" fmla="*/ 91236511 w 55"/>
              <a:gd name="T13" fmla="*/ 213745765 h 95"/>
              <a:gd name="T14" fmla="*/ 187538591 w 55"/>
              <a:gd name="T15" fmla="*/ 91605972 h 95"/>
              <a:gd name="T16" fmla="*/ 91236511 w 55"/>
              <a:gd name="T17" fmla="*/ 0 h 95"/>
              <a:gd name="T18" fmla="*/ 0 w 55"/>
              <a:gd name="T19" fmla="*/ 91605972 h 95"/>
              <a:gd name="T20" fmla="*/ 91236511 w 55"/>
              <a:gd name="T21" fmla="*/ 188299035 h 95"/>
              <a:gd name="T22" fmla="*/ 187538591 w 55"/>
              <a:gd name="T23" fmla="*/ 91605972 h 9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5" h="95">
                <a:moveTo>
                  <a:pt x="18" y="42"/>
                </a:moveTo>
                <a:cubicBezTo>
                  <a:pt x="15" y="42"/>
                  <a:pt x="13" y="42"/>
                  <a:pt x="10" y="43"/>
                </a:cubicBezTo>
                <a:cubicBezTo>
                  <a:pt x="17" y="56"/>
                  <a:pt x="21" y="73"/>
                  <a:pt x="21" y="91"/>
                </a:cubicBezTo>
                <a:cubicBezTo>
                  <a:pt x="21" y="92"/>
                  <a:pt x="21" y="93"/>
                  <a:pt x="21" y="95"/>
                </a:cubicBezTo>
                <a:cubicBezTo>
                  <a:pt x="55" y="95"/>
                  <a:pt x="55" y="95"/>
                  <a:pt x="55" y="95"/>
                </a:cubicBezTo>
                <a:cubicBezTo>
                  <a:pt x="55" y="94"/>
                  <a:pt x="55" y="93"/>
                  <a:pt x="55" y="92"/>
                </a:cubicBezTo>
                <a:cubicBezTo>
                  <a:pt x="55" y="64"/>
                  <a:pt x="38" y="42"/>
                  <a:pt x="18" y="42"/>
                </a:cubicBezTo>
                <a:close/>
                <a:moveTo>
                  <a:pt x="37" y="18"/>
                </a:moveTo>
                <a:cubicBezTo>
                  <a:pt x="37" y="8"/>
                  <a:pt x="29" y="0"/>
                  <a:pt x="18" y="0"/>
                </a:cubicBezTo>
                <a:cubicBezTo>
                  <a:pt x="8" y="0"/>
                  <a:pt x="0" y="8"/>
                  <a:pt x="0" y="18"/>
                </a:cubicBezTo>
                <a:cubicBezTo>
                  <a:pt x="0" y="28"/>
                  <a:pt x="8" y="37"/>
                  <a:pt x="18" y="37"/>
                </a:cubicBezTo>
                <a:cubicBezTo>
                  <a:pt x="29" y="37"/>
                  <a:pt x="37" y="28"/>
                  <a:pt x="37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8" name="Freeform 53"/>
          <p:cNvSpPr>
            <a:spLocks noEditPoints="1"/>
          </p:cNvSpPr>
          <p:nvPr/>
        </p:nvSpPr>
        <p:spPr bwMode="auto">
          <a:xfrm>
            <a:off x="3691467" y="2173817"/>
            <a:ext cx="484717" cy="497416"/>
          </a:xfrm>
          <a:custGeom>
            <a:avLst/>
            <a:gdLst>
              <a:gd name="T0" fmla="*/ 574080359 w 162"/>
              <a:gd name="T1" fmla="*/ 449508247 h 166"/>
              <a:gd name="T2" fmla="*/ 574080359 w 162"/>
              <a:gd name="T3" fmla="*/ 383849335 h 166"/>
              <a:gd name="T4" fmla="*/ 503580916 w 162"/>
              <a:gd name="T5" fmla="*/ 383849335 h 166"/>
              <a:gd name="T6" fmla="*/ 448186252 w 162"/>
              <a:gd name="T7" fmla="*/ 439406357 h 166"/>
              <a:gd name="T8" fmla="*/ 448186252 w 162"/>
              <a:gd name="T9" fmla="*/ 181822778 h 166"/>
              <a:gd name="T10" fmla="*/ 407900856 w 162"/>
              <a:gd name="T11" fmla="*/ 141417466 h 166"/>
              <a:gd name="T12" fmla="*/ 362577542 w 162"/>
              <a:gd name="T13" fmla="*/ 181822778 h 166"/>
              <a:gd name="T14" fmla="*/ 362577542 w 162"/>
              <a:gd name="T15" fmla="*/ 439406357 h 166"/>
              <a:gd name="T16" fmla="*/ 302147203 w 162"/>
              <a:gd name="T17" fmla="*/ 383849335 h 166"/>
              <a:gd name="T18" fmla="*/ 236683435 w 162"/>
              <a:gd name="T19" fmla="*/ 383849335 h 166"/>
              <a:gd name="T20" fmla="*/ 236683435 w 162"/>
              <a:gd name="T21" fmla="*/ 449508247 h 166"/>
              <a:gd name="T22" fmla="*/ 367613216 w 162"/>
              <a:gd name="T23" fmla="*/ 580823824 h 166"/>
              <a:gd name="T24" fmla="*/ 387755914 w 162"/>
              <a:gd name="T25" fmla="*/ 590925713 h 166"/>
              <a:gd name="T26" fmla="*/ 251790458 w 162"/>
              <a:gd name="T27" fmla="*/ 590925713 h 166"/>
              <a:gd name="T28" fmla="*/ 226612086 w 162"/>
              <a:gd name="T29" fmla="*/ 616179314 h 166"/>
              <a:gd name="T30" fmla="*/ 251790458 w 162"/>
              <a:gd name="T31" fmla="*/ 641432914 h 166"/>
              <a:gd name="T32" fmla="*/ 564009010 w 162"/>
              <a:gd name="T33" fmla="*/ 641432914 h 166"/>
              <a:gd name="T34" fmla="*/ 589189627 w 162"/>
              <a:gd name="T35" fmla="*/ 616179314 h 166"/>
              <a:gd name="T36" fmla="*/ 564009010 w 162"/>
              <a:gd name="T37" fmla="*/ 590925713 h 166"/>
              <a:gd name="T38" fmla="*/ 417972205 w 162"/>
              <a:gd name="T39" fmla="*/ 590925713 h 166"/>
              <a:gd name="T40" fmla="*/ 443150578 w 162"/>
              <a:gd name="T41" fmla="*/ 580823824 h 166"/>
              <a:gd name="T42" fmla="*/ 574080359 w 162"/>
              <a:gd name="T43" fmla="*/ 449508247 h 166"/>
              <a:gd name="T44" fmla="*/ 584151709 w 162"/>
              <a:gd name="T45" fmla="*/ 0 h 166"/>
              <a:gd name="T46" fmla="*/ 231647760 w 162"/>
              <a:gd name="T47" fmla="*/ 0 h 166"/>
              <a:gd name="T48" fmla="*/ 0 w 162"/>
              <a:gd name="T49" fmla="*/ 227280158 h 166"/>
              <a:gd name="T50" fmla="*/ 0 w 162"/>
              <a:gd name="T51" fmla="*/ 611127245 h 166"/>
              <a:gd name="T52" fmla="*/ 231647760 w 162"/>
              <a:gd name="T53" fmla="*/ 838407403 h 166"/>
              <a:gd name="T54" fmla="*/ 584151709 w 162"/>
              <a:gd name="T55" fmla="*/ 838407403 h 166"/>
              <a:gd name="T56" fmla="*/ 815799469 w 162"/>
              <a:gd name="T57" fmla="*/ 611127245 h 166"/>
              <a:gd name="T58" fmla="*/ 815799469 w 162"/>
              <a:gd name="T59" fmla="*/ 227280158 h 166"/>
              <a:gd name="T60" fmla="*/ 584151709 w 162"/>
              <a:gd name="T61" fmla="*/ 0 h 166"/>
              <a:gd name="T62" fmla="*/ 740262107 w 162"/>
              <a:gd name="T63" fmla="*/ 611127245 h 166"/>
              <a:gd name="T64" fmla="*/ 694941036 w 162"/>
              <a:gd name="T65" fmla="*/ 722243537 h 166"/>
              <a:gd name="T66" fmla="*/ 584151709 w 162"/>
              <a:gd name="T67" fmla="*/ 762646601 h 166"/>
              <a:gd name="T68" fmla="*/ 231647760 w 162"/>
              <a:gd name="T69" fmla="*/ 762646601 h 166"/>
              <a:gd name="T70" fmla="*/ 120858433 w 162"/>
              <a:gd name="T71" fmla="*/ 722243537 h 166"/>
              <a:gd name="T72" fmla="*/ 75537362 w 162"/>
              <a:gd name="T73" fmla="*/ 611127245 h 166"/>
              <a:gd name="T74" fmla="*/ 75537362 w 162"/>
              <a:gd name="T75" fmla="*/ 227280158 h 166"/>
              <a:gd name="T76" fmla="*/ 120858433 w 162"/>
              <a:gd name="T77" fmla="*/ 116163866 h 166"/>
              <a:gd name="T78" fmla="*/ 231647760 w 162"/>
              <a:gd name="T79" fmla="*/ 75760802 h 166"/>
              <a:gd name="T80" fmla="*/ 584151709 w 162"/>
              <a:gd name="T81" fmla="*/ 75760802 h 166"/>
              <a:gd name="T82" fmla="*/ 694941036 w 162"/>
              <a:gd name="T83" fmla="*/ 116163866 h 166"/>
              <a:gd name="T84" fmla="*/ 740262107 w 162"/>
              <a:gd name="T85" fmla="*/ 227280158 h 166"/>
              <a:gd name="T86" fmla="*/ 740262107 w 162"/>
              <a:gd name="T87" fmla="*/ 611127245 h 16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62" h="166">
                <a:moveTo>
                  <a:pt x="114" y="89"/>
                </a:moveTo>
                <a:cubicBezTo>
                  <a:pt x="118" y="85"/>
                  <a:pt x="118" y="79"/>
                  <a:pt x="114" y="76"/>
                </a:cubicBezTo>
                <a:cubicBezTo>
                  <a:pt x="110" y="72"/>
                  <a:pt x="104" y="72"/>
                  <a:pt x="100" y="76"/>
                </a:cubicBezTo>
                <a:cubicBezTo>
                  <a:pt x="89" y="87"/>
                  <a:pt x="89" y="87"/>
                  <a:pt x="89" y="87"/>
                </a:cubicBezTo>
                <a:cubicBezTo>
                  <a:pt x="89" y="36"/>
                  <a:pt x="89" y="36"/>
                  <a:pt x="89" y="36"/>
                </a:cubicBezTo>
                <a:cubicBezTo>
                  <a:pt x="89" y="32"/>
                  <a:pt x="85" y="28"/>
                  <a:pt x="81" y="28"/>
                </a:cubicBezTo>
                <a:cubicBezTo>
                  <a:pt x="76" y="28"/>
                  <a:pt x="72" y="32"/>
                  <a:pt x="72" y="36"/>
                </a:cubicBezTo>
                <a:cubicBezTo>
                  <a:pt x="72" y="87"/>
                  <a:pt x="72" y="87"/>
                  <a:pt x="72" y="87"/>
                </a:cubicBezTo>
                <a:cubicBezTo>
                  <a:pt x="60" y="76"/>
                  <a:pt x="60" y="76"/>
                  <a:pt x="60" y="76"/>
                </a:cubicBezTo>
                <a:cubicBezTo>
                  <a:pt x="57" y="72"/>
                  <a:pt x="50" y="72"/>
                  <a:pt x="47" y="76"/>
                </a:cubicBezTo>
                <a:cubicBezTo>
                  <a:pt x="43" y="79"/>
                  <a:pt x="43" y="85"/>
                  <a:pt x="47" y="89"/>
                </a:cubicBezTo>
                <a:cubicBezTo>
                  <a:pt x="73" y="115"/>
                  <a:pt x="73" y="115"/>
                  <a:pt x="73" y="115"/>
                </a:cubicBezTo>
                <a:cubicBezTo>
                  <a:pt x="74" y="116"/>
                  <a:pt x="76" y="117"/>
                  <a:pt x="77" y="117"/>
                </a:cubicBezTo>
                <a:cubicBezTo>
                  <a:pt x="50" y="117"/>
                  <a:pt x="50" y="117"/>
                  <a:pt x="50" y="117"/>
                </a:cubicBezTo>
                <a:cubicBezTo>
                  <a:pt x="47" y="117"/>
                  <a:pt x="45" y="120"/>
                  <a:pt x="45" y="122"/>
                </a:cubicBezTo>
                <a:cubicBezTo>
                  <a:pt x="45" y="125"/>
                  <a:pt x="47" y="127"/>
                  <a:pt x="50" y="127"/>
                </a:cubicBezTo>
                <a:cubicBezTo>
                  <a:pt x="112" y="127"/>
                  <a:pt x="112" y="127"/>
                  <a:pt x="112" y="127"/>
                </a:cubicBezTo>
                <a:cubicBezTo>
                  <a:pt x="115" y="127"/>
                  <a:pt x="117" y="125"/>
                  <a:pt x="117" y="122"/>
                </a:cubicBezTo>
                <a:cubicBezTo>
                  <a:pt x="117" y="120"/>
                  <a:pt x="115" y="117"/>
                  <a:pt x="112" y="117"/>
                </a:cubicBezTo>
                <a:cubicBezTo>
                  <a:pt x="83" y="117"/>
                  <a:pt x="83" y="117"/>
                  <a:pt x="83" y="117"/>
                </a:cubicBezTo>
                <a:cubicBezTo>
                  <a:pt x="85" y="117"/>
                  <a:pt x="87" y="116"/>
                  <a:pt x="88" y="115"/>
                </a:cubicBezTo>
                <a:lnTo>
                  <a:pt x="114" y="89"/>
                </a:lnTo>
                <a:close/>
                <a:moveTo>
                  <a:pt x="116" y="0"/>
                </a:moveTo>
                <a:cubicBezTo>
                  <a:pt x="46" y="0"/>
                  <a:pt x="46" y="0"/>
                  <a:pt x="46" y="0"/>
                </a:cubicBezTo>
                <a:cubicBezTo>
                  <a:pt x="21" y="0"/>
                  <a:pt x="0" y="20"/>
                  <a:pt x="0" y="45"/>
                </a:cubicBezTo>
                <a:cubicBezTo>
                  <a:pt x="0" y="121"/>
                  <a:pt x="0" y="121"/>
                  <a:pt x="0" y="121"/>
                </a:cubicBezTo>
                <a:cubicBezTo>
                  <a:pt x="0" y="146"/>
                  <a:pt x="21" y="166"/>
                  <a:pt x="46" y="166"/>
                </a:cubicBezTo>
                <a:cubicBezTo>
                  <a:pt x="116" y="166"/>
                  <a:pt x="116" y="166"/>
                  <a:pt x="116" y="166"/>
                </a:cubicBezTo>
                <a:cubicBezTo>
                  <a:pt x="141" y="166"/>
                  <a:pt x="162" y="146"/>
                  <a:pt x="162" y="121"/>
                </a:cubicBezTo>
                <a:cubicBezTo>
                  <a:pt x="162" y="45"/>
                  <a:pt x="162" y="45"/>
                  <a:pt x="162" y="45"/>
                </a:cubicBezTo>
                <a:cubicBezTo>
                  <a:pt x="162" y="20"/>
                  <a:pt x="141" y="0"/>
                  <a:pt x="116" y="0"/>
                </a:cubicBezTo>
                <a:close/>
                <a:moveTo>
                  <a:pt x="147" y="121"/>
                </a:moveTo>
                <a:cubicBezTo>
                  <a:pt x="147" y="130"/>
                  <a:pt x="143" y="137"/>
                  <a:pt x="138" y="143"/>
                </a:cubicBezTo>
                <a:cubicBezTo>
                  <a:pt x="132" y="148"/>
                  <a:pt x="124" y="151"/>
                  <a:pt x="116" y="151"/>
                </a:cubicBezTo>
                <a:cubicBezTo>
                  <a:pt x="46" y="151"/>
                  <a:pt x="46" y="151"/>
                  <a:pt x="46" y="151"/>
                </a:cubicBezTo>
                <a:cubicBezTo>
                  <a:pt x="38" y="151"/>
                  <a:pt x="30" y="148"/>
                  <a:pt x="24" y="143"/>
                </a:cubicBezTo>
                <a:cubicBezTo>
                  <a:pt x="19" y="137"/>
                  <a:pt x="15" y="130"/>
                  <a:pt x="15" y="121"/>
                </a:cubicBezTo>
                <a:cubicBezTo>
                  <a:pt x="15" y="45"/>
                  <a:pt x="15" y="45"/>
                  <a:pt x="15" y="45"/>
                </a:cubicBezTo>
                <a:cubicBezTo>
                  <a:pt x="15" y="36"/>
                  <a:pt x="19" y="29"/>
                  <a:pt x="24" y="23"/>
                </a:cubicBezTo>
                <a:cubicBezTo>
                  <a:pt x="30" y="18"/>
                  <a:pt x="38" y="15"/>
                  <a:pt x="46" y="15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24" y="15"/>
                  <a:pt x="132" y="18"/>
                  <a:pt x="138" y="23"/>
                </a:cubicBezTo>
                <a:cubicBezTo>
                  <a:pt x="143" y="29"/>
                  <a:pt x="147" y="36"/>
                  <a:pt x="147" y="45"/>
                </a:cubicBezTo>
                <a:lnTo>
                  <a:pt x="147" y="1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19" name="Freeform 54"/>
          <p:cNvSpPr>
            <a:spLocks noEditPoints="1"/>
          </p:cNvSpPr>
          <p:nvPr/>
        </p:nvSpPr>
        <p:spPr bwMode="auto">
          <a:xfrm>
            <a:off x="4529668" y="2173817"/>
            <a:ext cx="486833" cy="497416"/>
          </a:xfrm>
          <a:custGeom>
            <a:avLst/>
            <a:gdLst>
              <a:gd name="T0" fmla="*/ 579106281 w 162"/>
              <a:gd name="T1" fmla="*/ 388899156 h 166"/>
              <a:gd name="T2" fmla="*/ 579106281 w 162"/>
              <a:gd name="T3" fmla="*/ 454558068 h 166"/>
              <a:gd name="T4" fmla="*/ 507988045 w 162"/>
              <a:gd name="T5" fmla="*/ 454558068 h 166"/>
              <a:gd name="T6" fmla="*/ 452108143 w 162"/>
              <a:gd name="T7" fmla="*/ 399001046 h 166"/>
              <a:gd name="T8" fmla="*/ 452108143 w 162"/>
              <a:gd name="T9" fmla="*/ 656584625 h 166"/>
              <a:gd name="T10" fmla="*/ 411471083 w 162"/>
              <a:gd name="T11" fmla="*/ 696989937 h 166"/>
              <a:gd name="T12" fmla="*/ 365751573 w 162"/>
              <a:gd name="T13" fmla="*/ 656584625 h 166"/>
              <a:gd name="T14" fmla="*/ 365751573 w 162"/>
              <a:gd name="T15" fmla="*/ 399001046 h 166"/>
              <a:gd name="T16" fmla="*/ 304791475 w 162"/>
              <a:gd name="T17" fmla="*/ 454558068 h 166"/>
              <a:gd name="T18" fmla="*/ 238753434 w 162"/>
              <a:gd name="T19" fmla="*/ 454558068 h 166"/>
              <a:gd name="T20" fmla="*/ 238753434 w 162"/>
              <a:gd name="T21" fmla="*/ 388899156 h 166"/>
              <a:gd name="T22" fmla="*/ 370831769 w 162"/>
              <a:gd name="T23" fmla="*/ 257583579 h 166"/>
              <a:gd name="T24" fmla="*/ 391150299 w 162"/>
              <a:gd name="T25" fmla="*/ 247481690 h 166"/>
              <a:gd name="T26" fmla="*/ 253994022 w 162"/>
              <a:gd name="T27" fmla="*/ 247481690 h 166"/>
              <a:gd name="T28" fmla="*/ 228595296 w 162"/>
              <a:gd name="T29" fmla="*/ 222228089 h 166"/>
              <a:gd name="T30" fmla="*/ 253994022 w 162"/>
              <a:gd name="T31" fmla="*/ 196974489 h 166"/>
              <a:gd name="T32" fmla="*/ 568945889 w 162"/>
              <a:gd name="T33" fmla="*/ 196974489 h 166"/>
              <a:gd name="T34" fmla="*/ 594344615 w 162"/>
              <a:gd name="T35" fmla="*/ 222228089 h 166"/>
              <a:gd name="T36" fmla="*/ 568945889 w 162"/>
              <a:gd name="T37" fmla="*/ 247481690 h 166"/>
              <a:gd name="T38" fmla="*/ 421629221 w 162"/>
              <a:gd name="T39" fmla="*/ 247481690 h 166"/>
              <a:gd name="T40" fmla="*/ 447030201 w 162"/>
              <a:gd name="T41" fmla="*/ 257583579 h 166"/>
              <a:gd name="T42" fmla="*/ 579106281 w 162"/>
              <a:gd name="T43" fmla="*/ 388899156 h 166"/>
              <a:gd name="T44" fmla="*/ 589266673 w 162"/>
              <a:gd name="T45" fmla="*/ 838407403 h 166"/>
              <a:gd name="T46" fmla="*/ 233673238 w 162"/>
              <a:gd name="T47" fmla="*/ 838407403 h 166"/>
              <a:gd name="T48" fmla="*/ 0 w 162"/>
              <a:gd name="T49" fmla="*/ 611127245 h 166"/>
              <a:gd name="T50" fmla="*/ 0 w 162"/>
              <a:gd name="T51" fmla="*/ 227280158 h 166"/>
              <a:gd name="T52" fmla="*/ 233673238 w 162"/>
              <a:gd name="T53" fmla="*/ 0 h 166"/>
              <a:gd name="T54" fmla="*/ 589266673 w 162"/>
              <a:gd name="T55" fmla="*/ 0 h 166"/>
              <a:gd name="T56" fmla="*/ 822939911 w 162"/>
              <a:gd name="T57" fmla="*/ 227280158 h 166"/>
              <a:gd name="T58" fmla="*/ 822939911 w 162"/>
              <a:gd name="T59" fmla="*/ 611127245 h 166"/>
              <a:gd name="T60" fmla="*/ 589266673 w 162"/>
              <a:gd name="T61" fmla="*/ 838407403 h 166"/>
              <a:gd name="T62" fmla="*/ 746741479 w 162"/>
              <a:gd name="T63" fmla="*/ 227280158 h 166"/>
              <a:gd name="T64" fmla="*/ 701021969 w 162"/>
              <a:gd name="T65" fmla="*/ 116163866 h 166"/>
              <a:gd name="T66" fmla="*/ 589266673 w 162"/>
              <a:gd name="T67" fmla="*/ 75760802 h 166"/>
              <a:gd name="T68" fmla="*/ 233673238 w 162"/>
              <a:gd name="T69" fmla="*/ 75760802 h 166"/>
              <a:gd name="T70" fmla="*/ 121917942 w 162"/>
              <a:gd name="T71" fmla="*/ 116163866 h 166"/>
              <a:gd name="T72" fmla="*/ 76198432 w 162"/>
              <a:gd name="T73" fmla="*/ 227280158 h 166"/>
              <a:gd name="T74" fmla="*/ 76198432 w 162"/>
              <a:gd name="T75" fmla="*/ 611127245 h 166"/>
              <a:gd name="T76" fmla="*/ 121917942 w 162"/>
              <a:gd name="T77" fmla="*/ 722243537 h 166"/>
              <a:gd name="T78" fmla="*/ 233673238 w 162"/>
              <a:gd name="T79" fmla="*/ 762646601 h 166"/>
              <a:gd name="T80" fmla="*/ 589266673 w 162"/>
              <a:gd name="T81" fmla="*/ 762646601 h 166"/>
              <a:gd name="T82" fmla="*/ 701021969 w 162"/>
              <a:gd name="T83" fmla="*/ 722243537 h 166"/>
              <a:gd name="T84" fmla="*/ 746741479 w 162"/>
              <a:gd name="T85" fmla="*/ 611127245 h 166"/>
              <a:gd name="T86" fmla="*/ 746741479 w 162"/>
              <a:gd name="T87" fmla="*/ 227280158 h 16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62" h="166">
                <a:moveTo>
                  <a:pt x="114" y="77"/>
                </a:moveTo>
                <a:cubicBezTo>
                  <a:pt x="118" y="81"/>
                  <a:pt x="118" y="87"/>
                  <a:pt x="114" y="90"/>
                </a:cubicBezTo>
                <a:cubicBezTo>
                  <a:pt x="110" y="94"/>
                  <a:pt x="104" y="94"/>
                  <a:pt x="100" y="90"/>
                </a:cubicBezTo>
                <a:cubicBezTo>
                  <a:pt x="89" y="79"/>
                  <a:pt x="89" y="79"/>
                  <a:pt x="89" y="79"/>
                </a:cubicBezTo>
                <a:cubicBezTo>
                  <a:pt x="89" y="130"/>
                  <a:pt x="89" y="130"/>
                  <a:pt x="89" y="130"/>
                </a:cubicBezTo>
                <a:cubicBezTo>
                  <a:pt x="89" y="134"/>
                  <a:pt x="85" y="138"/>
                  <a:pt x="81" y="138"/>
                </a:cubicBezTo>
                <a:cubicBezTo>
                  <a:pt x="76" y="138"/>
                  <a:pt x="72" y="134"/>
                  <a:pt x="72" y="130"/>
                </a:cubicBezTo>
                <a:cubicBezTo>
                  <a:pt x="72" y="79"/>
                  <a:pt x="72" y="79"/>
                  <a:pt x="72" y="79"/>
                </a:cubicBezTo>
                <a:cubicBezTo>
                  <a:pt x="60" y="90"/>
                  <a:pt x="60" y="90"/>
                  <a:pt x="60" y="90"/>
                </a:cubicBezTo>
                <a:cubicBezTo>
                  <a:pt x="57" y="94"/>
                  <a:pt x="50" y="94"/>
                  <a:pt x="47" y="90"/>
                </a:cubicBezTo>
                <a:cubicBezTo>
                  <a:pt x="43" y="87"/>
                  <a:pt x="43" y="81"/>
                  <a:pt x="47" y="77"/>
                </a:cubicBezTo>
                <a:cubicBezTo>
                  <a:pt x="73" y="51"/>
                  <a:pt x="73" y="51"/>
                  <a:pt x="73" y="51"/>
                </a:cubicBezTo>
                <a:cubicBezTo>
                  <a:pt x="74" y="50"/>
                  <a:pt x="76" y="49"/>
                  <a:pt x="77" y="49"/>
                </a:cubicBezTo>
                <a:cubicBezTo>
                  <a:pt x="50" y="49"/>
                  <a:pt x="50" y="49"/>
                  <a:pt x="50" y="49"/>
                </a:cubicBezTo>
                <a:cubicBezTo>
                  <a:pt x="47" y="49"/>
                  <a:pt x="45" y="46"/>
                  <a:pt x="45" y="44"/>
                </a:cubicBezTo>
                <a:cubicBezTo>
                  <a:pt x="45" y="41"/>
                  <a:pt x="47" y="39"/>
                  <a:pt x="50" y="39"/>
                </a:cubicBezTo>
                <a:cubicBezTo>
                  <a:pt x="112" y="39"/>
                  <a:pt x="112" y="39"/>
                  <a:pt x="112" y="39"/>
                </a:cubicBezTo>
                <a:cubicBezTo>
                  <a:pt x="115" y="39"/>
                  <a:pt x="117" y="41"/>
                  <a:pt x="117" y="44"/>
                </a:cubicBezTo>
                <a:cubicBezTo>
                  <a:pt x="117" y="46"/>
                  <a:pt x="115" y="49"/>
                  <a:pt x="112" y="49"/>
                </a:cubicBezTo>
                <a:cubicBezTo>
                  <a:pt x="83" y="49"/>
                  <a:pt x="83" y="49"/>
                  <a:pt x="83" y="49"/>
                </a:cubicBezTo>
                <a:cubicBezTo>
                  <a:pt x="85" y="49"/>
                  <a:pt x="87" y="50"/>
                  <a:pt x="88" y="51"/>
                </a:cubicBezTo>
                <a:lnTo>
                  <a:pt x="114" y="77"/>
                </a:lnTo>
                <a:close/>
                <a:moveTo>
                  <a:pt x="116" y="166"/>
                </a:moveTo>
                <a:cubicBezTo>
                  <a:pt x="46" y="166"/>
                  <a:pt x="46" y="166"/>
                  <a:pt x="46" y="166"/>
                </a:cubicBezTo>
                <a:cubicBezTo>
                  <a:pt x="21" y="166"/>
                  <a:pt x="0" y="146"/>
                  <a:pt x="0" y="121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20"/>
                  <a:pt x="21" y="0"/>
                  <a:pt x="46" y="0"/>
                </a:cubicBezTo>
                <a:cubicBezTo>
                  <a:pt x="116" y="0"/>
                  <a:pt x="116" y="0"/>
                  <a:pt x="116" y="0"/>
                </a:cubicBezTo>
                <a:cubicBezTo>
                  <a:pt x="141" y="0"/>
                  <a:pt x="162" y="20"/>
                  <a:pt x="162" y="45"/>
                </a:cubicBezTo>
                <a:cubicBezTo>
                  <a:pt x="162" y="121"/>
                  <a:pt x="162" y="121"/>
                  <a:pt x="162" y="121"/>
                </a:cubicBezTo>
                <a:cubicBezTo>
                  <a:pt x="162" y="146"/>
                  <a:pt x="141" y="166"/>
                  <a:pt x="116" y="166"/>
                </a:cubicBezTo>
                <a:close/>
                <a:moveTo>
                  <a:pt x="147" y="45"/>
                </a:moveTo>
                <a:cubicBezTo>
                  <a:pt x="147" y="36"/>
                  <a:pt x="143" y="29"/>
                  <a:pt x="138" y="23"/>
                </a:cubicBezTo>
                <a:cubicBezTo>
                  <a:pt x="132" y="18"/>
                  <a:pt x="124" y="15"/>
                  <a:pt x="116" y="15"/>
                </a:cubicBezTo>
                <a:cubicBezTo>
                  <a:pt x="46" y="15"/>
                  <a:pt x="46" y="15"/>
                  <a:pt x="46" y="15"/>
                </a:cubicBezTo>
                <a:cubicBezTo>
                  <a:pt x="38" y="15"/>
                  <a:pt x="30" y="18"/>
                  <a:pt x="24" y="23"/>
                </a:cubicBezTo>
                <a:cubicBezTo>
                  <a:pt x="19" y="29"/>
                  <a:pt x="15" y="36"/>
                  <a:pt x="15" y="45"/>
                </a:cubicBezTo>
                <a:cubicBezTo>
                  <a:pt x="15" y="121"/>
                  <a:pt x="15" y="121"/>
                  <a:pt x="15" y="121"/>
                </a:cubicBezTo>
                <a:cubicBezTo>
                  <a:pt x="15" y="130"/>
                  <a:pt x="19" y="137"/>
                  <a:pt x="24" y="143"/>
                </a:cubicBezTo>
                <a:cubicBezTo>
                  <a:pt x="30" y="148"/>
                  <a:pt x="38" y="151"/>
                  <a:pt x="46" y="151"/>
                </a:cubicBezTo>
                <a:cubicBezTo>
                  <a:pt x="116" y="151"/>
                  <a:pt x="116" y="151"/>
                  <a:pt x="116" y="151"/>
                </a:cubicBezTo>
                <a:cubicBezTo>
                  <a:pt x="124" y="151"/>
                  <a:pt x="132" y="148"/>
                  <a:pt x="138" y="143"/>
                </a:cubicBezTo>
                <a:cubicBezTo>
                  <a:pt x="143" y="137"/>
                  <a:pt x="147" y="130"/>
                  <a:pt x="147" y="121"/>
                </a:cubicBezTo>
                <a:lnTo>
                  <a:pt x="147" y="4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0" name="Freeform 55"/>
          <p:cNvSpPr>
            <a:spLocks noEditPoints="1"/>
          </p:cNvSpPr>
          <p:nvPr/>
        </p:nvSpPr>
        <p:spPr bwMode="auto">
          <a:xfrm>
            <a:off x="5325534" y="2207684"/>
            <a:ext cx="550333" cy="480483"/>
          </a:xfrm>
          <a:custGeom>
            <a:avLst/>
            <a:gdLst>
              <a:gd name="T0" fmla="*/ 176118630 w 184"/>
              <a:gd name="T1" fmla="*/ 811632071 h 160"/>
              <a:gd name="T2" fmla="*/ 161024094 w 184"/>
              <a:gd name="T3" fmla="*/ 811632071 h 160"/>
              <a:gd name="T4" fmla="*/ 161024094 w 184"/>
              <a:gd name="T5" fmla="*/ 811632071 h 160"/>
              <a:gd name="T6" fmla="*/ 286823115 w 184"/>
              <a:gd name="T7" fmla="*/ 603651395 h 160"/>
              <a:gd name="T8" fmla="*/ 286823115 w 184"/>
              <a:gd name="T9" fmla="*/ 603651395 h 160"/>
              <a:gd name="T10" fmla="*/ 0 w 184"/>
              <a:gd name="T11" fmla="*/ 314508188 h 160"/>
              <a:gd name="T12" fmla="*/ 0 w 184"/>
              <a:gd name="T13" fmla="*/ 314508188 h 160"/>
              <a:gd name="T14" fmla="*/ 462941746 w 184"/>
              <a:gd name="T15" fmla="*/ 0 h 160"/>
              <a:gd name="T16" fmla="*/ 462941746 w 184"/>
              <a:gd name="T17" fmla="*/ 0 h 160"/>
              <a:gd name="T18" fmla="*/ 925883492 w 184"/>
              <a:gd name="T19" fmla="*/ 314508188 h 160"/>
              <a:gd name="T20" fmla="*/ 925883492 w 184"/>
              <a:gd name="T21" fmla="*/ 314508188 h 160"/>
              <a:gd name="T22" fmla="*/ 603837548 w 184"/>
              <a:gd name="T23" fmla="*/ 613797838 h 160"/>
              <a:gd name="T24" fmla="*/ 603837548 w 184"/>
              <a:gd name="T25" fmla="*/ 613797838 h 160"/>
              <a:gd name="T26" fmla="*/ 176118630 w 184"/>
              <a:gd name="T27" fmla="*/ 811632071 h 160"/>
              <a:gd name="T28" fmla="*/ 176118630 w 184"/>
              <a:gd name="T29" fmla="*/ 811632071 h 160"/>
              <a:gd name="T30" fmla="*/ 176118630 w 184"/>
              <a:gd name="T31" fmla="*/ 811632071 h 160"/>
              <a:gd name="T32" fmla="*/ 186183898 w 184"/>
              <a:gd name="T33" fmla="*/ 147108777 h 160"/>
              <a:gd name="T34" fmla="*/ 75479413 w 184"/>
              <a:gd name="T35" fmla="*/ 314508188 h 160"/>
              <a:gd name="T36" fmla="*/ 75479413 w 184"/>
              <a:gd name="T37" fmla="*/ 314508188 h 160"/>
              <a:gd name="T38" fmla="*/ 337142724 w 184"/>
              <a:gd name="T39" fmla="*/ 537705149 h 160"/>
              <a:gd name="T40" fmla="*/ 337142724 w 184"/>
              <a:gd name="T41" fmla="*/ 537705149 h 160"/>
              <a:gd name="T42" fmla="*/ 372365553 w 184"/>
              <a:gd name="T43" fmla="*/ 547851592 h 160"/>
              <a:gd name="T44" fmla="*/ 367334041 w 184"/>
              <a:gd name="T45" fmla="*/ 578288667 h 160"/>
              <a:gd name="T46" fmla="*/ 317014432 w 184"/>
              <a:gd name="T47" fmla="*/ 715251002 h 160"/>
              <a:gd name="T48" fmla="*/ 317014432 w 184"/>
              <a:gd name="T49" fmla="*/ 715251002 h 160"/>
              <a:gd name="T50" fmla="*/ 553517939 w 184"/>
              <a:gd name="T51" fmla="*/ 552923687 h 160"/>
              <a:gd name="T52" fmla="*/ 553517939 w 184"/>
              <a:gd name="T53" fmla="*/ 552923687 h 160"/>
              <a:gd name="T54" fmla="*/ 563580963 w 184"/>
              <a:gd name="T55" fmla="*/ 542779497 h 160"/>
              <a:gd name="T56" fmla="*/ 573646231 w 184"/>
              <a:gd name="T57" fmla="*/ 542779497 h 160"/>
              <a:gd name="T58" fmla="*/ 850404079 w 184"/>
              <a:gd name="T59" fmla="*/ 314508188 h 160"/>
              <a:gd name="T60" fmla="*/ 850404079 w 184"/>
              <a:gd name="T61" fmla="*/ 314508188 h 160"/>
              <a:gd name="T62" fmla="*/ 739699594 w 184"/>
              <a:gd name="T63" fmla="*/ 147108777 h 160"/>
              <a:gd name="T64" fmla="*/ 739699594 w 184"/>
              <a:gd name="T65" fmla="*/ 147108777 h 160"/>
              <a:gd name="T66" fmla="*/ 462941746 w 184"/>
              <a:gd name="T67" fmla="*/ 71018341 h 160"/>
              <a:gd name="T68" fmla="*/ 462941746 w 184"/>
              <a:gd name="T69" fmla="*/ 71018341 h 160"/>
              <a:gd name="T70" fmla="*/ 462941746 w 184"/>
              <a:gd name="T71" fmla="*/ 71018341 h 160"/>
              <a:gd name="T72" fmla="*/ 462941746 w 184"/>
              <a:gd name="T73" fmla="*/ 71018341 h 160"/>
              <a:gd name="T74" fmla="*/ 186183898 w 184"/>
              <a:gd name="T75" fmla="*/ 147108777 h 16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84" h="160">
                <a:moveTo>
                  <a:pt x="35" y="160"/>
                </a:moveTo>
                <a:cubicBezTo>
                  <a:pt x="33" y="160"/>
                  <a:pt x="32" y="160"/>
                  <a:pt x="32" y="160"/>
                </a:cubicBezTo>
                <a:cubicBezTo>
                  <a:pt x="32" y="160"/>
                  <a:pt x="32" y="160"/>
                  <a:pt x="32" y="160"/>
                </a:cubicBezTo>
                <a:cubicBezTo>
                  <a:pt x="32" y="160"/>
                  <a:pt x="52" y="143"/>
                  <a:pt x="57" y="119"/>
                </a:cubicBezTo>
                <a:cubicBezTo>
                  <a:pt x="57" y="119"/>
                  <a:pt x="57" y="119"/>
                  <a:pt x="57" y="119"/>
                </a:cubicBezTo>
                <a:cubicBezTo>
                  <a:pt x="25" y="110"/>
                  <a:pt x="1" y="89"/>
                  <a:pt x="0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1" y="25"/>
                  <a:pt x="43" y="0"/>
                  <a:pt x="92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141" y="0"/>
                  <a:pt x="183" y="25"/>
                  <a:pt x="184" y="62"/>
                </a:cubicBezTo>
                <a:cubicBezTo>
                  <a:pt x="184" y="62"/>
                  <a:pt x="184" y="62"/>
                  <a:pt x="184" y="62"/>
                </a:cubicBezTo>
                <a:cubicBezTo>
                  <a:pt x="183" y="91"/>
                  <a:pt x="155" y="113"/>
                  <a:pt x="120" y="121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87" y="157"/>
                  <a:pt x="47" y="160"/>
                  <a:pt x="35" y="160"/>
                </a:cubicBezTo>
                <a:cubicBezTo>
                  <a:pt x="35" y="160"/>
                  <a:pt x="35" y="160"/>
                  <a:pt x="35" y="160"/>
                </a:cubicBezTo>
                <a:cubicBezTo>
                  <a:pt x="35" y="160"/>
                  <a:pt x="35" y="160"/>
                  <a:pt x="35" y="160"/>
                </a:cubicBezTo>
                <a:close/>
                <a:moveTo>
                  <a:pt x="37" y="29"/>
                </a:moveTo>
                <a:cubicBezTo>
                  <a:pt x="23" y="38"/>
                  <a:pt x="15" y="50"/>
                  <a:pt x="15" y="62"/>
                </a:cubicBezTo>
                <a:cubicBezTo>
                  <a:pt x="15" y="62"/>
                  <a:pt x="15" y="62"/>
                  <a:pt x="15" y="62"/>
                </a:cubicBezTo>
                <a:cubicBezTo>
                  <a:pt x="15" y="80"/>
                  <a:pt x="36" y="99"/>
                  <a:pt x="67" y="106"/>
                </a:cubicBezTo>
                <a:cubicBezTo>
                  <a:pt x="67" y="106"/>
                  <a:pt x="67" y="106"/>
                  <a:pt x="67" y="106"/>
                </a:cubicBezTo>
                <a:cubicBezTo>
                  <a:pt x="74" y="108"/>
                  <a:pt x="74" y="108"/>
                  <a:pt x="74" y="108"/>
                </a:cubicBezTo>
                <a:cubicBezTo>
                  <a:pt x="73" y="114"/>
                  <a:pt x="73" y="114"/>
                  <a:pt x="73" y="114"/>
                </a:cubicBezTo>
                <a:cubicBezTo>
                  <a:pt x="73" y="121"/>
                  <a:pt x="70" y="131"/>
                  <a:pt x="63" y="141"/>
                </a:cubicBezTo>
                <a:cubicBezTo>
                  <a:pt x="63" y="141"/>
                  <a:pt x="63" y="141"/>
                  <a:pt x="63" y="141"/>
                </a:cubicBezTo>
                <a:cubicBezTo>
                  <a:pt x="77" y="136"/>
                  <a:pt x="94" y="127"/>
                  <a:pt x="110" y="109"/>
                </a:cubicBezTo>
                <a:cubicBezTo>
                  <a:pt x="110" y="109"/>
                  <a:pt x="110" y="109"/>
                  <a:pt x="110" y="109"/>
                </a:cubicBezTo>
                <a:cubicBezTo>
                  <a:pt x="112" y="107"/>
                  <a:pt x="112" y="107"/>
                  <a:pt x="112" y="107"/>
                </a:cubicBezTo>
                <a:cubicBezTo>
                  <a:pt x="114" y="107"/>
                  <a:pt x="114" y="107"/>
                  <a:pt x="114" y="107"/>
                </a:cubicBezTo>
                <a:cubicBezTo>
                  <a:pt x="147" y="100"/>
                  <a:pt x="169" y="81"/>
                  <a:pt x="169" y="62"/>
                </a:cubicBezTo>
                <a:cubicBezTo>
                  <a:pt x="169" y="62"/>
                  <a:pt x="169" y="62"/>
                  <a:pt x="169" y="62"/>
                </a:cubicBezTo>
                <a:cubicBezTo>
                  <a:pt x="169" y="50"/>
                  <a:pt x="161" y="38"/>
                  <a:pt x="147" y="29"/>
                </a:cubicBezTo>
                <a:cubicBezTo>
                  <a:pt x="147" y="29"/>
                  <a:pt x="147" y="29"/>
                  <a:pt x="147" y="29"/>
                </a:cubicBezTo>
                <a:cubicBezTo>
                  <a:pt x="134" y="20"/>
                  <a:pt x="114" y="14"/>
                  <a:pt x="92" y="14"/>
                </a:cubicBezTo>
                <a:cubicBezTo>
                  <a:pt x="92" y="14"/>
                  <a:pt x="92" y="14"/>
                  <a:pt x="92" y="14"/>
                </a:cubicBezTo>
                <a:cubicBezTo>
                  <a:pt x="92" y="14"/>
                  <a:pt x="92" y="14"/>
                  <a:pt x="92" y="14"/>
                </a:cubicBezTo>
                <a:cubicBezTo>
                  <a:pt x="92" y="14"/>
                  <a:pt x="92" y="14"/>
                  <a:pt x="92" y="14"/>
                </a:cubicBezTo>
                <a:cubicBezTo>
                  <a:pt x="70" y="14"/>
                  <a:pt x="50" y="20"/>
                  <a:pt x="37" y="2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1" name="Freeform 56"/>
          <p:cNvSpPr>
            <a:spLocks noEditPoints="1"/>
          </p:cNvSpPr>
          <p:nvPr/>
        </p:nvSpPr>
        <p:spPr bwMode="auto">
          <a:xfrm>
            <a:off x="6108700" y="2309285"/>
            <a:ext cx="442384" cy="393700"/>
          </a:xfrm>
          <a:custGeom>
            <a:avLst/>
            <a:gdLst>
              <a:gd name="T0" fmla="*/ 371884693 w 147"/>
              <a:gd name="T1" fmla="*/ 0 h 131"/>
              <a:gd name="T2" fmla="*/ 0 w 147"/>
              <a:gd name="T3" fmla="*/ 243865594 h 131"/>
              <a:gd name="T4" fmla="*/ 254716130 w 147"/>
              <a:gd name="T5" fmla="*/ 472491842 h 131"/>
              <a:gd name="T6" fmla="*/ 106980188 w 147"/>
              <a:gd name="T7" fmla="*/ 650310504 h 131"/>
              <a:gd name="T8" fmla="*/ 478864881 w 147"/>
              <a:gd name="T9" fmla="*/ 477572375 h 131"/>
              <a:gd name="T10" fmla="*/ 748863572 w 147"/>
              <a:gd name="T11" fmla="*/ 243865594 h 131"/>
              <a:gd name="T12" fmla="*/ 371884693 w 147"/>
              <a:gd name="T13" fmla="*/ 0 h 131"/>
              <a:gd name="T14" fmla="*/ 382073067 w 147"/>
              <a:gd name="T15" fmla="*/ 447089176 h 131"/>
              <a:gd name="T16" fmla="*/ 356602131 w 147"/>
              <a:gd name="T17" fmla="*/ 421686510 h 131"/>
              <a:gd name="T18" fmla="*/ 382073067 w 147"/>
              <a:gd name="T19" fmla="*/ 401364377 h 131"/>
              <a:gd name="T20" fmla="*/ 402449816 w 147"/>
              <a:gd name="T21" fmla="*/ 421686510 h 131"/>
              <a:gd name="T22" fmla="*/ 382073067 w 147"/>
              <a:gd name="T23" fmla="*/ 447089176 h 131"/>
              <a:gd name="T24" fmla="*/ 402449816 w 147"/>
              <a:gd name="T25" fmla="*/ 314993059 h 131"/>
              <a:gd name="T26" fmla="*/ 402449816 w 147"/>
              <a:gd name="T27" fmla="*/ 360720112 h 131"/>
              <a:gd name="T28" fmla="*/ 382073067 w 147"/>
              <a:gd name="T29" fmla="*/ 386122778 h 131"/>
              <a:gd name="T30" fmla="*/ 356602131 w 147"/>
              <a:gd name="T31" fmla="*/ 360720112 h 131"/>
              <a:gd name="T32" fmla="*/ 356602131 w 147"/>
              <a:gd name="T33" fmla="*/ 299751459 h 131"/>
              <a:gd name="T34" fmla="*/ 382073067 w 147"/>
              <a:gd name="T35" fmla="*/ 274348793 h 131"/>
              <a:gd name="T36" fmla="*/ 382073067 w 147"/>
              <a:gd name="T37" fmla="*/ 274348793 h 131"/>
              <a:gd name="T38" fmla="*/ 382073067 w 147"/>
              <a:gd name="T39" fmla="*/ 274348793 h 131"/>
              <a:gd name="T40" fmla="*/ 443205570 w 147"/>
              <a:gd name="T41" fmla="*/ 213382395 h 131"/>
              <a:gd name="T42" fmla="*/ 382073067 w 147"/>
              <a:gd name="T43" fmla="*/ 152415996 h 131"/>
              <a:gd name="T44" fmla="*/ 320940564 w 147"/>
              <a:gd name="T45" fmla="*/ 213382395 h 131"/>
              <a:gd name="T46" fmla="*/ 326034751 w 147"/>
              <a:gd name="T47" fmla="*/ 238785061 h 131"/>
              <a:gd name="T48" fmla="*/ 326034751 w 147"/>
              <a:gd name="T49" fmla="*/ 238785061 h 131"/>
              <a:gd name="T50" fmla="*/ 326034751 w 147"/>
              <a:gd name="T51" fmla="*/ 238785061 h 131"/>
              <a:gd name="T52" fmla="*/ 326034751 w 147"/>
              <a:gd name="T53" fmla="*/ 248946127 h 131"/>
              <a:gd name="T54" fmla="*/ 305658002 w 147"/>
              <a:gd name="T55" fmla="*/ 269268260 h 131"/>
              <a:gd name="T56" fmla="*/ 285281253 w 147"/>
              <a:gd name="T57" fmla="*/ 259107194 h 131"/>
              <a:gd name="T58" fmla="*/ 285281253 w 147"/>
              <a:gd name="T59" fmla="*/ 259107194 h 131"/>
              <a:gd name="T60" fmla="*/ 285281253 w 147"/>
              <a:gd name="T61" fmla="*/ 259107194 h 131"/>
              <a:gd name="T62" fmla="*/ 280187066 w 147"/>
              <a:gd name="T63" fmla="*/ 254026660 h 131"/>
              <a:gd name="T64" fmla="*/ 275092879 w 147"/>
              <a:gd name="T65" fmla="*/ 213382395 h 131"/>
              <a:gd name="T66" fmla="*/ 382073067 w 147"/>
              <a:gd name="T67" fmla="*/ 111771731 h 131"/>
              <a:gd name="T68" fmla="*/ 489053255 w 147"/>
              <a:gd name="T69" fmla="*/ 213382395 h 131"/>
              <a:gd name="T70" fmla="*/ 402449816 w 147"/>
              <a:gd name="T71" fmla="*/ 314993059 h 13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47" h="131">
                <a:moveTo>
                  <a:pt x="73" y="0"/>
                </a:moveTo>
                <a:cubicBezTo>
                  <a:pt x="33" y="0"/>
                  <a:pt x="0" y="22"/>
                  <a:pt x="0" y="48"/>
                </a:cubicBezTo>
                <a:cubicBezTo>
                  <a:pt x="0" y="69"/>
                  <a:pt x="21" y="87"/>
                  <a:pt x="50" y="93"/>
                </a:cubicBezTo>
                <a:cubicBezTo>
                  <a:pt x="49" y="103"/>
                  <a:pt x="44" y="121"/>
                  <a:pt x="21" y="128"/>
                </a:cubicBezTo>
                <a:cubicBezTo>
                  <a:pt x="21" y="128"/>
                  <a:pt x="62" y="131"/>
                  <a:pt x="94" y="94"/>
                </a:cubicBezTo>
                <a:cubicBezTo>
                  <a:pt x="125" y="88"/>
                  <a:pt x="147" y="70"/>
                  <a:pt x="147" y="48"/>
                </a:cubicBezTo>
                <a:cubicBezTo>
                  <a:pt x="147" y="22"/>
                  <a:pt x="114" y="0"/>
                  <a:pt x="73" y="0"/>
                </a:cubicBezTo>
                <a:close/>
                <a:moveTo>
                  <a:pt x="75" y="88"/>
                </a:moveTo>
                <a:cubicBezTo>
                  <a:pt x="72" y="88"/>
                  <a:pt x="70" y="86"/>
                  <a:pt x="70" y="83"/>
                </a:cubicBezTo>
                <a:cubicBezTo>
                  <a:pt x="70" y="81"/>
                  <a:pt x="72" y="79"/>
                  <a:pt x="75" y="79"/>
                </a:cubicBezTo>
                <a:cubicBezTo>
                  <a:pt x="77" y="79"/>
                  <a:pt x="79" y="81"/>
                  <a:pt x="79" y="83"/>
                </a:cubicBezTo>
                <a:cubicBezTo>
                  <a:pt x="79" y="86"/>
                  <a:pt x="77" y="88"/>
                  <a:pt x="75" y="88"/>
                </a:cubicBezTo>
                <a:close/>
                <a:moveTo>
                  <a:pt x="79" y="62"/>
                </a:moveTo>
                <a:cubicBezTo>
                  <a:pt x="79" y="71"/>
                  <a:pt x="79" y="71"/>
                  <a:pt x="79" y="71"/>
                </a:cubicBezTo>
                <a:cubicBezTo>
                  <a:pt x="79" y="74"/>
                  <a:pt x="77" y="76"/>
                  <a:pt x="75" y="76"/>
                </a:cubicBezTo>
                <a:cubicBezTo>
                  <a:pt x="72" y="76"/>
                  <a:pt x="70" y="74"/>
                  <a:pt x="70" y="71"/>
                </a:cubicBezTo>
                <a:cubicBezTo>
                  <a:pt x="70" y="59"/>
                  <a:pt x="70" y="59"/>
                  <a:pt x="70" y="59"/>
                </a:cubicBezTo>
                <a:cubicBezTo>
                  <a:pt x="70" y="56"/>
                  <a:pt x="72" y="54"/>
                  <a:pt x="75" y="54"/>
                </a:cubicBezTo>
                <a:cubicBezTo>
                  <a:pt x="75" y="54"/>
                  <a:pt x="75" y="54"/>
                  <a:pt x="75" y="54"/>
                </a:cubicBezTo>
                <a:cubicBezTo>
                  <a:pt x="75" y="54"/>
                  <a:pt x="75" y="54"/>
                  <a:pt x="75" y="54"/>
                </a:cubicBezTo>
                <a:cubicBezTo>
                  <a:pt x="82" y="54"/>
                  <a:pt x="87" y="49"/>
                  <a:pt x="87" y="42"/>
                </a:cubicBezTo>
                <a:cubicBezTo>
                  <a:pt x="87" y="36"/>
                  <a:pt x="82" y="30"/>
                  <a:pt x="75" y="30"/>
                </a:cubicBezTo>
                <a:cubicBezTo>
                  <a:pt x="68" y="30"/>
                  <a:pt x="63" y="36"/>
                  <a:pt x="63" y="42"/>
                </a:cubicBezTo>
                <a:cubicBezTo>
                  <a:pt x="63" y="44"/>
                  <a:pt x="63" y="45"/>
                  <a:pt x="64" y="47"/>
                </a:cubicBezTo>
                <a:cubicBezTo>
                  <a:pt x="64" y="47"/>
                  <a:pt x="64" y="47"/>
                  <a:pt x="64" y="47"/>
                </a:cubicBezTo>
                <a:cubicBezTo>
                  <a:pt x="64" y="47"/>
                  <a:pt x="64" y="47"/>
                  <a:pt x="64" y="47"/>
                </a:cubicBezTo>
                <a:cubicBezTo>
                  <a:pt x="64" y="47"/>
                  <a:pt x="64" y="48"/>
                  <a:pt x="64" y="49"/>
                </a:cubicBezTo>
                <a:cubicBezTo>
                  <a:pt x="64" y="51"/>
                  <a:pt x="62" y="53"/>
                  <a:pt x="60" y="53"/>
                </a:cubicBezTo>
                <a:cubicBezTo>
                  <a:pt x="58" y="53"/>
                  <a:pt x="56" y="52"/>
                  <a:pt x="56" y="51"/>
                </a:cubicBezTo>
                <a:cubicBezTo>
                  <a:pt x="56" y="51"/>
                  <a:pt x="56" y="51"/>
                  <a:pt x="56" y="51"/>
                </a:cubicBezTo>
                <a:cubicBezTo>
                  <a:pt x="56" y="51"/>
                  <a:pt x="56" y="51"/>
                  <a:pt x="56" y="51"/>
                </a:cubicBezTo>
                <a:cubicBezTo>
                  <a:pt x="55" y="50"/>
                  <a:pt x="55" y="50"/>
                  <a:pt x="55" y="50"/>
                </a:cubicBezTo>
                <a:cubicBezTo>
                  <a:pt x="54" y="47"/>
                  <a:pt x="54" y="45"/>
                  <a:pt x="54" y="42"/>
                </a:cubicBezTo>
                <a:cubicBezTo>
                  <a:pt x="54" y="31"/>
                  <a:pt x="63" y="22"/>
                  <a:pt x="75" y="22"/>
                </a:cubicBezTo>
                <a:cubicBezTo>
                  <a:pt x="87" y="22"/>
                  <a:pt x="96" y="31"/>
                  <a:pt x="96" y="42"/>
                </a:cubicBezTo>
                <a:cubicBezTo>
                  <a:pt x="96" y="52"/>
                  <a:pt x="89" y="61"/>
                  <a:pt x="79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2" name="Freeform 57"/>
          <p:cNvSpPr>
            <a:spLocks noEditPoints="1"/>
          </p:cNvSpPr>
          <p:nvPr/>
        </p:nvSpPr>
        <p:spPr bwMode="auto">
          <a:xfrm>
            <a:off x="6451601" y="2201334"/>
            <a:ext cx="317500" cy="285751"/>
          </a:xfrm>
          <a:custGeom>
            <a:avLst/>
            <a:gdLst>
              <a:gd name="T0" fmla="*/ 534938827 w 106"/>
              <a:gd name="T1" fmla="*/ 178121174 h 95"/>
              <a:gd name="T2" fmla="*/ 262422736 w 106"/>
              <a:gd name="T3" fmla="*/ 0 h 95"/>
              <a:gd name="T4" fmla="*/ 0 w 106"/>
              <a:gd name="T5" fmla="*/ 132319102 h 95"/>
              <a:gd name="T6" fmla="*/ 257377182 w 106"/>
              <a:gd name="T7" fmla="*/ 386778567 h 95"/>
              <a:gd name="T8" fmla="*/ 257377182 w 106"/>
              <a:gd name="T9" fmla="*/ 412225416 h 95"/>
              <a:gd name="T10" fmla="*/ 459239788 w 106"/>
              <a:gd name="T11" fmla="*/ 478384967 h 95"/>
              <a:gd name="T12" fmla="*/ 348215130 w 106"/>
              <a:gd name="T13" fmla="*/ 346065865 h 95"/>
              <a:gd name="T14" fmla="*/ 534938827 w 106"/>
              <a:gd name="T15" fmla="*/ 178121174 h 95"/>
              <a:gd name="T16" fmla="*/ 257377182 w 106"/>
              <a:gd name="T17" fmla="*/ 101785139 h 95"/>
              <a:gd name="T18" fmla="*/ 282609446 w 106"/>
              <a:gd name="T19" fmla="*/ 76338291 h 95"/>
              <a:gd name="T20" fmla="*/ 307841710 w 106"/>
              <a:gd name="T21" fmla="*/ 101785139 h 95"/>
              <a:gd name="T22" fmla="*/ 307841710 w 106"/>
              <a:gd name="T23" fmla="*/ 198478653 h 95"/>
              <a:gd name="T24" fmla="*/ 282609446 w 106"/>
              <a:gd name="T25" fmla="*/ 223925502 h 95"/>
              <a:gd name="T26" fmla="*/ 257377182 w 106"/>
              <a:gd name="T27" fmla="*/ 198478653 h 95"/>
              <a:gd name="T28" fmla="*/ 257377182 w 106"/>
              <a:gd name="T29" fmla="*/ 101785139 h 95"/>
              <a:gd name="T30" fmla="*/ 282609446 w 106"/>
              <a:gd name="T31" fmla="*/ 284995683 h 95"/>
              <a:gd name="T32" fmla="*/ 257377182 w 106"/>
              <a:gd name="T33" fmla="*/ 259548834 h 95"/>
              <a:gd name="T34" fmla="*/ 282609446 w 106"/>
              <a:gd name="T35" fmla="*/ 234104242 h 95"/>
              <a:gd name="T36" fmla="*/ 312889511 w 106"/>
              <a:gd name="T37" fmla="*/ 259548834 h 95"/>
              <a:gd name="T38" fmla="*/ 282609446 w 106"/>
              <a:gd name="T39" fmla="*/ 284995683 h 9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06" h="95">
                <a:moveTo>
                  <a:pt x="106" y="35"/>
                </a:moveTo>
                <a:cubicBezTo>
                  <a:pt x="106" y="16"/>
                  <a:pt x="82" y="0"/>
                  <a:pt x="52" y="0"/>
                </a:cubicBezTo>
                <a:cubicBezTo>
                  <a:pt x="27" y="0"/>
                  <a:pt x="6" y="11"/>
                  <a:pt x="0" y="26"/>
                </a:cubicBezTo>
                <a:cubicBezTo>
                  <a:pt x="30" y="34"/>
                  <a:pt x="51" y="53"/>
                  <a:pt x="51" y="76"/>
                </a:cubicBezTo>
                <a:cubicBezTo>
                  <a:pt x="51" y="78"/>
                  <a:pt x="51" y="79"/>
                  <a:pt x="51" y="81"/>
                </a:cubicBezTo>
                <a:cubicBezTo>
                  <a:pt x="71" y="95"/>
                  <a:pt x="91" y="94"/>
                  <a:pt x="91" y="94"/>
                </a:cubicBezTo>
                <a:cubicBezTo>
                  <a:pt x="74" y="88"/>
                  <a:pt x="70" y="75"/>
                  <a:pt x="69" y="68"/>
                </a:cubicBezTo>
                <a:cubicBezTo>
                  <a:pt x="91" y="64"/>
                  <a:pt x="106" y="51"/>
                  <a:pt x="106" y="35"/>
                </a:cubicBezTo>
                <a:close/>
                <a:moveTo>
                  <a:pt x="51" y="20"/>
                </a:moveTo>
                <a:cubicBezTo>
                  <a:pt x="51" y="18"/>
                  <a:pt x="54" y="15"/>
                  <a:pt x="56" y="15"/>
                </a:cubicBezTo>
                <a:cubicBezTo>
                  <a:pt x="59" y="15"/>
                  <a:pt x="61" y="18"/>
                  <a:pt x="61" y="20"/>
                </a:cubicBezTo>
                <a:cubicBezTo>
                  <a:pt x="61" y="39"/>
                  <a:pt x="61" y="39"/>
                  <a:pt x="61" y="39"/>
                </a:cubicBezTo>
                <a:cubicBezTo>
                  <a:pt x="61" y="41"/>
                  <a:pt x="59" y="44"/>
                  <a:pt x="56" y="44"/>
                </a:cubicBezTo>
                <a:cubicBezTo>
                  <a:pt x="54" y="44"/>
                  <a:pt x="51" y="41"/>
                  <a:pt x="51" y="39"/>
                </a:cubicBezTo>
                <a:lnTo>
                  <a:pt x="51" y="20"/>
                </a:lnTo>
                <a:close/>
                <a:moveTo>
                  <a:pt x="56" y="56"/>
                </a:moveTo>
                <a:cubicBezTo>
                  <a:pt x="54" y="56"/>
                  <a:pt x="51" y="54"/>
                  <a:pt x="51" y="51"/>
                </a:cubicBezTo>
                <a:cubicBezTo>
                  <a:pt x="51" y="49"/>
                  <a:pt x="54" y="46"/>
                  <a:pt x="56" y="46"/>
                </a:cubicBezTo>
                <a:cubicBezTo>
                  <a:pt x="59" y="46"/>
                  <a:pt x="62" y="49"/>
                  <a:pt x="62" y="51"/>
                </a:cubicBezTo>
                <a:cubicBezTo>
                  <a:pt x="62" y="54"/>
                  <a:pt x="59" y="56"/>
                  <a:pt x="56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3" name="Freeform 58"/>
          <p:cNvSpPr>
            <a:spLocks noEditPoints="1"/>
          </p:cNvSpPr>
          <p:nvPr/>
        </p:nvSpPr>
        <p:spPr bwMode="auto">
          <a:xfrm>
            <a:off x="6965951" y="2180167"/>
            <a:ext cx="599016" cy="533400"/>
          </a:xfrm>
          <a:custGeom>
            <a:avLst/>
            <a:gdLst>
              <a:gd name="T0" fmla="*/ 1009181723 w 200"/>
              <a:gd name="T1" fmla="*/ 313169478 h 178"/>
              <a:gd name="T2" fmla="*/ 888080905 w 200"/>
              <a:gd name="T3" fmla="*/ 196993160 h 178"/>
              <a:gd name="T4" fmla="*/ 862850351 w 200"/>
              <a:gd name="T5" fmla="*/ 196993160 h 178"/>
              <a:gd name="T6" fmla="*/ 862850351 w 200"/>
              <a:gd name="T7" fmla="*/ 191943091 h 178"/>
              <a:gd name="T8" fmla="*/ 681198000 w 200"/>
              <a:gd name="T9" fmla="*/ 15152456 h 178"/>
              <a:gd name="T10" fmla="*/ 534866628 w 200"/>
              <a:gd name="T11" fmla="*/ 80819090 h 178"/>
              <a:gd name="T12" fmla="*/ 353214277 w 200"/>
              <a:gd name="T13" fmla="*/ 0 h 178"/>
              <a:gd name="T14" fmla="*/ 121100818 w 200"/>
              <a:gd name="T15" fmla="*/ 227300319 h 178"/>
              <a:gd name="T16" fmla="*/ 131193489 w 200"/>
              <a:gd name="T17" fmla="*/ 298017023 h 178"/>
              <a:gd name="T18" fmla="*/ 0 w 200"/>
              <a:gd name="T19" fmla="*/ 449550569 h 178"/>
              <a:gd name="T20" fmla="*/ 156424043 w 200"/>
              <a:gd name="T21" fmla="*/ 601084115 h 178"/>
              <a:gd name="T22" fmla="*/ 216973329 w 200"/>
              <a:gd name="T23" fmla="*/ 590981729 h 178"/>
              <a:gd name="T24" fmla="*/ 302755415 w 200"/>
              <a:gd name="T25" fmla="*/ 671800819 h 178"/>
              <a:gd name="T26" fmla="*/ 307800628 w 200"/>
              <a:gd name="T27" fmla="*/ 671800819 h 178"/>
              <a:gd name="T28" fmla="*/ 368352160 w 200"/>
              <a:gd name="T29" fmla="*/ 722310502 h 178"/>
              <a:gd name="T30" fmla="*/ 423856234 w 200"/>
              <a:gd name="T31" fmla="*/ 661698432 h 178"/>
              <a:gd name="T32" fmla="*/ 388535255 w 200"/>
              <a:gd name="T33" fmla="*/ 616238818 h 178"/>
              <a:gd name="T34" fmla="*/ 393580468 w 200"/>
              <a:gd name="T35" fmla="*/ 585931659 h 178"/>
              <a:gd name="T36" fmla="*/ 393580468 w 200"/>
              <a:gd name="T37" fmla="*/ 580879342 h 178"/>
              <a:gd name="T38" fmla="*/ 444039329 w 200"/>
              <a:gd name="T39" fmla="*/ 590981729 h 178"/>
              <a:gd name="T40" fmla="*/ 464224671 w 200"/>
              <a:gd name="T41" fmla="*/ 590981729 h 178"/>
              <a:gd name="T42" fmla="*/ 489452979 w 200"/>
              <a:gd name="T43" fmla="*/ 661698432 h 178"/>
              <a:gd name="T44" fmla="*/ 449086788 w 200"/>
              <a:gd name="T45" fmla="*/ 712210363 h 178"/>
              <a:gd name="T46" fmla="*/ 499545649 w 200"/>
              <a:gd name="T47" fmla="*/ 762720047 h 178"/>
              <a:gd name="T48" fmla="*/ 550004511 w 200"/>
              <a:gd name="T49" fmla="*/ 707158047 h 178"/>
              <a:gd name="T50" fmla="*/ 550004511 w 200"/>
              <a:gd name="T51" fmla="*/ 702107977 h 178"/>
              <a:gd name="T52" fmla="*/ 590370702 w 200"/>
              <a:gd name="T53" fmla="*/ 707158047 h 178"/>
              <a:gd name="T54" fmla="*/ 716518979 w 200"/>
              <a:gd name="T55" fmla="*/ 585931659 h 178"/>
              <a:gd name="T56" fmla="*/ 766977840 w 200"/>
              <a:gd name="T57" fmla="*/ 590981729 h 178"/>
              <a:gd name="T58" fmla="*/ 893126117 w 200"/>
              <a:gd name="T59" fmla="*/ 469755341 h 178"/>
              <a:gd name="T60" fmla="*/ 883033446 w 200"/>
              <a:gd name="T61" fmla="*/ 424295727 h 178"/>
              <a:gd name="T62" fmla="*/ 888080905 w 200"/>
              <a:gd name="T63" fmla="*/ 424295727 h 178"/>
              <a:gd name="T64" fmla="*/ 1009181723 w 200"/>
              <a:gd name="T65" fmla="*/ 313169478 h 178"/>
              <a:gd name="T66" fmla="*/ 590370702 w 200"/>
              <a:gd name="T67" fmla="*/ 742515275 h 178"/>
              <a:gd name="T68" fmla="*/ 605508585 w 200"/>
              <a:gd name="T69" fmla="*/ 732412888 h 178"/>
              <a:gd name="T70" fmla="*/ 590370702 w 200"/>
              <a:gd name="T71" fmla="*/ 722310502 h 178"/>
              <a:gd name="T72" fmla="*/ 575232818 w 200"/>
              <a:gd name="T73" fmla="*/ 732412888 h 178"/>
              <a:gd name="T74" fmla="*/ 590370702 w 200"/>
              <a:gd name="T75" fmla="*/ 742515275 h 178"/>
              <a:gd name="T76" fmla="*/ 585325489 w 200"/>
              <a:gd name="T77" fmla="*/ 848589206 h 178"/>
              <a:gd name="T78" fmla="*/ 560094935 w 200"/>
              <a:gd name="T79" fmla="*/ 873846296 h 178"/>
              <a:gd name="T80" fmla="*/ 590370702 w 200"/>
              <a:gd name="T81" fmla="*/ 899101138 h 178"/>
              <a:gd name="T82" fmla="*/ 615601256 w 200"/>
              <a:gd name="T83" fmla="*/ 873846296 h 178"/>
              <a:gd name="T84" fmla="*/ 585325489 w 200"/>
              <a:gd name="T85" fmla="*/ 848589206 h 178"/>
              <a:gd name="T86" fmla="*/ 585325489 w 200"/>
              <a:gd name="T87" fmla="*/ 782924820 h 178"/>
              <a:gd name="T88" fmla="*/ 560094935 w 200"/>
              <a:gd name="T89" fmla="*/ 757669978 h 178"/>
              <a:gd name="T90" fmla="*/ 534866628 w 200"/>
              <a:gd name="T91" fmla="*/ 782924820 h 178"/>
              <a:gd name="T92" fmla="*/ 560094935 w 200"/>
              <a:gd name="T93" fmla="*/ 808181909 h 178"/>
              <a:gd name="T94" fmla="*/ 585325489 w 200"/>
              <a:gd name="T95" fmla="*/ 782924820 h 178"/>
              <a:gd name="T96" fmla="*/ 489452979 w 200"/>
              <a:gd name="T97" fmla="*/ 787977137 h 178"/>
              <a:gd name="T98" fmla="*/ 449086788 w 200"/>
              <a:gd name="T99" fmla="*/ 828384434 h 178"/>
              <a:gd name="T100" fmla="*/ 494498191 w 200"/>
              <a:gd name="T101" fmla="*/ 868793979 h 178"/>
              <a:gd name="T102" fmla="*/ 534866628 w 200"/>
              <a:gd name="T103" fmla="*/ 823334365 h 178"/>
              <a:gd name="T104" fmla="*/ 489452979 w 200"/>
              <a:gd name="T105" fmla="*/ 787977137 h 17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00" h="178">
                <a:moveTo>
                  <a:pt x="200" y="62"/>
                </a:moveTo>
                <a:cubicBezTo>
                  <a:pt x="200" y="49"/>
                  <a:pt x="189" y="39"/>
                  <a:pt x="176" y="39"/>
                </a:cubicBezTo>
                <a:cubicBezTo>
                  <a:pt x="174" y="39"/>
                  <a:pt x="172" y="39"/>
                  <a:pt x="171" y="39"/>
                </a:cubicBezTo>
                <a:cubicBezTo>
                  <a:pt x="171" y="39"/>
                  <a:pt x="171" y="38"/>
                  <a:pt x="171" y="38"/>
                </a:cubicBezTo>
                <a:cubicBezTo>
                  <a:pt x="171" y="18"/>
                  <a:pt x="155" y="3"/>
                  <a:pt x="135" y="3"/>
                </a:cubicBezTo>
                <a:cubicBezTo>
                  <a:pt x="123" y="3"/>
                  <a:pt x="113" y="8"/>
                  <a:pt x="106" y="16"/>
                </a:cubicBezTo>
                <a:cubicBezTo>
                  <a:pt x="98" y="6"/>
                  <a:pt x="85" y="0"/>
                  <a:pt x="70" y="0"/>
                </a:cubicBezTo>
                <a:cubicBezTo>
                  <a:pt x="45" y="0"/>
                  <a:pt x="24" y="20"/>
                  <a:pt x="24" y="45"/>
                </a:cubicBezTo>
                <a:cubicBezTo>
                  <a:pt x="24" y="50"/>
                  <a:pt x="25" y="55"/>
                  <a:pt x="26" y="59"/>
                </a:cubicBezTo>
                <a:cubicBezTo>
                  <a:pt x="11" y="62"/>
                  <a:pt x="0" y="74"/>
                  <a:pt x="0" y="89"/>
                </a:cubicBezTo>
                <a:cubicBezTo>
                  <a:pt x="0" y="106"/>
                  <a:pt x="14" y="119"/>
                  <a:pt x="31" y="119"/>
                </a:cubicBezTo>
                <a:cubicBezTo>
                  <a:pt x="36" y="119"/>
                  <a:pt x="39" y="119"/>
                  <a:pt x="43" y="117"/>
                </a:cubicBezTo>
                <a:cubicBezTo>
                  <a:pt x="44" y="126"/>
                  <a:pt x="51" y="133"/>
                  <a:pt x="60" y="133"/>
                </a:cubicBezTo>
                <a:cubicBezTo>
                  <a:pt x="61" y="133"/>
                  <a:pt x="61" y="133"/>
                  <a:pt x="61" y="133"/>
                </a:cubicBezTo>
                <a:cubicBezTo>
                  <a:pt x="62" y="138"/>
                  <a:pt x="67" y="143"/>
                  <a:pt x="73" y="143"/>
                </a:cubicBezTo>
                <a:cubicBezTo>
                  <a:pt x="79" y="143"/>
                  <a:pt x="84" y="137"/>
                  <a:pt x="84" y="131"/>
                </a:cubicBezTo>
                <a:cubicBezTo>
                  <a:pt x="84" y="127"/>
                  <a:pt x="81" y="123"/>
                  <a:pt x="77" y="122"/>
                </a:cubicBezTo>
                <a:cubicBezTo>
                  <a:pt x="78" y="120"/>
                  <a:pt x="78" y="118"/>
                  <a:pt x="78" y="116"/>
                </a:cubicBezTo>
                <a:cubicBezTo>
                  <a:pt x="78" y="115"/>
                  <a:pt x="78" y="115"/>
                  <a:pt x="78" y="115"/>
                </a:cubicBezTo>
                <a:cubicBezTo>
                  <a:pt x="81" y="116"/>
                  <a:pt x="84" y="117"/>
                  <a:pt x="88" y="117"/>
                </a:cubicBezTo>
                <a:cubicBezTo>
                  <a:pt x="89" y="117"/>
                  <a:pt x="90" y="117"/>
                  <a:pt x="92" y="117"/>
                </a:cubicBezTo>
                <a:cubicBezTo>
                  <a:pt x="92" y="122"/>
                  <a:pt x="94" y="127"/>
                  <a:pt x="97" y="131"/>
                </a:cubicBezTo>
                <a:cubicBezTo>
                  <a:pt x="92" y="132"/>
                  <a:pt x="88" y="136"/>
                  <a:pt x="89" y="141"/>
                </a:cubicBezTo>
                <a:cubicBezTo>
                  <a:pt x="89" y="146"/>
                  <a:pt x="93" y="151"/>
                  <a:pt x="99" y="151"/>
                </a:cubicBezTo>
                <a:cubicBezTo>
                  <a:pt x="105" y="150"/>
                  <a:pt x="109" y="146"/>
                  <a:pt x="109" y="140"/>
                </a:cubicBezTo>
                <a:cubicBezTo>
                  <a:pt x="109" y="140"/>
                  <a:pt x="109" y="139"/>
                  <a:pt x="109" y="139"/>
                </a:cubicBezTo>
                <a:cubicBezTo>
                  <a:pt x="111" y="140"/>
                  <a:pt x="114" y="140"/>
                  <a:pt x="117" y="140"/>
                </a:cubicBezTo>
                <a:cubicBezTo>
                  <a:pt x="131" y="140"/>
                  <a:pt x="142" y="129"/>
                  <a:pt x="142" y="116"/>
                </a:cubicBezTo>
                <a:cubicBezTo>
                  <a:pt x="145" y="117"/>
                  <a:pt x="148" y="117"/>
                  <a:pt x="152" y="117"/>
                </a:cubicBezTo>
                <a:cubicBezTo>
                  <a:pt x="166" y="117"/>
                  <a:pt x="177" y="106"/>
                  <a:pt x="177" y="93"/>
                </a:cubicBezTo>
                <a:cubicBezTo>
                  <a:pt x="177" y="90"/>
                  <a:pt x="176" y="87"/>
                  <a:pt x="175" y="84"/>
                </a:cubicBezTo>
                <a:cubicBezTo>
                  <a:pt x="176" y="84"/>
                  <a:pt x="176" y="84"/>
                  <a:pt x="176" y="84"/>
                </a:cubicBezTo>
                <a:cubicBezTo>
                  <a:pt x="189" y="84"/>
                  <a:pt x="200" y="74"/>
                  <a:pt x="200" y="62"/>
                </a:cubicBezTo>
                <a:close/>
                <a:moveTo>
                  <a:pt x="117" y="147"/>
                </a:moveTo>
                <a:cubicBezTo>
                  <a:pt x="119" y="147"/>
                  <a:pt x="120" y="146"/>
                  <a:pt x="120" y="145"/>
                </a:cubicBezTo>
                <a:cubicBezTo>
                  <a:pt x="120" y="144"/>
                  <a:pt x="118" y="142"/>
                  <a:pt x="117" y="143"/>
                </a:cubicBezTo>
                <a:cubicBezTo>
                  <a:pt x="116" y="143"/>
                  <a:pt x="114" y="144"/>
                  <a:pt x="114" y="145"/>
                </a:cubicBezTo>
                <a:cubicBezTo>
                  <a:pt x="115" y="146"/>
                  <a:pt x="116" y="148"/>
                  <a:pt x="117" y="147"/>
                </a:cubicBezTo>
                <a:close/>
                <a:moveTo>
                  <a:pt x="116" y="168"/>
                </a:moveTo>
                <a:cubicBezTo>
                  <a:pt x="113" y="168"/>
                  <a:pt x="111" y="170"/>
                  <a:pt x="111" y="173"/>
                </a:cubicBezTo>
                <a:cubicBezTo>
                  <a:pt x="111" y="176"/>
                  <a:pt x="114" y="178"/>
                  <a:pt x="117" y="178"/>
                </a:cubicBezTo>
                <a:cubicBezTo>
                  <a:pt x="120" y="178"/>
                  <a:pt x="122" y="175"/>
                  <a:pt x="122" y="173"/>
                </a:cubicBezTo>
                <a:cubicBezTo>
                  <a:pt x="122" y="170"/>
                  <a:pt x="119" y="167"/>
                  <a:pt x="116" y="168"/>
                </a:cubicBezTo>
                <a:close/>
                <a:moveTo>
                  <a:pt x="116" y="155"/>
                </a:moveTo>
                <a:cubicBezTo>
                  <a:pt x="116" y="152"/>
                  <a:pt x="114" y="150"/>
                  <a:pt x="111" y="150"/>
                </a:cubicBezTo>
                <a:cubicBezTo>
                  <a:pt x="108" y="150"/>
                  <a:pt x="106" y="152"/>
                  <a:pt x="106" y="155"/>
                </a:cubicBezTo>
                <a:cubicBezTo>
                  <a:pt x="106" y="158"/>
                  <a:pt x="108" y="161"/>
                  <a:pt x="111" y="160"/>
                </a:cubicBezTo>
                <a:cubicBezTo>
                  <a:pt x="114" y="160"/>
                  <a:pt x="117" y="158"/>
                  <a:pt x="116" y="155"/>
                </a:cubicBezTo>
                <a:close/>
                <a:moveTo>
                  <a:pt x="97" y="156"/>
                </a:moveTo>
                <a:cubicBezTo>
                  <a:pt x="92" y="156"/>
                  <a:pt x="89" y="159"/>
                  <a:pt x="89" y="164"/>
                </a:cubicBezTo>
                <a:cubicBezTo>
                  <a:pt x="89" y="168"/>
                  <a:pt x="93" y="172"/>
                  <a:pt x="98" y="172"/>
                </a:cubicBezTo>
                <a:cubicBezTo>
                  <a:pt x="102" y="172"/>
                  <a:pt x="106" y="168"/>
                  <a:pt x="106" y="163"/>
                </a:cubicBezTo>
                <a:cubicBezTo>
                  <a:pt x="106" y="159"/>
                  <a:pt x="102" y="155"/>
                  <a:pt x="97" y="1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4" name="Freeform 59"/>
          <p:cNvSpPr>
            <a:spLocks/>
          </p:cNvSpPr>
          <p:nvPr/>
        </p:nvSpPr>
        <p:spPr bwMode="auto">
          <a:xfrm>
            <a:off x="7806267" y="2368551"/>
            <a:ext cx="196851" cy="169333"/>
          </a:xfrm>
          <a:custGeom>
            <a:avLst/>
            <a:gdLst>
              <a:gd name="T0" fmla="*/ 0 w 93"/>
              <a:gd name="T1" fmla="*/ 0 h 80"/>
              <a:gd name="T2" fmla="*/ 80645273 w 93"/>
              <a:gd name="T3" fmla="*/ 196572188 h 80"/>
              <a:gd name="T4" fmla="*/ 115927580 w 93"/>
              <a:gd name="T5" fmla="*/ 110886875 h 80"/>
              <a:gd name="T6" fmla="*/ 151209887 w 93"/>
              <a:gd name="T7" fmla="*/ 201612500 h 80"/>
              <a:gd name="T8" fmla="*/ 234374531 w 93"/>
              <a:gd name="T9" fmla="*/ 5040313 h 80"/>
              <a:gd name="T10" fmla="*/ 201613183 w 93"/>
              <a:gd name="T11" fmla="*/ 5040313 h 80"/>
              <a:gd name="T12" fmla="*/ 151209887 w 93"/>
              <a:gd name="T13" fmla="*/ 126007813 h 80"/>
              <a:gd name="T14" fmla="*/ 115927580 w 93"/>
              <a:gd name="T15" fmla="*/ 40322500 h 80"/>
              <a:gd name="T16" fmla="*/ 80645273 w 93"/>
              <a:gd name="T17" fmla="*/ 123488450 h 80"/>
              <a:gd name="T18" fmla="*/ 30241977 w 93"/>
              <a:gd name="T19" fmla="*/ 0 h 80"/>
              <a:gd name="T20" fmla="*/ 0 w 93"/>
              <a:gd name="T21" fmla="*/ 0 h 8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93" h="80">
                <a:moveTo>
                  <a:pt x="0" y="0"/>
                </a:moveTo>
                <a:lnTo>
                  <a:pt x="32" y="78"/>
                </a:lnTo>
                <a:lnTo>
                  <a:pt x="46" y="44"/>
                </a:lnTo>
                <a:lnTo>
                  <a:pt x="60" y="80"/>
                </a:lnTo>
                <a:lnTo>
                  <a:pt x="93" y="2"/>
                </a:lnTo>
                <a:lnTo>
                  <a:pt x="80" y="2"/>
                </a:lnTo>
                <a:lnTo>
                  <a:pt x="60" y="50"/>
                </a:lnTo>
                <a:lnTo>
                  <a:pt x="46" y="16"/>
                </a:lnTo>
                <a:lnTo>
                  <a:pt x="32" y="49"/>
                </a:lnTo>
                <a:lnTo>
                  <a:pt x="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5" name="Freeform 60"/>
          <p:cNvSpPr>
            <a:spLocks/>
          </p:cNvSpPr>
          <p:nvPr/>
        </p:nvSpPr>
        <p:spPr bwMode="auto">
          <a:xfrm>
            <a:off x="8231718" y="2368551"/>
            <a:ext cx="196849" cy="169333"/>
          </a:xfrm>
          <a:custGeom>
            <a:avLst/>
            <a:gdLst>
              <a:gd name="T0" fmla="*/ 0 w 93"/>
              <a:gd name="T1" fmla="*/ 0 h 80"/>
              <a:gd name="T2" fmla="*/ 80644727 w 93"/>
              <a:gd name="T3" fmla="*/ 196572188 h 80"/>
              <a:gd name="T4" fmla="*/ 113405853 w 93"/>
              <a:gd name="T5" fmla="*/ 110886875 h 80"/>
              <a:gd name="T6" fmla="*/ 153728217 w 93"/>
              <a:gd name="T7" fmla="*/ 201612500 h 80"/>
              <a:gd name="T8" fmla="*/ 234372944 w 93"/>
              <a:gd name="T9" fmla="*/ 5040313 h 80"/>
              <a:gd name="T10" fmla="*/ 201611817 w 93"/>
              <a:gd name="T11" fmla="*/ 5040313 h 80"/>
              <a:gd name="T12" fmla="*/ 153728217 w 93"/>
              <a:gd name="T13" fmla="*/ 126007813 h 80"/>
              <a:gd name="T14" fmla="*/ 115926795 w 93"/>
              <a:gd name="T15" fmla="*/ 40322500 h 80"/>
              <a:gd name="T16" fmla="*/ 80644727 w 93"/>
              <a:gd name="T17" fmla="*/ 123488450 h 80"/>
              <a:gd name="T18" fmla="*/ 30241773 w 93"/>
              <a:gd name="T19" fmla="*/ 0 h 80"/>
              <a:gd name="T20" fmla="*/ 0 w 93"/>
              <a:gd name="T21" fmla="*/ 0 h 8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93" h="80">
                <a:moveTo>
                  <a:pt x="0" y="0"/>
                </a:moveTo>
                <a:lnTo>
                  <a:pt x="32" y="78"/>
                </a:lnTo>
                <a:lnTo>
                  <a:pt x="45" y="44"/>
                </a:lnTo>
                <a:lnTo>
                  <a:pt x="61" y="80"/>
                </a:lnTo>
                <a:lnTo>
                  <a:pt x="93" y="2"/>
                </a:lnTo>
                <a:lnTo>
                  <a:pt x="80" y="2"/>
                </a:lnTo>
                <a:lnTo>
                  <a:pt x="61" y="50"/>
                </a:lnTo>
                <a:lnTo>
                  <a:pt x="46" y="16"/>
                </a:lnTo>
                <a:lnTo>
                  <a:pt x="32" y="49"/>
                </a:lnTo>
                <a:lnTo>
                  <a:pt x="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6" name="Freeform 61"/>
          <p:cNvSpPr>
            <a:spLocks/>
          </p:cNvSpPr>
          <p:nvPr/>
        </p:nvSpPr>
        <p:spPr bwMode="auto">
          <a:xfrm>
            <a:off x="7975601" y="2328333"/>
            <a:ext cx="285751" cy="239184"/>
          </a:xfrm>
          <a:custGeom>
            <a:avLst/>
            <a:gdLst>
              <a:gd name="T0" fmla="*/ 0 w 135"/>
              <a:gd name="T1" fmla="*/ 0 h 113"/>
              <a:gd name="T2" fmla="*/ 118446826 w 135"/>
              <a:gd name="T3" fmla="*/ 277217960 h 113"/>
              <a:gd name="T4" fmla="*/ 168850069 w 135"/>
              <a:gd name="T5" fmla="*/ 156250123 h 113"/>
              <a:gd name="T6" fmla="*/ 221774267 w 135"/>
              <a:gd name="T7" fmla="*/ 284779244 h 113"/>
              <a:gd name="T8" fmla="*/ 340221094 w 135"/>
              <a:gd name="T9" fmla="*/ 2520957 h 113"/>
              <a:gd name="T10" fmla="*/ 297379131 w 135"/>
              <a:gd name="T11" fmla="*/ 2520957 h 113"/>
              <a:gd name="T12" fmla="*/ 221774267 w 135"/>
              <a:gd name="T13" fmla="*/ 176411429 h 113"/>
              <a:gd name="T14" fmla="*/ 168850069 w 135"/>
              <a:gd name="T15" fmla="*/ 55443592 h 113"/>
              <a:gd name="T16" fmla="*/ 120967782 w 135"/>
              <a:gd name="T17" fmla="*/ 171371103 h 113"/>
              <a:gd name="T18" fmla="*/ 50403243 w 135"/>
              <a:gd name="T19" fmla="*/ 0 h 113"/>
              <a:gd name="T20" fmla="*/ 0 w 135"/>
              <a:gd name="T21" fmla="*/ 0 h 11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35" h="113">
                <a:moveTo>
                  <a:pt x="0" y="0"/>
                </a:moveTo>
                <a:lnTo>
                  <a:pt x="47" y="110"/>
                </a:lnTo>
                <a:lnTo>
                  <a:pt x="67" y="62"/>
                </a:lnTo>
                <a:lnTo>
                  <a:pt x="88" y="113"/>
                </a:lnTo>
                <a:lnTo>
                  <a:pt x="135" y="1"/>
                </a:lnTo>
                <a:lnTo>
                  <a:pt x="118" y="1"/>
                </a:lnTo>
                <a:lnTo>
                  <a:pt x="88" y="70"/>
                </a:lnTo>
                <a:lnTo>
                  <a:pt x="67" y="22"/>
                </a:lnTo>
                <a:lnTo>
                  <a:pt x="48" y="68"/>
                </a:lnTo>
                <a:lnTo>
                  <a:pt x="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7" name="Freeform 62"/>
          <p:cNvSpPr>
            <a:spLocks noEditPoints="1"/>
          </p:cNvSpPr>
          <p:nvPr/>
        </p:nvSpPr>
        <p:spPr bwMode="auto">
          <a:xfrm>
            <a:off x="8824384" y="2332568"/>
            <a:ext cx="330200" cy="370417"/>
          </a:xfrm>
          <a:custGeom>
            <a:avLst/>
            <a:gdLst>
              <a:gd name="T0" fmla="*/ 0 w 156"/>
              <a:gd name="T1" fmla="*/ 0 h 175"/>
              <a:gd name="T2" fmla="*/ 80645000 w 156"/>
              <a:gd name="T3" fmla="*/ 441028931 h 175"/>
              <a:gd name="T4" fmla="*/ 320060638 w 156"/>
              <a:gd name="T5" fmla="*/ 441028931 h 175"/>
              <a:gd name="T6" fmla="*/ 393144375 w 156"/>
              <a:gd name="T7" fmla="*/ 0 h 175"/>
              <a:gd name="T8" fmla="*/ 0 w 156"/>
              <a:gd name="T9" fmla="*/ 0 h 175"/>
              <a:gd name="T10" fmla="*/ 93246575 w 156"/>
              <a:gd name="T11" fmla="*/ 423387012 h 175"/>
              <a:gd name="T12" fmla="*/ 25201563 w 156"/>
              <a:gd name="T13" fmla="*/ 22682241 h 175"/>
              <a:gd name="T14" fmla="*/ 60483750 w 156"/>
              <a:gd name="T15" fmla="*/ 22682241 h 175"/>
              <a:gd name="T16" fmla="*/ 113407825 w 156"/>
              <a:gd name="T17" fmla="*/ 423387012 h 175"/>
              <a:gd name="T18" fmla="*/ 93246575 w 156"/>
              <a:gd name="T19" fmla="*/ 423387012 h 175"/>
              <a:gd name="T20" fmla="*/ 131048125 w 156"/>
              <a:gd name="T21" fmla="*/ 423387012 h 175"/>
              <a:gd name="T22" fmla="*/ 85685313 w 156"/>
              <a:gd name="T23" fmla="*/ 22682241 h 175"/>
              <a:gd name="T24" fmla="*/ 120967500 w 156"/>
              <a:gd name="T25" fmla="*/ 22682241 h 175"/>
              <a:gd name="T26" fmla="*/ 153730325 w 156"/>
              <a:gd name="T27" fmla="*/ 423387012 h 175"/>
              <a:gd name="T28" fmla="*/ 131048125 w 156"/>
              <a:gd name="T29" fmla="*/ 423387012 h 175"/>
              <a:gd name="T30" fmla="*/ 171370625 w 156"/>
              <a:gd name="T31" fmla="*/ 423387012 h 175"/>
              <a:gd name="T32" fmla="*/ 146169063 w 156"/>
              <a:gd name="T33" fmla="*/ 22682241 h 175"/>
              <a:gd name="T34" fmla="*/ 181451250 w 156"/>
              <a:gd name="T35" fmla="*/ 22682241 h 175"/>
              <a:gd name="T36" fmla="*/ 189012513 w 156"/>
              <a:gd name="T37" fmla="*/ 423387012 h 175"/>
              <a:gd name="T38" fmla="*/ 171370625 w 156"/>
              <a:gd name="T39" fmla="*/ 423387012 h 175"/>
              <a:gd name="T40" fmla="*/ 229335013 w 156"/>
              <a:gd name="T41" fmla="*/ 423387012 h 175"/>
              <a:gd name="T42" fmla="*/ 206652813 w 156"/>
              <a:gd name="T43" fmla="*/ 423387012 h 175"/>
              <a:gd name="T44" fmla="*/ 206652813 w 156"/>
              <a:gd name="T45" fmla="*/ 22682241 h 175"/>
              <a:gd name="T46" fmla="*/ 241935000 w 156"/>
              <a:gd name="T47" fmla="*/ 22682241 h 175"/>
              <a:gd name="T48" fmla="*/ 229335013 w 156"/>
              <a:gd name="T49" fmla="*/ 423387012 h 175"/>
              <a:gd name="T50" fmla="*/ 246975313 w 156"/>
              <a:gd name="T51" fmla="*/ 423387012 h 175"/>
              <a:gd name="T52" fmla="*/ 269657513 w 156"/>
              <a:gd name="T53" fmla="*/ 22682241 h 175"/>
              <a:gd name="T54" fmla="*/ 302418750 w 156"/>
              <a:gd name="T55" fmla="*/ 22682241 h 175"/>
              <a:gd name="T56" fmla="*/ 267136563 w 156"/>
              <a:gd name="T57" fmla="*/ 423387012 h 175"/>
              <a:gd name="T58" fmla="*/ 246975313 w 156"/>
              <a:gd name="T59" fmla="*/ 423387012 h 175"/>
              <a:gd name="T60" fmla="*/ 307459063 w 156"/>
              <a:gd name="T61" fmla="*/ 423387012 h 175"/>
              <a:gd name="T62" fmla="*/ 284778450 w 156"/>
              <a:gd name="T63" fmla="*/ 423387012 h 175"/>
              <a:gd name="T64" fmla="*/ 332660625 w 156"/>
              <a:gd name="T65" fmla="*/ 22682241 h 175"/>
              <a:gd name="T66" fmla="*/ 362902500 w 156"/>
              <a:gd name="T67" fmla="*/ 22682241 h 175"/>
              <a:gd name="T68" fmla="*/ 307459063 w 156"/>
              <a:gd name="T69" fmla="*/ 423387012 h 17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56" h="175">
                <a:moveTo>
                  <a:pt x="0" y="0"/>
                </a:moveTo>
                <a:lnTo>
                  <a:pt x="32" y="175"/>
                </a:lnTo>
                <a:lnTo>
                  <a:pt x="127" y="175"/>
                </a:lnTo>
                <a:lnTo>
                  <a:pt x="156" y="0"/>
                </a:lnTo>
                <a:lnTo>
                  <a:pt x="0" y="0"/>
                </a:lnTo>
                <a:close/>
                <a:moveTo>
                  <a:pt x="37" y="168"/>
                </a:moveTo>
                <a:lnTo>
                  <a:pt x="10" y="9"/>
                </a:lnTo>
                <a:lnTo>
                  <a:pt x="24" y="9"/>
                </a:lnTo>
                <a:lnTo>
                  <a:pt x="45" y="168"/>
                </a:lnTo>
                <a:lnTo>
                  <a:pt x="37" y="168"/>
                </a:lnTo>
                <a:close/>
                <a:moveTo>
                  <a:pt x="52" y="168"/>
                </a:moveTo>
                <a:lnTo>
                  <a:pt x="34" y="9"/>
                </a:lnTo>
                <a:lnTo>
                  <a:pt x="48" y="9"/>
                </a:lnTo>
                <a:lnTo>
                  <a:pt x="61" y="168"/>
                </a:lnTo>
                <a:lnTo>
                  <a:pt x="52" y="168"/>
                </a:lnTo>
                <a:close/>
                <a:moveTo>
                  <a:pt x="68" y="168"/>
                </a:moveTo>
                <a:lnTo>
                  <a:pt x="58" y="9"/>
                </a:lnTo>
                <a:lnTo>
                  <a:pt x="72" y="9"/>
                </a:lnTo>
                <a:lnTo>
                  <a:pt x="75" y="168"/>
                </a:lnTo>
                <a:lnTo>
                  <a:pt x="68" y="168"/>
                </a:lnTo>
                <a:close/>
                <a:moveTo>
                  <a:pt x="91" y="168"/>
                </a:moveTo>
                <a:lnTo>
                  <a:pt x="82" y="168"/>
                </a:lnTo>
                <a:lnTo>
                  <a:pt x="82" y="9"/>
                </a:lnTo>
                <a:lnTo>
                  <a:pt x="96" y="9"/>
                </a:lnTo>
                <a:lnTo>
                  <a:pt x="91" y="168"/>
                </a:lnTo>
                <a:close/>
                <a:moveTo>
                  <a:pt x="98" y="168"/>
                </a:moveTo>
                <a:lnTo>
                  <a:pt x="107" y="9"/>
                </a:lnTo>
                <a:lnTo>
                  <a:pt x="120" y="9"/>
                </a:lnTo>
                <a:lnTo>
                  <a:pt x="106" y="168"/>
                </a:lnTo>
                <a:lnTo>
                  <a:pt x="98" y="168"/>
                </a:lnTo>
                <a:close/>
                <a:moveTo>
                  <a:pt x="122" y="168"/>
                </a:moveTo>
                <a:lnTo>
                  <a:pt x="113" y="168"/>
                </a:lnTo>
                <a:lnTo>
                  <a:pt x="132" y="9"/>
                </a:lnTo>
                <a:lnTo>
                  <a:pt x="144" y="9"/>
                </a:lnTo>
                <a:lnTo>
                  <a:pt x="122" y="1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8" name="Freeform 63"/>
          <p:cNvSpPr>
            <a:spLocks noEditPoints="1"/>
          </p:cNvSpPr>
          <p:nvPr/>
        </p:nvSpPr>
        <p:spPr bwMode="auto">
          <a:xfrm>
            <a:off x="8877300" y="2142068"/>
            <a:ext cx="281517" cy="182033"/>
          </a:xfrm>
          <a:custGeom>
            <a:avLst/>
            <a:gdLst>
              <a:gd name="T0" fmla="*/ 474245148 w 94"/>
              <a:gd name="T1" fmla="*/ 305558617 h 61"/>
              <a:gd name="T2" fmla="*/ 343070050 w 94"/>
              <a:gd name="T3" fmla="*/ 130238136 h 61"/>
              <a:gd name="T4" fmla="*/ 343070050 w 94"/>
              <a:gd name="T5" fmla="*/ 125229235 h 61"/>
              <a:gd name="T6" fmla="*/ 358206848 w 94"/>
              <a:gd name="T7" fmla="*/ 110202532 h 61"/>
              <a:gd name="T8" fmla="*/ 353161997 w 94"/>
              <a:gd name="T9" fmla="*/ 65117949 h 61"/>
              <a:gd name="T10" fmla="*/ 262347950 w 94"/>
              <a:gd name="T11" fmla="*/ 10017802 h 61"/>
              <a:gd name="T12" fmla="*/ 216942049 w 94"/>
              <a:gd name="T13" fmla="*/ 25046742 h 61"/>
              <a:gd name="T14" fmla="*/ 206852348 w 94"/>
              <a:gd name="T15" fmla="*/ 40073445 h 61"/>
              <a:gd name="T16" fmla="*/ 206852348 w 94"/>
              <a:gd name="T17" fmla="*/ 45082345 h 61"/>
              <a:gd name="T18" fmla="*/ 0 w 94"/>
              <a:gd name="T19" fmla="*/ 5008901 h 61"/>
              <a:gd name="T20" fmla="*/ 474245148 w 94"/>
              <a:gd name="T21" fmla="*/ 305558617 h 61"/>
              <a:gd name="T22" fmla="*/ 227031750 w 94"/>
              <a:gd name="T23" fmla="*/ 40073445 h 61"/>
              <a:gd name="T24" fmla="*/ 262347950 w 94"/>
              <a:gd name="T25" fmla="*/ 30055643 h 61"/>
              <a:gd name="T26" fmla="*/ 332980349 w 94"/>
              <a:gd name="T27" fmla="*/ 70129088 h 61"/>
              <a:gd name="T28" fmla="*/ 332980349 w 94"/>
              <a:gd name="T29" fmla="*/ 110202532 h 61"/>
              <a:gd name="T30" fmla="*/ 327935499 w 94"/>
              <a:gd name="T31" fmla="*/ 120220334 h 61"/>
              <a:gd name="T32" fmla="*/ 221986899 w 94"/>
              <a:gd name="T33" fmla="*/ 55100147 h 61"/>
              <a:gd name="T34" fmla="*/ 227031750 w 94"/>
              <a:gd name="T35" fmla="*/ 40073445 h 61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94" h="61">
                <a:moveTo>
                  <a:pt x="94" y="61"/>
                </a:moveTo>
                <a:cubicBezTo>
                  <a:pt x="94" y="61"/>
                  <a:pt x="87" y="42"/>
                  <a:pt x="68" y="26"/>
                </a:cubicBezTo>
                <a:cubicBezTo>
                  <a:pt x="68" y="26"/>
                  <a:pt x="68" y="25"/>
                  <a:pt x="68" y="25"/>
                </a:cubicBezTo>
                <a:cubicBezTo>
                  <a:pt x="71" y="22"/>
                  <a:pt x="71" y="22"/>
                  <a:pt x="71" y="22"/>
                </a:cubicBezTo>
                <a:cubicBezTo>
                  <a:pt x="73" y="19"/>
                  <a:pt x="72" y="14"/>
                  <a:pt x="70" y="13"/>
                </a:cubicBezTo>
                <a:cubicBezTo>
                  <a:pt x="52" y="2"/>
                  <a:pt x="52" y="2"/>
                  <a:pt x="52" y="2"/>
                </a:cubicBezTo>
                <a:cubicBezTo>
                  <a:pt x="49" y="0"/>
                  <a:pt x="45" y="1"/>
                  <a:pt x="43" y="5"/>
                </a:cubicBezTo>
                <a:cubicBezTo>
                  <a:pt x="41" y="8"/>
                  <a:pt x="41" y="8"/>
                  <a:pt x="41" y="8"/>
                </a:cubicBezTo>
                <a:cubicBezTo>
                  <a:pt x="41" y="8"/>
                  <a:pt x="41" y="9"/>
                  <a:pt x="41" y="9"/>
                </a:cubicBezTo>
                <a:cubicBezTo>
                  <a:pt x="29" y="5"/>
                  <a:pt x="16" y="2"/>
                  <a:pt x="0" y="1"/>
                </a:cubicBezTo>
                <a:lnTo>
                  <a:pt x="94" y="61"/>
                </a:lnTo>
                <a:close/>
                <a:moveTo>
                  <a:pt x="45" y="8"/>
                </a:moveTo>
                <a:cubicBezTo>
                  <a:pt x="47" y="6"/>
                  <a:pt x="50" y="5"/>
                  <a:pt x="52" y="6"/>
                </a:cubicBezTo>
                <a:cubicBezTo>
                  <a:pt x="66" y="14"/>
                  <a:pt x="66" y="14"/>
                  <a:pt x="66" y="14"/>
                </a:cubicBezTo>
                <a:cubicBezTo>
                  <a:pt x="68" y="16"/>
                  <a:pt x="68" y="19"/>
                  <a:pt x="66" y="22"/>
                </a:cubicBezTo>
                <a:cubicBezTo>
                  <a:pt x="65" y="24"/>
                  <a:pt x="65" y="24"/>
                  <a:pt x="65" y="24"/>
                </a:cubicBezTo>
                <a:cubicBezTo>
                  <a:pt x="59" y="19"/>
                  <a:pt x="52" y="14"/>
                  <a:pt x="44" y="11"/>
                </a:cubicBezTo>
                <a:lnTo>
                  <a:pt x="45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29" name="Freeform 64"/>
          <p:cNvSpPr>
            <a:spLocks noEditPoints="1"/>
          </p:cNvSpPr>
          <p:nvPr/>
        </p:nvSpPr>
        <p:spPr bwMode="auto">
          <a:xfrm>
            <a:off x="9677401" y="2286001"/>
            <a:ext cx="378884" cy="419100"/>
          </a:xfrm>
          <a:custGeom>
            <a:avLst/>
            <a:gdLst>
              <a:gd name="T0" fmla="*/ 0 w 179"/>
              <a:gd name="T1" fmla="*/ 0 h 198"/>
              <a:gd name="T2" fmla="*/ 98285473 w 179"/>
              <a:gd name="T3" fmla="*/ 498990938 h 198"/>
              <a:gd name="T4" fmla="*/ 367943460 w 179"/>
              <a:gd name="T5" fmla="*/ 498990938 h 198"/>
              <a:gd name="T6" fmla="*/ 451107969 w 179"/>
              <a:gd name="T7" fmla="*/ 0 h 198"/>
              <a:gd name="T8" fmla="*/ 0 w 179"/>
              <a:gd name="T9" fmla="*/ 0 h 198"/>
              <a:gd name="T10" fmla="*/ 108366116 w 179"/>
              <a:gd name="T11" fmla="*/ 478829688 h 198"/>
              <a:gd name="T12" fmla="*/ 32761295 w 179"/>
              <a:gd name="T13" fmla="*/ 25201563 h 198"/>
              <a:gd name="T14" fmla="*/ 68043545 w 179"/>
              <a:gd name="T15" fmla="*/ 25201563 h 198"/>
              <a:gd name="T16" fmla="*/ 133567723 w 179"/>
              <a:gd name="T17" fmla="*/ 478829688 h 198"/>
              <a:gd name="T18" fmla="*/ 108366116 w 179"/>
              <a:gd name="T19" fmla="*/ 478829688 h 198"/>
              <a:gd name="T20" fmla="*/ 153729008 w 179"/>
              <a:gd name="T21" fmla="*/ 478829688 h 198"/>
              <a:gd name="T22" fmla="*/ 100806427 w 179"/>
              <a:gd name="T23" fmla="*/ 25201563 h 198"/>
              <a:gd name="T24" fmla="*/ 141128998 w 179"/>
              <a:gd name="T25" fmla="*/ 25201563 h 198"/>
              <a:gd name="T26" fmla="*/ 176411248 w 179"/>
              <a:gd name="T27" fmla="*/ 478829688 h 198"/>
              <a:gd name="T28" fmla="*/ 153729008 w 179"/>
              <a:gd name="T29" fmla="*/ 478829688 h 198"/>
              <a:gd name="T30" fmla="*/ 196572533 w 179"/>
              <a:gd name="T31" fmla="*/ 478829688 h 198"/>
              <a:gd name="T32" fmla="*/ 171370927 w 179"/>
              <a:gd name="T33" fmla="*/ 25201563 h 198"/>
              <a:gd name="T34" fmla="*/ 206653176 w 179"/>
              <a:gd name="T35" fmla="*/ 25201563 h 198"/>
              <a:gd name="T36" fmla="*/ 221774140 w 179"/>
              <a:gd name="T37" fmla="*/ 478829688 h 198"/>
              <a:gd name="T38" fmla="*/ 196572533 w 179"/>
              <a:gd name="T39" fmla="*/ 478829688 h 198"/>
              <a:gd name="T40" fmla="*/ 264616078 w 179"/>
              <a:gd name="T41" fmla="*/ 478829688 h 198"/>
              <a:gd name="T42" fmla="*/ 239414471 w 179"/>
              <a:gd name="T43" fmla="*/ 478829688 h 198"/>
              <a:gd name="T44" fmla="*/ 239414471 w 179"/>
              <a:gd name="T45" fmla="*/ 25201563 h 198"/>
              <a:gd name="T46" fmla="*/ 279737042 w 179"/>
              <a:gd name="T47" fmla="*/ 25201563 h 198"/>
              <a:gd name="T48" fmla="*/ 264616078 w 179"/>
              <a:gd name="T49" fmla="*/ 478829688 h 198"/>
              <a:gd name="T50" fmla="*/ 282257997 w 179"/>
              <a:gd name="T51" fmla="*/ 478829688 h 198"/>
              <a:gd name="T52" fmla="*/ 309978970 w 179"/>
              <a:gd name="T53" fmla="*/ 25201563 h 198"/>
              <a:gd name="T54" fmla="*/ 347782174 w 179"/>
              <a:gd name="T55" fmla="*/ 25201563 h 198"/>
              <a:gd name="T56" fmla="*/ 307459603 w 179"/>
              <a:gd name="T57" fmla="*/ 478829688 h 198"/>
              <a:gd name="T58" fmla="*/ 282257997 w 179"/>
              <a:gd name="T59" fmla="*/ 478829688 h 198"/>
              <a:gd name="T60" fmla="*/ 350301541 w 179"/>
              <a:gd name="T61" fmla="*/ 478829688 h 198"/>
              <a:gd name="T62" fmla="*/ 330140256 w 179"/>
              <a:gd name="T63" fmla="*/ 478829688 h 198"/>
              <a:gd name="T64" fmla="*/ 378024103 w 179"/>
              <a:gd name="T65" fmla="*/ 25201563 h 198"/>
              <a:gd name="T66" fmla="*/ 418346674 w 179"/>
              <a:gd name="T67" fmla="*/ 25201563 h 198"/>
              <a:gd name="T68" fmla="*/ 350301541 w 179"/>
              <a:gd name="T69" fmla="*/ 478829688 h 19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79" h="198">
                <a:moveTo>
                  <a:pt x="0" y="0"/>
                </a:moveTo>
                <a:lnTo>
                  <a:pt x="39" y="198"/>
                </a:lnTo>
                <a:lnTo>
                  <a:pt x="146" y="198"/>
                </a:lnTo>
                <a:lnTo>
                  <a:pt x="179" y="0"/>
                </a:lnTo>
                <a:lnTo>
                  <a:pt x="0" y="0"/>
                </a:lnTo>
                <a:close/>
                <a:moveTo>
                  <a:pt x="43" y="190"/>
                </a:moveTo>
                <a:lnTo>
                  <a:pt x="13" y="10"/>
                </a:lnTo>
                <a:lnTo>
                  <a:pt x="27" y="10"/>
                </a:lnTo>
                <a:lnTo>
                  <a:pt x="53" y="190"/>
                </a:lnTo>
                <a:lnTo>
                  <a:pt x="43" y="190"/>
                </a:lnTo>
                <a:close/>
                <a:moveTo>
                  <a:pt x="61" y="190"/>
                </a:moveTo>
                <a:lnTo>
                  <a:pt x="40" y="10"/>
                </a:lnTo>
                <a:lnTo>
                  <a:pt x="56" y="10"/>
                </a:lnTo>
                <a:lnTo>
                  <a:pt x="70" y="190"/>
                </a:lnTo>
                <a:lnTo>
                  <a:pt x="61" y="190"/>
                </a:lnTo>
                <a:close/>
                <a:moveTo>
                  <a:pt x="78" y="190"/>
                </a:moveTo>
                <a:lnTo>
                  <a:pt x="68" y="10"/>
                </a:lnTo>
                <a:lnTo>
                  <a:pt x="82" y="10"/>
                </a:lnTo>
                <a:lnTo>
                  <a:pt x="88" y="190"/>
                </a:lnTo>
                <a:lnTo>
                  <a:pt x="78" y="190"/>
                </a:lnTo>
                <a:close/>
                <a:moveTo>
                  <a:pt x="105" y="190"/>
                </a:moveTo>
                <a:lnTo>
                  <a:pt x="95" y="190"/>
                </a:lnTo>
                <a:lnTo>
                  <a:pt x="95" y="10"/>
                </a:lnTo>
                <a:lnTo>
                  <a:pt x="111" y="10"/>
                </a:lnTo>
                <a:lnTo>
                  <a:pt x="105" y="190"/>
                </a:lnTo>
                <a:close/>
                <a:moveTo>
                  <a:pt x="112" y="190"/>
                </a:moveTo>
                <a:lnTo>
                  <a:pt x="123" y="10"/>
                </a:lnTo>
                <a:lnTo>
                  <a:pt x="138" y="10"/>
                </a:lnTo>
                <a:lnTo>
                  <a:pt x="122" y="190"/>
                </a:lnTo>
                <a:lnTo>
                  <a:pt x="112" y="190"/>
                </a:lnTo>
                <a:close/>
                <a:moveTo>
                  <a:pt x="139" y="190"/>
                </a:moveTo>
                <a:lnTo>
                  <a:pt x="131" y="190"/>
                </a:lnTo>
                <a:lnTo>
                  <a:pt x="150" y="10"/>
                </a:lnTo>
                <a:lnTo>
                  <a:pt x="166" y="10"/>
                </a:lnTo>
                <a:lnTo>
                  <a:pt x="139" y="1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30" name="Freeform 65"/>
          <p:cNvSpPr>
            <a:spLocks noEditPoints="1"/>
          </p:cNvSpPr>
          <p:nvPr/>
        </p:nvSpPr>
        <p:spPr bwMode="auto">
          <a:xfrm>
            <a:off x="9675285" y="2165351"/>
            <a:ext cx="383116" cy="93133"/>
          </a:xfrm>
          <a:custGeom>
            <a:avLst/>
            <a:gdLst>
              <a:gd name="T0" fmla="*/ 645019934 w 128"/>
              <a:gd name="T1" fmla="*/ 157387823 h 31"/>
              <a:gd name="T2" fmla="*/ 403138301 w 128"/>
              <a:gd name="T3" fmla="*/ 71078008 h 31"/>
              <a:gd name="T4" fmla="*/ 403138301 w 128"/>
              <a:gd name="T5" fmla="*/ 60924973 h 31"/>
              <a:gd name="T6" fmla="*/ 408175677 w 128"/>
              <a:gd name="T7" fmla="*/ 40616648 h 31"/>
              <a:gd name="T8" fmla="*/ 372902816 w 128"/>
              <a:gd name="T9" fmla="*/ 0 h 31"/>
              <a:gd name="T10" fmla="*/ 251960877 w 128"/>
              <a:gd name="T11" fmla="*/ 0 h 31"/>
              <a:gd name="T12" fmla="*/ 221725392 w 128"/>
              <a:gd name="T13" fmla="*/ 40616648 h 31"/>
              <a:gd name="T14" fmla="*/ 221725392 w 128"/>
              <a:gd name="T15" fmla="*/ 60924973 h 31"/>
              <a:gd name="T16" fmla="*/ 221725392 w 128"/>
              <a:gd name="T17" fmla="*/ 71078008 h 31"/>
              <a:gd name="T18" fmla="*/ 0 w 128"/>
              <a:gd name="T19" fmla="*/ 157387823 h 31"/>
              <a:gd name="T20" fmla="*/ 645019934 w 128"/>
              <a:gd name="T21" fmla="*/ 157387823 h 31"/>
              <a:gd name="T22" fmla="*/ 241881633 w 128"/>
              <a:gd name="T23" fmla="*/ 50769684 h 31"/>
              <a:gd name="T24" fmla="*/ 267077497 w 128"/>
              <a:gd name="T25" fmla="*/ 20308324 h 31"/>
              <a:gd name="T26" fmla="*/ 357783951 w 128"/>
              <a:gd name="T27" fmla="*/ 20308324 h 31"/>
              <a:gd name="T28" fmla="*/ 382979814 w 128"/>
              <a:gd name="T29" fmla="*/ 50769684 h 31"/>
              <a:gd name="T30" fmla="*/ 382979814 w 128"/>
              <a:gd name="T31" fmla="*/ 66001490 h 31"/>
              <a:gd name="T32" fmla="*/ 241881633 w 128"/>
              <a:gd name="T33" fmla="*/ 66001490 h 31"/>
              <a:gd name="T34" fmla="*/ 241881633 w 128"/>
              <a:gd name="T35" fmla="*/ 50769684 h 31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28" h="31">
                <a:moveTo>
                  <a:pt x="128" y="31"/>
                </a:moveTo>
                <a:cubicBezTo>
                  <a:pt x="128" y="31"/>
                  <a:pt x="109" y="18"/>
                  <a:pt x="80" y="14"/>
                </a:cubicBezTo>
                <a:cubicBezTo>
                  <a:pt x="80" y="13"/>
                  <a:pt x="80" y="13"/>
                  <a:pt x="80" y="12"/>
                </a:cubicBezTo>
                <a:cubicBezTo>
                  <a:pt x="81" y="8"/>
                  <a:pt x="81" y="8"/>
                  <a:pt x="81" y="8"/>
                </a:cubicBezTo>
                <a:cubicBezTo>
                  <a:pt x="81" y="4"/>
                  <a:pt x="78" y="0"/>
                  <a:pt x="74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46" y="0"/>
                  <a:pt x="43" y="4"/>
                  <a:pt x="44" y="8"/>
                </a:cubicBezTo>
                <a:cubicBezTo>
                  <a:pt x="44" y="12"/>
                  <a:pt x="44" y="12"/>
                  <a:pt x="44" y="12"/>
                </a:cubicBezTo>
                <a:cubicBezTo>
                  <a:pt x="44" y="13"/>
                  <a:pt x="44" y="14"/>
                  <a:pt x="44" y="14"/>
                </a:cubicBezTo>
                <a:cubicBezTo>
                  <a:pt x="30" y="16"/>
                  <a:pt x="15" y="22"/>
                  <a:pt x="0" y="31"/>
                </a:cubicBezTo>
                <a:lnTo>
                  <a:pt x="128" y="31"/>
                </a:lnTo>
                <a:close/>
                <a:moveTo>
                  <a:pt x="48" y="10"/>
                </a:moveTo>
                <a:cubicBezTo>
                  <a:pt x="48" y="7"/>
                  <a:pt x="50" y="4"/>
                  <a:pt x="53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4" y="4"/>
                  <a:pt x="76" y="7"/>
                  <a:pt x="76" y="10"/>
                </a:cubicBezTo>
                <a:cubicBezTo>
                  <a:pt x="76" y="13"/>
                  <a:pt x="76" y="13"/>
                  <a:pt x="76" y="13"/>
                </a:cubicBezTo>
                <a:cubicBezTo>
                  <a:pt x="68" y="12"/>
                  <a:pt x="58" y="12"/>
                  <a:pt x="48" y="13"/>
                </a:cubicBezTo>
                <a:lnTo>
                  <a:pt x="48" y="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31" name="Freeform 66"/>
          <p:cNvSpPr>
            <a:spLocks/>
          </p:cNvSpPr>
          <p:nvPr/>
        </p:nvSpPr>
        <p:spPr bwMode="auto">
          <a:xfrm>
            <a:off x="10483851" y="2224618"/>
            <a:ext cx="330200" cy="285749"/>
          </a:xfrm>
          <a:custGeom>
            <a:avLst/>
            <a:gdLst>
              <a:gd name="T0" fmla="*/ 466313693 w 110"/>
              <a:gd name="T1" fmla="*/ 147586523 h 95"/>
              <a:gd name="T2" fmla="*/ 557550205 w 110"/>
              <a:gd name="T3" fmla="*/ 86516626 h 95"/>
              <a:gd name="T4" fmla="*/ 334530123 w 110"/>
              <a:gd name="T5" fmla="*/ 86516626 h 95"/>
              <a:gd name="T6" fmla="*/ 268637212 w 110"/>
              <a:gd name="T7" fmla="*/ 0 h 95"/>
              <a:gd name="T8" fmla="*/ 106442221 w 110"/>
              <a:gd name="T9" fmla="*/ 0 h 95"/>
              <a:gd name="T10" fmla="*/ 5067820 w 110"/>
              <a:gd name="T11" fmla="*/ 101784665 h 95"/>
              <a:gd name="T12" fmla="*/ 0 w 110"/>
              <a:gd name="T13" fmla="*/ 483472081 h 95"/>
              <a:gd name="T14" fmla="*/ 415628744 w 110"/>
              <a:gd name="T15" fmla="*/ 483472081 h 95"/>
              <a:gd name="T16" fmla="*/ 466313693 w 110"/>
              <a:gd name="T17" fmla="*/ 147586523 h 9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10" h="95">
                <a:moveTo>
                  <a:pt x="92" y="29"/>
                </a:moveTo>
                <a:cubicBezTo>
                  <a:pt x="98" y="23"/>
                  <a:pt x="104" y="19"/>
                  <a:pt x="110" y="17"/>
                </a:cubicBezTo>
                <a:cubicBezTo>
                  <a:pt x="66" y="17"/>
                  <a:pt x="66" y="17"/>
                  <a:pt x="66" y="17"/>
                </a:cubicBezTo>
                <a:cubicBezTo>
                  <a:pt x="53" y="0"/>
                  <a:pt x="53" y="0"/>
                  <a:pt x="53" y="0"/>
                </a:cubicBezTo>
                <a:cubicBezTo>
                  <a:pt x="53" y="0"/>
                  <a:pt x="35" y="0"/>
                  <a:pt x="21" y="0"/>
                </a:cubicBezTo>
                <a:cubicBezTo>
                  <a:pt x="7" y="0"/>
                  <a:pt x="1" y="3"/>
                  <a:pt x="1" y="20"/>
                </a:cubicBezTo>
                <a:cubicBezTo>
                  <a:pt x="1" y="38"/>
                  <a:pt x="0" y="95"/>
                  <a:pt x="0" y="95"/>
                </a:cubicBezTo>
                <a:cubicBezTo>
                  <a:pt x="82" y="95"/>
                  <a:pt x="82" y="95"/>
                  <a:pt x="82" y="95"/>
                </a:cubicBezTo>
                <a:cubicBezTo>
                  <a:pt x="70" y="74"/>
                  <a:pt x="74" y="47"/>
                  <a:pt x="92" y="2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32" name="Freeform 67"/>
          <p:cNvSpPr>
            <a:spLocks noEditPoints="1"/>
          </p:cNvSpPr>
          <p:nvPr/>
        </p:nvSpPr>
        <p:spPr bwMode="auto">
          <a:xfrm>
            <a:off x="10733617" y="2281767"/>
            <a:ext cx="302683" cy="298451"/>
          </a:xfrm>
          <a:custGeom>
            <a:avLst/>
            <a:gdLst>
              <a:gd name="T0" fmla="*/ 419306898 w 101"/>
              <a:gd name="T1" fmla="*/ 92017767 h 99"/>
              <a:gd name="T2" fmla="*/ 90935163 w 101"/>
              <a:gd name="T3" fmla="*/ 92017767 h 99"/>
              <a:gd name="T4" fmla="*/ 90935163 w 101"/>
              <a:gd name="T5" fmla="*/ 414077690 h 99"/>
              <a:gd name="T6" fmla="*/ 419306898 w 101"/>
              <a:gd name="T7" fmla="*/ 414077690 h 99"/>
              <a:gd name="T8" fmla="*/ 419306898 w 101"/>
              <a:gd name="T9" fmla="*/ 92017767 h 99"/>
              <a:gd name="T10" fmla="*/ 141453200 w 101"/>
              <a:gd name="T11" fmla="*/ 362956708 h 99"/>
              <a:gd name="T12" fmla="*/ 141453200 w 101"/>
              <a:gd name="T13" fmla="*/ 138026650 h 99"/>
              <a:gd name="T14" fmla="*/ 368788861 w 101"/>
              <a:gd name="T15" fmla="*/ 138026650 h 99"/>
              <a:gd name="T16" fmla="*/ 368788861 w 101"/>
              <a:gd name="T17" fmla="*/ 362956708 h 99"/>
              <a:gd name="T18" fmla="*/ 141453200 w 101"/>
              <a:gd name="T19" fmla="*/ 362956708 h 9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01" h="99">
                <a:moveTo>
                  <a:pt x="83" y="18"/>
                </a:moveTo>
                <a:cubicBezTo>
                  <a:pt x="65" y="0"/>
                  <a:pt x="36" y="0"/>
                  <a:pt x="18" y="18"/>
                </a:cubicBezTo>
                <a:cubicBezTo>
                  <a:pt x="0" y="35"/>
                  <a:pt x="0" y="63"/>
                  <a:pt x="18" y="81"/>
                </a:cubicBezTo>
                <a:cubicBezTo>
                  <a:pt x="36" y="99"/>
                  <a:pt x="65" y="99"/>
                  <a:pt x="83" y="81"/>
                </a:cubicBezTo>
                <a:cubicBezTo>
                  <a:pt x="101" y="63"/>
                  <a:pt x="101" y="35"/>
                  <a:pt x="83" y="18"/>
                </a:cubicBezTo>
                <a:close/>
                <a:moveTo>
                  <a:pt x="28" y="71"/>
                </a:moveTo>
                <a:cubicBezTo>
                  <a:pt x="16" y="59"/>
                  <a:pt x="16" y="39"/>
                  <a:pt x="28" y="27"/>
                </a:cubicBezTo>
                <a:cubicBezTo>
                  <a:pt x="41" y="15"/>
                  <a:pt x="61" y="15"/>
                  <a:pt x="73" y="27"/>
                </a:cubicBezTo>
                <a:cubicBezTo>
                  <a:pt x="86" y="39"/>
                  <a:pt x="86" y="59"/>
                  <a:pt x="73" y="71"/>
                </a:cubicBezTo>
                <a:cubicBezTo>
                  <a:pt x="61" y="84"/>
                  <a:pt x="41" y="84"/>
                  <a:pt x="28" y="7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33" name="Freeform 68"/>
          <p:cNvSpPr>
            <a:spLocks noEditPoints="1"/>
          </p:cNvSpPr>
          <p:nvPr/>
        </p:nvSpPr>
        <p:spPr bwMode="auto">
          <a:xfrm>
            <a:off x="10585451" y="2531533"/>
            <a:ext cx="194733" cy="188384"/>
          </a:xfrm>
          <a:custGeom>
            <a:avLst/>
            <a:gdLst>
              <a:gd name="T0" fmla="*/ 307967771 w 65"/>
              <a:gd name="T1" fmla="*/ 15088661 h 63"/>
              <a:gd name="T2" fmla="*/ 242335148 w 65"/>
              <a:gd name="T3" fmla="*/ 15088661 h 63"/>
              <a:gd name="T4" fmla="*/ 237286312 w 65"/>
              <a:gd name="T5" fmla="*/ 20118963 h 63"/>
              <a:gd name="T6" fmla="*/ 307967771 w 65"/>
              <a:gd name="T7" fmla="*/ 85501667 h 63"/>
              <a:gd name="T8" fmla="*/ 307967771 w 65"/>
              <a:gd name="T9" fmla="*/ 80473608 h 63"/>
              <a:gd name="T10" fmla="*/ 307967771 w 65"/>
              <a:gd name="T11" fmla="*/ 15088661 h 63"/>
              <a:gd name="T12" fmla="*/ 20195345 w 65"/>
              <a:gd name="T13" fmla="*/ 231360221 h 63"/>
              <a:gd name="T14" fmla="*/ 20195345 w 65"/>
              <a:gd name="T15" fmla="*/ 296742925 h 63"/>
              <a:gd name="T16" fmla="*/ 85827968 w 65"/>
              <a:gd name="T17" fmla="*/ 296742925 h 63"/>
              <a:gd name="T18" fmla="*/ 282725837 w 65"/>
              <a:gd name="T19" fmla="*/ 105620629 h 63"/>
              <a:gd name="T20" fmla="*/ 217093214 w 65"/>
              <a:gd name="T21" fmla="*/ 40235683 h 63"/>
              <a:gd name="T22" fmla="*/ 20195345 w 65"/>
              <a:gd name="T23" fmla="*/ 231360221 h 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5" h="63">
                <a:moveTo>
                  <a:pt x="61" y="3"/>
                </a:moveTo>
                <a:cubicBezTo>
                  <a:pt x="58" y="0"/>
                  <a:pt x="52" y="0"/>
                  <a:pt x="48" y="3"/>
                </a:cubicBezTo>
                <a:cubicBezTo>
                  <a:pt x="47" y="4"/>
                  <a:pt x="47" y="4"/>
                  <a:pt x="47" y="4"/>
                </a:cubicBezTo>
                <a:cubicBezTo>
                  <a:pt x="61" y="17"/>
                  <a:pt x="61" y="17"/>
                  <a:pt x="61" y="17"/>
                </a:cubicBezTo>
                <a:cubicBezTo>
                  <a:pt x="61" y="16"/>
                  <a:pt x="61" y="16"/>
                  <a:pt x="61" y="16"/>
                </a:cubicBezTo>
                <a:cubicBezTo>
                  <a:pt x="65" y="13"/>
                  <a:pt x="65" y="7"/>
                  <a:pt x="61" y="3"/>
                </a:cubicBezTo>
                <a:close/>
                <a:moveTo>
                  <a:pt x="4" y="46"/>
                </a:moveTo>
                <a:cubicBezTo>
                  <a:pt x="0" y="50"/>
                  <a:pt x="0" y="55"/>
                  <a:pt x="4" y="59"/>
                </a:cubicBezTo>
                <a:cubicBezTo>
                  <a:pt x="8" y="63"/>
                  <a:pt x="14" y="63"/>
                  <a:pt x="17" y="59"/>
                </a:cubicBezTo>
                <a:cubicBezTo>
                  <a:pt x="56" y="21"/>
                  <a:pt x="56" y="21"/>
                  <a:pt x="56" y="21"/>
                </a:cubicBezTo>
                <a:cubicBezTo>
                  <a:pt x="43" y="8"/>
                  <a:pt x="43" y="8"/>
                  <a:pt x="43" y="8"/>
                </a:cubicBezTo>
                <a:lnTo>
                  <a:pt x="4" y="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34" name="Freeform 69"/>
          <p:cNvSpPr>
            <a:spLocks/>
          </p:cNvSpPr>
          <p:nvPr/>
        </p:nvSpPr>
        <p:spPr bwMode="auto">
          <a:xfrm>
            <a:off x="1238251" y="3041651"/>
            <a:ext cx="266700" cy="332316"/>
          </a:xfrm>
          <a:custGeom>
            <a:avLst/>
            <a:gdLst>
              <a:gd name="T0" fmla="*/ 158770638 w 126"/>
              <a:gd name="T1" fmla="*/ 395664531 h 157"/>
              <a:gd name="T2" fmla="*/ 0 w 126"/>
              <a:gd name="T3" fmla="*/ 178931529 h 157"/>
              <a:gd name="T4" fmla="*/ 88206263 w 126"/>
              <a:gd name="T5" fmla="*/ 178931529 h 157"/>
              <a:gd name="T6" fmla="*/ 88206263 w 126"/>
              <a:gd name="T7" fmla="*/ 0 h 157"/>
              <a:gd name="T8" fmla="*/ 231854375 w 126"/>
              <a:gd name="T9" fmla="*/ 0 h 157"/>
              <a:gd name="T10" fmla="*/ 231854375 w 126"/>
              <a:gd name="T11" fmla="*/ 178931529 h 157"/>
              <a:gd name="T12" fmla="*/ 317539688 w 126"/>
              <a:gd name="T13" fmla="*/ 178931529 h 157"/>
              <a:gd name="T14" fmla="*/ 158770638 w 126"/>
              <a:gd name="T15" fmla="*/ 395664531 h 157"/>
              <a:gd name="T16" fmla="*/ 158770638 w 126"/>
              <a:gd name="T17" fmla="*/ 395664531 h 15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6" h="157">
                <a:moveTo>
                  <a:pt x="63" y="157"/>
                </a:moveTo>
                <a:lnTo>
                  <a:pt x="0" y="71"/>
                </a:lnTo>
                <a:lnTo>
                  <a:pt x="35" y="71"/>
                </a:lnTo>
                <a:lnTo>
                  <a:pt x="35" y="0"/>
                </a:lnTo>
                <a:lnTo>
                  <a:pt x="92" y="0"/>
                </a:lnTo>
                <a:lnTo>
                  <a:pt x="92" y="71"/>
                </a:lnTo>
                <a:lnTo>
                  <a:pt x="126" y="71"/>
                </a:lnTo>
                <a:lnTo>
                  <a:pt x="63" y="1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35" name="Freeform 70"/>
          <p:cNvSpPr>
            <a:spLocks/>
          </p:cNvSpPr>
          <p:nvPr/>
        </p:nvSpPr>
        <p:spPr bwMode="auto">
          <a:xfrm>
            <a:off x="1157818" y="3325284"/>
            <a:ext cx="425449" cy="135467"/>
          </a:xfrm>
          <a:custGeom>
            <a:avLst/>
            <a:gdLst>
              <a:gd name="T0" fmla="*/ 506549819 w 201"/>
              <a:gd name="T1" fmla="*/ 0 h 64"/>
              <a:gd name="T2" fmla="*/ 448587110 w 201"/>
              <a:gd name="T3" fmla="*/ 0 h 64"/>
              <a:gd name="T4" fmla="*/ 448587110 w 201"/>
              <a:gd name="T5" fmla="*/ 108367513 h 64"/>
              <a:gd name="T6" fmla="*/ 55443351 w 201"/>
              <a:gd name="T7" fmla="*/ 108367513 h 64"/>
              <a:gd name="T8" fmla="*/ 55443351 w 201"/>
              <a:gd name="T9" fmla="*/ 0 h 64"/>
              <a:gd name="T10" fmla="*/ 0 w 201"/>
              <a:gd name="T11" fmla="*/ 0 h 64"/>
              <a:gd name="T12" fmla="*/ 0 w 201"/>
              <a:gd name="T13" fmla="*/ 161290000 h 64"/>
              <a:gd name="T14" fmla="*/ 506549819 w 201"/>
              <a:gd name="T15" fmla="*/ 161290000 h 64"/>
              <a:gd name="T16" fmla="*/ 506549819 w 201"/>
              <a:gd name="T17" fmla="*/ 0 h 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1" h="64">
                <a:moveTo>
                  <a:pt x="201" y="0"/>
                </a:moveTo>
                <a:lnTo>
                  <a:pt x="178" y="0"/>
                </a:lnTo>
                <a:lnTo>
                  <a:pt x="178" y="43"/>
                </a:lnTo>
                <a:lnTo>
                  <a:pt x="22" y="43"/>
                </a:lnTo>
                <a:lnTo>
                  <a:pt x="22" y="0"/>
                </a:lnTo>
                <a:lnTo>
                  <a:pt x="0" y="0"/>
                </a:lnTo>
                <a:lnTo>
                  <a:pt x="0" y="64"/>
                </a:lnTo>
                <a:lnTo>
                  <a:pt x="201" y="64"/>
                </a:lnTo>
                <a:lnTo>
                  <a:pt x="20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36" name="Freeform 71"/>
          <p:cNvSpPr>
            <a:spLocks noEditPoints="1"/>
          </p:cNvSpPr>
          <p:nvPr/>
        </p:nvSpPr>
        <p:spPr bwMode="auto">
          <a:xfrm>
            <a:off x="2082800" y="3031068"/>
            <a:ext cx="442384" cy="243417"/>
          </a:xfrm>
          <a:custGeom>
            <a:avLst/>
            <a:gdLst>
              <a:gd name="T0" fmla="*/ 376926861 w 148"/>
              <a:gd name="T1" fmla="*/ 5080210 h 81"/>
              <a:gd name="T2" fmla="*/ 0 w 148"/>
              <a:gd name="T3" fmla="*/ 198116917 h 81"/>
              <a:gd name="T4" fmla="*/ 366876823 w 148"/>
              <a:gd name="T5" fmla="*/ 406392000 h 81"/>
              <a:gd name="T6" fmla="*/ 738777544 w 148"/>
              <a:gd name="T7" fmla="*/ 213355293 h 81"/>
              <a:gd name="T8" fmla="*/ 376926861 w 148"/>
              <a:gd name="T9" fmla="*/ 5080210 h 81"/>
              <a:gd name="T10" fmla="*/ 80411512 w 148"/>
              <a:gd name="T11" fmla="*/ 152397282 h 81"/>
              <a:gd name="T12" fmla="*/ 196001519 w 148"/>
              <a:gd name="T13" fmla="*/ 121918276 h 81"/>
              <a:gd name="T14" fmla="*/ 256310714 w 148"/>
              <a:gd name="T15" fmla="*/ 187956497 h 81"/>
              <a:gd name="T16" fmla="*/ 135694567 w 148"/>
              <a:gd name="T17" fmla="*/ 213355293 h 81"/>
              <a:gd name="T18" fmla="*/ 80411512 w 148"/>
              <a:gd name="T19" fmla="*/ 152397282 h 81"/>
              <a:gd name="T20" fmla="*/ 316619908 w 148"/>
              <a:gd name="T21" fmla="*/ 330193359 h 81"/>
              <a:gd name="T22" fmla="*/ 185951481 w 148"/>
              <a:gd name="T23" fmla="*/ 340353779 h 81"/>
              <a:gd name="T24" fmla="*/ 170873062 w 148"/>
              <a:gd name="T25" fmla="*/ 269235348 h 81"/>
              <a:gd name="T26" fmla="*/ 296515349 w 148"/>
              <a:gd name="T27" fmla="*/ 259074928 h 81"/>
              <a:gd name="T28" fmla="*/ 316619908 w 148"/>
              <a:gd name="T29" fmla="*/ 330193359 h 81"/>
              <a:gd name="T30" fmla="*/ 371902963 w 148"/>
              <a:gd name="T31" fmla="*/ 142236862 h 81"/>
              <a:gd name="T32" fmla="*/ 281439171 w 148"/>
              <a:gd name="T33" fmla="*/ 91439270 h 81"/>
              <a:gd name="T34" fmla="*/ 371902963 w 148"/>
              <a:gd name="T35" fmla="*/ 45719635 h 81"/>
              <a:gd name="T36" fmla="*/ 462364512 w 148"/>
              <a:gd name="T37" fmla="*/ 96517227 h 81"/>
              <a:gd name="T38" fmla="*/ 371902963 w 148"/>
              <a:gd name="T39" fmla="*/ 142236862 h 81"/>
              <a:gd name="T40" fmla="*/ 547802164 w 148"/>
              <a:gd name="T41" fmla="*/ 345433989 h 81"/>
              <a:gd name="T42" fmla="*/ 417133738 w 148"/>
              <a:gd name="T43" fmla="*/ 335273569 h 81"/>
              <a:gd name="T44" fmla="*/ 442262195 w 148"/>
              <a:gd name="T45" fmla="*/ 264155138 h 81"/>
              <a:gd name="T46" fmla="*/ 567904482 w 148"/>
              <a:gd name="T47" fmla="*/ 279395768 h 81"/>
              <a:gd name="T48" fmla="*/ 547802164 w 148"/>
              <a:gd name="T49" fmla="*/ 345433989 h 81"/>
              <a:gd name="T50" fmla="*/ 603082977 w 148"/>
              <a:gd name="T51" fmla="*/ 223515712 h 81"/>
              <a:gd name="T52" fmla="*/ 487492970 w 148"/>
              <a:gd name="T53" fmla="*/ 193036707 h 81"/>
              <a:gd name="T54" fmla="*/ 547802164 w 148"/>
              <a:gd name="T55" fmla="*/ 132076442 h 81"/>
              <a:gd name="T56" fmla="*/ 663392172 w 148"/>
              <a:gd name="T57" fmla="*/ 162557701 h 81"/>
              <a:gd name="T58" fmla="*/ 603082977 w 148"/>
              <a:gd name="T59" fmla="*/ 223515712 h 81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48" h="81">
                <a:moveTo>
                  <a:pt x="75" y="1"/>
                </a:moveTo>
                <a:cubicBezTo>
                  <a:pt x="34" y="0"/>
                  <a:pt x="1" y="17"/>
                  <a:pt x="0" y="39"/>
                </a:cubicBezTo>
                <a:cubicBezTo>
                  <a:pt x="0" y="61"/>
                  <a:pt x="32" y="79"/>
                  <a:pt x="73" y="80"/>
                </a:cubicBezTo>
                <a:cubicBezTo>
                  <a:pt x="114" y="81"/>
                  <a:pt x="147" y="64"/>
                  <a:pt x="147" y="42"/>
                </a:cubicBezTo>
                <a:cubicBezTo>
                  <a:pt x="148" y="20"/>
                  <a:pt x="115" y="2"/>
                  <a:pt x="75" y="1"/>
                </a:cubicBezTo>
                <a:close/>
                <a:moveTo>
                  <a:pt x="16" y="30"/>
                </a:moveTo>
                <a:cubicBezTo>
                  <a:pt x="19" y="25"/>
                  <a:pt x="30" y="22"/>
                  <a:pt x="39" y="24"/>
                </a:cubicBezTo>
                <a:cubicBezTo>
                  <a:pt x="49" y="26"/>
                  <a:pt x="54" y="32"/>
                  <a:pt x="51" y="37"/>
                </a:cubicBezTo>
                <a:cubicBezTo>
                  <a:pt x="47" y="42"/>
                  <a:pt x="37" y="44"/>
                  <a:pt x="27" y="42"/>
                </a:cubicBezTo>
                <a:cubicBezTo>
                  <a:pt x="18" y="40"/>
                  <a:pt x="13" y="35"/>
                  <a:pt x="16" y="30"/>
                </a:cubicBezTo>
                <a:close/>
                <a:moveTo>
                  <a:pt x="63" y="65"/>
                </a:moveTo>
                <a:cubicBezTo>
                  <a:pt x="57" y="69"/>
                  <a:pt x="45" y="70"/>
                  <a:pt x="37" y="67"/>
                </a:cubicBezTo>
                <a:cubicBezTo>
                  <a:pt x="29" y="63"/>
                  <a:pt x="28" y="57"/>
                  <a:pt x="34" y="53"/>
                </a:cubicBezTo>
                <a:cubicBezTo>
                  <a:pt x="40" y="49"/>
                  <a:pt x="51" y="48"/>
                  <a:pt x="59" y="51"/>
                </a:cubicBezTo>
                <a:cubicBezTo>
                  <a:pt x="67" y="55"/>
                  <a:pt x="69" y="61"/>
                  <a:pt x="63" y="65"/>
                </a:cubicBezTo>
                <a:close/>
                <a:moveTo>
                  <a:pt x="74" y="28"/>
                </a:moveTo>
                <a:cubicBezTo>
                  <a:pt x="64" y="28"/>
                  <a:pt x="56" y="23"/>
                  <a:pt x="56" y="18"/>
                </a:cubicBezTo>
                <a:cubicBezTo>
                  <a:pt x="56" y="13"/>
                  <a:pt x="64" y="8"/>
                  <a:pt x="74" y="9"/>
                </a:cubicBezTo>
                <a:cubicBezTo>
                  <a:pt x="84" y="9"/>
                  <a:pt x="92" y="13"/>
                  <a:pt x="92" y="19"/>
                </a:cubicBezTo>
                <a:cubicBezTo>
                  <a:pt x="92" y="24"/>
                  <a:pt x="84" y="28"/>
                  <a:pt x="74" y="28"/>
                </a:cubicBezTo>
                <a:close/>
                <a:moveTo>
                  <a:pt x="109" y="68"/>
                </a:moveTo>
                <a:cubicBezTo>
                  <a:pt x="100" y="71"/>
                  <a:pt x="89" y="70"/>
                  <a:pt x="83" y="66"/>
                </a:cubicBezTo>
                <a:cubicBezTo>
                  <a:pt x="78" y="61"/>
                  <a:pt x="79" y="55"/>
                  <a:pt x="88" y="52"/>
                </a:cubicBezTo>
                <a:cubicBezTo>
                  <a:pt x="96" y="49"/>
                  <a:pt x="107" y="50"/>
                  <a:pt x="113" y="55"/>
                </a:cubicBezTo>
                <a:cubicBezTo>
                  <a:pt x="119" y="59"/>
                  <a:pt x="117" y="65"/>
                  <a:pt x="109" y="68"/>
                </a:cubicBezTo>
                <a:close/>
                <a:moveTo>
                  <a:pt x="120" y="44"/>
                </a:moveTo>
                <a:cubicBezTo>
                  <a:pt x="110" y="46"/>
                  <a:pt x="100" y="43"/>
                  <a:pt x="97" y="38"/>
                </a:cubicBezTo>
                <a:cubicBezTo>
                  <a:pt x="94" y="33"/>
                  <a:pt x="99" y="27"/>
                  <a:pt x="109" y="26"/>
                </a:cubicBezTo>
                <a:cubicBezTo>
                  <a:pt x="118" y="24"/>
                  <a:pt x="129" y="27"/>
                  <a:pt x="132" y="32"/>
                </a:cubicBezTo>
                <a:cubicBezTo>
                  <a:pt x="135" y="38"/>
                  <a:pt x="129" y="43"/>
                  <a:pt x="120" y="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37" name="Freeform 72"/>
          <p:cNvSpPr>
            <a:spLocks noEditPoints="1"/>
          </p:cNvSpPr>
          <p:nvPr/>
        </p:nvSpPr>
        <p:spPr bwMode="auto">
          <a:xfrm>
            <a:off x="1915585" y="3191934"/>
            <a:ext cx="594783" cy="275167"/>
          </a:xfrm>
          <a:custGeom>
            <a:avLst/>
            <a:gdLst>
              <a:gd name="T0" fmla="*/ 999967897 w 199"/>
              <a:gd name="T1" fmla="*/ 125799022 h 92"/>
              <a:gd name="T2" fmla="*/ 999967897 w 199"/>
              <a:gd name="T3" fmla="*/ 125799022 h 92"/>
              <a:gd name="T4" fmla="*/ 999967897 w 199"/>
              <a:gd name="T5" fmla="*/ 95607705 h 92"/>
              <a:gd name="T6" fmla="*/ 628119637 w 199"/>
              <a:gd name="T7" fmla="*/ 186183898 h 92"/>
              <a:gd name="T8" fmla="*/ 5025764 w 199"/>
              <a:gd name="T9" fmla="*/ 241535019 h 92"/>
              <a:gd name="T10" fmla="*/ 5025764 w 199"/>
              <a:gd name="T11" fmla="*/ 301917652 h 92"/>
              <a:gd name="T12" fmla="*/ 105525354 w 199"/>
              <a:gd name="T13" fmla="*/ 181150143 h 92"/>
              <a:gd name="T14" fmla="*/ 100499590 w 199"/>
              <a:gd name="T15" fmla="*/ 317014432 h 92"/>
              <a:gd name="T16" fmla="*/ 5025764 w 199"/>
              <a:gd name="T17" fmla="*/ 422685162 h 92"/>
              <a:gd name="T18" fmla="*/ 0 w 199"/>
              <a:gd name="T19" fmla="*/ 462941746 h 92"/>
              <a:gd name="T20" fmla="*/ 623096115 w 199"/>
              <a:gd name="T21" fmla="*/ 407590625 h 92"/>
              <a:gd name="T22" fmla="*/ 994942133 w 199"/>
              <a:gd name="T23" fmla="*/ 317014432 h 92"/>
              <a:gd name="T24" fmla="*/ 999967897 w 199"/>
              <a:gd name="T25" fmla="*/ 296886140 h 92"/>
              <a:gd name="T26" fmla="*/ 999967897 w 199"/>
              <a:gd name="T27" fmla="*/ 296886140 h 92"/>
              <a:gd name="T28" fmla="*/ 999967897 w 199"/>
              <a:gd name="T29" fmla="*/ 125799022 h 92"/>
              <a:gd name="T30" fmla="*/ 286423720 w 199"/>
              <a:gd name="T31" fmla="*/ 301917652 h 92"/>
              <a:gd name="T32" fmla="*/ 145724742 w 199"/>
              <a:gd name="T33" fmla="*/ 296886140 h 92"/>
              <a:gd name="T34" fmla="*/ 150748265 w 199"/>
              <a:gd name="T35" fmla="*/ 166055606 h 92"/>
              <a:gd name="T36" fmla="*/ 286423720 w 199"/>
              <a:gd name="T37" fmla="*/ 166055606 h 92"/>
              <a:gd name="T38" fmla="*/ 286423720 w 199"/>
              <a:gd name="T39" fmla="*/ 301917652 h 92"/>
              <a:gd name="T40" fmla="*/ 527622289 w 199"/>
              <a:gd name="T41" fmla="*/ 352237261 h 92"/>
              <a:gd name="T42" fmla="*/ 336672395 w 199"/>
              <a:gd name="T43" fmla="*/ 311982920 h 92"/>
              <a:gd name="T44" fmla="*/ 336672395 w 199"/>
              <a:gd name="T45" fmla="*/ 176118630 h 92"/>
              <a:gd name="T46" fmla="*/ 527622289 w 199"/>
              <a:gd name="T47" fmla="*/ 221406727 h 92"/>
              <a:gd name="T48" fmla="*/ 527622289 w 199"/>
              <a:gd name="T49" fmla="*/ 352237261 h 92"/>
              <a:gd name="T50" fmla="*/ 768818615 w 199"/>
              <a:gd name="T51" fmla="*/ 357271016 h 92"/>
              <a:gd name="T52" fmla="*/ 628119637 w 199"/>
              <a:gd name="T53" fmla="*/ 367334041 h 92"/>
              <a:gd name="T54" fmla="*/ 577870963 w 199"/>
              <a:gd name="T55" fmla="*/ 362302529 h 92"/>
              <a:gd name="T56" fmla="*/ 582896727 w 199"/>
              <a:gd name="T57" fmla="*/ 231471995 h 92"/>
              <a:gd name="T58" fmla="*/ 633145401 w 199"/>
              <a:gd name="T59" fmla="*/ 236503507 h 92"/>
              <a:gd name="T60" fmla="*/ 773844380 w 199"/>
              <a:gd name="T61" fmla="*/ 226438239 h 92"/>
              <a:gd name="T62" fmla="*/ 768818615 w 199"/>
              <a:gd name="T63" fmla="*/ 357271016 h 92"/>
              <a:gd name="T64" fmla="*/ 824093054 w 199"/>
              <a:gd name="T65" fmla="*/ 216375215 h 92"/>
              <a:gd name="T66" fmla="*/ 959768510 w 199"/>
              <a:gd name="T67" fmla="*/ 171087118 h 92"/>
              <a:gd name="T68" fmla="*/ 959768510 w 199"/>
              <a:gd name="T69" fmla="*/ 296886140 h 92"/>
              <a:gd name="T70" fmla="*/ 824093054 w 199"/>
              <a:gd name="T71" fmla="*/ 347205749 h 92"/>
              <a:gd name="T72" fmla="*/ 824093054 w 199"/>
              <a:gd name="T73" fmla="*/ 216375215 h 9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99" h="92">
                <a:moveTo>
                  <a:pt x="199" y="25"/>
                </a:moveTo>
                <a:cubicBezTo>
                  <a:pt x="199" y="25"/>
                  <a:pt x="199" y="25"/>
                  <a:pt x="199" y="25"/>
                </a:cubicBezTo>
                <a:cubicBezTo>
                  <a:pt x="199" y="19"/>
                  <a:pt x="199" y="19"/>
                  <a:pt x="199" y="19"/>
                </a:cubicBezTo>
                <a:cubicBezTo>
                  <a:pt x="199" y="19"/>
                  <a:pt x="171" y="40"/>
                  <a:pt x="125" y="37"/>
                </a:cubicBezTo>
                <a:cubicBezTo>
                  <a:pt x="80" y="35"/>
                  <a:pt x="22" y="0"/>
                  <a:pt x="1" y="48"/>
                </a:cubicBezTo>
                <a:cubicBezTo>
                  <a:pt x="1" y="60"/>
                  <a:pt x="1" y="60"/>
                  <a:pt x="1" y="60"/>
                </a:cubicBezTo>
                <a:cubicBezTo>
                  <a:pt x="8" y="44"/>
                  <a:pt x="15" y="38"/>
                  <a:pt x="21" y="36"/>
                </a:cubicBezTo>
                <a:cubicBezTo>
                  <a:pt x="20" y="63"/>
                  <a:pt x="20" y="63"/>
                  <a:pt x="20" y="63"/>
                </a:cubicBezTo>
                <a:cubicBezTo>
                  <a:pt x="13" y="66"/>
                  <a:pt x="4" y="74"/>
                  <a:pt x="1" y="84"/>
                </a:cubicBezTo>
                <a:cubicBezTo>
                  <a:pt x="0" y="92"/>
                  <a:pt x="0" y="92"/>
                  <a:pt x="0" y="92"/>
                </a:cubicBezTo>
                <a:cubicBezTo>
                  <a:pt x="21" y="44"/>
                  <a:pt x="79" y="78"/>
                  <a:pt x="124" y="81"/>
                </a:cubicBezTo>
                <a:cubicBezTo>
                  <a:pt x="170" y="84"/>
                  <a:pt x="198" y="63"/>
                  <a:pt x="198" y="63"/>
                </a:cubicBezTo>
                <a:cubicBezTo>
                  <a:pt x="199" y="59"/>
                  <a:pt x="199" y="59"/>
                  <a:pt x="199" y="59"/>
                </a:cubicBezTo>
                <a:cubicBezTo>
                  <a:pt x="199" y="59"/>
                  <a:pt x="199" y="59"/>
                  <a:pt x="199" y="59"/>
                </a:cubicBezTo>
                <a:lnTo>
                  <a:pt x="199" y="25"/>
                </a:lnTo>
                <a:close/>
                <a:moveTo>
                  <a:pt x="57" y="60"/>
                </a:moveTo>
                <a:cubicBezTo>
                  <a:pt x="47" y="58"/>
                  <a:pt x="38" y="58"/>
                  <a:pt x="29" y="59"/>
                </a:cubicBezTo>
                <a:cubicBezTo>
                  <a:pt x="30" y="33"/>
                  <a:pt x="30" y="33"/>
                  <a:pt x="30" y="33"/>
                </a:cubicBezTo>
                <a:cubicBezTo>
                  <a:pt x="39" y="31"/>
                  <a:pt x="48" y="32"/>
                  <a:pt x="57" y="33"/>
                </a:cubicBezTo>
                <a:lnTo>
                  <a:pt x="57" y="60"/>
                </a:lnTo>
                <a:close/>
                <a:moveTo>
                  <a:pt x="105" y="70"/>
                </a:moveTo>
                <a:cubicBezTo>
                  <a:pt x="92" y="68"/>
                  <a:pt x="79" y="64"/>
                  <a:pt x="67" y="62"/>
                </a:cubicBezTo>
                <a:cubicBezTo>
                  <a:pt x="67" y="35"/>
                  <a:pt x="67" y="35"/>
                  <a:pt x="67" y="35"/>
                </a:cubicBezTo>
                <a:cubicBezTo>
                  <a:pt x="80" y="38"/>
                  <a:pt x="93" y="41"/>
                  <a:pt x="105" y="44"/>
                </a:cubicBezTo>
                <a:lnTo>
                  <a:pt x="105" y="70"/>
                </a:lnTo>
                <a:close/>
                <a:moveTo>
                  <a:pt x="153" y="71"/>
                </a:moveTo>
                <a:cubicBezTo>
                  <a:pt x="145" y="72"/>
                  <a:pt x="136" y="73"/>
                  <a:pt x="125" y="73"/>
                </a:cubicBezTo>
                <a:cubicBezTo>
                  <a:pt x="122" y="72"/>
                  <a:pt x="118" y="72"/>
                  <a:pt x="115" y="72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9" y="46"/>
                  <a:pt x="122" y="47"/>
                  <a:pt x="126" y="47"/>
                </a:cubicBezTo>
                <a:cubicBezTo>
                  <a:pt x="136" y="47"/>
                  <a:pt x="145" y="47"/>
                  <a:pt x="154" y="45"/>
                </a:cubicBezTo>
                <a:lnTo>
                  <a:pt x="153" y="71"/>
                </a:lnTo>
                <a:close/>
                <a:moveTo>
                  <a:pt x="164" y="43"/>
                </a:moveTo>
                <a:cubicBezTo>
                  <a:pt x="176" y="41"/>
                  <a:pt x="185" y="37"/>
                  <a:pt x="191" y="34"/>
                </a:cubicBezTo>
                <a:cubicBezTo>
                  <a:pt x="191" y="59"/>
                  <a:pt x="191" y="59"/>
                  <a:pt x="191" y="59"/>
                </a:cubicBezTo>
                <a:cubicBezTo>
                  <a:pt x="184" y="62"/>
                  <a:pt x="175" y="66"/>
                  <a:pt x="164" y="69"/>
                </a:cubicBezTo>
                <a:lnTo>
                  <a:pt x="164" y="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38" name="Oval 73"/>
          <p:cNvSpPr>
            <a:spLocks noChangeArrowheads="1"/>
          </p:cNvSpPr>
          <p:nvPr/>
        </p:nvSpPr>
        <p:spPr bwMode="auto">
          <a:xfrm>
            <a:off x="3287185" y="2959100"/>
            <a:ext cx="27516" cy="254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439" name="Freeform 74"/>
          <p:cNvSpPr>
            <a:spLocks noEditPoints="1"/>
          </p:cNvSpPr>
          <p:nvPr/>
        </p:nvSpPr>
        <p:spPr bwMode="auto">
          <a:xfrm>
            <a:off x="3230034" y="2990851"/>
            <a:ext cx="71967" cy="237067"/>
          </a:xfrm>
          <a:custGeom>
            <a:avLst/>
            <a:gdLst>
              <a:gd name="T0" fmla="*/ 0 w 34"/>
              <a:gd name="T1" fmla="*/ 282257500 h 112"/>
              <a:gd name="T2" fmla="*/ 32762825 w 34"/>
              <a:gd name="T3" fmla="*/ 282257500 h 112"/>
              <a:gd name="T4" fmla="*/ 52924075 w 34"/>
              <a:gd name="T5" fmla="*/ 163810950 h 112"/>
              <a:gd name="T6" fmla="*/ 32762825 w 34"/>
              <a:gd name="T7" fmla="*/ 158770638 h 112"/>
              <a:gd name="T8" fmla="*/ 0 w 34"/>
              <a:gd name="T9" fmla="*/ 282257500 h 112"/>
              <a:gd name="T10" fmla="*/ 70564375 w 34"/>
              <a:gd name="T11" fmla="*/ 0 h 112"/>
              <a:gd name="T12" fmla="*/ 35282188 w 34"/>
              <a:gd name="T13" fmla="*/ 138609388 h 112"/>
              <a:gd name="T14" fmla="*/ 57964388 w 34"/>
              <a:gd name="T15" fmla="*/ 141128750 h 112"/>
              <a:gd name="T16" fmla="*/ 85685313 w 34"/>
              <a:gd name="T17" fmla="*/ 2520950 h 112"/>
              <a:gd name="T18" fmla="*/ 70564375 w 34"/>
              <a:gd name="T19" fmla="*/ 0 h 1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4" h="112">
                <a:moveTo>
                  <a:pt x="0" y="112"/>
                </a:moveTo>
                <a:lnTo>
                  <a:pt x="13" y="112"/>
                </a:lnTo>
                <a:lnTo>
                  <a:pt x="21" y="65"/>
                </a:lnTo>
                <a:lnTo>
                  <a:pt x="13" y="63"/>
                </a:lnTo>
                <a:lnTo>
                  <a:pt x="0" y="112"/>
                </a:lnTo>
                <a:close/>
                <a:moveTo>
                  <a:pt x="28" y="0"/>
                </a:moveTo>
                <a:lnTo>
                  <a:pt x="14" y="55"/>
                </a:lnTo>
                <a:lnTo>
                  <a:pt x="23" y="56"/>
                </a:lnTo>
                <a:lnTo>
                  <a:pt x="34" y="1"/>
                </a:lnTo>
                <a:lnTo>
                  <a:pt x="2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40" name="Freeform 75"/>
          <p:cNvSpPr>
            <a:spLocks noEditPoints="1"/>
          </p:cNvSpPr>
          <p:nvPr/>
        </p:nvSpPr>
        <p:spPr bwMode="auto">
          <a:xfrm>
            <a:off x="2817285" y="3236385"/>
            <a:ext cx="579967" cy="222249"/>
          </a:xfrm>
          <a:custGeom>
            <a:avLst/>
            <a:gdLst>
              <a:gd name="T0" fmla="*/ 377038124 w 194"/>
              <a:gd name="T1" fmla="*/ 147144076 h 74"/>
              <a:gd name="T2" fmla="*/ 588180370 w 194"/>
              <a:gd name="T3" fmla="*/ 147144076 h 74"/>
              <a:gd name="T4" fmla="*/ 673643989 w 194"/>
              <a:gd name="T5" fmla="*/ 0 h 74"/>
              <a:gd name="T6" fmla="*/ 296603623 w 194"/>
              <a:gd name="T7" fmla="*/ 0 h 74"/>
              <a:gd name="T8" fmla="*/ 377038124 w 194"/>
              <a:gd name="T9" fmla="*/ 147144076 h 74"/>
              <a:gd name="T10" fmla="*/ 563045990 w 194"/>
              <a:gd name="T11" fmla="*/ 279065573 h 74"/>
              <a:gd name="T12" fmla="*/ 407201622 w 194"/>
              <a:gd name="T13" fmla="*/ 279065573 h 74"/>
              <a:gd name="T14" fmla="*/ 382067242 w 194"/>
              <a:gd name="T15" fmla="*/ 294285899 h 74"/>
              <a:gd name="T16" fmla="*/ 351903744 w 194"/>
              <a:gd name="T17" fmla="*/ 375469225 h 74"/>
              <a:gd name="T18" fmla="*/ 613316992 w 194"/>
              <a:gd name="T19" fmla="*/ 375469225 h 74"/>
              <a:gd name="T20" fmla="*/ 588180370 w 194"/>
              <a:gd name="T21" fmla="*/ 294285899 h 74"/>
              <a:gd name="T22" fmla="*/ 563045990 w 194"/>
              <a:gd name="T23" fmla="*/ 279065573 h 74"/>
              <a:gd name="T24" fmla="*/ 789268864 w 194"/>
              <a:gd name="T25" fmla="*/ 0 h 74"/>
              <a:gd name="T26" fmla="*/ 708834363 w 194"/>
              <a:gd name="T27" fmla="*/ 0 h 74"/>
              <a:gd name="T28" fmla="*/ 608290116 w 194"/>
              <a:gd name="T29" fmla="*/ 157291710 h 74"/>
              <a:gd name="T30" fmla="*/ 613316992 w 194"/>
              <a:gd name="T31" fmla="*/ 167439344 h 74"/>
              <a:gd name="T32" fmla="*/ 361957496 w 194"/>
              <a:gd name="T33" fmla="*/ 167439344 h 74"/>
              <a:gd name="T34" fmla="*/ 361957496 w 194"/>
              <a:gd name="T35" fmla="*/ 157291710 h 74"/>
              <a:gd name="T36" fmla="*/ 256386373 w 194"/>
              <a:gd name="T37" fmla="*/ 0 h 74"/>
              <a:gd name="T38" fmla="*/ 186005624 w 194"/>
              <a:gd name="T39" fmla="*/ 0 h 74"/>
              <a:gd name="T40" fmla="*/ 0 w 194"/>
              <a:gd name="T41" fmla="*/ 187734613 h 74"/>
              <a:gd name="T42" fmla="*/ 186005624 w 194"/>
              <a:gd name="T43" fmla="*/ 375469225 h 74"/>
              <a:gd name="T44" fmla="*/ 321740245 w 194"/>
              <a:gd name="T45" fmla="*/ 375469225 h 74"/>
              <a:gd name="T46" fmla="*/ 351903744 w 194"/>
              <a:gd name="T47" fmla="*/ 289213208 h 74"/>
              <a:gd name="T48" fmla="*/ 407201622 w 194"/>
              <a:gd name="T49" fmla="*/ 248620418 h 74"/>
              <a:gd name="T50" fmla="*/ 563045990 w 194"/>
              <a:gd name="T51" fmla="*/ 248620418 h 74"/>
              <a:gd name="T52" fmla="*/ 618343868 w 194"/>
              <a:gd name="T53" fmla="*/ 289213208 h 74"/>
              <a:gd name="T54" fmla="*/ 643480490 w 194"/>
              <a:gd name="T55" fmla="*/ 375469225 h 74"/>
              <a:gd name="T56" fmla="*/ 789268864 w 194"/>
              <a:gd name="T57" fmla="*/ 375469225 h 74"/>
              <a:gd name="T58" fmla="*/ 975274488 w 194"/>
              <a:gd name="T59" fmla="*/ 187734613 h 74"/>
              <a:gd name="T60" fmla="*/ 789268864 w 194"/>
              <a:gd name="T61" fmla="*/ 0 h 74"/>
              <a:gd name="T62" fmla="*/ 206115370 w 194"/>
              <a:gd name="T63" fmla="*/ 294285899 h 74"/>
              <a:gd name="T64" fmla="*/ 105571123 w 194"/>
              <a:gd name="T65" fmla="*/ 192809556 h 74"/>
              <a:gd name="T66" fmla="*/ 206115370 w 194"/>
              <a:gd name="T67" fmla="*/ 96403652 h 74"/>
              <a:gd name="T68" fmla="*/ 306657375 w 194"/>
              <a:gd name="T69" fmla="*/ 192809556 h 74"/>
              <a:gd name="T70" fmla="*/ 206115370 w 194"/>
              <a:gd name="T71" fmla="*/ 294285899 h 74"/>
              <a:gd name="T72" fmla="*/ 769159118 w 194"/>
              <a:gd name="T73" fmla="*/ 294285899 h 74"/>
              <a:gd name="T74" fmla="*/ 668617113 w 194"/>
              <a:gd name="T75" fmla="*/ 192809556 h 74"/>
              <a:gd name="T76" fmla="*/ 769159118 w 194"/>
              <a:gd name="T77" fmla="*/ 96403652 h 74"/>
              <a:gd name="T78" fmla="*/ 869703365 w 194"/>
              <a:gd name="T79" fmla="*/ 192809556 h 74"/>
              <a:gd name="T80" fmla="*/ 769159118 w 194"/>
              <a:gd name="T81" fmla="*/ 294285899 h 7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94" h="74">
                <a:moveTo>
                  <a:pt x="75" y="29"/>
                </a:moveTo>
                <a:cubicBezTo>
                  <a:pt x="117" y="29"/>
                  <a:pt x="117" y="29"/>
                  <a:pt x="117" y="29"/>
                </a:cubicBezTo>
                <a:cubicBezTo>
                  <a:pt x="118" y="24"/>
                  <a:pt x="120" y="10"/>
                  <a:pt x="134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66" y="5"/>
                  <a:pt x="73" y="14"/>
                  <a:pt x="75" y="29"/>
                </a:cubicBezTo>
                <a:close/>
                <a:moveTo>
                  <a:pt x="112" y="55"/>
                </a:moveTo>
                <a:cubicBezTo>
                  <a:pt x="81" y="55"/>
                  <a:pt x="81" y="55"/>
                  <a:pt x="81" y="55"/>
                </a:cubicBezTo>
                <a:cubicBezTo>
                  <a:pt x="79" y="54"/>
                  <a:pt x="76" y="57"/>
                  <a:pt x="76" y="58"/>
                </a:cubicBezTo>
                <a:cubicBezTo>
                  <a:pt x="70" y="74"/>
                  <a:pt x="70" y="74"/>
                  <a:pt x="70" y="74"/>
                </a:cubicBezTo>
                <a:cubicBezTo>
                  <a:pt x="122" y="74"/>
                  <a:pt x="122" y="74"/>
                  <a:pt x="122" y="74"/>
                </a:cubicBezTo>
                <a:cubicBezTo>
                  <a:pt x="117" y="58"/>
                  <a:pt x="117" y="58"/>
                  <a:pt x="117" y="58"/>
                </a:cubicBezTo>
                <a:cubicBezTo>
                  <a:pt x="117" y="57"/>
                  <a:pt x="114" y="54"/>
                  <a:pt x="112" y="55"/>
                </a:cubicBezTo>
                <a:close/>
                <a:moveTo>
                  <a:pt x="157" y="0"/>
                </a:moveTo>
                <a:cubicBezTo>
                  <a:pt x="141" y="0"/>
                  <a:pt x="141" y="0"/>
                  <a:pt x="141" y="0"/>
                </a:cubicBezTo>
                <a:cubicBezTo>
                  <a:pt x="122" y="11"/>
                  <a:pt x="121" y="29"/>
                  <a:pt x="121" y="31"/>
                </a:cubicBezTo>
                <a:cubicBezTo>
                  <a:pt x="122" y="33"/>
                  <a:pt x="122" y="33"/>
                  <a:pt x="122" y="33"/>
                </a:cubicBezTo>
                <a:cubicBezTo>
                  <a:pt x="72" y="33"/>
                  <a:pt x="72" y="33"/>
                  <a:pt x="72" y="33"/>
                </a:cubicBezTo>
                <a:cubicBezTo>
                  <a:pt x="72" y="31"/>
                  <a:pt x="72" y="31"/>
                  <a:pt x="72" y="31"/>
                </a:cubicBezTo>
                <a:cubicBezTo>
                  <a:pt x="69" y="11"/>
                  <a:pt x="57" y="3"/>
                  <a:pt x="51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16" y="0"/>
                  <a:pt x="0" y="17"/>
                  <a:pt x="0" y="37"/>
                </a:cubicBezTo>
                <a:cubicBezTo>
                  <a:pt x="0" y="58"/>
                  <a:pt x="16" y="74"/>
                  <a:pt x="37" y="74"/>
                </a:cubicBezTo>
                <a:cubicBezTo>
                  <a:pt x="64" y="74"/>
                  <a:pt x="64" y="74"/>
                  <a:pt x="64" y="74"/>
                </a:cubicBezTo>
                <a:cubicBezTo>
                  <a:pt x="70" y="57"/>
                  <a:pt x="70" y="57"/>
                  <a:pt x="70" y="57"/>
                </a:cubicBezTo>
                <a:cubicBezTo>
                  <a:pt x="72" y="52"/>
                  <a:pt x="76" y="49"/>
                  <a:pt x="81" y="49"/>
                </a:cubicBezTo>
                <a:cubicBezTo>
                  <a:pt x="112" y="49"/>
                  <a:pt x="112" y="49"/>
                  <a:pt x="112" y="49"/>
                </a:cubicBezTo>
                <a:cubicBezTo>
                  <a:pt x="117" y="49"/>
                  <a:pt x="121" y="52"/>
                  <a:pt x="123" y="57"/>
                </a:cubicBezTo>
                <a:cubicBezTo>
                  <a:pt x="128" y="74"/>
                  <a:pt x="128" y="74"/>
                  <a:pt x="128" y="74"/>
                </a:cubicBezTo>
                <a:cubicBezTo>
                  <a:pt x="157" y="74"/>
                  <a:pt x="157" y="74"/>
                  <a:pt x="157" y="74"/>
                </a:cubicBezTo>
                <a:cubicBezTo>
                  <a:pt x="178" y="74"/>
                  <a:pt x="194" y="58"/>
                  <a:pt x="194" y="37"/>
                </a:cubicBezTo>
                <a:cubicBezTo>
                  <a:pt x="194" y="17"/>
                  <a:pt x="178" y="0"/>
                  <a:pt x="157" y="0"/>
                </a:cubicBezTo>
                <a:close/>
                <a:moveTo>
                  <a:pt x="41" y="58"/>
                </a:moveTo>
                <a:cubicBezTo>
                  <a:pt x="30" y="58"/>
                  <a:pt x="21" y="49"/>
                  <a:pt x="21" y="38"/>
                </a:cubicBezTo>
                <a:cubicBezTo>
                  <a:pt x="21" y="28"/>
                  <a:pt x="30" y="19"/>
                  <a:pt x="41" y="19"/>
                </a:cubicBezTo>
                <a:cubicBezTo>
                  <a:pt x="52" y="19"/>
                  <a:pt x="61" y="28"/>
                  <a:pt x="61" y="38"/>
                </a:cubicBezTo>
                <a:cubicBezTo>
                  <a:pt x="61" y="49"/>
                  <a:pt x="52" y="58"/>
                  <a:pt x="41" y="58"/>
                </a:cubicBezTo>
                <a:close/>
                <a:moveTo>
                  <a:pt x="153" y="58"/>
                </a:moveTo>
                <a:cubicBezTo>
                  <a:pt x="142" y="58"/>
                  <a:pt x="133" y="49"/>
                  <a:pt x="133" y="38"/>
                </a:cubicBezTo>
                <a:cubicBezTo>
                  <a:pt x="133" y="28"/>
                  <a:pt x="142" y="19"/>
                  <a:pt x="153" y="19"/>
                </a:cubicBezTo>
                <a:cubicBezTo>
                  <a:pt x="164" y="19"/>
                  <a:pt x="173" y="28"/>
                  <a:pt x="173" y="38"/>
                </a:cubicBezTo>
                <a:cubicBezTo>
                  <a:pt x="173" y="49"/>
                  <a:pt x="164" y="58"/>
                  <a:pt x="153" y="5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41" name="Freeform 76"/>
          <p:cNvSpPr>
            <a:spLocks noEditPoints="1"/>
          </p:cNvSpPr>
          <p:nvPr/>
        </p:nvSpPr>
        <p:spPr bwMode="auto">
          <a:xfrm>
            <a:off x="3818468" y="3335867"/>
            <a:ext cx="283633" cy="175684"/>
          </a:xfrm>
          <a:custGeom>
            <a:avLst/>
            <a:gdLst>
              <a:gd name="T0" fmla="*/ 371041663 w 95"/>
              <a:gd name="T1" fmla="*/ 0 h 59"/>
              <a:gd name="T2" fmla="*/ 235661233 w 95"/>
              <a:gd name="T3" fmla="*/ 29925834 h 59"/>
              <a:gd name="T4" fmla="*/ 215604625 w 95"/>
              <a:gd name="T5" fmla="*/ 29925834 h 59"/>
              <a:gd name="T6" fmla="*/ 205577440 w 95"/>
              <a:gd name="T7" fmla="*/ 289275617 h 59"/>
              <a:gd name="T8" fmla="*/ 476336059 w 95"/>
              <a:gd name="T9" fmla="*/ 234413077 h 59"/>
              <a:gd name="T10" fmla="*/ 371041663 w 95"/>
              <a:gd name="T11" fmla="*/ 0 h 59"/>
              <a:gd name="T12" fmla="*/ 95267212 w 95"/>
              <a:gd name="T13" fmla="*/ 0 h 59"/>
              <a:gd name="T14" fmla="*/ 0 w 95"/>
              <a:gd name="T15" fmla="*/ 234413077 h 59"/>
              <a:gd name="T16" fmla="*/ 175491407 w 95"/>
              <a:gd name="T17" fmla="*/ 294262511 h 59"/>
              <a:gd name="T18" fmla="*/ 215604625 w 95"/>
              <a:gd name="T19" fmla="*/ 29925834 h 59"/>
              <a:gd name="T20" fmla="*/ 95267212 w 95"/>
              <a:gd name="T21" fmla="*/ 0 h 5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95" h="59">
                <a:moveTo>
                  <a:pt x="74" y="0"/>
                </a:moveTo>
                <a:cubicBezTo>
                  <a:pt x="66" y="4"/>
                  <a:pt x="57" y="6"/>
                  <a:pt x="47" y="6"/>
                </a:cubicBezTo>
                <a:cubicBezTo>
                  <a:pt x="46" y="6"/>
                  <a:pt x="44" y="6"/>
                  <a:pt x="43" y="6"/>
                </a:cubicBezTo>
                <a:cubicBezTo>
                  <a:pt x="41" y="58"/>
                  <a:pt x="41" y="58"/>
                  <a:pt x="41" y="58"/>
                </a:cubicBezTo>
                <a:cubicBezTo>
                  <a:pt x="95" y="47"/>
                  <a:pt x="95" y="47"/>
                  <a:pt x="95" y="47"/>
                </a:cubicBezTo>
                <a:lnTo>
                  <a:pt x="74" y="0"/>
                </a:lnTo>
                <a:close/>
                <a:moveTo>
                  <a:pt x="19" y="0"/>
                </a:moveTo>
                <a:cubicBezTo>
                  <a:pt x="0" y="47"/>
                  <a:pt x="0" y="47"/>
                  <a:pt x="0" y="47"/>
                </a:cubicBezTo>
                <a:cubicBezTo>
                  <a:pt x="35" y="59"/>
                  <a:pt x="35" y="59"/>
                  <a:pt x="35" y="59"/>
                </a:cubicBezTo>
                <a:cubicBezTo>
                  <a:pt x="43" y="6"/>
                  <a:pt x="43" y="6"/>
                  <a:pt x="43" y="6"/>
                </a:cubicBezTo>
                <a:cubicBezTo>
                  <a:pt x="34" y="5"/>
                  <a:pt x="26" y="3"/>
                  <a:pt x="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42" name="Freeform 77"/>
          <p:cNvSpPr>
            <a:spLocks noEditPoints="1"/>
          </p:cNvSpPr>
          <p:nvPr/>
        </p:nvSpPr>
        <p:spPr bwMode="auto">
          <a:xfrm>
            <a:off x="3784600" y="2990851"/>
            <a:ext cx="347133" cy="340783"/>
          </a:xfrm>
          <a:custGeom>
            <a:avLst/>
            <a:gdLst>
              <a:gd name="T0" fmla="*/ 292164321 w 116"/>
              <a:gd name="T1" fmla="*/ 0 h 114"/>
              <a:gd name="T2" fmla="*/ 0 w 116"/>
              <a:gd name="T3" fmla="*/ 286513027 h 114"/>
              <a:gd name="T4" fmla="*/ 292164321 w 116"/>
              <a:gd name="T5" fmla="*/ 573026054 h 114"/>
              <a:gd name="T6" fmla="*/ 584328642 w 116"/>
              <a:gd name="T7" fmla="*/ 286513027 h 114"/>
              <a:gd name="T8" fmla="*/ 292164321 w 116"/>
              <a:gd name="T9" fmla="*/ 0 h 114"/>
              <a:gd name="T10" fmla="*/ 342537557 w 116"/>
              <a:gd name="T11" fmla="*/ 477521712 h 114"/>
              <a:gd name="T12" fmla="*/ 156156134 w 116"/>
              <a:gd name="T13" fmla="*/ 296566116 h 114"/>
              <a:gd name="T14" fmla="*/ 342537557 w 116"/>
              <a:gd name="T15" fmla="*/ 115610520 h 114"/>
              <a:gd name="T16" fmla="*/ 528918980 w 116"/>
              <a:gd name="T17" fmla="*/ 296566116 h 114"/>
              <a:gd name="T18" fmla="*/ 342537557 w 116"/>
              <a:gd name="T19" fmla="*/ 477521712 h 11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16" h="114">
                <a:moveTo>
                  <a:pt x="58" y="0"/>
                </a:moveTo>
                <a:cubicBezTo>
                  <a:pt x="26" y="0"/>
                  <a:pt x="0" y="25"/>
                  <a:pt x="0" y="57"/>
                </a:cubicBezTo>
                <a:cubicBezTo>
                  <a:pt x="0" y="89"/>
                  <a:pt x="26" y="114"/>
                  <a:pt x="58" y="114"/>
                </a:cubicBezTo>
                <a:cubicBezTo>
                  <a:pt x="90" y="114"/>
                  <a:pt x="116" y="89"/>
                  <a:pt x="116" y="57"/>
                </a:cubicBezTo>
                <a:cubicBezTo>
                  <a:pt x="116" y="25"/>
                  <a:pt x="90" y="0"/>
                  <a:pt x="58" y="0"/>
                </a:cubicBezTo>
                <a:close/>
                <a:moveTo>
                  <a:pt x="68" y="95"/>
                </a:moveTo>
                <a:cubicBezTo>
                  <a:pt x="48" y="95"/>
                  <a:pt x="31" y="79"/>
                  <a:pt x="31" y="59"/>
                </a:cubicBezTo>
                <a:cubicBezTo>
                  <a:pt x="31" y="39"/>
                  <a:pt x="48" y="23"/>
                  <a:pt x="68" y="23"/>
                </a:cubicBezTo>
                <a:cubicBezTo>
                  <a:pt x="88" y="23"/>
                  <a:pt x="105" y="39"/>
                  <a:pt x="105" y="59"/>
                </a:cubicBezTo>
                <a:cubicBezTo>
                  <a:pt x="105" y="79"/>
                  <a:pt x="88" y="95"/>
                  <a:pt x="68" y="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43" name="Freeform 78"/>
          <p:cNvSpPr>
            <a:spLocks noEditPoints="1"/>
          </p:cNvSpPr>
          <p:nvPr/>
        </p:nvSpPr>
        <p:spPr bwMode="auto">
          <a:xfrm>
            <a:off x="3907367" y="3079751"/>
            <a:ext cx="177800" cy="173567"/>
          </a:xfrm>
          <a:custGeom>
            <a:avLst/>
            <a:gdLst>
              <a:gd name="T0" fmla="*/ 153250792 w 59"/>
              <a:gd name="T1" fmla="*/ 0 h 58"/>
              <a:gd name="T2" fmla="*/ 0 w 59"/>
              <a:gd name="T3" fmla="*/ 146083283 h 58"/>
              <a:gd name="T4" fmla="*/ 153250792 w 59"/>
              <a:gd name="T5" fmla="*/ 292164321 h 58"/>
              <a:gd name="T6" fmla="*/ 301393602 w 59"/>
              <a:gd name="T7" fmla="*/ 146083283 h 58"/>
              <a:gd name="T8" fmla="*/ 153250792 w 59"/>
              <a:gd name="T9" fmla="*/ 0 h 58"/>
              <a:gd name="T10" fmla="*/ 189008934 w 59"/>
              <a:gd name="T11" fmla="*/ 221640893 h 58"/>
              <a:gd name="T12" fmla="*/ 107276685 w 59"/>
              <a:gd name="T13" fmla="*/ 146083283 h 58"/>
              <a:gd name="T14" fmla="*/ 189008934 w 59"/>
              <a:gd name="T15" fmla="*/ 70523428 h 58"/>
              <a:gd name="T16" fmla="*/ 265635460 w 59"/>
              <a:gd name="T17" fmla="*/ 146083283 h 58"/>
              <a:gd name="T18" fmla="*/ 189008934 w 59"/>
              <a:gd name="T19" fmla="*/ 221640893 h 5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9" h="58">
                <a:moveTo>
                  <a:pt x="30" y="0"/>
                </a:moveTo>
                <a:cubicBezTo>
                  <a:pt x="13" y="0"/>
                  <a:pt x="0" y="13"/>
                  <a:pt x="0" y="29"/>
                </a:cubicBezTo>
                <a:cubicBezTo>
                  <a:pt x="0" y="45"/>
                  <a:pt x="13" y="58"/>
                  <a:pt x="30" y="58"/>
                </a:cubicBezTo>
                <a:cubicBezTo>
                  <a:pt x="46" y="58"/>
                  <a:pt x="59" y="45"/>
                  <a:pt x="59" y="29"/>
                </a:cubicBezTo>
                <a:cubicBezTo>
                  <a:pt x="59" y="13"/>
                  <a:pt x="46" y="0"/>
                  <a:pt x="30" y="0"/>
                </a:cubicBezTo>
                <a:close/>
                <a:moveTo>
                  <a:pt x="37" y="44"/>
                </a:moveTo>
                <a:cubicBezTo>
                  <a:pt x="28" y="44"/>
                  <a:pt x="21" y="38"/>
                  <a:pt x="21" y="29"/>
                </a:cubicBezTo>
                <a:cubicBezTo>
                  <a:pt x="21" y="21"/>
                  <a:pt x="28" y="14"/>
                  <a:pt x="37" y="14"/>
                </a:cubicBezTo>
                <a:cubicBezTo>
                  <a:pt x="45" y="14"/>
                  <a:pt x="52" y="21"/>
                  <a:pt x="52" y="29"/>
                </a:cubicBezTo>
                <a:cubicBezTo>
                  <a:pt x="52" y="38"/>
                  <a:pt x="45" y="44"/>
                  <a:pt x="37" y="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44" name="Freeform 79"/>
          <p:cNvSpPr>
            <a:spLocks noEditPoints="1"/>
          </p:cNvSpPr>
          <p:nvPr/>
        </p:nvSpPr>
        <p:spPr bwMode="auto">
          <a:xfrm>
            <a:off x="4542367" y="3005667"/>
            <a:ext cx="368300" cy="419100"/>
          </a:xfrm>
          <a:custGeom>
            <a:avLst/>
            <a:gdLst>
              <a:gd name="T0" fmla="*/ 529548028 w 123"/>
              <a:gd name="T1" fmla="*/ 337735477 h 140"/>
              <a:gd name="T2" fmla="*/ 529548028 w 123"/>
              <a:gd name="T3" fmla="*/ 337735477 h 140"/>
              <a:gd name="T4" fmla="*/ 620327241 w 123"/>
              <a:gd name="T5" fmla="*/ 181468803 h 140"/>
              <a:gd name="T6" fmla="*/ 438768815 w 123"/>
              <a:gd name="T7" fmla="*/ 0 h 140"/>
              <a:gd name="T8" fmla="*/ 257208144 w 123"/>
              <a:gd name="T9" fmla="*/ 161307100 h 140"/>
              <a:gd name="T10" fmla="*/ 146255523 w 123"/>
              <a:gd name="T11" fmla="*/ 105857924 h 140"/>
              <a:gd name="T12" fmla="*/ 20173408 w 123"/>
              <a:gd name="T13" fmla="*/ 231877553 h 140"/>
              <a:gd name="T14" fmla="*/ 75649718 w 123"/>
              <a:gd name="T15" fmla="*/ 337735477 h 140"/>
              <a:gd name="T16" fmla="*/ 70605805 w 123"/>
              <a:gd name="T17" fmla="*/ 337735477 h 140"/>
              <a:gd name="T18" fmla="*/ 0 w 123"/>
              <a:gd name="T19" fmla="*/ 408305930 h 140"/>
              <a:gd name="T20" fmla="*/ 0 w 123"/>
              <a:gd name="T21" fmla="*/ 635145302 h 140"/>
              <a:gd name="T22" fmla="*/ 70605805 w 123"/>
              <a:gd name="T23" fmla="*/ 705715754 h 140"/>
              <a:gd name="T24" fmla="*/ 529548028 w 123"/>
              <a:gd name="T25" fmla="*/ 705715754 h 140"/>
              <a:gd name="T26" fmla="*/ 600153833 w 123"/>
              <a:gd name="T27" fmla="*/ 635145302 h 140"/>
              <a:gd name="T28" fmla="*/ 600153833 w 123"/>
              <a:gd name="T29" fmla="*/ 408305930 h 140"/>
              <a:gd name="T30" fmla="*/ 529548028 w 123"/>
              <a:gd name="T31" fmla="*/ 337735477 h 140"/>
              <a:gd name="T32" fmla="*/ 221905241 w 123"/>
              <a:gd name="T33" fmla="*/ 337735477 h 140"/>
              <a:gd name="T34" fmla="*/ 272339884 w 123"/>
              <a:gd name="T35" fmla="*/ 257081927 h 140"/>
              <a:gd name="T36" fmla="*/ 353031270 w 123"/>
              <a:gd name="T37" fmla="*/ 337735477 h 140"/>
              <a:gd name="T38" fmla="*/ 221905241 w 123"/>
              <a:gd name="T39" fmla="*/ 337735477 h 140"/>
              <a:gd name="T40" fmla="*/ 312684454 w 123"/>
              <a:gd name="T41" fmla="*/ 181468803 h 140"/>
              <a:gd name="T42" fmla="*/ 438768815 w 123"/>
              <a:gd name="T43" fmla="*/ 55449175 h 140"/>
              <a:gd name="T44" fmla="*/ 564850930 w 123"/>
              <a:gd name="T45" fmla="*/ 181468803 h 140"/>
              <a:gd name="T46" fmla="*/ 438768815 w 123"/>
              <a:gd name="T47" fmla="*/ 302450251 h 140"/>
              <a:gd name="T48" fmla="*/ 312684454 w 123"/>
              <a:gd name="T49" fmla="*/ 181468803 h 140"/>
              <a:gd name="T50" fmla="*/ 438768815 w 123"/>
              <a:gd name="T51" fmla="*/ 80653550 h 140"/>
              <a:gd name="T52" fmla="*/ 337901776 w 123"/>
              <a:gd name="T53" fmla="*/ 181468803 h 140"/>
              <a:gd name="T54" fmla="*/ 438768815 w 123"/>
              <a:gd name="T55" fmla="*/ 277245876 h 140"/>
              <a:gd name="T56" fmla="*/ 539633609 w 123"/>
              <a:gd name="T57" fmla="*/ 181468803 h 140"/>
              <a:gd name="T58" fmla="*/ 438768815 w 123"/>
              <a:gd name="T59" fmla="*/ 80653550 h 140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3" h="140">
                <a:moveTo>
                  <a:pt x="105" y="67"/>
                </a:moveTo>
                <a:cubicBezTo>
                  <a:pt x="105" y="67"/>
                  <a:pt x="105" y="67"/>
                  <a:pt x="105" y="67"/>
                </a:cubicBezTo>
                <a:cubicBezTo>
                  <a:pt x="116" y="61"/>
                  <a:pt x="123" y="49"/>
                  <a:pt x="123" y="36"/>
                </a:cubicBezTo>
                <a:cubicBezTo>
                  <a:pt x="123" y="16"/>
                  <a:pt x="107" y="0"/>
                  <a:pt x="87" y="0"/>
                </a:cubicBezTo>
                <a:cubicBezTo>
                  <a:pt x="68" y="0"/>
                  <a:pt x="53" y="14"/>
                  <a:pt x="51" y="32"/>
                </a:cubicBezTo>
                <a:cubicBezTo>
                  <a:pt x="46" y="25"/>
                  <a:pt x="38" y="21"/>
                  <a:pt x="29" y="21"/>
                </a:cubicBezTo>
                <a:cubicBezTo>
                  <a:pt x="15" y="21"/>
                  <a:pt x="4" y="32"/>
                  <a:pt x="4" y="46"/>
                </a:cubicBezTo>
                <a:cubicBezTo>
                  <a:pt x="4" y="55"/>
                  <a:pt x="8" y="62"/>
                  <a:pt x="15" y="67"/>
                </a:cubicBezTo>
                <a:cubicBezTo>
                  <a:pt x="14" y="67"/>
                  <a:pt x="14" y="67"/>
                  <a:pt x="14" y="67"/>
                </a:cubicBezTo>
                <a:cubicBezTo>
                  <a:pt x="6" y="67"/>
                  <a:pt x="0" y="73"/>
                  <a:pt x="0" y="81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34"/>
                  <a:pt x="6" y="140"/>
                  <a:pt x="14" y="140"/>
                </a:cubicBezTo>
                <a:cubicBezTo>
                  <a:pt x="105" y="140"/>
                  <a:pt x="105" y="140"/>
                  <a:pt x="105" y="140"/>
                </a:cubicBezTo>
                <a:cubicBezTo>
                  <a:pt x="113" y="140"/>
                  <a:pt x="119" y="134"/>
                  <a:pt x="119" y="126"/>
                </a:cubicBezTo>
                <a:cubicBezTo>
                  <a:pt x="119" y="81"/>
                  <a:pt x="119" y="81"/>
                  <a:pt x="119" y="81"/>
                </a:cubicBezTo>
                <a:cubicBezTo>
                  <a:pt x="119" y="73"/>
                  <a:pt x="113" y="67"/>
                  <a:pt x="105" y="67"/>
                </a:cubicBezTo>
                <a:close/>
                <a:moveTo>
                  <a:pt x="44" y="67"/>
                </a:moveTo>
                <a:cubicBezTo>
                  <a:pt x="49" y="63"/>
                  <a:pt x="53" y="58"/>
                  <a:pt x="54" y="51"/>
                </a:cubicBezTo>
                <a:cubicBezTo>
                  <a:pt x="58" y="58"/>
                  <a:pt x="63" y="63"/>
                  <a:pt x="70" y="67"/>
                </a:cubicBezTo>
                <a:lnTo>
                  <a:pt x="44" y="67"/>
                </a:lnTo>
                <a:close/>
                <a:moveTo>
                  <a:pt x="62" y="36"/>
                </a:moveTo>
                <a:cubicBezTo>
                  <a:pt x="62" y="22"/>
                  <a:pt x="73" y="11"/>
                  <a:pt x="87" y="11"/>
                </a:cubicBezTo>
                <a:cubicBezTo>
                  <a:pt x="101" y="11"/>
                  <a:pt x="112" y="22"/>
                  <a:pt x="112" y="36"/>
                </a:cubicBezTo>
                <a:cubicBezTo>
                  <a:pt x="112" y="49"/>
                  <a:pt x="101" y="60"/>
                  <a:pt x="87" y="60"/>
                </a:cubicBezTo>
                <a:cubicBezTo>
                  <a:pt x="73" y="60"/>
                  <a:pt x="62" y="49"/>
                  <a:pt x="62" y="36"/>
                </a:cubicBezTo>
                <a:close/>
                <a:moveTo>
                  <a:pt x="87" y="16"/>
                </a:moveTo>
                <a:cubicBezTo>
                  <a:pt x="76" y="16"/>
                  <a:pt x="67" y="25"/>
                  <a:pt x="67" y="36"/>
                </a:cubicBezTo>
                <a:cubicBezTo>
                  <a:pt x="67" y="46"/>
                  <a:pt x="76" y="55"/>
                  <a:pt x="87" y="55"/>
                </a:cubicBezTo>
                <a:cubicBezTo>
                  <a:pt x="98" y="55"/>
                  <a:pt x="107" y="46"/>
                  <a:pt x="107" y="36"/>
                </a:cubicBezTo>
                <a:cubicBezTo>
                  <a:pt x="107" y="25"/>
                  <a:pt x="98" y="16"/>
                  <a:pt x="87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45" name="Freeform 80"/>
          <p:cNvSpPr>
            <a:spLocks/>
          </p:cNvSpPr>
          <p:nvPr/>
        </p:nvSpPr>
        <p:spPr bwMode="auto">
          <a:xfrm>
            <a:off x="4919134" y="3230034"/>
            <a:ext cx="107951" cy="173567"/>
          </a:xfrm>
          <a:custGeom>
            <a:avLst/>
            <a:gdLst>
              <a:gd name="T0" fmla="*/ 0 w 51"/>
              <a:gd name="T1" fmla="*/ 70564375 h 82"/>
              <a:gd name="T2" fmla="*/ 0 w 51"/>
              <a:gd name="T3" fmla="*/ 138609388 h 82"/>
              <a:gd name="T4" fmla="*/ 128527969 w 51"/>
              <a:gd name="T5" fmla="*/ 206652813 h 82"/>
              <a:gd name="T6" fmla="*/ 128527969 w 51"/>
              <a:gd name="T7" fmla="*/ 0 h 82"/>
              <a:gd name="T8" fmla="*/ 0 w 51"/>
              <a:gd name="T9" fmla="*/ 70564375 h 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1" h="82">
                <a:moveTo>
                  <a:pt x="0" y="28"/>
                </a:moveTo>
                <a:lnTo>
                  <a:pt x="0" y="55"/>
                </a:lnTo>
                <a:lnTo>
                  <a:pt x="51" y="82"/>
                </a:lnTo>
                <a:lnTo>
                  <a:pt x="51" y="0"/>
                </a:lnTo>
                <a:lnTo>
                  <a:pt x="0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46" name="Freeform 81"/>
          <p:cNvSpPr>
            <a:spLocks noEditPoints="1"/>
          </p:cNvSpPr>
          <p:nvPr/>
        </p:nvSpPr>
        <p:spPr bwMode="auto">
          <a:xfrm>
            <a:off x="5405967" y="3062818"/>
            <a:ext cx="224367" cy="402167"/>
          </a:xfrm>
          <a:custGeom>
            <a:avLst/>
            <a:gdLst>
              <a:gd name="T0" fmla="*/ 191292776 w 75"/>
              <a:gd name="T1" fmla="*/ 410403580 h 134"/>
              <a:gd name="T2" fmla="*/ 140953871 w 75"/>
              <a:gd name="T3" fmla="*/ 456002978 h 134"/>
              <a:gd name="T4" fmla="*/ 191292776 w 75"/>
              <a:gd name="T5" fmla="*/ 506669225 h 134"/>
              <a:gd name="T6" fmla="*/ 241633925 w 75"/>
              <a:gd name="T7" fmla="*/ 456002978 h 134"/>
              <a:gd name="T8" fmla="*/ 191292776 w 75"/>
              <a:gd name="T9" fmla="*/ 410403580 h 134"/>
              <a:gd name="T10" fmla="*/ 231566593 w 75"/>
              <a:gd name="T11" fmla="*/ 253335738 h 134"/>
              <a:gd name="T12" fmla="*/ 266803378 w 75"/>
              <a:gd name="T13" fmla="*/ 217867789 h 134"/>
              <a:gd name="T14" fmla="*/ 231566593 w 75"/>
              <a:gd name="T15" fmla="*/ 182402091 h 134"/>
              <a:gd name="T16" fmla="*/ 196327564 w 75"/>
              <a:gd name="T17" fmla="*/ 217867789 h 134"/>
              <a:gd name="T18" fmla="*/ 231566593 w 75"/>
              <a:gd name="T19" fmla="*/ 253335738 h 134"/>
              <a:gd name="T20" fmla="*/ 0 w 75"/>
              <a:gd name="T21" fmla="*/ 0 h 134"/>
              <a:gd name="T22" fmla="*/ 0 w 75"/>
              <a:gd name="T23" fmla="*/ 678937617 h 134"/>
              <a:gd name="T24" fmla="*/ 377553008 w 75"/>
              <a:gd name="T25" fmla="*/ 678937617 h 134"/>
              <a:gd name="T26" fmla="*/ 377553008 w 75"/>
              <a:gd name="T27" fmla="*/ 0 h 134"/>
              <a:gd name="T28" fmla="*/ 0 w 75"/>
              <a:gd name="T29" fmla="*/ 0 h 134"/>
              <a:gd name="T30" fmla="*/ 231566593 w 75"/>
              <a:gd name="T31" fmla="*/ 167201542 h 134"/>
              <a:gd name="T32" fmla="*/ 286940286 w 75"/>
              <a:gd name="T33" fmla="*/ 217867789 h 134"/>
              <a:gd name="T34" fmla="*/ 231566593 w 75"/>
              <a:gd name="T35" fmla="*/ 268534036 h 134"/>
              <a:gd name="T36" fmla="*/ 181225444 w 75"/>
              <a:gd name="T37" fmla="*/ 217867789 h 134"/>
              <a:gd name="T38" fmla="*/ 231566593 w 75"/>
              <a:gd name="T39" fmla="*/ 167201542 h 134"/>
              <a:gd name="T40" fmla="*/ 191292776 w 75"/>
              <a:gd name="T41" fmla="*/ 567469172 h 134"/>
              <a:gd name="T42" fmla="*/ 75510602 w 75"/>
              <a:gd name="T43" fmla="*/ 456002978 h 134"/>
              <a:gd name="T44" fmla="*/ 191292776 w 75"/>
              <a:gd name="T45" fmla="*/ 344534533 h 134"/>
              <a:gd name="T46" fmla="*/ 302042407 w 75"/>
              <a:gd name="T47" fmla="*/ 456002978 h 134"/>
              <a:gd name="T48" fmla="*/ 191292776 w 75"/>
              <a:gd name="T49" fmla="*/ 567469172 h 13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5" h="134">
                <a:moveTo>
                  <a:pt x="38" y="81"/>
                </a:moveTo>
                <a:cubicBezTo>
                  <a:pt x="32" y="81"/>
                  <a:pt x="28" y="85"/>
                  <a:pt x="28" y="90"/>
                </a:cubicBezTo>
                <a:cubicBezTo>
                  <a:pt x="28" y="96"/>
                  <a:pt x="32" y="100"/>
                  <a:pt x="38" y="100"/>
                </a:cubicBezTo>
                <a:cubicBezTo>
                  <a:pt x="43" y="100"/>
                  <a:pt x="48" y="96"/>
                  <a:pt x="48" y="90"/>
                </a:cubicBezTo>
                <a:cubicBezTo>
                  <a:pt x="48" y="85"/>
                  <a:pt x="43" y="81"/>
                  <a:pt x="38" y="81"/>
                </a:cubicBezTo>
                <a:close/>
                <a:moveTo>
                  <a:pt x="46" y="50"/>
                </a:moveTo>
                <a:cubicBezTo>
                  <a:pt x="50" y="50"/>
                  <a:pt x="53" y="47"/>
                  <a:pt x="53" y="43"/>
                </a:cubicBezTo>
                <a:cubicBezTo>
                  <a:pt x="53" y="39"/>
                  <a:pt x="50" y="36"/>
                  <a:pt x="46" y="36"/>
                </a:cubicBezTo>
                <a:cubicBezTo>
                  <a:pt x="42" y="36"/>
                  <a:pt x="39" y="39"/>
                  <a:pt x="39" y="43"/>
                </a:cubicBezTo>
                <a:cubicBezTo>
                  <a:pt x="39" y="47"/>
                  <a:pt x="42" y="50"/>
                  <a:pt x="46" y="50"/>
                </a:cubicBezTo>
                <a:close/>
                <a:moveTo>
                  <a:pt x="0" y="0"/>
                </a:moveTo>
                <a:cubicBezTo>
                  <a:pt x="0" y="134"/>
                  <a:pt x="0" y="134"/>
                  <a:pt x="0" y="134"/>
                </a:cubicBezTo>
                <a:cubicBezTo>
                  <a:pt x="75" y="134"/>
                  <a:pt x="75" y="134"/>
                  <a:pt x="75" y="134"/>
                </a:cubicBezTo>
                <a:cubicBezTo>
                  <a:pt x="75" y="0"/>
                  <a:pt x="75" y="0"/>
                  <a:pt x="75" y="0"/>
                </a:cubicBezTo>
                <a:lnTo>
                  <a:pt x="0" y="0"/>
                </a:lnTo>
                <a:close/>
                <a:moveTo>
                  <a:pt x="46" y="33"/>
                </a:moveTo>
                <a:cubicBezTo>
                  <a:pt x="52" y="33"/>
                  <a:pt x="57" y="37"/>
                  <a:pt x="57" y="43"/>
                </a:cubicBezTo>
                <a:cubicBezTo>
                  <a:pt x="57" y="48"/>
                  <a:pt x="52" y="53"/>
                  <a:pt x="46" y="53"/>
                </a:cubicBezTo>
                <a:cubicBezTo>
                  <a:pt x="41" y="53"/>
                  <a:pt x="36" y="48"/>
                  <a:pt x="36" y="43"/>
                </a:cubicBezTo>
                <a:cubicBezTo>
                  <a:pt x="36" y="37"/>
                  <a:pt x="41" y="33"/>
                  <a:pt x="46" y="33"/>
                </a:cubicBezTo>
                <a:close/>
                <a:moveTo>
                  <a:pt x="38" y="112"/>
                </a:moveTo>
                <a:cubicBezTo>
                  <a:pt x="25" y="112"/>
                  <a:pt x="15" y="103"/>
                  <a:pt x="15" y="90"/>
                </a:cubicBezTo>
                <a:cubicBezTo>
                  <a:pt x="15" y="78"/>
                  <a:pt x="25" y="68"/>
                  <a:pt x="38" y="68"/>
                </a:cubicBezTo>
                <a:cubicBezTo>
                  <a:pt x="50" y="68"/>
                  <a:pt x="60" y="78"/>
                  <a:pt x="60" y="90"/>
                </a:cubicBezTo>
                <a:cubicBezTo>
                  <a:pt x="60" y="103"/>
                  <a:pt x="50" y="112"/>
                  <a:pt x="38" y="1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47" name="Oval 82"/>
          <p:cNvSpPr>
            <a:spLocks noChangeArrowheads="1"/>
          </p:cNvSpPr>
          <p:nvPr/>
        </p:nvSpPr>
        <p:spPr bwMode="auto">
          <a:xfrm>
            <a:off x="5505451" y="3321051"/>
            <a:ext cx="25400" cy="254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448" name="Freeform 83"/>
          <p:cNvSpPr>
            <a:spLocks noEditPoints="1"/>
          </p:cNvSpPr>
          <p:nvPr/>
        </p:nvSpPr>
        <p:spPr bwMode="auto">
          <a:xfrm>
            <a:off x="5668433" y="3238501"/>
            <a:ext cx="127000" cy="226484"/>
          </a:xfrm>
          <a:custGeom>
            <a:avLst/>
            <a:gdLst>
              <a:gd name="T0" fmla="*/ 133721929 w 42"/>
              <a:gd name="T1" fmla="*/ 143627093 h 75"/>
              <a:gd name="T2" fmla="*/ 154295929 w 42"/>
              <a:gd name="T3" fmla="*/ 123107643 h 75"/>
              <a:gd name="T4" fmla="*/ 133721929 w 42"/>
              <a:gd name="T5" fmla="*/ 102590457 h 75"/>
              <a:gd name="T6" fmla="*/ 113150196 w 42"/>
              <a:gd name="T7" fmla="*/ 123107643 h 75"/>
              <a:gd name="T8" fmla="*/ 133721929 w 42"/>
              <a:gd name="T9" fmla="*/ 143627093 h 75"/>
              <a:gd name="T10" fmla="*/ 108006696 w 42"/>
              <a:gd name="T11" fmla="*/ 230827963 h 75"/>
              <a:gd name="T12" fmla="*/ 77147964 w 42"/>
              <a:gd name="T13" fmla="*/ 261604874 h 75"/>
              <a:gd name="T14" fmla="*/ 108006696 w 42"/>
              <a:gd name="T15" fmla="*/ 287251922 h 75"/>
              <a:gd name="T16" fmla="*/ 133721929 w 42"/>
              <a:gd name="T17" fmla="*/ 261604874 h 75"/>
              <a:gd name="T18" fmla="*/ 108006696 w 42"/>
              <a:gd name="T19" fmla="*/ 230827963 h 75"/>
              <a:gd name="T20" fmla="*/ 0 w 42"/>
              <a:gd name="T21" fmla="*/ 0 h 75"/>
              <a:gd name="T22" fmla="*/ 0 w 42"/>
              <a:gd name="T23" fmla="*/ 384712517 h 75"/>
              <a:gd name="T24" fmla="*/ 216013393 w 42"/>
              <a:gd name="T25" fmla="*/ 384712517 h 75"/>
              <a:gd name="T26" fmla="*/ 216013393 w 42"/>
              <a:gd name="T27" fmla="*/ 0 h 75"/>
              <a:gd name="T28" fmla="*/ 0 w 42"/>
              <a:gd name="T29" fmla="*/ 0 h 75"/>
              <a:gd name="T30" fmla="*/ 133721929 w 42"/>
              <a:gd name="T31" fmla="*/ 92330732 h 75"/>
              <a:gd name="T32" fmla="*/ 159439429 w 42"/>
              <a:gd name="T33" fmla="*/ 123107643 h 75"/>
              <a:gd name="T34" fmla="*/ 133721929 w 42"/>
              <a:gd name="T35" fmla="*/ 153884554 h 75"/>
              <a:gd name="T36" fmla="*/ 102863196 w 42"/>
              <a:gd name="T37" fmla="*/ 123107643 h 75"/>
              <a:gd name="T38" fmla="*/ 133721929 w 42"/>
              <a:gd name="T39" fmla="*/ 92330732 h 75"/>
              <a:gd name="T40" fmla="*/ 108006696 w 42"/>
              <a:gd name="T41" fmla="*/ 323158695 h 75"/>
              <a:gd name="T42" fmla="*/ 41145732 w 42"/>
              <a:gd name="T43" fmla="*/ 261604874 h 75"/>
              <a:gd name="T44" fmla="*/ 108006696 w 42"/>
              <a:gd name="T45" fmla="*/ 194921190 h 75"/>
              <a:gd name="T46" fmla="*/ 174867661 w 42"/>
              <a:gd name="T47" fmla="*/ 261604874 h 75"/>
              <a:gd name="T48" fmla="*/ 108006696 w 42"/>
              <a:gd name="T49" fmla="*/ 323158695 h 75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2" h="75">
                <a:moveTo>
                  <a:pt x="26" y="28"/>
                </a:moveTo>
                <a:cubicBezTo>
                  <a:pt x="28" y="28"/>
                  <a:pt x="30" y="26"/>
                  <a:pt x="30" y="24"/>
                </a:cubicBezTo>
                <a:cubicBezTo>
                  <a:pt x="30" y="22"/>
                  <a:pt x="28" y="20"/>
                  <a:pt x="26" y="20"/>
                </a:cubicBezTo>
                <a:cubicBezTo>
                  <a:pt x="24" y="20"/>
                  <a:pt x="22" y="22"/>
                  <a:pt x="22" y="24"/>
                </a:cubicBezTo>
                <a:cubicBezTo>
                  <a:pt x="22" y="26"/>
                  <a:pt x="24" y="28"/>
                  <a:pt x="26" y="28"/>
                </a:cubicBezTo>
                <a:close/>
                <a:moveTo>
                  <a:pt x="21" y="45"/>
                </a:moveTo>
                <a:cubicBezTo>
                  <a:pt x="18" y="45"/>
                  <a:pt x="15" y="48"/>
                  <a:pt x="15" y="51"/>
                </a:cubicBezTo>
                <a:cubicBezTo>
                  <a:pt x="15" y="54"/>
                  <a:pt x="18" y="56"/>
                  <a:pt x="21" y="56"/>
                </a:cubicBezTo>
                <a:cubicBezTo>
                  <a:pt x="24" y="56"/>
                  <a:pt x="26" y="54"/>
                  <a:pt x="26" y="51"/>
                </a:cubicBezTo>
                <a:cubicBezTo>
                  <a:pt x="26" y="48"/>
                  <a:pt x="24" y="45"/>
                  <a:pt x="21" y="45"/>
                </a:cubicBezTo>
                <a:close/>
                <a:moveTo>
                  <a:pt x="0" y="0"/>
                </a:moveTo>
                <a:cubicBezTo>
                  <a:pt x="0" y="75"/>
                  <a:pt x="0" y="75"/>
                  <a:pt x="0" y="75"/>
                </a:cubicBezTo>
                <a:cubicBezTo>
                  <a:pt x="42" y="75"/>
                  <a:pt x="42" y="75"/>
                  <a:pt x="42" y="75"/>
                </a:cubicBezTo>
                <a:cubicBezTo>
                  <a:pt x="42" y="0"/>
                  <a:pt x="42" y="0"/>
                  <a:pt x="42" y="0"/>
                </a:cubicBezTo>
                <a:lnTo>
                  <a:pt x="0" y="0"/>
                </a:lnTo>
                <a:close/>
                <a:moveTo>
                  <a:pt x="26" y="18"/>
                </a:moveTo>
                <a:cubicBezTo>
                  <a:pt x="29" y="18"/>
                  <a:pt x="31" y="21"/>
                  <a:pt x="31" y="24"/>
                </a:cubicBezTo>
                <a:cubicBezTo>
                  <a:pt x="31" y="27"/>
                  <a:pt x="29" y="30"/>
                  <a:pt x="26" y="30"/>
                </a:cubicBezTo>
                <a:cubicBezTo>
                  <a:pt x="22" y="30"/>
                  <a:pt x="20" y="27"/>
                  <a:pt x="20" y="24"/>
                </a:cubicBezTo>
                <a:cubicBezTo>
                  <a:pt x="20" y="21"/>
                  <a:pt x="22" y="18"/>
                  <a:pt x="26" y="18"/>
                </a:cubicBezTo>
                <a:close/>
                <a:moveTo>
                  <a:pt x="21" y="63"/>
                </a:moveTo>
                <a:cubicBezTo>
                  <a:pt x="14" y="63"/>
                  <a:pt x="8" y="57"/>
                  <a:pt x="8" y="51"/>
                </a:cubicBezTo>
                <a:cubicBezTo>
                  <a:pt x="8" y="44"/>
                  <a:pt x="14" y="38"/>
                  <a:pt x="21" y="38"/>
                </a:cubicBezTo>
                <a:cubicBezTo>
                  <a:pt x="28" y="38"/>
                  <a:pt x="34" y="44"/>
                  <a:pt x="34" y="51"/>
                </a:cubicBezTo>
                <a:cubicBezTo>
                  <a:pt x="34" y="57"/>
                  <a:pt x="28" y="63"/>
                  <a:pt x="21" y="6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49" name="Oval 84"/>
          <p:cNvSpPr>
            <a:spLocks noChangeArrowheads="1"/>
          </p:cNvSpPr>
          <p:nvPr/>
        </p:nvSpPr>
        <p:spPr bwMode="auto">
          <a:xfrm>
            <a:off x="5723468" y="3382434"/>
            <a:ext cx="14817" cy="1481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450" name="Freeform 85"/>
          <p:cNvSpPr>
            <a:spLocks noEditPoints="1"/>
          </p:cNvSpPr>
          <p:nvPr/>
        </p:nvSpPr>
        <p:spPr bwMode="auto">
          <a:xfrm>
            <a:off x="6134101" y="2965451"/>
            <a:ext cx="579967" cy="565149"/>
          </a:xfrm>
          <a:custGeom>
            <a:avLst/>
            <a:gdLst>
              <a:gd name="T0" fmla="*/ 869703365 w 194"/>
              <a:gd name="T1" fmla="*/ 315157179 h 188"/>
              <a:gd name="T2" fmla="*/ 316713369 w 194"/>
              <a:gd name="T3" fmla="*/ 86413738 h 188"/>
              <a:gd name="T4" fmla="*/ 85461377 w 194"/>
              <a:gd name="T5" fmla="*/ 630312104 h 188"/>
              <a:gd name="T6" fmla="*/ 95517371 w 194"/>
              <a:gd name="T7" fmla="*/ 650646207 h 188"/>
              <a:gd name="T8" fmla="*/ 100544247 w 194"/>
              <a:gd name="T9" fmla="*/ 670978055 h 188"/>
              <a:gd name="T10" fmla="*/ 180978748 w 194"/>
              <a:gd name="T11" fmla="*/ 859055545 h 188"/>
              <a:gd name="T12" fmla="*/ 311686493 w 194"/>
              <a:gd name="T13" fmla="*/ 914969255 h 188"/>
              <a:gd name="T14" fmla="*/ 366984372 w 194"/>
              <a:gd name="T15" fmla="*/ 782807731 h 188"/>
              <a:gd name="T16" fmla="*/ 291576747 w 194"/>
              <a:gd name="T17" fmla="*/ 594730241 h 188"/>
              <a:gd name="T18" fmla="*/ 155842126 w 194"/>
              <a:gd name="T19" fmla="*/ 543898366 h 188"/>
              <a:gd name="T20" fmla="*/ 105571123 w 194"/>
              <a:gd name="T21" fmla="*/ 584564317 h 188"/>
              <a:gd name="T22" fmla="*/ 331793997 w 194"/>
              <a:gd name="T23" fmla="*/ 116913765 h 188"/>
              <a:gd name="T24" fmla="*/ 824459238 w 194"/>
              <a:gd name="T25" fmla="*/ 299907165 h 188"/>
              <a:gd name="T26" fmla="*/ 754078490 w 194"/>
              <a:gd name="T27" fmla="*/ 299907165 h 188"/>
              <a:gd name="T28" fmla="*/ 698778369 w 194"/>
              <a:gd name="T29" fmla="*/ 432068690 h 188"/>
              <a:gd name="T30" fmla="*/ 774185994 w 194"/>
              <a:gd name="T31" fmla="*/ 620146179 h 188"/>
              <a:gd name="T32" fmla="*/ 894839987 w 194"/>
              <a:gd name="T33" fmla="*/ 676062145 h 188"/>
              <a:gd name="T34" fmla="*/ 769159118 w 194"/>
              <a:gd name="T35" fmla="*/ 884471483 h 188"/>
              <a:gd name="T36" fmla="*/ 738995619 w 194"/>
              <a:gd name="T37" fmla="*/ 859055545 h 188"/>
              <a:gd name="T38" fmla="*/ 668617113 w 194"/>
              <a:gd name="T39" fmla="*/ 889553317 h 188"/>
              <a:gd name="T40" fmla="*/ 663587995 w 194"/>
              <a:gd name="T41" fmla="*/ 925135180 h 188"/>
              <a:gd name="T42" fmla="*/ 698778369 w 194"/>
              <a:gd name="T43" fmla="*/ 950551118 h 188"/>
              <a:gd name="T44" fmla="*/ 764132242 w 194"/>
              <a:gd name="T45" fmla="*/ 925135180 h 188"/>
              <a:gd name="T46" fmla="*/ 774185994 w 194"/>
              <a:gd name="T47" fmla="*/ 889553317 h 188"/>
              <a:gd name="T48" fmla="*/ 965220736 w 194"/>
              <a:gd name="T49" fmla="*/ 615062090 h 188"/>
              <a:gd name="T50" fmla="*/ 965220736 w 194"/>
              <a:gd name="T51" fmla="*/ 543898366 h 188"/>
              <a:gd name="T52" fmla="*/ 884783993 w 194"/>
              <a:gd name="T53" fmla="*/ 355820876 h 188"/>
              <a:gd name="T54" fmla="*/ 884783993 w 194"/>
              <a:gd name="T55" fmla="*/ 350739041 h 188"/>
              <a:gd name="T56" fmla="*/ 869703365 w 194"/>
              <a:gd name="T57" fmla="*/ 315157179 h 188"/>
              <a:gd name="T58" fmla="*/ 211142246 w 194"/>
              <a:gd name="T59" fmla="*/ 620146179 h 188"/>
              <a:gd name="T60" fmla="*/ 221195998 w 194"/>
              <a:gd name="T61" fmla="*/ 589646152 h 188"/>
              <a:gd name="T62" fmla="*/ 251359497 w 194"/>
              <a:gd name="T63" fmla="*/ 599814331 h 188"/>
              <a:gd name="T64" fmla="*/ 336820873 w 194"/>
              <a:gd name="T65" fmla="*/ 803139580 h 188"/>
              <a:gd name="T66" fmla="*/ 321740245 w 194"/>
              <a:gd name="T67" fmla="*/ 828555517 h 188"/>
              <a:gd name="T68" fmla="*/ 291576747 w 194"/>
              <a:gd name="T69" fmla="*/ 818389593 h 188"/>
              <a:gd name="T70" fmla="*/ 211142246 w 194"/>
              <a:gd name="T71" fmla="*/ 620146179 h 188"/>
              <a:gd name="T72" fmla="*/ 849595861 w 194"/>
              <a:gd name="T73" fmla="*/ 594730241 h 188"/>
              <a:gd name="T74" fmla="*/ 839539866 w 194"/>
              <a:gd name="T75" fmla="*/ 620146179 h 188"/>
              <a:gd name="T76" fmla="*/ 809376368 w 194"/>
              <a:gd name="T77" fmla="*/ 609980255 h 188"/>
              <a:gd name="T78" fmla="*/ 723914991 w 194"/>
              <a:gd name="T79" fmla="*/ 411736841 h 188"/>
              <a:gd name="T80" fmla="*/ 738995619 w 194"/>
              <a:gd name="T81" fmla="*/ 381236814 h 188"/>
              <a:gd name="T82" fmla="*/ 769159118 w 194"/>
              <a:gd name="T83" fmla="*/ 391402738 h 188"/>
              <a:gd name="T84" fmla="*/ 849595861 w 194"/>
              <a:gd name="T85" fmla="*/ 594730241 h 18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4" h="188">
                <a:moveTo>
                  <a:pt x="173" y="62"/>
                </a:moveTo>
                <a:cubicBezTo>
                  <a:pt x="156" y="20"/>
                  <a:pt x="106" y="0"/>
                  <a:pt x="63" y="17"/>
                </a:cubicBezTo>
                <a:cubicBezTo>
                  <a:pt x="20" y="34"/>
                  <a:pt x="0" y="82"/>
                  <a:pt x="17" y="124"/>
                </a:cubicBezTo>
                <a:cubicBezTo>
                  <a:pt x="18" y="126"/>
                  <a:pt x="19" y="127"/>
                  <a:pt x="19" y="128"/>
                </a:cubicBezTo>
                <a:cubicBezTo>
                  <a:pt x="19" y="130"/>
                  <a:pt x="20" y="131"/>
                  <a:pt x="20" y="132"/>
                </a:cubicBezTo>
                <a:cubicBezTo>
                  <a:pt x="36" y="169"/>
                  <a:pt x="36" y="169"/>
                  <a:pt x="36" y="169"/>
                </a:cubicBezTo>
                <a:cubicBezTo>
                  <a:pt x="40" y="179"/>
                  <a:pt x="52" y="184"/>
                  <a:pt x="62" y="180"/>
                </a:cubicBezTo>
                <a:cubicBezTo>
                  <a:pt x="72" y="176"/>
                  <a:pt x="77" y="164"/>
                  <a:pt x="73" y="154"/>
                </a:cubicBezTo>
                <a:cubicBezTo>
                  <a:pt x="58" y="117"/>
                  <a:pt x="58" y="117"/>
                  <a:pt x="58" y="117"/>
                </a:cubicBezTo>
                <a:cubicBezTo>
                  <a:pt x="54" y="107"/>
                  <a:pt x="42" y="102"/>
                  <a:pt x="31" y="107"/>
                </a:cubicBezTo>
                <a:cubicBezTo>
                  <a:pt x="27" y="108"/>
                  <a:pt x="24" y="112"/>
                  <a:pt x="21" y="115"/>
                </a:cubicBezTo>
                <a:cubicBezTo>
                  <a:pt x="10" y="78"/>
                  <a:pt x="29" y="38"/>
                  <a:pt x="66" y="23"/>
                </a:cubicBezTo>
                <a:cubicBezTo>
                  <a:pt x="103" y="8"/>
                  <a:pt x="146" y="24"/>
                  <a:pt x="164" y="59"/>
                </a:cubicBezTo>
                <a:cubicBezTo>
                  <a:pt x="160" y="57"/>
                  <a:pt x="155" y="57"/>
                  <a:pt x="150" y="59"/>
                </a:cubicBezTo>
                <a:cubicBezTo>
                  <a:pt x="140" y="63"/>
                  <a:pt x="135" y="75"/>
                  <a:pt x="139" y="85"/>
                </a:cubicBezTo>
                <a:cubicBezTo>
                  <a:pt x="154" y="122"/>
                  <a:pt x="154" y="122"/>
                  <a:pt x="154" y="122"/>
                </a:cubicBezTo>
                <a:cubicBezTo>
                  <a:pt x="158" y="131"/>
                  <a:pt x="169" y="136"/>
                  <a:pt x="178" y="133"/>
                </a:cubicBezTo>
                <a:cubicBezTo>
                  <a:pt x="175" y="153"/>
                  <a:pt x="162" y="167"/>
                  <a:pt x="153" y="174"/>
                </a:cubicBezTo>
                <a:cubicBezTo>
                  <a:pt x="152" y="170"/>
                  <a:pt x="149" y="168"/>
                  <a:pt x="147" y="169"/>
                </a:cubicBezTo>
                <a:cubicBezTo>
                  <a:pt x="133" y="175"/>
                  <a:pt x="133" y="175"/>
                  <a:pt x="133" y="175"/>
                </a:cubicBezTo>
                <a:cubicBezTo>
                  <a:pt x="131" y="175"/>
                  <a:pt x="131" y="179"/>
                  <a:pt x="132" y="182"/>
                </a:cubicBezTo>
                <a:cubicBezTo>
                  <a:pt x="134" y="186"/>
                  <a:pt x="136" y="188"/>
                  <a:pt x="139" y="187"/>
                </a:cubicBezTo>
                <a:cubicBezTo>
                  <a:pt x="152" y="182"/>
                  <a:pt x="152" y="182"/>
                  <a:pt x="152" y="182"/>
                </a:cubicBezTo>
                <a:cubicBezTo>
                  <a:pt x="154" y="181"/>
                  <a:pt x="154" y="178"/>
                  <a:pt x="154" y="175"/>
                </a:cubicBezTo>
                <a:cubicBezTo>
                  <a:pt x="183" y="161"/>
                  <a:pt x="190" y="137"/>
                  <a:pt x="192" y="121"/>
                </a:cubicBezTo>
                <a:cubicBezTo>
                  <a:pt x="194" y="117"/>
                  <a:pt x="194" y="111"/>
                  <a:pt x="192" y="107"/>
                </a:cubicBezTo>
                <a:cubicBezTo>
                  <a:pt x="176" y="70"/>
                  <a:pt x="176" y="70"/>
                  <a:pt x="176" y="70"/>
                </a:cubicBezTo>
                <a:cubicBezTo>
                  <a:pt x="176" y="70"/>
                  <a:pt x="176" y="69"/>
                  <a:pt x="176" y="69"/>
                </a:cubicBezTo>
                <a:cubicBezTo>
                  <a:pt x="175" y="66"/>
                  <a:pt x="174" y="64"/>
                  <a:pt x="173" y="62"/>
                </a:cubicBezTo>
                <a:close/>
                <a:moveTo>
                  <a:pt x="42" y="122"/>
                </a:moveTo>
                <a:cubicBezTo>
                  <a:pt x="41" y="119"/>
                  <a:pt x="42" y="117"/>
                  <a:pt x="44" y="116"/>
                </a:cubicBezTo>
                <a:cubicBezTo>
                  <a:pt x="47" y="115"/>
                  <a:pt x="49" y="116"/>
                  <a:pt x="50" y="118"/>
                </a:cubicBezTo>
                <a:cubicBezTo>
                  <a:pt x="67" y="158"/>
                  <a:pt x="67" y="158"/>
                  <a:pt x="67" y="158"/>
                </a:cubicBezTo>
                <a:cubicBezTo>
                  <a:pt x="68" y="160"/>
                  <a:pt x="66" y="162"/>
                  <a:pt x="64" y="163"/>
                </a:cubicBezTo>
                <a:cubicBezTo>
                  <a:pt x="62" y="164"/>
                  <a:pt x="59" y="163"/>
                  <a:pt x="58" y="161"/>
                </a:cubicBezTo>
                <a:lnTo>
                  <a:pt x="42" y="122"/>
                </a:lnTo>
                <a:close/>
                <a:moveTo>
                  <a:pt x="169" y="117"/>
                </a:moveTo>
                <a:cubicBezTo>
                  <a:pt x="170" y="119"/>
                  <a:pt x="169" y="122"/>
                  <a:pt x="167" y="122"/>
                </a:cubicBezTo>
                <a:cubicBezTo>
                  <a:pt x="164" y="123"/>
                  <a:pt x="162" y="122"/>
                  <a:pt x="161" y="120"/>
                </a:cubicBezTo>
                <a:cubicBezTo>
                  <a:pt x="144" y="81"/>
                  <a:pt x="144" y="81"/>
                  <a:pt x="144" y="81"/>
                </a:cubicBezTo>
                <a:cubicBezTo>
                  <a:pt x="143" y="78"/>
                  <a:pt x="145" y="76"/>
                  <a:pt x="147" y="75"/>
                </a:cubicBezTo>
                <a:cubicBezTo>
                  <a:pt x="149" y="74"/>
                  <a:pt x="152" y="75"/>
                  <a:pt x="153" y="77"/>
                </a:cubicBezTo>
                <a:lnTo>
                  <a:pt x="169" y="1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51" name="Freeform 86"/>
          <p:cNvSpPr>
            <a:spLocks noEditPoints="1"/>
          </p:cNvSpPr>
          <p:nvPr/>
        </p:nvSpPr>
        <p:spPr bwMode="auto">
          <a:xfrm>
            <a:off x="7065434" y="3064934"/>
            <a:ext cx="376767" cy="419100"/>
          </a:xfrm>
          <a:custGeom>
            <a:avLst/>
            <a:gdLst>
              <a:gd name="T0" fmla="*/ 482833211 w 126"/>
              <a:gd name="T1" fmla="*/ 141143151 h 140"/>
              <a:gd name="T2" fmla="*/ 432539347 w 126"/>
              <a:gd name="T3" fmla="*/ 463755105 h 140"/>
              <a:gd name="T4" fmla="*/ 427509063 w 126"/>
              <a:gd name="T5" fmla="*/ 478878628 h 140"/>
              <a:gd name="T6" fmla="*/ 432539347 w 126"/>
              <a:gd name="T7" fmla="*/ 488959480 h 140"/>
              <a:gd name="T8" fmla="*/ 447627955 w 126"/>
              <a:gd name="T9" fmla="*/ 494002151 h 140"/>
              <a:gd name="T10" fmla="*/ 487863495 w 126"/>
              <a:gd name="T11" fmla="*/ 478878628 h 140"/>
              <a:gd name="T12" fmla="*/ 548217927 w 126"/>
              <a:gd name="T13" fmla="*/ 408305930 h 140"/>
              <a:gd name="T14" fmla="*/ 573364859 w 126"/>
              <a:gd name="T15" fmla="*/ 292367154 h 140"/>
              <a:gd name="T16" fmla="*/ 507982386 w 126"/>
              <a:gd name="T17" fmla="*/ 126019628 h 140"/>
              <a:gd name="T18" fmla="*/ 336977415 w 126"/>
              <a:gd name="T19" fmla="*/ 60489601 h 140"/>
              <a:gd name="T20" fmla="*/ 196151903 w 126"/>
              <a:gd name="T21" fmla="*/ 100817499 h 140"/>
              <a:gd name="T22" fmla="*/ 95561931 w 126"/>
              <a:gd name="T23" fmla="*/ 206673178 h 140"/>
              <a:gd name="T24" fmla="*/ 60354432 w 126"/>
              <a:gd name="T25" fmla="*/ 357899426 h 140"/>
              <a:gd name="T26" fmla="*/ 135797471 w 126"/>
              <a:gd name="T27" fmla="*/ 569613029 h 140"/>
              <a:gd name="T28" fmla="*/ 331947132 w 126"/>
              <a:gd name="T29" fmla="*/ 645226153 h 140"/>
              <a:gd name="T30" fmla="*/ 447627955 w 126"/>
              <a:gd name="T31" fmla="*/ 625062205 h 140"/>
              <a:gd name="T32" fmla="*/ 548217927 w 126"/>
              <a:gd name="T33" fmla="*/ 569613029 h 140"/>
              <a:gd name="T34" fmla="*/ 633719291 w 126"/>
              <a:gd name="T35" fmla="*/ 569613029 h 140"/>
              <a:gd name="T36" fmla="*/ 568334575 w 126"/>
              <a:gd name="T37" fmla="*/ 630102631 h 140"/>
              <a:gd name="T38" fmla="*/ 462716563 w 126"/>
              <a:gd name="T39" fmla="*/ 685551806 h 140"/>
              <a:gd name="T40" fmla="*/ 336977415 w 126"/>
              <a:gd name="T41" fmla="*/ 705715754 h 140"/>
              <a:gd name="T42" fmla="*/ 160944404 w 126"/>
              <a:gd name="T43" fmla="*/ 660347431 h 140"/>
              <a:gd name="T44" fmla="*/ 40235540 w 126"/>
              <a:gd name="T45" fmla="*/ 534327803 h 140"/>
              <a:gd name="T46" fmla="*/ 0 w 126"/>
              <a:gd name="T47" fmla="*/ 357899426 h 140"/>
              <a:gd name="T48" fmla="*/ 45265824 w 126"/>
              <a:gd name="T49" fmla="*/ 171387951 h 140"/>
              <a:gd name="T50" fmla="*/ 160944404 w 126"/>
              <a:gd name="T51" fmla="*/ 45368323 h 140"/>
              <a:gd name="T52" fmla="*/ 336977415 w 126"/>
              <a:gd name="T53" fmla="*/ 0 h 140"/>
              <a:gd name="T54" fmla="*/ 553245967 w 126"/>
              <a:gd name="T55" fmla="*/ 80653550 h 140"/>
              <a:gd name="T56" fmla="*/ 633719291 w 126"/>
              <a:gd name="T57" fmla="*/ 292367154 h 140"/>
              <a:gd name="T58" fmla="*/ 603542075 w 126"/>
              <a:gd name="T59" fmla="*/ 433510304 h 140"/>
              <a:gd name="T60" fmla="*/ 507982386 w 126"/>
              <a:gd name="T61" fmla="*/ 534327803 h 140"/>
              <a:gd name="T62" fmla="*/ 417450739 w 126"/>
              <a:gd name="T63" fmla="*/ 564572604 h 140"/>
              <a:gd name="T64" fmla="*/ 377212956 w 126"/>
              <a:gd name="T65" fmla="*/ 549449081 h 140"/>
              <a:gd name="T66" fmla="*/ 352066023 w 126"/>
              <a:gd name="T67" fmla="*/ 514163854 h 140"/>
              <a:gd name="T68" fmla="*/ 301772159 w 126"/>
              <a:gd name="T69" fmla="*/ 554491752 h 140"/>
              <a:gd name="T70" fmla="*/ 251476051 w 126"/>
              <a:gd name="T71" fmla="*/ 564572604 h 140"/>
              <a:gd name="T72" fmla="*/ 155914120 w 126"/>
              <a:gd name="T73" fmla="*/ 519204280 h 140"/>
              <a:gd name="T74" fmla="*/ 120708863 w 126"/>
              <a:gd name="T75" fmla="*/ 388144226 h 140"/>
              <a:gd name="T76" fmla="*/ 171002728 w 126"/>
              <a:gd name="T77" fmla="*/ 206673178 h 140"/>
              <a:gd name="T78" fmla="*/ 296741875 w 126"/>
              <a:gd name="T79" fmla="*/ 126019628 h 140"/>
              <a:gd name="T80" fmla="*/ 347035740 w 126"/>
              <a:gd name="T81" fmla="*/ 141143151 h 140"/>
              <a:gd name="T82" fmla="*/ 392301564 w 126"/>
              <a:gd name="T83" fmla="*/ 186511474 h 140"/>
              <a:gd name="T84" fmla="*/ 402362131 w 126"/>
              <a:gd name="T85" fmla="*/ 141143151 h 140"/>
              <a:gd name="T86" fmla="*/ 482833211 w 126"/>
              <a:gd name="T87" fmla="*/ 141143151 h 140"/>
              <a:gd name="T88" fmla="*/ 206210228 w 126"/>
              <a:gd name="T89" fmla="*/ 408305930 h 140"/>
              <a:gd name="T90" fmla="*/ 226329119 w 126"/>
              <a:gd name="T91" fmla="*/ 483919054 h 140"/>
              <a:gd name="T92" fmla="*/ 266564659 w 126"/>
              <a:gd name="T93" fmla="*/ 504083003 h 140"/>
              <a:gd name="T94" fmla="*/ 316860767 w 126"/>
              <a:gd name="T95" fmla="*/ 483919054 h 140"/>
              <a:gd name="T96" fmla="*/ 352066023 w 126"/>
              <a:gd name="T97" fmla="*/ 393184652 h 140"/>
              <a:gd name="T98" fmla="*/ 372184915 w 126"/>
              <a:gd name="T99" fmla="*/ 272205450 h 140"/>
              <a:gd name="T100" fmla="*/ 352066023 w 126"/>
              <a:gd name="T101" fmla="*/ 211715849 h 140"/>
              <a:gd name="T102" fmla="*/ 311830483 w 126"/>
              <a:gd name="T103" fmla="*/ 191551900 h 140"/>
              <a:gd name="T104" fmla="*/ 261534376 w 126"/>
              <a:gd name="T105" fmla="*/ 211715849 h 140"/>
              <a:gd name="T106" fmla="*/ 221298836 w 126"/>
              <a:gd name="T107" fmla="*/ 297409825 h 140"/>
              <a:gd name="T108" fmla="*/ 206210228 w 126"/>
              <a:gd name="T109" fmla="*/ 408305930 h 14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26" h="140">
                <a:moveTo>
                  <a:pt x="96" y="28"/>
                </a:moveTo>
                <a:cubicBezTo>
                  <a:pt x="86" y="92"/>
                  <a:pt x="86" y="92"/>
                  <a:pt x="86" y="92"/>
                </a:cubicBezTo>
                <a:cubicBezTo>
                  <a:pt x="86" y="93"/>
                  <a:pt x="85" y="94"/>
                  <a:pt x="85" y="95"/>
                </a:cubicBezTo>
                <a:cubicBezTo>
                  <a:pt x="85" y="96"/>
                  <a:pt x="86" y="97"/>
                  <a:pt x="86" y="97"/>
                </a:cubicBezTo>
                <a:cubicBezTo>
                  <a:pt x="87" y="98"/>
                  <a:pt x="88" y="98"/>
                  <a:pt x="89" y="98"/>
                </a:cubicBezTo>
                <a:cubicBezTo>
                  <a:pt x="91" y="98"/>
                  <a:pt x="94" y="97"/>
                  <a:pt x="97" y="95"/>
                </a:cubicBezTo>
                <a:cubicBezTo>
                  <a:pt x="102" y="91"/>
                  <a:pt x="106" y="87"/>
                  <a:pt x="109" y="81"/>
                </a:cubicBezTo>
                <a:cubicBezTo>
                  <a:pt x="112" y="74"/>
                  <a:pt x="114" y="67"/>
                  <a:pt x="114" y="58"/>
                </a:cubicBezTo>
                <a:cubicBezTo>
                  <a:pt x="114" y="44"/>
                  <a:pt x="109" y="33"/>
                  <a:pt x="101" y="25"/>
                </a:cubicBezTo>
                <a:cubicBezTo>
                  <a:pt x="93" y="16"/>
                  <a:pt x="81" y="12"/>
                  <a:pt x="67" y="12"/>
                </a:cubicBezTo>
                <a:cubicBezTo>
                  <a:pt x="57" y="12"/>
                  <a:pt x="48" y="15"/>
                  <a:pt x="39" y="20"/>
                </a:cubicBezTo>
                <a:cubicBezTo>
                  <a:pt x="30" y="24"/>
                  <a:pt x="24" y="31"/>
                  <a:pt x="19" y="41"/>
                </a:cubicBezTo>
                <a:cubicBezTo>
                  <a:pt x="15" y="50"/>
                  <a:pt x="12" y="60"/>
                  <a:pt x="12" y="71"/>
                </a:cubicBezTo>
                <a:cubicBezTo>
                  <a:pt x="12" y="89"/>
                  <a:pt x="17" y="102"/>
                  <a:pt x="27" y="113"/>
                </a:cubicBezTo>
                <a:cubicBezTo>
                  <a:pt x="37" y="123"/>
                  <a:pt x="50" y="128"/>
                  <a:pt x="66" y="128"/>
                </a:cubicBezTo>
                <a:cubicBezTo>
                  <a:pt x="74" y="128"/>
                  <a:pt x="81" y="127"/>
                  <a:pt x="89" y="124"/>
                </a:cubicBezTo>
                <a:cubicBezTo>
                  <a:pt x="96" y="121"/>
                  <a:pt x="103" y="118"/>
                  <a:pt x="109" y="113"/>
                </a:cubicBezTo>
                <a:cubicBezTo>
                  <a:pt x="126" y="113"/>
                  <a:pt x="126" y="113"/>
                  <a:pt x="126" y="113"/>
                </a:cubicBezTo>
                <a:cubicBezTo>
                  <a:pt x="122" y="118"/>
                  <a:pt x="117" y="122"/>
                  <a:pt x="113" y="125"/>
                </a:cubicBezTo>
                <a:cubicBezTo>
                  <a:pt x="107" y="129"/>
                  <a:pt x="100" y="133"/>
                  <a:pt x="92" y="136"/>
                </a:cubicBezTo>
                <a:cubicBezTo>
                  <a:pt x="84" y="138"/>
                  <a:pt x="76" y="140"/>
                  <a:pt x="67" y="140"/>
                </a:cubicBezTo>
                <a:cubicBezTo>
                  <a:pt x="54" y="140"/>
                  <a:pt x="42" y="137"/>
                  <a:pt x="32" y="131"/>
                </a:cubicBezTo>
                <a:cubicBezTo>
                  <a:pt x="22" y="125"/>
                  <a:pt x="14" y="117"/>
                  <a:pt x="8" y="106"/>
                </a:cubicBezTo>
                <a:cubicBezTo>
                  <a:pt x="3" y="96"/>
                  <a:pt x="0" y="84"/>
                  <a:pt x="0" y="71"/>
                </a:cubicBezTo>
                <a:cubicBezTo>
                  <a:pt x="0" y="58"/>
                  <a:pt x="3" y="45"/>
                  <a:pt x="9" y="34"/>
                </a:cubicBezTo>
                <a:cubicBezTo>
                  <a:pt x="15" y="23"/>
                  <a:pt x="23" y="15"/>
                  <a:pt x="32" y="9"/>
                </a:cubicBezTo>
                <a:cubicBezTo>
                  <a:pt x="42" y="3"/>
                  <a:pt x="54" y="0"/>
                  <a:pt x="67" y="0"/>
                </a:cubicBezTo>
                <a:cubicBezTo>
                  <a:pt x="85" y="0"/>
                  <a:pt x="99" y="6"/>
                  <a:pt x="110" y="16"/>
                </a:cubicBezTo>
                <a:cubicBezTo>
                  <a:pt x="121" y="27"/>
                  <a:pt x="126" y="41"/>
                  <a:pt x="126" y="58"/>
                </a:cubicBezTo>
                <a:cubicBezTo>
                  <a:pt x="126" y="68"/>
                  <a:pt x="124" y="78"/>
                  <a:pt x="120" y="86"/>
                </a:cubicBezTo>
                <a:cubicBezTo>
                  <a:pt x="116" y="94"/>
                  <a:pt x="109" y="101"/>
                  <a:pt x="101" y="106"/>
                </a:cubicBezTo>
                <a:cubicBezTo>
                  <a:pt x="95" y="110"/>
                  <a:pt x="89" y="112"/>
                  <a:pt x="83" y="112"/>
                </a:cubicBezTo>
                <a:cubicBezTo>
                  <a:pt x="80" y="112"/>
                  <a:pt x="77" y="111"/>
                  <a:pt x="75" y="109"/>
                </a:cubicBezTo>
                <a:cubicBezTo>
                  <a:pt x="73" y="108"/>
                  <a:pt x="71" y="106"/>
                  <a:pt x="70" y="102"/>
                </a:cubicBezTo>
                <a:cubicBezTo>
                  <a:pt x="67" y="106"/>
                  <a:pt x="63" y="108"/>
                  <a:pt x="60" y="110"/>
                </a:cubicBezTo>
                <a:cubicBezTo>
                  <a:pt x="57" y="111"/>
                  <a:pt x="54" y="112"/>
                  <a:pt x="50" y="112"/>
                </a:cubicBezTo>
                <a:cubicBezTo>
                  <a:pt x="43" y="112"/>
                  <a:pt x="37" y="109"/>
                  <a:pt x="31" y="103"/>
                </a:cubicBezTo>
                <a:cubicBezTo>
                  <a:pt x="26" y="97"/>
                  <a:pt x="24" y="88"/>
                  <a:pt x="24" y="77"/>
                </a:cubicBezTo>
                <a:cubicBezTo>
                  <a:pt x="24" y="64"/>
                  <a:pt x="27" y="52"/>
                  <a:pt x="34" y="41"/>
                </a:cubicBezTo>
                <a:cubicBezTo>
                  <a:pt x="40" y="31"/>
                  <a:pt x="49" y="25"/>
                  <a:pt x="59" y="25"/>
                </a:cubicBezTo>
                <a:cubicBezTo>
                  <a:pt x="63" y="25"/>
                  <a:pt x="66" y="26"/>
                  <a:pt x="69" y="28"/>
                </a:cubicBezTo>
                <a:cubicBezTo>
                  <a:pt x="72" y="30"/>
                  <a:pt x="75" y="33"/>
                  <a:pt x="78" y="37"/>
                </a:cubicBezTo>
                <a:cubicBezTo>
                  <a:pt x="80" y="28"/>
                  <a:pt x="80" y="28"/>
                  <a:pt x="80" y="28"/>
                </a:cubicBezTo>
                <a:lnTo>
                  <a:pt x="96" y="28"/>
                </a:lnTo>
                <a:close/>
                <a:moveTo>
                  <a:pt x="41" y="81"/>
                </a:moveTo>
                <a:cubicBezTo>
                  <a:pt x="41" y="87"/>
                  <a:pt x="42" y="92"/>
                  <a:pt x="45" y="96"/>
                </a:cubicBezTo>
                <a:cubicBezTo>
                  <a:pt x="47" y="99"/>
                  <a:pt x="50" y="100"/>
                  <a:pt x="53" y="100"/>
                </a:cubicBezTo>
                <a:cubicBezTo>
                  <a:pt x="57" y="100"/>
                  <a:pt x="60" y="99"/>
                  <a:pt x="63" y="96"/>
                </a:cubicBezTo>
                <a:cubicBezTo>
                  <a:pt x="66" y="93"/>
                  <a:pt x="68" y="87"/>
                  <a:pt x="70" y="78"/>
                </a:cubicBezTo>
                <a:cubicBezTo>
                  <a:pt x="72" y="69"/>
                  <a:pt x="74" y="61"/>
                  <a:pt x="74" y="54"/>
                </a:cubicBezTo>
                <a:cubicBezTo>
                  <a:pt x="74" y="49"/>
                  <a:pt x="72" y="45"/>
                  <a:pt x="70" y="42"/>
                </a:cubicBezTo>
                <a:cubicBezTo>
                  <a:pt x="68" y="40"/>
                  <a:pt x="65" y="38"/>
                  <a:pt x="62" y="38"/>
                </a:cubicBezTo>
                <a:cubicBezTo>
                  <a:pt x="58" y="38"/>
                  <a:pt x="55" y="40"/>
                  <a:pt x="52" y="42"/>
                </a:cubicBezTo>
                <a:cubicBezTo>
                  <a:pt x="48" y="46"/>
                  <a:pt x="46" y="52"/>
                  <a:pt x="44" y="59"/>
                </a:cubicBezTo>
                <a:cubicBezTo>
                  <a:pt x="42" y="67"/>
                  <a:pt x="41" y="75"/>
                  <a:pt x="41" y="8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52" name="Freeform 87"/>
          <p:cNvSpPr>
            <a:spLocks/>
          </p:cNvSpPr>
          <p:nvPr/>
        </p:nvSpPr>
        <p:spPr bwMode="auto">
          <a:xfrm>
            <a:off x="7973484" y="2992968"/>
            <a:ext cx="268816" cy="156633"/>
          </a:xfrm>
          <a:custGeom>
            <a:avLst/>
            <a:gdLst>
              <a:gd name="T0" fmla="*/ 105382592 w 90"/>
              <a:gd name="T1" fmla="*/ 265391839 h 52"/>
              <a:gd name="T2" fmla="*/ 105382592 w 90"/>
              <a:gd name="T3" fmla="*/ 178629774 h 52"/>
              <a:gd name="T4" fmla="*/ 185673451 w 90"/>
              <a:gd name="T5" fmla="*/ 102074479 h 52"/>
              <a:gd name="T6" fmla="*/ 270982209 w 90"/>
              <a:gd name="T7" fmla="*/ 102074479 h 52"/>
              <a:gd name="T8" fmla="*/ 346255169 w 90"/>
              <a:gd name="T9" fmla="*/ 178629774 h 52"/>
              <a:gd name="T10" fmla="*/ 346255169 w 90"/>
              <a:gd name="T11" fmla="*/ 265391839 h 52"/>
              <a:gd name="T12" fmla="*/ 451637762 w 90"/>
              <a:gd name="T13" fmla="*/ 265391839 h 52"/>
              <a:gd name="T14" fmla="*/ 451637762 w 90"/>
              <a:gd name="T15" fmla="*/ 178629774 h 52"/>
              <a:gd name="T16" fmla="*/ 270982209 w 90"/>
              <a:gd name="T17" fmla="*/ 0 h 52"/>
              <a:gd name="T18" fmla="*/ 185673451 w 90"/>
              <a:gd name="T19" fmla="*/ 0 h 52"/>
              <a:gd name="T20" fmla="*/ 0 w 90"/>
              <a:gd name="T21" fmla="*/ 178629774 h 52"/>
              <a:gd name="T22" fmla="*/ 0 w 90"/>
              <a:gd name="T23" fmla="*/ 265391839 h 52"/>
              <a:gd name="T24" fmla="*/ 105382592 w 90"/>
              <a:gd name="T25" fmla="*/ 265391839 h 5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90" h="52">
                <a:moveTo>
                  <a:pt x="21" y="52"/>
                </a:moveTo>
                <a:cubicBezTo>
                  <a:pt x="21" y="35"/>
                  <a:pt x="21" y="35"/>
                  <a:pt x="21" y="35"/>
                </a:cubicBezTo>
                <a:cubicBezTo>
                  <a:pt x="21" y="27"/>
                  <a:pt x="28" y="20"/>
                  <a:pt x="37" y="20"/>
                </a:cubicBezTo>
                <a:cubicBezTo>
                  <a:pt x="54" y="20"/>
                  <a:pt x="54" y="20"/>
                  <a:pt x="54" y="20"/>
                </a:cubicBezTo>
                <a:cubicBezTo>
                  <a:pt x="62" y="20"/>
                  <a:pt x="69" y="27"/>
                  <a:pt x="69" y="35"/>
                </a:cubicBezTo>
                <a:cubicBezTo>
                  <a:pt x="69" y="52"/>
                  <a:pt x="69" y="52"/>
                  <a:pt x="69" y="52"/>
                </a:cubicBezTo>
                <a:cubicBezTo>
                  <a:pt x="90" y="52"/>
                  <a:pt x="90" y="52"/>
                  <a:pt x="90" y="52"/>
                </a:cubicBezTo>
                <a:cubicBezTo>
                  <a:pt x="90" y="35"/>
                  <a:pt x="90" y="35"/>
                  <a:pt x="90" y="35"/>
                </a:cubicBezTo>
                <a:cubicBezTo>
                  <a:pt x="90" y="16"/>
                  <a:pt x="74" y="0"/>
                  <a:pt x="54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17" y="0"/>
                  <a:pt x="0" y="16"/>
                  <a:pt x="0" y="35"/>
                </a:cubicBezTo>
                <a:cubicBezTo>
                  <a:pt x="0" y="52"/>
                  <a:pt x="0" y="52"/>
                  <a:pt x="0" y="52"/>
                </a:cubicBezTo>
                <a:lnTo>
                  <a:pt x="21" y="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53" name="Freeform 88"/>
          <p:cNvSpPr>
            <a:spLocks noEditPoints="1"/>
          </p:cNvSpPr>
          <p:nvPr/>
        </p:nvSpPr>
        <p:spPr bwMode="auto">
          <a:xfrm>
            <a:off x="7916334" y="3181351"/>
            <a:ext cx="376767" cy="328083"/>
          </a:xfrm>
          <a:custGeom>
            <a:avLst/>
            <a:gdLst>
              <a:gd name="T0" fmla="*/ 0 w 126"/>
              <a:gd name="T1" fmla="*/ 0 h 109"/>
              <a:gd name="T2" fmla="*/ 0 w 126"/>
              <a:gd name="T3" fmla="*/ 285382256 h 109"/>
              <a:gd name="T4" fmla="*/ 276622984 w 126"/>
              <a:gd name="T5" fmla="*/ 555474806 h 109"/>
              <a:gd name="T6" fmla="*/ 357096307 w 126"/>
              <a:gd name="T7" fmla="*/ 555474806 h 109"/>
              <a:gd name="T8" fmla="*/ 633719291 w 126"/>
              <a:gd name="T9" fmla="*/ 285382256 h 109"/>
              <a:gd name="T10" fmla="*/ 633719291 w 126"/>
              <a:gd name="T11" fmla="*/ 0 h 109"/>
              <a:gd name="T12" fmla="*/ 0 w 126"/>
              <a:gd name="T13" fmla="*/ 0 h 109"/>
              <a:gd name="T14" fmla="*/ 357096307 w 126"/>
              <a:gd name="T15" fmla="*/ 254805102 h 109"/>
              <a:gd name="T16" fmla="*/ 357096307 w 126"/>
              <a:gd name="T17" fmla="*/ 377111461 h 109"/>
              <a:gd name="T18" fmla="*/ 331947132 w 126"/>
              <a:gd name="T19" fmla="*/ 402591294 h 109"/>
              <a:gd name="T20" fmla="*/ 301772159 w 126"/>
              <a:gd name="T21" fmla="*/ 377111461 h 109"/>
              <a:gd name="T22" fmla="*/ 301772159 w 126"/>
              <a:gd name="T23" fmla="*/ 254805102 h 109"/>
              <a:gd name="T24" fmla="*/ 256506335 w 126"/>
              <a:gd name="T25" fmla="*/ 188555730 h 109"/>
              <a:gd name="T26" fmla="*/ 331947132 w 126"/>
              <a:gd name="T27" fmla="*/ 117211295 h 109"/>
              <a:gd name="T28" fmla="*/ 402362131 w 126"/>
              <a:gd name="T29" fmla="*/ 188555730 h 109"/>
              <a:gd name="T30" fmla="*/ 357096307 w 126"/>
              <a:gd name="T31" fmla="*/ 254805102 h 10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26" h="109">
                <a:moveTo>
                  <a:pt x="0" y="0"/>
                </a:moveTo>
                <a:cubicBezTo>
                  <a:pt x="0" y="56"/>
                  <a:pt x="0" y="56"/>
                  <a:pt x="0" y="56"/>
                </a:cubicBezTo>
                <a:cubicBezTo>
                  <a:pt x="0" y="85"/>
                  <a:pt x="24" y="109"/>
                  <a:pt x="55" y="109"/>
                </a:cubicBezTo>
                <a:cubicBezTo>
                  <a:pt x="71" y="109"/>
                  <a:pt x="71" y="109"/>
                  <a:pt x="71" y="109"/>
                </a:cubicBezTo>
                <a:cubicBezTo>
                  <a:pt x="102" y="109"/>
                  <a:pt x="126" y="85"/>
                  <a:pt x="126" y="56"/>
                </a:cubicBezTo>
                <a:cubicBezTo>
                  <a:pt x="126" y="0"/>
                  <a:pt x="126" y="0"/>
                  <a:pt x="126" y="0"/>
                </a:cubicBezTo>
                <a:lnTo>
                  <a:pt x="0" y="0"/>
                </a:lnTo>
                <a:close/>
                <a:moveTo>
                  <a:pt x="71" y="50"/>
                </a:moveTo>
                <a:cubicBezTo>
                  <a:pt x="71" y="74"/>
                  <a:pt x="71" y="74"/>
                  <a:pt x="71" y="74"/>
                </a:cubicBezTo>
                <a:cubicBezTo>
                  <a:pt x="71" y="77"/>
                  <a:pt x="69" y="79"/>
                  <a:pt x="66" y="79"/>
                </a:cubicBezTo>
                <a:cubicBezTo>
                  <a:pt x="63" y="79"/>
                  <a:pt x="60" y="77"/>
                  <a:pt x="60" y="74"/>
                </a:cubicBezTo>
                <a:cubicBezTo>
                  <a:pt x="60" y="50"/>
                  <a:pt x="60" y="50"/>
                  <a:pt x="60" y="50"/>
                </a:cubicBezTo>
                <a:cubicBezTo>
                  <a:pt x="55" y="47"/>
                  <a:pt x="51" y="42"/>
                  <a:pt x="51" y="37"/>
                </a:cubicBezTo>
                <a:cubicBezTo>
                  <a:pt x="51" y="29"/>
                  <a:pt x="58" y="23"/>
                  <a:pt x="66" y="23"/>
                </a:cubicBezTo>
                <a:cubicBezTo>
                  <a:pt x="73" y="23"/>
                  <a:pt x="80" y="29"/>
                  <a:pt x="80" y="37"/>
                </a:cubicBezTo>
                <a:cubicBezTo>
                  <a:pt x="80" y="43"/>
                  <a:pt x="76" y="47"/>
                  <a:pt x="71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54" name="Freeform 89"/>
          <p:cNvSpPr>
            <a:spLocks/>
          </p:cNvSpPr>
          <p:nvPr/>
        </p:nvSpPr>
        <p:spPr bwMode="auto">
          <a:xfrm>
            <a:off x="8875185" y="2969684"/>
            <a:ext cx="264583" cy="211667"/>
          </a:xfrm>
          <a:custGeom>
            <a:avLst/>
            <a:gdLst>
              <a:gd name="T0" fmla="*/ 101696708 w 88"/>
              <a:gd name="T1" fmla="*/ 254965915 h 71"/>
              <a:gd name="T2" fmla="*/ 101696708 w 88"/>
              <a:gd name="T3" fmla="*/ 169976532 h 71"/>
              <a:gd name="T4" fmla="*/ 183055878 w 88"/>
              <a:gd name="T5" fmla="*/ 94986162 h 71"/>
              <a:gd name="T6" fmla="*/ 269497741 w 88"/>
              <a:gd name="T7" fmla="*/ 94986162 h 71"/>
              <a:gd name="T8" fmla="*/ 345771963 w 88"/>
              <a:gd name="T9" fmla="*/ 169976532 h 71"/>
              <a:gd name="T10" fmla="*/ 345771963 w 88"/>
              <a:gd name="T11" fmla="*/ 354951585 h 71"/>
              <a:gd name="T12" fmla="*/ 447468670 w 88"/>
              <a:gd name="T13" fmla="*/ 354951585 h 71"/>
              <a:gd name="T14" fmla="*/ 447468670 w 88"/>
              <a:gd name="T15" fmla="*/ 169976532 h 71"/>
              <a:gd name="T16" fmla="*/ 269497741 w 88"/>
              <a:gd name="T17" fmla="*/ 0 h 71"/>
              <a:gd name="T18" fmla="*/ 183055878 w 88"/>
              <a:gd name="T19" fmla="*/ 0 h 71"/>
              <a:gd name="T20" fmla="*/ 0 w 88"/>
              <a:gd name="T21" fmla="*/ 169976532 h 71"/>
              <a:gd name="T22" fmla="*/ 0 w 88"/>
              <a:gd name="T23" fmla="*/ 254965915 h 71"/>
              <a:gd name="T24" fmla="*/ 101696708 w 88"/>
              <a:gd name="T25" fmla="*/ 254965915 h 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88" h="71">
                <a:moveTo>
                  <a:pt x="20" y="51"/>
                </a:moveTo>
                <a:cubicBezTo>
                  <a:pt x="20" y="34"/>
                  <a:pt x="20" y="34"/>
                  <a:pt x="20" y="34"/>
                </a:cubicBezTo>
                <a:cubicBezTo>
                  <a:pt x="20" y="26"/>
                  <a:pt x="27" y="19"/>
                  <a:pt x="36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61" y="19"/>
                  <a:pt x="68" y="26"/>
                  <a:pt x="68" y="34"/>
                </a:cubicBezTo>
                <a:cubicBezTo>
                  <a:pt x="68" y="71"/>
                  <a:pt x="68" y="71"/>
                  <a:pt x="68" y="71"/>
                </a:cubicBezTo>
                <a:cubicBezTo>
                  <a:pt x="88" y="71"/>
                  <a:pt x="88" y="71"/>
                  <a:pt x="88" y="71"/>
                </a:cubicBezTo>
                <a:cubicBezTo>
                  <a:pt x="88" y="34"/>
                  <a:pt x="88" y="34"/>
                  <a:pt x="88" y="34"/>
                </a:cubicBezTo>
                <a:cubicBezTo>
                  <a:pt x="88" y="15"/>
                  <a:pt x="72" y="0"/>
                  <a:pt x="53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16" y="0"/>
                  <a:pt x="0" y="15"/>
                  <a:pt x="0" y="34"/>
                </a:cubicBezTo>
                <a:cubicBezTo>
                  <a:pt x="0" y="51"/>
                  <a:pt x="0" y="51"/>
                  <a:pt x="0" y="51"/>
                </a:cubicBezTo>
                <a:lnTo>
                  <a:pt x="20" y="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55" name="Freeform 90"/>
          <p:cNvSpPr>
            <a:spLocks noEditPoints="1"/>
          </p:cNvSpPr>
          <p:nvPr/>
        </p:nvSpPr>
        <p:spPr bwMode="auto">
          <a:xfrm>
            <a:off x="8818034" y="3210984"/>
            <a:ext cx="372533" cy="321733"/>
          </a:xfrm>
          <a:custGeom>
            <a:avLst/>
            <a:gdLst>
              <a:gd name="T0" fmla="*/ 0 w 124"/>
              <a:gd name="T1" fmla="*/ 0 h 107"/>
              <a:gd name="T2" fmla="*/ 0 w 124"/>
              <a:gd name="T3" fmla="*/ 279711803 h 107"/>
              <a:gd name="T4" fmla="*/ 274158997 w 124"/>
              <a:gd name="T5" fmla="*/ 544165327 h 107"/>
              <a:gd name="T6" fmla="*/ 355392294 w 124"/>
              <a:gd name="T7" fmla="*/ 544165327 h 107"/>
              <a:gd name="T8" fmla="*/ 629551290 w 124"/>
              <a:gd name="T9" fmla="*/ 279711803 h 107"/>
              <a:gd name="T10" fmla="*/ 629551290 w 124"/>
              <a:gd name="T11" fmla="*/ 0 h 107"/>
              <a:gd name="T12" fmla="*/ 0 w 124"/>
              <a:gd name="T13" fmla="*/ 0 h 107"/>
              <a:gd name="T14" fmla="*/ 355392294 w 124"/>
              <a:gd name="T15" fmla="*/ 249197501 h 107"/>
              <a:gd name="T16" fmla="*/ 355392294 w 124"/>
              <a:gd name="T17" fmla="*/ 371252453 h 107"/>
              <a:gd name="T18" fmla="*/ 330007452 w 124"/>
              <a:gd name="T19" fmla="*/ 396681414 h 107"/>
              <a:gd name="T20" fmla="*/ 299543839 w 124"/>
              <a:gd name="T21" fmla="*/ 371252453 h 107"/>
              <a:gd name="T22" fmla="*/ 299543839 w 124"/>
              <a:gd name="T23" fmla="*/ 249197501 h 107"/>
              <a:gd name="T24" fmla="*/ 258929444 w 124"/>
              <a:gd name="T25" fmla="*/ 183083556 h 107"/>
              <a:gd name="T26" fmla="*/ 330007452 w 124"/>
              <a:gd name="T27" fmla="*/ 116969611 h 107"/>
              <a:gd name="T28" fmla="*/ 401085460 w 124"/>
              <a:gd name="T29" fmla="*/ 183083556 h 107"/>
              <a:gd name="T30" fmla="*/ 355392294 w 124"/>
              <a:gd name="T31" fmla="*/ 249197501 h 10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24" h="107">
                <a:moveTo>
                  <a:pt x="0" y="0"/>
                </a:moveTo>
                <a:cubicBezTo>
                  <a:pt x="0" y="55"/>
                  <a:pt x="0" y="55"/>
                  <a:pt x="0" y="55"/>
                </a:cubicBezTo>
                <a:cubicBezTo>
                  <a:pt x="0" y="84"/>
                  <a:pt x="24" y="107"/>
                  <a:pt x="54" y="107"/>
                </a:cubicBezTo>
                <a:cubicBezTo>
                  <a:pt x="70" y="107"/>
                  <a:pt x="70" y="107"/>
                  <a:pt x="70" y="107"/>
                </a:cubicBezTo>
                <a:cubicBezTo>
                  <a:pt x="100" y="107"/>
                  <a:pt x="124" y="84"/>
                  <a:pt x="124" y="55"/>
                </a:cubicBezTo>
                <a:cubicBezTo>
                  <a:pt x="124" y="0"/>
                  <a:pt x="124" y="0"/>
                  <a:pt x="124" y="0"/>
                </a:cubicBezTo>
                <a:lnTo>
                  <a:pt x="0" y="0"/>
                </a:lnTo>
                <a:close/>
                <a:moveTo>
                  <a:pt x="70" y="49"/>
                </a:moveTo>
                <a:cubicBezTo>
                  <a:pt x="70" y="73"/>
                  <a:pt x="70" y="73"/>
                  <a:pt x="70" y="73"/>
                </a:cubicBezTo>
                <a:cubicBezTo>
                  <a:pt x="70" y="76"/>
                  <a:pt x="67" y="78"/>
                  <a:pt x="65" y="78"/>
                </a:cubicBezTo>
                <a:cubicBezTo>
                  <a:pt x="62" y="78"/>
                  <a:pt x="59" y="76"/>
                  <a:pt x="59" y="73"/>
                </a:cubicBezTo>
                <a:cubicBezTo>
                  <a:pt x="59" y="49"/>
                  <a:pt x="59" y="49"/>
                  <a:pt x="59" y="49"/>
                </a:cubicBezTo>
                <a:cubicBezTo>
                  <a:pt x="54" y="47"/>
                  <a:pt x="51" y="42"/>
                  <a:pt x="51" y="36"/>
                </a:cubicBezTo>
                <a:cubicBezTo>
                  <a:pt x="51" y="29"/>
                  <a:pt x="57" y="23"/>
                  <a:pt x="65" y="23"/>
                </a:cubicBezTo>
                <a:cubicBezTo>
                  <a:pt x="72" y="23"/>
                  <a:pt x="79" y="29"/>
                  <a:pt x="79" y="36"/>
                </a:cubicBezTo>
                <a:cubicBezTo>
                  <a:pt x="79" y="42"/>
                  <a:pt x="75" y="47"/>
                  <a:pt x="70" y="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56" name="Rectangle 91"/>
          <p:cNvSpPr>
            <a:spLocks noChangeArrowheads="1"/>
          </p:cNvSpPr>
          <p:nvPr/>
        </p:nvSpPr>
        <p:spPr bwMode="auto">
          <a:xfrm>
            <a:off x="9903885" y="3350684"/>
            <a:ext cx="190500" cy="5714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457" name="Freeform 92"/>
          <p:cNvSpPr>
            <a:spLocks/>
          </p:cNvSpPr>
          <p:nvPr/>
        </p:nvSpPr>
        <p:spPr bwMode="auto">
          <a:xfrm>
            <a:off x="9666818" y="3094567"/>
            <a:ext cx="374649" cy="366184"/>
          </a:xfrm>
          <a:custGeom>
            <a:avLst/>
            <a:gdLst>
              <a:gd name="T0" fmla="*/ 395663033 w 177"/>
              <a:gd name="T1" fmla="*/ 0 h 173"/>
              <a:gd name="T2" fmla="*/ 0 w 177"/>
              <a:gd name="T3" fmla="*/ 390625724 h 173"/>
              <a:gd name="T4" fmla="*/ 47882090 w 177"/>
              <a:gd name="T5" fmla="*/ 435988619 h 173"/>
              <a:gd name="T6" fmla="*/ 446066069 w 177"/>
              <a:gd name="T7" fmla="*/ 50403217 h 173"/>
              <a:gd name="T8" fmla="*/ 395663033 w 177"/>
              <a:gd name="T9" fmla="*/ 0 h 17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7" h="173">
                <a:moveTo>
                  <a:pt x="157" y="0"/>
                </a:moveTo>
                <a:lnTo>
                  <a:pt x="0" y="155"/>
                </a:lnTo>
                <a:lnTo>
                  <a:pt x="19" y="173"/>
                </a:lnTo>
                <a:lnTo>
                  <a:pt x="177" y="20"/>
                </a:lnTo>
                <a:lnTo>
                  <a:pt x="15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58" name="Freeform 93"/>
          <p:cNvSpPr>
            <a:spLocks/>
          </p:cNvSpPr>
          <p:nvPr/>
        </p:nvSpPr>
        <p:spPr bwMode="auto">
          <a:xfrm>
            <a:off x="9639301" y="3077633"/>
            <a:ext cx="192617" cy="186267"/>
          </a:xfrm>
          <a:custGeom>
            <a:avLst/>
            <a:gdLst>
              <a:gd name="T0" fmla="*/ 229334219 w 91"/>
              <a:gd name="T1" fmla="*/ 73085325 h 88"/>
              <a:gd name="T2" fmla="*/ 148688940 w 91"/>
              <a:gd name="T3" fmla="*/ 73085325 h 88"/>
              <a:gd name="T4" fmla="*/ 148688940 w 91"/>
              <a:gd name="T5" fmla="*/ 0 h 88"/>
              <a:gd name="T6" fmla="*/ 78124320 w 91"/>
              <a:gd name="T7" fmla="*/ 0 h 88"/>
              <a:gd name="T8" fmla="*/ 78124320 w 91"/>
              <a:gd name="T9" fmla="*/ 73085325 h 88"/>
              <a:gd name="T10" fmla="*/ 0 w 91"/>
              <a:gd name="T11" fmla="*/ 73085325 h 88"/>
              <a:gd name="T12" fmla="*/ 0 w 91"/>
              <a:gd name="T13" fmla="*/ 141128750 h 88"/>
              <a:gd name="T14" fmla="*/ 78124320 w 91"/>
              <a:gd name="T15" fmla="*/ 141128750 h 88"/>
              <a:gd name="T16" fmla="*/ 78124320 w 91"/>
              <a:gd name="T17" fmla="*/ 221773750 h 88"/>
              <a:gd name="T18" fmla="*/ 148688940 w 91"/>
              <a:gd name="T19" fmla="*/ 221773750 h 88"/>
              <a:gd name="T20" fmla="*/ 148688940 w 91"/>
              <a:gd name="T21" fmla="*/ 141128750 h 88"/>
              <a:gd name="T22" fmla="*/ 229334219 w 91"/>
              <a:gd name="T23" fmla="*/ 141128750 h 88"/>
              <a:gd name="T24" fmla="*/ 229334219 w 91"/>
              <a:gd name="T25" fmla="*/ 73085325 h 8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91" h="88">
                <a:moveTo>
                  <a:pt x="91" y="29"/>
                </a:moveTo>
                <a:lnTo>
                  <a:pt x="59" y="29"/>
                </a:lnTo>
                <a:lnTo>
                  <a:pt x="59" y="0"/>
                </a:lnTo>
                <a:lnTo>
                  <a:pt x="31" y="0"/>
                </a:lnTo>
                <a:lnTo>
                  <a:pt x="31" y="29"/>
                </a:lnTo>
                <a:lnTo>
                  <a:pt x="0" y="29"/>
                </a:lnTo>
                <a:lnTo>
                  <a:pt x="0" y="56"/>
                </a:lnTo>
                <a:lnTo>
                  <a:pt x="31" y="56"/>
                </a:lnTo>
                <a:lnTo>
                  <a:pt x="31" y="88"/>
                </a:lnTo>
                <a:lnTo>
                  <a:pt x="59" y="88"/>
                </a:lnTo>
                <a:lnTo>
                  <a:pt x="59" y="56"/>
                </a:lnTo>
                <a:lnTo>
                  <a:pt x="91" y="56"/>
                </a:lnTo>
                <a:lnTo>
                  <a:pt x="91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59" name="Freeform 94"/>
          <p:cNvSpPr>
            <a:spLocks/>
          </p:cNvSpPr>
          <p:nvPr/>
        </p:nvSpPr>
        <p:spPr bwMode="auto">
          <a:xfrm>
            <a:off x="10469034" y="3056467"/>
            <a:ext cx="474133" cy="459317"/>
          </a:xfrm>
          <a:custGeom>
            <a:avLst/>
            <a:gdLst>
              <a:gd name="T0" fmla="*/ 400162532 w 158"/>
              <a:gd name="T1" fmla="*/ 141947068 h 153"/>
              <a:gd name="T2" fmla="*/ 800325063 w 158"/>
              <a:gd name="T3" fmla="*/ 430907205 h 153"/>
              <a:gd name="T4" fmla="*/ 400162532 w 158"/>
              <a:gd name="T5" fmla="*/ 775633870 h 153"/>
              <a:gd name="T6" fmla="*/ 0 w 158"/>
              <a:gd name="T7" fmla="*/ 430907205 h 153"/>
              <a:gd name="T8" fmla="*/ 400162532 w 158"/>
              <a:gd name="T9" fmla="*/ 141947068 h 15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" h="153">
                <a:moveTo>
                  <a:pt x="79" y="28"/>
                </a:moveTo>
                <a:cubicBezTo>
                  <a:pt x="123" y="3"/>
                  <a:pt x="158" y="41"/>
                  <a:pt x="158" y="85"/>
                </a:cubicBezTo>
                <a:cubicBezTo>
                  <a:pt x="158" y="128"/>
                  <a:pt x="123" y="153"/>
                  <a:pt x="79" y="153"/>
                </a:cubicBezTo>
                <a:cubicBezTo>
                  <a:pt x="35" y="153"/>
                  <a:pt x="0" y="127"/>
                  <a:pt x="0" y="85"/>
                </a:cubicBezTo>
                <a:cubicBezTo>
                  <a:pt x="0" y="42"/>
                  <a:pt x="35" y="0"/>
                  <a:pt x="79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0" name="Freeform 95"/>
          <p:cNvSpPr>
            <a:spLocks/>
          </p:cNvSpPr>
          <p:nvPr/>
        </p:nvSpPr>
        <p:spPr bwMode="auto">
          <a:xfrm>
            <a:off x="10661651" y="2971800"/>
            <a:ext cx="61383" cy="177800"/>
          </a:xfrm>
          <a:custGeom>
            <a:avLst/>
            <a:gdLst>
              <a:gd name="T0" fmla="*/ 72089558 w 21"/>
              <a:gd name="T1" fmla="*/ 296285619 h 59"/>
              <a:gd name="T2" fmla="*/ 0 w 21"/>
              <a:gd name="T3" fmla="*/ 25542175 h 59"/>
              <a:gd name="T4" fmla="*/ 43252858 w 21"/>
              <a:gd name="T5" fmla="*/ 0 h 59"/>
              <a:gd name="T6" fmla="*/ 86505715 w 21"/>
              <a:gd name="T7" fmla="*/ 296285619 h 59"/>
              <a:gd name="T8" fmla="*/ 76894943 w 21"/>
              <a:gd name="T9" fmla="*/ 301393602 h 59"/>
              <a:gd name="T10" fmla="*/ 72089558 w 21"/>
              <a:gd name="T11" fmla="*/ 296285619 h 5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1" h="59">
                <a:moveTo>
                  <a:pt x="15" y="58"/>
                </a:moveTo>
                <a:cubicBezTo>
                  <a:pt x="15" y="58"/>
                  <a:pt x="14" y="21"/>
                  <a:pt x="0" y="5"/>
                </a:cubicBezTo>
                <a:cubicBezTo>
                  <a:pt x="9" y="0"/>
                  <a:pt x="9" y="0"/>
                  <a:pt x="9" y="0"/>
                </a:cubicBezTo>
                <a:cubicBezTo>
                  <a:pt x="9" y="0"/>
                  <a:pt x="21" y="11"/>
                  <a:pt x="18" y="58"/>
                </a:cubicBezTo>
                <a:cubicBezTo>
                  <a:pt x="16" y="59"/>
                  <a:pt x="16" y="59"/>
                  <a:pt x="16" y="59"/>
                </a:cubicBezTo>
                <a:lnTo>
                  <a:pt x="15" y="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1" name="Freeform 96"/>
          <p:cNvSpPr>
            <a:spLocks/>
          </p:cNvSpPr>
          <p:nvPr/>
        </p:nvSpPr>
        <p:spPr bwMode="auto">
          <a:xfrm>
            <a:off x="10714567" y="2891368"/>
            <a:ext cx="251884" cy="232833"/>
          </a:xfrm>
          <a:custGeom>
            <a:avLst/>
            <a:gdLst>
              <a:gd name="T0" fmla="*/ 0 w 84"/>
              <a:gd name="T1" fmla="*/ 390947316 h 78"/>
              <a:gd name="T2" fmla="*/ 0 w 84"/>
              <a:gd name="T3" fmla="*/ 360873756 h 78"/>
              <a:gd name="T4" fmla="*/ 354047701 w 84"/>
              <a:gd name="T5" fmla="*/ 0 h 78"/>
              <a:gd name="T6" fmla="*/ 0 w 84"/>
              <a:gd name="T7" fmla="*/ 390947316 h 78"/>
              <a:gd name="T8" fmla="*/ 0 w 84"/>
              <a:gd name="T9" fmla="*/ 375911655 h 78"/>
              <a:gd name="T10" fmla="*/ 298410573 w 84"/>
              <a:gd name="T11" fmla="*/ 65157513 h 78"/>
              <a:gd name="T12" fmla="*/ 0 w 84"/>
              <a:gd name="T13" fmla="*/ 390947316 h 7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4" h="78">
                <a:moveTo>
                  <a:pt x="0" y="78"/>
                </a:moveTo>
                <a:cubicBezTo>
                  <a:pt x="0" y="72"/>
                  <a:pt x="0" y="72"/>
                  <a:pt x="0" y="72"/>
                </a:cubicBezTo>
                <a:cubicBezTo>
                  <a:pt x="0" y="70"/>
                  <a:pt x="10" y="13"/>
                  <a:pt x="70" y="0"/>
                </a:cubicBezTo>
                <a:cubicBezTo>
                  <a:pt x="70" y="0"/>
                  <a:pt x="84" y="57"/>
                  <a:pt x="0" y="78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75"/>
                  <a:pt x="42" y="21"/>
                  <a:pt x="59" y="13"/>
                </a:cubicBezTo>
                <a:cubicBezTo>
                  <a:pt x="59" y="13"/>
                  <a:pt x="36" y="33"/>
                  <a:pt x="0" y="7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2" name="Freeform 97"/>
          <p:cNvSpPr>
            <a:spLocks noEditPoints="1"/>
          </p:cNvSpPr>
          <p:nvPr/>
        </p:nvSpPr>
        <p:spPr bwMode="auto">
          <a:xfrm>
            <a:off x="1136651" y="3814234"/>
            <a:ext cx="395816" cy="503767"/>
          </a:xfrm>
          <a:custGeom>
            <a:avLst/>
            <a:gdLst>
              <a:gd name="T0" fmla="*/ 333814572 w 132"/>
              <a:gd name="T1" fmla="*/ 0 h 168"/>
              <a:gd name="T2" fmla="*/ 485549286 w 132"/>
              <a:gd name="T3" fmla="*/ 182082414 h 168"/>
              <a:gd name="T4" fmla="*/ 485549286 w 132"/>
              <a:gd name="T5" fmla="*/ 182082414 h 168"/>
              <a:gd name="T6" fmla="*/ 606936608 w 132"/>
              <a:gd name="T7" fmla="*/ 182082414 h 168"/>
              <a:gd name="T8" fmla="*/ 667629144 w 132"/>
              <a:gd name="T9" fmla="*/ 849712682 h 168"/>
              <a:gd name="T10" fmla="*/ 0 w 132"/>
              <a:gd name="T11" fmla="*/ 849712682 h 168"/>
              <a:gd name="T12" fmla="*/ 60692536 w 132"/>
              <a:gd name="T13" fmla="*/ 182082414 h 168"/>
              <a:gd name="T14" fmla="*/ 182079858 w 132"/>
              <a:gd name="T15" fmla="*/ 182082414 h 168"/>
              <a:gd name="T16" fmla="*/ 182079858 w 132"/>
              <a:gd name="T17" fmla="*/ 182082414 h 168"/>
              <a:gd name="T18" fmla="*/ 333814572 w 132"/>
              <a:gd name="T19" fmla="*/ 0 h 168"/>
              <a:gd name="T20" fmla="*/ 338872471 w 132"/>
              <a:gd name="T21" fmla="*/ 419799558 h 168"/>
              <a:gd name="T22" fmla="*/ 293351382 w 132"/>
              <a:gd name="T23" fmla="*/ 520955455 h 168"/>
              <a:gd name="T24" fmla="*/ 182079858 w 132"/>
              <a:gd name="T25" fmla="*/ 536129177 h 168"/>
              <a:gd name="T26" fmla="*/ 263006238 w 132"/>
              <a:gd name="T27" fmla="*/ 606937630 h 168"/>
              <a:gd name="T28" fmla="*/ 242774643 w 132"/>
              <a:gd name="T29" fmla="*/ 718209342 h 168"/>
              <a:gd name="T30" fmla="*/ 338872471 w 132"/>
              <a:gd name="T31" fmla="*/ 662574610 h 168"/>
              <a:gd name="T32" fmla="*/ 434970299 w 132"/>
              <a:gd name="T33" fmla="*/ 718209342 h 168"/>
              <a:gd name="T34" fmla="*/ 414738704 w 132"/>
              <a:gd name="T35" fmla="*/ 606937630 h 168"/>
              <a:gd name="T36" fmla="*/ 490607185 w 132"/>
              <a:gd name="T37" fmla="*/ 536129177 h 168"/>
              <a:gd name="T38" fmla="*/ 384393560 w 132"/>
              <a:gd name="T39" fmla="*/ 520955455 h 168"/>
              <a:gd name="T40" fmla="*/ 338872471 w 132"/>
              <a:gd name="T41" fmla="*/ 419799558 h 168"/>
              <a:gd name="T42" fmla="*/ 475433489 w 132"/>
              <a:gd name="T43" fmla="*/ 247832959 h 168"/>
              <a:gd name="T44" fmla="*/ 450143995 w 132"/>
              <a:gd name="T45" fmla="*/ 303469940 h 168"/>
              <a:gd name="T46" fmla="*/ 460259793 w 132"/>
              <a:gd name="T47" fmla="*/ 303469940 h 168"/>
              <a:gd name="T48" fmla="*/ 490607185 w 132"/>
              <a:gd name="T49" fmla="*/ 273122496 h 168"/>
              <a:gd name="T50" fmla="*/ 475433489 w 132"/>
              <a:gd name="T51" fmla="*/ 247832959 h 168"/>
              <a:gd name="T52" fmla="*/ 222543048 w 132"/>
              <a:gd name="T53" fmla="*/ 303469940 h 168"/>
              <a:gd name="T54" fmla="*/ 192195655 w 132"/>
              <a:gd name="T55" fmla="*/ 252890867 h 168"/>
              <a:gd name="T56" fmla="*/ 182079858 w 132"/>
              <a:gd name="T57" fmla="*/ 273122496 h 168"/>
              <a:gd name="T58" fmla="*/ 212427251 w 132"/>
              <a:gd name="T59" fmla="*/ 303469940 h 168"/>
              <a:gd name="T60" fmla="*/ 222543048 w 132"/>
              <a:gd name="T61" fmla="*/ 303469940 h 168"/>
              <a:gd name="T62" fmla="*/ 197253554 w 132"/>
              <a:gd name="T63" fmla="*/ 182082414 h 168"/>
              <a:gd name="T64" fmla="*/ 475433489 w 132"/>
              <a:gd name="T65" fmla="*/ 182082414 h 168"/>
              <a:gd name="T66" fmla="*/ 338872471 w 132"/>
              <a:gd name="T67" fmla="*/ 15173722 h 168"/>
              <a:gd name="T68" fmla="*/ 197253554 w 132"/>
              <a:gd name="T69" fmla="*/ 182082414 h 168"/>
              <a:gd name="T70" fmla="*/ 212427251 w 132"/>
              <a:gd name="T71" fmla="*/ 242775052 h 168"/>
              <a:gd name="T72" fmla="*/ 207369352 w 132"/>
              <a:gd name="T73" fmla="*/ 242775052 h 168"/>
              <a:gd name="T74" fmla="*/ 232658846 w 132"/>
              <a:gd name="T75" fmla="*/ 298412032 h 168"/>
              <a:gd name="T76" fmla="*/ 242774643 w 132"/>
              <a:gd name="T77" fmla="*/ 273122496 h 168"/>
              <a:gd name="T78" fmla="*/ 212427251 w 132"/>
              <a:gd name="T79" fmla="*/ 242775052 h 168"/>
              <a:gd name="T80" fmla="*/ 460259793 w 132"/>
              <a:gd name="T81" fmla="*/ 242775052 h 168"/>
              <a:gd name="T82" fmla="*/ 429912400 w 132"/>
              <a:gd name="T83" fmla="*/ 273122496 h 168"/>
              <a:gd name="T84" fmla="*/ 440028197 w 132"/>
              <a:gd name="T85" fmla="*/ 298412032 h 168"/>
              <a:gd name="T86" fmla="*/ 465317691 w 132"/>
              <a:gd name="T87" fmla="*/ 242775052 h 168"/>
              <a:gd name="T88" fmla="*/ 460259793 w 132"/>
              <a:gd name="T89" fmla="*/ 242775052 h 1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32" h="168">
                <a:moveTo>
                  <a:pt x="66" y="0"/>
                </a:moveTo>
                <a:cubicBezTo>
                  <a:pt x="82" y="0"/>
                  <a:pt x="96" y="16"/>
                  <a:pt x="96" y="36"/>
                </a:cubicBezTo>
                <a:cubicBezTo>
                  <a:pt x="96" y="36"/>
                  <a:pt x="96" y="36"/>
                  <a:pt x="96" y="36"/>
                </a:cubicBezTo>
                <a:cubicBezTo>
                  <a:pt x="120" y="36"/>
                  <a:pt x="120" y="36"/>
                  <a:pt x="120" y="36"/>
                </a:cubicBezTo>
                <a:cubicBezTo>
                  <a:pt x="132" y="168"/>
                  <a:pt x="132" y="168"/>
                  <a:pt x="132" y="168"/>
                </a:cubicBezTo>
                <a:cubicBezTo>
                  <a:pt x="0" y="168"/>
                  <a:pt x="0" y="168"/>
                  <a:pt x="0" y="168"/>
                </a:cubicBezTo>
                <a:cubicBezTo>
                  <a:pt x="12" y="36"/>
                  <a:pt x="12" y="36"/>
                  <a:pt x="12" y="36"/>
                </a:cubicBezTo>
                <a:cubicBezTo>
                  <a:pt x="36" y="36"/>
                  <a:pt x="36" y="36"/>
                  <a:pt x="36" y="36"/>
                </a:cubicBezTo>
                <a:cubicBezTo>
                  <a:pt x="36" y="36"/>
                  <a:pt x="36" y="36"/>
                  <a:pt x="36" y="36"/>
                </a:cubicBezTo>
                <a:cubicBezTo>
                  <a:pt x="36" y="16"/>
                  <a:pt x="50" y="0"/>
                  <a:pt x="66" y="0"/>
                </a:cubicBezTo>
                <a:close/>
                <a:moveTo>
                  <a:pt x="67" y="83"/>
                </a:moveTo>
                <a:cubicBezTo>
                  <a:pt x="58" y="103"/>
                  <a:pt x="58" y="103"/>
                  <a:pt x="58" y="103"/>
                </a:cubicBezTo>
                <a:cubicBezTo>
                  <a:pt x="36" y="106"/>
                  <a:pt x="36" y="106"/>
                  <a:pt x="36" y="106"/>
                </a:cubicBezTo>
                <a:cubicBezTo>
                  <a:pt x="52" y="120"/>
                  <a:pt x="52" y="120"/>
                  <a:pt x="52" y="120"/>
                </a:cubicBezTo>
                <a:cubicBezTo>
                  <a:pt x="48" y="142"/>
                  <a:pt x="48" y="142"/>
                  <a:pt x="48" y="142"/>
                </a:cubicBezTo>
                <a:cubicBezTo>
                  <a:pt x="67" y="131"/>
                  <a:pt x="67" y="131"/>
                  <a:pt x="67" y="131"/>
                </a:cubicBezTo>
                <a:cubicBezTo>
                  <a:pt x="86" y="142"/>
                  <a:pt x="86" y="142"/>
                  <a:pt x="86" y="142"/>
                </a:cubicBezTo>
                <a:cubicBezTo>
                  <a:pt x="82" y="120"/>
                  <a:pt x="82" y="120"/>
                  <a:pt x="82" y="120"/>
                </a:cubicBezTo>
                <a:cubicBezTo>
                  <a:pt x="97" y="106"/>
                  <a:pt x="97" y="106"/>
                  <a:pt x="97" y="106"/>
                </a:cubicBezTo>
                <a:cubicBezTo>
                  <a:pt x="76" y="103"/>
                  <a:pt x="76" y="103"/>
                  <a:pt x="76" y="103"/>
                </a:cubicBezTo>
                <a:cubicBezTo>
                  <a:pt x="67" y="83"/>
                  <a:pt x="67" y="83"/>
                  <a:pt x="67" y="83"/>
                </a:cubicBezTo>
                <a:close/>
                <a:moveTo>
                  <a:pt x="94" y="49"/>
                </a:moveTo>
                <a:cubicBezTo>
                  <a:pt x="93" y="53"/>
                  <a:pt x="91" y="57"/>
                  <a:pt x="89" y="60"/>
                </a:cubicBezTo>
                <a:cubicBezTo>
                  <a:pt x="89" y="60"/>
                  <a:pt x="90" y="60"/>
                  <a:pt x="91" y="60"/>
                </a:cubicBezTo>
                <a:cubicBezTo>
                  <a:pt x="94" y="60"/>
                  <a:pt x="97" y="58"/>
                  <a:pt x="97" y="54"/>
                </a:cubicBezTo>
                <a:cubicBezTo>
                  <a:pt x="97" y="52"/>
                  <a:pt x="96" y="50"/>
                  <a:pt x="94" y="49"/>
                </a:cubicBezTo>
                <a:close/>
                <a:moveTo>
                  <a:pt x="44" y="60"/>
                </a:moveTo>
                <a:cubicBezTo>
                  <a:pt x="41" y="57"/>
                  <a:pt x="40" y="53"/>
                  <a:pt x="38" y="50"/>
                </a:cubicBezTo>
                <a:cubicBezTo>
                  <a:pt x="37" y="51"/>
                  <a:pt x="36" y="52"/>
                  <a:pt x="36" y="54"/>
                </a:cubicBezTo>
                <a:cubicBezTo>
                  <a:pt x="36" y="58"/>
                  <a:pt x="39" y="60"/>
                  <a:pt x="42" y="60"/>
                </a:cubicBezTo>
                <a:cubicBezTo>
                  <a:pt x="43" y="60"/>
                  <a:pt x="43" y="60"/>
                  <a:pt x="44" y="60"/>
                </a:cubicBezTo>
                <a:close/>
                <a:moveTo>
                  <a:pt x="39" y="36"/>
                </a:moveTo>
                <a:cubicBezTo>
                  <a:pt x="94" y="36"/>
                  <a:pt x="94" y="36"/>
                  <a:pt x="94" y="36"/>
                </a:cubicBezTo>
                <a:cubicBezTo>
                  <a:pt x="94" y="18"/>
                  <a:pt x="82" y="3"/>
                  <a:pt x="67" y="3"/>
                </a:cubicBezTo>
                <a:cubicBezTo>
                  <a:pt x="51" y="3"/>
                  <a:pt x="39" y="18"/>
                  <a:pt x="39" y="36"/>
                </a:cubicBezTo>
                <a:close/>
                <a:moveTo>
                  <a:pt x="42" y="48"/>
                </a:moveTo>
                <a:cubicBezTo>
                  <a:pt x="42" y="48"/>
                  <a:pt x="41" y="48"/>
                  <a:pt x="41" y="48"/>
                </a:cubicBezTo>
                <a:cubicBezTo>
                  <a:pt x="42" y="52"/>
                  <a:pt x="44" y="56"/>
                  <a:pt x="46" y="59"/>
                </a:cubicBezTo>
                <a:cubicBezTo>
                  <a:pt x="47" y="58"/>
                  <a:pt x="48" y="56"/>
                  <a:pt x="48" y="54"/>
                </a:cubicBezTo>
                <a:cubicBezTo>
                  <a:pt x="48" y="51"/>
                  <a:pt x="45" y="48"/>
                  <a:pt x="42" y="48"/>
                </a:cubicBezTo>
                <a:close/>
                <a:moveTo>
                  <a:pt x="91" y="48"/>
                </a:moveTo>
                <a:cubicBezTo>
                  <a:pt x="87" y="48"/>
                  <a:pt x="85" y="51"/>
                  <a:pt x="85" y="54"/>
                </a:cubicBezTo>
                <a:cubicBezTo>
                  <a:pt x="85" y="56"/>
                  <a:pt x="86" y="58"/>
                  <a:pt x="87" y="59"/>
                </a:cubicBezTo>
                <a:cubicBezTo>
                  <a:pt x="89" y="56"/>
                  <a:pt x="91" y="52"/>
                  <a:pt x="92" y="48"/>
                </a:cubicBezTo>
                <a:cubicBezTo>
                  <a:pt x="92" y="48"/>
                  <a:pt x="91" y="48"/>
                  <a:pt x="91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3" name="Freeform 98"/>
          <p:cNvSpPr>
            <a:spLocks noEditPoints="1"/>
          </p:cNvSpPr>
          <p:nvPr/>
        </p:nvSpPr>
        <p:spPr bwMode="auto">
          <a:xfrm>
            <a:off x="2819401" y="3763434"/>
            <a:ext cx="480484" cy="605367"/>
          </a:xfrm>
          <a:custGeom>
            <a:avLst/>
            <a:gdLst>
              <a:gd name="T0" fmla="*/ 187690564 w 160"/>
              <a:gd name="T1" fmla="*/ 368789673 h 202"/>
              <a:gd name="T2" fmla="*/ 243490522 w 160"/>
              <a:gd name="T3" fmla="*/ 469828217 h 202"/>
              <a:gd name="T4" fmla="*/ 243490522 w 160"/>
              <a:gd name="T5" fmla="*/ 474880931 h 202"/>
              <a:gd name="T6" fmla="*/ 811632071 w 160"/>
              <a:gd name="T7" fmla="*/ 474880931 h 202"/>
              <a:gd name="T8" fmla="*/ 811632071 w 160"/>
              <a:gd name="T9" fmla="*/ 838620137 h 202"/>
              <a:gd name="T10" fmla="*/ 238416161 w 160"/>
              <a:gd name="T11" fmla="*/ 838620137 h 202"/>
              <a:gd name="T12" fmla="*/ 238416161 w 160"/>
              <a:gd name="T13" fmla="*/ 540554973 h 202"/>
              <a:gd name="T14" fmla="*/ 167399875 w 160"/>
              <a:gd name="T15" fmla="*/ 394050995 h 202"/>
              <a:gd name="T16" fmla="*/ 0 w 160"/>
              <a:gd name="T17" fmla="*/ 394050995 h 202"/>
              <a:gd name="T18" fmla="*/ 0 w 160"/>
              <a:gd name="T19" fmla="*/ 368789673 h 202"/>
              <a:gd name="T20" fmla="*/ 187690564 w 160"/>
              <a:gd name="T21" fmla="*/ 368789673 h 202"/>
              <a:gd name="T22" fmla="*/ 187690564 w 160"/>
              <a:gd name="T23" fmla="*/ 368789673 h 202"/>
              <a:gd name="T24" fmla="*/ 187690564 w 160"/>
              <a:gd name="T25" fmla="*/ 368789673 h 202"/>
              <a:gd name="T26" fmla="*/ 451469523 w 160"/>
              <a:gd name="T27" fmla="*/ 0 h 202"/>
              <a:gd name="T28" fmla="*/ 451469523 w 160"/>
              <a:gd name="T29" fmla="*/ 207129801 h 202"/>
              <a:gd name="T30" fmla="*/ 390597456 w 160"/>
              <a:gd name="T31" fmla="*/ 207129801 h 202"/>
              <a:gd name="T32" fmla="*/ 512343843 w 160"/>
              <a:gd name="T33" fmla="*/ 414257355 h 202"/>
              <a:gd name="T34" fmla="*/ 629015869 w 160"/>
              <a:gd name="T35" fmla="*/ 207129801 h 202"/>
              <a:gd name="T36" fmla="*/ 568141549 w 160"/>
              <a:gd name="T37" fmla="*/ 207129801 h 202"/>
              <a:gd name="T38" fmla="*/ 568141549 w 160"/>
              <a:gd name="T39" fmla="*/ 0 h 202"/>
              <a:gd name="T40" fmla="*/ 451469523 w 160"/>
              <a:gd name="T41" fmla="*/ 0 h 202"/>
              <a:gd name="T42" fmla="*/ 344943968 w 160"/>
              <a:gd name="T43" fmla="*/ 515295899 h 202"/>
              <a:gd name="T44" fmla="*/ 344943968 w 160"/>
              <a:gd name="T45" fmla="*/ 798202922 h 202"/>
              <a:gd name="T46" fmla="*/ 415962506 w 160"/>
              <a:gd name="T47" fmla="*/ 798202922 h 202"/>
              <a:gd name="T48" fmla="*/ 415962506 w 160"/>
              <a:gd name="T49" fmla="*/ 515295899 h 202"/>
              <a:gd name="T50" fmla="*/ 344943968 w 160"/>
              <a:gd name="T51" fmla="*/ 515295899 h 202"/>
              <a:gd name="T52" fmla="*/ 492050902 w 160"/>
              <a:gd name="T53" fmla="*/ 515295899 h 202"/>
              <a:gd name="T54" fmla="*/ 492050902 w 160"/>
              <a:gd name="T55" fmla="*/ 798202922 h 202"/>
              <a:gd name="T56" fmla="*/ 557997331 w 160"/>
              <a:gd name="T57" fmla="*/ 798202922 h 202"/>
              <a:gd name="T58" fmla="*/ 557997331 w 160"/>
              <a:gd name="T59" fmla="*/ 515295899 h 202"/>
              <a:gd name="T60" fmla="*/ 492050902 w 160"/>
              <a:gd name="T61" fmla="*/ 515295899 h 202"/>
              <a:gd name="T62" fmla="*/ 634087978 w 160"/>
              <a:gd name="T63" fmla="*/ 515295899 h 202"/>
              <a:gd name="T64" fmla="*/ 634087978 w 160"/>
              <a:gd name="T65" fmla="*/ 798202922 h 202"/>
              <a:gd name="T66" fmla="*/ 705104264 w 160"/>
              <a:gd name="T67" fmla="*/ 798202922 h 202"/>
              <a:gd name="T68" fmla="*/ 705104264 w 160"/>
              <a:gd name="T69" fmla="*/ 515295899 h 202"/>
              <a:gd name="T70" fmla="*/ 634087978 w 160"/>
              <a:gd name="T71" fmla="*/ 515295899 h 202"/>
              <a:gd name="T72" fmla="*/ 654378667 w 160"/>
              <a:gd name="T73" fmla="*/ 879035105 h 202"/>
              <a:gd name="T74" fmla="*/ 725397205 w 160"/>
              <a:gd name="T75" fmla="*/ 949761861 h 202"/>
              <a:gd name="T76" fmla="*/ 654378667 w 160"/>
              <a:gd name="T77" fmla="*/ 1015435903 h 202"/>
              <a:gd name="T78" fmla="*/ 588432238 w 160"/>
              <a:gd name="T79" fmla="*/ 949761861 h 202"/>
              <a:gd name="T80" fmla="*/ 654378667 w 160"/>
              <a:gd name="T81" fmla="*/ 879035105 h 202"/>
              <a:gd name="T82" fmla="*/ 370306767 w 160"/>
              <a:gd name="T83" fmla="*/ 884085572 h 202"/>
              <a:gd name="T84" fmla="*/ 441325305 w 160"/>
              <a:gd name="T85" fmla="*/ 949761861 h 202"/>
              <a:gd name="T86" fmla="*/ 370306767 w 160"/>
              <a:gd name="T87" fmla="*/ 1020488617 h 202"/>
              <a:gd name="T88" fmla="*/ 304362590 w 160"/>
              <a:gd name="T89" fmla="*/ 949761861 h 202"/>
              <a:gd name="T90" fmla="*/ 370306767 w 160"/>
              <a:gd name="T91" fmla="*/ 884085572 h 2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60" h="202">
                <a:moveTo>
                  <a:pt x="37" y="73"/>
                </a:moveTo>
                <a:cubicBezTo>
                  <a:pt x="48" y="93"/>
                  <a:pt x="48" y="93"/>
                  <a:pt x="48" y="93"/>
                </a:cubicBezTo>
                <a:cubicBezTo>
                  <a:pt x="48" y="94"/>
                  <a:pt x="48" y="94"/>
                  <a:pt x="48" y="94"/>
                </a:cubicBezTo>
                <a:cubicBezTo>
                  <a:pt x="160" y="94"/>
                  <a:pt x="160" y="94"/>
                  <a:pt x="160" y="94"/>
                </a:cubicBezTo>
                <a:cubicBezTo>
                  <a:pt x="160" y="166"/>
                  <a:pt x="160" y="166"/>
                  <a:pt x="160" y="166"/>
                </a:cubicBezTo>
                <a:cubicBezTo>
                  <a:pt x="47" y="166"/>
                  <a:pt x="47" y="166"/>
                  <a:pt x="47" y="166"/>
                </a:cubicBezTo>
                <a:cubicBezTo>
                  <a:pt x="47" y="107"/>
                  <a:pt x="47" y="107"/>
                  <a:pt x="47" y="107"/>
                </a:cubicBezTo>
                <a:cubicBezTo>
                  <a:pt x="33" y="78"/>
                  <a:pt x="33" y="78"/>
                  <a:pt x="33" y="78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73"/>
                  <a:pt x="0" y="73"/>
                  <a:pt x="0" y="73"/>
                </a:cubicBezTo>
                <a:cubicBezTo>
                  <a:pt x="37" y="73"/>
                  <a:pt x="37" y="73"/>
                  <a:pt x="37" y="73"/>
                </a:cubicBezTo>
                <a:cubicBezTo>
                  <a:pt x="37" y="73"/>
                  <a:pt x="37" y="73"/>
                  <a:pt x="37" y="73"/>
                </a:cubicBezTo>
                <a:cubicBezTo>
                  <a:pt x="37" y="73"/>
                  <a:pt x="37" y="73"/>
                  <a:pt x="37" y="73"/>
                </a:cubicBezTo>
                <a:close/>
                <a:moveTo>
                  <a:pt x="89" y="0"/>
                </a:moveTo>
                <a:cubicBezTo>
                  <a:pt x="89" y="41"/>
                  <a:pt x="89" y="41"/>
                  <a:pt x="89" y="41"/>
                </a:cubicBezTo>
                <a:cubicBezTo>
                  <a:pt x="77" y="41"/>
                  <a:pt x="77" y="41"/>
                  <a:pt x="77" y="41"/>
                </a:cubicBezTo>
                <a:cubicBezTo>
                  <a:pt x="101" y="82"/>
                  <a:pt x="101" y="82"/>
                  <a:pt x="101" y="82"/>
                </a:cubicBezTo>
                <a:cubicBezTo>
                  <a:pt x="124" y="41"/>
                  <a:pt x="124" y="41"/>
                  <a:pt x="124" y="41"/>
                </a:cubicBezTo>
                <a:cubicBezTo>
                  <a:pt x="112" y="41"/>
                  <a:pt x="112" y="41"/>
                  <a:pt x="112" y="41"/>
                </a:cubicBezTo>
                <a:cubicBezTo>
                  <a:pt x="112" y="0"/>
                  <a:pt x="112" y="0"/>
                  <a:pt x="112" y="0"/>
                </a:cubicBezTo>
                <a:cubicBezTo>
                  <a:pt x="89" y="0"/>
                  <a:pt x="89" y="0"/>
                  <a:pt x="89" y="0"/>
                </a:cubicBezTo>
                <a:close/>
                <a:moveTo>
                  <a:pt x="68" y="102"/>
                </a:moveTo>
                <a:cubicBezTo>
                  <a:pt x="68" y="158"/>
                  <a:pt x="68" y="158"/>
                  <a:pt x="68" y="158"/>
                </a:cubicBezTo>
                <a:cubicBezTo>
                  <a:pt x="82" y="158"/>
                  <a:pt x="82" y="158"/>
                  <a:pt x="82" y="158"/>
                </a:cubicBezTo>
                <a:cubicBezTo>
                  <a:pt x="82" y="102"/>
                  <a:pt x="82" y="102"/>
                  <a:pt x="82" y="102"/>
                </a:cubicBezTo>
                <a:cubicBezTo>
                  <a:pt x="68" y="102"/>
                  <a:pt x="68" y="102"/>
                  <a:pt x="68" y="102"/>
                </a:cubicBezTo>
                <a:close/>
                <a:moveTo>
                  <a:pt x="97" y="102"/>
                </a:moveTo>
                <a:cubicBezTo>
                  <a:pt x="97" y="158"/>
                  <a:pt x="97" y="158"/>
                  <a:pt x="97" y="158"/>
                </a:cubicBezTo>
                <a:cubicBezTo>
                  <a:pt x="110" y="158"/>
                  <a:pt x="110" y="158"/>
                  <a:pt x="110" y="158"/>
                </a:cubicBezTo>
                <a:cubicBezTo>
                  <a:pt x="110" y="102"/>
                  <a:pt x="110" y="102"/>
                  <a:pt x="110" y="102"/>
                </a:cubicBezTo>
                <a:cubicBezTo>
                  <a:pt x="97" y="102"/>
                  <a:pt x="97" y="102"/>
                  <a:pt x="97" y="102"/>
                </a:cubicBezTo>
                <a:close/>
                <a:moveTo>
                  <a:pt x="125" y="102"/>
                </a:moveTo>
                <a:cubicBezTo>
                  <a:pt x="125" y="158"/>
                  <a:pt x="125" y="158"/>
                  <a:pt x="125" y="158"/>
                </a:cubicBezTo>
                <a:cubicBezTo>
                  <a:pt x="139" y="158"/>
                  <a:pt x="139" y="158"/>
                  <a:pt x="139" y="158"/>
                </a:cubicBezTo>
                <a:cubicBezTo>
                  <a:pt x="139" y="102"/>
                  <a:pt x="139" y="102"/>
                  <a:pt x="139" y="102"/>
                </a:cubicBezTo>
                <a:cubicBezTo>
                  <a:pt x="125" y="102"/>
                  <a:pt x="125" y="102"/>
                  <a:pt x="125" y="102"/>
                </a:cubicBezTo>
                <a:close/>
                <a:moveTo>
                  <a:pt x="129" y="174"/>
                </a:moveTo>
                <a:cubicBezTo>
                  <a:pt x="137" y="174"/>
                  <a:pt x="143" y="180"/>
                  <a:pt x="143" y="188"/>
                </a:cubicBezTo>
                <a:cubicBezTo>
                  <a:pt x="143" y="195"/>
                  <a:pt x="137" y="201"/>
                  <a:pt x="129" y="201"/>
                </a:cubicBezTo>
                <a:cubicBezTo>
                  <a:pt x="122" y="201"/>
                  <a:pt x="116" y="195"/>
                  <a:pt x="116" y="188"/>
                </a:cubicBezTo>
                <a:cubicBezTo>
                  <a:pt x="116" y="180"/>
                  <a:pt x="122" y="174"/>
                  <a:pt x="129" y="174"/>
                </a:cubicBezTo>
                <a:close/>
                <a:moveTo>
                  <a:pt x="73" y="175"/>
                </a:moveTo>
                <a:cubicBezTo>
                  <a:pt x="81" y="175"/>
                  <a:pt x="87" y="181"/>
                  <a:pt x="87" y="188"/>
                </a:cubicBezTo>
                <a:cubicBezTo>
                  <a:pt x="87" y="196"/>
                  <a:pt x="81" y="202"/>
                  <a:pt x="73" y="202"/>
                </a:cubicBezTo>
                <a:cubicBezTo>
                  <a:pt x="66" y="202"/>
                  <a:pt x="60" y="196"/>
                  <a:pt x="60" y="188"/>
                </a:cubicBezTo>
                <a:cubicBezTo>
                  <a:pt x="60" y="181"/>
                  <a:pt x="66" y="175"/>
                  <a:pt x="73" y="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4" name="Freeform 99"/>
          <p:cNvSpPr>
            <a:spLocks noEditPoints="1"/>
          </p:cNvSpPr>
          <p:nvPr/>
        </p:nvSpPr>
        <p:spPr bwMode="auto">
          <a:xfrm>
            <a:off x="3683001" y="3767667"/>
            <a:ext cx="478367" cy="622300"/>
          </a:xfrm>
          <a:custGeom>
            <a:avLst/>
            <a:gdLst>
              <a:gd name="T0" fmla="*/ 186040534 w 160"/>
              <a:gd name="T1" fmla="*/ 402797138 h 208"/>
              <a:gd name="T2" fmla="*/ 241350185 w 160"/>
              <a:gd name="T3" fmla="*/ 503495301 h 208"/>
              <a:gd name="T4" fmla="*/ 241350185 w 160"/>
              <a:gd name="T5" fmla="*/ 503495301 h 208"/>
              <a:gd name="T6" fmla="*/ 804496879 w 160"/>
              <a:gd name="T7" fmla="*/ 503495301 h 208"/>
              <a:gd name="T8" fmla="*/ 804496879 w 160"/>
              <a:gd name="T9" fmla="*/ 871047970 h 208"/>
              <a:gd name="T10" fmla="*/ 236320608 w 160"/>
              <a:gd name="T11" fmla="*/ 871047970 h 208"/>
              <a:gd name="T12" fmla="*/ 236320608 w 160"/>
              <a:gd name="T13" fmla="*/ 568948994 h 208"/>
              <a:gd name="T14" fmla="*/ 165926710 w 160"/>
              <a:gd name="T15" fmla="*/ 427971118 h 208"/>
              <a:gd name="T16" fmla="*/ 0 w 160"/>
              <a:gd name="T17" fmla="*/ 427971118 h 208"/>
              <a:gd name="T18" fmla="*/ 0 w 160"/>
              <a:gd name="T19" fmla="*/ 402797138 h 208"/>
              <a:gd name="T20" fmla="*/ 186040534 w 160"/>
              <a:gd name="T21" fmla="*/ 402797138 h 208"/>
              <a:gd name="T22" fmla="*/ 186040534 w 160"/>
              <a:gd name="T23" fmla="*/ 402797138 h 208"/>
              <a:gd name="T24" fmla="*/ 186040534 w 160"/>
              <a:gd name="T25" fmla="*/ 402797138 h 208"/>
              <a:gd name="T26" fmla="*/ 437445388 w 160"/>
              <a:gd name="T27" fmla="*/ 407830139 h 208"/>
              <a:gd name="T28" fmla="*/ 558119359 w 160"/>
              <a:gd name="T29" fmla="*/ 407830139 h 208"/>
              <a:gd name="T30" fmla="*/ 558119359 w 160"/>
              <a:gd name="T31" fmla="*/ 206433814 h 208"/>
              <a:gd name="T32" fmla="*/ 613429010 w 160"/>
              <a:gd name="T33" fmla="*/ 206433814 h 208"/>
              <a:gd name="T34" fmla="*/ 497782374 w 160"/>
              <a:gd name="T35" fmla="*/ 0 h 208"/>
              <a:gd name="T36" fmla="*/ 382135737 w 160"/>
              <a:gd name="T37" fmla="*/ 206433814 h 208"/>
              <a:gd name="T38" fmla="*/ 437445388 w 160"/>
              <a:gd name="T39" fmla="*/ 206433814 h 208"/>
              <a:gd name="T40" fmla="*/ 437445388 w 160"/>
              <a:gd name="T41" fmla="*/ 407830139 h 208"/>
              <a:gd name="T42" fmla="*/ 341910333 w 160"/>
              <a:gd name="T43" fmla="*/ 548810259 h 208"/>
              <a:gd name="T44" fmla="*/ 341910333 w 160"/>
              <a:gd name="T45" fmla="*/ 825733011 h 208"/>
              <a:gd name="T46" fmla="*/ 412304230 w 160"/>
              <a:gd name="T47" fmla="*/ 825733011 h 208"/>
              <a:gd name="T48" fmla="*/ 412304230 w 160"/>
              <a:gd name="T49" fmla="*/ 548810259 h 208"/>
              <a:gd name="T50" fmla="*/ 341910333 w 160"/>
              <a:gd name="T51" fmla="*/ 548810259 h 208"/>
              <a:gd name="T52" fmla="*/ 487725462 w 160"/>
              <a:gd name="T53" fmla="*/ 548810259 h 208"/>
              <a:gd name="T54" fmla="*/ 487725462 w 160"/>
              <a:gd name="T55" fmla="*/ 825733011 h 208"/>
              <a:gd name="T56" fmla="*/ 553092025 w 160"/>
              <a:gd name="T57" fmla="*/ 825733011 h 208"/>
              <a:gd name="T58" fmla="*/ 553092025 w 160"/>
              <a:gd name="T59" fmla="*/ 548810259 h 208"/>
              <a:gd name="T60" fmla="*/ 487725462 w 160"/>
              <a:gd name="T61" fmla="*/ 548810259 h 208"/>
              <a:gd name="T62" fmla="*/ 628513257 w 160"/>
              <a:gd name="T63" fmla="*/ 548810259 h 208"/>
              <a:gd name="T64" fmla="*/ 628513257 w 160"/>
              <a:gd name="T65" fmla="*/ 825733011 h 208"/>
              <a:gd name="T66" fmla="*/ 698907154 w 160"/>
              <a:gd name="T67" fmla="*/ 825733011 h 208"/>
              <a:gd name="T68" fmla="*/ 698907154 w 160"/>
              <a:gd name="T69" fmla="*/ 548810259 h 208"/>
              <a:gd name="T70" fmla="*/ 628513257 w 160"/>
              <a:gd name="T71" fmla="*/ 548810259 h 208"/>
              <a:gd name="T72" fmla="*/ 648624838 w 160"/>
              <a:gd name="T73" fmla="*/ 906292439 h 208"/>
              <a:gd name="T74" fmla="*/ 719018735 w 160"/>
              <a:gd name="T75" fmla="*/ 976781377 h 208"/>
              <a:gd name="T76" fmla="*/ 648624838 w 160"/>
              <a:gd name="T77" fmla="*/ 1042235071 h 208"/>
              <a:gd name="T78" fmla="*/ 583260518 w 160"/>
              <a:gd name="T79" fmla="*/ 976781377 h 208"/>
              <a:gd name="T80" fmla="*/ 648624838 w 160"/>
              <a:gd name="T81" fmla="*/ 906292439 h 208"/>
              <a:gd name="T82" fmla="*/ 367051491 w 160"/>
              <a:gd name="T83" fmla="*/ 911327684 h 208"/>
              <a:gd name="T84" fmla="*/ 437445388 w 160"/>
              <a:gd name="T85" fmla="*/ 976781377 h 208"/>
              <a:gd name="T86" fmla="*/ 367051491 w 160"/>
              <a:gd name="T87" fmla="*/ 1047270316 h 208"/>
              <a:gd name="T88" fmla="*/ 301687170 w 160"/>
              <a:gd name="T89" fmla="*/ 976781377 h 208"/>
              <a:gd name="T90" fmla="*/ 367051491 w 160"/>
              <a:gd name="T91" fmla="*/ 911327684 h 20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60" h="208">
                <a:moveTo>
                  <a:pt x="37" y="80"/>
                </a:moveTo>
                <a:cubicBezTo>
                  <a:pt x="48" y="100"/>
                  <a:pt x="48" y="100"/>
                  <a:pt x="48" y="100"/>
                </a:cubicBezTo>
                <a:cubicBezTo>
                  <a:pt x="48" y="100"/>
                  <a:pt x="48" y="100"/>
                  <a:pt x="48" y="100"/>
                </a:cubicBezTo>
                <a:cubicBezTo>
                  <a:pt x="160" y="100"/>
                  <a:pt x="160" y="100"/>
                  <a:pt x="160" y="100"/>
                </a:cubicBezTo>
                <a:cubicBezTo>
                  <a:pt x="160" y="173"/>
                  <a:pt x="160" y="173"/>
                  <a:pt x="160" y="173"/>
                </a:cubicBezTo>
                <a:cubicBezTo>
                  <a:pt x="47" y="173"/>
                  <a:pt x="47" y="173"/>
                  <a:pt x="47" y="173"/>
                </a:cubicBezTo>
                <a:cubicBezTo>
                  <a:pt x="47" y="113"/>
                  <a:pt x="47" y="113"/>
                  <a:pt x="47" y="113"/>
                </a:cubicBezTo>
                <a:cubicBezTo>
                  <a:pt x="33" y="85"/>
                  <a:pt x="33" y="85"/>
                  <a:pt x="33" y="85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80"/>
                  <a:pt x="0" y="80"/>
                  <a:pt x="0" y="80"/>
                </a:cubicBezTo>
                <a:cubicBezTo>
                  <a:pt x="37" y="80"/>
                  <a:pt x="37" y="80"/>
                  <a:pt x="37" y="80"/>
                </a:cubicBezTo>
                <a:cubicBezTo>
                  <a:pt x="37" y="80"/>
                  <a:pt x="37" y="80"/>
                  <a:pt x="37" y="80"/>
                </a:cubicBezTo>
                <a:cubicBezTo>
                  <a:pt x="37" y="80"/>
                  <a:pt x="37" y="80"/>
                  <a:pt x="37" y="80"/>
                </a:cubicBezTo>
                <a:close/>
                <a:moveTo>
                  <a:pt x="87" y="81"/>
                </a:moveTo>
                <a:cubicBezTo>
                  <a:pt x="111" y="81"/>
                  <a:pt x="111" y="81"/>
                  <a:pt x="111" y="81"/>
                </a:cubicBezTo>
                <a:cubicBezTo>
                  <a:pt x="111" y="41"/>
                  <a:pt x="111" y="41"/>
                  <a:pt x="111" y="41"/>
                </a:cubicBezTo>
                <a:cubicBezTo>
                  <a:pt x="122" y="41"/>
                  <a:pt x="122" y="41"/>
                  <a:pt x="122" y="41"/>
                </a:cubicBezTo>
                <a:cubicBezTo>
                  <a:pt x="99" y="0"/>
                  <a:pt x="99" y="0"/>
                  <a:pt x="99" y="0"/>
                </a:cubicBezTo>
                <a:cubicBezTo>
                  <a:pt x="76" y="41"/>
                  <a:pt x="76" y="41"/>
                  <a:pt x="76" y="41"/>
                </a:cubicBezTo>
                <a:cubicBezTo>
                  <a:pt x="87" y="41"/>
                  <a:pt x="87" y="41"/>
                  <a:pt x="87" y="41"/>
                </a:cubicBezTo>
                <a:cubicBezTo>
                  <a:pt x="87" y="81"/>
                  <a:pt x="87" y="81"/>
                  <a:pt x="87" y="81"/>
                </a:cubicBezTo>
                <a:close/>
                <a:moveTo>
                  <a:pt x="68" y="109"/>
                </a:moveTo>
                <a:cubicBezTo>
                  <a:pt x="68" y="164"/>
                  <a:pt x="68" y="164"/>
                  <a:pt x="68" y="164"/>
                </a:cubicBezTo>
                <a:cubicBezTo>
                  <a:pt x="82" y="164"/>
                  <a:pt x="82" y="164"/>
                  <a:pt x="82" y="164"/>
                </a:cubicBezTo>
                <a:cubicBezTo>
                  <a:pt x="82" y="109"/>
                  <a:pt x="82" y="109"/>
                  <a:pt x="82" y="109"/>
                </a:cubicBezTo>
                <a:cubicBezTo>
                  <a:pt x="68" y="109"/>
                  <a:pt x="68" y="109"/>
                  <a:pt x="68" y="109"/>
                </a:cubicBezTo>
                <a:close/>
                <a:moveTo>
                  <a:pt x="97" y="109"/>
                </a:moveTo>
                <a:cubicBezTo>
                  <a:pt x="97" y="164"/>
                  <a:pt x="97" y="164"/>
                  <a:pt x="97" y="164"/>
                </a:cubicBezTo>
                <a:cubicBezTo>
                  <a:pt x="110" y="164"/>
                  <a:pt x="110" y="164"/>
                  <a:pt x="110" y="164"/>
                </a:cubicBezTo>
                <a:cubicBezTo>
                  <a:pt x="110" y="109"/>
                  <a:pt x="110" y="109"/>
                  <a:pt x="110" y="109"/>
                </a:cubicBezTo>
                <a:cubicBezTo>
                  <a:pt x="97" y="109"/>
                  <a:pt x="97" y="109"/>
                  <a:pt x="97" y="109"/>
                </a:cubicBezTo>
                <a:close/>
                <a:moveTo>
                  <a:pt x="125" y="109"/>
                </a:moveTo>
                <a:cubicBezTo>
                  <a:pt x="125" y="164"/>
                  <a:pt x="125" y="164"/>
                  <a:pt x="125" y="164"/>
                </a:cubicBezTo>
                <a:cubicBezTo>
                  <a:pt x="139" y="164"/>
                  <a:pt x="139" y="164"/>
                  <a:pt x="139" y="164"/>
                </a:cubicBezTo>
                <a:cubicBezTo>
                  <a:pt x="139" y="109"/>
                  <a:pt x="139" y="109"/>
                  <a:pt x="139" y="109"/>
                </a:cubicBezTo>
                <a:cubicBezTo>
                  <a:pt x="125" y="109"/>
                  <a:pt x="125" y="109"/>
                  <a:pt x="125" y="109"/>
                </a:cubicBezTo>
                <a:close/>
                <a:moveTo>
                  <a:pt x="129" y="180"/>
                </a:moveTo>
                <a:cubicBezTo>
                  <a:pt x="137" y="180"/>
                  <a:pt x="143" y="186"/>
                  <a:pt x="143" y="194"/>
                </a:cubicBezTo>
                <a:cubicBezTo>
                  <a:pt x="143" y="201"/>
                  <a:pt x="137" y="207"/>
                  <a:pt x="129" y="207"/>
                </a:cubicBezTo>
                <a:cubicBezTo>
                  <a:pt x="122" y="207"/>
                  <a:pt x="116" y="201"/>
                  <a:pt x="116" y="194"/>
                </a:cubicBezTo>
                <a:cubicBezTo>
                  <a:pt x="116" y="186"/>
                  <a:pt x="122" y="180"/>
                  <a:pt x="129" y="180"/>
                </a:cubicBezTo>
                <a:close/>
                <a:moveTo>
                  <a:pt x="73" y="181"/>
                </a:moveTo>
                <a:cubicBezTo>
                  <a:pt x="81" y="181"/>
                  <a:pt x="87" y="187"/>
                  <a:pt x="87" y="194"/>
                </a:cubicBezTo>
                <a:cubicBezTo>
                  <a:pt x="87" y="202"/>
                  <a:pt x="81" y="208"/>
                  <a:pt x="73" y="208"/>
                </a:cubicBezTo>
                <a:cubicBezTo>
                  <a:pt x="66" y="208"/>
                  <a:pt x="60" y="202"/>
                  <a:pt x="60" y="194"/>
                </a:cubicBezTo>
                <a:cubicBezTo>
                  <a:pt x="60" y="187"/>
                  <a:pt x="66" y="181"/>
                  <a:pt x="73" y="18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5" name="Freeform 100"/>
          <p:cNvSpPr>
            <a:spLocks noEditPoints="1"/>
          </p:cNvSpPr>
          <p:nvPr/>
        </p:nvSpPr>
        <p:spPr bwMode="auto">
          <a:xfrm>
            <a:off x="4483100" y="3776133"/>
            <a:ext cx="550333" cy="533400"/>
          </a:xfrm>
          <a:custGeom>
            <a:avLst/>
            <a:gdLst>
              <a:gd name="T0" fmla="*/ 115735997 w 184"/>
              <a:gd name="T1" fmla="*/ 899101138 h 178"/>
              <a:gd name="T2" fmla="*/ 332111212 w 184"/>
              <a:gd name="T3" fmla="*/ 459652955 h 178"/>
              <a:gd name="T4" fmla="*/ 442813454 w 184"/>
              <a:gd name="T5" fmla="*/ 459652955 h 178"/>
              <a:gd name="T6" fmla="*/ 442813454 w 184"/>
              <a:gd name="T7" fmla="*/ 899101138 h 178"/>
              <a:gd name="T8" fmla="*/ 115735997 w 184"/>
              <a:gd name="T9" fmla="*/ 899101138 h 178"/>
              <a:gd name="T10" fmla="*/ 457910234 w 184"/>
              <a:gd name="T11" fmla="*/ 459652955 h 178"/>
              <a:gd name="T12" fmla="*/ 457910234 w 184"/>
              <a:gd name="T13" fmla="*/ 459652955 h 178"/>
              <a:gd name="T14" fmla="*/ 462941746 w 184"/>
              <a:gd name="T15" fmla="*/ 459652955 h 178"/>
              <a:gd name="T16" fmla="*/ 462941746 w 184"/>
              <a:gd name="T17" fmla="*/ 459652955 h 178"/>
              <a:gd name="T18" fmla="*/ 784987690 w 184"/>
              <a:gd name="T19" fmla="*/ 126278704 h 178"/>
              <a:gd name="T20" fmla="*/ 462941746 w 184"/>
              <a:gd name="T21" fmla="*/ 454600638 h 178"/>
              <a:gd name="T22" fmla="*/ 135864289 w 184"/>
              <a:gd name="T23" fmla="*/ 131328774 h 178"/>
              <a:gd name="T24" fmla="*/ 457910234 w 184"/>
              <a:gd name="T25" fmla="*/ 459652955 h 178"/>
              <a:gd name="T26" fmla="*/ 457910234 w 184"/>
              <a:gd name="T27" fmla="*/ 459652955 h 178"/>
              <a:gd name="T28" fmla="*/ 498164575 w 184"/>
              <a:gd name="T29" fmla="*/ 419243410 h 178"/>
              <a:gd name="T30" fmla="*/ 754796374 w 184"/>
              <a:gd name="T31" fmla="*/ 161635932 h 178"/>
              <a:gd name="T32" fmla="*/ 498164575 w 184"/>
              <a:gd name="T33" fmla="*/ 419243410 h 178"/>
              <a:gd name="T34" fmla="*/ 422685162 w 184"/>
              <a:gd name="T35" fmla="*/ 419243410 h 178"/>
              <a:gd name="T36" fmla="*/ 171087118 w 184"/>
              <a:gd name="T37" fmla="*/ 161635932 h 178"/>
              <a:gd name="T38" fmla="*/ 422685162 w 184"/>
              <a:gd name="T39" fmla="*/ 419243410 h 178"/>
              <a:gd name="T40" fmla="*/ 498164575 w 184"/>
              <a:gd name="T41" fmla="*/ 459652955 h 178"/>
              <a:gd name="T42" fmla="*/ 603837548 w 184"/>
              <a:gd name="T43" fmla="*/ 459652955 h 178"/>
              <a:gd name="T44" fmla="*/ 825244274 w 184"/>
              <a:gd name="T45" fmla="*/ 899101138 h 178"/>
              <a:gd name="T46" fmla="*/ 498164575 w 184"/>
              <a:gd name="T47" fmla="*/ 899101138 h 178"/>
              <a:gd name="T48" fmla="*/ 498164575 w 184"/>
              <a:gd name="T49" fmla="*/ 459652955 h 17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84" h="178">
                <a:moveTo>
                  <a:pt x="23" y="178"/>
                </a:moveTo>
                <a:cubicBezTo>
                  <a:pt x="66" y="91"/>
                  <a:pt x="66" y="91"/>
                  <a:pt x="66" y="91"/>
                </a:cubicBezTo>
                <a:cubicBezTo>
                  <a:pt x="88" y="91"/>
                  <a:pt x="88" y="91"/>
                  <a:pt x="88" y="91"/>
                </a:cubicBezTo>
                <a:cubicBezTo>
                  <a:pt x="88" y="178"/>
                  <a:pt x="88" y="178"/>
                  <a:pt x="88" y="178"/>
                </a:cubicBezTo>
                <a:cubicBezTo>
                  <a:pt x="23" y="178"/>
                  <a:pt x="23" y="178"/>
                  <a:pt x="23" y="178"/>
                </a:cubicBezTo>
                <a:close/>
                <a:moveTo>
                  <a:pt x="91" y="91"/>
                </a:moveTo>
                <a:cubicBezTo>
                  <a:pt x="91" y="91"/>
                  <a:pt x="91" y="91"/>
                  <a:pt x="91" y="91"/>
                </a:cubicBezTo>
                <a:cubicBezTo>
                  <a:pt x="92" y="91"/>
                  <a:pt x="92" y="91"/>
                  <a:pt x="92" y="91"/>
                </a:cubicBezTo>
                <a:cubicBezTo>
                  <a:pt x="92" y="91"/>
                  <a:pt x="92" y="91"/>
                  <a:pt x="92" y="91"/>
                </a:cubicBezTo>
                <a:cubicBezTo>
                  <a:pt x="102" y="87"/>
                  <a:pt x="184" y="52"/>
                  <a:pt x="156" y="25"/>
                </a:cubicBezTo>
                <a:cubicBezTo>
                  <a:pt x="129" y="0"/>
                  <a:pt x="96" y="78"/>
                  <a:pt x="92" y="90"/>
                </a:cubicBezTo>
                <a:cubicBezTo>
                  <a:pt x="87" y="78"/>
                  <a:pt x="54" y="0"/>
                  <a:pt x="27" y="26"/>
                </a:cubicBezTo>
                <a:cubicBezTo>
                  <a:pt x="0" y="52"/>
                  <a:pt x="81" y="87"/>
                  <a:pt x="91" y="91"/>
                </a:cubicBezTo>
                <a:cubicBezTo>
                  <a:pt x="91" y="91"/>
                  <a:pt x="91" y="91"/>
                  <a:pt x="91" y="91"/>
                </a:cubicBezTo>
                <a:close/>
                <a:moveTo>
                  <a:pt x="99" y="83"/>
                </a:moveTo>
                <a:cubicBezTo>
                  <a:pt x="99" y="83"/>
                  <a:pt x="127" y="10"/>
                  <a:pt x="150" y="32"/>
                </a:cubicBezTo>
                <a:cubicBezTo>
                  <a:pt x="172" y="54"/>
                  <a:pt x="99" y="83"/>
                  <a:pt x="99" y="83"/>
                </a:cubicBezTo>
                <a:close/>
                <a:moveTo>
                  <a:pt x="84" y="83"/>
                </a:moveTo>
                <a:cubicBezTo>
                  <a:pt x="84" y="83"/>
                  <a:pt x="11" y="54"/>
                  <a:pt x="34" y="32"/>
                </a:cubicBezTo>
                <a:cubicBezTo>
                  <a:pt x="57" y="11"/>
                  <a:pt x="84" y="83"/>
                  <a:pt x="84" y="83"/>
                </a:cubicBezTo>
                <a:close/>
                <a:moveTo>
                  <a:pt x="99" y="91"/>
                </a:moveTo>
                <a:cubicBezTo>
                  <a:pt x="120" y="91"/>
                  <a:pt x="120" y="91"/>
                  <a:pt x="120" y="91"/>
                </a:cubicBezTo>
                <a:cubicBezTo>
                  <a:pt x="164" y="178"/>
                  <a:pt x="164" y="178"/>
                  <a:pt x="164" y="178"/>
                </a:cubicBezTo>
                <a:cubicBezTo>
                  <a:pt x="99" y="178"/>
                  <a:pt x="99" y="178"/>
                  <a:pt x="99" y="178"/>
                </a:cubicBezTo>
                <a:lnTo>
                  <a:pt x="99" y="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6" name="Freeform 101"/>
          <p:cNvSpPr>
            <a:spLocks noEditPoints="1"/>
          </p:cNvSpPr>
          <p:nvPr/>
        </p:nvSpPr>
        <p:spPr bwMode="auto">
          <a:xfrm>
            <a:off x="5314951" y="3833285"/>
            <a:ext cx="522816" cy="419100"/>
          </a:xfrm>
          <a:custGeom>
            <a:avLst/>
            <a:gdLst>
              <a:gd name="T0" fmla="*/ 162507889 w 174"/>
              <a:gd name="T1" fmla="*/ 141143151 h 140"/>
              <a:gd name="T2" fmla="*/ 126958654 w 174"/>
              <a:gd name="T3" fmla="*/ 705715754 h 140"/>
              <a:gd name="T4" fmla="*/ 0 w 174"/>
              <a:gd name="T5" fmla="*/ 247001075 h 140"/>
              <a:gd name="T6" fmla="*/ 426579546 w 174"/>
              <a:gd name="T7" fmla="*/ 519204280 h 140"/>
              <a:gd name="T8" fmla="*/ 370719361 w 174"/>
              <a:gd name="T9" fmla="*/ 408305930 h 140"/>
              <a:gd name="T10" fmla="*/ 375796535 w 174"/>
              <a:gd name="T11" fmla="*/ 302450251 h 140"/>
              <a:gd name="T12" fmla="*/ 426579546 w 174"/>
              <a:gd name="T13" fmla="*/ 257081927 h 140"/>
              <a:gd name="T14" fmla="*/ 457051606 w 174"/>
              <a:gd name="T15" fmla="*/ 277245876 h 140"/>
              <a:gd name="T16" fmla="*/ 528147822 w 174"/>
              <a:gd name="T17" fmla="*/ 342775903 h 140"/>
              <a:gd name="T18" fmla="*/ 457051606 w 174"/>
              <a:gd name="T19" fmla="*/ 317571528 h 140"/>
              <a:gd name="T20" fmla="*/ 517991220 w 174"/>
              <a:gd name="T21" fmla="*/ 428469879 h 140"/>
              <a:gd name="T22" fmla="*/ 512911792 w 174"/>
              <a:gd name="T23" fmla="*/ 534327803 h 140"/>
              <a:gd name="T24" fmla="*/ 457051606 w 174"/>
              <a:gd name="T25" fmla="*/ 599857830 h 140"/>
              <a:gd name="T26" fmla="*/ 426579546 w 174"/>
              <a:gd name="T27" fmla="*/ 564572604 h 140"/>
              <a:gd name="T28" fmla="*/ 345326729 w 174"/>
              <a:gd name="T29" fmla="*/ 483919054 h 140"/>
              <a:gd name="T30" fmla="*/ 411345770 w 174"/>
              <a:gd name="T31" fmla="*/ 504083003 h 140"/>
              <a:gd name="T32" fmla="*/ 426579546 w 174"/>
              <a:gd name="T33" fmla="*/ 317571528 h 140"/>
              <a:gd name="T34" fmla="*/ 401189167 w 174"/>
              <a:gd name="T35" fmla="*/ 352859000 h 140"/>
              <a:gd name="T36" fmla="*/ 426579546 w 174"/>
              <a:gd name="T37" fmla="*/ 383103800 h 140"/>
              <a:gd name="T38" fmla="*/ 457051606 w 174"/>
              <a:gd name="T39" fmla="*/ 524246951 h 140"/>
              <a:gd name="T40" fmla="*/ 487521413 w 174"/>
              <a:gd name="T41" fmla="*/ 483919054 h 140"/>
              <a:gd name="T42" fmla="*/ 457051606 w 174"/>
              <a:gd name="T43" fmla="*/ 448633827 h 140"/>
              <a:gd name="T44" fmla="*/ 218368074 w 174"/>
              <a:gd name="T45" fmla="*/ 141143151 h 140"/>
              <a:gd name="T46" fmla="*/ 284387115 w 174"/>
              <a:gd name="T47" fmla="*/ 0 h 140"/>
              <a:gd name="T48" fmla="*/ 665263078 w 174"/>
              <a:gd name="T49" fmla="*/ 65530027 h 140"/>
              <a:gd name="T50" fmla="*/ 624636670 w 174"/>
              <a:gd name="T51" fmla="*/ 141143151 h 140"/>
              <a:gd name="T52" fmla="*/ 568774231 w 174"/>
              <a:gd name="T53" fmla="*/ 40325652 h 140"/>
              <a:gd name="T54" fmla="*/ 258994483 w 174"/>
              <a:gd name="T55" fmla="*/ 95774828 h 140"/>
              <a:gd name="T56" fmla="*/ 218368074 w 174"/>
              <a:gd name="T57" fmla="*/ 141143151 h 140"/>
              <a:gd name="T58" fmla="*/ 736359294 w 174"/>
              <a:gd name="T59" fmla="*/ 141143151 h 140"/>
              <a:gd name="T60" fmla="*/ 883631153 w 174"/>
              <a:gd name="T61" fmla="*/ 252041501 h 140"/>
              <a:gd name="T62" fmla="*/ 771908528 w 174"/>
              <a:gd name="T63" fmla="*/ 705715754 h 140"/>
              <a:gd name="T64" fmla="*/ 705889487 w 174"/>
              <a:gd name="T65" fmla="*/ 141143151 h 140"/>
              <a:gd name="T66" fmla="*/ 589087435 w 174"/>
              <a:gd name="T67" fmla="*/ 141143151 h 140"/>
              <a:gd name="T68" fmla="*/ 284387115 w 174"/>
              <a:gd name="T69" fmla="*/ 705715754 h 14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74" h="140">
                <a:moveTo>
                  <a:pt x="21" y="28"/>
                </a:moveTo>
                <a:cubicBezTo>
                  <a:pt x="32" y="28"/>
                  <a:pt x="32" y="28"/>
                  <a:pt x="32" y="28"/>
                </a:cubicBezTo>
                <a:cubicBezTo>
                  <a:pt x="32" y="140"/>
                  <a:pt x="32" y="140"/>
                  <a:pt x="32" y="140"/>
                </a:cubicBezTo>
                <a:cubicBezTo>
                  <a:pt x="25" y="140"/>
                  <a:pt x="25" y="140"/>
                  <a:pt x="25" y="140"/>
                </a:cubicBezTo>
                <a:cubicBezTo>
                  <a:pt x="13" y="140"/>
                  <a:pt x="0" y="130"/>
                  <a:pt x="0" y="117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37"/>
                  <a:pt x="9" y="28"/>
                  <a:pt x="21" y="28"/>
                </a:cubicBezTo>
                <a:close/>
                <a:moveTo>
                  <a:pt x="84" y="103"/>
                </a:moveTo>
                <a:cubicBezTo>
                  <a:pt x="84" y="87"/>
                  <a:pt x="84" y="87"/>
                  <a:pt x="84" y="87"/>
                </a:cubicBezTo>
                <a:cubicBezTo>
                  <a:pt x="79" y="86"/>
                  <a:pt x="76" y="84"/>
                  <a:pt x="73" y="81"/>
                </a:cubicBezTo>
                <a:cubicBezTo>
                  <a:pt x="71" y="78"/>
                  <a:pt x="70" y="75"/>
                  <a:pt x="70" y="70"/>
                </a:cubicBezTo>
                <a:cubicBezTo>
                  <a:pt x="70" y="66"/>
                  <a:pt x="71" y="63"/>
                  <a:pt x="74" y="60"/>
                </a:cubicBezTo>
                <a:cubicBezTo>
                  <a:pt x="76" y="57"/>
                  <a:pt x="80" y="55"/>
                  <a:pt x="84" y="55"/>
                </a:cubicBezTo>
                <a:cubicBezTo>
                  <a:pt x="84" y="51"/>
                  <a:pt x="84" y="51"/>
                  <a:pt x="84" y="51"/>
                </a:cubicBezTo>
                <a:cubicBezTo>
                  <a:pt x="90" y="51"/>
                  <a:pt x="90" y="51"/>
                  <a:pt x="90" y="51"/>
                </a:cubicBezTo>
                <a:cubicBezTo>
                  <a:pt x="90" y="55"/>
                  <a:pt x="90" y="55"/>
                  <a:pt x="90" y="55"/>
                </a:cubicBezTo>
                <a:cubicBezTo>
                  <a:pt x="94" y="55"/>
                  <a:pt x="97" y="57"/>
                  <a:pt x="100" y="59"/>
                </a:cubicBezTo>
                <a:cubicBezTo>
                  <a:pt x="102" y="61"/>
                  <a:pt x="103" y="64"/>
                  <a:pt x="104" y="68"/>
                </a:cubicBezTo>
                <a:cubicBezTo>
                  <a:pt x="94" y="70"/>
                  <a:pt x="94" y="70"/>
                  <a:pt x="94" y="70"/>
                </a:cubicBezTo>
                <a:cubicBezTo>
                  <a:pt x="94" y="67"/>
                  <a:pt x="92" y="64"/>
                  <a:pt x="90" y="63"/>
                </a:cubicBezTo>
                <a:cubicBezTo>
                  <a:pt x="90" y="78"/>
                  <a:pt x="90" y="78"/>
                  <a:pt x="90" y="78"/>
                </a:cubicBezTo>
                <a:cubicBezTo>
                  <a:pt x="96" y="80"/>
                  <a:pt x="100" y="82"/>
                  <a:pt x="102" y="85"/>
                </a:cubicBezTo>
                <a:cubicBezTo>
                  <a:pt x="105" y="87"/>
                  <a:pt x="106" y="91"/>
                  <a:pt x="106" y="95"/>
                </a:cubicBezTo>
                <a:cubicBezTo>
                  <a:pt x="106" y="99"/>
                  <a:pt x="104" y="103"/>
                  <a:pt x="101" y="106"/>
                </a:cubicBezTo>
                <a:cubicBezTo>
                  <a:pt x="99" y="110"/>
                  <a:pt x="95" y="112"/>
                  <a:pt x="90" y="112"/>
                </a:cubicBezTo>
                <a:cubicBezTo>
                  <a:pt x="90" y="119"/>
                  <a:pt x="90" y="119"/>
                  <a:pt x="90" y="119"/>
                </a:cubicBezTo>
                <a:cubicBezTo>
                  <a:pt x="84" y="119"/>
                  <a:pt x="84" y="119"/>
                  <a:pt x="84" y="119"/>
                </a:cubicBezTo>
                <a:cubicBezTo>
                  <a:pt x="84" y="112"/>
                  <a:pt x="84" y="112"/>
                  <a:pt x="84" y="112"/>
                </a:cubicBezTo>
                <a:cubicBezTo>
                  <a:pt x="80" y="112"/>
                  <a:pt x="76" y="110"/>
                  <a:pt x="74" y="108"/>
                </a:cubicBezTo>
                <a:cubicBezTo>
                  <a:pt x="71" y="105"/>
                  <a:pt x="69" y="101"/>
                  <a:pt x="68" y="96"/>
                </a:cubicBezTo>
                <a:cubicBezTo>
                  <a:pt x="78" y="95"/>
                  <a:pt x="78" y="95"/>
                  <a:pt x="78" y="95"/>
                </a:cubicBezTo>
                <a:cubicBezTo>
                  <a:pt x="79" y="97"/>
                  <a:pt x="79" y="99"/>
                  <a:pt x="81" y="100"/>
                </a:cubicBezTo>
                <a:cubicBezTo>
                  <a:pt x="82" y="102"/>
                  <a:pt x="83" y="103"/>
                  <a:pt x="84" y="103"/>
                </a:cubicBezTo>
                <a:close/>
                <a:moveTo>
                  <a:pt x="84" y="63"/>
                </a:moveTo>
                <a:cubicBezTo>
                  <a:pt x="83" y="64"/>
                  <a:pt x="82" y="65"/>
                  <a:pt x="81" y="66"/>
                </a:cubicBezTo>
                <a:cubicBezTo>
                  <a:pt x="80" y="67"/>
                  <a:pt x="79" y="68"/>
                  <a:pt x="79" y="70"/>
                </a:cubicBezTo>
                <a:cubicBezTo>
                  <a:pt x="79" y="71"/>
                  <a:pt x="80" y="73"/>
                  <a:pt x="81" y="74"/>
                </a:cubicBezTo>
                <a:cubicBezTo>
                  <a:pt x="81" y="75"/>
                  <a:pt x="83" y="76"/>
                  <a:pt x="84" y="76"/>
                </a:cubicBezTo>
                <a:cubicBezTo>
                  <a:pt x="84" y="63"/>
                  <a:pt x="84" y="63"/>
                  <a:pt x="84" y="63"/>
                </a:cubicBezTo>
                <a:close/>
                <a:moveTo>
                  <a:pt x="90" y="104"/>
                </a:moveTo>
                <a:cubicBezTo>
                  <a:pt x="92" y="104"/>
                  <a:pt x="93" y="103"/>
                  <a:pt x="95" y="101"/>
                </a:cubicBezTo>
                <a:cubicBezTo>
                  <a:pt x="96" y="100"/>
                  <a:pt x="96" y="98"/>
                  <a:pt x="96" y="96"/>
                </a:cubicBezTo>
                <a:cubicBezTo>
                  <a:pt x="96" y="95"/>
                  <a:pt x="96" y="93"/>
                  <a:pt x="95" y="92"/>
                </a:cubicBezTo>
                <a:cubicBezTo>
                  <a:pt x="94" y="91"/>
                  <a:pt x="92" y="90"/>
                  <a:pt x="90" y="89"/>
                </a:cubicBezTo>
                <a:cubicBezTo>
                  <a:pt x="90" y="104"/>
                  <a:pt x="90" y="104"/>
                  <a:pt x="90" y="104"/>
                </a:cubicBezTo>
                <a:close/>
                <a:moveTo>
                  <a:pt x="43" y="28"/>
                </a:moveTo>
                <a:cubicBezTo>
                  <a:pt x="43" y="13"/>
                  <a:pt x="43" y="13"/>
                  <a:pt x="43" y="13"/>
                </a:cubicBezTo>
                <a:cubicBezTo>
                  <a:pt x="43" y="6"/>
                  <a:pt x="49" y="0"/>
                  <a:pt x="56" y="0"/>
                </a:cubicBezTo>
                <a:cubicBezTo>
                  <a:pt x="118" y="0"/>
                  <a:pt x="118" y="0"/>
                  <a:pt x="118" y="0"/>
                </a:cubicBezTo>
                <a:cubicBezTo>
                  <a:pt x="125" y="0"/>
                  <a:pt x="131" y="6"/>
                  <a:pt x="131" y="13"/>
                </a:cubicBezTo>
                <a:cubicBezTo>
                  <a:pt x="131" y="28"/>
                  <a:pt x="131" y="28"/>
                  <a:pt x="131" y="28"/>
                </a:cubicBezTo>
                <a:cubicBezTo>
                  <a:pt x="123" y="28"/>
                  <a:pt x="123" y="28"/>
                  <a:pt x="123" y="28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3"/>
                  <a:pt x="118" y="8"/>
                  <a:pt x="112" y="8"/>
                </a:cubicBezTo>
                <a:cubicBezTo>
                  <a:pt x="61" y="8"/>
                  <a:pt x="61" y="8"/>
                  <a:pt x="61" y="8"/>
                </a:cubicBezTo>
                <a:cubicBezTo>
                  <a:pt x="55" y="8"/>
                  <a:pt x="51" y="13"/>
                  <a:pt x="51" y="19"/>
                </a:cubicBezTo>
                <a:cubicBezTo>
                  <a:pt x="51" y="28"/>
                  <a:pt x="51" y="28"/>
                  <a:pt x="51" y="28"/>
                </a:cubicBezTo>
                <a:cubicBezTo>
                  <a:pt x="43" y="28"/>
                  <a:pt x="43" y="28"/>
                  <a:pt x="43" y="28"/>
                </a:cubicBezTo>
                <a:close/>
                <a:moveTo>
                  <a:pt x="139" y="28"/>
                </a:moveTo>
                <a:cubicBezTo>
                  <a:pt x="145" y="28"/>
                  <a:pt x="145" y="28"/>
                  <a:pt x="145" y="28"/>
                </a:cubicBezTo>
                <a:cubicBezTo>
                  <a:pt x="152" y="28"/>
                  <a:pt x="152" y="28"/>
                  <a:pt x="152" y="28"/>
                </a:cubicBezTo>
                <a:cubicBezTo>
                  <a:pt x="164" y="28"/>
                  <a:pt x="174" y="38"/>
                  <a:pt x="174" y="50"/>
                </a:cubicBezTo>
                <a:cubicBezTo>
                  <a:pt x="174" y="117"/>
                  <a:pt x="174" y="117"/>
                  <a:pt x="174" y="117"/>
                </a:cubicBezTo>
                <a:cubicBezTo>
                  <a:pt x="174" y="130"/>
                  <a:pt x="164" y="140"/>
                  <a:pt x="152" y="140"/>
                </a:cubicBezTo>
                <a:cubicBezTo>
                  <a:pt x="139" y="140"/>
                  <a:pt x="139" y="140"/>
                  <a:pt x="139" y="140"/>
                </a:cubicBezTo>
                <a:cubicBezTo>
                  <a:pt x="139" y="28"/>
                  <a:pt x="139" y="28"/>
                  <a:pt x="139" y="28"/>
                </a:cubicBezTo>
                <a:close/>
                <a:moveTo>
                  <a:pt x="116" y="140"/>
                </a:moveTo>
                <a:cubicBezTo>
                  <a:pt x="116" y="28"/>
                  <a:pt x="116" y="28"/>
                  <a:pt x="116" y="28"/>
                </a:cubicBezTo>
                <a:cubicBezTo>
                  <a:pt x="56" y="28"/>
                  <a:pt x="56" y="28"/>
                  <a:pt x="56" y="28"/>
                </a:cubicBezTo>
                <a:cubicBezTo>
                  <a:pt x="56" y="140"/>
                  <a:pt x="56" y="140"/>
                  <a:pt x="56" y="140"/>
                </a:cubicBezTo>
                <a:lnTo>
                  <a:pt x="116" y="1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7" name="Freeform 102"/>
          <p:cNvSpPr>
            <a:spLocks noEditPoints="1"/>
          </p:cNvSpPr>
          <p:nvPr/>
        </p:nvSpPr>
        <p:spPr bwMode="auto">
          <a:xfrm>
            <a:off x="6142567" y="3835400"/>
            <a:ext cx="520700" cy="414867"/>
          </a:xfrm>
          <a:custGeom>
            <a:avLst/>
            <a:gdLst>
              <a:gd name="T0" fmla="*/ 166231231 w 174"/>
              <a:gd name="T1" fmla="*/ 137259989 h 138"/>
              <a:gd name="T2" fmla="*/ 130969516 w 174"/>
              <a:gd name="T3" fmla="*/ 701553062 h 138"/>
              <a:gd name="T4" fmla="*/ 0 w 174"/>
              <a:gd name="T5" fmla="*/ 244018260 h 138"/>
              <a:gd name="T6" fmla="*/ 549066928 w 174"/>
              <a:gd name="T7" fmla="*/ 274519979 h 138"/>
              <a:gd name="T8" fmla="*/ 483582170 w 174"/>
              <a:gd name="T9" fmla="*/ 320274812 h 138"/>
              <a:gd name="T10" fmla="*/ 402985890 w 174"/>
              <a:gd name="T11" fmla="*/ 386362621 h 138"/>
              <a:gd name="T12" fmla="*/ 518843884 w 174"/>
              <a:gd name="T13" fmla="*/ 421948711 h 138"/>
              <a:gd name="T14" fmla="*/ 397947219 w 174"/>
              <a:gd name="T15" fmla="*/ 432115199 h 138"/>
              <a:gd name="T16" fmla="*/ 513805214 w 174"/>
              <a:gd name="T17" fmla="*/ 452450430 h 138"/>
              <a:gd name="T18" fmla="*/ 402985890 w 174"/>
              <a:gd name="T19" fmla="*/ 488036520 h 138"/>
              <a:gd name="T20" fmla="*/ 478545744 w 174"/>
              <a:gd name="T21" fmla="*/ 554124329 h 138"/>
              <a:gd name="T22" fmla="*/ 549066928 w 174"/>
              <a:gd name="T23" fmla="*/ 594794791 h 138"/>
              <a:gd name="T24" fmla="*/ 372760601 w 174"/>
              <a:gd name="T25" fmla="*/ 564293072 h 138"/>
              <a:gd name="T26" fmla="*/ 297200747 w 174"/>
              <a:gd name="T27" fmla="*/ 488036520 h 138"/>
              <a:gd name="T28" fmla="*/ 327426035 w 174"/>
              <a:gd name="T29" fmla="*/ 452450430 h 138"/>
              <a:gd name="T30" fmla="*/ 327426035 w 174"/>
              <a:gd name="T31" fmla="*/ 421948711 h 138"/>
              <a:gd name="T32" fmla="*/ 307275843 w 174"/>
              <a:gd name="T33" fmla="*/ 386362621 h 138"/>
              <a:gd name="T34" fmla="*/ 372760601 w 174"/>
              <a:gd name="T35" fmla="*/ 310106069 h 138"/>
              <a:gd name="T36" fmla="*/ 549066928 w 174"/>
              <a:gd name="T37" fmla="*/ 274519979 h 138"/>
              <a:gd name="T38" fmla="*/ 216604467 w 174"/>
              <a:gd name="T39" fmla="*/ 61005692 h 138"/>
              <a:gd name="T40" fmla="*/ 589365068 w 174"/>
              <a:gd name="T41" fmla="*/ 0 h 138"/>
              <a:gd name="T42" fmla="*/ 654852071 w 174"/>
              <a:gd name="T43" fmla="*/ 137259989 h 138"/>
              <a:gd name="T44" fmla="*/ 614551686 w 174"/>
              <a:gd name="T45" fmla="*/ 91507411 h 138"/>
              <a:gd name="T46" fmla="*/ 312314513 w 174"/>
              <a:gd name="T47" fmla="*/ 35586090 h 138"/>
              <a:gd name="T48" fmla="*/ 256902607 w 174"/>
              <a:gd name="T49" fmla="*/ 137259989 h 138"/>
              <a:gd name="T50" fmla="*/ 700186637 w 174"/>
              <a:gd name="T51" fmla="*/ 137259989 h 138"/>
              <a:gd name="T52" fmla="*/ 760634969 w 174"/>
              <a:gd name="T53" fmla="*/ 137259989 h 138"/>
              <a:gd name="T54" fmla="*/ 876492963 w 174"/>
              <a:gd name="T55" fmla="*/ 589710420 h 138"/>
              <a:gd name="T56" fmla="*/ 700186637 w 174"/>
              <a:gd name="T57" fmla="*/ 701553062 h 138"/>
              <a:gd name="T58" fmla="*/ 579292216 w 174"/>
              <a:gd name="T59" fmla="*/ 701553062 h 138"/>
              <a:gd name="T60" fmla="*/ 282089225 w 174"/>
              <a:gd name="T61" fmla="*/ 137259989 h 138"/>
              <a:gd name="T62" fmla="*/ 579292216 w 174"/>
              <a:gd name="T63" fmla="*/ 701553062 h 1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74" h="138">
                <a:moveTo>
                  <a:pt x="22" y="27"/>
                </a:moveTo>
                <a:cubicBezTo>
                  <a:pt x="33" y="27"/>
                  <a:pt x="33" y="27"/>
                  <a:pt x="33" y="27"/>
                </a:cubicBezTo>
                <a:cubicBezTo>
                  <a:pt x="33" y="138"/>
                  <a:pt x="33" y="138"/>
                  <a:pt x="33" y="138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13" y="138"/>
                  <a:pt x="0" y="128"/>
                  <a:pt x="0" y="116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36"/>
                  <a:pt x="10" y="27"/>
                  <a:pt x="22" y="27"/>
                </a:cubicBezTo>
                <a:close/>
                <a:moveTo>
                  <a:pt x="109" y="54"/>
                </a:moveTo>
                <a:cubicBezTo>
                  <a:pt x="107" y="67"/>
                  <a:pt x="107" y="67"/>
                  <a:pt x="107" y="67"/>
                </a:cubicBezTo>
                <a:cubicBezTo>
                  <a:pt x="104" y="64"/>
                  <a:pt x="100" y="63"/>
                  <a:pt x="96" y="63"/>
                </a:cubicBezTo>
                <a:cubicBezTo>
                  <a:pt x="91" y="63"/>
                  <a:pt x="87" y="65"/>
                  <a:pt x="84" y="68"/>
                </a:cubicBezTo>
                <a:cubicBezTo>
                  <a:pt x="82" y="70"/>
                  <a:pt x="81" y="73"/>
                  <a:pt x="80" y="76"/>
                </a:cubicBezTo>
                <a:cubicBezTo>
                  <a:pt x="105" y="76"/>
                  <a:pt x="105" y="76"/>
                  <a:pt x="105" y="76"/>
                </a:cubicBezTo>
                <a:cubicBezTo>
                  <a:pt x="103" y="83"/>
                  <a:pt x="103" y="83"/>
                  <a:pt x="103" y="83"/>
                </a:cubicBezTo>
                <a:cubicBezTo>
                  <a:pt x="79" y="83"/>
                  <a:pt x="79" y="83"/>
                  <a:pt x="79" y="83"/>
                </a:cubicBezTo>
                <a:cubicBezTo>
                  <a:pt x="79" y="83"/>
                  <a:pt x="79" y="84"/>
                  <a:pt x="79" y="85"/>
                </a:cubicBezTo>
                <a:cubicBezTo>
                  <a:pt x="79" y="86"/>
                  <a:pt x="79" y="88"/>
                  <a:pt x="79" y="89"/>
                </a:cubicBezTo>
                <a:cubicBezTo>
                  <a:pt x="102" y="89"/>
                  <a:pt x="102" y="89"/>
                  <a:pt x="102" y="89"/>
                </a:cubicBezTo>
                <a:cubicBezTo>
                  <a:pt x="101" y="96"/>
                  <a:pt x="101" y="96"/>
                  <a:pt x="101" y="96"/>
                </a:cubicBezTo>
                <a:cubicBezTo>
                  <a:pt x="80" y="96"/>
                  <a:pt x="80" y="96"/>
                  <a:pt x="80" y="96"/>
                </a:cubicBezTo>
                <a:cubicBezTo>
                  <a:pt x="81" y="99"/>
                  <a:pt x="82" y="102"/>
                  <a:pt x="83" y="103"/>
                </a:cubicBezTo>
                <a:cubicBezTo>
                  <a:pt x="86" y="107"/>
                  <a:pt x="90" y="109"/>
                  <a:pt x="95" y="109"/>
                </a:cubicBezTo>
                <a:cubicBezTo>
                  <a:pt x="101" y="109"/>
                  <a:pt x="106" y="107"/>
                  <a:pt x="109" y="103"/>
                </a:cubicBezTo>
                <a:cubicBezTo>
                  <a:pt x="109" y="117"/>
                  <a:pt x="109" y="117"/>
                  <a:pt x="109" y="117"/>
                </a:cubicBezTo>
                <a:cubicBezTo>
                  <a:pt x="105" y="119"/>
                  <a:pt x="101" y="120"/>
                  <a:pt x="95" y="120"/>
                </a:cubicBezTo>
                <a:cubicBezTo>
                  <a:pt x="87" y="120"/>
                  <a:pt x="79" y="117"/>
                  <a:pt x="74" y="111"/>
                </a:cubicBezTo>
                <a:cubicBezTo>
                  <a:pt x="70" y="107"/>
                  <a:pt x="67" y="102"/>
                  <a:pt x="66" y="96"/>
                </a:cubicBezTo>
                <a:cubicBezTo>
                  <a:pt x="59" y="96"/>
                  <a:pt x="59" y="96"/>
                  <a:pt x="59" y="96"/>
                </a:cubicBezTo>
                <a:cubicBezTo>
                  <a:pt x="61" y="89"/>
                  <a:pt x="61" y="89"/>
                  <a:pt x="61" y="89"/>
                </a:cubicBezTo>
                <a:cubicBezTo>
                  <a:pt x="65" y="89"/>
                  <a:pt x="65" y="89"/>
                  <a:pt x="65" y="89"/>
                </a:cubicBezTo>
                <a:cubicBezTo>
                  <a:pt x="65" y="88"/>
                  <a:pt x="65" y="87"/>
                  <a:pt x="65" y="86"/>
                </a:cubicBezTo>
                <a:cubicBezTo>
                  <a:pt x="65" y="85"/>
                  <a:pt x="65" y="84"/>
                  <a:pt x="65" y="83"/>
                </a:cubicBezTo>
                <a:cubicBezTo>
                  <a:pt x="59" y="83"/>
                  <a:pt x="59" y="83"/>
                  <a:pt x="59" y="83"/>
                </a:cubicBezTo>
                <a:cubicBezTo>
                  <a:pt x="61" y="76"/>
                  <a:pt x="61" y="76"/>
                  <a:pt x="61" y="76"/>
                </a:cubicBezTo>
                <a:cubicBezTo>
                  <a:pt x="66" y="76"/>
                  <a:pt x="66" y="76"/>
                  <a:pt x="66" y="76"/>
                </a:cubicBezTo>
                <a:cubicBezTo>
                  <a:pt x="67" y="70"/>
                  <a:pt x="70" y="65"/>
                  <a:pt x="74" y="61"/>
                </a:cubicBezTo>
                <a:cubicBezTo>
                  <a:pt x="79" y="54"/>
                  <a:pt x="87" y="51"/>
                  <a:pt x="96" y="51"/>
                </a:cubicBezTo>
                <a:cubicBezTo>
                  <a:pt x="101" y="51"/>
                  <a:pt x="106" y="52"/>
                  <a:pt x="109" y="54"/>
                </a:cubicBezTo>
                <a:close/>
                <a:moveTo>
                  <a:pt x="43" y="27"/>
                </a:moveTo>
                <a:cubicBezTo>
                  <a:pt x="43" y="12"/>
                  <a:pt x="43" y="12"/>
                  <a:pt x="43" y="12"/>
                </a:cubicBezTo>
                <a:cubicBezTo>
                  <a:pt x="43" y="5"/>
                  <a:pt x="49" y="0"/>
                  <a:pt x="56" y="0"/>
                </a:cubicBezTo>
                <a:cubicBezTo>
                  <a:pt x="117" y="0"/>
                  <a:pt x="117" y="0"/>
                  <a:pt x="117" y="0"/>
                </a:cubicBezTo>
                <a:cubicBezTo>
                  <a:pt x="124" y="0"/>
                  <a:pt x="130" y="5"/>
                  <a:pt x="130" y="12"/>
                </a:cubicBezTo>
                <a:cubicBezTo>
                  <a:pt x="130" y="27"/>
                  <a:pt x="130" y="27"/>
                  <a:pt x="130" y="27"/>
                </a:cubicBezTo>
                <a:cubicBezTo>
                  <a:pt x="122" y="27"/>
                  <a:pt x="122" y="27"/>
                  <a:pt x="122" y="27"/>
                </a:cubicBezTo>
                <a:cubicBezTo>
                  <a:pt x="122" y="18"/>
                  <a:pt x="122" y="18"/>
                  <a:pt x="122" y="18"/>
                </a:cubicBezTo>
                <a:cubicBezTo>
                  <a:pt x="122" y="12"/>
                  <a:pt x="118" y="7"/>
                  <a:pt x="112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56" y="7"/>
                  <a:pt x="51" y="12"/>
                  <a:pt x="51" y="18"/>
                </a:cubicBezTo>
                <a:cubicBezTo>
                  <a:pt x="51" y="27"/>
                  <a:pt x="51" y="27"/>
                  <a:pt x="51" y="27"/>
                </a:cubicBezTo>
                <a:cubicBezTo>
                  <a:pt x="43" y="27"/>
                  <a:pt x="43" y="27"/>
                  <a:pt x="43" y="27"/>
                </a:cubicBezTo>
                <a:close/>
                <a:moveTo>
                  <a:pt x="139" y="27"/>
                </a:moveTo>
                <a:cubicBezTo>
                  <a:pt x="144" y="27"/>
                  <a:pt x="144" y="27"/>
                  <a:pt x="144" y="27"/>
                </a:cubicBezTo>
                <a:cubicBezTo>
                  <a:pt x="151" y="27"/>
                  <a:pt x="151" y="27"/>
                  <a:pt x="151" y="27"/>
                </a:cubicBezTo>
                <a:cubicBezTo>
                  <a:pt x="164" y="27"/>
                  <a:pt x="174" y="37"/>
                  <a:pt x="174" y="50"/>
                </a:cubicBezTo>
                <a:cubicBezTo>
                  <a:pt x="174" y="116"/>
                  <a:pt x="174" y="116"/>
                  <a:pt x="174" y="116"/>
                </a:cubicBezTo>
                <a:cubicBezTo>
                  <a:pt x="174" y="128"/>
                  <a:pt x="164" y="138"/>
                  <a:pt x="151" y="138"/>
                </a:cubicBezTo>
                <a:cubicBezTo>
                  <a:pt x="139" y="138"/>
                  <a:pt x="139" y="138"/>
                  <a:pt x="139" y="138"/>
                </a:cubicBezTo>
                <a:cubicBezTo>
                  <a:pt x="139" y="27"/>
                  <a:pt x="139" y="27"/>
                  <a:pt x="139" y="27"/>
                </a:cubicBezTo>
                <a:close/>
                <a:moveTo>
                  <a:pt x="115" y="138"/>
                </a:moveTo>
                <a:cubicBezTo>
                  <a:pt x="115" y="27"/>
                  <a:pt x="115" y="27"/>
                  <a:pt x="115" y="27"/>
                </a:cubicBezTo>
                <a:cubicBezTo>
                  <a:pt x="56" y="27"/>
                  <a:pt x="56" y="27"/>
                  <a:pt x="56" y="27"/>
                </a:cubicBezTo>
                <a:cubicBezTo>
                  <a:pt x="56" y="138"/>
                  <a:pt x="56" y="138"/>
                  <a:pt x="56" y="138"/>
                </a:cubicBezTo>
                <a:lnTo>
                  <a:pt x="115" y="1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8" name="Freeform 103"/>
          <p:cNvSpPr>
            <a:spLocks noEditPoints="1"/>
          </p:cNvSpPr>
          <p:nvPr/>
        </p:nvSpPr>
        <p:spPr bwMode="auto">
          <a:xfrm>
            <a:off x="6999817" y="3854451"/>
            <a:ext cx="556683" cy="448733"/>
          </a:xfrm>
          <a:custGeom>
            <a:avLst/>
            <a:gdLst>
              <a:gd name="T0" fmla="*/ 176351682 w 186"/>
              <a:gd name="T1" fmla="*/ 151021203 h 150"/>
              <a:gd name="T2" fmla="*/ 136043816 w 186"/>
              <a:gd name="T3" fmla="*/ 755106017 h 150"/>
              <a:gd name="T4" fmla="*/ 0 w 186"/>
              <a:gd name="T5" fmla="*/ 266803378 h 150"/>
              <a:gd name="T6" fmla="*/ 453476394 w 186"/>
              <a:gd name="T7" fmla="*/ 453063610 h 150"/>
              <a:gd name="T8" fmla="*/ 518978639 w 186"/>
              <a:gd name="T9" fmla="*/ 503404759 h 150"/>
              <a:gd name="T10" fmla="*/ 453476394 w 186"/>
              <a:gd name="T11" fmla="*/ 538641544 h 150"/>
              <a:gd name="T12" fmla="*/ 458515719 w 186"/>
              <a:gd name="T13" fmla="*/ 558778452 h 150"/>
              <a:gd name="T14" fmla="*/ 529055045 w 186"/>
              <a:gd name="T15" fmla="*/ 568845785 h 150"/>
              <a:gd name="T16" fmla="*/ 574402235 w 186"/>
              <a:gd name="T17" fmla="*/ 558778452 h 150"/>
              <a:gd name="T18" fmla="*/ 564325830 w 186"/>
              <a:gd name="T19" fmla="*/ 639323842 h 150"/>
              <a:gd name="T20" fmla="*/ 483707854 w 186"/>
              <a:gd name="T21" fmla="*/ 639323842 h 150"/>
              <a:gd name="T22" fmla="*/ 418205609 w 186"/>
              <a:gd name="T23" fmla="*/ 624221722 h 150"/>
              <a:gd name="T24" fmla="*/ 327511228 w 186"/>
              <a:gd name="T25" fmla="*/ 583947905 h 150"/>
              <a:gd name="T26" fmla="*/ 372858418 w 186"/>
              <a:gd name="T27" fmla="*/ 503404759 h 150"/>
              <a:gd name="T28" fmla="*/ 327511228 w 186"/>
              <a:gd name="T29" fmla="*/ 453063610 h 150"/>
              <a:gd name="T30" fmla="*/ 352703363 w 186"/>
              <a:gd name="T31" fmla="*/ 417824581 h 150"/>
              <a:gd name="T32" fmla="*/ 362782013 w 186"/>
              <a:gd name="T33" fmla="*/ 352383556 h 150"/>
              <a:gd name="T34" fmla="*/ 468592124 w 186"/>
              <a:gd name="T35" fmla="*/ 307077195 h 150"/>
              <a:gd name="T36" fmla="*/ 569365155 w 186"/>
              <a:gd name="T37" fmla="*/ 347348768 h 150"/>
              <a:gd name="T38" fmla="*/ 503862909 w 186"/>
              <a:gd name="T39" fmla="*/ 407757249 h 150"/>
              <a:gd name="T40" fmla="*/ 468592124 w 186"/>
              <a:gd name="T41" fmla="*/ 367485676 h 150"/>
              <a:gd name="T42" fmla="*/ 438360664 w 186"/>
              <a:gd name="T43" fmla="*/ 402722461 h 150"/>
              <a:gd name="T44" fmla="*/ 453476394 w 186"/>
              <a:gd name="T45" fmla="*/ 453063610 h 150"/>
              <a:gd name="T46" fmla="*/ 231777522 w 186"/>
              <a:gd name="T47" fmla="*/ 70475814 h 150"/>
              <a:gd name="T48" fmla="*/ 634867400 w 186"/>
              <a:gd name="T49" fmla="*/ 0 h 150"/>
              <a:gd name="T50" fmla="*/ 700369646 w 186"/>
              <a:gd name="T51" fmla="*/ 151021203 h 150"/>
              <a:gd name="T52" fmla="*/ 660059536 w 186"/>
              <a:gd name="T53" fmla="*/ 100680054 h 150"/>
              <a:gd name="T54" fmla="*/ 332548308 w 186"/>
              <a:gd name="T55" fmla="*/ 45306361 h 150"/>
              <a:gd name="T56" fmla="*/ 272085387 w 186"/>
              <a:gd name="T57" fmla="*/ 151021203 h 150"/>
              <a:gd name="T58" fmla="*/ 750756161 w 186"/>
              <a:gd name="T59" fmla="*/ 151021203 h 150"/>
              <a:gd name="T60" fmla="*/ 816256162 w 186"/>
              <a:gd name="T61" fmla="*/ 151021203 h 150"/>
              <a:gd name="T62" fmla="*/ 937184248 w 186"/>
              <a:gd name="T63" fmla="*/ 629254266 h 150"/>
              <a:gd name="T64" fmla="*/ 750756161 w 186"/>
              <a:gd name="T65" fmla="*/ 755106017 h 150"/>
              <a:gd name="T66" fmla="*/ 619751670 w 186"/>
              <a:gd name="T67" fmla="*/ 755106017 h 150"/>
              <a:gd name="T68" fmla="*/ 302316848 w 186"/>
              <a:gd name="T69" fmla="*/ 151021203 h 150"/>
              <a:gd name="T70" fmla="*/ 619751670 w 186"/>
              <a:gd name="T71" fmla="*/ 755106017 h 15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86" h="150">
                <a:moveTo>
                  <a:pt x="23" y="30"/>
                </a:moveTo>
                <a:cubicBezTo>
                  <a:pt x="35" y="30"/>
                  <a:pt x="35" y="30"/>
                  <a:pt x="35" y="30"/>
                </a:cubicBezTo>
                <a:cubicBezTo>
                  <a:pt x="35" y="150"/>
                  <a:pt x="35" y="150"/>
                  <a:pt x="35" y="150"/>
                </a:cubicBezTo>
                <a:cubicBezTo>
                  <a:pt x="27" y="150"/>
                  <a:pt x="27" y="150"/>
                  <a:pt x="27" y="150"/>
                </a:cubicBezTo>
                <a:cubicBezTo>
                  <a:pt x="14" y="150"/>
                  <a:pt x="0" y="139"/>
                  <a:pt x="0" y="125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39"/>
                  <a:pt x="10" y="30"/>
                  <a:pt x="23" y="30"/>
                </a:cubicBezTo>
                <a:close/>
                <a:moveTo>
                  <a:pt x="90" y="90"/>
                </a:moveTo>
                <a:cubicBezTo>
                  <a:pt x="103" y="90"/>
                  <a:pt x="103" y="90"/>
                  <a:pt x="103" y="90"/>
                </a:cubicBezTo>
                <a:cubicBezTo>
                  <a:pt x="103" y="100"/>
                  <a:pt x="103" y="100"/>
                  <a:pt x="103" y="100"/>
                </a:cubicBezTo>
                <a:cubicBezTo>
                  <a:pt x="91" y="100"/>
                  <a:pt x="91" y="100"/>
                  <a:pt x="91" y="100"/>
                </a:cubicBezTo>
                <a:cubicBezTo>
                  <a:pt x="91" y="103"/>
                  <a:pt x="91" y="105"/>
                  <a:pt x="90" y="107"/>
                </a:cubicBezTo>
                <a:cubicBezTo>
                  <a:pt x="89" y="109"/>
                  <a:pt x="88" y="110"/>
                  <a:pt x="87" y="112"/>
                </a:cubicBezTo>
                <a:cubicBezTo>
                  <a:pt x="89" y="112"/>
                  <a:pt x="90" y="111"/>
                  <a:pt x="91" y="111"/>
                </a:cubicBezTo>
                <a:cubicBezTo>
                  <a:pt x="93" y="111"/>
                  <a:pt x="95" y="112"/>
                  <a:pt x="97" y="112"/>
                </a:cubicBezTo>
                <a:cubicBezTo>
                  <a:pt x="100" y="113"/>
                  <a:pt x="103" y="113"/>
                  <a:pt x="105" y="113"/>
                </a:cubicBezTo>
                <a:cubicBezTo>
                  <a:pt x="107" y="113"/>
                  <a:pt x="108" y="113"/>
                  <a:pt x="109" y="113"/>
                </a:cubicBezTo>
                <a:cubicBezTo>
                  <a:pt x="110" y="113"/>
                  <a:pt x="112" y="112"/>
                  <a:pt x="114" y="111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17" y="126"/>
                  <a:pt x="114" y="127"/>
                  <a:pt x="112" y="127"/>
                </a:cubicBezTo>
                <a:cubicBezTo>
                  <a:pt x="110" y="128"/>
                  <a:pt x="108" y="128"/>
                  <a:pt x="105" y="128"/>
                </a:cubicBezTo>
                <a:cubicBezTo>
                  <a:pt x="102" y="128"/>
                  <a:pt x="99" y="128"/>
                  <a:pt x="96" y="127"/>
                </a:cubicBezTo>
                <a:cubicBezTo>
                  <a:pt x="91" y="126"/>
                  <a:pt x="88" y="125"/>
                  <a:pt x="87" y="125"/>
                </a:cubicBezTo>
                <a:cubicBezTo>
                  <a:pt x="86" y="124"/>
                  <a:pt x="85" y="124"/>
                  <a:pt x="83" y="124"/>
                </a:cubicBezTo>
                <a:cubicBezTo>
                  <a:pt x="80" y="124"/>
                  <a:pt x="75" y="126"/>
                  <a:pt x="71" y="128"/>
                </a:cubicBezTo>
                <a:cubicBezTo>
                  <a:pt x="65" y="116"/>
                  <a:pt x="65" y="116"/>
                  <a:pt x="65" y="116"/>
                </a:cubicBezTo>
                <a:cubicBezTo>
                  <a:pt x="71" y="111"/>
                  <a:pt x="74" y="107"/>
                  <a:pt x="74" y="102"/>
                </a:cubicBezTo>
                <a:cubicBezTo>
                  <a:pt x="74" y="102"/>
                  <a:pt x="74" y="102"/>
                  <a:pt x="74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90"/>
                  <a:pt x="65" y="90"/>
                  <a:pt x="65" y="90"/>
                </a:cubicBezTo>
                <a:cubicBezTo>
                  <a:pt x="72" y="90"/>
                  <a:pt x="72" y="90"/>
                  <a:pt x="72" y="90"/>
                </a:cubicBezTo>
                <a:cubicBezTo>
                  <a:pt x="70" y="86"/>
                  <a:pt x="70" y="84"/>
                  <a:pt x="70" y="83"/>
                </a:cubicBezTo>
                <a:cubicBezTo>
                  <a:pt x="70" y="82"/>
                  <a:pt x="69" y="81"/>
                  <a:pt x="69" y="80"/>
                </a:cubicBezTo>
                <a:cubicBezTo>
                  <a:pt x="69" y="76"/>
                  <a:pt x="70" y="73"/>
                  <a:pt x="72" y="70"/>
                </a:cubicBezTo>
                <a:cubicBezTo>
                  <a:pt x="74" y="67"/>
                  <a:pt x="77" y="65"/>
                  <a:pt x="80" y="63"/>
                </a:cubicBezTo>
                <a:cubicBezTo>
                  <a:pt x="83" y="62"/>
                  <a:pt x="88" y="61"/>
                  <a:pt x="93" y="61"/>
                </a:cubicBezTo>
                <a:cubicBezTo>
                  <a:pt x="98" y="61"/>
                  <a:pt x="102" y="62"/>
                  <a:pt x="105" y="63"/>
                </a:cubicBezTo>
                <a:cubicBezTo>
                  <a:pt x="108" y="64"/>
                  <a:pt x="111" y="66"/>
                  <a:pt x="113" y="69"/>
                </a:cubicBezTo>
                <a:cubicBezTo>
                  <a:pt x="115" y="71"/>
                  <a:pt x="116" y="74"/>
                  <a:pt x="117" y="78"/>
                </a:cubicBezTo>
                <a:cubicBezTo>
                  <a:pt x="100" y="81"/>
                  <a:pt x="100" y="81"/>
                  <a:pt x="100" y="81"/>
                </a:cubicBezTo>
                <a:cubicBezTo>
                  <a:pt x="99" y="78"/>
                  <a:pt x="98" y="76"/>
                  <a:pt x="97" y="75"/>
                </a:cubicBezTo>
                <a:cubicBezTo>
                  <a:pt x="96" y="74"/>
                  <a:pt x="95" y="73"/>
                  <a:pt x="93" y="73"/>
                </a:cubicBezTo>
                <a:cubicBezTo>
                  <a:pt x="91" y="73"/>
                  <a:pt x="90" y="74"/>
                  <a:pt x="89" y="75"/>
                </a:cubicBezTo>
                <a:cubicBezTo>
                  <a:pt x="88" y="76"/>
                  <a:pt x="87" y="77"/>
                  <a:pt x="87" y="80"/>
                </a:cubicBezTo>
                <a:cubicBezTo>
                  <a:pt x="87" y="81"/>
                  <a:pt x="88" y="82"/>
                  <a:pt x="88" y="83"/>
                </a:cubicBezTo>
                <a:cubicBezTo>
                  <a:pt x="88" y="84"/>
                  <a:pt x="89" y="86"/>
                  <a:pt x="90" y="90"/>
                </a:cubicBezTo>
                <a:close/>
                <a:moveTo>
                  <a:pt x="46" y="30"/>
                </a:moveTo>
                <a:cubicBezTo>
                  <a:pt x="46" y="14"/>
                  <a:pt x="46" y="14"/>
                  <a:pt x="46" y="14"/>
                </a:cubicBezTo>
                <a:cubicBezTo>
                  <a:pt x="46" y="7"/>
                  <a:pt x="52" y="0"/>
                  <a:pt x="60" y="0"/>
                </a:cubicBezTo>
                <a:cubicBezTo>
                  <a:pt x="126" y="0"/>
                  <a:pt x="126" y="0"/>
                  <a:pt x="126" y="0"/>
                </a:cubicBezTo>
                <a:cubicBezTo>
                  <a:pt x="133" y="0"/>
                  <a:pt x="139" y="7"/>
                  <a:pt x="139" y="14"/>
                </a:cubicBezTo>
                <a:cubicBezTo>
                  <a:pt x="139" y="30"/>
                  <a:pt x="139" y="30"/>
                  <a:pt x="139" y="30"/>
                </a:cubicBezTo>
                <a:cubicBezTo>
                  <a:pt x="131" y="30"/>
                  <a:pt x="131" y="30"/>
                  <a:pt x="131" y="30"/>
                </a:cubicBezTo>
                <a:cubicBezTo>
                  <a:pt x="131" y="20"/>
                  <a:pt x="131" y="20"/>
                  <a:pt x="131" y="20"/>
                </a:cubicBezTo>
                <a:cubicBezTo>
                  <a:pt x="131" y="14"/>
                  <a:pt x="126" y="9"/>
                  <a:pt x="120" y="9"/>
                </a:cubicBezTo>
                <a:cubicBezTo>
                  <a:pt x="66" y="9"/>
                  <a:pt x="66" y="9"/>
                  <a:pt x="66" y="9"/>
                </a:cubicBezTo>
                <a:cubicBezTo>
                  <a:pt x="59" y="9"/>
                  <a:pt x="54" y="14"/>
                  <a:pt x="54" y="20"/>
                </a:cubicBezTo>
                <a:cubicBezTo>
                  <a:pt x="54" y="30"/>
                  <a:pt x="54" y="30"/>
                  <a:pt x="54" y="30"/>
                </a:cubicBezTo>
                <a:cubicBezTo>
                  <a:pt x="46" y="30"/>
                  <a:pt x="46" y="30"/>
                  <a:pt x="46" y="30"/>
                </a:cubicBezTo>
                <a:close/>
                <a:moveTo>
                  <a:pt x="149" y="30"/>
                </a:moveTo>
                <a:cubicBezTo>
                  <a:pt x="154" y="30"/>
                  <a:pt x="154" y="30"/>
                  <a:pt x="154" y="30"/>
                </a:cubicBezTo>
                <a:cubicBezTo>
                  <a:pt x="162" y="30"/>
                  <a:pt x="162" y="30"/>
                  <a:pt x="162" y="30"/>
                </a:cubicBezTo>
                <a:cubicBezTo>
                  <a:pt x="175" y="30"/>
                  <a:pt x="186" y="41"/>
                  <a:pt x="186" y="54"/>
                </a:cubicBezTo>
                <a:cubicBezTo>
                  <a:pt x="186" y="125"/>
                  <a:pt x="186" y="125"/>
                  <a:pt x="186" y="125"/>
                </a:cubicBezTo>
                <a:cubicBezTo>
                  <a:pt x="186" y="139"/>
                  <a:pt x="175" y="150"/>
                  <a:pt x="162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30"/>
                  <a:pt x="149" y="30"/>
                  <a:pt x="149" y="30"/>
                </a:cubicBezTo>
                <a:close/>
                <a:moveTo>
                  <a:pt x="123" y="150"/>
                </a:moveTo>
                <a:cubicBezTo>
                  <a:pt x="123" y="30"/>
                  <a:pt x="123" y="30"/>
                  <a:pt x="123" y="30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150"/>
                  <a:pt x="60" y="150"/>
                  <a:pt x="60" y="150"/>
                </a:cubicBezTo>
                <a:lnTo>
                  <a:pt x="123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69" name="Freeform 104"/>
          <p:cNvSpPr>
            <a:spLocks noEditPoints="1"/>
          </p:cNvSpPr>
          <p:nvPr/>
        </p:nvSpPr>
        <p:spPr bwMode="auto">
          <a:xfrm>
            <a:off x="7899401" y="3860800"/>
            <a:ext cx="436033" cy="533400"/>
          </a:xfrm>
          <a:custGeom>
            <a:avLst/>
            <a:gdLst>
              <a:gd name="T0" fmla="*/ 717450292 w 146"/>
              <a:gd name="T1" fmla="*/ 606136432 h 178"/>
              <a:gd name="T2" fmla="*/ 556903416 w 146"/>
              <a:gd name="T3" fmla="*/ 606136432 h 178"/>
              <a:gd name="T4" fmla="*/ 351200211 w 146"/>
              <a:gd name="T5" fmla="*/ 722310502 h 178"/>
              <a:gd name="T6" fmla="*/ 0 w 146"/>
              <a:gd name="T7" fmla="*/ 722310502 h 178"/>
              <a:gd name="T8" fmla="*/ 120412397 w 146"/>
              <a:gd name="T9" fmla="*/ 676850888 h 178"/>
              <a:gd name="T10" fmla="*/ 230787814 w 146"/>
              <a:gd name="T11" fmla="*/ 651596046 h 178"/>
              <a:gd name="T12" fmla="*/ 205703205 w 146"/>
              <a:gd name="T13" fmla="*/ 626341204 h 178"/>
              <a:gd name="T14" fmla="*/ 125427527 w 146"/>
              <a:gd name="T15" fmla="*/ 636441343 h 178"/>
              <a:gd name="T16" fmla="*/ 120412397 w 146"/>
              <a:gd name="T17" fmla="*/ 676850888 h 178"/>
              <a:gd name="T18" fmla="*/ 255874664 w 146"/>
              <a:gd name="T19" fmla="*/ 646543729 h 178"/>
              <a:gd name="T20" fmla="*/ 220753074 w 146"/>
              <a:gd name="T21" fmla="*/ 606136432 h 178"/>
              <a:gd name="T22" fmla="*/ 95325548 w 146"/>
              <a:gd name="T23" fmla="*/ 631391274 h 178"/>
              <a:gd name="T24" fmla="*/ 95325548 w 146"/>
              <a:gd name="T25" fmla="*/ 676850888 h 178"/>
              <a:gd name="T26" fmla="*/ 85290808 w 146"/>
              <a:gd name="T27" fmla="*/ 813231978 h 178"/>
              <a:gd name="T28" fmla="*/ 245839924 w 146"/>
              <a:gd name="T29" fmla="*/ 833436751 h 178"/>
              <a:gd name="T30" fmla="*/ 265909403 w 146"/>
              <a:gd name="T31" fmla="*/ 697055660 h 178"/>
              <a:gd name="T32" fmla="*/ 175598986 w 146"/>
              <a:gd name="T33" fmla="*/ 702107977 h 178"/>
              <a:gd name="T34" fmla="*/ 160549116 w 146"/>
              <a:gd name="T35" fmla="*/ 747567592 h 178"/>
              <a:gd name="T36" fmla="*/ 175598986 w 146"/>
              <a:gd name="T37" fmla="*/ 808181909 h 178"/>
              <a:gd name="T38" fmla="*/ 190651095 w 146"/>
              <a:gd name="T39" fmla="*/ 793027206 h 178"/>
              <a:gd name="T40" fmla="*/ 200685835 w 146"/>
              <a:gd name="T41" fmla="*/ 727362819 h 178"/>
              <a:gd name="T42" fmla="*/ 140479636 w 146"/>
              <a:gd name="T43" fmla="*/ 0 h 178"/>
              <a:gd name="T44" fmla="*/ 175598986 w 146"/>
              <a:gd name="T45" fmla="*/ 505112569 h 178"/>
              <a:gd name="T46" fmla="*/ 371267451 w 146"/>
              <a:gd name="T47" fmla="*/ 803129592 h 178"/>
              <a:gd name="T48" fmla="*/ 516764457 w 146"/>
              <a:gd name="T49" fmla="*/ 565726887 h 178"/>
              <a:gd name="T50" fmla="*/ 732502402 w 146"/>
              <a:gd name="T51" fmla="*/ 0 h 178"/>
              <a:gd name="T52" fmla="*/ 160549116 w 146"/>
              <a:gd name="T53" fmla="*/ 106073932 h 178"/>
              <a:gd name="T54" fmla="*/ 481645108 w 146"/>
              <a:gd name="T55" fmla="*/ 111124001 h 178"/>
              <a:gd name="T56" fmla="*/ 160549116 w 146"/>
              <a:gd name="T57" fmla="*/ 106073932 h 178"/>
              <a:gd name="T58" fmla="*/ 511749327 w 146"/>
              <a:gd name="T59" fmla="*/ 85869159 h 178"/>
              <a:gd name="T60" fmla="*/ 160549116 w 146"/>
              <a:gd name="T61" fmla="*/ 95971546 h 178"/>
              <a:gd name="T62" fmla="*/ 160549116 w 146"/>
              <a:gd name="T63" fmla="*/ 65664387 h 178"/>
              <a:gd name="T64" fmla="*/ 571953286 w 146"/>
              <a:gd name="T65" fmla="*/ 75766773 h 178"/>
              <a:gd name="T66" fmla="*/ 160549116 w 146"/>
              <a:gd name="T67" fmla="*/ 65664387 h 178"/>
              <a:gd name="T68" fmla="*/ 627142114 w 146"/>
              <a:gd name="T69" fmla="*/ 50511931 h 178"/>
              <a:gd name="T70" fmla="*/ 160549116 w 146"/>
              <a:gd name="T71" fmla="*/ 60614317 h 178"/>
              <a:gd name="T72" fmla="*/ 160549116 w 146"/>
              <a:gd name="T73" fmla="*/ 30307159 h 178"/>
              <a:gd name="T74" fmla="*/ 692365683 w 146"/>
              <a:gd name="T75" fmla="*/ 40409545 h 178"/>
              <a:gd name="T76" fmla="*/ 160549116 w 146"/>
              <a:gd name="T77" fmla="*/ 30307159 h 17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46" h="178">
                <a:moveTo>
                  <a:pt x="111" y="120"/>
                </a:moveTo>
                <a:cubicBezTo>
                  <a:pt x="143" y="120"/>
                  <a:pt x="143" y="120"/>
                  <a:pt x="143" y="120"/>
                </a:cubicBezTo>
                <a:cubicBezTo>
                  <a:pt x="111" y="154"/>
                  <a:pt x="111" y="154"/>
                  <a:pt x="111" y="154"/>
                </a:cubicBezTo>
                <a:cubicBezTo>
                  <a:pt x="111" y="120"/>
                  <a:pt x="111" y="120"/>
                  <a:pt x="111" y="120"/>
                </a:cubicBezTo>
                <a:close/>
                <a:moveTo>
                  <a:pt x="35" y="107"/>
                </a:moveTo>
                <a:cubicBezTo>
                  <a:pt x="54" y="107"/>
                  <a:pt x="70" y="123"/>
                  <a:pt x="70" y="143"/>
                </a:cubicBezTo>
                <a:cubicBezTo>
                  <a:pt x="70" y="162"/>
                  <a:pt x="54" y="178"/>
                  <a:pt x="35" y="178"/>
                </a:cubicBezTo>
                <a:cubicBezTo>
                  <a:pt x="15" y="178"/>
                  <a:pt x="0" y="162"/>
                  <a:pt x="0" y="143"/>
                </a:cubicBezTo>
                <a:cubicBezTo>
                  <a:pt x="0" y="123"/>
                  <a:pt x="15" y="107"/>
                  <a:pt x="35" y="107"/>
                </a:cubicBezTo>
                <a:close/>
                <a:moveTo>
                  <a:pt x="24" y="134"/>
                </a:moveTo>
                <a:cubicBezTo>
                  <a:pt x="46" y="134"/>
                  <a:pt x="46" y="134"/>
                  <a:pt x="46" y="13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6" y="128"/>
                  <a:pt x="46" y="128"/>
                  <a:pt x="45" y="127"/>
                </a:cubicBezTo>
                <a:cubicBezTo>
                  <a:pt x="45" y="126"/>
                  <a:pt x="43" y="124"/>
                  <a:pt x="41" y="124"/>
                </a:cubicBezTo>
                <a:cubicBezTo>
                  <a:pt x="29" y="124"/>
                  <a:pt x="29" y="124"/>
                  <a:pt x="29" y="124"/>
                </a:cubicBezTo>
                <a:cubicBezTo>
                  <a:pt x="27" y="124"/>
                  <a:pt x="26" y="125"/>
                  <a:pt x="25" y="126"/>
                </a:cubicBezTo>
                <a:cubicBezTo>
                  <a:pt x="25" y="127"/>
                  <a:pt x="24" y="128"/>
                  <a:pt x="24" y="129"/>
                </a:cubicBezTo>
                <a:cubicBezTo>
                  <a:pt x="24" y="134"/>
                  <a:pt x="24" y="134"/>
                  <a:pt x="24" y="134"/>
                </a:cubicBezTo>
                <a:close/>
                <a:moveTo>
                  <a:pt x="51" y="134"/>
                </a:moveTo>
                <a:cubicBezTo>
                  <a:pt x="51" y="128"/>
                  <a:pt x="51" y="128"/>
                  <a:pt x="51" y="128"/>
                </a:cubicBezTo>
                <a:cubicBezTo>
                  <a:pt x="51" y="127"/>
                  <a:pt x="51" y="127"/>
                  <a:pt x="51" y="127"/>
                </a:cubicBezTo>
                <a:cubicBezTo>
                  <a:pt x="51" y="123"/>
                  <a:pt x="48" y="120"/>
                  <a:pt x="44" y="120"/>
                </a:cubicBezTo>
                <a:cubicBezTo>
                  <a:pt x="26" y="120"/>
                  <a:pt x="26" y="120"/>
                  <a:pt x="26" y="120"/>
                </a:cubicBezTo>
                <a:cubicBezTo>
                  <a:pt x="23" y="120"/>
                  <a:pt x="20" y="122"/>
                  <a:pt x="19" y="125"/>
                </a:cubicBezTo>
                <a:cubicBezTo>
                  <a:pt x="19" y="126"/>
                  <a:pt x="19" y="126"/>
                  <a:pt x="19" y="127"/>
                </a:cubicBezTo>
                <a:cubicBezTo>
                  <a:pt x="19" y="134"/>
                  <a:pt x="19" y="134"/>
                  <a:pt x="19" y="134"/>
                </a:cubicBezTo>
                <a:cubicBezTo>
                  <a:pt x="18" y="134"/>
                  <a:pt x="17" y="136"/>
                  <a:pt x="17" y="138"/>
                </a:cubicBezTo>
                <a:cubicBezTo>
                  <a:pt x="17" y="161"/>
                  <a:pt x="17" y="161"/>
                  <a:pt x="17" y="161"/>
                </a:cubicBezTo>
                <a:cubicBezTo>
                  <a:pt x="17" y="163"/>
                  <a:pt x="18" y="165"/>
                  <a:pt x="20" y="165"/>
                </a:cubicBezTo>
                <a:cubicBezTo>
                  <a:pt x="49" y="165"/>
                  <a:pt x="49" y="165"/>
                  <a:pt x="49" y="165"/>
                </a:cubicBezTo>
                <a:cubicBezTo>
                  <a:pt x="51" y="165"/>
                  <a:pt x="53" y="163"/>
                  <a:pt x="53" y="161"/>
                </a:cubicBezTo>
                <a:cubicBezTo>
                  <a:pt x="53" y="138"/>
                  <a:pt x="53" y="138"/>
                  <a:pt x="53" y="138"/>
                </a:cubicBezTo>
                <a:cubicBezTo>
                  <a:pt x="53" y="136"/>
                  <a:pt x="52" y="134"/>
                  <a:pt x="51" y="134"/>
                </a:cubicBezTo>
                <a:close/>
                <a:moveTo>
                  <a:pt x="35" y="139"/>
                </a:moveTo>
                <a:cubicBezTo>
                  <a:pt x="32" y="139"/>
                  <a:pt x="30" y="141"/>
                  <a:pt x="30" y="144"/>
                </a:cubicBezTo>
                <a:cubicBezTo>
                  <a:pt x="30" y="146"/>
                  <a:pt x="31" y="147"/>
                  <a:pt x="32" y="148"/>
                </a:cubicBezTo>
                <a:cubicBezTo>
                  <a:pt x="32" y="157"/>
                  <a:pt x="32" y="157"/>
                  <a:pt x="32" y="157"/>
                </a:cubicBezTo>
                <a:cubicBezTo>
                  <a:pt x="32" y="159"/>
                  <a:pt x="33" y="160"/>
                  <a:pt x="35" y="160"/>
                </a:cubicBezTo>
                <a:cubicBezTo>
                  <a:pt x="35" y="160"/>
                  <a:pt x="35" y="160"/>
                  <a:pt x="35" y="160"/>
                </a:cubicBezTo>
                <a:cubicBezTo>
                  <a:pt x="37" y="160"/>
                  <a:pt x="38" y="159"/>
                  <a:pt x="38" y="157"/>
                </a:cubicBezTo>
                <a:cubicBezTo>
                  <a:pt x="38" y="148"/>
                  <a:pt x="38" y="148"/>
                  <a:pt x="38" y="148"/>
                </a:cubicBezTo>
                <a:cubicBezTo>
                  <a:pt x="39" y="147"/>
                  <a:pt x="40" y="146"/>
                  <a:pt x="40" y="144"/>
                </a:cubicBezTo>
                <a:cubicBezTo>
                  <a:pt x="40" y="141"/>
                  <a:pt x="38" y="139"/>
                  <a:pt x="35" y="139"/>
                </a:cubicBezTo>
                <a:close/>
                <a:moveTo>
                  <a:pt x="28" y="0"/>
                </a:moveTo>
                <a:cubicBezTo>
                  <a:pt x="28" y="101"/>
                  <a:pt x="28" y="101"/>
                  <a:pt x="28" y="101"/>
                </a:cubicBezTo>
                <a:cubicBezTo>
                  <a:pt x="30" y="101"/>
                  <a:pt x="32" y="100"/>
                  <a:pt x="35" y="100"/>
                </a:cubicBezTo>
                <a:cubicBezTo>
                  <a:pt x="58" y="100"/>
                  <a:pt x="77" y="119"/>
                  <a:pt x="77" y="143"/>
                </a:cubicBezTo>
                <a:cubicBezTo>
                  <a:pt x="77" y="148"/>
                  <a:pt x="76" y="154"/>
                  <a:pt x="74" y="159"/>
                </a:cubicBezTo>
                <a:cubicBezTo>
                  <a:pt x="103" y="159"/>
                  <a:pt x="103" y="159"/>
                  <a:pt x="103" y="159"/>
                </a:cubicBezTo>
                <a:cubicBezTo>
                  <a:pt x="103" y="112"/>
                  <a:pt x="103" y="112"/>
                  <a:pt x="103" y="112"/>
                </a:cubicBezTo>
                <a:cubicBezTo>
                  <a:pt x="146" y="112"/>
                  <a:pt x="146" y="112"/>
                  <a:pt x="146" y="112"/>
                </a:cubicBezTo>
                <a:cubicBezTo>
                  <a:pt x="146" y="0"/>
                  <a:pt x="146" y="0"/>
                  <a:pt x="146" y="0"/>
                </a:cubicBezTo>
                <a:cubicBezTo>
                  <a:pt x="28" y="0"/>
                  <a:pt x="28" y="0"/>
                  <a:pt x="28" y="0"/>
                </a:cubicBezTo>
                <a:close/>
                <a:moveTo>
                  <a:pt x="32" y="21"/>
                </a:moveTo>
                <a:cubicBezTo>
                  <a:pt x="96" y="21"/>
                  <a:pt x="96" y="21"/>
                  <a:pt x="96" y="21"/>
                </a:cubicBezTo>
                <a:cubicBezTo>
                  <a:pt x="96" y="22"/>
                  <a:pt x="96" y="22"/>
                  <a:pt x="96" y="22"/>
                </a:cubicBezTo>
                <a:cubicBezTo>
                  <a:pt x="32" y="22"/>
                  <a:pt x="32" y="22"/>
                  <a:pt x="32" y="22"/>
                </a:cubicBezTo>
                <a:cubicBezTo>
                  <a:pt x="32" y="21"/>
                  <a:pt x="32" y="21"/>
                  <a:pt x="32" y="21"/>
                </a:cubicBezTo>
                <a:close/>
                <a:moveTo>
                  <a:pt x="32" y="17"/>
                </a:moveTo>
                <a:cubicBezTo>
                  <a:pt x="102" y="17"/>
                  <a:pt x="102" y="17"/>
                  <a:pt x="102" y="17"/>
                </a:cubicBezTo>
                <a:cubicBezTo>
                  <a:pt x="102" y="19"/>
                  <a:pt x="102" y="19"/>
                  <a:pt x="102" y="19"/>
                </a:cubicBezTo>
                <a:cubicBezTo>
                  <a:pt x="32" y="19"/>
                  <a:pt x="32" y="19"/>
                  <a:pt x="32" y="19"/>
                </a:cubicBezTo>
                <a:cubicBezTo>
                  <a:pt x="32" y="17"/>
                  <a:pt x="32" y="17"/>
                  <a:pt x="32" y="17"/>
                </a:cubicBezTo>
                <a:close/>
                <a:moveTo>
                  <a:pt x="32" y="13"/>
                </a:moveTo>
                <a:cubicBezTo>
                  <a:pt x="114" y="13"/>
                  <a:pt x="114" y="13"/>
                  <a:pt x="114" y="13"/>
                </a:cubicBezTo>
                <a:cubicBezTo>
                  <a:pt x="114" y="15"/>
                  <a:pt x="114" y="15"/>
                  <a:pt x="114" y="15"/>
                </a:cubicBezTo>
                <a:cubicBezTo>
                  <a:pt x="32" y="15"/>
                  <a:pt x="32" y="15"/>
                  <a:pt x="32" y="15"/>
                </a:cubicBezTo>
                <a:cubicBezTo>
                  <a:pt x="32" y="13"/>
                  <a:pt x="32" y="13"/>
                  <a:pt x="32" y="13"/>
                </a:cubicBezTo>
                <a:close/>
                <a:moveTo>
                  <a:pt x="32" y="10"/>
                </a:moveTo>
                <a:cubicBezTo>
                  <a:pt x="125" y="10"/>
                  <a:pt x="125" y="10"/>
                  <a:pt x="125" y="10"/>
                </a:cubicBezTo>
                <a:cubicBezTo>
                  <a:pt x="125" y="12"/>
                  <a:pt x="125" y="12"/>
                  <a:pt x="125" y="12"/>
                </a:cubicBezTo>
                <a:cubicBezTo>
                  <a:pt x="32" y="12"/>
                  <a:pt x="32" y="12"/>
                  <a:pt x="32" y="12"/>
                </a:cubicBezTo>
                <a:cubicBezTo>
                  <a:pt x="32" y="10"/>
                  <a:pt x="32" y="10"/>
                  <a:pt x="32" y="10"/>
                </a:cubicBezTo>
                <a:close/>
                <a:moveTo>
                  <a:pt x="32" y="6"/>
                </a:moveTo>
                <a:cubicBezTo>
                  <a:pt x="138" y="6"/>
                  <a:pt x="138" y="6"/>
                  <a:pt x="138" y="6"/>
                </a:cubicBezTo>
                <a:cubicBezTo>
                  <a:pt x="138" y="8"/>
                  <a:pt x="138" y="8"/>
                  <a:pt x="138" y="8"/>
                </a:cubicBezTo>
                <a:cubicBezTo>
                  <a:pt x="32" y="8"/>
                  <a:pt x="32" y="8"/>
                  <a:pt x="32" y="8"/>
                </a:cubicBezTo>
                <a:lnTo>
                  <a:pt x="32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0" name="Freeform 105"/>
          <p:cNvSpPr>
            <a:spLocks/>
          </p:cNvSpPr>
          <p:nvPr/>
        </p:nvSpPr>
        <p:spPr bwMode="auto">
          <a:xfrm>
            <a:off x="8737601" y="3784600"/>
            <a:ext cx="505884" cy="558800"/>
          </a:xfrm>
          <a:custGeom>
            <a:avLst/>
            <a:gdLst>
              <a:gd name="T0" fmla="*/ 378016581 w 169"/>
              <a:gd name="T1" fmla="*/ 360468811 h 186"/>
              <a:gd name="T2" fmla="*/ 383056712 w 169"/>
              <a:gd name="T3" fmla="*/ 360468811 h 186"/>
              <a:gd name="T4" fmla="*/ 468741189 w 169"/>
              <a:gd name="T5" fmla="*/ 30461360 h 186"/>
              <a:gd name="T6" fmla="*/ 463701057 w 169"/>
              <a:gd name="T7" fmla="*/ 20308324 h 186"/>
              <a:gd name="T8" fmla="*/ 473781320 w 169"/>
              <a:gd name="T9" fmla="*/ 0 h 186"/>
              <a:gd name="T10" fmla="*/ 493941845 w 169"/>
              <a:gd name="T11" fmla="*/ 10153035 h 186"/>
              <a:gd name="T12" fmla="*/ 483861582 w 169"/>
              <a:gd name="T13" fmla="*/ 35540131 h 186"/>
              <a:gd name="T14" fmla="*/ 468741189 w 169"/>
              <a:gd name="T15" fmla="*/ 30461360 h 186"/>
              <a:gd name="T16" fmla="*/ 393136974 w 169"/>
              <a:gd name="T17" fmla="*/ 365545329 h 186"/>
              <a:gd name="T18" fmla="*/ 418337631 w 169"/>
              <a:gd name="T19" fmla="*/ 411238495 h 186"/>
              <a:gd name="T20" fmla="*/ 640107897 w 169"/>
              <a:gd name="T21" fmla="*/ 177696147 h 186"/>
              <a:gd name="T22" fmla="*/ 680431192 w 169"/>
              <a:gd name="T23" fmla="*/ 588934642 h 186"/>
              <a:gd name="T24" fmla="*/ 756033161 w 169"/>
              <a:gd name="T25" fmla="*/ 756477753 h 186"/>
              <a:gd name="T26" fmla="*/ 478821451 w 169"/>
              <a:gd name="T27" fmla="*/ 634627808 h 186"/>
              <a:gd name="T28" fmla="*/ 468741189 w 169"/>
              <a:gd name="T29" fmla="*/ 654936132 h 186"/>
              <a:gd name="T30" fmla="*/ 448580663 w 169"/>
              <a:gd name="T31" fmla="*/ 639704326 h 186"/>
              <a:gd name="T32" fmla="*/ 287291973 w 169"/>
              <a:gd name="T33" fmla="*/ 908786805 h 186"/>
              <a:gd name="T34" fmla="*/ 257051185 w 169"/>
              <a:gd name="T35" fmla="*/ 720937623 h 186"/>
              <a:gd name="T36" fmla="*/ 55441444 w 169"/>
              <a:gd name="T37" fmla="*/ 355392294 h 186"/>
              <a:gd name="T38" fmla="*/ 378016581 w 169"/>
              <a:gd name="T39" fmla="*/ 431546819 h 186"/>
              <a:gd name="T40" fmla="*/ 372976449 w 169"/>
              <a:gd name="T41" fmla="*/ 375700618 h 186"/>
              <a:gd name="T42" fmla="*/ 120965396 w 169"/>
              <a:gd name="T43" fmla="*/ 142156016 h 186"/>
              <a:gd name="T44" fmla="*/ 110885133 w 169"/>
              <a:gd name="T45" fmla="*/ 147234787 h 186"/>
              <a:gd name="T46" fmla="*/ 90724608 w 169"/>
              <a:gd name="T47" fmla="*/ 137079498 h 186"/>
              <a:gd name="T48" fmla="*/ 100804870 w 169"/>
              <a:gd name="T49" fmla="*/ 116771174 h 186"/>
              <a:gd name="T50" fmla="*/ 120965396 w 169"/>
              <a:gd name="T51" fmla="*/ 126926463 h 186"/>
              <a:gd name="T52" fmla="*/ 120965396 w 169"/>
              <a:gd name="T53" fmla="*/ 137079498 h 186"/>
              <a:gd name="T54" fmla="*/ 372976449 w 169"/>
              <a:gd name="T55" fmla="*/ 365545329 h 186"/>
              <a:gd name="T56" fmla="*/ 378016581 w 169"/>
              <a:gd name="T57" fmla="*/ 360468811 h 18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169" h="186">
                <a:moveTo>
                  <a:pt x="75" y="71"/>
                </a:moveTo>
                <a:cubicBezTo>
                  <a:pt x="76" y="71"/>
                  <a:pt x="76" y="71"/>
                  <a:pt x="76" y="71"/>
                </a:cubicBezTo>
                <a:cubicBezTo>
                  <a:pt x="76" y="60"/>
                  <a:pt x="79" y="30"/>
                  <a:pt x="93" y="6"/>
                </a:cubicBezTo>
                <a:cubicBezTo>
                  <a:pt x="92" y="6"/>
                  <a:pt x="92" y="5"/>
                  <a:pt x="92" y="4"/>
                </a:cubicBezTo>
                <a:cubicBezTo>
                  <a:pt x="91" y="3"/>
                  <a:pt x="92" y="1"/>
                  <a:pt x="94" y="0"/>
                </a:cubicBezTo>
                <a:cubicBezTo>
                  <a:pt x="96" y="0"/>
                  <a:pt x="98" y="1"/>
                  <a:pt x="98" y="2"/>
                </a:cubicBezTo>
                <a:cubicBezTo>
                  <a:pt x="99" y="4"/>
                  <a:pt x="98" y="6"/>
                  <a:pt x="96" y="7"/>
                </a:cubicBezTo>
                <a:cubicBezTo>
                  <a:pt x="95" y="7"/>
                  <a:pt x="94" y="7"/>
                  <a:pt x="93" y="6"/>
                </a:cubicBezTo>
                <a:cubicBezTo>
                  <a:pt x="89" y="15"/>
                  <a:pt x="79" y="39"/>
                  <a:pt x="78" y="72"/>
                </a:cubicBezTo>
                <a:cubicBezTo>
                  <a:pt x="80" y="74"/>
                  <a:pt x="81" y="77"/>
                  <a:pt x="83" y="81"/>
                </a:cubicBezTo>
                <a:cubicBezTo>
                  <a:pt x="90" y="68"/>
                  <a:pt x="111" y="31"/>
                  <a:pt x="127" y="35"/>
                </a:cubicBezTo>
                <a:cubicBezTo>
                  <a:pt x="143" y="39"/>
                  <a:pt x="169" y="102"/>
                  <a:pt x="135" y="116"/>
                </a:cubicBezTo>
                <a:cubicBezTo>
                  <a:pt x="150" y="125"/>
                  <a:pt x="161" y="137"/>
                  <a:pt x="150" y="149"/>
                </a:cubicBezTo>
                <a:cubicBezTo>
                  <a:pt x="132" y="170"/>
                  <a:pt x="108" y="142"/>
                  <a:pt x="95" y="125"/>
                </a:cubicBezTo>
                <a:cubicBezTo>
                  <a:pt x="95" y="127"/>
                  <a:pt x="94" y="129"/>
                  <a:pt x="93" y="129"/>
                </a:cubicBezTo>
                <a:cubicBezTo>
                  <a:pt x="92" y="129"/>
                  <a:pt x="91" y="128"/>
                  <a:pt x="89" y="126"/>
                </a:cubicBezTo>
                <a:cubicBezTo>
                  <a:pt x="88" y="148"/>
                  <a:pt x="85" y="186"/>
                  <a:pt x="57" y="179"/>
                </a:cubicBezTo>
                <a:cubicBezTo>
                  <a:pt x="41" y="175"/>
                  <a:pt x="44" y="158"/>
                  <a:pt x="51" y="142"/>
                </a:cubicBezTo>
                <a:cubicBezTo>
                  <a:pt x="14" y="152"/>
                  <a:pt x="0" y="83"/>
                  <a:pt x="11" y="70"/>
                </a:cubicBezTo>
                <a:cubicBezTo>
                  <a:pt x="23" y="57"/>
                  <a:pt x="63" y="78"/>
                  <a:pt x="75" y="85"/>
                </a:cubicBezTo>
                <a:cubicBezTo>
                  <a:pt x="74" y="80"/>
                  <a:pt x="74" y="76"/>
                  <a:pt x="74" y="74"/>
                </a:cubicBezTo>
                <a:cubicBezTo>
                  <a:pt x="55" y="47"/>
                  <a:pt x="32" y="32"/>
                  <a:pt x="24" y="28"/>
                </a:cubicBezTo>
                <a:cubicBezTo>
                  <a:pt x="24" y="29"/>
                  <a:pt x="23" y="29"/>
                  <a:pt x="22" y="29"/>
                </a:cubicBezTo>
                <a:cubicBezTo>
                  <a:pt x="20" y="30"/>
                  <a:pt x="18" y="29"/>
                  <a:pt x="18" y="27"/>
                </a:cubicBezTo>
                <a:cubicBezTo>
                  <a:pt x="17" y="25"/>
                  <a:pt x="18" y="23"/>
                  <a:pt x="20" y="23"/>
                </a:cubicBezTo>
                <a:cubicBezTo>
                  <a:pt x="22" y="22"/>
                  <a:pt x="24" y="23"/>
                  <a:pt x="24" y="25"/>
                </a:cubicBezTo>
                <a:cubicBezTo>
                  <a:pt x="24" y="26"/>
                  <a:pt x="24" y="27"/>
                  <a:pt x="24" y="27"/>
                </a:cubicBezTo>
                <a:cubicBezTo>
                  <a:pt x="49" y="39"/>
                  <a:pt x="68" y="63"/>
                  <a:pt x="74" y="72"/>
                </a:cubicBezTo>
                <a:cubicBezTo>
                  <a:pt x="75" y="71"/>
                  <a:pt x="75" y="71"/>
                  <a:pt x="75" y="7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1" name="Freeform 106"/>
          <p:cNvSpPr>
            <a:spLocks/>
          </p:cNvSpPr>
          <p:nvPr/>
        </p:nvSpPr>
        <p:spPr bwMode="auto">
          <a:xfrm>
            <a:off x="9601201" y="3788834"/>
            <a:ext cx="461433" cy="565151"/>
          </a:xfrm>
          <a:custGeom>
            <a:avLst/>
            <a:gdLst>
              <a:gd name="T0" fmla="*/ 343405279 w 154"/>
              <a:gd name="T1" fmla="*/ 216268807 h 189"/>
              <a:gd name="T2" fmla="*/ 651461468 w 154"/>
              <a:gd name="T3" fmla="*/ 110650670 h 189"/>
              <a:gd name="T4" fmla="*/ 388857960 w 154"/>
              <a:gd name="T5" fmla="*/ 291711936 h 189"/>
              <a:gd name="T6" fmla="*/ 727213690 w 154"/>
              <a:gd name="T7" fmla="*/ 261534684 h 189"/>
              <a:gd name="T8" fmla="*/ 424207049 w 154"/>
              <a:gd name="T9" fmla="*/ 336977813 h 189"/>
              <a:gd name="T10" fmla="*/ 616110131 w 154"/>
              <a:gd name="T11" fmla="*/ 502952696 h 189"/>
              <a:gd name="T12" fmla="*/ 393907509 w 154"/>
              <a:gd name="T13" fmla="*/ 392304269 h 189"/>
              <a:gd name="T14" fmla="*/ 419157500 w 154"/>
              <a:gd name="T15" fmla="*/ 457686819 h 189"/>
              <a:gd name="T16" fmla="*/ 777713673 w 154"/>
              <a:gd name="T17" fmla="*/ 880168339 h 189"/>
              <a:gd name="T18" fmla="*/ 747414132 w 154"/>
              <a:gd name="T19" fmla="*/ 930462263 h 189"/>
              <a:gd name="T20" fmla="*/ 378756615 w 154"/>
              <a:gd name="T21" fmla="*/ 462717108 h 189"/>
              <a:gd name="T22" fmla="*/ 358556172 w 154"/>
              <a:gd name="T23" fmla="*/ 387273980 h 189"/>
              <a:gd name="T24" fmla="*/ 358556172 w 154"/>
              <a:gd name="T25" fmla="*/ 387273980 h 189"/>
              <a:gd name="T26" fmla="*/ 318155287 w 154"/>
              <a:gd name="T27" fmla="*/ 643780617 h 189"/>
              <a:gd name="T28" fmla="*/ 313105738 w 154"/>
              <a:gd name="T29" fmla="*/ 372185354 h 189"/>
              <a:gd name="T30" fmla="*/ 95952665 w 154"/>
              <a:gd name="T31" fmla="*/ 528099658 h 189"/>
              <a:gd name="T32" fmla="*/ 282803950 w 154"/>
              <a:gd name="T33" fmla="*/ 336977813 h 189"/>
              <a:gd name="T34" fmla="*/ 0 w 154"/>
              <a:gd name="T35" fmla="*/ 291711936 h 189"/>
              <a:gd name="T36" fmla="*/ 277754402 w 154"/>
              <a:gd name="T37" fmla="*/ 246446059 h 189"/>
              <a:gd name="T38" fmla="*/ 111101311 w 154"/>
              <a:gd name="T39" fmla="*/ 145855968 h 189"/>
              <a:gd name="T40" fmla="*/ 323204836 w 154"/>
              <a:gd name="T41" fmla="*/ 211240760 h 189"/>
              <a:gd name="T42" fmla="*/ 373707066 w 154"/>
              <a:gd name="T43" fmla="*/ 0 h 189"/>
              <a:gd name="T44" fmla="*/ 343405279 w 154"/>
              <a:gd name="T45" fmla="*/ 216268807 h 18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54" h="189">
                <a:moveTo>
                  <a:pt x="68" y="43"/>
                </a:moveTo>
                <a:cubicBezTo>
                  <a:pt x="68" y="56"/>
                  <a:pt x="86" y="1"/>
                  <a:pt x="129" y="22"/>
                </a:cubicBezTo>
                <a:cubicBezTo>
                  <a:pt x="129" y="22"/>
                  <a:pt x="94" y="24"/>
                  <a:pt x="77" y="58"/>
                </a:cubicBezTo>
                <a:cubicBezTo>
                  <a:pt x="77" y="58"/>
                  <a:pt x="110" y="25"/>
                  <a:pt x="144" y="52"/>
                </a:cubicBezTo>
                <a:cubicBezTo>
                  <a:pt x="144" y="52"/>
                  <a:pt x="101" y="48"/>
                  <a:pt x="84" y="67"/>
                </a:cubicBezTo>
                <a:cubicBezTo>
                  <a:pt x="84" y="67"/>
                  <a:pt x="121" y="78"/>
                  <a:pt x="122" y="100"/>
                </a:cubicBezTo>
                <a:cubicBezTo>
                  <a:pt x="122" y="100"/>
                  <a:pt x="97" y="78"/>
                  <a:pt x="78" y="78"/>
                </a:cubicBezTo>
                <a:cubicBezTo>
                  <a:pt x="78" y="78"/>
                  <a:pt x="80" y="83"/>
                  <a:pt x="83" y="91"/>
                </a:cubicBezTo>
                <a:cubicBezTo>
                  <a:pt x="92" y="114"/>
                  <a:pt x="115" y="162"/>
                  <a:pt x="154" y="175"/>
                </a:cubicBezTo>
                <a:cubicBezTo>
                  <a:pt x="151" y="181"/>
                  <a:pt x="152" y="185"/>
                  <a:pt x="148" y="185"/>
                </a:cubicBezTo>
                <a:cubicBezTo>
                  <a:pt x="126" y="189"/>
                  <a:pt x="87" y="126"/>
                  <a:pt x="75" y="92"/>
                </a:cubicBezTo>
                <a:cubicBezTo>
                  <a:pt x="73" y="86"/>
                  <a:pt x="71" y="80"/>
                  <a:pt x="71" y="77"/>
                </a:cubicBezTo>
                <a:cubicBezTo>
                  <a:pt x="71" y="77"/>
                  <a:pt x="71" y="77"/>
                  <a:pt x="71" y="77"/>
                </a:cubicBezTo>
                <a:cubicBezTo>
                  <a:pt x="71" y="77"/>
                  <a:pt x="57" y="110"/>
                  <a:pt x="63" y="128"/>
                </a:cubicBezTo>
                <a:cubicBezTo>
                  <a:pt x="63" y="128"/>
                  <a:pt x="39" y="112"/>
                  <a:pt x="62" y="74"/>
                </a:cubicBezTo>
                <a:cubicBezTo>
                  <a:pt x="62" y="74"/>
                  <a:pt x="25" y="89"/>
                  <a:pt x="19" y="105"/>
                </a:cubicBezTo>
                <a:cubicBezTo>
                  <a:pt x="19" y="105"/>
                  <a:pt x="11" y="73"/>
                  <a:pt x="56" y="67"/>
                </a:cubicBezTo>
                <a:cubicBezTo>
                  <a:pt x="56" y="67"/>
                  <a:pt x="36" y="49"/>
                  <a:pt x="0" y="58"/>
                </a:cubicBezTo>
                <a:cubicBezTo>
                  <a:pt x="0" y="58"/>
                  <a:pt x="11" y="28"/>
                  <a:pt x="55" y="49"/>
                </a:cubicBezTo>
                <a:cubicBezTo>
                  <a:pt x="55" y="49"/>
                  <a:pt x="41" y="26"/>
                  <a:pt x="22" y="29"/>
                </a:cubicBezTo>
                <a:cubicBezTo>
                  <a:pt x="22" y="29"/>
                  <a:pt x="36" y="8"/>
                  <a:pt x="64" y="42"/>
                </a:cubicBezTo>
                <a:cubicBezTo>
                  <a:pt x="64" y="42"/>
                  <a:pt x="56" y="5"/>
                  <a:pt x="74" y="0"/>
                </a:cubicBezTo>
                <a:cubicBezTo>
                  <a:pt x="74" y="0"/>
                  <a:pt x="67" y="20"/>
                  <a:pt x="68" y="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2" name="Freeform 107"/>
          <p:cNvSpPr>
            <a:spLocks noEditPoints="1"/>
          </p:cNvSpPr>
          <p:nvPr/>
        </p:nvSpPr>
        <p:spPr bwMode="auto">
          <a:xfrm>
            <a:off x="10532534" y="3793067"/>
            <a:ext cx="347133" cy="594784"/>
          </a:xfrm>
          <a:custGeom>
            <a:avLst/>
            <a:gdLst>
              <a:gd name="T0" fmla="*/ 292164321 w 116"/>
              <a:gd name="T1" fmla="*/ 446676025 h 198"/>
              <a:gd name="T2" fmla="*/ 564178450 w 116"/>
              <a:gd name="T3" fmla="*/ 609103875 h 198"/>
              <a:gd name="T4" fmla="*/ 584328642 w 116"/>
              <a:gd name="T5" fmla="*/ 710622690 h 198"/>
              <a:gd name="T6" fmla="*/ 584328642 w 116"/>
              <a:gd name="T7" fmla="*/ 710622690 h 198"/>
              <a:gd name="T8" fmla="*/ 528918980 w 116"/>
              <a:gd name="T9" fmla="*/ 670015164 h 198"/>
              <a:gd name="T10" fmla="*/ 473507074 w 116"/>
              <a:gd name="T11" fmla="*/ 710622690 h 198"/>
              <a:gd name="T12" fmla="*/ 468470648 w 116"/>
              <a:gd name="T13" fmla="*/ 710622690 h 198"/>
              <a:gd name="T14" fmla="*/ 413060986 w 116"/>
              <a:gd name="T15" fmla="*/ 670015164 h 198"/>
              <a:gd name="T16" fmla="*/ 352612653 w 116"/>
              <a:gd name="T17" fmla="*/ 710622690 h 198"/>
              <a:gd name="T18" fmla="*/ 347573983 w 116"/>
              <a:gd name="T19" fmla="*/ 710622690 h 198"/>
              <a:gd name="T20" fmla="*/ 292164321 w 116"/>
              <a:gd name="T21" fmla="*/ 670015164 h 198"/>
              <a:gd name="T22" fmla="*/ 292164321 w 116"/>
              <a:gd name="T23" fmla="*/ 1005022746 h 198"/>
              <a:gd name="T24" fmla="*/ 272014129 w 116"/>
              <a:gd name="T25" fmla="*/ 1005022746 h 198"/>
              <a:gd name="T26" fmla="*/ 272014129 w 116"/>
              <a:gd name="T27" fmla="*/ 670015164 h 198"/>
              <a:gd name="T28" fmla="*/ 236754659 w 116"/>
              <a:gd name="T29" fmla="*/ 710622690 h 198"/>
              <a:gd name="T30" fmla="*/ 231715989 w 116"/>
              <a:gd name="T31" fmla="*/ 710622690 h 198"/>
              <a:gd name="T32" fmla="*/ 171267656 w 116"/>
              <a:gd name="T33" fmla="*/ 670015164 h 198"/>
              <a:gd name="T34" fmla="*/ 115857994 w 116"/>
              <a:gd name="T35" fmla="*/ 710622690 h 198"/>
              <a:gd name="T36" fmla="*/ 110821569 w 116"/>
              <a:gd name="T37" fmla="*/ 710622690 h 198"/>
              <a:gd name="T38" fmla="*/ 55409662 w 116"/>
              <a:gd name="T39" fmla="*/ 670015164 h 198"/>
              <a:gd name="T40" fmla="*/ 0 w 116"/>
              <a:gd name="T41" fmla="*/ 710622690 h 198"/>
              <a:gd name="T42" fmla="*/ 0 w 116"/>
              <a:gd name="T43" fmla="*/ 710622690 h 198"/>
              <a:gd name="T44" fmla="*/ 15111522 w 116"/>
              <a:gd name="T45" fmla="*/ 629407638 h 198"/>
              <a:gd name="T46" fmla="*/ 272014129 w 116"/>
              <a:gd name="T47" fmla="*/ 446676025 h 198"/>
              <a:gd name="T48" fmla="*/ 272014129 w 116"/>
              <a:gd name="T49" fmla="*/ 406070752 h 198"/>
              <a:gd name="T50" fmla="*/ 292164321 w 116"/>
              <a:gd name="T51" fmla="*/ 406070752 h 198"/>
              <a:gd name="T52" fmla="*/ 292164321 w 116"/>
              <a:gd name="T53" fmla="*/ 446676025 h 198"/>
              <a:gd name="T54" fmla="*/ 85634950 w 116"/>
              <a:gd name="T55" fmla="*/ 0 h 198"/>
              <a:gd name="T56" fmla="*/ 141044613 w 116"/>
              <a:gd name="T57" fmla="*/ 121820324 h 198"/>
              <a:gd name="T58" fmla="*/ 85634950 w 116"/>
              <a:gd name="T59" fmla="*/ 177655672 h 198"/>
              <a:gd name="T60" fmla="*/ 25186618 w 116"/>
              <a:gd name="T61" fmla="*/ 121820324 h 198"/>
              <a:gd name="T62" fmla="*/ 85634950 w 116"/>
              <a:gd name="T63" fmla="*/ 0 h 198"/>
              <a:gd name="T64" fmla="*/ 272014129 w 116"/>
              <a:gd name="T65" fmla="*/ 142124087 h 198"/>
              <a:gd name="T66" fmla="*/ 332462461 w 116"/>
              <a:gd name="T67" fmla="*/ 263944412 h 198"/>
              <a:gd name="T68" fmla="*/ 272014129 w 116"/>
              <a:gd name="T69" fmla="*/ 324855701 h 198"/>
              <a:gd name="T70" fmla="*/ 216604467 w 116"/>
              <a:gd name="T71" fmla="*/ 263944412 h 198"/>
              <a:gd name="T72" fmla="*/ 272014129 w 116"/>
              <a:gd name="T73" fmla="*/ 142124087 h 198"/>
              <a:gd name="T74" fmla="*/ 493657266 w 116"/>
              <a:gd name="T75" fmla="*/ 15227822 h 198"/>
              <a:gd name="T76" fmla="*/ 554105598 w 116"/>
              <a:gd name="T77" fmla="*/ 131972206 h 198"/>
              <a:gd name="T78" fmla="*/ 493657266 w 116"/>
              <a:gd name="T79" fmla="*/ 192883495 h 198"/>
              <a:gd name="T80" fmla="*/ 438247604 w 116"/>
              <a:gd name="T81" fmla="*/ 131972206 h 198"/>
              <a:gd name="T82" fmla="*/ 493657266 w 116"/>
              <a:gd name="T83" fmla="*/ 15227822 h 19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16" h="198">
                <a:moveTo>
                  <a:pt x="58" y="88"/>
                </a:moveTo>
                <a:cubicBezTo>
                  <a:pt x="82" y="88"/>
                  <a:pt x="103" y="101"/>
                  <a:pt x="112" y="120"/>
                </a:cubicBezTo>
                <a:cubicBezTo>
                  <a:pt x="115" y="126"/>
                  <a:pt x="116" y="133"/>
                  <a:pt x="116" y="140"/>
                </a:cubicBezTo>
                <a:cubicBezTo>
                  <a:pt x="116" y="140"/>
                  <a:pt x="116" y="140"/>
                  <a:pt x="116" y="140"/>
                </a:cubicBezTo>
                <a:cubicBezTo>
                  <a:pt x="115" y="135"/>
                  <a:pt x="110" y="132"/>
                  <a:pt x="105" y="132"/>
                </a:cubicBezTo>
                <a:cubicBezTo>
                  <a:pt x="100" y="132"/>
                  <a:pt x="95" y="135"/>
                  <a:pt x="94" y="140"/>
                </a:cubicBezTo>
                <a:cubicBezTo>
                  <a:pt x="93" y="140"/>
                  <a:pt x="93" y="140"/>
                  <a:pt x="93" y="140"/>
                </a:cubicBezTo>
                <a:cubicBezTo>
                  <a:pt x="91" y="135"/>
                  <a:pt x="87" y="132"/>
                  <a:pt x="82" y="132"/>
                </a:cubicBezTo>
                <a:cubicBezTo>
                  <a:pt x="76" y="132"/>
                  <a:pt x="72" y="135"/>
                  <a:pt x="70" y="140"/>
                </a:cubicBezTo>
                <a:cubicBezTo>
                  <a:pt x="69" y="140"/>
                  <a:pt x="69" y="140"/>
                  <a:pt x="69" y="140"/>
                </a:cubicBezTo>
                <a:cubicBezTo>
                  <a:pt x="68" y="135"/>
                  <a:pt x="63" y="132"/>
                  <a:pt x="58" y="132"/>
                </a:cubicBezTo>
                <a:cubicBezTo>
                  <a:pt x="58" y="198"/>
                  <a:pt x="58" y="198"/>
                  <a:pt x="58" y="198"/>
                </a:cubicBezTo>
                <a:cubicBezTo>
                  <a:pt x="54" y="198"/>
                  <a:pt x="54" y="198"/>
                  <a:pt x="54" y="198"/>
                </a:cubicBezTo>
                <a:cubicBezTo>
                  <a:pt x="54" y="132"/>
                  <a:pt x="54" y="132"/>
                  <a:pt x="54" y="132"/>
                </a:cubicBezTo>
                <a:cubicBezTo>
                  <a:pt x="51" y="134"/>
                  <a:pt x="48" y="136"/>
                  <a:pt x="47" y="140"/>
                </a:cubicBezTo>
                <a:cubicBezTo>
                  <a:pt x="46" y="140"/>
                  <a:pt x="46" y="140"/>
                  <a:pt x="46" y="140"/>
                </a:cubicBezTo>
                <a:cubicBezTo>
                  <a:pt x="44" y="135"/>
                  <a:pt x="40" y="132"/>
                  <a:pt x="34" y="132"/>
                </a:cubicBezTo>
                <a:cubicBezTo>
                  <a:pt x="29" y="132"/>
                  <a:pt x="25" y="135"/>
                  <a:pt x="23" y="140"/>
                </a:cubicBezTo>
                <a:cubicBezTo>
                  <a:pt x="22" y="140"/>
                  <a:pt x="22" y="140"/>
                  <a:pt x="22" y="140"/>
                </a:cubicBezTo>
                <a:cubicBezTo>
                  <a:pt x="21" y="135"/>
                  <a:pt x="16" y="132"/>
                  <a:pt x="11" y="132"/>
                </a:cubicBezTo>
                <a:cubicBezTo>
                  <a:pt x="6" y="132"/>
                  <a:pt x="1" y="135"/>
                  <a:pt x="0" y="140"/>
                </a:cubicBezTo>
                <a:cubicBezTo>
                  <a:pt x="0" y="140"/>
                  <a:pt x="0" y="140"/>
                  <a:pt x="0" y="140"/>
                </a:cubicBezTo>
                <a:cubicBezTo>
                  <a:pt x="0" y="134"/>
                  <a:pt x="1" y="129"/>
                  <a:pt x="3" y="124"/>
                </a:cubicBezTo>
                <a:cubicBezTo>
                  <a:pt x="10" y="104"/>
                  <a:pt x="30" y="90"/>
                  <a:pt x="54" y="88"/>
                </a:cubicBezTo>
                <a:cubicBezTo>
                  <a:pt x="54" y="80"/>
                  <a:pt x="54" y="80"/>
                  <a:pt x="54" y="80"/>
                </a:cubicBezTo>
                <a:cubicBezTo>
                  <a:pt x="58" y="80"/>
                  <a:pt x="58" y="80"/>
                  <a:pt x="58" y="80"/>
                </a:cubicBezTo>
                <a:cubicBezTo>
                  <a:pt x="58" y="88"/>
                  <a:pt x="58" y="88"/>
                  <a:pt x="58" y="88"/>
                </a:cubicBezTo>
                <a:close/>
                <a:moveTo>
                  <a:pt x="17" y="0"/>
                </a:moveTo>
                <a:cubicBezTo>
                  <a:pt x="20" y="12"/>
                  <a:pt x="28" y="18"/>
                  <a:pt x="28" y="24"/>
                </a:cubicBezTo>
                <a:cubicBezTo>
                  <a:pt x="28" y="30"/>
                  <a:pt x="26" y="35"/>
                  <a:pt x="17" y="35"/>
                </a:cubicBezTo>
                <a:cubicBezTo>
                  <a:pt x="8" y="35"/>
                  <a:pt x="5" y="30"/>
                  <a:pt x="5" y="24"/>
                </a:cubicBezTo>
                <a:cubicBezTo>
                  <a:pt x="5" y="18"/>
                  <a:pt x="14" y="12"/>
                  <a:pt x="17" y="0"/>
                </a:cubicBezTo>
                <a:close/>
                <a:moveTo>
                  <a:pt x="54" y="28"/>
                </a:moveTo>
                <a:cubicBezTo>
                  <a:pt x="57" y="40"/>
                  <a:pt x="66" y="46"/>
                  <a:pt x="66" y="52"/>
                </a:cubicBezTo>
                <a:cubicBezTo>
                  <a:pt x="66" y="58"/>
                  <a:pt x="63" y="64"/>
                  <a:pt x="54" y="64"/>
                </a:cubicBezTo>
                <a:cubicBezTo>
                  <a:pt x="46" y="64"/>
                  <a:pt x="43" y="58"/>
                  <a:pt x="43" y="52"/>
                </a:cubicBezTo>
                <a:cubicBezTo>
                  <a:pt x="43" y="46"/>
                  <a:pt x="51" y="40"/>
                  <a:pt x="54" y="28"/>
                </a:cubicBezTo>
                <a:close/>
                <a:moveTo>
                  <a:pt x="98" y="3"/>
                </a:moveTo>
                <a:cubicBezTo>
                  <a:pt x="101" y="15"/>
                  <a:pt x="110" y="20"/>
                  <a:pt x="110" y="26"/>
                </a:cubicBezTo>
                <a:cubicBezTo>
                  <a:pt x="110" y="32"/>
                  <a:pt x="107" y="38"/>
                  <a:pt x="98" y="38"/>
                </a:cubicBezTo>
                <a:cubicBezTo>
                  <a:pt x="90" y="38"/>
                  <a:pt x="87" y="32"/>
                  <a:pt x="87" y="26"/>
                </a:cubicBezTo>
                <a:cubicBezTo>
                  <a:pt x="87" y="20"/>
                  <a:pt x="96" y="15"/>
                  <a:pt x="98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3" name="Freeform 108"/>
          <p:cNvSpPr>
            <a:spLocks noEditPoints="1"/>
          </p:cNvSpPr>
          <p:nvPr/>
        </p:nvSpPr>
        <p:spPr bwMode="auto">
          <a:xfrm>
            <a:off x="1102784" y="4652434"/>
            <a:ext cx="533400" cy="484717"/>
          </a:xfrm>
          <a:custGeom>
            <a:avLst/>
            <a:gdLst>
              <a:gd name="T0" fmla="*/ 717260433 w 178"/>
              <a:gd name="T1" fmla="*/ 473366869 h 162"/>
              <a:gd name="T2" fmla="*/ 202045477 w 178"/>
              <a:gd name="T3" fmla="*/ 473366869 h 162"/>
              <a:gd name="T4" fmla="*/ 116176318 w 178"/>
              <a:gd name="T5" fmla="*/ 392793833 h 162"/>
              <a:gd name="T6" fmla="*/ 116176318 w 178"/>
              <a:gd name="T7" fmla="*/ 387758158 h 162"/>
              <a:gd name="T8" fmla="*/ 0 w 178"/>
              <a:gd name="T9" fmla="*/ 266897482 h 162"/>
              <a:gd name="T10" fmla="*/ 151533546 w 178"/>
              <a:gd name="T11" fmla="*/ 141003375 h 162"/>
              <a:gd name="T12" fmla="*/ 212147863 w 178"/>
              <a:gd name="T13" fmla="*/ 151074724 h 162"/>
              <a:gd name="T14" fmla="*/ 212147863 w 178"/>
              <a:gd name="T15" fmla="*/ 146039049 h 162"/>
              <a:gd name="T16" fmla="*/ 368731479 w 178"/>
              <a:gd name="T17" fmla="*/ 0 h 162"/>
              <a:gd name="T18" fmla="*/ 515214956 w 178"/>
              <a:gd name="T19" fmla="*/ 100715734 h 162"/>
              <a:gd name="T20" fmla="*/ 651596046 w 178"/>
              <a:gd name="T21" fmla="*/ 25178373 h 162"/>
              <a:gd name="T22" fmla="*/ 798079523 w 178"/>
              <a:gd name="T23" fmla="*/ 130932026 h 162"/>
              <a:gd name="T24" fmla="*/ 899101138 w 178"/>
              <a:gd name="T25" fmla="*/ 287042424 h 162"/>
              <a:gd name="T26" fmla="*/ 717260433 w 178"/>
              <a:gd name="T27" fmla="*/ 473366869 h 162"/>
              <a:gd name="T28" fmla="*/ 439448183 w 178"/>
              <a:gd name="T29" fmla="*/ 488473893 h 162"/>
              <a:gd name="T30" fmla="*/ 388936251 w 178"/>
              <a:gd name="T31" fmla="*/ 674798338 h 162"/>
              <a:gd name="T32" fmla="*/ 500062500 w 178"/>
              <a:gd name="T33" fmla="*/ 674798338 h 162"/>
              <a:gd name="T34" fmla="*/ 479857728 w 178"/>
              <a:gd name="T35" fmla="*/ 750335700 h 162"/>
              <a:gd name="T36" fmla="*/ 464703024 w 178"/>
              <a:gd name="T37" fmla="*/ 750335700 h 162"/>
              <a:gd name="T38" fmla="*/ 464703024 w 178"/>
              <a:gd name="T39" fmla="*/ 815801713 h 162"/>
              <a:gd name="T40" fmla="*/ 505112569 w 178"/>
              <a:gd name="T41" fmla="*/ 750335700 h 162"/>
              <a:gd name="T42" fmla="*/ 489960114 w 178"/>
              <a:gd name="T43" fmla="*/ 750335700 h 162"/>
              <a:gd name="T44" fmla="*/ 535419728 w 178"/>
              <a:gd name="T45" fmla="*/ 649619965 h 162"/>
              <a:gd name="T46" fmla="*/ 424295727 w 178"/>
              <a:gd name="T47" fmla="*/ 649619965 h 162"/>
              <a:gd name="T48" fmla="*/ 464703024 w 178"/>
              <a:gd name="T49" fmla="*/ 488473893 h 162"/>
              <a:gd name="T50" fmla="*/ 439448183 w 178"/>
              <a:gd name="T51" fmla="*/ 488473893 h 1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78" h="162">
                <a:moveTo>
                  <a:pt x="142" y="94"/>
                </a:moveTo>
                <a:cubicBezTo>
                  <a:pt x="40" y="94"/>
                  <a:pt x="40" y="94"/>
                  <a:pt x="40" y="94"/>
                </a:cubicBezTo>
                <a:cubicBezTo>
                  <a:pt x="30" y="94"/>
                  <a:pt x="23" y="87"/>
                  <a:pt x="23" y="78"/>
                </a:cubicBezTo>
                <a:cubicBezTo>
                  <a:pt x="23" y="77"/>
                  <a:pt x="23" y="77"/>
                  <a:pt x="23" y="77"/>
                </a:cubicBezTo>
                <a:cubicBezTo>
                  <a:pt x="10" y="75"/>
                  <a:pt x="0" y="65"/>
                  <a:pt x="0" y="53"/>
                </a:cubicBezTo>
                <a:cubicBezTo>
                  <a:pt x="0" y="39"/>
                  <a:pt x="14" y="28"/>
                  <a:pt x="30" y="28"/>
                </a:cubicBezTo>
                <a:cubicBezTo>
                  <a:pt x="34" y="28"/>
                  <a:pt x="38" y="29"/>
                  <a:pt x="42" y="30"/>
                </a:cubicBezTo>
                <a:cubicBezTo>
                  <a:pt x="42" y="30"/>
                  <a:pt x="42" y="29"/>
                  <a:pt x="42" y="29"/>
                </a:cubicBezTo>
                <a:cubicBezTo>
                  <a:pt x="42" y="13"/>
                  <a:pt x="56" y="0"/>
                  <a:pt x="73" y="0"/>
                </a:cubicBezTo>
                <a:cubicBezTo>
                  <a:pt x="87" y="0"/>
                  <a:pt x="98" y="8"/>
                  <a:pt x="102" y="20"/>
                </a:cubicBezTo>
                <a:cubicBezTo>
                  <a:pt x="107" y="11"/>
                  <a:pt x="117" y="5"/>
                  <a:pt x="129" y="5"/>
                </a:cubicBezTo>
                <a:cubicBezTo>
                  <a:pt x="144" y="5"/>
                  <a:pt x="156" y="14"/>
                  <a:pt x="158" y="26"/>
                </a:cubicBezTo>
                <a:cubicBezTo>
                  <a:pt x="170" y="30"/>
                  <a:pt x="178" y="43"/>
                  <a:pt x="178" y="57"/>
                </a:cubicBezTo>
                <a:cubicBezTo>
                  <a:pt x="178" y="75"/>
                  <a:pt x="160" y="94"/>
                  <a:pt x="142" y="94"/>
                </a:cubicBezTo>
                <a:close/>
                <a:moveTo>
                  <a:pt x="87" y="97"/>
                </a:moveTo>
                <a:cubicBezTo>
                  <a:pt x="77" y="134"/>
                  <a:pt x="77" y="134"/>
                  <a:pt x="77" y="134"/>
                </a:cubicBezTo>
                <a:cubicBezTo>
                  <a:pt x="99" y="134"/>
                  <a:pt x="99" y="134"/>
                  <a:pt x="99" y="134"/>
                </a:cubicBezTo>
                <a:cubicBezTo>
                  <a:pt x="95" y="149"/>
                  <a:pt x="95" y="149"/>
                  <a:pt x="95" y="149"/>
                </a:cubicBezTo>
                <a:cubicBezTo>
                  <a:pt x="92" y="149"/>
                  <a:pt x="92" y="149"/>
                  <a:pt x="92" y="149"/>
                </a:cubicBezTo>
                <a:cubicBezTo>
                  <a:pt x="92" y="162"/>
                  <a:pt x="92" y="162"/>
                  <a:pt x="92" y="162"/>
                </a:cubicBezTo>
                <a:cubicBezTo>
                  <a:pt x="100" y="149"/>
                  <a:pt x="100" y="149"/>
                  <a:pt x="100" y="149"/>
                </a:cubicBezTo>
                <a:cubicBezTo>
                  <a:pt x="97" y="149"/>
                  <a:pt x="97" y="149"/>
                  <a:pt x="97" y="149"/>
                </a:cubicBezTo>
                <a:cubicBezTo>
                  <a:pt x="106" y="129"/>
                  <a:pt x="106" y="129"/>
                  <a:pt x="106" y="129"/>
                </a:cubicBezTo>
                <a:cubicBezTo>
                  <a:pt x="84" y="129"/>
                  <a:pt x="84" y="129"/>
                  <a:pt x="84" y="129"/>
                </a:cubicBezTo>
                <a:cubicBezTo>
                  <a:pt x="92" y="97"/>
                  <a:pt x="92" y="97"/>
                  <a:pt x="92" y="97"/>
                </a:cubicBezTo>
                <a:lnTo>
                  <a:pt x="87" y="9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4" name="Freeform 109"/>
          <p:cNvSpPr>
            <a:spLocks noEditPoints="1"/>
          </p:cNvSpPr>
          <p:nvPr/>
        </p:nvSpPr>
        <p:spPr bwMode="auto">
          <a:xfrm>
            <a:off x="2012951" y="4652434"/>
            <a:ext cx="438149" cy="436033"/>
          </a:xfrm>
          <a:custGeom>
            <a:avLst/>
            <a:gdLst>
              <a:gd name="T0" fmla="*/ 369814543 w 146"/>
              <a:gd name="T1" fmla="*/ 0 h 146"/>
              <a:gd name="T2" fmla="*/ 0 w 146"/>
              <a:gd name="T3" fmla="*/ 366252321 h 146"/>
              <a:gd name="T4" fmla="*/ 369814543 w 146"/>
              <a:gd name="T5" fmla="*/ 732502402 h 146"/>
              <a:gd name="T6" fmla="*/ 739629086 w 146"/>
              <a:gd name="T7" fmla="*/ 366252321 h 146"/>
              <a:gd name="T8" fmla="*/ 369814543 w 146"/>
              <a:gd name="T9" fmla="*/ 0 h 146"/>
              <a:gd name="T10" fmla="*/ 526859568 w 146"/>
              <a:gd name="T11" fmla="*/ 597040135 h 146"/>
              <a:gd name="T12" fmla="*/ 369814543 w 146"/>
              <a:gd name="T13" fmla="*/ 501714587 h 146"/>
              <a:gd name="T14" fmla="*/ 212769518 w 146"/>
              <a:gd name="T15" fmla="*/ 597040135 h 146"/>
              <a:gd name="T16" fmla="*/ 253296831 w 146"/>
              <a:gd name="T17" fmla="*/ 416421540 h 146"/>
              <a:gd name="T18" fmla="*/ 111451236 w 146"/>
              <a:gd name="T19" fmla="*/ 296011383 h 146"/>
              <a:gd name="T20" fmla="*/ 298890620 w 146"/>
              <a:gd name="T21" fmla="*/ 280959273 h 146"/>
              <a:gd name="T22" fmla="*/ 369814543 w 146"/>
              <a:gd name="T23" fmla="*/ 110377657 h 146"/>
              <a:gd name="T24" fmla="*/ 440738466 w 146"/>
              <a:gd name="T25" fmla="*/ 280959273 h 146"/>
              <a:gd name="T26" fmla="*/ 628177850 w 146"/>
              <a:gd name="T27" fmla="*/ 296011383 h 146"/>
              <a:gd name="T28" fmla="*/ 486332255 w 146"/>
              <a:gd name="T29" fmla="*/ 416421540 h 146"/>
              <a:gd name="T30" fmla="*/ 526859568 w 146"/>
              <a:gd name="T31" fmla="*/ 597040135 h 14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46" h="146">
                <a:moveTo>
                  <a:pt x="73" y="0"/>
                </a:moveTo>
                <a:cubicBezTo>
                  <a:pt x="33" y="0"/>
                  <a:pt x="0" y="33"/>
                  <a:pt x="0" y="73"/>
                </a:cubicBezTo>
                <a:cubicBezTo>
                  <a:pt x="0" y="113"/>
                  <a:pt x="33" y="146"/>
                  <a:pt x="73" y="146"/>
                </a:cubicBezTo>
                <a:cubicBezTo>
                  <a:pt x="113" y="146"/>
                  <a:pt x="146" y="113"/>
                  <a:pt x="146" y="73"/>
                </a:cubicBezTo>
                <a:cubicBezTo>
                  <a:pt x="146" y="33"/>
                  <a:pt x="113" y="0"/>
                  <a:pt x="73" y="0"/>
                </a:cubicBezTo>
                <a:close/>
                <a:moveTo>
                  <a:pt x="104" y="119"/>
                </a:moveTo>
                <a:cubicBezTo>
                  <a:pt x="73" y="100"/>
                  <a:pt x="73" y="100"/>
                  <a:pt x="73" y="100"/>
                </a:cubicBezTo>
                <a:cubicBezTo>
                  <a:pt x="42" y="119"/>
                  <a:pt x="42" y="119"/>
                  <a:pt x="42" y="119"/>
                </a:cubicBezTo>
                <a:cubicBezTo>
                  <a:pt x="50" y="83"/>
                  <a:pt x="50" y="83"/>
                  <a:pt x="50" y="83"/>
                </a:cubicBezTo>
                <a:cubicBezTo>
                  <a:pt x="22" y="59"/>
                  <a:pt x="22" y="59"/>
                  <a:pt x="22" y="59"/>
                </a:cubicBezTo>
                <a:cubicBezTo>
                  <a:pt x="59" y="56"/>
                  <a:pt x="59" y="56"/>
                  <a:pt x="59" y="56"/>
                </a:cubicBezTo>
                <a:cubicBezTo>
                  <a:pt x="73" y="22"/>
                  <a:pt x="73" y="22"/>
                  <a:pt x="73" y="22"/>
                </a:cubicBezTo>
                <a:cubicBezTo>
                  <a:pt x="87" y="56"/>
                  <a:pt x="87" y="56"/>
                  <a:pt x="87" y="56"/>
                </a:cubicBezTo>
                <a:cubicBezTo>
                  <a:pt x="124" y="59"/>
                  <a:pt x="124" y="59"/>
                  <a:pt x="124" y="59"/>
                </a:cubicBezTo>
                <a:cubicBezTo>
                  <a:pt x="96" y="83"/>
                  <a:pt x="96" y="83"/>
                  <a:pt x="96" y="83"/>
                </a:cubicBezTo>
                <a:lnTo>
                  <a:pt x="104" y="1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5" name="Freeform 110"/>
          <p:cNvSpPr>
            <a:spLocks noEditPoints="1"/>
          </p:cNvSpPr>
          <p:nvPr/>
        </p:nvSpPr>
        <p:spPr bwMode="auto">
          <a:xfrm>
            <a:off x="2868084" y="4654551"/>
            <a:ext cx="431800" cy="431800"/>
          </a:xfrm>
          <a:custGeom>
            <a:avLst/>
            <a:gdLst>
              <a:gd name="T0" fmla="*/ 364162578 w 144"/>
              <a:gd name="T1" fmla="*/ 0 h 144"/>
              <a:gd name="T2" fmla="*/ 0 w 144"/>
              <a:gd name="T3" fmla="*/ 364162578 h 144"/>
              <a:gd name="T4" fmla="*/ 364162578 w 144"/>
              <a:gd name="T5" fmla="*/ 728325156 h 144"/>
              <a:gd name="T6" fmla="*/ 728325156 w 144"/>
              <a:gd name="T7" fmla="*/ 364162578 h 144"/>
              <a:gd name="T8" fmla="*/ 364162578 w 144"/>
              <a:gd name="T9" fmla="*/ 0 h 144"/>
              <a:gd name="T10" fmla="*/ 207369701 w 144"/>
              <a:gd name="T11" fmla="*/ 551300650 h 144"/>
              <a:gd name="T12" fmla="*/ 177024506 w 144"/>
              <a:gd name="T13" fmla="*/ 520955455 h 144"/>
              <a:gd name="T14" fmla="*/ 187138072 w 144"/>
              <a:gd name="T15" fmla="*/ 399567929 h 144"/>
              <a:gd name="T16" fmla="*/ 328757227 w 144"/>
              <a:gd name="T17" fmla="*/ 541187084 h 144"/>
              <a:gd name="T18" fmla="*/ 207369701 w 144"/>
              <a:gd name="T19" fmla="*/ 551300650 h 144"/>
              <a:gd name="T20" fmla="*/ 394510022 w 144"/>
              <a:gd name="T21" fmla="*/ 531071270 h 144"/>
              <a:gd name="T22" fmla="*/ 197253886 w 144"/>
              <a:gd name="T23" fmla="*/ 328757227 h 144"/>
              <a:gd name="T24" fmla="*/ 202311794 w 144"/>
              <a:gd name="T25" fmla="*/ 257948774 h 144"/>
              <a:gd name="T26" fmla="*/ 465318475 w 144"/>
              <a:gd name="T27" fmla="*/ 526013363 h 144"/>
              <a:gd name="T28" fmla="*/ 394510022 w 144"/>
              <a:gd name="T29" fmla="*/ 531071270 h 144"/>
              <a:gd name="T30" fmla="*/ 536129177 w 144"/>
              <a:gd name="T31" fmla="*/ 520955455 h 144"/>
              <a:gd name="T32" fmla="*/ 207369701 w 144"/>
              <a:gd name="T33" fmla="*/ 192195979 h 144"/>
              <a:gd name="T34" fmla="*/ 217485516 w 144"/>
              <a:gd name="T35" fmla="*/ 121387526 h 144"/>
              <a:gd name="T36" fmla="*/ 606937630 w 144"/>
              <a:gd name="T37" fmla="*/ 510839641 h 144"/>
              <a:gd name="T38" fmla="*/ 536129177 w 144"/>
              <a:gd name="T39" fmla="*/ 520955455 h 14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41" y="109"/>
                </a:moveTo>
                <a:cubicBezTo>
                  <a:pt x="38" y="109"/>
                  <a:pt x="35" y="106"/>
                  <a:pt x="35" y="103"/>
                </a:cubicBezTo>
                <a:cubicBezTo>
                  <a:pt x="37" y="79"/>
                  <a:pt x="37" y="79"/>
                  <a:pt x="37" y="79"/>
                </a:cubicBezTo>
                <a:cubicBezTo>
                  <a:pt x="52" y="81"/>
                  <a:pt x="63" y="92"/>
                  <a:pt x="65" y="107"/>
                </a:cubicBezTo>
                <a:lnTo>
                  <a:pt x="41" y="109"/>
                </a:lnTo>
                <a:close/>
                <a:moveTo>
                  <a:pt x="78" y="105"/>
                </a:moveTo>
                <a:cubicBezTo>
                  <a:pt x="77" y="84"/>
                  <a:pt x="60" y="67"/>
                  <a:pt x="39" y="65"/>
                </a:cubicBezTo>
                <a:cubicBezTo>
                  <a:pt x="40" y="51"/>
                  <a:pt x="40" y="51"/>
                  <a:pt x="40" y="51"/>
                </a:cubicBezTo>
                <a:cubicBezTo>
                  <a:pt x="68" y="54"/>
                  <a:pt x="90" y="76"/>
                  <a:pt x="92" y="104"/>
                </a:cubicBezTo>
                <a:lnTo>
                  <a:pt x="78" y="105"/>
                </a:lnTo>
                <a:close/>
                <a:moveTo>
                  <a:pt x="106" y="103"/>
                </a:moveTo>
                <a:cubicBezTo>
                  <a:pt x="103" y="68"/>
                  <a:pt x="76" y="41"/>
                  <a:pt x="41" y="38"/>
                </a:cubicBezTo>
                <a:cubicBezTo>
                  <a:pt x="43" y="24"/>
                  <a:pt x="43" y="24"/>
                  <a:pt x="43" y="24"/>
                </a:cubicBezTo>
                <a:cubicBezTo>
                  <a:pt x="84" y="28"/>
                  <a:pt x="116" y="60"/>
                  <a:pt x="120" y="101"/>
                </a:cubicBezTo>
                <a:lnTo>
                  <a:pt x="106" y="10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6" name="Freeform 111"/>
          <p:cNvSpPr>
            <a:spLocks noEditPoints="1"/>
          </p:cNvSpPr>
          <p:nvPr/>
        </p:nvSpPr>
        <p:spPr bwMode="auto">
          <a:xfrm>
            <a:off x="3718984" y="4654551"/>
            <a:ext cx="431800" cy="431800"/>
          </a:xfrm>
          <a:custGeom>
            <a:avLst/>
            <a:gdLst>
              <a:gd name="T0" fmla="*/ 364162578 w 144"/>
              <a:gd name="T1" fmla="*/ 0 h 144"/>
              <a:gd name="T2" fmla="*/ 0 w 144"/>
              <a:gd name="T3" fmla="*/ 364162578 h 144"/>
              <a:gd name="T4" fmla="*/ 364162578 w 144"/>
              <a:gd name="T5" fmla="*/ 728325156 h 144"/>
              <a:gd name="T6" fmla="*/ 728325156 w 144"/>
              <a:gd name="T7" fmla="*/ 364162578 h 144"/>
              <a:gd name="T8" fmla="*/ 364162578 w 144"/>
              <a:gd name="T9" fmla="*/ 0 h 144"/>
              <a:gd name="T10" fmla="*/ 556358557 w 144"/>
              <a:gd name="T11" fmla="*/ 460260568 h 144"/>
              <a:gd name="T12" fmla="*/ 546244992 w 144"/>
              <a:gd name="T13" fmla="*/ 470376382 h 144"/>
              <a:gd name="T14" fmla="*/ 424857466 w 144"/>
              <a:gd name="T15" fmla="*/ 470376382 h 144"/>
              <a:gd name="T16" fmla="*/ 424857466 w 144"/>
              <a:gd name="T17" fmla="*/ 505781733 h 144"/>
              <a:gd name="T18" fmla="*/ 510839641 w 144"/>
              <a:gd name="T19" fmla="*/ 505781733 h 144"/>
              <a:gd name="T20" fmla="*/ 520955455 w 144"/>
              <a:gd name="T21" fmla="*/ 515897548 h 144"/>
              <a:gd name="T22" fmla="*/ 520955455 w 144"/>
              <a:gd name="T23" fmla="*/ 546244992 h 144"/>
              <a:gd name="T24" fmla="*/ 510839641 w 144"/>
              <a:gd name="T25" fmla="*/ 556358557 h 144"/>
              <a:gd name="T26" fmla="*/ 217485516 w 144"/>
              <a:gd name="T27" fmla="*/ 556358557 h 144"/>
              <a:gd name="T28" fmla="*/ 207369701 w 144"/>
              <a:gd name="T29" fmla="*/ 546244992 h 144"/>
              <a:gd name="T30" fmla="*/ 207369701 w 144"/>
              <a:gd name="T31" fmla="*/ 515897548 h 144"/>
              <a:gd name="T32" fmla="*/ 217485516 w 144"/>
              <a:gd name="T33" fmla="*/ 505781733 h 144"/>
              <a:gd name="T34" fmla="*/ 303469940 w 144"/>
              <a:gd name="T35" fmla="*/ 505781733 h 144"/>
              <a:gd name="T36" fmla="*/ 303469940 w 144"/>
              <a:gd name="T37" fmla="*/ 470376382 h 144"/>
              <a:gd name="T38" fmla="*/ 182082414 w 144"/>
              <a:gd name="T39" fmla="*/ 470376382 h 144"/>
              <a:gd name="T40" fmla="*/ 171966599 w 144"/>
              <a:gd name="T41" fmla="*/ 460260568 h 144"/>
              <a:gd name="T42" fmla="*/ 171966599 w 144"/>
              <a:gd name="T43" fmla="*/ 187138072 h 144"/>
              <a:gd name="T44" fmla="*/ 182082414 w 144"/>
              <a:gd name="T45" fmla="*/ 177024506 h 144"/>
              <a:gd name="T46" fmla="*/ 546244992 w 144"/>
              <a:gd name="T47" fmla="*/ 177024506 h 144"/>
              <a:gd name="T48" fmla="*/ 556358557 w 144"/>
              <a:gd name="T49" fmla="*/ 187138072 h 144"/>
              <a:gd name="T50" fmla="*/ 556358557 w 144"/>
              <a:gd name="T51" fmla="*/ 460260568 h 14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110" y="91"/>
                </a:moveTo>
                <a:cubicBezTo>
                  <a:pt x="110" y="92"/>
                  <a:pt x="109" y="93"/>
                  <a:pt x="108" y="93"/>
                </a:cubicBezTo>
                <a:cubicBezTo>
                  <a:pt x="84" y="93"/>
                  <a:pt x="84" y="93"/>
                  <a:pt x="84" y="93"/>
                </a:cubicBezTo>
                <a:cubicBezTo>
                  <a:pt x="84" y="100"/>
                  <a:pt x="84" y="100"/>
                  <a:pt x="84" y="100"/>
                </a:cubicBezTo>
                <a:cubicBezTo>
                  <a:pt x="101" y="100"/>
                  <a:pt x="101" y="100"/>
                  <a:pt x="101" y="100"/>
                </a:cubicBezTo>
                <a:cubicBezTo>
                  <a:pt x="102" y="100"/>
                  <a:pt x="103" y="101"/>
                  <a:pt x="103" y="102"/>
                </a:cubicBezTo>
                <a:cubicBezTo>
                  <a:pt x="103" y="108"/>
                  <a:pt x="103" y="108"/>
                  <a:pt x="103" y="108"/>
                </a:cubicBezTo>
                <a:cubicBezTo>
                  <a:pt x="103" y="109"/>
                  <a:pt x="102" y="110"/>
                  <a:pt x="101" y="110"/>
                </a:cubicBezTo>
                <a:cubicBezTo>
                  <a:pt x="43" y="110"/>
                  <a:pt x="43" y="110"/>
                  <a:pt x="43" y="110"/>
                </a:cubicBezTo>
                <a:cubicBezTo>
                  <a:pt x="42" y="110"/>
                  <a:pt x="41" y="109"/>
                  <a:pt x="41" y="108"/>
                </a:cubicBezTo>
                <a:cubicBezTo>
                  <a:pt x="41" y="102"/>
                  <a:pt x="41" y="102"/>
                  <a:pt x="41" y="102"/>
                </a:cubicBezTo>
                <a:cubicBezTo>
                  <a:pt x="41" y="101"/>
                  <a:pt x="42" y="100"/>
                  <a:pt x="43" y="100"/>
                </a:cubicBezTo>
                <a:cubicBezTo>
                  <a:pt x="60" y="100"/>
                  <a:pt x="60" y="100"/>
                  <a:pt x="60" y="100"/>
                </a:cubicBezTo>
                <a:cubicBezTo>
                  <a:pt x="60" y="93"/>
                  <a:pt x="60" y="93"/>
                  <a:pt x="60" y="93"/>
                </a:cubicBezTo>
                <a:cubicBezTo>
                  <a:pt x="36" y="93"/>
                  <a:pt x="36" y="93"/>
                  <a:pt x="36" y="93"/>
                </a:cubicBezTo>
                <a:cubicBezTo>
                  <a:pt x="35" y="93"/>
                  <a:pt x="34" y="92"/>
                  <a:pt x="34" y="91"/>
                </a:cubicBezTo>
                <a:cubicBezTo>
                  <a:pt x="34" y="37"/>
                  <a:pt x="34" y="37"/>
                  <a:pt x="34" y="37"/>
                </a:cubicBezTo>
                <a:cubicBezTo>
                  <a:pt x="34" y="36"/>
                  <a:pt x="35" y="35"/>
                  <a:pt x="36" y="35"/>
                </a:cubicBezTo>
                <a:cubicBezTo>
                  <a:pt x="108" y="35"/>
                  <a:pt x="108" y="35"/>
                  <a:pt x="108" y="35"/>
                </a:cubicBezTo>
                <a:cubicBezTo>
                  <a:pt x="109" y="35"/>
                  <a:pt x="110" y="36"/>
                  <a:pt x="110" y="37"/>
                </a:cubicBezTo>
                <a:lnTo>
                  <a:pt x="110" y="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7" name="Freeform 112"/>
          <p:cNvSpPr>
            <a:spLocks/>
          </p:cNvSpPr>
          <p:nvPr/>
        </p:nvSpPr>
        <p:spPr bwMode="auto">
          <a:xfrm>
            <a:off x="3850217" y="4792134"/>
            <a:ext cx="167216" cy="107951"/>
          </a:xfrm>
          <a:custGeom>
            <a:avLst/>
            <a:gdLst>
              <a:gd name="T0" fmla="*/ 270829454 w 56"/>
              <a:gd name="T1" fmla="*/ 0 h 36"/>
              <a:gd name="T2" fmla="*/ 10030721 w 56"/>
              <a:gd name="T3" fmla="*/ 0 h 36"/>
              <a:gd name="T4" fmla="*/ 0 w 56"/>
              <a:gd name="T5" fmla="*/ 10115877 h 36"/>
              <a:gd name="T6" fmla="*/ 0 w 56"/>
              <a:gd name="T7" fmla="*/ 171967661 h 36"/>
              <a:gd name="T8" fmla="*/ 10030721 w 56"/>
              <a:gd name="T9" fmla="*/ 182083538 h 36"/>
              <a:gd name="T10" fmla="*/ 270829454 w 56"/>
              <a:gd name="T11" fmla="*/ 182083538 h 36"/>
              <a:gd name="T12" fmla="*/ 280860174 w 56"/>
              <a:gd name="T13" fmla="*/ 171967661 h 36"/>
              <a:gd name="T14" fmla="*/ 280860174 w 56"/>
              <a:gd name="T15" fmla="*/ 10115877 h 36"/>
              <a:gd name="T16" fmla="*/ 270829454 w 56"/>
              <a:gd name="T17" fmla="*/ 0 h 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6" h="36">
                <a:moveTo>
                  <a:pt x="54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2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5"/>
                  <a:pt x="1" y="36"/>
                  <a:pt x="2" y="36"/>
                </a:cubicBezTo>
                <a:cubicBezTo>
                  <a:pt x="54" y="36"/>
                  <a:pt x="54" y="36"/>
                  <a:pt x="54" y="36"/>
                </a:cubicBezTo>
                <a:cubicBezTo>
                  <a:pt x="55" y="36"/>
                  <a:pt x="56" y="35"/>
                  <a:pt x="56" y="34"/>
                </a:cubicBezTo>
                <a:cubicBezTo>
                  <a:pt x="56" y="2"/>
                  <a:pt x="56" y="2"/>
                  <a:pt x="56" y="2"/>
                </a:cubicBezTo>
                <a:cubicBezTo>
                  <a:pt x="56" y="0"/>
                  <a:pt x="55" y="0"/>
                  <a:pt x="5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8" name="Freeform 113"/>
          <p:cNvSpPr>
            <a:spLocks noEditPoints="1"/>
          </p:cNvSpPr>
          <p:nvPr/>
        </p:nvSpPr>
        <p:spPr bwMode="auto">
          <a:xfrm>
            <a:off x="4546601" y="4654551"/>
            <a:ext cx="429684" cy="431800"/>
          </a:xfrm>
          <a:custGeom>
            <a:avLst/>
            <a:gdLst>
              <a:gd name="T0" fmla="*/ 360601107 w 144"/>
              <a:gd name="T1" fmla="*/ 0 h 144"/>
              <a:gd name="T2" fmla="*/ 0 w 144"/>
              <a:gd name="T3" fmla="*/ 364162578 h 144"/>
              <a:gd name="T4" fmla="*/ 360601107 w 144"/>
              <a:gd name="T5" fmla="*/ 728325156 h 144"/>
              <a:gd name="T6" fmla="*/ 721202215 w 144"/>
              <a:gd name="T7" fmla="*/ 364162578 h 144"/>
              <a:gd name="T8" fmla="*/ 360601107 w 144"/>
              <a:gd name="T9" fmla="*/ 0 h 144"/>
              <a:gd name="T10" fmla="*/ 500834747 w 144"/>
              <a:gd name="T11" fmla="*/ 500723826 h 144"/>
              <a:gd name="T12" fmla="*/ 290484288 w 144"/>
              <a:gd name="T13" fmla="*/ 622111352 h 144"/>
              <a:gd name="T14" fmla="*/ 340567091 w 144"/>
              <a:gd name="T15" fmla="*/ 526013363 h 144"/>
              <a:gd name="T16" fmla="*/ 100167845 w 144"/>
              <a:gd name="T17" fmla="*/ 348988856 h 144"/>
              <a:gd name="T18" fmla="*/ 360601107 w 144"/>
              <a:gd name="T19" fmla="*/ 177024506 h 144"/>
              <a:gd name="T20" fmla="*/ 626042874 w 144"/>
              <a:gd name="T21" fmla="*/ 348988856 h 144"/>
              <a:gd name="T22" fmla="*/ 500834747 w 144"/>
              <a:gd name="T23" fmla="*/ 500723826 h 1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100" y="99"/>
                </a:moveTo>
                <a:cubicBezTo>
                  <a:pt x="89" y="104"/>
                  <a:pt x="58" y="123"/>
                  <a:pt x="58" y="123"/>
                </a:cubicBezTo>
                <a:cubicBezTo>
                  <a:pt x="68" y="104"/>
                  <a:pt x="68" y="104"/>
                  <a:pt x="68" y="104"/>
                </a:cubicBezTo>
                <a:cubicBezTo>
                  <a:pt x="41" y="102"/>
                  <a:pt x="20" y="87"/>
                  <a:pt x="20" y="69"/>
                </a:cubicBezTo>
                <a:cubicBezTo>
                  <a:pt x="20" y="50"/>
                  <a:pt x="43" y="35"/>
                  <a:pt x="72" y="35"/>
                </a:cubicBezTo>
                <a:cubicBezTo>
                  <a:pt x="101" y="35"/>
                  <a:pt x="125" y="50"/>
                  <a:pt x="125" y="69"/>
                </a:cubicBezTo>
                <a:cubicBezTo>
                  <a:pt x="125" y="82"/>
                  <a:pt x="109" y="93"/>
                  <a:pt x="100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79" name="Freeform 114"/>
          <p:cNvSpPr>
            <a:spLocks/>
          </p:cNvSpPr>
          <p:nvPr/>
        </p:nvSpPr>
        <p:spPr bwMode="auto">
          <a:xfrm>
            <a:off x="5348817" y="4631267"/>
            <a:ext cx="431800" cy="431800"/>
          </a:xfrm>
          <a:custGeom>
            <a:avLst/>
            <a:gdLst>
              <a:gd name="T0" fmla="*/ 364162578 w 144"/>
              <a:gd name="T1" fmla="*/ 0 h 144"/>
              <a:gd name="T2" fmla="*/ 0 w 144"/>
              <a:gd name="T3" fmla="*/ 364162578 h 144"/>
              <a:gd name="T4" fmla="*/ 30347444 w 144"/>
              <a:gd name="T5" fmla="*/ 510839641 h 144"/>
              <a:gd name="T6" fmla="*/ 227601330 w 144"/>
              <a:gd name="T7" fmla="*/ 202311794 h 144"/>
              <a:gd name="T8" fmla="*/ 318641413 w 144"/>
              <a:gd name="T9" fmla="*/ 263006681 h 144"/>
              <a:gd name="T10" fmla="*/ 283238310 w 144"/>
              <a:gd name="T11" fmla="*/ 288296218 h 144"/>
              <a:gd name="T12" fmla="*/ 141619155 w 144"/>
              <a:gd name="T13" fmla="*/ 515897548 h 144"/>
              <a:gd name="T14" fmla="*/ 131503341 w 144"/>
              <a:gd name="T15" fmla="*/ 566474372 h 144"/>
              <a:gd name="T16" fmla="*/ 156792877 w 144"/>
              <a:gd name="T17" fmla="*/ 601879723 h 144"/>
              <a:gd name="T18" fmla="*/ 202311794 w 144"/>
              <a:gd name="T19" fmla="*/ 606937630 h 144"/>
              <a:gd name="T20" fmla="*/ 237717145 w 144"/>
              <a:gd name="T21" fmla="*/ 581648094 h 144"/>
              <a:gd name="T22" fmla="*/ 328757227 w 144"/>
              <a:gd name="T23" fmla="*/ 434971031 h 144"/>
              <a:gd name="T24" fmla="*/ 323699320 w 144"/>
              <a:gd name="T25" fmla="*/ 409683744 h 144"/>
              <a:gd name="T26" fmla="*/ 298412032 w 144"/>
              <a:gd name="T27" fmla="*/ 414741651 h 144"/>
              <a:gd name="T28" fmla="*/ 207369701 w 144"/>
              <a:gd name="T29" fmla="*/ 561416465 h 144"/>
              <a:gd name="T30" fmla="*/ 192195979 w 144"/>
              <a:gd name="T31" fmla="*/ 576590186 h 144"/>
              <a:gd name="T32" fmla="*/ 177024506 w 144"/>
              <a:gd name="T33" fmla="*/ 571532279 h 144"/>
              <a:gd name="T34" fmla="*/ 166908692 w 144"/>
              <a:gd name="T35" fmla="*/ 556358557 h 144"/>
              <a:gd name="T36" fmla="*/ 171966599 w 144"/>
              <a:gd name="T37" fmla="*/ 536129177 h 144"/>
              <a:gd name="T38" fmla="*/ 313583505 w 144"/>
              <a:gd name="T39" fmla="*/ 308525598 h 144"/>
              <a:gd name="T40" fmla="*/ 359104671 w 144"/>
              <a:gd name="T41" fmla="*/ 288296218 h 144"/>
              <a:gd name="T42" fmla="*/ 571532279 w 144"/>
              <a:gd name="T43" fmla="*/ 419799558 h 144"/>
              <a:gd name="T44" fmla="*/ 379336300 w 144"/>
              <a:gd name="T45" fmla="*/ 728325156 h 144"/>
              <a:gd name="T46" fmla="*/ 728325156 w 144"/>
              <a:gd name="T47" fmla="*/ 364162578 h 144"/>
              <a:gd name="T48" fmla="*/ 364162578 w 144"/>
              <a:gd name="T49" fmla="*/ 0 h 14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82"/>
                  <a:pt x="2" y="92"/>
                  <a:pt x="6" y="101"/>
                </a:cubicBezTo>
                <a:cubicBezTo>
                  <a:pt x="45" y="40"/>
                  <a:pt x="45" y="40"/>
                  <a:pt x="45" y="40"/>
                </a:cubicBezTo>
                <a:cubicBezTo>
                  <a:pt x="63" y="52"/>
                  <a:pt x="63" y="52"/>
                  <a:pt x="63" y="52"/>
                </a:cubicBezTo>
                <a:cubicBezTo>
                  <a:pt x="60" y="53"/>
                  <a:pt x="58" y="55"/>
                  <a:pt x="56" y="57"/>
                </a:cubicBezTo>
                <a:cubicBezTo>
                  <a:pt x="28" y="102"/>
                  <a:pt x="28" y="102"/>
                  <a:pt x="28" y="102"/>
                </a:cubicBezTo>
                <a:cubicBezTo>
                  <a:pt x="26" y="105"/>
                  <a:pt x="25" y="109"/>
                  <a:pt x="26" y="112"/>
                </a:cubicBezTo>
                <a:cubicBezTo>
                  <a:pt x="27" y="114"/>
                  <a:pt x="29" y="117"/>
                  <a:pt x="31" y="119"/>
                </a:cubicBezTo>
                <a:cubicBezTo>
                  <a:pt x="34" y="120"/>
                  <a:pt x="37" y="121"/>
                  <a:pt x="40" y="120"/>
                </a:cubicBezTo>
                <a:cubicBezTo>
                  <a:pt x="43" y="120"/>
                  <a:pt x="45" y="118"/>
                  <a:pt x="47" y="115"/>
                </a:cubicBezTo>
                <a:cubicBezTo>
                  <a:pt x="65" y="86"/>
                  <a:pt x="65" y="86"/>
                  <a:pt x="65" y="86"/>
                </a:cubicBezTo>
                <a:cubicBezTo>
                  <a:pt x="66" y="84"/>
                  <a:pt x="66" y="82"/>
                  <a:pt x="64" y="81"/>
                </a:cubicBezTo>
                <a:cubicBezTo>
                  <a:pt x="63" y="80"/>
                  <a:pt x="60" y="81"/>
                  <a:pt x="59" y="82"/>
                </a:cubicBezTo>
                <a:cubicBezTo>
                  <a:pt x="41" y="111"/>
                  <a:pt x="41" y="111"/>
                  <a:pt x="41" y="111"/>
                </a:cubicBezTo>
                <a:cubicBezTo>
                  <a:pt x="41" y="113"/>
                  <a:pt x="39" y="113"/>
                  <a:pt x="38" y="114"/>
                </a:cubicBezTo>
                <a:cubicBezTo>
                  <a:pt x="37" y="114"/>
                  <a:pt x="36" y="114"/>
                  <a:pt x="35" y="113"/>
                </a:cubicBezTo>
                <a:cubicBezTo>
                  <a:pt x="34" y="112"/>
                  <a:pt x="33" y="111"/>
                  <a:pt x="33" y="110"/>
                </a:cubicBezTo>
                <a:cubicBezTo>
                  <a:pt x="32" y="109"/>
                  <a:pt x="33" y="108"/>
                  <a:pt x="34" y="106"/>
                </a:cubicBezTo>
                <a:cubicBezTo>
                  <a:pt x="62" y="61"/>
                  <a:pt x="62" y="61"/>
                  <a:pt x="62" y="61"/>
                </a:cubicBezTo>
                <a:cubicBezTo>
                  <a:pt x="64" y="58"/>
                  <a:pt x="68" y="56"/>
                  <a:pt x="71" y="57"/>
                </a:cubicBezTo>
                <a:cubicBezTo>
                  <a:pt x="113" y="83"/>
                  <a:pt x="113" y="83"/>
                  <a:pt x="113" y="83"/>
                </a:cubicBezTo>
                <a:cubicBezTo>
                  <a:pt x="75" y="144"/>
                  <a:pt x="75" y="144"/>
                  <a:pt x="75" y="144"/>
                </a:cubicBezTo>
                <a:cubicBezTo>
                  <a:pt x="113" y="143"/>
                  <a:pt x="144" y="111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0" name="Freeform 115"/>
          <p:cNvSpPr>
            <a:spLocks/>
          </p:cNvSpPr>
          <p:nvPr/>
        </p:nvSpPr>
        <p:spPr bwMode="auto">
          <a:xfrm>
            <a:off x="6320367" y="4754034"/>
            <a:ext cx="50800" cy="52917"/>
          </a:xfrm>
          <a:custGeom>
            <a:avLst/>
            <a:gdLst>
              <a:gd name="T0" fmla="*/ 15069671 w 17"/>
              <a:gd name="T1" fmla="*/ 14585340 h 18"/>
              <a:gd name="T2" fmla="*/ 15069671 w 17"/>
              <a:gd name="T3" fmla="*/ 72922290 h 18"/>
              <a:gd name="T4" fmla="*/ 70319153 w 17"/>
              <a:gd name="T5" fmla="*/ 72922290 h 18"/>
              <a:gd name="T6" fmla="*/ 70319153 w 17"/>
              <a:gd name="T7" fmla="*/ 14585340 h 18"/>
              <a:gd name="T8" fmla="*/ 15069671 w 17"/>
              <a:gd name="T9" fmla="*/ 1458534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" h="18">
                <a:moveTo>
                  <a:pt x="3" y="3"/>
                </a:moveTo>
                <a:cubicBezTo>
                  <a:pt x="0" y="7"/>
                  <a:pt x="0" y="12"/>
                  <a:pt x="3" y="15"/>
                </a:cubicBezTo>
                <a:cubicBezTo>
                  <a:pt x="6" y="18"/>
                  <a:pt x="11" y="18"/>
                  <a:pt x="14" y="15"/>
                </a:cubicBezTo>
                <a:cubicBezTo>
                  <a:pt x="17" y="12"/>
                  <a:pt x="17" y="7"/>
                  <a:pt x="14" y="3"/>
                </a:cubicBezTo>
                <a:cubicBezTo>
                  <a:pt x="11" y="0"/>
                  <a:pt x="6" y="0"/>
                  <a:pt x="3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1" name="Freeform 116"/>
          <p:cNvSpPr>
            <a:spLocks noEditPoints="1"/>
          </p:cNvSpPr>
          <p:nvPr/>
        </p:nvSpPr>
        <p:spPr bwMode="auto">
          <a:xfrm>
            <a:off x="6199717" y="4631267"/>
            <a:ext cx="431800" cy="431800"/>
          </a:xfrm>
          <a:custGeom>
            <a:avLst/>
            <a:gdLst>
              <a:gd name="T0" fmla="*/ 364162578 w 144"/>
              <a:gd name="T1" fmla="*/ 0 h 144"/>
              <a:gd name="T2" fmla="*/ 0 w 144"/>
              <a:gd name="T3" fmla="*/ 364162578 h 144"/>
              <a:gd name="T4" fmla="*/ 364162578 w 144"/>
              <a:gd name="T5" fmla="*/ 728325156 h 144"/>
              <a:gd name="T6" fmla="*/ 728325156 w 144"/>
              <a:gd name="T7" fmla="*/ 364162578 h 144"/>
              <a:gd name="T8" fmla="*/ 364162578 w 144"/>
              <a:gd name="T9" fmla="*/ 0 h 144"/>
              <a:gd name="T10" fmla="*/ 389452115 w 144"/>
              <a:gd name="T11" fmla="*/ 627169259 h 144"/>
              <a:gd name="T12" fmla="*/ 146677063 w 144"/>
              <a:gd name="T13" fmla="*/ 384394207 h 144"/>
              <a:gd name="T14" fmla="*/ 146677063 w 144"/>
              <a:gd name="T15" fmla="*/ 237717145 h 144"/>
              <a:gd name="T16" fmla="*/ 232659238 w 144"/>
              <a:gd name="T17" fmla="*/ 151734970 h 144"/>
              <a:gd name="T18" fmla="*/ 374278393 w 144"/>
              <a:gd name="T19" fmla="*/ 151734970 h 144"/>
              <a:gd name="T20" fmla="*/ 622111352 w 144"/>
              <a:gd name="T21" fmla="*/ 399567929 h 144"/>
              <a:gd name="T22" fmla="*/ 389452115 w 144"/>
              <a:gd name="T23" fmla="*/ 627169259 h 1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77" y="124"/>
                </a:moveTo>
                <a:cubicBezTo>
                  <a:pt x="29" y="76"/>
                  <a:pt x="29" y="76"/>
                  <a:pt x="29" y="76"/>
                </a:cubicBezTo>
                <a:cubicBezTo>
                  <a:pt x="29" y="47"/>
                  <a:pt x="29" y="47"/>
                  <a:pt x="29" y="47"/>
                </a:cubicBezTo>
                <a:cubicBezTo>
                  <a:pt x="46" y="30"/>
                  <a:pt x="46" y="30"/>
                  <a:pt x="46" y="30"/>
                </a:cubicBezTo>
                <a:cubicBezTo>
                  <a:pt x="74" y="30"/>
                  <a:pt x="74" y="30"/>
                  <a:pt x="74" y="30"/>
                </a:cubicBezTo>
                <a:cubicBezTo>
                  <a:pt x="123" y="79"/>
                  <a:pt x="123" y="79"/>
                  <a:pt x="123" y="79"/>
                </a:cubicBezTo>
                <a:lnTo>
                  <a:pt x="77" y="1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2" name="Freeform 117"/>
          <p:cNvSpPr>
            <a:spLocks noEditPoints="1"/>
          </p:cNvSpPr>
          <p:nvPr/>
        </p:nvSpPr>
        <p:spPr bwMode="auto">
          <a:xfrm>
            <a:off x="7063317" y="4631267"/>
            <a:ext cx="429683" cy="431800"/>
          </a:xfrm>
          <a:custGeom>
            <a:avLst/>
            <a:gdLst>
              <a:gd name="T0" fmla="*/ 360599988 w 144"/>
              <a:gd name="T1" fmla="*/ 0 h 144"/>
              <a:gd name="T2" fmla="*/ 0 w 144"/>
              <a:gd name="T3" fmla="*/ 364162578 h 144"/>
              <a:gd name="T4" fmla="*/ 360599988 w 144"/>
              <a:gd name="T5" fmla="*/ 728325156 h 144"/>
              <a:gd name="T6" fmla="*/ 721199977 w 144"/>
              <a:gd name="T7" fmla="*/ 364162578 h 144"/>
              <a:gd name="T8" fmla="*/ 360599988 w 144"/>
              <a:gd name="T9" fmla="*/ 0 h 144"/>
              <a:gd name="T10" fmla="*/ 550915841 w 144"/>
              <a:gd name="T11" fmla="*/ 384394207 h 144"/>
              <a:gd name="T12" fmla="*/ 525875636 w 144"/>
              <a:gd name="T13" fmla="*/ 460260568 h 144"/>
              <a:gd name="T14" fmla="*/ 545907352 w 144"/>
              <a:gd name="T15" fmla="*/ 526013363 h 144"/>
              <a:gd name="T16" fmla="*/ 455759034 w 144"/>
              <a:gd name="T17" fmla="*/ 591763908 h 144"/>
              <a:gd name="T18" fmla="*/ 400665659 w 144"/>
              <a:gd name="T19" fmla="*/ 556358557 h 144"/>
              <a:gd name="T20" fmla="*/ 360599988 w 144"/>
              <a:gd name="T21" fmla="*/ 561416465 h 144"/>
              <a:gd name="T22" fmla="*/ 320534318 w 144"/>
              <a:gd name="T23" fmla="*/ 556358557 h 144"/>
              <a:gd name="T24" fmla="*/ 265440943 w 144"/>
              <a:gd name="T25" fmla="*/ 591763908 h 144"/>
              <a:gd name="T26" fmla="*/ 175292625 w 144"/>
              <a:gd name="T27" fmla="*/ 526013363 h 144"/>
              <a:gd name="T28" fmla="*/ 195324341 w 144"/>
              <a:gd name="T29" fmla="*/ 460260568 h 144"/>
              <a:gd name="T30" fmla="*/ 170284136 w 144"/>
              <a:gd name="T31" fmla="*/ 384394207 h 144"/>
              <a:gd name="T32" fmla="*/ 115190762 w 144"/>
              <a:gd name="T33" fmla="*/ 343930949 h 144"/>
              <a:gd name="T34" fmla="*/ 150250182 w 144"/>
              <a:gd name="T35" fmla="*/ 232659238 h 144"/>
              <a:gd name="T36" fmla="*/ 215358295 w 144"/>
              <a:gd name="T37" fmla="*/ 232659238 h 144"/>
              <a:gd name="T38" fmla="*/ 280466409 w 144"/>
              <a:gd name="T39" fmla="*/ 187138072 h 144"/>
              <a:gd name="T40" fmla="*/ 300500363 w 144"/>
              <a:gd name="T41" fmla="*/ 121387526 h 144"/>
              <a:gd name="T42" fmla="*/ 420699613 w 144"/>
              <a:gd name="T43" fmla="*/ 121387526 h 144"/>
              <a:gd name="T44" fmla="*/ 440733568 w 144"/>
              <a:gd name="T45" fmla="*/ 187138072 h 144"/>
              <a:gd name="T46" fmla="*/ 505841681 w 144"/>
              <a:gd name="T47" fmla="*/ 232659238 h 144"/>
              <a:gd name="T48" fmla="*/ 570949795 w 144"/>
              <a:gd name="T49" fmla="*/ 232659238 h 144"/>
              <a:gd name="T50" fmla="*/ 606009215 w 144"/>
              <a:gd name="T51" fmla="*/ 343930949 h 144"/>
              <a:gd name="T52" fmla="*/ 550915841 w 144"/>
              <a:gd name="T53" fmla="*/ 384394207 h 14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110" y="76"/>
                </a:moveTo>
                <a:cubicBezTo>
                  <a:pt x="110" y="81"/>
                  <a:pt x="108" y="87"/>
                  <a:pt x="105" y="91"/>
                </a:cubicBezTo>
                <a:cubicBezTo>
                  <a:pt x="109" y="104"/>
                  <a:pt x="109" y="104"/>
                  <a:pt x="109" y="104"/>
                </a:cubicBezTo>
                <a:cubicBezTo>
                  <a:pt x="91" y="117"/>
                  <a:pt x="91" y="117"/>
                  <a:pt x="91" y="117"/>
                </a:cubicBezTo>
                <a:cubicBezTo>
                  <a:pt x="80" y="110"/>
                  <a:pt x="80" y="110"/>
                  <a:pt x="80" y="110"/>
                </a:cubicBezTo>
                <a:cubicBezTo>
                  <a:pt x="78" y="110"/>
                  <a:pt x="75" y="111"/>
                  <a:pt x="72" y="111"/>
                </a:cubicBezTo>
                <a:cubicBezTo>
                  <a:pt x="69" y="111"/>
                  <a:pt x="66" y="110"/>
                  <a:pt x="64" y="110"/>
                </a:cubicBezTo>
                <a:cubicBezTo>
                  <a:pt x="53" y="117"/>
                  <a:pt x="53" y="117"/>
                  <a:pt x="53" y="117"/>
                </a:cubicBezTo>
                <a:cubicBezTo>
                  <a:pt x="35" y="104"/>
                  <a:pt x="35" y="104"/>
                  <a:pt x="35" y="104"/>
                </a:cubicBezTo>
                <a:cubicBezTo>
                  <a:pt x="39" y="91"/>
                  <a:pt x="39" y="91"/>
                  <a:pt x="39" y="91"/>
                </a:cubicBezTo>
                <a:cubicBezTo>
                  <a:pt x="36" y="87"/>
                  <a:pt x="34" y="81"/>
                  <a:pt x="34" y="76"/>
                </a:cubicBezTo>
                <a:cubicBezTo>
                  <a:pt x="23" y="68"/>
                  <a:pt x="23" y="68"/>
                  <a:pt x="23" y="68"/>
                </a:cubicBezTo>
                <a:cubicBezTo>
                  <a:pt x="30" y="46"/>
                  <a:pt x="30" y="46"/>
                  <a:pt x="30" y="46"/>
                </a:cubicBezTo>
                <a:cubicBezTo>
                  <a:pt x="43" y="46"/>
                  <a:pt x="43" y="46"/>
                  <a:pt x="43" y="46"/>
                </a:cubicBezTo>
                <a:cubicBezTo>
                  <a:pt x="47" y="42"/>
                  <a:pt x="51" y="39"/>
                  <a:pt x="56" y="37"/>
                </a:cubicBezTo>
                <a:cubicBezTo>
                  <a:pt x="60" y="24"/>
                  <a:pt x="60" y="24"/>
                  <a:pt x="60" y="24"/>
                </a:cubicBezTo>
                <a:cubicBezTo>
                  <a:pt x="84" y="24"/>
                  <a:pt x="84" y="24"/>
                  <a:pt x="84" y="24"/>
                </a:cubicBezTo>
                <a:cubicBezTo>
                  <a:pt x="88" y="37"/>
                  <a:pt x="88" y="37"/>
                  <a:pt x="88" y="37"/>
                </a:cubicBezTo>
                <a:cubicBezTo>
                  <a:pt x="93" y="39"/>
                  <a:pt x="97" y="42"/>
                  <a:pt x="101" y="46"/>
                </a:cubicBezTo>
                <a:cubicBezTo>
                  <a:pt x="114" y="46"/>
                  <a:pt x="114" y="46"/>
                  <a:pt x="114" y="46"/>
                </a:cubicBezTo>
                <a:cubicBezTo>
                  <a:pt x="121" y="68"/>
                  <a:pt x="121" y="68"/>
                  <a:pt x="121" y="68"/>
                </a:cubicBezTo>
                <a:lnTo>
                  <a:pt x="110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3" name="Freeform 118"/>
          <p:cNvSpPr>
            <a:spLocks noEditPoints="1"/>
          </p:cNvSpPr>
          <p:nvPr/>
        </p:nvSpPr>
        <p:spPr bwMode="auto">
          <a:xfrm>
            <a:off x="7914217" y="4631267"/>
            <a:ext cx="429683" cy="431800"/>
          </a:xfrm>
          <a:custGeom>
            <a:avLst/>
            <a:gdLst>
              <a:gd name="T0" fmla="*/ 360599988 w 144"/>
              <a:gd name="T1" fmla="*/ 0 h 144"/>
              <a:gd name="T2" fmla="*/ 0 w 144"/>
              <a:gd name="T3" fmla="*/ 364162578 h 144"/>
              <a:gd name="T4" fmla="*/ 360599988 w 144"/>
              <a:gd name="T5" fmla="*/ 728325156 h 144"/>
              <a:gd name="T6" fmla="*/ 721199977 w 144"/>
              <a:gd name="T7" fmla="*/ 364162578 h 144"/>
              <a:gd name="T8" fmla="*/ 360599988 w 144"/>
              <a:gd name="T9" fmla="*/ 0 h 144"/>
              <a:gd name="T10" fmla="*/ 570949795 w 144"/>
              <a:gd name="T11" fmla="*/ 515897548 h 144"/>
              <a:gd name="T12" fmla="*/ 480799238 w 144"/>
              <a:gd name="T13" fmla="*/ 531071270 h 144"/>
              <a:gd name="T14" fmla="*/ 440733568 w 144"/>
              <a:gd name="T15" fmla="*/ 611995538 h 144"/>
              <a:gd name="T16" fmla="*/ 360599988 w 144"/>
              <a:gd name="T17" fmla="*/ 571532279 h 144"/>
              <a:gd name="T18" fmla="*/ 280466409 w 144"/>
              <a:gd name="T19" fmla="*/ 611995538 h 144"/>
              <a:gd name="T20" fmla="*/ 240400738 w 144"/>
              <a:gd name="T21" fmla="*/ 531071270 h 144"/>
              <a:gd name="T22" fmla="*/ 150250182 w 144"/>
              <a:gd name="T23" fmla="*/ 515897548 h 144"/>
              <a:gd name="T24" fmla="*/ 165275647 w 144"/>
              <a:gd name="T25" fmla="*/ 429913124 h 144"/>
              <a:gd name="T26" fmla="*/ 100167534 w 144"/>
              <a:gd name="T27" fmla="*/ 364162578 h 144"/>
              <a:gd name="T28" fmla="*/ 165275647 w 144"/>
              <a:gd name="T29" fmla="*/ 298412032 h 144"/>
              <a:gd name="T30" fmla="*/ 150250182 w 144"/>
              <a:gd name="T31" fmla="*/ 212427608 h 144"/>
              <a:gd name="T32" fmla="*/ 240400738 w 144"/>
              <a:gd name="T33" fmla="*/ 197253886 h 144"/>
              <a:gd name="T34" fmla="*/ 280466409 w 144"/>
              <a:gd name="T35" fmla="*/ 116329619 h 144"/>
              <a:gd name="T36" fmla="*/ 360599988 w 144"/>
              <a:gd name="T37" fmla="*/ 156792877 h 144"/>
              <a:gd name="T38" fmla="*/ 440733568 w 144"/>
              <a:gd name="T39" fmla="*/ 116329619 h 144"/>
              <a:gd name="T40" fmla="*/ 480799238 w 144"/>
              <a:gd name="T41" fmla="*/ 197253886 h 144"/>
              <a:gd name="T42" fmla="*/ 570949795 w 144"/>
              <a:gd name="T43" fmla="*/ 212427608 h 144"/>
              <a:gd name="T44" fmla="*/ 555924329 w 144"/>
              <a:gd name="T45" fmla="*/ 298412032 h 144"/>
              <a:gd name="T46" fmla="*/ 621032443 w 144"/>
              <a:gd name="T47" fmla="*/ 364162578 h 144"/>
              <a:gd name="T48" fmla="*/ 555924329 w 144"/>
              <a:gd name="T49" fmla="*/ 429913124 h 144"/>
              <a:gd name="T50" fmla="*/ 570949795 w 144"/>
              <a:gd name="T51" fmla="*/ 515897548 h 14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114" y="102"/>
                </a:moveTo>
                <a:cubicBezTo>
                  <a:pt x="96" y="105"/>
                  <a:pt x="96" y="105"/>
                  <a:pt x="96" y="105"/>
                </a:cubicBezTo>
                <a:cubicBezTo>
                  <a:pt x="88" y="121"/>
                  <a:pt x="88" y="121"/>
                  <a:pt x="88" y="121"/>
                </a:cubicBezTo>
                <a:cubicBezTo>
                  <a:pt x="72" y="113"/>
                  <a:pt x="72" y="113"/>
                  <a:pt x="72" y="113"/>
                </a:cubicBezTo>
                <a:cubicBezTo>
                  <a:pt x="56" y="121"/>
                  <a:pt x="56" y="121"/>
                  <a:pt x="56" y="121"/>
                </a:cubicBezTo>
                <a:cubicBezTo>
                  <a:pt x="48" y="105"/>
                  <a:pt x="48" y="105"/>
                  <a:pt x="48" y="105"/>
                </a:cubicBezTo>
                <a:cubicBezTo>
                  <a:pt x="30" y="102"/>
                  <a:pt x="30" y="102"/>
                  <a:pt x="30" y="102"/>
                </a:cubicBezTo>
                <a:cubicBezTo>
                  <a:pt x="33" y="85"/>
                  <a:pt x="33" y="85"/>
                  <a:pt x="33" y="85"/>
                </a:cubicBezTo>
                <a:cubicBezTo>
                  <a:pt x="20" y="72"/>
                  <a:pt x="20" y="72"/>
                  <a:pt x="20" y="72"/>
                </a:cubicBezTo>
                <a:cubicBezTo>
                  <a:pt x="33" y="59"/>
                  <a:pt x="33" y="59"/>
                  <a:pt x="33" y="59"/>
                </a:cubicBezTo>
                <a:cubicBezTo>
                  <a:pt x="30" y="42"/>
                  <a:pt x="30" y="42"/>
                  <a:pt x="30" y="42"/>
                </a:cubicBezTo>
                <a:cubicBezTo>
                  <a:pt x="48" y="39"/>
                  <a:pt x="48" y="39"/>
                  <a:pt x="48" y="39"/>
                </a:cubicBezTo>
                <a:cubicBezTo>
                  <a:pt x="56" y="23"/>
                  <a:pt x="56" y="23"/>
                  <a:pt x="56" y="23"/>
                </a:cubicBezTo>
                <a:cubicBezTo>
                  <a:pt x="72" y="31"/>
                  <a:pt x="72" y="31"/>
                  <a:pt x="72" y="31"/>
                </a:cubicBezTo>
                <a:cubicBezTo>
                  <a:pt x="88" y="23"/>
                  <a:pt x="88" y="23"/>
                  <a:pt x="88" y="23"/>
                </a:cubicBezTo>
                <a:cubicBezTo>
                  <a:pt x="96" y="39"/>
                  <a:pt x="96" y="39"/>
                  <a:pt x="96" y="39"/>
                </a:cubicBezTo>
                <a:cubicBezTo>
                  <a:pt x="114" y="42"/>
                  <a:pt x="114" y="42"/>
                  <a:pt x="114" y="42"/>
                </a:cubicBezTo>
                <a:cubicBezTo>
                  <a:pt x="111" y="59"/>
                  <a:pt x="111" y="59"/>
                  <a:pt x="111" y="59"/>
                </a:cubicBezTo>
                <a:cubicBezTo>
                  <a:pt x="124" y="72"/>
                  <a:pt x="124" y="72"/>
                  <a:pt x="124" y="72"/>
                </a:cubicBezTo>
                <a:cubicBezTo>
                  <a:pt x="111" y="85"/>
                  <a:pt x="111" y="85"/>
                  <a:pt x="111" y="85"/>
                </a:cubicBezTo>
                <a:lnTo>
                  <a:pt x="114" y="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4" name="Freeform 119"/>
          <p:cNvSpPr>
            <a:spLocks/>
          </p:cNvSpPr>
          <p:nvPr/>
        </p:nvSpPr>
        <p:spPr bwMode="auto">
          <a:xfrm>
            <a:off x="8030634" y="4749800"/>
            <a:ext cx="169333" cy="135467"/>
          </a:xfrm>
          <a:custGeom>
            <a:avLst/>
            <a:gdLst>
              <a:gd name="T0" fmla="*/ 143964526 w 57"/>
              <a:gd name="T1" fmla="*/ 10196124 h 45"/>
              <a:gd name="T2" fmla="*/ 14892421 w 57"/>
              <a:gd name="T3" fmla="*/ 183512178 h 45"/>
              <a:gd name="T4" fmla="*/ 24820702 w 57"/>
              <a:gd name="T5" fmla="*/ 229390222 h 45"/>
              <a:gd name="T6" fmla="*/ 173749368 w 57"/>
              <a:gd name="T7" fmla="*/ 45878044 h 45"/>
              <a:gd name="T8" fmla="*/ 282964912 w 57"/>
              <a:gd name="T9" fmla="*/ 71366098 h 45"/>
              <a:gd name="T10" fmla="*/ 143964526 w 57"/>
              <a:gd name="T11" fmla="*/ 10196124 h 4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7" h="45">
                <a:moveTo>
                  <a:pt x="29" y="2"/>
                </a:moveTo>
                <a:cubicBezTo>
                  <a:pt x="12" y="4"/>
                  <a:pt x="0" y="19"/>
                  <a:pt x="3" y="36"/>
                </a:cubicBezTo>
                <a:cubicBezTo>
                  <a:pt x="3" y="39"/>
                  <a:pt x="4" y="42"/>
                  <a:pt x="5" y="45"/>
                </a:cubicBezTo>
                <a:cubicBezTo>
                  <a:pt x="5" y="27"/>
                  <a:pt x="18" y="12"/>
                  <a:pt x="35" y="9"/>
                </a:cubicBezTo>
                <a:cubicBezTo>
                  <a:pt x="43" y="8"/>
                  <a:pt x="51" y="10"/>
                  <a:pt x="57" y="14"/>
                </a:cubicBezTo>
                <a:cubicBezTo>
                  <a:pt x="51" y="5"/>
                  <a:pt x="40" y="0"/>
                  <a:pt x="29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5" name="Freeform 120"/>
          <p:cNvSpPr>
            <a:spLocks noEditPoints="1"/>
          </p:cNvSpPr>
          <p:nvPr/>
        </p:nvSpPr>
        <p:spPr bwMode="auto">
          <a:xfrm>
            <a:off x="8765117" y="4631267"/>
            <a:ext cx="429683" cy="431800"/>
          </a:xfrm>
          <a:custGeom>
            <a:avLst/>
            <a:gdLst>
              <a:gd name="T0" fmla="*/ 360599988 w 144"/>
              <a:gd name="T1" fmla="*/ 0 h 144"/>
              <a:gd name="T2" fmla="*/ 0 w 144"/>
              <a:gd name="T3" fmla="*/ 364162578 h 144"/>
              <a:gd name="T4" fmla="*/ 360599988 w 144"/>
              <a:gd name="T5" fmla="*/ 728325156 h 144"/>
              <a:gd name="T6" fmla="*/ 721199977 w 144"/>
              <a:gd name="T7" fmla="*/ 364162578 h 144"/>
              <a:gd name="T8" fmla="*/ 360599988 w 144"/>
              <a:gd name="T9" fmla="*/ 0 h 144"/>
              <a:gd name="T10" fmla="*/ 570949795 w 144"/>
              <a:gd name="T11" fmla="*/ 515897548 h 144"/>
              <a:gd name="T12" fmla="*/ 150250182 w 144"/>
              <a:gd name="T13" fmla="*/ 515897548 h 144"/>
              <a:gd name="T14" fmla="*/ 150250182 w 144"/>
              <a:gd name="T15" fmla="*/ 313583505 h 144"/>
              <a:gd name="T16" fmla="*/ 295491875 w 144"/>
              <a:gd name="T17" fmla="*/ 414741651 h 144"/>
              <a:gd name="T18" fmla="*/ 360599988 w 144"/>
              <a:gd name="T19" fmla="*/ 434971031 h 144"/>
              <a:gd name="T20" fmla="*/ 425708102 w 144"/>
              <a:gd name="T21" fmla="*/ 414741651 h 144"/>
              <a:gd name="T22" fmla="*/ 570949795 w 144"/>
              <a:gd name="T23" fmla="*/ 313583505 h 144"/>
              <a:gd name="T24" fmla="*/ 570949795 w 144"/>
              <a:gd name="T25" fmla="*/ 515897548 h 144"/>
              <a:gd name="T26" fmla="*/ 570949795 w 144"/>
              <a:gd name="T27" fmla="*/ 252890867 h 144"/>
              <a:gd name="T28" fmla="*/ 395659408 w 144"/>
              <a:gd name="T29" fmla="*/ 374278393 h 144"/>
              <a:gd name="T30" fmla="*/ 360599988 w 144"/>
              <a:gd name="T31" fmla="*/ 384394207 h 144"/>
              <a:gd name="T32" fmla="*/ 325540568 w 144"/>
              <a:gd name="T33" fmla="*/ 374278393 h 144"/>
              <a:gd name="T34" fmla="*/ 150250182 w 144"/>
              <a:gd name="T35" fmla="*/ 252890867 h 144"/>
              <a:gd name="T36" fmla="*/ 150250182 w 144"/>
              <a:gd name="T37" fmla="*/ 212427608 h 144"/>
              <a:gd name="T38" fmla="*/ 570949795 w 144"/>
              <a:gd name="T39" fmla="*/ 212427608 h 144"/>
              <a:gd name="T40" fmla="*/ 570949795 w 144"/>
              <a:gd name="T41" fmla="*/ 252890867 h 14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114" y="102"/>
                </a:moveTo>
                <a:cubicBezTo>
                  <a:pt x="30" y="102"/>
                  <a:pt x="30" y="102"/>
                  <a:pt x="30" y="102"/>
                </a:cubicBezTo>
                <a:cubicBezTo>
                  <a:pt x="30" y="62"/>
                  <a:pt x="30" y="62"/>
                  <a:pt x="30" y="62"/>
                </a:cubicBezTo>
                <a:cubicBezTo>
                  <a:pt x="59" y="82"/>
                  <a:pt x="59" y="82"/>
                  <a:pt x="59" y="82"/>
                </a:cubicBezTo>
                <a:cubicBezTo>
                  <a:pt x="63" y="85"/>
                  <a:pt x="68" y="86"/>
                  <a:pt x="72" y="86"/>
                </a:cubicBezTo>
                <a:cubicBezTo>
                  <a:pt x="76" y="86"/>
                  <a:pt x="81" y="85"/>
                  <a:pt x="85" y="82"/>
                </a:cubicBezTo>
                <a:cubicBezTo>
                  <a:pt x="114" y="62"/>
                  <a:pt x="114" y="62"/>
                  <a:pt x="114" y="62"/>
                </a:cubicBezTo>
                <a:lnTo>
                  <a:pt x="114" y="102"/>
                </a:lnTo>
                <a:close/>
                <a:moveTo>
                  <a:pt x="114" y="50"/>
                </a:moveTo>
                <a:cubicBezTo>
                  <a:pt x="79" y="74"/>
                  <a:pt x="79" y="74"/>
                  <a:pt x="79" y="74"/>
                </a:cubicBezTo>
                <a:cubicBezTo>
                  <a:pt x="77" y="76"/>
                  <a:pt x="75" y="76"/>
                  <a:pt x="72" y="76"/>
                </a:cubicBezTo>
                <a:cubicBezTo>
                  <a:pt x="69" y="76"/>
                  <a:pt x="67" y="76"/>
                  <a:pt x="65" y="74"/>
                </a:cubicBezTo>
                <a:cubicBezTo>
                  <a:pt x="30" y="50"/>
                  <a:pt x="30" y="50"/>
                  <a:pt x="30" y="50"/>
                </a:cubicBezTo>
                <a:cubicBezTo>
                  <a:pt x="30" y="42"/>
                  <a:pt x="30" y="42"/>
                  <a:pt x="30" y="42"/>
                </a:cubicBezTo>
                <a:cubicBezTo>
                  <a:pt x="114" y="42"/>
                  <a:pt x="114" y="42"/>
                  <a:pt x="114" y="42"/>
                </a:cubicBezTo>
                <a:lnTo>
                  <a:pt x="114" y="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6" name="Freeform 121"/>
          <p:cNvSpPr>
            <a:spLocks noEditPoints="1"/>
          </p:cNvSpPr>
          <p:nvPr/>
        </p:nvSpPr>
        <p:spPr bwMode="auto">
          <a:xfrm>
            <a:off x="9652001" y="4631267"/>
            <a:ext cx="429684" cy="431800"/>
          </a:xfrm>
          <a:custGeom>
            <a:avLst/>
            <a:gdLst>
              <a:gd name="T0" fmla="*/ 435726431 w 144"/>
              <a:gd name="T1" fmla="*/ 505781733 h 144"/>
              <a:gd name="T2" fmla="*/ 310518304 w 144"/>
              <a:gd name="T3" fmla="*/ 379336300 h 144"/>
              <a:gd name="T4" fmla="*/ 595994087 w 144"/>
              <a:gd name="T5" fmla="*/ 91040082 h 144"/>
              <a:gd name="T6" fmla="*/ 360601107 w 144"/>
              <a:gd name="T7" fmla="*/ 0 h 144"/>
              <a:gd name="T8" fmla="*/ 0 w 144"/>
              <a:gd name="T9" fmla="*/ 364162578 h 144"/>
              <a:gd name="T10" fmla="*/ 360601107 w 144"/>
              <a:gd name="T11" fmla="*/ 728325156 h 144"/>
              <a:gd name="T12" fmla="*/ 721202215 w 144"/>
              <a:gd name="T13" fmla="*/ 364162578 h 144"/>
              <a:gd name="T14" fmla="*/ 696159694 w 144"/>
              <a:gd name="T15" fmla="*/ 237717145 h 144"/>
              <a:gd name="T16" fmla="*/ 435726431 w 144"/>
              <a:gd name="T17" fmla="*/ 505781733 h 144"/>
              <a:gd name="T18" fmla="*/ 240401484 w 144"/>
              <a:gd name="T19" fmla="*/ 571532279 h 144"/>
              <a:gd name="T20" fmla="*/ 285475783 w 144"/>
              <a:gd name="T21" fmla="*/ 399567929 h 144"/>
              <a:gd name="T22" fmla="*/ 410683911 w 144"/>
              <a:gd name="T23" fmla="*/ 526013363 h 144"/>
              <a:gd name="T24" fmla="*/ 240401484 w 144"/>
              <a:gd name="T25" fmla="*/ 571532279 h 14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44" h="144">
                <a:moveTo>
                  <a:pt x="87" y="100"/>
                </a:moveTo>
                <a:cubicBezTo>
                  <a:pt x="62" y="75"/>
                  <a:pt x="62" y="75"/>
                  <a:pt x="62" y="75"/>
                </a:cubicBezTo>
                <a:cubicBezTo>
                  <a:pt x="119" y="18"/>
                  <a:pt x="119" y="18"/>
                  <a:pt x="119" y="18"/>
                </a:cubicBezTo>
                <a:cubicBezTo>
                  <a:pt x="107" y="7"/>
                  <a:pt x="90" y="0"/>
                  <a:pt x="72" y="0"/>
                </a:cubicBez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63"/>
                  <a:pt x="142" y="55"/>
                  <a:pt x="139" y="47"/>
                </a:cubicBezTo>
                <a:lnTo>
                  <a:pt x="87" y="100"/>
                </a:lnTo>
                <a:close/>
                <a:moveTo>
                  <a:pt x="48" y="113"/>
                </a:moveTo>
                <a:cubicBezTo>
                  <a:pt x="57" y="79"/>
                  <a:pt x="57" y="79"/>
                  <a:pt x="57" y="79"/>
                </a:cubicBezTo>
                <a:cubicBezTo>
                  <a:pt x="82" y="104"/>
                  <a:pt x="82" y="104"/>
                  <a:pt x="82" y="104"/>
                </a:cubicBezTo>
                <a:lnTo>
                  <a:pt x="48" y="1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7" name="Freeform 122"/>
          <p:cNvSpPr>
            <a:spLocks/>
          </p:cNvSpPr>
          <p:nvPr/>
        </p:nvSpPr>
        <p:spPr bwMode="auto">
          <a:xfrm>
            <a:off x="10513484" y="4631267"/>
            <a:ext cx="431800" cy="431800"/>
          </a:xfrm>
          <a:custGeom>
            <a:avLst/>
            <a:gdLst>
              <a:gd name="T0" fmla="*/ 354046764 w 144"/>
              <a:gd name="T1" fmla="*/ 551300650 h 144"/>
              <a:gd name="T2" fmla="*/ 354046764 w 144"/>
              <a:gd name="T3" fmla="*/ 551300650 h 144"/>
              <a:gd name="T4" fmla="*/ 141619155 w 144"/>
              <a:gd name="T5" fmla="*/ 338873042 h 144"/>
              <a:gd name="T6" fmla="*/ 237717145 w 144"/>
              <a:gd name="T7" fmla="*/ 242775052 h 144"/>
              <a:gd name="T8" fmla="*/ 354046764 w 144"/>
              <a:gd name="T9" fmla="*/ 359104671 h 144"/>
              <a:gd name="T10" fmla="*/ 611995538 w 144"/>
              <a:gd name="T11" fmla="*/ 101155897 h 144"/>
              <a:gd name="T12" fmla="*/ 364162578 w 144"/>
              <a:gd name="T13" fmla="*/ 0 h 144"/>
              <a:gd name="T14" fmla="*/ 0 w 144"/>
              <a:gd name="T15" fmla="*/ 364162578 h 144"/>
              <a:gd name="T16" fmla="*/ 364162578 w 144"/>
              <a:gd name="T17" fmla="*/ 728325156 h 144"/>
              <a:gd name="T18" fmla="*/ 728325156 w 144"/>
              <a:gd name="T19" fmla="*/ 364162578 h 144"/>
              <a:gd name="T20" fmla="*/ 692919805 w 144"/>
              <a:gd name="T21" fmla="*/ 212427608 h 144"/>
              <a:gd name="T22" fmla="*/ 354046764 w 144"/>
              <a:gd name="T23" fmla="*/ 551300650 h 1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4" h="144">
                <a:moveTo>
                  <a:pt x="70" y="109"/>
                </a:moveTo>
                <a:cubicBezTo>
                  <a:pt x="70" y="109"/>
                  <a:pt x="70" y="109"/>
                  <a:pt x="70" y="109"/>
                </a:cubicBezTo>
                <a:cubicBezTo>
                  <a:pt x="28" y="67"/>
                  <a:pt x="28" y="67"/>
                  <a:pt x="28" y="67"/>
                </a:cubicBezTo>
                <a:cubicBezTo>
                  <a:pt x="47" y="48"/>
                  <a:pt x="47" y="48"/>
                  <a:pt x="47" y="48"/>
                </a:cubicBezTo>
                <a:cubicBezTo>
                  <a:pt x="70" y="71"/>
                  <a:pt x="70" y="71"/>
                  <a:pt x="70" y="71"/>
                </a:cubicBezTo>
                <a:cubicBezTo>
                  <a:pt x="121" y="20"/>
                  <a:pt x="121" y="20"/>
                  <a:pt x="121" y="20"/>
                </a:cubicBezTo>
                <a:cubicBezTo>
                  <a:pt x="108" y="7"/>
                  <a:pt x="91" y="0"/>
                  <a:pt x="72" y="0"/>
                </a:cubicBez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61"/>
                  <a:pt x="142" y="51"/>
                  <a:pt x="137" y="42"/>
                </a:cubicBezTo>
                <a:lnTo>
                  <a:pt x="70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8" name="Freeform 123"/>
          <p:cNvSpPr>
            <a:spLocks noEditPoints="1"/>
          </p:cNvSpPr>
          <p:nvPr/>
        </p:nvSpPr>
        <p:spPr bwMode="auto">
          <a:xfrm>
            <a:off x="1153584" y="5397500"/>
            <a:ext cx="431800" cy="431800"/>
          </a:xfrm>
          <a:custGeom>
            <a:avLst/>
            <a:gdLst>
              <a:gd name="T0" fmla="*/ 364162578 w 144"/>
              <a:gd name="T1" fmla="*/ 0 h 144"/>
              <a:gd name="T2" fmla="*/ 0 w 144"/>
              <a:gd name="T3" fmla="*/ 364162578 h 144"/>
              <a:gd name="T4" fmla="*/ 364162578 w 144"/>
              <a:gd name="T5" fmla="*/ 728325156 h 144"/>
              <a:gd name="T6" fmla="*/ 728325156 w 144"/>
              <a:gd name="T7" fmla="*/ 364162578 h 144"/>
              <a:gd name="T8" fmla="*/ 364162578 w 144"/>
              <a:gd name="T9" fmla="*/ 0 h 144"/>
              <a:gd name="T10" fmla="*/ 465318475 w 144"/>
              <a:gd name="T11" fmla="*/ 576590186 h 144"/>
              <a:gd name="T12" fmla="*/ 318641413 w 144"/>
              <a:gd name="T13" fmla="*/ 450144753 h 144"/>
              <a:gd name="T14" fmla="*/ 217485516 w 144"/>
              <a:gd name="T15" fmla="*/ 450144753 h 144"/>
              <a:gd name="T16" fmla="*/ 217485516 w 144"/>
              <a:gd name="T17" fmla="*/ 278180403 h 144"/>
              <a:gd name="T18" fmla="*/ 318641413 w 144"/>
              <a:gd name="T19" fmla="*/ 278180403 h 144"/>
              <a:gd name="T20" fmla="*/ 465318475 w 144"/>
              <a:gd name="T21" fmla="*/ 151734970 h 144"/>
              <a:gd name="T22" fmla="*/ 465318475 w 144"/>
              <a:gd name="T23" fmla="*/ 576590186 h 1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92" y="114"/>
                </a:moveTo>
                <a:cubicBezTo>
                  <a:pt x="63" y="89"/>
                  <a:pt x="63" y="89"/>
                  <a:pt x="63" y="89"/>
                </a:cubicBezTo>
                <a:cubicBezTo>
                  <a:pt x="43" y="89"/>
                  <a:pt x="43" y="89"/>
                  <a:pt x="43" y="89"/>
                </a:cubicBezTo>
                <a:cubicBezTo>
                  <a:pt x="43" y="55"/>
                  <a:pt x="43" y="55"/>
                  <a:pt x="43" y="55"/>
                </a:cubicBezTo>
                <a:cubicBezTo>
                  <a:pt x="63" y="55"/>
                  <a:pt x="63" y="55"/>
                  <a:pt x="63" y="55"/>
                </a:cubicBezTo>
                <a:cubicBezTo>
                  <a:pt x="92" y="30"/>
                  <a:pt x="92" y="30"/>
                  <a:pt x="92" y="30"/>
                </a:cubicBezTo>
                <a:lnTo>
                  <a:pt x="92" y="1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89" name="Freeform 124"/>
          <p:cNvSpPr>
            <a:spLocks noEditPoints="1"/>
          </p:cNvSpPr>
          <p:nvPr/>
        </p:nvSpPr>
        <p:spPr bwMode="auto">
          <a:xfrm>
            <a:off x="2004484" y="5397500"/>
            <a:ext cx="431800" cy="431800"/>
          </a:xfrm>
          <a:custGeom>
            <a:avLst/>
            <a:gdLst>
              <a:gd name="T0" fmla="*/ 364162578 w 144"/>
              <a:gd name="T1" fmla="*/ 0 h 144"/>
              <a:gd name="T2" fmla="*/ 0 w 144"/>
              <a:gd name="T3" fmla="*/ 364162578 h 144"/>
              <a:gd name="T4" fmla="*/ 364162578 w 144"/>
              <a:gd name="T5" fmla="*/ 728325156 h 144"/>
              <a:gd name="T6" fmla="*/ 728325156 w 144"/>
              <a:gd name="T7" fmla="*/ 364162578 h 144"/>
              <a:gd name="T8" fmla="*/ 364162578 w 144"/>
              <a:gd name="T9" fmla="*/ 0 h 144"/>
              <a:gd name="T10" fmla="*/ 333815134 w 144"/>
              <a:gd name="T11" fmla="*/ 328757227 h 144"/>
              <a:gd name="T12" fmla="*/ 318641413 w 144"/>
              <a:gd name="T13" fmla="*/ 374278393 h 144"/>
              <a:gd name="T14" fmla="*/ 318641413 w 144"/>
              <a:gd name="T15" fmla="*/ 611995538 h 144"/>
              <a:gd name="T16" fmla="*/ 293354125 w 144"/>
              <a:gd name="T17" fmla="*/ 642342981 h 144"/>
              <a:gd name="T18" fmla="*/ 268064589 w 144"/>
              <a:gd name="T19" fmla="*/ 611995538 h 144"/>
              <a:gd name="T20" fmla="*/ 268064589 w 144"/>
              <a:gd name="T21" fmla="*/ 374278393 h 144"/>
              <a:gd name="T22" fmla="*/ 247832959 w 144"/>
              <a:gd name="T23" fmla="*/ 328757227 h 144"/>
              <a:gd name="T24" fmla="*/ 247832959 w 144"/>
              <a:gd name="T25" fmla="*/ 328757227 h 144"/>
              <a:gd name="T26" fmla="*/ 222543423 w 144"/>
              <a:gd name="T27" fmla="*/ 268064589 h 144"/>
              <a:gd name="T28" fmla="*/ 232659238 w 144"/>
              <a:gd name="T29" fmla="*/ 131503341 h 144"/>
              <a:gd name="T30" fmla="*/ 257948774 w 144"/>
              <a:gd name="T31" fmla="*/ 131503341 h 144"/>
              <a:gd name="T32" fmla="*/ 257948774 w 144"/>
              <a:gd name="T33" fmla="*/ 247832959 h 144"/>
              <a:gd name="T34" fmla="*/ 268064589 w 144"/>
              <a:gd name="T35" fmla="*/ 257948774 h 144"/>
              <a:gd name="T36" fmla="*/ 278180403 w 144"/>
              <a:gd name="T37" fmla="*/ 247832959 h 144"/>
              <a:gd name="T38" fmla="*/ 278180403 w 144"/>
              <a:gd name="T39" fmla="*/ 131503341 h 144"/>
              <a:gd name="T40" fmla="*/ 308525598 w 144"/>
              <a:gd name="T41" fmla="*/ 131503341 h 144"/>
              <a:gd name="T42" fmla="*/ 308525598 w 144"/>
              <a:gd name="T43" fmla="*/ 247832959 h 144"/>
              <a:gd name="T44" fmla="*/ 318641413 w 144"/>
              <a:gd name="T45" fmla="*/ 257948774 h 144"/>
              <a:gd name="T46" fmla="*/ 328757227 w 144"/>
              <a:gd name="T47" fmla="*/ 247832959 h 144"/>
              <a:gd name="T48" fmla="*/ 328757227 w 144"/>
              <a:gd name="T49" fmla="*/ 131503341 h 144"/>
              <a:gd name="T50" fmla="*/ 359104671 w 144"/>
              <a:gd name="T51" fmla="*/ 131503341 h 144"/>
              <a:gd name="T52" fmla="*/ 364162578 w 144"/>
              <a:gd name="T53" fmla="*/ 268064589 h 144"/>
              <a:gd name="T54" fmla="*/ 333815134 w 144"/>
              <a:gd name="T55" fmla="*/ 328757227 h 144"/>
              <a:gd name="T56" fmla="*/ 429913124 w 144"/>
              <a:gd name="T57" fmla="*/ 642342981 h 144"/>
              <a:gd name="T58" fmla="*/ 354046764 w 144"/>
              <a:gd name="T59" fmla="*/ 536129177 h 144"/>
              <a:gd name="T60" fmla="*/ 389452115 w 144"/>
              <a:gd name="T61" fmla="*/ 445086846 h 144"/>
              <a:gd name="T62" fmla="*/ 404625836 w 144"/>
              <a:gd name="T63" fmla="*/ 384394207 h 144"/>
              <a:gd name="T64" fmla="*/ 404625836 w 144"/>
              <a:gd name="T65" fmla="*/ 151734970 h 144"/>
              <a:gd name="T66" fmla="*/ 429913124 w 144"/>
              <a:gd name="T67" fmla="*/ 121387526 h 144"/>
              <a:gd name="T68" fmla="*/ 455202660 w 144"/>
              <a:gd name="T69" fmla="*/ 151734970 h 144"/>
              <a:gd name="T70" fmla="*/ 455202660 w 144"/>
              <a:gd name="T71" fmla="*/ 384394207 h 144"/>
              <a:gd name="T72" fmla="*/ 470376382 w 144"/>
              <a:gd name="T73" fmla="*/ 445086846 h 144"/>
              <a:gd name="T74" fmla="*/ 505781733 w 144"/>
              <a:gd name="T75" fmla="*/ 536129177 h 144"/>
              <a:gd name="T76" fmla="*/ 429913124 w 144"/>
              <a:gd name="T77" fmla="*/ 642342981 h 14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66" y="65"/>
                </a:moveTo>
                <a:cubicBezTo>
                  <a:pt x="66" y="65"/>
                  <a:pt x="63" y="66"/>
                  <a:pt x="63" y="74"/>
                </a:cubicBezTo>
                <a:cubicBezTo>
                  <a:pt x="63" y="121"/>
                  <a:pt x="63" y="121"/>
                  <a:pt x="63" y="121"/>
                </a:cubicBezTo>
                <a:cubicBezTo>
                  <a:pt x="63" y="124"/>
                  <a:pt x="61" y="127"/>
                  <a:pt x="58" y="127"/>
                </a:cubicBezTo>
                <a:cubicBezTo>
                  <a:pt x="55" y="127"/>
                  <a:pt x="53" y="124"/>
                  <a:pt x="53" y="121"/>
                </a:cubicBezTo>
                <a:cubicBezTo>
                  <a:pt x="53" y="74"/>
                  <a:pt x="53" y="74"/>
                  <a:pt x="53" y="74"/>
                </a:cubicBezTo>
                <a:cubicBezTo>
                  <a:pt x="53" y="66"/>
                  <a:pt x="49" y="65"/>
                  <a:pt x="49" y="65"/>
                </a:cubicBezTo>
                <a:cubicBezTo>
                  <a:pt x="49" y="65"/>
                  <a:pt x="49" y="65"/>
                  <a:pt x="49" y="65"/>
                </a:cubicBezTo>
                <a:cubicBezTo>
                  <a:pt x="45" y="63"/>
                  <a:pt x="44" y="59"/>
                  <a:pt x="44" y="53"/>
                </a:cubicBezTo>
                <a:cubicBezTo>
                  <a:pt x="46" y="26"/>
                  <a:pt x="46" y="26"/>
                  <a:pt x="46" y="26"/>
                </a:cubicBezTo>
                <a:cubicBezTo>
                  <a:pt x="51" y="26"/>
                  <a:pt x="51" y="26"/>
                  <a:pt x="51" y="26"/>
                </a:cubicBezTo>
                <a:cubicBezTo>
                  <a:pt x="51" y="49"/>
                  <a:pt x="51" y="49"/>
                  <a:pt x="51" y="49"/>
                </a:cubicBezTo>
                <a:cubicBezTo>
                  <a:pt x="51" y="50"/>
                  <a:pt x="52" y="51"/>
                  <a:pt x="53" y="51"/>
                </a:cubicBezTo>
                <a:cubicBezTo>
                  <a:pt x="54" y="51"/>
                  <a:pt x="55" y="50"/>
                  <a:pt x="55" y="49"/>
                </a:cubicBezTo>
                <a:cubicBezTo>
                  <a:pt x="55" y="26"/>
                  <a:pt x="55" y="26"/>
                  <a:pt x="55" y="26"/>
                </a:cubicBezTo>
                <a:cubicBezTo>
                  <a:pt x="61" y="26"/>
                  <a:pt x="61" y="26"/>
                  <a:pt x="61" y="26"/>
                </a:cubicBezTo>
                <a:cubicBezTo>
                  <a:pt x="61" y="49"/>
                  <a:pt x="61" y="49"/>
                  <a:pt x="61" y="49"/>
                </a:cubicBezTo>
                <a:cubicBezTo>
                  <a:pt x="61" y="50"/>
                  <a:pt x="62" y="51"/>
                  <a:pt x="63" y="51"/>
                </a:cubicBezTo>
                <a:cubicBezTo>
                  <a:pt x="64" y="51"/>
                  <a:pt x="65" y="50"/>
                  <a:pt x="65" y="49"/>
                </a:cubicBezTo>
                <a:cubicBezTo>
                  <a:pt x="65" y="26"/>
                  <a:pt x="65" y="26"/>
                  <a:pt x="65" y="26"/>
                </a:cubicBezTo>
                <a:cubicBezTo>
                  <a:pt x="71" y="26"/>
                  <a:pt x="71" y="26"/>
                  <a:pt x="71" y="26"/>
                </a:cubicBezTo>
                <a:cubicBezTo>
                  <a:pt x="72" y="53"/>
                  <a:pt x="72" y="53"/>
                  <a:pt x="72" y="53"/>
                </a:cubicBezTo>
                <a:cubicBezTo>
                  <a:pt x="72" y="59"/>
                  <a:pt x="70" y="63"/>
                  <a:pt x="66" y="65"/>
                </a:cubicBezTo>
                <a:close/>
                <a:moveTo>
                  <a:pt x="85" y="127"/>
                </a:moveTo>
                <a:cubicBezTo>
                  <a:pt x="76" y="127"/>
                  <a:pt x="70" y="117"/>
                  <a:pt x="70" y="106"/>
                </a:cubicBezTo>
                <a:cubicBezTo>
                  <a:pt x="70" y="93"/>
                  <a:pt x="76" y="90"/>
                  <a:pt x="77" y="88"/>
                </a:cubicBezTo>
                <a:cubicBezTo>
                  <a:pt x="78" y="86"/>
                  <a:pt x="80" y="85"/>
                  <a:pt x="80" y="76"/>
                </a:cubicBezTo>
                <a:cubicBezTo>
                  <a:pt x="80" y="30"/>
                  <a:pt x="80" y="30"/>
                  <a:pt x="80" y="30"/>
                </a:cubicBezTo>
                <a:cubicBezTo>
                  <a:pt x="80" y="27"/>
                  <a:pt x="82" y="24"/>
                  <a:pt x="85" y="24"/>
                </a:cubicBezTo>
                <a:cubicBezTo>
                  <a:pt x="88" y="24"/>
                  <a:pt x="90" y="27"/>
                  <a:pt x="90" y="30"/>
                </a:cubicBezTo>
                <a:cubicBezTo>
                  <a:pt x="90" y="76"/>
                  <a:pt x="90" y="76"/>
                  <a:pt x="90" y="76"/>
                </a:cubicBezTo>
                <a:cubicBezTo>
                  <a:pt x="90" y="85"/>
                  <a:pt x="92" y="85"/>
                  <a:pt x="93" y="88"/>
                </a:cubicBezTo>
                <a:cubicBezTo>
                  <a:pt x="95" y="90"/>
                  <a:pt x="100" y="93"/>
                  <a:pt x="100" y="106"/>
                </a:cubicBezTo>
                <a:cubicBezTo>
                  <a:pt x="100" y="117"/>
                  <a:pt x="94" y="127"/>
                  <a:pt x="85" y="12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90" name="Oval 125"/>
          <p:cNvSpPr>
            <a:spLocks noChangeArrowheads="1"/>
          </p:cNvSpPr>
          <p:nvPr/>
        </p:nvSpPr>
        <p:spPr bwMode="auto">
          <a:xfrm>
            <a:off x="3043767" y="5562601"/>
            <a:ext cx="31751" cy="31751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491" name="Freeform 126"/>
          <p:cNvSpPr>
            <a:spLocks noEditPoints="1"/>
          </p:cNvSpPr>
          <p:nvPr/>
        </p:nvSpPr>
        <p:spPr bwMode="auto">
          <a:xfrm>
            <a:off x="2956985" y="5397500"/>
            <a:ext cx="300567" cy="431800"/>
          </a:xfrm>
          <a:custGeom>
            <a:avLst/>
            <a:gdLst>
              <a:gd name="T0" fmla="*/ 406531445 w 100"/>
              <a:gd name="T1" fmla="*/ 207369701 h 144"/>
              <a:gd name="T2" fmla="*/ 406531445 w 100"/>
              <a:gd name="T3" fmla="*/ 182082414 h 144"/>
              <a:gd name="T4" fmla="*/ 365878301 w 100"/>
              <a:gd name="T5" fmla="*/ 50579073 h 144"/>
              <a:gd name="T6" fmla="*/ 254083280 w 100"/>
              <a:gd name="T7" fmla="*/ 0 h 144"/>
              <a:gd name="T8" fmla="*/ 142286006 w 100"/>
              <a:gd name="T9" fmla="*/ 50579073 h 144"/>
              <a:gd name="T10" fmla="*/ 101632861 w 100"/>
              <a:gd name="T11" fmla="*/ 182082414 h 144"/>
              <a:gd name="T12" fmla="*/ 101632861 w 100"/>
              <a:gd name="T13" fmla="*/ 207369701 h 144"/>
              <a:gd name="T14" fmla="*/ 0 w 100"/>
              <a:gd name="T15" fmla="*/ 207369701 h 144"/>
              <a:gd name="T16" fmla="*/ 0 w 100"/>
              <a:gd name="T17" fmla="*/ 728325156 h 144"/>
              <a:gd name="T18" fmla="*/ 508164306 w 100"/>
              <a:gd name="T19" fmla="*/ 728325156 h 144"/>
              <a:gd name="T20" fmla="*/ 508164306 w 100"/>
              <a:gd name="T21" fmla="*/ 207369701 h 144"/>
              <a:gd name="T22" fmla="*/ 406531445 w 100"/>
              <a:gd name="T23" fmla="*/ 207369701 h 144"/>
              <a:gd name="T24" fmla="*/ 177858071 w 100"/>
              <a:gd name="T25" fmla="*/ 510839641 h 144"/>
              <a:gd name="T26" fmla="*/ 106713941 w 100"/>
              <a:gd name="T27" fmla="*/ 338873042 h 144"/>
              <a:gd name="T28" fmla="*/ 152450419 w 100"/>
              <a:gd name="T29" fmla="*/ 257948774 h 144"/>
              <a:gd name="T30" fmla="*/ 238837788 w 100"/>
              <a:gd name="T31" fmla="*/ 283238310 h 144"/>
              <a:gd name="T32" fmla="*/ 315062997 w 100"/>
              <a:gd name="T33" fmla="*/ 455202660 h 144"/>
              <a:gd name="T34" fmla="*/ 177858071 w 100"/>
              <a:gd name="T35" fmla="*/ 510839641 h 144"/>
              <a:gd name="T36" fmla="*/ 355716142 w 100"/>
              <a:gd name="T37" fmla="*/ 207369701 h 144"/>
              <a:gd name="T38" fmla="*/ 152450419 w 100"/>
              <a:gd name="T39" fmla="*/ 207369701 h 144"/>
              <a:gd name="T40" fmla="*/ 152450419 w 100"/>
              <a:gd name="T41" fmla="*/ 182082414 h 144"/>
              <a:gd name="T42" fmla="*/ 254083280 w 100"/>
              <a:gd name="T43" fmla="*/ 50579073 h 144"/>
              <a:gd name="T44" fmla="*/ 355716142 w 100"/>
              <a:gd name="T45" fmla="*/ 182082414 h 144"/>
              <a:gd name="T46" fmla="*/ 355716142 w 100"/>
              <a:gd name="T47" fmla="*/ 207369701 h 14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0" h="144">
                <a:moveTo>
                  <a:pt x="80" y="41"/>
                </a:moveTo>
                <a:cubicBezTo>
                  <a:pt x="80" y="36"/>
                  <a:pt x="80" y="36"/>
                  <a:pt x="80" y="36"/>
                </a:cubicBezTo>
                <a:cubicBezTo>
                  <a:pt x="80" y="25"/>
                  <a:pt x="77" y="16"/>
                  <a:pt x="72" y="10"/>
                </a:cubicBezTo>
                <a:cubicBezTo>
                  <a:pt x="66" y="4"/>
                  <a:pt x="58" y="0"/>
                  <a:pt x="50" y="0"/>
                </a:cubicBezTo>
                <a:cubicBezTo>
                  <a:pt x="42" y="0"/>
                  <a:pt x="34" y="4"/>
                  <a:pt x="28" y="10"/>
                </a:cubicBezTo>
                <a:cubicBezTo>
                  <a:pt x="23" y="16"/>
                  <a:pt x="20" y="25"/>
                  <a:pt x="20" y="36"/>
                </a:cubicBezTo>
                <a:cubicBezTo>
                  <a:pt x="20" y="41"/>
                  <a:pt x="20" y="41"/>
                  <a:pt x="20" y="41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144"/>
                  <a:pt x="0" y="144"/>
                  <a:pt x="0" y="144"/>
                </a:cubicBezTo>
                <a:cubicBezTo>
                  <a:pt x="100" y="144"/>
                  <a:pt x="100" y="144"/>
                  <a:pt x="100" y="144"/>
                </a:cubicBezTo>
                <a:cubicBezTo>
                  <a:pt x="100" y="41"/>
                  <a:pt x="100" y="41"/>
                  <a:pt x="100" y="41"/>
                </a:cubicBezTo>
                <a:lnTo>
                  <a:pt x="80" y="41"/>
                </a:lnTo>
                <a:close/>
                <a:moveTo>
                  <a:pt x="35" y="101"/>
                </a:moveTo>
                <a:cubicBezTo>
                  <a:pt x="21" y="67"/>
                  <a:pt x="21" y="67"/>
                  <a:pt x="21" y="67"/>
                </a:cubicBezTo>
                <a:cubicBezTo>
                  <a:pt x="30" y="51"/>
                  <a:pt x="30" y="51"/>
                  <a:pt x="30" y="51"/>
                </a:cubicBezTo>
                <a:cubicBezTo>
                  <a:pt x="47" y="56"/>
                  <a:pt x="47" y="56"/>
                  <a:pt x="47" y="56"/>
                </a:cubicBezTo>
                <a:cubicBezTo>
                  <a:pt x="62" y="90"/>
                  <a:pt x="62" y="90"/>
                  <a:pt x="62" y="90"/>
                </a:cubicBezTo>
                <a:lnTo>
                  <a:pt x="35" y="101"/>
                </a:lnTo>
                <a:close/>
                <a:moveTo>
                  <a:pt x="70" y="41"/>
                </a:moveTo>
                <a:cubicBezTo>
                  <a:pt x="30" y="41"/>
                  <a:pt x="30" y="41"/>
                  <a:pt x="30" y="41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19"/>
                  <a:pt x="39" y="10"/>
                  <a:pt x="50" y="10"/>
                </a:cubicBezTo>
                <a:cubicBezTo>
                  <a:pt x="61" y="10"/>
                  <a:pt x="70" y="19"/>
                  <a:pt x="70" y="36"/>
                </a:cubicBezTo>
                <a:lnTo>
                  <a:pt x="70" y="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92" name="Freeform 127"/>
          <p:cNvSpPr>
            <a:spLocks noEditPoints="1"/>
          </p:cNvSpPr>
          <p:nvPr/>
        </p:nvSpPr>
        <p:spPr bwMode="auto">
          <a:xfrm>
            <a:off x="3731684" y="5410200"/>
            <a:ext cx="429683" cy="431800"/>
          </a:xfrm>
          <a:custGeom>
            <a:avLst/>
            <a:gdLst>
              <a:gd name="T0" fmla="*/ 360599988 w 144"/>
              <a:gd name="T1" fmla="*/ 0 h 144"/>
              <a:gd name="T2" fmla="*/ 0 w 144"/>
              <a:gd name="T3" fmla="*/ 364162578 h 144"/>
              <a:gd name="T4" fmla="*/ 360599988 w 144"/>
              <a:gd name="T5" fmla="*/ 728325156 h 144"/>
              <a:gd name="T6" fmla="*/ 721199977 w 144"/>
              <a:gd name="T7" fmla="*/ 364162578 h 144"/>
              <a:gd name="T8" fmla="*/ 360599988 w 144"/>
              <a:gd name="T9" fmla="*/ 0 h 144"/>
              <a:gd name="T10" fmla="*/ 250417715 w 144"/>
              <a:gd name="T11" fmla="*/ 541187084 h 144"/>
              <a:gd name="T12" fmla="*/ 240400738 w 144"/>
              <a:gd name="T13" fmla="*/ 556358557 h 144"/>
              <a:gd name="T14" fmla="*/ 165275647 w 144"/>
              <a:gd name="T15" fmla="*/ 556358557 h 144"/>
              <a:gd name="T16" fmla="*/ 150250182 w 144"/>
              <a:gd name="T17" fmla="*/ 541187084 h 144"/>
              <a:gd name="T18" fmla="*/ 150250182 w 144"/>
              <a:gd name="T19" fmla="*/ 384394207 h 144"/>
              <a:gd name="T20" fmla="*/ 165275647 w 144"/>
              <a:gd name="T21" fmla="*/ 374278393 h 144"/>
              <a:gd name="T22" fmla="*/ 240400738 w 144"/>
              <a:gd name="T23" fmla="*/ 374278393 h 144"/>
              <a:gd name="T24" fmla="*/ 250417715 w 144"/>
              <a:gd name="T25" fmla="*/ 384394207 h 144"/>
              <a:gd name="T26" fmla="*/ 250417715 w 144"/>
              <a:gd name="T27" fmla="*/ 541187084 h 144"/>
              <a:gd name="T28" fmla="*/ 400665659 w 144"/>
              <a:gd name="T29" fmla="*/ 541187084 h 144"/>
              <a:gd name="T30" fmla="*/ 385642431 w 144"/>
              <a:gd name="T31" fmla="*/ 556358557 h 144"/>
              <a:gd name="T32" fmla="*/ 315525829 w 144"/>
              <a:gd name="T33" fmla="*/ 556358557 h 144"/>
              <a:gd name="T34" fmla="*/ 300500363 w 144"/>
              <a:gd name="T35" fmla="*/ 541187084 h 144"/>
              <a:gd name="T36" fmla="*/ 300500363 w 144"/>
              <a:gd name="T37" fmla="*/ 278180403 h 144"/>
              <a:gd name="T38" fmla="*/ 315525829 w 144"/>
              <a:gd name="T39" fmla="*/ 263006681 h 144"/>
              <a:gd name="T40" fmla="*/ 385642431 w 144"/>
              <a:gd name="T41" fmla="*/ 263006681 h 144"/>
              <a:gd name="T42" fmla="*/ 400665659 w 144"/>
              <a:gd name="T43" fmla="*/ 278180403 h 144"/>
              <a:gd name="T44" fmla="*/ 400665659 w 144"/>
              <a:gd name="T45" fmla="*/ 541187084 h 144"/>
              <a:gd name="T46" fmla="*/ 550915841 w 144"/>
              <a:gd name="T47" fmla="*/ 541187084 h 144"/>
              <a:gd name="T48" fmla="*/ 535892613 w 144"/>
              <a:gd name="T49" fmla="*/ 556358557 h 144"/>
              <a:gd name="T50" fmla="*/ 460767522 w 144"/>
              <a:gd name="T51" fmla="*/ 556358557 h 144"/>
              <a:gd name="T52" fmla="*/ 445742056 w 144"/>
              <a:gd name="T53" fmla="*/ 541187084 h 144"/>
              <a:gd name="T54" fmla="*/ 445742056 w 144"/>
              <a:gd name="T55" fmla="*/ 161850784 h 144"/>
              <a:gd name="T56" fmla="*/ 460767522 w 144"/>
              <a:gd name="T57" fmla="*/ 146677063 h 144"/>
              <a:gd name="T58" fmla="*/ 535892613 w 144"/>
              <a:gd name="T59" fmla="*/ 146677063 h 144"/>
              <a:gd name="T60" fmla="*/ 550915841 w 144"/>
              <a:gd name="T61" fmla="*/ 161850784 h 144"/>
              <a:gd name="T62" fmla="*/ 550915841 w 144"/>
              <a:gd name="T63" fmla="*/ 541187084 h 14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50" y="107"/>
                </a:moveTo>
                <a:cubicBezTo>
                  <a:pt x="50" y="109"/>
                  <a:pt x="49" y="110"/>
                  <a:pt x="48" y="110"/>
                </a:cubicBezTo>
                <a:cubicBezTo>
                  <a:pt x="33" y="110"/>
                  <a:pt x="33" y="110"/>
                  <a:pt x="33" y="110"/>
                </a:cubicBezTo>
                <a:cubicBezTo>
                  <a:pt x="31" y="110"/>
                  <a:pt x="30" y="109"/>
                  <a:pt x="30" y="107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5"/>
                  <a:pt x="31" y="74"/>
                  <a:pt x="33" y="74"/>
                </a:cubicBezTo>
                <a:cubicBezTo>
                  <a:pt x="48" y="74"/>
                  <a:pt x="48" y="74"/>
                  <a:pt x="48" y="74"/>
                </a:cubicBezTo>
                <a:cubicBezTo>
                  <a:pt x="49" y="74"/>
                  <a:pt x="50" y="75"/>
                  <a:pt x="50" y="76"/>
                </a:cubicBezTo>
                <a:lnTo>
                  <a:pt x="50" y="107"/>
                </a:lnTo>
                <a:close/>
                <a:moveTo>
                  <a:pt x="80" y="107"/>
                </a:moveTo>
                <a:cubicBezTo>
                  <a:pt x="80" y="109"/>
                  <a:pt x="79" y="110"/>
                  <a:pt x="77" y="110"/>
                </a:cubicBezTo>
                <a:cubicBezTo>
                  <a:pt x="63" y="110"/>
                  <a:pt x="63" y="110"/>
                  <a:pt x="63" y="110"/>
                </a:cubicBezTo>
                <a:cubicBezTo>
                  <a:pt x="61" y="110"/>
                  <a:pt x="60" y="109"/>
                  <a:pt x="60" y="107"/>
                </a:cubicBezTo>
                <a:cubicBezTo>
                  <a:pt x="60" y="55"/>
                  <a:pt x="60" y="55"/>
                  <a:pt x="60" y="55"/>
                </a:cubicBezTo>
                <a:cubicBezTo>
                  <a:pt x="60" y="53"/>
                  <a:pt x="61" y="52"/>
                  <a:pt x="63" y="52"/>
                </a:cubicBezTo>
                <a:cubicBezTo>
                  <a:pt x="77" y="52"/>
                  <a:pt x="77" y="52"/>
                  <a:pt x="77" y="52"/>
                </a:cubicBezTo>
                <a:cubicBezTo>
                  <a:pt x="79" y="52"/>
                  <a:pt x="80" y="53"/>
                  <a:pt x="80" y="55"/>
                </a:cubicBezTo>
                <a:lnTo>
                  <a:pt x="80" y="107"/>
                </a:lnTo>
                <a:close/>
                <a:moveTo>
                  <a:pt x="110" y="107"/>
                </a:moveTo>
                <a:cubicBezTo>
                  <a:pt x="110" y="109"/>
                  <a:pt x="108" y="110"/>
                  <a:pt x="107" y="110"/>
                </a:cubicBezTo>
                <a:cubicBezTo>
                  <a:pt x="92" y="110"/>
                  <a:pt x="92" y="110"/>
                  <a:pt x="92" y="110"/>
                </a:cubicBezTo>
                <a:cubicBezTo>
                  <a:pt x="91" y="110"/>
                  <a:pt x="89" y="109"/>
                  <a:pt x="89" y="107"/>
                </a:cubicBezTo>
                <a:cubicBezTo>
                  <a:pt x="89" y="32"/>
                  <a:pt x="89" y="32"/>
                  <a:pt x="89" y="32"/>
                </a:cubicBezTo>
                <a:cubicBezTo>
                  <a:pt x="89" y="30"/>
                  <a:pt x="91" y="29"/>
                  <a:pt x="92" y="29"/>
                </a:cubicBezTo>
                <a:cubicBezTo>
                  <a:pt x="107" y="29"/>
                  <a:pt x="107" y="29"/>
                  <a:pt x="107" y="29"/>
                </a:cubicBezTo>
                <a:cubicBezTo>
                  <a:pt x="108" y="29"/>
                  <a:pt x="110" y="30"/>
                  <a:pt x="110" y="32"/>
                </a:cubicBezTo>
                <a:lnTo>
                  <a:pt x="110" y="1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93" name="Freeform 128"/>
          <p:cNvSpPr>
            <a:spLocks noEditPoints="1"/>
          </p:cNvSpPr>
          <p:nvPr/>
        </p:nvSpPr>
        <p:spPr bwMode="auto">
          <a:xfrm>
            <a:off x="4557184" y="5410200"/>
            <a:ext cx="431800" cy="431800"/>
          </a:xfrm>
          <a:custGeom>
            <a:avLst/>
            <a:gdLst>
              <a:gd name="T0" fmla="*/ 364162578 w 144"/>
              <a:gd name="T1" fmla="*/ 0 h 144"/>
              <a:gd name="T2" fmla="*/ 0 w 144"/>
              <a:gd name="T3" fmla="*/ 364162578 h 144"/>
              <a:gd name="T4" fmla="*/ 364162578 w 144"/>
              <a:gd name="T5" fmla="*/ 728325156 h 144"/>
              <a:gd name="T6" fmla="*/ 728325156 w 144"/>
              <a:gd name="T7" fmla="*/ 364162578 h 144"/>
              <a:gd name="T8" fmla="*/ 364162578 w 144"/>
              <a:gd name="T9" fmla="*/ 0 h 144"/>
              <a:gd name="T10" fmla="*/ 591763908 w 144"/>
              <a:gd name="T11" fmla="*/ 394510022 h 144"/>
              <a:gd name="T12" fmla="*/ 485550104 w 144"/>
              <a:gd name="T13" fmla="*/ 394510022 h 144"/>
              <a:gd name="T14" fmla="*/ 485550104 w 144"/>
              <a:gd name="T15" fmla="*/ 571532279 h 144"/>
              <a:gd name="T16" fmla="*/ 192195979 w 144"/>
              <a:gd name="T17" fmla="*/ 571532279 h 144"/>
              <a:gd name="T18" fmla="*/ 156792877 w 144"/>
              <a:gd name="T19" fmla="*/ 531071270 h 144"/>
              <a:gd name="T20" fmla="*/ 156792877 w 144"/>
              <a:gd name="T21" fmla="*/ 242775052 h 144"/>
              <a:gd name="T22" fmla="*/ 333815134 w 144"/>
              <a:gd name="T23" fmla="*/ 242775052 h 144"/>
              <a:gd name="T24" fmla="*/ 333815134 w 144"/>
              <a:gd name="T25" fmla="*/ 131503341 h 144"/>
              <a:gd name="T26" fmla="*/ 485550104 w 144"/>
              <a:gd name="T27" fmla="*/ 131503341 h 144"/>
              <a:gd name="T28" fmla="*/ 485550104 w 144"/>
              <a:gd name="T29" fmla="*/ 242775052 h 144"/>
              <a:gd name="T30" fmla="*/ 591763908 w 144"/>
              <a:gd name="T31" fmla="*/ 242775052 h 144"/>
              <a:gd name="T32" fmla="*/ 591763908 w 144"/>
              <a:gd name="T33" fmla="*/ 394510022 h 1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117" y="78"/>
                </a:moveTo>
                <a:cubicBezTo>
                  <a:pt x="96" y="78"/>
                  <a:pt x="96" y="78"/>
                  <a:pt x="96" y="78"/>
                </a:cubicBezTo>
                <a:cubicBezTo>
                  <a:pt x="96" y="113"/>
                  <a:pt x="96" y="113"/>
                  <a:pt x="96" y="113"/>
                </a:cubicBezTo>
                <a:cubicBezTo>
                  <a:pt x="38" y="113"/>
                  <a:pt x="38" y="113"/>
                  <a:pt x="38" y="113"/>
                </a:cubicBezTo>
                <a:cubicBezTo>
                  <a:pt x="31" y="105"/>
                  <a:pt x="31" y="105"/>
                  <a:pt x="31" y="105"/>
                </a:cubicBezTo>
                <a:cubicBezTo>
                  <a:pt x="31" y="48"/>
                  <a:pt x="31" y="48"/>
                  <a:pt x="31" y="48"/>
                </a:cubicBezTo>
                <a:cubicBezTo>
                  <a:pt x="66" y="48"/>
                  <a:pt x="66" y="48"/>
                  <a:pt x="66" y="48"/>
                </a:cubicBezTo>
                <a:cubicBezTo>
                  <a:pt x="66" y="26"/>
                  <a:pt x="66" y="26"/>
                  <a:pt x="66" y="26"/>
                </a:cubicBezTo>
                <a:cubicBezTo>
                  <a:pt x="96" y="26"/>
                  <a:pt x="96" y="26"/>
                  <a:pt x="96" y="26"/>
                </a:cubicBezTo>
                <a:cubicBezTo>
                  <a:pt x="96" y="48"/>
                  <a:pt x="96" y="48"/>
                  <a:pt x="96" y="48"/>
                </a:cubicBezTo>
                <a:cubicBezTo>
                  <a:pt x="117" y="48"/>
                  <a:pt x="117" y="48"/>
                  <a:pt x="117" y="48"/>
                </a:cubicBezTo>
                <a:lnTo>
                  <a:pt x="117" y="7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94" name="Freeform 129"/>
          <p:cNvSpPr>
            <a:spLocks/>
          </p:cNvSpPr>
          <p:nvPr/>
        </p:nvSpPr>
        <p:spPr bwMode="auto">
          <a:xfrm>
            <a:off x="4709585" y="5509684"/>
            <a:ext cx="179916" cy="175683"/>
          </a:xfrm>
          <a:custGeom>
            <a:avLst/>
            <a:gdLst>
              <a:gd name="T0" fmla="*/ 141128227 w 85"/>
              <a:gd name="T1" fmla="*/ 0 h 83"/>
              <a:gd name="T2" fmla="*/ 75604407 w 85"/>
              <a:gd name="T3" fmla="*/ 0 h 83"/>
              <a:gd name="T4" fmla="*/ 75604407 w 85"/>
              <a:gd name="T5" fmla="*/ 70564107 h 83"/>
              <a:gd name="T6" fmla="*/ 0 w 85"/>
              <a:gd name="T7" fmla="*/ 70564107 h 83"/>
              <a:gd name="T8" fmla="*/ 0 w 85"/>
              <a:gd name="T9" fmla="*/ 136087921 h 83"/>
              <a:gd name="T10" fmla="*/ 75604407 w 85"/>
              <a:gd name="T11" fmla="*/ 136087921 h 83"/>
              <a:gd name="T12" fmla="*/ 75604407 w 85"/>
              <a:gd name="T13" fmla="*/ 209172969 h 83"/>
              <a:gd name="T14" fmla="*/ 141128227 w 85"/>
              <a:gd name="T15" fmla="*/ 209172969 h 83"/>
              <a:gd name="T16" fmla="*/ 141128227 w 85"/>
              <a:gd name="T17" fmla="*/ 136087921 h 83"/>
              <a:gd name="T18" fmla="*/ 214211694 w 85"/>
              <a:gd name="T19" fmla="*/ 136087921 h 83"/>
              <a:gd name="T20" fmla="*/ 214211694 w 85"/>
              <a:gd name="T21" fmla="*/ 70564107 h 83"/>
              <a:gd name="T22" fmla="*/ 141128227 w 85"/>
              <a:gd name="T23" fmla="*/ 70564107 h 83"/>
              <a:gd name="T24" fmla="*/ 141128227 w 85"/>
              <a:gd name="T25" fmla="*/ 0 h 8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85" h="83">
                <a:moveTo>
                  <a:pt x="56" y="0"/>
                </a:moveTo>
                <a:lnTo>
                  <a:pt x="30" y="0"/>
                </a:lnTo>
                <a:lnTo>
                  <a:pt x="30" y="28"/>
                </a:lnTo>
                <a:lnTo>
                  <a:pt x="0" y="28"/>
                </a:lnTo>
                <a:lnTo>
                  <a:pt x="0" y="54"/>
                </a:lnTo>
                <a:lnTo>
                  <a:pt x="30" y="54"/>
                </a:lnTo>
                <a:lnTo>
                  <a:pt x="30" y="83"/>
                </a:lnTo>
                <a:lnTo>
                  <a:pt x="56" y="83"/>
                </a:lnTo>
                <a:lnTo>
                  <a:pt x="56" y="54"/>
                </a:lnTo>
                <a:lnTo>
                  <a:pt x="85" y="54"/>
                </a:lnTo>
                <a:lnTo>
                  <a:pt x="85" y="28"/>
                </a:lnTo>
                <a:lnTo>
                  <a:pt x="56" y="28"/>
                </a:lnTo>
                <a:lnTo>
                  <a:pt x="5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95" name="Freeform 130"/>
          <p:cNvSpPr>
            <a:spLocks noEditPoints="1"/>
          </p:cNvSpPr>
          <p:nvPr/>
        </p:nvSpPr>
        <p:spPr bwMode="auto">
          <a:xfrm>
            <a:off x="5372100" y="5397500"/>
            <a:ext cx="431800" cy="431800"/>
          </a:xfrm>
          <a:custGeom>
            <a:avLst/>
            <a:gdLst>
              <a:gd name="T0" fmla="*/ 364162578 w 144"/>
              <a:gd name="T1" fmla="*/ 0 h 144"/>
              <a:gd name="T2" fmla="*/ 0 w 144"/>
              <a:gd name="T3" fmla="*/ 364162578 h 144"/>
              <a:gd name="T4" fmla="*/ 298412032 w 144"/>
              <a:gd name="T5" fmla="*/ 723267249 h 144"/>
              <a:gd name="T6" fmla="*/ 227601330 w 144"/>
              <a:gd name="T7" fmla="*/ 197253886 h 144"/>
              <a:gd name="T8" fmla="*/ 247832959 w 144"/>
              <a:gd name="T9" fmla="*/ 171966599 h 144"/>
              <a:gd name="T10" fmla="*/ 273122496 w 144"/>
              <a:gd name="T11" fmla="*/ 192195979 h 144"/>
              <a:gd name="T12" fmla="*/ 343930949 w 144"/>
              <a:gd name="T13" fmla="*/ 728325156 h 144"/>
              <a:gd name="T14" fmla="*/ 364162578 w 144"/>
              <a:gd name="T15" fmla="*/ 728325156 h 144"/>
              <a:gd name="T16" fmla="*/ 728325156 w 144"/>
              <a:gd name="T17" fmla="*/ 364162578 h 144"/>
              <a:gd name="T18" fmla="*/ 364162578 w 144"/>
              <a:gd name="T19" fmla="*/ 0 h 144"/>
              <a:gd name="T20" fmla="*/ 328757227 w 144"/>
              <a:gd name="T21" fmla="*/ 440028939 h 144"/>
              <a:gd name="T22" fmla="*/ 298412032 w 144"/>
              <a:gd name="T23" fmla="*/ 217485516 h 144"/>
              <a:gd name="T24" fmla="*/ 586706001 w 144"/>
              <a:gd name="T25" fmla="*/ 197253886 h 144"/>
              <a:gd name="T26" fmla="*/ 520955455 w 144"/>
              <a:gd name="T27" fmla="*/ 348988856 h 144"/>
              <a:gd name="T28" fmla="*/ 617053445 w 144"/>
              <a:gd name="T29" fmla="*/ 419799558 h 144"/>
              <a:gd name="T30" fmla="*/ 328757227 w 144"/>
              <a:gd name="T31" fmla="*/ 440028939 h 14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07"/>
                  <a:pt x="26" y="137"/>
                  <a:pt x="59" y="143"/>
                </a:cubicBezTo>
                <a:cubicBezTo>
                  <a:pt x="45" y="39"/>
                  <a:pt x="45" y="39"/>
                  <a:pt x="45" y="39"/>
                </a:cubicBezTo>
                <a:cubicBezTo>
                  <a:pt x="45" y="37"/>
                  <a:pt x="47" y="34"/>
                  <a:pt x="49" y="34"/>
                </a:cubicBezTo>
                <a:cubicBezTo>
                  <a:pt x="51" y="34"/>
                  <a:pt x="53" y="35"/>
                  <a:pt x="54" y="38"/>
                </a:cubicBezTo>
                <a:cubicBezTo>
                  <a:pt x="68" y="144"/>
                  <a:pt x="68" y="144"/>
                  <a:pt x="68" y="144"/>
                </a:cubicBezTo>
                <a:cubicBezTo>
                  <a:pt x="69" y="144"/>
                  <a:pt x="71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65" y="87"/>
                </a:moveTo>
                <a:cubicBezTo>
                  <a:pt x="59" y="43"/>
                  <a:pt x="59" y="43"/>
                  <a:pt x="59" y="43"/>
                </a:cubicBezTo>
                <a:cubicBezTo>
                  <a:pt x="78" y="43"/>
                  <a:pt x="97" y="54"/>
                  <a:pt x="116" y="39"/>
                </a:cubicBezTo>
                <a:cubicBezTo>
                  <a:pt x="112" y="55"/>
                  <a:pt x="109" y="58"/>
                  <a:pt x="103" y="69"/>
                </a:cubicBezTo>
                <a:cubicBezTo>
                  <a:pt x="111" y="77"/>
                  <a:pt x="115" y="80"/>
                  <a:pt x="122" y="83"/>
                </a:cubicBezTo>
                <a:cubicBezTo>
                  <a:pt x="103" y="98"/>
                  <a:pt x="84" y="87"/>
                  <a:pt x="65" y="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96" name="Freeform 131"/>
          <p:cNvSpPr>
            <a:spLocks noEditPoints="1"/>
          </p:cNvSpPr>
          <p:nvPr/>
        </p:nvSpPr>
        <p:spPr bwMode="auto">
          <a:xfrm>
            <a:off x="6212417" y="5410200"/>
            <a:ext cx="429683" cy="431800"/>
          </a:xfrm>
          <a:custGeom>
            <a:avLst/>
            <a:gdLst>
              <a:gd name="T0" fmla="*/ 0 w 144"/>
              <a:gd name="T1" fmla="*/ 364162578 h 144"/>
              <a:gd name="T2" fmla="*/ 325540568 w 144"/>
              <a:gd name="T3" fmla="*/ 728325156 h 144"/>
              <a:gd name="T4" fmla="*/ 325540568 w 144"/>
              <a:gd name="T5" fmla="*/ 526013363 h 144"/>
              <a:gd name="T6" fmla="*/ 300500363 w 144"/>
              <a:gd name="T7" fmla="*/ 500723826 h 144"/>
              <a:gd name="T8" fmla="*/ 300500363 w 144"/>
              <a:gd name="T9" fmla="*/ 455202660 h 144"/>
              <a:gd name="T10" fmla="*/ 165275647 w 144"/>
              <a:gd name="T11" fmla="*/ 520955455 h 144"/>
              <a:gd name="T12" fmla="*/ 125207739 w 144"/>
              <a:gd name="T13" fmla="*/ 460260568 h 144"/>
              <a:gd name="T14" fmla="*/ 365608477 w 144"/>
              <a:gd name="T15" fmla="*/ 257948774 h 144"/>
              <a:gd name="T16" fmla="*/ 445742056 w 144"/>
              <a:gd name="T17" fmla="*/ 384394207 h 144"/>
              <a:gd name="T18" fmla="*/ 395659408 w 144"/>
              <a:gd name="T19" fmla="*/ 409683744 h 144"/>
              <a:gd name="T20" fmla="*/ 395659408 w 144"/>
              <a:gd name="T21" fmla="*/ 500723826 h 144"/>
              <a:gd name="T22" fmla="*/ 375625454 w 144"/>
              <a:gd name="T23" fmla="*/ 526013363 h 144"/>
              <a:gd name="T24" fmla="*/ 375625454 w 144"/>
              <a:gd name="T25" fmla="*/ 728325156 h 144"/>
              <a:gd name="T26" fmla="*/ 721199977 w 144"/>
              <a:gd name="T27" fmla="*/ 364162578 h 144"/>
              <a:gd name="T28" fmla="*/ 360599988 w 144"/>
              <a:gd name="T29" fmla="*/ 0 h 144"/>
              <a:gd name="T30" fmla="*/ 0 w 144"/>
              <a:gd name="T31" fmla="*/ 364162578 h 144"/>
              <a:gd name="T32" fmla="*/ 395659408 w 144"/>
              <a:gd name="T33" fmla="*/ 232659238 h 144"/>
              <a:gd name="T34" fmla="*/ 435725079 w 144"/>
              <a:gd name="T35" fmla="*/ 182082414 h 144"/>
              <a:gd name="T36" fmla="*/ 570949795 w 144"/>
              <a:gd name="T37" fmla="*/ 212427608 h 144"/>
              <a:gd name="T38" fmla="*/ 545907352 w 144"/>
              <a:gd name="T39" fmla="*/ 348988856 h 144"/>
              <a:gd name="T40" fmla="*/ 480799238 w 144"/>
              <a:gd name="T41" fmla="*/ 369220485 h 144"/>
              <a:gd name="T42" fmla="*/ 395659408 w 144"/>
              <a:gd name="T43" fmla="*/ 232659238 h 14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44" h="144">
                <a:moveTo>
                  <a:pt x="0" y="72"/>
                </a:moveTo>
                <a:cubicBezTo>
                  <a:pt x="0" y="109"/>
                  <a:pt x="29" y="140"/>
                  <a:pt x="65" y="14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62" y="104"/>
                  <a:pt x="60" y="102"/>
                  <a:pt x="60" y="99"/>
                </a:cubicBezTo>
                <a:cubicBezTo>
                  <a:pt x="60" y="90"/>
                  <a:pt x="60" y="90"/>
                  <a:pt x="60" y="90"/>
                </a:cubicBezTo>
                <a:cubicBezTo>
                  <a:pt x="33" y="103"/>
                  <a:pt x="33" y="103"/>
                  <a:pt x="33" y="103"/>
                </a:cubicBezTo>
                <a:cubicBezTo>
                  <a:pt x="25" y="91"/>
                  <a:pt x="25" y="91"/>
                  <a:pt x="25" y="91"/>
                </a:cubicBezTo>
                <a:cubicBezTo>
                  <a:pt x="73" y="51"/>
                  <a:pt x="73" y="51"/>
                  <a:pt x="73" y="51"/>
                </a:cubicBezTo>
                <a:cubicBezTo>
                  <a:pt x="89" y="76"/>
                  <a:pt x="89" y="76"/>
                  <a:pt x="89" y="76"/>
                </a:cubicBezTo>
                <a:cubicBezTo>
                  <a:pt x="79" y="81"/>
                  <a:pt x="79" y="81"/>
                  <a:pt x="79" y="81"/>
                </a:cubicBezTo>
                <a:cubicBezTo>
                  <a:pt x="79" y="99"/>
                  <a:pt x="79" y="99"/>
                  <a:pt x="79" y="99"/>
                </a:cubicBezTo>
                <a:cubicBezTo>
                  <a:pt x="79" y="102"/>
                  <a:pt x="77" y="104"/>
                  <a:pt x="75" y="104"/>
                </a:cubicBezTo>
                <a:cubicBezTo>
                  <a:pt x="75" y="144"/>
                  <a:pt x="75" y="144"/>
                  <a:pt x="75" y="144"/>
                </a:cubicBezTo>
                <a:cubicBezTo>
                  <a:pt x="113" y="143"/>
                  <a:pt x="144" y="111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ubicBezTo>
                  <a:pt x="32" y="0"/>
                  <a:pt x="0" y="32"/>
                  <a:pt x="0" y="72"/>
                </a:cubicBezTo>
                <a:close/>
                <a:moveTo>
                  <a:pt x="79" y="46"/>
                </a:moveTo>
                <a:cubicBezTo>
                  <a:pt x="80" y="42"/>
                  <a:pt x="83" y="38"/>
                  <a:pt x="87" y="36"/>
                </a:cubicBezTo>
                <a:cubicBezTo>
                  <a:pt x="96" y="30"/>
                  <a:pt x="108" y="32"/>
                  <a:pt x="114" y="42"/>
                </a:cubicBezTo>
                <a:cubicBezTo>
                  <a:pt x="121" y="51"/>
                  <a:pt x="118" y="63"/>
                  <a:pt x="109" y="69"/>
                </a:cubicBezTo>
                <a:cubicBezTo>
                  <a:pt x="105" y="72"/>
                  <a:pt x="101" y="73"/>
                  <a:pt x="96" y="73"/>
                </a:cubicBezTo>
                <a:lnTo>
                  <a:pt x="79" y="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97" name="Freeform 132"/>
          <p:cNvSpPr>
            <a:spLocks/>
          </p:cNvSpPr>
          <p:nvPr/>
        </p:nvSpPr>
        <p:spPr bwMode="auto">
          <a:xfrm>
            <a:off x="7029451" y="5365751"/>
            <a:ext cx="474133" cy="474133"/>
          </a:xfrm>
          <a:custGeom>
            <a:avLst/>
            <a:gdLst>
              <a:gd name="T0" fmla="*/ 658494678 w 158"/>
              <a:gd name="T1" fmla="*/ 658494678 h 158"/>
              <a:gd name="T2" fmla="*/ 658494678 w 158"/>
              <a:gd name="T3" fmla="*/ 141830385 h 158"/>
              <a:gd name="T4" fmla="*/ 141830385 w 158"/>
              <a:gd name="T5" fmla="*/ 141830385 h 158"/>
              <a:gd name="T6" fmla="*/ 141830385 w 158"/>
              <a:gd name="T7" fmla="*/ 653430754 h 158"/>
              <a:gd name="T8" fmla="*/ 222875676 w 158"/>
              <a:gd name="T9" fmla="*/ 481207823 h 158"/>
              <a:gd name="T10" fmla="*/ 263398322 w 158"/>
              <a:gd name="T11" fmla="*/ 263398322 h 158"/>
              <a:gd name="T12" fmla="*/ 536926742 w 158"/>
              <a:gd name="T13" fmla="*/ 263398322 h 158"/>
              <a:gd name="T14" fmla="*/ 536926742 w 158"/>
              <a:gd name="T15" fmla="*/ 536926742 h 158"/>
              <a:gd name="T16" fmla="*/ 319117241 w 158"/>
              <a:gd name="T17" fmla="*/ 577449387 h 158"/>
              <a:gd name="T18" fmla="*/ 146894309 w 158"/>
              <a:gd name="T19" fmla="*/ 658494678 h 158"/>
              <a:gd name="T20" fmla="*/ 658494678 w 158"/>
              <a:gd name="T21" fmla="*/ 658494678 h 15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8" h="158">
                <a:moveTo>
                  <a:pt x="130" y="130"/>
                </a:moveTo>
                <a:cubicBezTo>
                  <a:pt x="158" y="102"/>
                  <a:pt x="158" y="56"/>
                  <a:pt x="130" y="28"/>
                </a:cubicBezTo>
                <a:cubicBezTo>
                  <a:pt x="102" y="0"/>
                  <a:pt x="56" y="0"/>
                  <a:pt x="28" y="28"/>
                </a:cubicBezTo>
                <a:cubicBezTo>
                  <a:pt x="0" y="56"/>
                  <a:pt x="0" y="101"/>
                  <a:pt x="28" y="129"/>
                </a:cubicBezTo>
                <a:cubicBezTo>
                  <a:pt x="44" y="95"/>
                  <a:pt x="44" y="95"/>
                  <a:pt x="44" y="95"/>
                </a:cubicBezTo>
                <a:cubicBezTo>
                  <a:pt x="37" y="81"/>
                  <a:pt x="40" y="63"/>
                  <a:pt x="52" y="52"/>
                </a:cubicBezTo>
                <a:cubicBezTo>
                  <a:pt x="67" y="36"/>
                  <a:pt x="91" y="36"/>
                  <a:pt x="106" y="52"/>
                </a:cubicBezTo>
                <a:cubicBezTo>
                  <a:pt x="122" y="67"/>
                  <a:pt x="122" y="91"/>
                  <a:pt x="106" y="106"/>
                </a:cubicBezTo>
                <a:cubicBezTo>
                  <a:pt x="95" y="118"/>
                  <a:pt x="77" y="121"/>
                  <a:pt x="63" y="114"/>
                </a:cubicBezTo>
                <a:cubicBezTo>
                  <a:pt x="29" y="130"/>
                  <a:pt x="29" y="130"/>
                  <a:pt x="29" y="130"/>
                </a:cubicBezTo>
                <a:cubicBezTo>
                  <a:pt x="57" y="158"/>
                  <a:pt x="102" y="158"/>
                  <a:pt x="130" y="1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98" name="Freeform 133"/>
          <p:cNvSpPr>
            <a:spLocks/>
          </p:cNvSpPr>
          <p:nvPr/>
        </p:nvSpPr>
        <p:spPr bwMode="auto">
          <a:xfrm>
            <a:off x="7878233" y="5393267"/>
            <a:ext cx="465667" cy="442384"/>
          </a:xfrm>
          <a:custGeom>
            <a:avLst/>
            <a:gdLst>
              <a:gd name="T0" fmla="*/ 681650926 w 156"/>
              <a:gd name="T1" fmla="*/ 115592249 h 148"/>
              <a:gd name="T2" fmla="*/ 566371561 w 156"/>
              <a:gd name="T3" fmla="*/ 502571389 h 148"/>
              <a:gd name="T4" fmla="*/ 160388585 w 156"/>
              <a:gd name="T5" fmla="*/ 376929102 h 148"/>
              <a:gd name="T6" fmla="*/ 275667950 w 156"/>
              <a:gd name="T7" fmla="*/ 0 h 148"/>
              <a:gd name="T8" fmla="*/ 55134486 w 156"/>
              <a:gd name="T9" fmla="*/ 236208396 h 148"/>
              <a:gd name="T10" fmla="*/ 295716244 w 156"/>
              <a:gd name="T11" fmla="*/ 688522871 h 148"/>
              <a:gd name="T12" fmla="*/ 746810678 w 156"/>
              <a:gd name="T13" fmla="*/ 442262195 h 148"/>
              <a:gd name="T14" fmla="*/ 681650926 w 156"/>
              <a:gd name="T15" fmla="*/ 115592249 h 1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56" h="148">
                <a:moveTo>
                  <a:pt x="136" y="23"/>
                </a:moveTo>
                <a:cubicBezTo>
                  <a:pt x="113" y="100"/>
                  <a:pt x="113" y="100"/>
                  <a:pt x="113" y="100"/>
                </a:cubicBezTo>
                <a:cubicBezTo>
                  <a:pt x="32" y="75"/>
                  <a:pt x="32" y="75"/>
                  <a:pt x="32" y="75"/>
                </a:cubicBezTo>
                <a:cubicBezTo>
                  <a:pt x="55" y="0"/>
                  <a:pt x="55" y="0"/>
                  <a:pt x="55" y="0"/>
                </a:cubicBezTo>
                <a:cubicBezTo>
                  <a:pt x="35" y="8"/>
                  <a:pt x="18" y="24"/>
                  <a:pt x="11" y="47"/>
                </a:cubicBezTo>
                <a:cubicBezTo>
                  <a:pt x="0" y="85"/>
                  <a:pt x="21" y="125"/>
                  <a:pt x="59" y="137"/>
                </a:cubicBezTo>
                <a:cubicBezTo>
                  <a:pt x="97" y="148"/>
                  <a:pt x="137" y="127"/>
                  <a:pt x="149" y="88"/>
                </a:cubicBezTo>
                <a:cubicBezTo>
                  <a:pt x="156" y="65"/>
                  <a:pt x="151" y="41"/>
                  <a:pt x="136" y="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499" name="Freeform 134"/>
          <p:cNvSpPr>
            <a:spLocks/>
          </p:cNvSpPr>
          <p:nvPr/>
        </p:nvSpPr>
        <p:spPr bwMode="auto">
          <a:xfrm>
            <a:off x="8068734" y="5395384"/>
            <a:ext cx="184151" cy="84667"/>
          </a:xfrm>
          <a:custGeom>
            <a:avLst/>
            <a:gdLst>
              <a:gd name="T0" fmla="*/ 219253594 w 87"/>
              <a:gd name="T1" fmla="*/ 65524063 h 40"/>
              <a:gd name="T2" fmla="*/ 10080661 w 87"/>
              <a:gd name="T3" fmla="*/ 0 h 40"/>
              <a:gd name="T4" fmla="*/ 0 w 87"/>
              <a:gd name="T5" fmla="*/ 40322500 h 40"/>
              <a:gd name="T6" fmla="*/ 206653561 w 87"/>
              <a:gd name="T7" fmla="*/ 100806250 h 40"/>
              <a:gd name="T8" fmla="*/ 219253594 w 87"/>
              <a:gd name="T9" fmla="*/ 65524063 h 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7" h="40">
                <a:moveTo>
                  <a:pt x="87" y="26"/>
                </a:moveTo>
                <a:lnTo>
                  <a:pt x="4" y="0"/>
                </a:lnTo>
                <a:lnTo>
                  <a:pt x="0" y="16"/>
                </a:lnTo>
                <a:lnTo>
                  <a:pt x="82" y="40"/>
                </a:lnTo>
                <a:lnTo>
                  <a:pt x="87" y="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500" name="Freeform 135"/>
          <p:cNvSpPr>
            <a:spLocks/>
          </p:cNvSpPr>
          <p:nvPr/>
        </p:nvSpPr>
        <p:spPr bwMode="auto">
          <a:xfrm>
            <a:off x="8047567" y="5465233"/>
            <a:ext cx="184151" cy="86784"/>
          </a:xfrm>
          <a:custGeom>
            <a:avLst/>
            <a:gdLst>
              <a:gd name="T0" fmla="*/ 219253594 w 87"/>
              <a:gd name="T1" fmla="*/ 63005184 h 41"/>
              <a:gd name="T2" fmla="*/ 12600033 w 87"/>
              <a:gd name="T3" fmla="*/ 0 h 41"/>
              <a:gd name="T4" fmla="*/ 0 w 87"/>
              <a:gd name="T5" fmla="*/ 37803428 h 41"/>
              <a:gd name="T6" fmla="*/ 206653561 w 87"/>
              <a:gd name="T7" fmla="*/ 103327994 h 41"/>
              <a:gd name="T8" fmla="*/ 219253594 w 87"/>
              <a:gd name="T9" fmla="*/ 63005184 h 4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7" h="41">
                <a:moveTo>
                  <a:pt x="87" y="25"/>
                </a:moveTo>
                <a:lnTo>
                  <a:pt x="5" y="0"/>
                </a:lnTo>
                <a:lnTo>
                  <a:pt x="0" y="15"/>
                </a:lnTo>
                <a:lnTo>
                  <a:pt x="82" y="41"/>
                </a:lnTo>
                <a:lnTo>
                  <a:pt x="87" y="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501" name="Freeform 136"/>
          <p:cNvSpPr>
            <a:spLocks/>
          </p:cNvSpPr>
          <p:nvPr/>
        </p:nvSpPr>
        <p:spPr bwMode="auto">
          <a:xfrm>
            <a:off x="8026401" y="5532967"/>
            <a:ext cx="184151" cy="86784"/>
          </a:xfrm>
          <a:custGeom>
            <a:avLst/>
            <a:gdLst>
              <a:gd name="T0" fmla="*/ 0 w 87"/>
              <a:gd name="T1" fmla="*/ 40322810 h 41"/>
              <a:gd name="T2" fmla="*/ 206653561 w 87"/>
              <a:gd name="T3" fmla="*/ 103327994 h 41"/>
              <a:gd name="T4" fmla="*/ 219253594 w 87"/>
              <a:gd name="T5" fmla="*/ 65524566 h 41"/>
              <a:gd name="T6" fmla="*/ 12600033 w 87"/>
              <a:gd name="T7" fmla="*/ 0 h 41"/>
              <a:gd name="T8" fmla="*/ 0 w 87"/>
              <a:gd name="T9" fmla="*/ 40322810 h 4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7" h="41">
                <a:moveTo>
                  <a:pt x="0" y="16"/>
                </a:moveTo>
                <a:lnTo>
                  <a:pt x="82" y="41"/>
                </a:lnTo>
                <a:lnTo>
                  <a:pt x="87" y="26"/>
                </a:lnTo>
                <a:lnTo>
                  <a:pt x="5" y="0"/>
                </a:lnTo>
                <a:lnTo>
                  <a:pt x="0" y="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502" name="Freeform 137"/>
          <p:cNvSpPr>
            <a:spLocks noEditPoints="1"/>
          </p:cNvSpPr>
          <p:nvPr/>
        </p:nvSpPr>
        <p:spPr bwMode="auto">
          <a:xfrm>
            <a:off x="8765117" y="5410200"/>
            <a:ext cx="429683" cy="431800"/>
          </a:xfrm>
          <a:custGeom>
            <a:avLst/>
            <a:gdLst>
              <a:gd name="T0" fmla="*/ 360599988 w 144"/>
              <a:gd name="T1" fmla="*/ 0 h 144"/>
              <a:gd name="T2" fmla="*/ 0 w 144"/>
              <a:gd name="T3" fmla="*/ 364162578 h 144"/>
              <a:gd name="T4" fmla="*/ 360599988 w 144"/>
              <a:gd name="T5" fmla="*/ 728325156 h 144"/>
              <a:gd name="T6" fmla="*/ 721199977 w 144"/>
              <a:gd name="T7" fmla="*/ 364162578 h 144"/>
              <a:gd name="T8" fmla="*/ 360599988 w 144"/>
              <a:gd name="T9" fmla="*/ 0 h 144"/>
              <a:gd name="T10" fmla="*/ 570949795 w 144"/>
              <a:gd name="T11" fmla="*/ 541187084 h 144"/>
              <a:gd name="T12" fmla="*/ 395659408 w 144"/>
              <a:gd name="T13" fmla="*/ 601879723 h 144"/>
              <a:gd name="T14" fmla="*/ 360599988 w 144"/>
              <a:gd name="T15" fmla="*/ 606937630 h 144"/>
              <a:gd name="T16" fmla="*/ 325540568 w 144"/>
              <a:gd name="T17" fmla="*/ 601879723 h 144"/>
              <a:gd name="T18" fmla="*/ 150250182 w 144"/>
              <a:gd name="T19" fmla="*/ 541187084 h 144"/>
              <a:gd name="T20" fmla="*/ 150250182 w 144"/>
              <a:gd name="T21" fmla="*/ 187138072 h 144"/>
              <a:gd name="T22" fmla="*/ 570949795 w 144"/>
              <a:gd name="T23" fmla="*/ 187138072 h 144"/>
              <a:gd name="T24" fmla="*/ 570949795 w 144"/>
              <a:gd name="T25" fmla="*/ 541187084 h 14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114" y="107"/>
                </a:moveTo>
                <a:cubicBezTo>
                  <a:pt x="79" y="119"/>
                  <a:pt x="79" y="119"/>
                  <a:pt x="79" y="119"/>
                </a:cubicBezTo>
                <a:cubicBezTo>
                  <a:pt x="77" y="119"/>
                  <a:pt x="75" y="120"/>
                  <a:pt x="72" y="120"/>
                </a:cubicBezTo>
                <a:cubicBezTo>
                  <a:pt x="69" y="120"/>
                  <a:pt x="67" y="119"/>
                  <a:pt x="65" y="119"/>
                </a:cubicBezTo>
                <a:cubicBezTo>
                  <a:pt x="30" y="107"/>
                  <a:pt x="30" y="107"/>
                  <a:pt x="30" y="107"/>
                </a:cubicBezTo>
                <a:cubicBezTo>
                  <a:pt x="30" y="37"/>
                  <a:pt x="30" y="37"/>
                  <a:pt x="30" y="37"/>
                </a:cubicBezTo>
                <a:cubicBezTo>
                  <a:pt x="114" y="37"/>
                  <a:pt x="114" y="37"/>
                  <a:pt x="114" y="37"/>
                </a:cubicBezTo>
                <a:lnTo>
                  <a:pt x="114" y="1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503" name="Rectangle 138"/>
          <p:cNvSpPr>
            <a:spLocks noChangeArrowheads="1"/>
          </p:cNvSpPr>
          <p:nvPr/>
        </p:nvSpPr>
        <p:spPr bwMode="auto">
          <a:xfrm>
            <a:off x="8949267" y="5566833"/>
            <a:ext cx="63500" cy="105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504" name="Rectangle 139"/>
          <p:cNvSpPr>
            <a:spLocks noChangeArrowheads="1"/>
          </p:cNvSpPr>
          <p:nvPr/>
        </p:nvSpPr>
        <p:spPr bwMode="auto">
          <a:xfrm>
            <a:off x="9031818" y="5566833"/>
            <a:ext cx="61383" cy="105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505" name="Rectangle 140"/>
          <p:cNvSpPr>
            <a:spLocks noChangeArrowheads="1"/>
          </p:cNvSpPr>
          <p:nvPr/>
        </p:nvSpPr>
        <p:spPr bwMode="auto">
          <a:xfrm>
            <a:off x="8866718" y="5566833"/>
            <a:ext cx="61383" cy="105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8506" name="Freeform 141"/>
          <p:cNvSpPr>
            <a:spLocks noEditPoints="1"/>
          </p:cNvSpPr>
          <p:nvPr/>
        </p:nvSpPr>
        <p:spPr bwMode="auto">
          <a:xfrm>
            <a:off x="9652001" y="5410200"/>
            <a:ext cx="429684" cy="431800"/>
          </a:xfrm>
          <a:custGeom>
            <a:avLst/>
            <a:gdLst>
              <a:gd name="T0" fmla="*/ 360601107 w 144"/>
              <a:gd name="T1" fmla="*/ 0 h 144"/>
              <a:gd name="T2" fmla="*/ 0 w 144"/>
              <a:gd name="T3" fmla="*/ 364162578 h 144"/>
              <a:gd name="T4" fmla="*/ 360601107 w 144"/>
              <a:gd name="T5" fmla="*/ 728325156 h 144"/>
              <a:gd name="T6" fmla="*/ 721202215 w 144"/>
              <a:gd name="T7" fmla="*/ 364162578 h 144"/>
              <a:gd name="T8" fmla="*/ 360601107 w 144"/>
              <a:gd name="T9" fmla="*/ 0 h 144"/>
              <a:gd name="T10" fmla="*/ 260433263 w 144"/>
              <a:gd name="T11" fmla="*/ 171966599 h 144"/>
              <a:gd name="T12" fmla="*/ 310518304 w 144"/>
              <a:gd name="T13" fmla="*/ 222543423 h 144"/>
              <a:gd name="T14" fmla="*/ 260433263 w 144"/>
              <a:gd name="T15" fmla="*/ 273122496 h 144"/>
              <a:gd name="T16" fmla="*/ 210350459 w 144"/>
              <a:gd name="T17" fmla="*/ 222543423 h 144"/>
              <a:gd name="T18" fmla="*/ 260433263 w 144"/>
              <a:gd name="T19" fmla="*/ 171966599 h 144"/>
              <a:gd name="T20" fmla="*/ 440734935 w 144"/>
              <a:gd name="T21" fmla="*/ 475434290 h 144"/>
              <a:gd name="T22" fmla="*/ 275458775 w 144"/>
              <a:gd name="T23" fmla="*/ 611995538 h 144"/>
              <a:gd name="T24" fmla="*/ 145242144 w 144"/>
              <a:gd name="T25" fmla="*/ 445086846 h 144"/>
              <a:gd name="T26" fmla="*/ 310518304 w 144"/>
              <a:gd name="T27" fmla="*/ 313583505 h 144"/>
              <a:gd name="T28" fmla="*/ 440734935 w 144"/>
              <a:gd name="T29" fmla="*/ 475434290 h 144"/>
              <a:gd name="T30" fmla="*/ 445743440 w 144"/>
              <a:gd name="T31" fmla="*/ 298412032 h 144"/>
              <a:gd name="T32" fmla="*/ 365609611 w 144"/>
              <a:gd name="T33" fmla="*/ 202311794 h 144"/>
              <a:gd name="T34" fmla="*/ 460768952 w 144"/>
              <a:gd name="T35" fmla="*/ 121387526 h 144"/>
              <a:gd name="T36" fmla="*/ 540902780 w 144"/>
              <a:gd name="T37" fmla="*/ 222543423 h 144"/>
              <a:gd name="T38" fmla="*/ 445743440 w 144"/>
              <a:gd name="T39" fmla="*/ 298412032 h 144"/>
              <a:gd name="T40" fmla="*/ 540902780 w 144"/>
              <a:gd name="T41" fmla="*/ 475434290 h 144"/>
              <a:gd name="T42" fmla="*/ 480800730 w 144"/>
              <a:gd name="T43" fmla="*/ 399567929 h 144"/>
              <a:gd name="T44" fmla="*/ 555926054 w 144"/>
              <a:gd name="T45" fmla="*/ 338873042 h 144"/>
              <a:gd name="T46" fmla="*/ 616025866 w 144"/>
              <a:gd name="T47" fmla="*/ 414741651 h 144"/>
              <a:gd name="T48" fmla="*/ 540902780 w 144"/>
              <a:gd name="T49" fmla="*/ 475434290 h 14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44" h="144">
                <a:moveTo>
                  <a:pt x="72" y="0"/>
                </a:moveTo>
                <a:cubicBezTo>
                  <a:pt x="32" y="0"/>
                  <a:pt x="0" y="32"/>
                  <a:pt x="0" y="72"/>
                </a:cubicBezTo>
                <a:cubicBezTo>
                  <a:pt x="0" y="112"/>
                  <a:pt x="32" y="144"/>
                  <a:pt x="72" y="144"/>
                </a:cubicBezTo>
                <a:cubicBezTo>
                  <a:pt x="112" y="144"/>
                  <a:pt x="144" y="112"/>
                  <a:pt x="144" y="72"/>
                </a:cubicBezTo>
                <a:cubicBezTo>
                  <a:pt x="144" y="32"/>
                  <a:pt x="112" y="0"/>
                  <a:pt x="72" y="0"/>
                </a:cubicBezTo>
                <a:close/>
                <a:moveTo>
                  <a:pt x="52" y="34"/>
                </a:moveTo>
                <a:cubicBezTo>
                  <a:pt x="58" y="34"/>
                  <a:pt x="62" y="38"/>
                  <a:pt x="62" y="44"/>
                </a:cubicBezTo>
                <a:cubicBezTo>
                  <a:pt x="62" y="49"/>
                  <a:pt x="58" y="54"/>
                  <a:pt x="52" y="54"/>
                </a:cubicBezTo>
                <a:cubicBezTo>
                  <a:pt x="47" y="54"/>
                  <a:pt x="42" y="49"/>
                  <a:pt x="42" y="44"/>
                </a:cubicBezTo>
                <a:cubicBezTo>
                  <a:pt x="42" y="38"/>
                  <a:pt x="47" y="34"/>
                  <a:pt x="52" y="34"/>
                </a:cubicBezTo>
                <a:close/>
                <a:moveTo>
                  <a:pt x="88" y="94"/>
                </a:moveTo>
                <a:cubicBezTo>
                  <a:pt x="86" y="111"/>
                  <a:pt x="72" y="122"/>
                  <a:pt x="55" y="121"/>
                </a:cubicBezTo>
                <a:cubicBezTo>
                  <a:pt x="39" y="119"/>
                  <a:pt x="27" y="104"/>
                  <a:pt x="29" y="88"/>
                </a:cubicBezTo>
                <a:cubicBezTo>
                  <a:pt x="31" y="72"/>
                  <a:pt x="45" y="60"/>
                  <a:pt x="62" y="62"/>
                </a:cubicBezTo>
                <a:cubicBezTo>
                  <a:pt x="78" y="64"/>
                  <a:pt x="90" y="78"/>
                  <a:pt x="88" y="94"/>
                </a:cubicBezTo>
                <a:close/>
                <a:moveTo>
                  <a:pt x="89" y="59"/>
                </a:moveTo>
                <a:cubicBezTo>
                  <a:pt x="79" y="58"/>
                  <a:pt x="72" y="50"/>
                  <a:pt x="73" y="40"/>
                </a:cubicBezTo>
                <a:cubicBezTo>
                  <a:pt x="74" y="30"/>
                  <a:pt x="83" y="23"/>
                  <a:pt x="92" y="24"/>
                </a:cubicBezTo>
                <a:cubicBezTo>
                  <a:pt x="102" y="25"/>
                  <a:pt x="109" y="34"/>
                  <a:pt x="108" y="44"/>
                </a:cubicBezTo>
                <a:cubicBezTo>
                  <a:pt x="107" y="53"/>
                  <a:pt x="98" y="60"/>
                  <a:pt x="89" y="59"/>
                </a:cubicBezTo>
                <a:close/>
                <a:moveTo>
                  <a:pt x="108" y="94"/>
                </a:moveTo>
                <a:cubicBezTo>
                  <a:pt x="101" y="93"/>
                  <a:pt x="95" y="86"/>
                  <a:pt x="96" y="79"/>
                </a:cubicBezTo>
                <a:cubicBezTo>
                  <a:pt x="97" y="71"/>
                  <a:pt x="104" y="66"/>
                  <a:pt x="111" y="67"/>
                </a:cubicBezTo>
                <a:cubicBezTo>
                  <a:pt x="119" y="68"/>
                  <a:pt x="124" y="74"/>
                  <a:pt x="123" y="82"/>
                </a:cubicBezTo>
                <a:cubicBezTo>
                  <a:pt x="123" y="89"/>
                  <a:pt x="116" y="95"/>
                  <a:pt x="108" y="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507" name="Freeform 142"/>
          <p:cNvSpPr>
            <a:spLocks noEditPoints="1"/>
          </p:cNvSpPr>
          <p:nvPr/>
        </p:nvSpPr>
        <p:spPr bwMode="auto">
          <a:xfrm>
            <a:off x="10481734" y="5376334"/>
            <a:ext cx="472017" cy="474133"/>
          </a:xfrm>
          <a:custGeom>
            <a:avLst/>
            <a:gdLst>
              <a:gd name="T0" fmla="*/ 652629687 w 158"/>
              <a:gd name="T1" fmla="*/ 141830385 h 158"/>
              <a:gd name="T2" fmla="*/ 140565567 w 158"/>
              <a:gd name="T3" fmla="*/ 141830385 h 158"/>
              <a:gd name="T4" fmla="*/ 140565567 w 158"/>
              <a:gd name="T5" fmla="*/ 658494678 h 158"/>
              <a:gd name="T6" fmla="*/ 652629687 w 158"/>
              <a:gd name="T7" fmla="*/ 658494678 h 158"/>
              <a:gd name="T8" fmla="*/ 652629687 w 158"/>
              <a:gd name="T9" fmla="*/ 141830385 h 158"/>
              <a:gd name="T10" fmla="*/ 602427059 w 158"/>
              <a:gd name="T11" fmla="*/ 536926742 h 158"/>
              <a:gd name="T12" fmla="*/ 532144275 w 158"/>
              <a:gd name="T13" fmla="*/ 607841934 h 158"/>
              <a:gd name="T14" fmla="*/ 396597627 w 158"/>
              <a:gd name="T15" fmla="*/ 476141648 h 158"/>
              <a:gd name="T16" fmla="*/ 266072138 w 158"/>
              <a:gd name="T17" fmla="*/ 607841934 h 158"/>
              <a:gd name="T18" fmla="*/ 195789354 w 158"/>
              <a:gd name="T19" fmla="*/ 536926742 h 158"/>
              <a:gd name="T20" fmla="*/ 326314844 w 158"/>
              <a:gd name="T21" fmla="*/ 400162532 h 158"/>
              <a:gd name="T22" fmla="*/ 195789354 w 158"/>
              <a:gd name="T23" fmla="*/ 268464496 h 158"/>
              <a:gd name="T24" fmla="*/ 266072138 w 158"/>
              <a:gd name="T25" fmla="*/ 197549304 h 158"/>
              <a:gd name="T26" fmla="*/ 396597627 w 158"/>
              <a:gd name="T27" fmla="*/ 329247339 h 158"/>
              <a:gd name="T28" fmla="*/ 532144275 w 158"/>
              <a:gd name="T29" fmla="*/ 197549304 h 158"/>
              <a:gd name="T30" fmla="*/ 602427059 w 158"/>
              <a:gd name="T31" fmla="*/ 268464496 h 158"/>
              <a:gd name="T32" fmla="*/ 471901570 w 158"/>
              <a:gd name="T33" fmla="*/ 400162532 h 158"/>
              <a:gd name="T34" fmla="*/ 602427059 w 158"/>
              <a:gd name="T35" fmla="*/ 536926742 h 15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58" h="158">
                <a:moveTo>
                  <a:pt x="130" y="28"/>
                </a:moveTo>
                <a:cubicBezTo>
                  <a:pt x="102" y="0"/>
                  <a:pt x="56" y="0"/>
                  <a:pt x="28" y="28"/>
                </a:cubicBezTo>
                <a:cubicBezTo>
                  <a:pt x="0" y="56"/>
                  <a:pt x="0" y="102"/>
                  <a:pt x="28" y="130"/>
                </a:cubicBezTo>
                <a:cubicBezTo>
                  <a:pt x="56" y="158"/>
                  <a:pt x="102" y="158"/>
                  <a:pt x="130" y="130"/>
                </a:cubicBezTo>
                <a:cubicBezTo>
                  <a:pt x="158" y="102"/>
                  <a:pt x="158" y="56"/>
                  <a:pt x="130" y="28"/>
                </a:cubicBezTo>
                <a:close/>
                <a:moveTo>
                  <a:pt x="120" y="106"/>
                </a:moveTo>
                <a:cubicBezTo>
                  <a:pt x="106" y="120"/>
                  <a:pt x="106" y="120"/>
                  <a:pt x="106" y="120"/>
                </a:cubicBezTo>
                <a:cubicBezTo>
                  <a:pt x="79" y="94"/>
                  <a:pt x="79" y="94"/>
                  <a:pt x="79" y="94"/>
                </a:cubicBezTo>
                <a:cubicBezTo>
                  <a:pt x="53" y="120"/>
                  <a:pt x="53" y="120"/>
                  <a:pt x="53" y="120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65" y="79"/>
                  <a:pt x="65" y="79"/>
                  <a:pt x="65" y="79"/>
                </a:cubicBezTo>
                <a:cubicBezTo>
                  <a:pt x="39" y="53"/>
                  <a:pt x="39" y="53"/>
                  <a:pt x="39" y="53"/>
                </a:cubicBezTo>
                <a:cubicBezTo>
                  <a:pt x="53" y="39"/>
                  <a:pt x="53" y="39"/>
                  <a:pt x="53" y="39"/>
                </a:cubicBezTo>
                <a:cubicBezTo>
                  <a:pt x="79" y="65"/>
                  <a:pt x="79" y="65"/>
                  <a:pt x="79" y="65"/>
                </a:cubicBezTo>
                <a:cubicBezTo>
                  <a:pt x="106" y="39"/>
                  <a:pt x="106" y="39"/>
                  <a:pt x="106" y="39"/>
                </a:cubicBezTo>
                <a:cubicBezTo>
                  <a:pt x="120" y="53"/>
                  <a:pt x="120" y="53"/>
                  <a:pt x="120" y="53"/>
                </a:cubicBezTo>
                <a:cubicBezTo>
                  <a:pt x="94" y="79"/>
                  <a:pt x="94" y="79"/>
                  <a:pt x="94" y="79"/>
                </a:cubicBezTo>
                <a:lnTo>
                  <a:pt x="120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508" name="Freeform 143"/>
          <p:cNvSpPr>
            <a:spLocks noEditPoints="1"/>
          </p:cNvSpPr>
          <p:nvPr/>
        </p:nvSpPr>
        <p:spPr bwMode="auto">
          <a:xfrm>
            <a:off x="2044700" y="3812118"/>
            <a:ext cx="400051" cy="510116"/>
          </a:xfrm>
          <a:custGeom>
            <a:avLst/>
            <a:gdLst>
              <a:gd name="T0" fmla="*/ 486310099 w 134"/>
              <a:gd name="T1" fmla="*/ 182334213 h 170"/>
              <a:gd name="T2" fmla="*/ 611647615 w 134"/>
              <a:gd name="T3" fmla="*/ 187397864 h 170"/>
              <a:gd name="T4" fmla="*/ 0 w 134"/>
              <a:gd name="T5" fmla="*/ 861018795 h 170"/>
              <a:gd name="T6" fmla="*/ 185499613 w 134"/>
              <a:gd name="T7" fmla="*/ 187397864 h 170"/>
              <a:gd name="T8" fmla="*/ 335905976 w 134"/>
              <a:gd name="T9" fmla="*/ 0 h 170"/>
              <a:gd name="T10" fmla="*/ 85228705 w 134"/>
              <a:gd name="T11" fmla="*/ 739464154 h 170"/>
              <a:gd name="T12" fmla="*/ 165446327 w 134"/>
              <a:gd name="T13" fmla="*/ 749593707 h 170"/>
              <a:gd name="T14" fmla="*/ 190512935 w 134"/>
              <a:gd name="T15" fmla="*/ 709073243 h 170"/>
              <a:gd name="T16" fmla="*/ 170459649 w 134"/>
              <a:gd name="T17" fmla="*/ 673620931 h 170"/>
              <a:gd name="T18" fmla="*/ 115310873 w 134"/>
              <a:gd name="T19" fmla="*/ 653361824 h 170"/>
              <a:gd name="T20" fmla="*/ 115310873 w 134"/>
              <a:gd name="T21" fmla="*/ 643232271 h 170"/>
              <a:gd name="T22" fmla="*/ 140377480 w 134"/>
              <a:gd name="T23" fmla="*/ 643232271 h 170"/>
              <a:gd name="T24" fmla="*/ 185499613 w 134"/>
              <a:gd name="T25" fmla="*/ 653361824 h 170"/>
              <a:gd name="T26" fmla="*/ 130350837 w 134"/>
              <a:gd name="T27" fmla="*/ 612843610 h 170"/>
              <a:gd name="T28" fmla="*/ 80215383 w 134"/>
              <a:gd name="T29" fmla="*/ 633102717 h 170"/>
              <a:gd name="T30" fmla="*/ 85228705 w 134"/>
              <a:gd name="T31" fmla="*/ 678684582 h 170"/>
              <a:gd name="T32" fmla="*/ 145390802 w 134"/>
              <a:gd name="T33" fmla="*/ 704009591 h 170"/>
              <a:gd name="T34" fmla="*/ 145390802 w 134"/>
              <a:gd name="T35" fmla="*/ 724268698 h 170"/>
              <a:gd name="T36" fmla="*/ 115310873 w 134"/>
              <a:gd name="T37" fmla="*/ 719205047 h 170"/>
              <a:gd name="T38" fmla="*/ 70188740 w 134"/>
              <a:gd name="T39" fmla="*/ 709073243 h 170"/>
              <a:gd name="T40" fmla="*/ 215581781 w 134"/>
              <a:gd name="T41" fmla="*/ 724268698 h 170"/>
              <a:gd name="T42" fmla="*/ 280757200 w 134"/>
              <a:gd name="T43" fmla="*/ 754657359 h 170"/>
              <a:gd name="T44" fmla="*/ 340919297 w 134"/>
              <a:gd name="T45" fmla="*/ 724268698 h 170"/>
              <a:gd name="T46" fmla="*/ 330890415 w 134"/>
              <a:gd name="T47" fmla="*/ 633102717 h 170"/>
              <a:gd name="T48" fmla="*/ 225608424 w 134"/>
              <a:gd name="T49" fmla="*/ 633102717 h 170"/>
              <a:gd name="T50" fmla="*/ 250675032 w 134"/>
              <a:gd name="T51" fmla="*/ 683750484 h 170"/>
              <a:gd name="T52" fmla="*/ 280757200 w 134"/>
              <a:gd name="T53" fmla="*/ 724268698 h 170"/>
              <a:gd name="T54" fmla="*/ 305823807 w 134"/>
              <a:gd name="T55" fmla="*/ 683750484 h 170"/>
              <a:gd name="T56" fmla="*/ 275743878 w 134"/>
              <a:gd name="T57" fmla="*/ 643232271 h 170"/>
              <a:gd name="T58" fmla="*/ 250675032 w 134"/>
              <a:gd name="T59" fmla="*/ 683750484 h 170"/>
              <a:gd name="T60" fmla="*/ 370999226 w 134"/>
              <a:gd name="T61" fmla="*/ 754657359 h 170"/>
              <a:gd name="T62" fmla="*/ 481296777 w 134"/>
              <a:gd name="T63" fmla="*/ 719205047 h 170"/>
              <a:gd name="T64" fmla="*/ 416121359 w 134"/>
              <a:gd name="T65" fmla="*/ 612843610 h 170"/>
              <a:gd name="T66" fmla="*/ 501350063 w 134"/>
              <a:gd name="T67" fmla="*/ 612843610 h 170"/>
              <a:gd name="T68" fmla="*/ 561512161 w 134"/>
              <a:gd name="T69" fmla="*/ 754657359 h 170"/>
              <a:gd name="T70" fmla="*/ 606634293 w 134"/>
              <a:gd name="T71" fmla="*/ 739464154 h 170"/>
              <a:gd name="T72" fmla="*/ 626687579 w 134"/>
              <a:gd name="T73" fmla="*/ 683750484 h 170"/>
              <a:gd name="T74" fmla="*/ 611647615 w 134"/>
              <a:gd name="T75" fmla="*/ 633102717 h 170"/>
              <a:gd name="T76" fmla="*/ 561512161 w 134"/>
              <a:gd name="T77" fmla="*/ 612843610 h 170"/>
              <a:gd name="T78" fmla="*/ 541458875 w 134"/>
              <a:gd name="T79" fmla="*/ 648295922 h 170"/>
              <a:gd name="T80" fmla="*/ 551485518 w 134"/>
              <a:gd name="T81" fmla="*/ 719205047 h 170"/>
              <a:gd name="T82" fmla="*/ 576552125 w 134"/>
              <a:gd name="T83" fmla="*/ 709073243 h 170"/>
              <a:gd name="T84" fmla="*/ 576552125 w 134"/>
              <a:gd name="T85" fmla="*/ 653361824 h 170"/>
              <a:gd name="T86" fmla="*/ 541458875 w 134"/>
              <a:gd name="T87" fmla="*/ 648295922 h 170"/>
              <a:gd name="T88" fmla="*/ 451214609 w 134"/>
              <a:gd name="T89" fmla="*/ 303888854 h 170"/>
              <a:gd name="T90" fmla="*/ 491323420 w 134"/>
              <a:gd name="T91" fmla="*/ 278563845 h 170"/>
              <a:gd name="T92" fmla="*/ 220595103 w 134"/>
              <a:gd name="T93" fmla="*/ 308954756 h 170"/>
              <a:gd name="T94" fmla="*/ 185499613 w 134"/>
              <a:gd name="T95" fmla="*/ 278563845 h 170"/>
              <a:gd name="T96" fmla="*/ 220595103 w 134"/>
              <a:gd name="T97" fmla="*/ 308954756 h 170"/>
              <a:gd name="T98" fmla="*/ 481296777 w 134"/>
              <a:gd name="T99" fmla="*/ 187397864 h 170"/>
              <a:gd name="T100" fmla="*/ 200539578 w 134"/>
              <a:gd name="T101" fmla="*/ 187397864 h 170"/>
              <a:gd name="T102" fmla="*/ 205552899 w 134"/>
              <a:gd name="T103" fmla="*/ 248175185 h 170"/>
              <a:gd name="T104" fmla="*/ 245661710 w 134"/>
              <a:gd name="T105" fmla="*/ 278563845 h 170"/>
              <a:gd name="T106" fmla="*/ 461243491 w 134"/>
              <a:gd name="T107" fmla="*/ 248175185 h 170"/>
              <a:gd name="T108" fmla="*/ 441187966 w 134"/>
              <a:gd name="T109" fmla="*/ 303888854 h 170"/>
              <a:gd name="T110" fmla="*/ 461243491 w 134"/>
              <a:gd name="T111" fmla="*/ 248175185 h 1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4" h="170">
                <a:moveTo>
                  <a:pt x="67" y="0"/>
                </a:moveTo>
                <a:cubicBezTo>
                  <a:pt x="84" y="0"/>
                  <a:pt x="97" y="16"/>
                  <a:pt x="97" y="36"/>
                </a:cubicBezTo>
                <a:cubicBezTo>
                  <a:pt x="97" y="37"/>
                  <a:pt x="97" y="37"/>
                  <a:pt x="97" y="37"/>
                </a:cubicBezTo>
                <a:cubicBezTo>
                  <a:pt x="122" y="37"/>
                  <a:pt x="122" y="37"/>
                  <a:pt x="122" y="37"/>
                </a:cubicBezTo>
                <a:cubicBezTo>
                  <a:pt x="134" y="170"/>
                  <a:pt x="134" y="170"/>
                  <a:pt x="134" y="170"/>
                </a:cubicBezTo>
                <a:cubicBezTo>
                  <a:pt x="0" y="170"/>
                  <a:pt x="0" y="170"/>
                  <a:pt x="0" y="170"/>
                </a:cubicBezTo>
                <a:cubicBezTo>
                  <a:pt x="12" y="37"/>
                  <a:pt x="12" y="37"/>
                  <a:pt x="12" y="37"/>
                </a:cubicBezTo>
                <a:cubicBezTo>
                  <a:pt x="37" y="37"/>
                  <a:pt x="37" y="37"/>
                  <a:pt x="37" y="37"/>
                </a:cubicBezTo>
                <a:cubicBezTo>
                  <a:pt x="37" y="36"/>
                  <a:pt x="37" y="36"/>
                  <a:pt x="37" y="36"/>
                </a:cubicBezTo>
                <a:cubicBezTo>
                  <a:pt x="37" y="16"/>
                  <a:pt x="50" y="0"/>
                  <a:pt x="67" y="0"/>
                </a:cubicBezTo>
                <a:close/>
                <a:moveTo>
                  <a:pt x="14" y="140"/>
                </a:moveTo>
                <a:cubicBezTo>
                  <a:pt x="14" y="142"/>
                  <a:pt x="15" y="145"/>
                  <a:pt x="17" y="146"/>
                </a:cubicBezTo>
                <a:cubicBezTo>
                  <a:pt x="18" y="148"/>
                  <a:pt x="22" y="149"/>
                  <a:pt x="26" y="149"/>
                </a:cubicBezTo>
                <a:cubicBezTo>
                  <a:pt x="29" y="149"/>
                  <a:pt x="31" y="149"/>
                  <a:pt x="33" y="148"/>
                </a:cubicBezTo>
                <a:cubicBezTo>
                  <a:pt x="35" y="147"/>
                  <a:pt x="36" y="146"/>
                  <a:pt x="37" y="144"/>
                </a:cubicBezTo>
                <a:cubicBezTo>
                  <a:pt x="38" y="143"/>
                  <a:pt x="38" y="141"/>
                  <a:pt x="38" y="140"/>
                </a:cubicBezTo>
                <a:cubicBezTo>
                  <a:pt x="38" y="138"/>
                  <a:pt x="38" y="137"/>
                  <a:pt x="37" y="136"/>
                </a:cubicBezTo>
                <a:cubicBezTo>
                  <a:pt x="36" y="134"/>
                  <a:pt x="35" y="133"/>
                  <a:pt x="34" y="133"/>
                </a:cubicBezTo>
                <a:cubicBezTo>
                  <a:pt x="32" y="132"/>
                  <a:pt x="30" y="131"/>
                  <a:pt x="26" y="130"/>
                </a:cubicBezTo>
                <a:cubicBezTo>
                  <a:pt x="24" y="130"/>
                  <a:pt x="23" y="130"/>
                  <a:pt x="23" y="129"/>
                </a:cubicBezTo>
                <a:cubicBezTo>
                  <a:pt x="23" y="129"/>
                  <a:pt x="22" y="129"/>
                  <a:pt x="22" y="128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4" y="126"/>
                  <a:pt x="24" y="126"/>
                  <a:pt x="25" y="126"/>
                </a:cubicBezTo>
                <a:cubicBezTo>
                  <a:pt x="27" y="126"/>
                  <a:pt x="28" y="126"/>
                  <a:pt x="28" y="127"/>
                </a:cubicBezTo>
                <a:cubicBezTo>
                  <a:pt x="29" y="127"/>
                  <a:pt x="29" y="128"/>
                  <a:pt x="30" y="129"/>
                </a:cubicBezTo>
                <a:cubicBezTo>
                  <a:pt x="37" y="129"/>
                  <a:pt x="37" y="129"/>
                  <a:pt x="37" y="129"/>
                </a:cubicBezTo>
                <a:cubicBezTo>
                  <a:pt x="37" y="126"/>
                  <a:pt x="36" y="124"/>
                  <a:pt x="34" y="123"/>
                </a:cubicBezTo>
                <a:cubicBezTo>
                  <a:pt x="32" y="122"/>
                  <a:pt x="30" y="121"/>
                  <a:pt x="26" y="121"/>
                </a:cubicBezTo>
                <a:cubicBezTo>
                  <a:pt x="23" y="121"/>
                  <a:pt x="21" y="121"/>
                  <a:pt x="20" y="122"/>
                </a:cubicBezTo>
                <a:cubicBezTo>
                  <a:pt x="18" y="123"/>
                  <a:pt x="17" y="124"/>
                  <a:pt x="16" y="125"/>
                </a:cubicBezTo>
                <a:cubicBezTo>
                  <a:pt x="15" y="126"/>
                  <a:pt x="15" y="127"/>
                  <a:pt x="15" y="129"/>
                </a:cubicBezTo>
                <a:cubicBezTo>
                  <a:pt x="15" y="131"/>
                  <a:pt x="15" y="133"/>
                  <a:pt x="17" y="134"/>
                </a:cubicBezTo>
                <a:cubicBezTo>
                  <a:pt x="19" y="135"/>
                  <a:pt x="21" y="137"/>
                  <a:pt x="25" y="137"/>
                </a:cubicBezTo>
                <a:cubicBezTo>
                  <a:pt x="27" y="138"/>
                  <a:pt x="29" y="138"/>
                  <a:pt x="29" y="139"/>
                </a:cubicBezTo>
                <a:cubicBezTo>
                  <a:pt x="30" y="140"/>
                  <a:pt x="30" y="140"/>
                  <a:pt x="30" y="141"/>
                </a:cubicBezTo>
                <a:cubicBezTo>
                  <a:pt x="30" y="142"/>
                  <a:pt x="30" y="142"/>
                  <a:pt x="29" y="143"/>
                </a:cubicBezTo>
                <a:cubicBezTo>
                  <a:pt x="29" y="143"/>
                  <a:pt x="28" y="144"/>
                  <a:pt x="26" y="144"/>
                </a:cubicBezTo>
                <a:cubicBezTo>
                  <a:pt x="25" y="144"/>
                  <a:pt x="24" y="143"/>
                  <a:pt x="23" y="142"/>
                </a:cubicBezTo>
                <a:cubicBezTo>
                  <a:pt x="22" y="141"/>
                  <a:pt x="22" y="140"/>
                  <a:pt x="22" y="139"/>
                </a:cubicBezTo>
                <a:cubicBezTo>
                  <a:pt x="14" y="140"/>
                  <a:pt x="14" y="140"/>
                  <a:pt x="14" y="140"/>
                </a:cubicBezTo>
                <a:close/>
                <a:moveTo>
                  <a:pt x="41" y="135"/>
                </a:moveTo>
                <a:cubicBezTo>
                  <a:pt x="41" y="138"/>
                  <a:pt x="42" y="141"/>
                  <a:pt x="43" y="143"/>
                </a:cubicBezTo>
                <a:cubicBezTo>
                  <a:pt x="45" y="145"/>
                  <a:pt x="46" y="147"/>
                  <a:pt x="48" y="148"/>
                </a:cubicBezTo>
                <a:cubicBezTo>
                  <a:pt x="50" y="148"/>
                  <a:pt x="53" y="149"/>
                  <a:pt x="56" y="149"/>
                </a:cubicBezTo>
                <a:cubicBezTo>
                  <a:pt x="59" y="149"/>
                  <a:pt x="61" y="148"/>
                  <a:pt x="63" y="147"/>
                </a:cubicBezTo>
                <a:cubicBezTo>
                  <a:pt x="65" y="146"/>
                  <a:pt x="67" y="145"/>
                  <a:pt x="68" y="143"/>
                </a:cubicBezTo>
                <a:cubicBezTo>
                  <a:pt x="69" y="141"/>
                  <a:pt x="70" y="138"/>
                  <a:pt x="70" y="135"/>
                </a:cubicBezTo>
                <a:cubicBezTo>
                  <a:pt x="70" y="130"/>
                  <a:pt x="68" y="127"/>
                  <a:pt x="66" y="125"/>
                </a:cubicBezTo>
                <a:cubicBezTo>
                  <a:pt x="63" y="122"/>
                  <a:pt x="60" y="121"/>
                  <a:pt x="55" y="121"/>
                </a:cubicBezTo>
                <a:cubicBezTo>
                  <a:pt x="51" y="121"/>
                  <a:pt x="48" y="122"/>
                  <a:pt x="45" y="125"/>
                </a:cubicBezTo>
                <a:cubicBezTo>
                  <a:pt x="43" y="127"/>
                  <a:pt x="41" y="131"/>
                  <a:pt x="41" y="135"/>
                </a:cubicBezTo>
                <a:close/>
                <a:moveTo>
                  <a:pt x="50" y="135"/>
                </a:moveTo>
                <a:cubicBezTo>
                  <a:pt x="50" y="138"/>
                  <a:pt x="50" y="140"/>
                  <a:pt x="51" y="141"/>
                </a:cubicBezTo>
                <a:cubicBezTo>
                  <a:pt x="52" y="142"/>
                  <a:pt x="54" y="143"/>
                  <a:pt x="56" y="143"/>
                </a:cubicBezTo>
                <a:cubicBezTo>
                  <a:pt x="57" y="143"/>
                  <a:pt x="59" y="142"/>
                  <a:pt x="60" y="141"/>
                </a:cubicBezTo>
                <a:cubicBezTo>
                  <a:pt x="61" y="140"/>
                  <a:pt x="61" y="138"/>
                  <a:pt x="61" y="135"/>
                </a:cubicBezTo>
                <a:cubicBezTo>
                  <a:pt x="61" y="132"/>
                  <a:pt x="61" y="130"/>
                  <a:pt x="60" y="129"/>
                </a:cubicBezTo>
                <a:cubicBezTo>
                  <a:pt x="59" y="128"/>
                  <a:pt x="57" y="127"/>
                  <a:pt x="55" y="127"/>
                </a:cubicBezTo>
                <a:cubicBezTo>
                  <a:pt x="54" y="127"/>
                  <a:pt x="52" y="128"/>
                  <a:pt x="51" y="129"/>
                </a:cubicBezTo>
                <a:cubicBezTo>
                  <a:pt x="50" y="130"/>
                  <a:pt x="50" y="132"/>
                  <a:pt x="50" y="135"/>
                </a:cubicBezTo>
                <a:close/>
                <a:moveTo>
                  <a:pt x="74" y="121"/>
                </a:moveTo>
                <a:cubicBezTo>
                  <a:pt x="74" y="149"/>
                  <a:pt x="74" y="149"/>
                  <a:pt x="74" y="149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2"/>
                  <a:pt x="96" y="142"/>
                  <a:pt x="96" y="142"/>
                </a:cubicBezTo>
                <a:cubicBezTo>
                  <a:pt x="83" y="142"/>
                  <a:pt x="83" y="142"/>
                  <a:pt x="83" y="142"/>
                </a:cubicBezTo>
                <a:cubicBezTo>
                  <a:pt x="83" y="121"/>
                  <a:pt x="83" y="121"/>
                  <a:pt x="83" y="121"/>
                </a:cubicBezTo>
                <a:cubicBezTo>
                  <a:pt x="74" y="121"/>
                  <a:pt x="74" y="121"/>
                  <a:pt x="74" y="121"/>
                </a:cubicBezTo>
                <a:close/>
                <a:moveTo>
                  <a:pt x="100" y="121"/>
                </a:moveTo>
                <a:cubicBezTo>
                  <a:pt x="100" y="149"/>
                  <a:pt x="100" y="149"/>
                  <a:pt x="100" y="149"/>
                </a:cubicBezTo>
                <a:cubicBezTo>
                  <a:pt x="112" y="149"/>
                  <a:pt x="112" y="149"/>
                  <a:pt x="112" y="149"/>
                </a:cubicBezTo>
                <a:cubicBezTo>
                  <a:pt x="113" y="149"/>
                  <a:pt x="115" y="148"/>
                  <a:pt x="117" y="148"/>
                </a:cubicBezTo>
                <a:cubicBezTo>
                  <a:pt x="118" y="147"/>
                  <a:pt x="120" y="147"/>
                  <a:pt x="121" y="146"/>
                </a:cubicBezTo>
                <a:cubicBezTo>
                  <a:pt x="122" y="145"/>
                  <a:pt x="123" y="143"/>
                  <a:pt x="124" y="142"/>
                </a:cubicBezTo>
                <a:cubicBezTo>
                  <a:pt x="124" y="140"/>
                  <a:pt x="125" y="138"/>
                  <a:pt x="125" y="135"/>
                </a:cubicBezTo>
                <a:cubicBezTo>
                  <a:pt x="125" y="133"/>
                  <a:pt x="124" y="131"/>
                  <a:pt x="124" y="130"/>
                </a:cubicBezTo>
                <a:cubicBezTo>
                  <a:pt x="123" y="128"/>
                  <a:pt x="123" y="126"/>
                  <a:pt x="122" y="125"/>
                </a:cubicBezTo>
                <a:cubicBezTo>
                  <a:pt x="121" y="124"/>
                  <a:pt x="119" y="123"/>
                  <a:pt x="118" y="122"/>
                </a:cubicBezTo>
                <a:cubicBezTo>
                  <a:pt x="116" y="122"/>
                  <a:pt x="114" y="121"/>
                  <a:pt x="112" y="121"/>
                </a:cubicBezTo>
                <a:cubicBezTo>
                  <a:pt x="100" y="121"/>
                  <a:pt x="100" y="121"/>
                  <a:pt x="100" y="121"/>
                </a:cubicBezTo>
                <a:close/>
                <a:moveTo>
                  <a:pt x="108" y="128"/>
                </a:moveTo>
                <a:cubicBezTo>
                  <a:pt x="108" y="142"/>
                  <a:pt x="108" y="142"/>
                  <a:pt x="108" y="142"/>
                </a:cubicBezTo>
                <a:cubicBezTo>
                  <a:pt x="110" y="142"/>
                  <a:pt x="110" y="142"/>
                  <a:pt x="110" y="142"/>
                </a:cubicBezTo>
                <a:cubicBezTo>
                  <a:pt x="112" y="142"/>
                  <a:pt x="113" y="142"/>
                  <a:pt x="114" y="142"/>
                </a:cubicBezTo>
                <a:cubicBezTo>
                  <a:pt x="114" y="141"/>
                  <a:pt x="115" y="141"/>
                  <a:pt x="115" y="140"/>
                </a:cubicBezTo>
                <a:cubicBezTo>
                  <a:pt x="116" y="139"/>
                  <a:pt x="116" y="137"/>
                  <a:pt x="116" y="135"/>
                </a:cubicBezTo>
                <a:cubicBezTo>
                  <a:pt x="116" y="132"/>
                  <a:pt x="116" y="130"/>
                  <a:pt x="115" y="129"/>
                </a:cubicBezTo>
                <a:cubicBezTo>
                  <a:pt x="114" y="128"/>
                  <a:pt x="112" y="128"/>
                  <a:pt x="110" y="128"/>
                </a:cubicBezTo>
                <a:cubicBezTo>
                  <a:pt x="108" y="128"/>
                  <a:pt x="108" y="128"/>
                  <a:pt x="108" y="128"/>
                </a:cubicBezTo>
                <a:close/>
                <a:moveTo>
                  <a:pt x="95" y="50"/>
                </a:moveTo>
                <a:cubicBezTo>
                  <a:pt x="94" y="54"/>
                  <a:pt x="92" y="57"/>
                  <a:pt x="90" y="60"/>
                </a:cubicBezTo>
                <a:cubicBezTo>
                  <a:pt x="91" y="61"/>
                  <a:pt x="91" y="61"/>
                  <a:pt x="92" y="61"/>
                </a:cubicBezTo>
                <a:cubicBezTo>
                  <a:pt x="95" y="61"/>
                  <a:pt x="98" y="58"/>
                  <a:pt x="98" y="55"/>
                </a:cubicBezTo>
                <a:cubicBezTo>
                  <a:pt x="98" y="53"/>
                  <a:pt x="97" y="51"/>
                  <a:pt x="95" y="50"/>
                </a:cubicBezTo>
                <a:close/>
                <a:moveTo>
                  <a:pt x="44" y="61"/>
                </a:moveTo>
                <a:cubicBezTo>
                  <a:pt x="42" y="58"/>
                  <a:pt x="40" y="54"/>
                  <a:pt x="39" y="50"/>
                </a:cubicBezTo>
                <a:cubicBezTo>
                  <a:pt x="37" y="51"/>
                  <a:pt x="37" y="53"/>
                  <a:pt x="37" y="55"/>
                </a:cubicBezTo>
                <a:cubicBezTo>
                  <a:pt x="37" y="58"/>
                  <a:pt x="39" y="61"/>
                  <a:pt x="43" y="61"/>
                </a:cubicBezTo>
                <a:cubicBezTo>
                  <a:pt x="43" y="61"/>
                  <a:pt x="44" y="61"/>
                  <a:pt x="44" y="61"/>
                </a:cubicBezTo>
                <a:close/>
                <a:moveTo>
                  <a:pt x="40" y="37"/>
                </a:moveTo>
                <a:cubicBezTo>
                  <a:pt x="96" y="37"/>
                  <a:pt x="96" y="37"/>
                  <a:pt x="96" y="37"/>
                </a:cubicBezTo>
                <a:cubicBezTo>
                  <a:pt x="95" y="18"/>
                  <a:pt x="83" y="3"/>
                  <a:pt x="68" y="3"/>
                </a:cubicBezTo>
                <a:cubicBezTo>
                  <a:pt x="52" y="3"/>
                  <a:pt x="40" y="18"/>
                  <a:pt x="40" y="37"/>
                </a:cubicBezTo>
                <a:close/>
                <a:moveTo>
                  <a:pt x="43" y="49"/>
                </a:moveTo>
                <a:cubicBezTo>
                  <a:pt x="42" y="49"/>
                  <a:pt x="42" y="49"/>
                  <a:pt x="41" y="49"/>
                </a:cubicBezTo>
                <a:cubicBezTo>
                  <a:pt x="43" y="53"/>
                  <a:pt x="44" y="56"/>
                  <a:pt x="47" y="59"/>
                </a:cubicBezTo>
                <a:cubicBezTo>
                  <a:pt x="48" y="58"/>
                  <a:pt x="49" y="57"/>
                  <a:pt x="49" y="55"/>
                </a:cubicBezTo>
                <a:cubicBezTo>
                  <a:pt x="49" y="51"/>
                  <a:pt x="46" y="49"/>
                  <a:pt x="43" y="49"/>
                </a:cubicBezTo>
                <a:close/>
                <a:moveTo>
                  <a:pt x="92" y="49"/>
                </a:moveTo>
                <a:cubicBezTo>
                  <a:pt x="89" y="49"/>
                  <a:pt x="86" y="51"/>
                  <a:pt x="86" y="55"/>
                </a:cubicBezTo>
                <a:cubicBezTo>
                  <a:pt x="86" y="57"/>
                  <a:pt x="87" y="58"/>
                  <a:pt x="88" y="60"/>
                </a:cubicBezTo>
                <a:cubicBezTo>
                  <a:pt x="91" y="56"/>
                  <a:pt x="92" y="53"/>
                  <a:pt x="94" y="49"/>
                </a:cubicBezTo>
                <a:cubicBezTo>
                  <a:pt x="93" y="49"/>
                  <a:pt x="93" y="49"/>
                  <a:pt x="92" y="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图片 47">
            <a:extLst>
              <a:ext uri="{FF2B5EF4-FFF2-40B4-BE49-F238E27FC236}">
                <a16:creationId xmlns:a16="http://schemas.microsoft.com/office/drawing/2014/main" id="{19C0F5B4-2144-49F4-A4FE-A1034A9C1C1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0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6858000 h 6858000"/>
              <a:gd name="connsiteX3" fmla="*/ 0 w 12193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49" name="矩形 48">
            <a:extLst>
              <a:ext uri="{FF2B5EF4-FFF2-40B4-BE49-F238E27FC236}">
                <a16:creationId xmlns:a16="http://schemas.microsoft.com/office/drawing/2014/main" id="{E3C1388B-27AA-4FA1-8ADA-2CF0C2AB0A33}"/>
              </a:ext>
            </a:extLst>
          </p:cNvPr>
          <p:cNvSpPr/>
          <p:nvPr/>
        </p:nvSpPr>
        <p:spPr>
          <a:xfrm>
            <a:off x="-600" y="0"/>
            <a:ext cx="12193200" cy="6858000"/>
          </a:xfrm>
          <a:prstGeom prst="rect">
            <a:avLst/>
          </a:prstGeom>
          <a:solidFill>
            <a:srgbClr val="000000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0A2E1F14-4487-4056-AC03-27FC2FB305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0898" y="0"/>
            <a:ext cx="4784504" cy="6858000"/>
          </a:xfrm>
          <a:custGeom>
            <a:avLst/>
            <a:gdLst>
              <a:gd name="connsiteX0" fmla="*/ 2758478 w 4784504"/>
              <a:gd name="connsiteY0" fmla="*/ 0 h 6858000"/>
              <a:gd name="connsiteX1" fmla="*/ 4784504 w 4784504"/>
              <a:gd name="connsiteY1" fmla="*/ 0 h 6858000"/>
              <a:gd name="connsiteX2" fmla="*/ 2162477 w 4784504"/>
              <a:gd name="connsiteY2" fmla="*/ 2622027 h 6858000"/>
              <a:gd name="connsiteX3" fmla="*/ 2162477 w 4784504"/>
              <a:gd name="connsiteY3" fmla="*/ 4235974 h 6858000"/>
              <a:gd name="connsiteX4" fmla="*/ 4784504 w 4784504"/>
              <a:gd name="connsiteY4" fmla="*/ 6858000 h 6858000"/>
              <a:gd name="connsiteX5" fmla="*/ 2758478 w 4784504"/>
              <a:gd name="connsiteY5" fmla="*/ 6858000 h 6858000"/>
              <a:gd name="connsiteX6" fmla="*/ 474129 w 4784504"/>
              <a:gd name="connsiteY6" fmla="*/ 4573651 h 6858000"/>
              <a:gd name="connsiteX7" fmla="*/ 474129 w 4784504"/>
              <a:gd name="connsiteY7" fmla="*/ 2284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4504" h="6858000">
                <a:moveTo>
                  <a:pt x="2758478" y="0"/>
                </a:moveTo>
                <a:lnTo>
                  <a:pt x="4784504" y="0"/>
                </a:lnTo>
                <a:lnTo>
                  <a:pt x="2162477" y="2622027"/>
                </a:lnTo>
                <a:cubicBezTo>
                  <a:pt x="1716800" y="3067704"/>
                  <a:pt x="1716800" y="3790296"/>
                  <a:pt x="2162477" y="4235974"/>
                </a:cubicBezTo>
                <a:lnTo>
                  <a:pt x="4784504" y="6858000"/>
                </a:lnTo>
                <a:lnTo>
                  <a:pt x="2758478" y="6858000"/>
                </a:lnTo>
                <a:lnTo>
                  <a:pt x="474129" y="4573651"/>
                </a:lnTo>
                <a:cubicBezTo>
                  <a:pt x="-158042" y="3941480"/>
                  <a:pt x="-158042" y="2916520"/>
                  <a:pt x="474129" y="228435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7C186F10-3D2D-4A89-B604-F181FB5BBE90}"/>
              </a:ext>
            </a:extLst>
          </p:cNvPr>
          <p:cNvSpPr/>
          <p:nvPr/>
        </p:nvSpPr>
        <p:spPr>
          <a:xfrm rot="18900000" flipH="1">
            <a:off x="399615" y="288023"/>
            <a:ext cx="6281955" cy="6281955"/>
          </a:xfrm>
          <a:custGeom>
            <a:avLst/>
            <a:gdLst>
              <a:gd name="connsiteX0" fmla="*/ 1432617 w 6281955"/>
              <a:gd name="connsiteY0" fmla="*/ 0 h 6281955"/>
              <a:gd name="connsiteX1" fmla="*/ 0 w 6281955"/>
              <a:gd name="connsiteY1" fmla="*/ 1432617 h 6281955"/>
              <a:gd name="connsiteX2" fmla="*/ 3708106 w 6281955"/>
              <a:gd name="connsiteY2" fmla="*/ 1432617 h 6281955"/>
              <a:gd name="connsiteX3" fmla="*/ 4849338 w 6281955"/>
              <a:gd name="connsiteY3" fmla="*/ 2573849 h 6281955"/>
              <a:gd name="connsiteX4" fmla="*/ 4849338 w 6281955"/>
              <a:gd name="connsiteY4" fmla="*/ 6281955 h 6281955"/>
              <a:gd name="connsiteX5" fmla="*/ 6281955 w 6281955"/>
              <a:gd name="connsiteY5" fmla="*/ 4849338 h 6281955"/>
              <a:gd name="connsiteX6" fmla="*/ 6281955 w 6281955"/>
              <a:gd name="connsiteY6" fmla="*/ 1618780 h 6281955"/>
              <a:gd name="connsiteX7" fmla="*/ 4663174 w 6281955"/>
              <a:gd name="connsiteY7" fmla="*/ 0 h 6281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1955" h="6281955">
                <a:moveTo>
                  <a:pt x="1432617" y="0"/>
                </a:moveTo>
                <a:lnTo>
                  <a:pt x="0" y="1432617"/>
                </a:lnTo>
                <a:lnTo>
                  <a:pt x="3708106" y="1432617"/>
                </a:lnTo>
                <a:cubicBezTo>
                  <a:pt x="4338388" y="1432617"/>
                  <a:pt x="4849338" y="1943567"/>
                  <a:pt x="4849338" y="2573849"/>
                </a:cubicBezTo>
                <a:lnTo>
                  <a:pt x="4849338" y="6281955"/>
                </a:lnTo>
                <a:lnTo>
                  <a:pt x="6281955" y="4849338"/>
                </a:lnTo>
                <a:lnTo>
                  <a:pt x="6281955" y="1618780"/>
                </a:lnTo>
                <a:cubicBezTo>
                  <a:pt x="6281955" y="724756"/>
                  <a:pt x="5557199" y="0"/>
                  <a:pt x="4663174" y="0"/>
                </a:cubicBezTo>
                <a:close/>
              </a:path>
            </a:pathLst>
          </a:custGeom>
          <a:solidFill>
            <a:schemeClr val="accent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pic>
        <p:nvPicPr>
          <p:cNvPr id="45" name="图片 44">
            <a:extLst>
              <a:ext uri="{FF2B5EF4-FFF2-40B4-BE49-F238E27FC236}">
                <a16:creationId xmlns:a16="http://schemas.microsoft.com/office/drawing/2014/main" id="{83504628-6E82-4F2C-8ADC-25677223D7F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38395" y="0"/>
            <a:ext cx="4784504" cy="6858000"/>
          </a:xfrm>
          <a:custGeom>
            <a:avLst/>
            <a:gdLst>
              <a:gd name="connsiteX0" fmla="*/ 2758478 w 4784504"/>
              <a:gd name="connsiteY0" fmla="*/ 0 h 6858000"/>
              <a:gd name="connsiteX1" fmla="*/ 4784504 w 4784504"/>
              <a:gd name="connsiteY1" fmla="*/ 0 h 6858000"/>
              <a:gd name="connsiteX2" fmla="*/ 2162477 w 4784504"/>
              <a:gd name="connsiteY2" fmla="*/ 2622027 h 6858000"/>
              <a:gd name="connsiteX3" fmla="*/ 2162477 w 4784504"/>
              <a:gd name="connsiteY3" fmla="*/ 4235974 h 6858000"/>
              <a:gd name="connsiteX4" fmla="*/ 4784504 w 4784504"/>
              <a:gd name="connsiteY4" fmla="*/ 6858000 h 6858000"/>
              <a:gd name="connsiteX5" fmla="*/ 2758478 w 4784504"/>
              <a:gd name="connsiteY5" fmla="*/ 6858000 h 6858000"/>
              <a:gd name="connsiteX6" fmla="*/ 474129 w 4784504"/>
              <a:gd name="connsiteY6" fmla="*/ 4573651 h 6858000"/>
              <a:gd name="connsiteX7" fmla="*/ 474129 w 4784504"/>
              <a:gd name="connsiteY7" fmla="*/ 2284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4504" h="6858000">
                <a:moveTo>
                  <a:pt x="2758478" y="0"/>
                </a:moveTo>
                <a:lnTo>
                  <a:pt x="4784504" y="0"/>
                </a:lnTo>
                <a:lnTo>
                  <a:pt x="2162477" y="2622027"/>
                </a:lnTo>
                <a:cubicBezTo>
                  <a:pt x="1716800" y="3067704"/>
                  <a:pt x="1716800" y="3790296"/>
                  <a:pt x="2162477" y="4235974"/>
                </a:cubicBezTo>
                <a:lnTo>
                  <a:pt x="4784504" y="6858000"/>
                </a:lnTo>
                <a:lnTo>
                  <a:pt x="2758478" y="6858000"/>
                </a:lnTo>
                <a:lnTo>
                  <a:pt x="474129" y="4573651"/>
                </a:lnTo>
                <a:cubicBezTo>
                  <a:pt x="-158042" y="3941480"/>
                  <a:pt x="-158042" y="2916520"/>
                  <a:pt x="474129" y="228435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1CB351D2-3629-4561-820D-2FFB6AAAD3AF}"/>
              </a:ext>
            </a:extLst>
          </p:cNvPr>
          <p:cNvSpPr/>
          <p:nvPr/>
        </p:nvSpPr>
        <p:spPr>
          <a:xfrm rot="2700000">
            <a:off x="5510431" y="288023"/>
            <a:ext cx="6281955" cy="6281955"/>
          </a:xfrm>
          <a:custGeom>
            <a:avLst/>
            <a:gdLst>
              <a:gd name="connsiteX0" fmla="*/ 1432617 w 6281955"/>
              <a:gd name="connsiteY0" fmla="*/ 0 h 6281955"/>
              <a:gd name="connsiteX1" fmla="*/ 0 w 6281955"/>
              <a:gd name="connsiteY1" fmla="*/ 1432617 h 6281955"/>
              <a:gd name="connsiteX2" fmla="*/ 3708106 w 6281955"/>
              <a:gd name="connsiteY2" fmla="*/ 1432617 h 6281955"/>
              <a:gd name="connsiteX3" fmla="*/ 4849338 w 6281955"/>
              <a:gd name="connsiteY3" fmla="*/ 2573849 h 6281955"/>
              <a:gd name="connsiteX4" fmla="*/ 4849338 w 6281955"/>
              <a:gd name="connsiteY4" fmla="*/ 6281955 h 6281955"/>
              <a:gd name="connsiteX5" fmla="*/ 6281955 w 6281955"/>
              <a:gd name="connsiteY5" fmla="*/ 4849338 h 6281955"/>
              <a:gd name="connsiteX6" fmla="*/ 6281955 w 6281955"/>
              <a:gd name="connsiteY6" fmla="*/ 1618780 h 6281955"/>
              <a:gd name="connsiteX7" fmla="*/ 4663174 w 6281955"/>
              <a:gd name="connsiteY7" fmla="*/ 0 h 6281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1955" h="6281955">
                <a:moveTo>
                  <a:pt x="1432617" y="0"/>
                </a:moveTo>
                <a:lnTo>
                  <a:pt x="0" y="1432617"/>
                </a:lnTo>
                <a:lnTo>
                  <a:pt x="3708106" y="1432617"/>
                </a:lnTo>
                <a:cubicBezTo>
                  <a:pt x="4338388" y="1432617"/>
                  <a:pt x="4849338" y="1943567"/>
                  <a:pt x="4849338" y="2573849"/>
                </a:cubicBezTo>
                <a:lnTo>
                  <a:pt x="4849338" y="6281955"/>
                </a:lnTo>
                <a:lnTo>
                  <a:pt x="6281955" y="4849338"/>
                </a:lnTo>
                <a:lnTo>
                  <a:pt x="6281955" y="1618780"/>
                </a:lnTo>
                <a:cubicBezTo>
                  <a:pt x="6281955" y="724756"/>
                  <a:pt x="5557199" y="0"/>
                  <a:pt x="4663174" y="0"/>
                </a:cubicBezTo>
                <a:close/>
              </a:path>
            </a:pathLst>
          </a:custGeom>
          <a:solidFill>
            <a:schemeClr val="accent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50" name="文本框">
            <a:extLst>
              <a:ext uri="{FF2B5EF4-FFF2-40B4-BE49-F238E27FC236}">
                <a16:creationId xmlns:a16="http://schemas.microsoft.com/office/drawing/2014/main" id="{EC3F6537-5DB0-4106-AA26-B60D7CBB469B}"/>
              </a:ext>
            </a:extLst>
          </p:cNvPr>
          <p:cNvSpPr txBox="1"/>
          <p:nvPr/>
        </p:nvSpPr>
        <p:spPr>
          <a:xfrm>
            <a:off x="3634126" y="3852926"/>
            <a:ext cx="4923748" cy="14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3600" b="1" dirty="0"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rgbClr val="E9EDF0"/>
                </a:solidFill>
                <a:cs typeface="+mn-ea"/>
                <a:sym typeface="+mn-lt"/>
              </a:rPr>
              <a:t>Click here to add content, content to match the title. Click here to add content, content to match the title. </a:t>
            </a:r>
            <a:endParaRPr lang="zh-CN" altLang="en-US" sz="1200" dirty="0">
              <a:solidFill>
                <a:srgbClr val="E9EDF0"/>
              </a:solidFill>
              <a:cs typeface="+mn-ea"/>
              <a:sym typeface="+mn-lt"/>
            </a:endParaRPr>
          </a:p>
        </p:txBody>
      </p:sp>
      <p:sp>
        <p:nvSpPr>
          <p:cNvPr id="51" name="文本框">
            <a:extLst>
              <a:ext uri="{FF2B5EF4-FFF2-40B4-BE49-F238E27FC236}">
                <a16:creationId xmlns:a16="http://schemas.microsoft.com/office/drawing/2014/main" id="{4886D33B-4428-4392-A9EB-7C73BF478029}"/>
              </a:ext>
            </a:extLst>
          </p:cNvPr>
          <p:cNvSpPr txBox="1"/>
          <p:nvPr/>
        </p:nvSpPr>
        <p:spPr>
          <a:xfrm>
            <a:off x="4652221" y="990338"/>
            <a:ext cx="2887558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3800" b="1" dirty="0">
                <a:latin typeface="Abadi Extra Light" panose="020B0204020104020204" pitchFamily="34" charset="0"/>
                <a:cs typeface="+mn-ea"/>
                <a:sym typeface="+mn-lt"/>
              </a:rPr>
              <a:t>01</a:t>
            </a:r>
          </a:p>
          <a:p>
            <a:pPr algn="ctr"/>
            <a:r>
              <a:rPr lang="en-US" altLang="zh-CN" sz="4000" b="1" dirty="0">
                <a:solidFill>
                  <a:srgbClr val="E9EDF0"/>
                </a:solidFill>
                <a:latin typeface="Abadi Extra Light" panose="020B0204020104020204" pitchFamily="34" charset="0"/>
                <a:cs typeface="+mn-ea"/>
                <a:sym typeface="+mn-lt"/>
              </a:rPr>
              <a:t>Part one</a:t>
            </a:r>
            <a:endParaRPr lang="zh-CN" altLang="en-US" sz="4000" dirty="0">
              <a:solidFill>
                <a:srgbClr val="E9EDF0"/>
              </a:solidFill>
              <a:latin typeface="Abadi Extra Light" panose="020B0204020104020204" pitchFamily="34" charset="0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9571769"/>
      </p:ext>
    </p:extLst>
  </p:cSld>
  <p:clrMapOvr>
    <a:masterClrMapping/>
  </p:clrMapOvr>
  <p:transition spd="slow" advClick="0" advTm="200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40" grpId="0" animBg="1"/>
      <p:bldP spid="46" grpId="0" animBg="1"/>
      <p:bldP spid="50" grpId="0"/>
      <p:bldP spid="51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Freeform 5"/>
          <p:cNvSpPr>
            <a:spLocks/>
          </p:cNvSpPr>
          <p:nvPr/>
        </p:nvSpPr>
        <p:spPr bwMode="auto">
          <a:xfrm>
            <a:off x="1172634" y="1500718"/>
            <a:ext cx="158751" cy="158749"/>
          </a:xfrm>
          <a:custGeom>
            <a:avLst/>
            <a:gdLst>
              <a:gd name="T0" fmla="*/ 163811638 w 75"/>
              <a:gd name="T1" fmla="*/ 163810262 h 75"/>
              <a:gd name="T2" fmla="*/ 73085632 w 75"/>
              <a:gd name="T3" fmla="*/ 189011719 h 75"/>
              <a:gd name="T4" fmla="*/ 0 w 75"/>
              <a:gd name="T5" fmla="*/ 118447640 h 75"/>
              <a:gd name="T6" fmla="*/ 25201668 w 75"/>
              <a:gd name="T7" fmla="*/ 25201457 h 75"/>
              <a:gd name="T8" fmla="*/ 118448635 w 75"/>
              <a:gd name="T9" fmla="*/ 0 h 75"/>
              <a:gd name="T10" fmla="*/ 189013306 w 75"/>
              <a:gd name="T11" fmla="*/ 70564079 h 75"/>
              <a:gd name="T12" fmla="*/ 163811638 w 75"/>
              <a:gd name="T13" fmla="*/ 163810262 h 7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75" h="75">
                <a:moveTo>
                  <a:pt x="65" y="65"/>
                </a:moveTo>
                <a:lnTo>
                  <a:pt x="29" y="75"/>
                </a:lnTo>
                <a:lnTo>
                  <a:pt x="0" y="47"/>
                </a:lnTo>
                <a:lnTo>
                  <a:pt x="10" y="10"/>
                </a:lnTo>
                <a:lnTo>
                  <a:pt x="47" y="0"/>
                </a:lnTo>
                <a:lnTo>
                  <a:pt x="75" y="28"/>
                </a:lnTo>
                <a:lnTo>
                  <a:pt x="65" y="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395" name="Freeform 6"/>
          <p:cNvSpPr>
            <a:spLocks/>
          </p:cNvSpPr>
          <p:nvPr/>
        </p:nvSpPr>
        <p:spPr bwMode="auto">
          <a:xfrm>
            <a:off x="1062567" y="1388533"/>
            <a:ext cx="465667" cy="467784"/>
          </a:xfrm>
          <a:custGeom>
            <a:avLst/>
            <a:gdLst>
              <a:gd name="T0" fmla="*/ 35540131 w 155"/>
              <a:gd name="T1" fmla="*/ 292028497 h 155"/>
              <a:gd name="T2" fmla="*/ 269082479 w 155"/>
              <a:gd name="T3" fmla="*/ 527701094 h 155"/>
              <a:gd name="T4" fmla="*/ 472163468 w 155"/>
              <a:gd name="T5" fmla="*/ 476467429 h 155"/>
              <a:gd name="T6" fmla="*/ 522933152 w 155"/>
              <a:gd name="T7" fmla="*/ 271535031 h 155"/>
              <a:gd name="T8" fmla="*/ 289390803 w 155"/>
              <a:gd name="T9" fmla="*/ 35862434 h 155"/>
              <a:gd name="T10" fmla="*/ 644783097 w 155"/>
              <a:gd name="T11" fmla="*/ 128083032 h 155"/>
              <a:gd name="T12" fmla="*/ 644783097 w 155"/>
              <a:gd name="T13" fmla="*/ 650659628 h 155"/>
              <a:gd name="T14" fmla="*/ 126926463 w 155"/>
              <a:gd name="T15" fmla="*/ 650659628 h 155"/>
              <a:gd name="T16" fmla="*/ 35540131 w 155"/>
              <a:gd name="T17" fmla="*/ 292028497 h 15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5" h="155">
                <a:moveTo>
                  <a:pt x="7" y="57"/>
                </a:moveTo>
                <a:cubicBezTo>
                  <a:pt x="53" y="103"/>
                  <a:pt x="53" y="103"/>
                  <a:pt x="53" y="103"/>
                </a:cubicBezTo>
                <a:cubicBezTo>
                  <a:pt x="93" y="93"/>
                  <a:pt x="93" y="93"/>
                  <a:pt x="93" y="93"/>
                </a:cubicBezTo>
                <a:cubicBezTo>
                  <a:pt x="103" y="53"/>
                  <a:pt x="103" y="53"/>
                  <a:pt x="103" y="53"/>
                </a:cubicBezTo>
                <a:cubicBezTo>
                  <a:pt x="57" y="7"/>
                  <a:pt x="57" y="7"/>
                  <a:pt x="57" y="7"/>
                </a:cubicBezTo>
                <a:cubicBezTo>
                  <a:pt x="81" y="0"/>
                  <a:pt x="108" y="6"/>
                  <a:pt x="127" y="25"/>
                </a:cubicBezTo>
                <a:cubicBezTo>
                  <a:pt x="155" y="53"/>
                  <a:pt x="155" y="99"/>
                  <a:pt x="127" y="127"/>
                </a:cubicBezTo>
                <a:cubicBezTo>
                  <a:pt x="99" y="155"/>
                  <a:pt x="53" y="155"/>
                  <a:pt x="25" y="127"/>
                </a:cubicBezTo>
                <a:cubicBezTo>
                  <a:pt x="6" y="108"/>
                  <a:pt x="0" y="81"/>
                  <a:pt x="7" y="5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396" name="Freeform 7"/>
          <p:cNvSpPr>
            <a:spLocks/>
          </p:cNvSpPr>
          <p:nvPr/>
        </p:nvSpPr>
        <p:spPr bwMode="auto">
          <a:xfrm>
            <a:off x="2099734" y="1528234"/>
            <a:ext cx="93133" cy="88900"/>
          </a:xfrm>
          <a:custGeom>
            <a:avLst/>
            <a:gdLst>
              <a:gd name="T0" fmla="*/ 110886875 w 44"/>
              <a:gd name="T1" fmla="*/ 10080625 h 42"/>
              <a:gd name="T2" fmla="*/ 10080625 w 44"/>
              <a:gd name="T3" fmla="*/ 0 h 42"/>
              <a:gd name="T4" fmla="*/ 0 w 44"/>
              <a:gd name="T5" fmla="*/ 95765938 h 42"/>
              <a:gd name="T6" fmla="*/ 98286888 w 44"/>
              <a:gd name="T7" fmla="*/ 105846563 h 42"/>
              <a:gd name="T8" fmla="*/ 110886875 w 44"/>
              <a:gd name="T9" fmla="*/ 10080625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4" h="42">
                <a:moveTo>
                  <a:pt x="44" y="4"/>
                </a:moveTo>
                <a:lnTo>
                  <a:pt x="4" y="0"/>
                </a:lnTo>
                <a:lnTo>
                  <a:pt x="0" y="38"/>
                </a:lnTo>
                <a:lnTo>
                  <a:pt x="39" y="42"/>
                </a:lnTo>
                <a:lnTo>
                  <a:pt x="44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397" name="Freeform 8"/>
          <p:cNvSpPr>
            <a:spLocks noEditPoints="1"/>
          </p:cNvSpPr>
          <p:nvPr/>
        </p:nvSpPr>
        <p:spPr bwMode="auto">
          <a:xfrm>
            <a:off x="1951567" y="1388533"/>
            <a:ext cx="457200" cy="457200"/>
          </a:xfrm>
          <a:custGeom>
            <a:avLst/>
            <a:gdLst>
              <a:gd name="T0" fmla="*/ 427490272 w 152"/>
              <a:gd name="T1" fmla="*/ 20357432 h 152"/>
              <a:gd name="T2" fmla="*/ 25446789 w 152"/>
              <a:gd name="T3" fmla="*/ 346065057 h 152"/>
              <a:gd name="T4" fmla="*/ 346065057 w 152"/>
              <a:gd name="T5" fmla="*/ 748108539 h 152"/>
              <a:gd name="T6" fmla="*/ 753197897 w 152"/>
              <a:gd name="T7" fmla="*/ 427490272 h 152"/>
              <a:gd name="T8" fmla="*/ 427490272 w 152"/>
              <a:gd name="T9" fmla="*/ 20357432 h 152"/>
              <a:gd name="T10" fmla="*/ 575077139 w 152"/>
              <a:gd name="T11" fmla="*/ 615789746 h 152"/>
              <a:gd name="T12" fmla="*/ 290082120 w 152"/>
              <a:gd name="T13" fmla="*/ 580166497 h 152"/>
              <a:gd name="T14" fmla="*/ 305350194 w 152"/>
              <a:gd name="T15" fmla="*/ 447847703 h 152"/>
              <a:gd name="T16" fmla="*/ 167942043 w 152"/>
              <a:gd name="T17" fmla="*/ 432579630 h 152"/>
              <a:gd name="T18" fmla="*/ 203567548 w 152"/>
              <a:gd name="T19" fmla="*/ 157765583 h 152"/>
              <a:gd name="T20" fmla="*/ 488560311 w 152"/>
              <a:gd name="T21" fmla="*/ 188299474 h 152"/>
              <a:gd name="T22" fmla="*/ 473294493 w 152"/>
              <a:gd name="T23" fmla="*/ 325707626 h 152"/>
              <a:gd name="T24" fmla="*/ 610702644 w 152"/>
              <a:gd name="T25" fmla="*/ 340975699 h 152"/>
              <a:gd name="T26" fmla="*/ 575077139 w 152"/>
              <a:gd name="T27" fmla="*/ 615789746 h 15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52" h="152">
                <a:moveTo>
                  <a:pt x="84" y="4"/>
                </a:moveTo>
                <a:cubicBezTo>
                  <a:pt x="45" y="0"/>
                  <a:pt x="9" y="28"/>
                  <a:pt x="5" y="68"/>
                </a:cubicBezTo>
                <a:cubicBezTo>
                  <a:pt x="0" y="107"/>
                  <a:pt x="28" y="143"/>
                  <a:pt x="68" y="147"/>
                </a:cubicBezTo>
                <a:cubicBezTo>
                  <a:pt x="107" y="152"/>
                  <a:pt x="143" y="124"/>
                  <a:pt x="148" y="84"/>
                </a:cubicBezTo>
                <a:cubicBezTo>
                  <a:pt x="152" y="45"/>
                  <a:pt x="124" y="9"/>
                  <a:pt x="84" y="4"/>
                </a:cubicBezTo>
                <a:close/>
                <a:moveTo>
                  <a:pt x="113" y="121"/>
                </a:moveTo>
                <a:cubicBezTo>
                  <a:pt x="57" y="114"/>
                  <a:pt x="57" y="114"/>
                  <a:pt x="57" y="114"/>
                </a:cubicBezTo>
                <a:cubicBezTo>
                  <a:pt x="60" y="88"/>
                  <a:pt x="60" y="88"/>
                  <a:pt x="60" y="88"/>
                </a:cubicBezTo>
                <a:cubicBezTo>
                  <a:pt x="33" y="85"/>
                  <a:pt x="33" y="85"/>
                  <a:pt x="33" y="85"/>
                </a:cubicBezTo>
                <a:cubicBezTo>
                  <a:pt x="40" y="31"/>
                  <a:pt x="40" y="31"/>
                  <a:pt x="40" y="31"/>
                </a:cubicBezTo>
                <a:cubicBezTo>
                  <a:pt x="96" y="37"/>
                  <a:pt x="96" y="37"/>
                  <a:pt x="96" y="37"/>
                </a:cubicBezTo>
                <a:cubicBezTo>
                  <a:pt x="93" y="64"/>
                  <a:pt x="93" y="64"/>
                  <a:pt x="93" y="64"/>
                </a:cubicBezTo>
                <a:cubicBezTo>
                  <a:pt x="120" y="67"/>
                  <a:pt x="120" y="67"/>
                  <a:pt x="120" y="67"/>
                </a:cubicBezTo>
                <a:lnTo>
                  <a:pt x="113" y="1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398" name="Freeform 9"/>
          <p:cNvSpPr>
            <a:spLocks/>
          </p:cNvSpPr>
          <p:nvPr/>
        </p:nvSpPr>
        <p:spPr bwMode="auto">
          <a:xfrm>
            <a:off x="2167467" y="1621367"/>
            <a:ext cx="97367" cy="84667"/>
          </a:xfrm>
          <a:custGeom>
            <a:avLst/>
            <a:gdLst>
              <a:gd name="T0" fmla="*/ 63004700 w 46"/>
              <a:gd name="T1" fmla="*/ 50403125 h 40"/>
              <a:gd name="T2" fmla="*/ 7561263 w 46"/>
              <a:gd name="T3" fmla="*/ 45362813 h 40"/>
              <a:gd name="T4" fmla="*/ 0 w 46"/>
              <a:gd name="T5" fmla="*/ 88206263 h 40"/>
              <a:gd name="T6" fmla="*/ 105846563 w 46"/>
              <a:gd name="T7" fmla="*/ 100806250 h 40"/>
              <a:gd name="T8" fmla="*/ 115927188 w 46"/>
              <a:gd name="T9" fmla="*/ 7561263 h 40"/>
              <a:gd name="T10" fmla="*/ 68045013 w 46"/>
              <a:gd name="T11" fmla="*/ 0 h 40"/>
              <a:gd name="T12" fmla="*/ 63004700 w 46"/>
              <a:gd name="T13" fmla="*/ 50403125 h 4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6" h="40">
                <a:moveTo>
                  <a:pt x="25" y="20"/>
                </a:moveTo>
                <a:lnTo>
                  <a:pt x="3" y="18"/>
                </a:lnTo>
                <a:lnTo>
                  <a:pt x="0" y="35"/>
                </a:lnTo>
                <a:lnTo>
                  <a:pt x="42" y="40"/>
                </a:lnTo>
                <a:lnTo>
                  <a:pt x="46" y="3"/>
                </a:lnTo>
                <a:lnTo>
                  <a:pt x="27" y="0"/>
                </a:lnTo>
                <a:lnTo>
                  <a:pt x="25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399" name="Freeform 10"/>
          <p:cNvSpPr>
            <a:spLocks noEditPoints="1"/>
          </p:cNvSpPr>
          <p:nvPr/>
        </p:nvSpPr>
        <p:spPr bwMode="auto">
          <a:xfrm>
            <a:off x="2827867" y="2205567"/>
            <a:ext cx="389467" cy="391584"/>
          </a:xfrm>
          <a:custGeom>
            <a:avLst/>
            <a:gdLst>
              <a:gd name="T0" fmla="*/ 656326231 w 130"/>
              <a:gd name="T1" fmla="*/ 76555425 h 130"/>
              <a:gd name="T2" fmla="*/ 580595935 w 130"/>
              <a:gd name="T3" fmla="*/ 0 h 130"/>
              <a:gd name="T4" fmla="*/ 75730295 w 130"/>
              <a:gd name="T5" fmla="*/ 0 h 130"/>
              <a:gd name="T6" fmla="*/ 0 w 130"/>
              <a:gd name="T7" fmla="*/ 76555425 h 130"/>
              <a:gd name="T8" fmla="*/ 0 w 130"/>
              <a:gd name="T9" fmla="*/ 586926431 h 130"/>
              <a:gd name="T10" fmla="*/ 75730295 w 130"/>
              <a:gd name="T11" fmla="*/ 663481856 h 130"/>
              <a:gd name="T12" fmla="*/ 580595935 w 130"/>
              <a:gd name="T13" fmla="*/ 663481856 h 130"/>
              <a:gd name="T14" fmla="*/ 656326231 w 130"/>
              <a:gd name="T15" fmla="*/ 586926431 h 130"/>
              <a:gd name="T16" fmla="*/ 656326231 w 130"/>
              <a:gd name="T17" fmla="*/ 76555425 h 130"/>
              <a:gd name="T18" fmla="*/ 560400591 w 130"/>
              <a:gd name="T19" fmla="*/ 173526684 h 130"/>
              <a:gd name="T20" fmla="*/ 504865640 w 130"/>
              <a:gd name="T21" fmla="*/ 234769669 h 130"/>
              <a:gd name="T22" fmla="*/ 444281853 w 130"/>
              <a:gd name="T23" fmla="*/ 173526684 h 130"/>
              <a:gd name="T24" fmla="*/ 504865640 w 130"/>
              <a:gd name="T25" fmla="*/ 117384834 h 130"/>
              <a:gd name="T26" fmla="*/ 560400591 w 130"/>
              <a:gd name="T27" fmla="*/ 173526684 h 130"/>
              <a:gd name="T28" fmla="*/ 560400591 w 130"/>
              <a:gd name="T29" fmla="*/ 489955172 h 130"/>
              <a:gd name="T30" fmla="*/ 504865640 w 130"/>
              <a:gd name="T31" fmla="*/ 546097022 h 130"/>
              <a:gd name="T32" fmla="*/ 444281853 w 130"/>
              <a:gd name="T33" fmla="*/ 489955172 h 130"/>
              <a:gd name="T34" fmla="*/ 504865640 w 130"/>
              <a:gd name="T35" fmla="*/ 428712188 h 130"/>
              <a:gd name="T36" fmla="*/ 560400591 w 130"/>
              <a:gd name="T37" fmla="*/ 489955172 h 130"/>
              <a:gd name="T38" fmla="*/ 388746902 w 130"/>
              <a:gd name="T39" fmla="*/ 173526684 h 130"/>
              <a:gd name="T40" fmla="*/ 328163115 w 130"/>
              <a:gd name="T41" fmla="*/ 234769669 h 130"/>
              <a:gd name="T42" fmla="*/ 267579328 w 130"/>
              <a:gd name="T43" fmla="*/ 173526684 h 130"/>
              <a:gd name="T44" fmla="*/ 328163115 w 130"/>
              <a:gd name="T45" fmla="*/ 117384834 h 130"/>
              <a:gd name="T46" fmla="*/ 388746902 w 130"/>
              <a:gd name="T47" fmla="*/ 173526684 h 130"/>
              <a:gd name="T48" fmla="*/ 388746902 w 130"/>
              <a:gd name="T49" fmla="*/ 489955172 h 130"/>
              <a:gd name="T50" fmla="*/ 328163115 w 130"/>
              <a:gd name="T51" fmla="*/ 546097022 h 130"/>
              <a:gd name="T52" fmla="*/ 267579328 w 130"/>
              <a:gd name="T53" fmla="*/ 489955172 h 130"/>
              <a:gd name="T54" fmla="*/ 328163115 w 130"/>
              <a:gd name="T55" fmla="*/ 428712188 h 130"/>
              <a:gd name="T56" fmla="*/ 388746902 w 130"/>
              <a:gd name="T57" fmla="*/ 489955172 h 130"/>
              <a:gd name="T58" fmla="*/ 212044378 w 130"/>
              <a:gd name="T59" fmla="*/ 173526684 h 130"/>
              <a:gd name="T60" fmla="*/ 151460591 w 130"/>
              <a:gd name="T61" fmla="*/ 234769669 h 130"/>
              <a:gd name="T62" fmla="*/ 95925640 w 130"/>
              <a:gd name="T63" fmla="*/ 173526684 h 130"/>
              <a:gd name="T64" fmla="*/ 151460591 w 130"/>
              <a:gd name="T65" fmla="*/ 117384834 h 130"/>
              <a:gd name="T66" fmla="*/ 212044378 w 130"/>
              <a:gd name="T67" fmla="*/ 173526684 h 130"/>
              <a:gd name="T68" fmla="*/ 212044378 w 130"/>
              <a:gd name="T69" fmla="*/ 489955172 h 130"/>
              <a:gd name="T70" fmla="*/ 151460591 w 130"/>
              <a:gd name="T71" fmla="*/ 546097022 h 130"/>
              <a:gd name="T72" fmla="*/ 95925640 w 130"/>
              <a:gd name="T73" fmla="*/ 489955172 h 130"/>
              <a:gd name="T74" fmla="*/ 151460591 w 130"/>
              <a:gd name="T75" fmla="*/ 428712188 h 130"/>
              <a:gd name="T76" fmla="*/ 212044378 w 130"/>
              <a:gd name="T77" fmla="*/ 489955172 h 13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30" h="130">
                <a:moveTo>
                  <a:pt x="130" y="15"/>
                </a:moveTo>
                <a:cubicBezTo>
                  <a:pt x="130" y="7"/>
                  <a:pt x="123" y="0"/>
                  <a:pt x="115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23"/>
                  <a:pt x="7" y="130"/>
                  <a:pt x="15" y="130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23" y="130"/>
                  <a:pt x="130" y="123"/>
                  <a:pt x="130" y="115"/>
                </a:cubicBezTo>
                <a:cubicBezTo>
                  <a:pt x="130" y="15"/>
                  <a:pt x="130" y="15"/>
                  <a:pt x="130" y="15"/>
                </a:cubicBezTo>
                <a:close/>
                <a:moveTo>
                  <a:pt x="111" y="34"/>
                </a:moveTo>
                <a:cubicBezTo>
                  <a:pt x="111" y="41"/>
                  <a:pt x="106" y="46"/>
                  <a:pt x="100" y="46"/>
                </a:cubicBezTo>
                <a:cubicBezTo>
                  <a:pt x="93" y="46"/>
                  <a:pt x="88" y="41"/>
                  <a:pt x="88" y="34"/>
                </a:cubicBezTo>
                <a:cubicBezTo>
                  <a:pt x="88" y="28"/>
                  <a:pt x="93" y="23"/>
                  <a:pt x="100" y="23"/>
                </a:cubicBezTo>
                <a:cubicBezTo>
                  <a:pt x="106" y="23"/>
                  <a:pt x="111" y="28"/>
                  <a:pt x="111" y="34"/>
                </a:cubicBezTo>
                <a:close/>
                <a:moveTo>
                  <a:pt x="111" y="96"/>
                </a:moveTo>
                <a:cubicBezTo>
                  <a:pt x="111" y="102"/>
                  <a:pt x="106" y="107"/>
                  <a:pt x="100" y="107"/>
                </a:cubicBezTo>
                <a:cubicBezTo>
                  <a:pt x="93" y="107"/>
                  <a:pt x="88" y="102"/>
                  <a:pt x="88" y="96"/>
                </a:cubicBezTo>
                <a:cubicBezTo>
                  <a:pt x="88" y="89"/>
                  <a:pt x="93" y="84"/>
                  <a:pt x="100" y="84"/>
                </a:cubicBezTo>
                <a:cubicBezTo>
                  <a:pt x="106" y="84"/>
                  <a:pt x="111" y="89"/>
                  <a:pt x="111" y="96"/>
                </a:cubicBezTo>
                <a:close/>
                <a:moveTo>
                  <a:pt x="77" y="34"/>
                </a:moveTo>
                <a:cubicBezTo>
                  <a:pt x="77" y="41"/>
                  <a:pt x="71" y="46"/>
                  <a:pt x="65" y="46"/>
                </a:cubicBezTo>
                <a:cubicBezTo>
                  <a:pt x="59" y="46"/>
                  <a:pt x="53" y="41"/>
                  <a:pt x="53" y="34"/>
                </a:cubicBezTo>
                <a:cubicBezTo>
                  <a:pt x="53" y="28"/>
                  <a:pt x="59" y="23"/>
                  <a:pt x="65" y="23"/>
                </a:cubicBezTo>
                <a:cubicBezTo>
                  <a:pt x="71" y="23"/>
                  <a:pt x="77" y="28"/>
                  <a:pt x="77" y="34"/>
                </a:cubicBezTo>
                <a:close/>
                <a:moveTo>
                  <a:pt x="77" y="96"/>
                </a:moveTo>
                <a:cubicBezTo>
                  <a:pt x="77" y="102"/>
                  <a:pt x="71" y="107"/>
                  <a:pt x="65" y="107"/>
                </a:cubicBezTo>
                <a:cubicBezTo>
                  <a:pt x="59" y="107"/>
                  <a:pt x="53" y="102"/>
                  <a:pt x="53" y="96"/>
                </a:cubicBezTo>
                <a:cubicBezTo>
                  <a:pt x="53" y="89"/>
                  <a:pt x="59" y="84"/>
                  <a:pt x="65" y="84"/>
                </a:cubicBezTo>
                <a:cubicBezTo>
                  <a:pt x="71" y="84"/>
                  <a:pt x="77" y="89"/>
                  <a:pt x="77" y="96"/>
                </a:cubicBezTo>
                <a:close/>
                <a:moveTo>
                  <a:pt x="42" y="34"/>
                </a:moveTo>
                <a:cubicBezTo>
                  <a:pt x="42" y="41"/>
                  <a:pt x="37" y="46"/>
                  <a:pt x="30" y="46"/>
                </a:cubicBezTo>
                <a:cubicBezTo>
                  <a:pt x="24" y="46"/>
                  <a:pt x="19" y="41"/>
                  <a:pt x="19" y="34"/>
                </a:cubicBezTo>
                <a:cubicBezTo>
                  <a:pt x="19" y="28"/>
                  <a:pt x="24" y="23"/>
                  <a:pt x="30" y="23"/>
                </a:cubicBezTo>
                <a:cubicBezTo>
                  <a:pt x="37" y="23"/>
                  <a:pt x="42" y="28"/>
                  <a:pt x="42" y="34"/>
                </a:cubicBezTo>
                <a:close/>
                <a:moveTo>
                  <a:pt x="42" y="96"/>
                </a:moveTo>
                <a:cubicBezTo>
                  <a:pt x="42" y="102"/>
                  <a:pt x="37" y="107"/>
                  <a:pt x="30" y="107"/>
                </a:cubicBezTo>
                <a:cubicBezTo>
                  <a:pt x="24" y="107"/>
                  <a:pt x="19" y="102"/>
                  <a:pt x="19" y="96"/>
                </a:cubicBezTo>
                <a:cubicBezTo>
                  <a:pt x="19" y="89"/>
                  <a:pt x="24" y="84"/>
                  <a:pt x="30" y="84"/>
                </a:cubicBezTo>
                <a:cubicBezTo>
                  <a:pt x="37" y="84"/>
                  <a:pt x="42" y="89"/>
                  <a:pt x="42" y="9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00" name="Freeform 11"/>
          <p:cNvSpPr>
            <a:spLocks noEditPoints="1"/>
          </p:cNvSpPr>
          <p:nvPr/>
        </p:nvSpPr>
        <p:spPr bwMode="auto">
          <a:xfrm>
            <a:off x="3657601" y="2169584"/>
            <a:ext cx="461433" cy="463549"/>
          </a:xfrm>
          <a:custGeom>
            <a:avLst/>
            <a:gdLst>
              <a:gd name="T0" fmla="*/ 388857960 w 154"/>
              <a:gd name="T1" fmla="*/ 0 h 154"/>
              <a:gd name="T2" fmla="*/ 0 w 154"/>
              <a:gd name="T3" fmla="*/ 392433641 h 154"/>
              <a:gd name="T4" fmla="*/ 388857960 w 154"/>
              <a:gd name="T5" fmla="*/ 784865025 h 154"/>
              <a:gd name="T6" fmla="*/ 777713673 w 154"/>
              <a:gd name="T7" fmla="*/ 392433641 h 154"/>
              <a:gd name="T8" fmla="*/ 388857960 w 154"/>
              <a:gd name="T9" fmla="*/ 0 h 154"/>
              <a:gd name="T10" fmla="*/ 232303967 w 154"/>
              <a:gd name="T11" fmla="*/ 142701706 h 154"/>
              <a:gd name="T12" fmla="*/ 297954844 w 154"/>
              <a:gd name="T13" fmla="*/ 234439323 h 154"/>
              <a:gd name="T14" fmla="*/ 232303967 w 154"/>
              <a:gd name="T15" fmla="*/ 326176940 h 154"/>
              <a:gd name="T16" fmla="*/ 161603542 w 154"/>
              <a:gd name="T17" fmla="*/ 234439323 h 154"/>
              <a:gd name="T18" fmla="*/ 232303967 w 154"/>
              <a:gd name="T19" fmla="*/ 142701706 h 154"/>
              <a:gd name="T20" fmla="*/ 545409706 w 154"/>
              <a:gd name="T21" fmla="*/ 142701706 h 154"/>
              <a:gd name="T22" fmla="*/ 616110131 w 154"/>
              <a:gd name="T23" fmla="*/ 234439323 h 154"/>
              <a:gd name="T24" fmla="*/ 545409706 w 154"/>
              <a:gd name="T25" fmla="*/ 326176940 h 154"/>
              <a:gd name="T26" fmla="*/ 479758829 w 154"/>
              <a:gd name="T27" fmla="*/ 234439323 h 154"/>
              <a:gd name="T28" fmla="*/ 545409706 w 154"/>
              <a:gd name="T29" fmla="*/ 142701706 h 154"/>
              <a:gd name="T30" fmla="*/ 232303967 w 154"/>
              <a:gd name="T31" fmla="*/ 188570514 h 154"/>
              <a:gd name="T32" fmla="*/ 186853533 w 154"/>
              <a:gd name="T33" fmla="*/ 234439323 h 154"/>
              <a:gd name="T34" fmla="*/ 232303967 w 154"/>
              <a:gd name="T35" fmla="*/ 280308131 h 154"/>
              <a:gd name="T36" fmla="*/ 277754402 w 154"/>
              <a:gd name="T37" fmla="*/ 234439323 h 154"/>
              <a:gd name="T38" fmla="*/ 232303967 w 154"/>
              <a:gd name="T39" fmla="*/ 188570514 h 154"/>
              <a:gd name="T40" fmla="*/ 545409706 w 154"/>
              <a:gd name="T41" fmla="*/ 188570514 h 154"/>
              <a:gd name="T42" fmla="*/ 499959271 w 154"/>
              <a:gd name="T43" fmla="*/ 234439323 h 154"/>
              <a:gd name="T44" fmla="*/ 545409706 w 154"/>
              <a:gd name="T45" fmla="*/ 280308131 h 154"/>
              <a:gd name="T46" fmla="*/ 590860140 w 154"/>
              <a:gd name="T47" fmla="*/ 234439323 h 154"/>
              <a:gd name="T48" fmla="*/ 545409706 w 154"/>
              <a:gd name="T49" fmla="*/ 188570514 h 154"/>
              <a:gd name="T50" fmla="*/ 388857960 w 154"/>
              <a:gd name="T51" fmla="*/ 392433641 h 154"/>
              <a:gd name="T52" fmla="*/ 661560566 w 154"/>
              <a:gd name="T53" fmla="*/ 489266539 h 154"/>
              <a:gd name="T54" fmla="*/ 388857960 w 154"/>
              <a:gd name="T55" fmla="*/ 713513044 h 154"/>
              <a:gd name="T56" fmla="*/ 116153107 w 154"/>
              <a:gd name="T57" fmla="*/ 489266539 h 154"/>
              <a:gd name="T58" fmla="*/ 388857960 w 154"/>
              <a:gd name="T59" fmla="*/ 392433641 h 15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4" h="154">
                <a:moveTo>
                  <a:pt x="77" y="0"/>
                </a:moveTo>
                <a:cubicBezTo>
                  <a:pt x="34" y="0"/>
                  <a:pt x="0" y="34"/>
                  <a:pt x="0" y="77"/>
                </a:cubicBezTo>
                <a:cubicBezTo>
                  <a:pt x="0" y="120"/>
                  <a:pt x="34" y="154"/>
                  <a:pt x="77" y="154"/>
                </a:cubicBezTo>
                <a:cubicBezTo>
                  <a:pt x="120" y="154"/>
                  <a:pt x="154" y="120"/>
                  <a:pt x="154" y="77"/>
                </a:cubicBezTo>
                <a:cubicBezTo>
                  <a:pt x="154" y="34"/>
                  <a:pt x="120" y="0"/>
                  <a:pt x="77" y="0"/>
                </a:cubicBezTo>
                <a:close/>
                <a:moveTo>
                  <a:pt x="46" y="28"/>
                </a:moveTo>
                <a:cubicBezTo>
                  <a:pt x="53" y="28"/>
                  <a:pt x="59" y="36"/>
                  <a:pt x="59" y="46"/>
                </a:cubicBezTo>
                <a:cubicBezTo>
                  <a:pt x="59" y="56"/>
                  <a:pt x="53" y="64"/>
                  <a:pt x="46" y="64"/>
                </a:cubicBezTo>
                <a:cubicBezTo>
                  <a:pt x="38" y="64"/>
                  <a:pt x="32" y="56"/>
                  <a:pt x="32" y="46"/>
                </a:cubicBezTo>
                <a:cubicBezTo>
                  <a:pt x="32" y="36"/>
                  <a:pt x="38" y="28"/>
                  <a:pt x="46" y="28"/>
                </a:cubicBezTo>
                <a:close/>
                <a:moveTo>
                  <a:pt x="108" y="28"/>
                </a:moveTo>
                <a:cubicBezTo>
                  <a:pt x="116" y="28"/>
                  <a:pt x="122" y="36"/>
                  <a:pt x="122" y="46"/>
                </a:cubicBezTo>
                <a:cubicBezTo>
                  <a:pt x="122" y="56"/>
                  <a:pt x="116" y="64"/>
                  <a:pt x="108" y="64"/>
                </a:cubicBezTo>
                <a:cubicBezTo>
                  <a:pt x="101" y="64"/>
                  <a:pt x="95" y="56"/>
                  <a:pt x="95" y="46"/>
                </a:cubicBezTo>
                <a:cubicBezTo>
                  <a:pt x="95" y="36"/>
                  <a:pt x="101" y="28"/>
                  <a:pt x="108" y="28"/>
                </a:cubicBezTo>
                <a:close/>
                <a:moveTo>
                  <a:pt x="46" y="37"/>
                </a:moveTo>
                <a:cubicBezTo>
                  <a:pt x="41" y="37"/>
                  <a:pt x="37" y="41"/>
                  <a:pt x="37" y="46"/>
                </a:cubicBezTo>
                <a:cubicBezTo>
                  <a:pt x="37" y="51"/>
                  <a:pt x="41" y="55"/>
                  <a:pt x="46" y="55"/>
                </a:cubicBezTo>
                <a:cubicBezTo>
                  <a:pt x="51" y="55"/>
                  <a:pt x="55" y="51"/>
                  <a:pt x="55" y="46"/>
                </a:cubicBezTo>
                <a:cubicBezTo>
                  <a:pt x="55" y="41"/>
                  <a:pt x="51" y="37"/>
                  <a:pt x="46" y="37"/>
                </a:cubicBezTo>
                <a:close/>
                <a:moveTo>
                  <a:pt x="108" y="37"/>
                </a:moveTo>
                <a:cubicBezTo>
                  <a:pt x="103" y="37"/>
                  <a:pt x="99" y="41"/>
                  <a:pt x="99" y="46"/>
                </a:cubicBezTo>
                <a:cubicBezTo>
                  <a:pt x="99" y="51"/>
                  <a:pt x="103" y="55"/>
                  <a:pt x="108" y="55"/>
                </a:cubicBezTo>
                <a:cubicBezTo>
                  <a:pt x="113" y="55"/>
                  <a:pt x="117" y="51"/>
                  <a:pt x="117" y="46"/>
                </a:cubicBezTo>
                <a:cubicBezTo>
                  <a:pt x="117" y="41"/>
                  <a:pt x="113" y="37"/>
                  <a:pt x="108" y="37"/>
                </a:cubicBezTo>
                <a:close/>
                <a:moveTo>
                  <a:pt x="77" y="77"/>
                </a:moveTo>
                <a:cubicBezTo>
                  <a:pt x="104" y="77"/>
                  <a:pt x="131" y="86"/>
                  <a:pt x="131" y="96"/>
                </a:cubicBezTo>
                <a:cubicBezTo>
                  <a:pt x="131" y="123"/>
                  <a:pt x="107" y="140"/>
                  <a:pt x="77" y="140"/>
                </a:cubicBezTo>
                <a:cubicBezTo>
                  <a:pt x="47" y="140"/>
                  <a:pt x="23" y="123"/>
                  <a:pt x="23" y="96"/>
                </a:cubicBezTo>
                <a:cubicBezTo>
                  <a:pt x="23" y="86"/>
                  <a:pt x="50" y="77"/>
                  <a:pt x="77" y="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01" name="Freeform 12"/>
          <p:cNvSpPr>
            <a:spLocks noEditPoints="1"/>
          </p:cNvSpPr>
          <p:nvPr/>
        </p:nvSpPr>
        <p:spPr bwMode="auto">
          <a:xfrm>
            <a:off x="4474634" y="2156884"/>
            <a:ext cx="463551" cy="463549"/>
          </a:xfrm>
          <a:custGeom>
            <a:avLst/>
            <a:gdLst>
              <a:gd name="T0" fmla="*/ 392434770 w 154"/>
              <a:gd name="T1" fmla="*/ 0 h 154"/>
              <a:gd name="T2" fmla="*/ 0 w 154"/>
              <a:gd name="T3" fmla="*/ 392433641 h 154"/>
              <a:gd name="T4" fmla="*/ 392434770 w 154"/>
              <a:gd name="T5" fmla="*/ 784865025 h 154"/>
              <a:gd name="T6" fmla="*/ 784867283 w 154"/>
              <a:gd name="T7" fmla="*/ 392433641 h 154"/>
              <a:gd name="T8" fmla="*/ 392434770 w 154"/>
              <a:gd name="T9" fmla="*/ 0 h 154"/>
              <a:gd name="T10" fmla="*/ 234439997 w 154"/>
              <a:gd name="T11" fmla="*/ 142701706 h 154"/>
              <a:gd name="T12" fmla="*/ 300696889 w 154"/>
              <a:gd name="T13" fmla="*/ 234439323 h 154"/>
              <a:gd name="T14" fmla="*/ 234439997 w 154"/>
              <a:gd name="T15" fmla="*/ 326176940 h 154"/>
              <a:gd name="T16" fmla="*/ 163090068 w 154"/>
              <a:gd name="T17" fmla="*/ 234439323 h 154"/>
              <a:gd name="T18" fmla="*/ 234439997 w 154"/>
              <a:gd name="T19" fmla="*/ 142701706 h 154"/>
              <a:gd name="T20" fmla="*/ 550427286 w 154"/>
              <a:gd name="T21" fmla="*/ 142701706 h 154"/>
              <a:gd name="T22" fmla="*/ 621777215 w 154"/>
              <a:gd name="T23" fmla="*/ 234439323 h 154"/>
              <a:gd name="T24" fmla="*/ 550427286 w 154"/>
              <a:gd name="T25" fmla="*/ 326176940 h 154"/>
              <a:gd name="T26" fmla="*/ 596296226 w 154"/>
              <a:gd name="T27" fmla="*/ 428107375 h 154"/>
              <a:gd name="T28" fmla="*/ 504558345 w 154"/>
              <a:gd name="T29" fmla="*/ 428107375 h 154"/>
              <a:gd name="T30" fmla="*/ 550427286 w 154"/>
              <a:gd name="T31" fmla="*/ 326176940 h 154"/>
              <a:gd name="T32" fmla="*/ 484170394 w 154"/>
              <a:gd name="T33" fmla="*/ 234439323 h 154"/>
              <a:gd name="T34" fmla="*/ 550427286 w 154"/>
              <a:gd name="T35" fmla="*/ 142701706 h 154"/>
              <a:gd name="T36" fmla="*/ 234439997 w 154"/>
              <a:gd name="T37" fmla="*/ 188570514 h 154"/>
              <a:gd name="T38" fmla="*/ 188571057 w 154"/>
              <a:gd name="T39" fmla="*/ 234439323 h 154"/>
              <a:gd name="T40" fmla="*/ 234439997 w 154"/>
              <a:gd name="T41" fmla="*/ 280308131 h 154"/>
              <a:gd name="T42" fmla="*/ 280308938 w 154"/>
              <a:gd name="T43" fmla="*/ 234439323 h 154"/>
              <a:gd name="T44" fmla="*/ 234439997 w 154"/>
              <a:gd name="T45" fmla="*/ 188570514 h 154"/>
              <a:gd name="T46" fmla="*/ 550427286 w 154"/>
              <a:gd name="T47" fmla="*/ 188570514 h 154"/>
              <a:gd name="T48" fmla="*/ 504558345 w 154"/>
              <a:gd name="T49" fmla="*/ 234439323 h 154"/>
              <a:gd name="T50" fmla="*/ 550427286 w 154"/>
              <a:gd name="T51" fmla="*/ 280308131 h 154"/>
              <a:gd name="T52" fmla="*/ 596296226 w 154"/>
              <a:gd name="T53" fmla="*/ 234439323 h 154"/>
              <a:gd name="T54" fmla="*/ 550427286 w 154"/>
              <a:gd name="T55" fmla="*/ 188570514 h 154"/>
              <a:gd name="T56" fmla="*/ 392434770 w 154"/>
              <a:gd name="T57" fmla="*/ 530037810 h 154"/>
              <a:gd name="T58" fmla="*/ 504558345 w 154"/>
              <a:gd name="T59" fmla="*/ 596294511 h 154"/>
              <a:gd name="T60" fmla="*/ 499460793 w 154"/>
              <a:gd name="T61" fmla="*/ 616680147 h 154"/>
              <a:gd name="T62" fmla="*/ 392434770 w 154"/>
              <a:gd name="T63" fmla="*/ 596294511 h 154"/>
              <a:gd name="T64" fmla="*/ 285406490 w 154"/>
              <a:gd name="T65" fmla="*/ 616680147 h 154"/>
              <a:gd name="T66" fmla="*/ 280308938 w 154"/>
              <a:gd name="T67" fmla="*/ 596294511 h 154"/>
              <a:gd name="T68" fmla="*/ 392434770 w 154"/>
              <a:gd name="T69" fmla="*/ 530037810 h 15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54" h="154">
                <a:moveTo>
                  <a:pt x="77" y="0"/>
                </a:moveTo>
                <a:cubicBezTo>
                  <a:pt x="34" y="0"/>
                  <a:pt x="0" y="34"/>
                  <a:pt x="0" y="77"/>
                </a:cubicBezTo>
                <a:cubicBezTo>
                  <a:pt x="0" y="120"/>
                  <a:pt x="34" y="154"/>
                  <a:pt x="77" y="154"/>
                </a:cubicBezTo>
                <a:cubicBezTo>
                  <a:pt x="120" y="154"/>
                  <a:pt x="154" y="120"/>
                  <a:pt x="154" y="77"/>
                </a:cubicBezTo>
                <a:cubicBezTo>
                  <a:pt x="154" y="34"/>
                  <a:pt x="120" y="0"/>
                  <a:pt x="77" y="0"/>
                </a:cubicBezTo>
                <a:close/>
                <a:moveTo>
                  <a:pt x="46" y="28"/>
                </a:moveTo>
                <a:cubicBezTo>
                  <a:pt x="53" y="28"/>
                  <a:pt x="59" y="36"/>
                  <a:pt x="59" y="46"/>
                </a:cubicBezTo>
                <a:cubicBezTo>
                  <a:pt x="59" y="56"/>
                  <a:pt x="53" y="64"/>
                  <a:pt x="46" y="64"/>
                </a:cubicBezTo>
                <a:cubicBezTo>
                  <a:pt x="38" y="64"/>
                  <a:pt x="32" y="56"/>
                  <a:pt x="32" y="46"/>
                </a:cubicBezTo>
                <a:cubicBezTo>
                  <a:pt x="32" y="36"/>
                  <a:pt x="38" y="28"/>
                  <a:pt x="46" y="28"/>
                </a:cubicBezTo>
                <a:close/>
                <a:moveTo>
                  <a:pt x="108" y="28"/>
                </a:moveTo>
                <a:cubicBezTo>
                  <a:pt x="116" y="28"/>
                  <a:pt x="122" y="36"/>
                  <a:pt x="122" y="46"/>
                </a:cubicBezTo>
                <a:cubicBezTo>
                  <a:pt x="122" y="56"/>
                  <a:pt x="116" y="64"/>
                  <a:pt x="108" y="64"/>
                </a:cubicBezTo>
                <a:cubicBezTo>
                  <a:pt x="111" y="71"/>
                  <a:pt x="117" y="78"/>
                  <a:pt x="117" y="84"/>
                </a:cubicBezTo>
                <a:cubicBezTo>
                  <a:pt x="117" y="98"/>
                  <a:pt x="99" y="98"/>
                  <a:pt x="99" y="84"/>
                </a:cubicBezTo>
                <a:cubicBezTo>
                  <a:pt x="99" y="78"/>
                  <a:pt x="105" y="71"/>
                  <a:pt x="108" y="64"/>
                </a:cubicBezTo>
                <a:cubicBezTo>
                  <a:pt x="101" y="64"/>
                  <a:pt x="95" y="56"/>
                  <a:pt x="95" y="46"/>
                </a:cubicBezTo>
                <a:cubicBezTo>
                  <a:pt x="95" y="36"/>
                  <a:pt x="101" y="28"/>
                  <a:pt x="108" y="28"/>
                </a:cubicBezTo>
                <a:close/>
                <a:moveTo>
                  <a:pt x="46" y="37"/>
                </a:moveTo>
                <a:cubicBezTo>
                  <a:pt x="41" y="37"/>
                  <a:pt x="37" y="41"/>
                  <a:pt x="37" y="46"/>
                </a:cubicBezTo>
                <a:cubicBezTo>
                  <a:pt x="37" y="51"/>
                  <a:pt x="41" y="55"/>
                  <a:pt x="46" y="55"/>
                </a:cubicBezTo>
                <a:cubicBezTo>
                  <a:pt x="51" y="55"/>
                  <a:pt x="55" y="51"/>
                  <a:pt x="55" y="46"/>
                </a:cubicBezTo>
                <a:cubicBezTo>
                  <a:pt x="55" y="41"/>
                  <a:pt x="51" y="37"/>
                  <a:pt x="46" y="37"/>
                </a:cubicBezTo>
                <a:close/>
                <a:moveTo>
                  <a:pt x="108" y="37"/>
                </a:moveTo>
                <a:cubicBezTo>
                  <a:pt x="103" y="37"/>
                  <a:pt x="99" y="41"/>
                  <a:pt x="99" y="46"/>
                </a:cubicBezTo>
                <a:cubicBezTo>
                  <a:pt x="99" y="51"/>
                  <a:pt x="103" y="55"/>
                  <a:pt x="108" y="55"/>
                </a:cubicBezTo>
                <a:cubicBezTo>
                  <a:pt x="113" y="55"/>
                  <a:pt x="117" y="51"/>
                  <a:pt x="117" y="46"/>
                </a:cubicBezTo>
                <a:cubicBezTo>
                  <a:pt x="117" y="41"/>
                  <a:pt x="113" y="37"/>
                  <a:pt x="108" y="37"/>
                </a:cubicBezTo>
                <a:close/>
                <a:moveTo>
                  <a:pt x="77" y="104"/>
                </a:moveTo>
                <a:cubicBezTo>
                  <a:pt x="89" y="104"/>
                  <a:pt x="99" y="112"/>
                  <a:pt x="99" y="117"/>
                </a:cubicBezTo>
                <a:cubicBezTo>
                  <a:pt x="99" y="119"/>
                  <a:pt x="99" y="120"/>
                  <a:pt x="98" y="121"/>
                </a:cubicBezTo>
                <a:cubicBezTo>
                  <a:pt x="93" y="119"/>
                  <a:pt x="85" y="117"/>
                  <a:pt x="77" y="117"/>
                </a:cubicBezTo>
                <a:cubicBezTo>
                  <a:pt x="69" y="117"/>
                  <a:pt x="61" y="119"/>
                  <a:pt x="56" y="121"/>
                </a:cubicBezTo>
                <a:cubicBezTo>
                  <a:pt x="55" y="120"/>
                  <a:pt x="55" y="119"/>
                  <a:pt x="55" y="117"/>
                </a:cubicBezTo>
                <a:cubicBezTo>
                  <a:pt x="55" y="112"/>
                  <a:pt x="65" y="104"/>
                  <a:pt x="77" y="10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02" name="Freeform 13"/>
          <p:cNvSpPr>
            <a:spLocks/>
          </p:cNvSpPr>
          <p:nvPr/>
        </p:nvSpPr>
        <p:spPr bwMode="auto">
          <a:xfrm>
            <a:off x="5344585" y="2093385"/>
            <a:ext cx="400049" cy="554567"/>
          </a:xfrm>
          <a:custGeom>
            <a:avLst/>
            <a:gdLst>
              <a:gd name="T0" fmla="*/ 325707083 w 133"/>
              <a:gd name="T1" fmla="*/ 0 h 184"/>
              <a:gd name="T2" fmla="*/ 452936306 w 133"/>
              <a:gd name="T3" fmla="*/ 301471030 h 184"/>
              <a:gd name="T4" fmla="*/ 473293704 w 133"/>
              <a:gd name="T5" fmla="*/ 199277805 h 184"/>
              <a:gd name="T6" fmla="*/ 554721039 w 133"/>
              <a:gd name="T7" fmla="*/ 475201094 h 184"/>
              <a:gd name="T8" fmla="*/ 600522928 w 133"/>
              <a:gd name="T9" fmla="*/ 373007869 h 184"/>
              <a:gd name="T10" fmla="*/ 625969675 w 133"/>
              <a:gd name="T11" fmla="*/ 684698448 h 184"/>
              <a:gd name="T12" fmla="*/ 676860913 w 133"/>
              <a:gd name="T13" fmla="*/ 633600705 h 184"/>
              <a:gd name="T14" fmla="*/ 595433578 w 133"/>
              <a:gd name="T15" fmla="*/ 863537156 h 184"/>
              <a:gd name="T16" fmla="*/ 386777020 w 133"/>
              <a:gd name="T17" fmla="*/ 940182639 h 184"/>
              <a:gd name="T18" fmla="*/ 432581165 w 133"/>
              <a:gd name="T19" fmla="*/ 909523994 h 184"/>
              <a:gd name="T20" fmla="*/ 514006243 w 133"/>
              <a:gd name="T21" fmla="*/ 715357093 h 184"/>
              <a:gd name="T22" fmla="*/ 478383053 w 133"/>
              <a:gd name="T23" fmla="*/ 730685286 h 184"/>
              <a:gd name="T24" fmla="*/ 478383053 w 133"/>
              <a:gd name="T25" fmla="*/ 592724771 h 184"/>
              <a:gd name="T26" fmla="*/ 432581165 w 133"/>
              <a:gd name="T27" fmla="*/ 674478899 h 184"/>
              <a:gd name="T28" fmla="*/ 376598321 w 133"/>
              <a:gd name="T29" fmla="*/ 510968383 h 184"/>
              <a:gd name="T30" fmla="*/ 315528384 w 133"/>
              <a:gd name="T31" fmla="*/ 669370255 h 184"/>
              <a:gd name="T32" fmla="*/ 269726495 w 133"/>
              <a:gd name="T33" fmla="*/ 602944320 h 184"/>
              <a:gd name="T34" fmla="*/ 264637146 w 133"/>
              <a:gd name="T35" fmla="*/ 766452575 h 184"/>
              <a:gd name="T36" fmla="*/ 188299161 w 133"/>
              <a:gd name="T37" fmla="*/ 602944320 h 184"/>
              <a:gd name="T38" fmla="*/ 167944019 w 133"/>
              <a:gd name="T39" fmla="*/ 740904834 h 184"/>
              <a:gd name="T40" fmla="*/ 122139874 w 133"/>
              <a:gd name="T41" fmla="*/ 740904834 h 184"/>
              <a:gd name="T42" fmla="*/ 239190399 w 133"/>
              <a:gd name="T43" fmla="*/ 940182639 h 184"/>
              <a:gd name="T44" fmla="*/ 40712539 w 133"/>
              <a:gd name="T45" fmla="*/ 812439413 h 184"/>
              <a:gd name="T46" fmla="*/ 30536096 w 133"/>
              <a:gd name="T47" fmla="*/ 505859739 h 184"/>
              <a:gd name="T48" fmla="*/ 55980588 w 133"/>
              <a:gd name="T49" fmla="*/ 562066126 h 184"/>
              <a:gd name="T50" fmla="*/ 96695383 w 133"/>
              <a:gd name="T51" fmla="*/ 393446966 h 184"/>
              <a:gd name="T52" fmla="*/ 96695383 w 133"/>
              <a:gd name="T53" fmla="*/ 321910127 h 184"/>
              <a:gd name="T54" fmla="*/ 162854669 w 133"/>
              <a:gd name="T55" fmla="*/ 393446966 h 184"/>
              <a:gd name="T56" fmla="*/ 208656558 w 133"/>
              <a:gd name="T57" fmla="*/ 163510516 h 184"/>
              <a:gd name="T58" fmla="*/ 295173242 w 133"/>
              <a:gd name="T59" fmla="*/ 204386449 h 184"/>
              <a:gd name="T60" fmla="*/ 315528384 w 133"/>
              <a:gd name="T61" fmla="*/ 0 h 184"/>
              <a:gd name="T62" fmla="*/ 325707083 w 133"/>
              <a:gd name="T63" fmla="*/ 0 h 18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33" h="184">
                <a:moveTo>
                  <a:pt x="64" y="0"/>
                </a:moveTo>
                <a:cubicBezTo>
                  <a:pt x="73" y="19"/>
                  <a:pt x="84" y="38"/>
                  <a:pt x="89" y="59"/>
                </a:cubicBezTo>
                <a:cubicBezTo>
                  <a:pt x="92" y="53"/>
                  <a:pt x="93" y="46"/>
                  <a:pt x="93" y="39"/>
                </a:cubicBezTo>
                <a:cubicBezTo>
                  <a:pt x="101" y="56"/>
                  <a:pt x="105" y="75"/>
                  <a:pt x="109" y="93"/>
                </a:cubicBezTo>
                <a:cubicBezTo>
                  <a:pt x="116" y="88"/>
                  <a:pt x="116" y="80"/>
                  <a:pt x="118" y="73"/>
                </a:cubicBezTo>
                <a:cubicBezTo>
                  <a:pt x="123" y="91"/>
                  <a:pt x="127" y="113"/>
                  <a:pt x="123" y="134"/>
                </a:cubicBezTo>
                <a:cubicBezTo>
                  <a:pt x="129" y="137"/>
                  <a:pt x="130" y="127"/>
                  <a:pt x="133" y="124"/>
                </a:cubicBezTo>
                <a:cubicBezTo>
                  <a:pt x="133" y="140"/>
                  <a:pt x="130" y="157"/>
                  <a:pt x="117" y="169"/>
                </a:cubicBezTo>
                <a:cubicBezTo>
                  <a:pt x="105" y="179"/>
                  <a:pt x="91" y="183"/>
                  <a:pt x="76" y="184"/>
                </a:cubicBezTo>
                <a:cubicBezTo>
                  <a:pt x="77" y="181"/>
                  <a:pt x="81" y="179"/>
                  <a:pt x="85" y="178"/>
                </a:cubicBezTo>
                <a:cubicBezTo>
                  <a:pt x="97" y="168"/>
                  <a:pt x="100" y="155"/>
                  <a:pt x="101" y="140"/>
                </a:cubicBezTo>
                <a:cubicBezTo>
                  <a:pt x="99" y="138"/>
                  <a:pt x="96" y="141"/>
                  <a:pt x="94" y="143"/>
                </a:cubicBezTo>
                <a:cubicBezTo>
                  <a:pt x="94" y="135"/>
                  <a:pt x="99" y="124"/>
                  <a:pt x="94" y="116"/>
                </a:cubicBezTo>
                <a:cubicBezTo>
                  <a:pt x="92" y="121"/>
                  <a:pt x="89" y="127"/>
                  <a:pt x="85" y="132"/>
                </a:cubicBezTo>
                <a:cubicBezTo>
                  <a:pt x="83" y="121"/>
                  <a:pt x="82" y="109"/>
                  <a:pt x="74" y="100"/>
                </a:cubicBezTo>
                <a:cubicBezTo>
                  <a:pt x="62" y="131"/>
                  <a:pt x="62" y="131"/>
                  <a:pt x="62" y="131"/>
                </a:cubicBezTo>
                <a:cubicBezTo>
                  <a:pt x="57" y="129"/>
                  <a:pt x="58" y="120"/>
                  <a:pt x="53" y="118"/>
                </a:cubicBezTo>
                <a:cubicBezTo>
                  <a:pt x="49" y="127"/>
                  <a:pt x="50" y="140"/>
                  <a:pt x="52" y="150"/>
                </a:cubicBezTo>
                <a:cubicBezTo>
                  <a:pt x="40" y="143"/>
                  <a:pt x="42" y="129"/>
                  <a:pt x="37" y="118"/>
                </a:cubicBezTo>
                <a:cubicBezTo>
                  <a:pt x="36" y="127"/>
                  <a:pt x="30" y="136"/>
                  <a:pt x="33" y="145"/>
                </a:cubicBezTo>
                <a:cubicBezTo>
                  <a:pt x="30" y="145"/>
                  <a:pt x="27" y="140"/>
                  <a:pt x="24" y="145"/>
                </a:cubicBezTo>
                <a:cubicBezTo>
                  <a:pt x="26" y="161"/>
                  <a:pt x="45" y="169"/>
                  <a:pt x="47" y="184"/>
                </a:cubicBezTo>
                <a:cubicBezTo>
                  <a:pt x="31" y="183"/>
                  <a:pt x="16" y="173"/>
                  <a:pt x="8" y="159"/>
                </a:cubicBezTo>
                <a:cubicBezTo>
                  <a:pt x="0" y="142"/>
                  <a:pt x="3" y="118"/>
                  <a:pt x="6" y="99"/>
                </a:cubicBezTo>
                <a:cubicBezTo>
                  <a:pt x="11" y="110"/>
                  <a:pt x="11" y="110"/>
                  <a:pt x="11" y="110"/>
                </a:cubicBezTo>
                <a:cubicBezTo>
                  <a:pt x="17" y="101"/>
                  <a:pt x="17" y="88"/>
                  <a:pt x="19" y="77"/>
                </a:cubicBezTo>
                <a:cubicBezTo>
                  <a:pt x="19" y="63"/>
                  <a:pt x="19" y="63"/>
                  <a:pt x="19" y="63"/>
                </a:cubicBezTo>
                <a:cubicBezTo>
                  <a:pt x="25" y="65"/>
                  <a:pt x="27" y="72"/>
                  <a:pt x="32" y="77"/>
                </a:cubicBezTo>
                <a:cubicBezTo>
                  <a:pt x="40" y="64"/>
                  <a:pt x="45" y="49"/>
                  <a:pt x="41" y="32"/>
                </a:cubicBezTo>
                <a:cubicBezTo>
                  <a:pt x="49" y="30"/>
                  <a:pt x="50" y="57"/>
                  <a:pt x="58" y="40"/>
                </a:cubicBezTo>
                <a:cubicBezTo>
                  <a:pt x="62" y="0"/>
                  <a:pt x="62" y="0"/>
                  <a:pt x="62" y="0"/>
                </a:cubicBezTo>
                <a:lnTo>
                  <a:pt x="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03" name="Freeform 14"/>
          <p:cNvSpPr>
            <a:spLocks/>
          </p:cNvSpPr>
          <p:nvPr/>
        </p:nvSpPr>
        <p:spPr bwMode="auto">
          <a:xfrm>
            <a:off x="5532967" y="2228851"/>
            <a:ext cx="21167" cy="57149"/>
          </a:xfrm>
          <a:custGeom>
            <a:avLst/>
            <a:gdLst>
              <a:gd name="T0" fmla="*/ 15430500 w 7"/>
              <a:gd name="T1" fmla="*/ 96694416 h 19"/>
              <a:gd name="T2" fmla="*/ 20571732 w 7"/>
              <a:gd name="T3" fmla="*/ 0 h 19"/>
              <a:gd name="T4" fmla="*/ 15430500 w 7"/>
              <a:gd name="T5" fmla="*/ 96694416 h 19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9">
                <a:moveTo>
                  <a:pt x="3" y="19"/>
                </a:moveTo>
                <a:cubicBezTo>
                  <a:pt x="1" y="13"/>
                  <a:pt x="0" y="5"/>
                  <a:pt x="4" y="0"/>
                </a:cubicBezTo>
                <a:cubicBezTo>
                  <a:pt x="5" y="5"/>
                  <a:pt x="7" y="14"/>
                  <a:pt x="3" y="1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04" name="Freeform 15"/>
          <p:cNvSpPr>
            <a:spLocks/>
          </p:cNvSpPr>
          <p:nvPr/>
        </p:nvSpPr>
        <p:spPr bwMode="auto">
          <a:xfrm>
            <a:off x="5666318" y="2527301"/>
            <a:ext cx="21167" cy="31751"/>
          </a:xfrm>
          <a:custGeom>
            <a:avLst/>
            <a:gdLst>
              <a:gd name="T0" fmla="*/ 10287000 w 7"/>
              <a:gd name="T1" fmla="*/ 42177153 h 11"/>
              <a:gd name="T2" fmla="*/ 0 w 7"/>
              <a:gd name="T3" fmla="*/ 51550815 h 11"/>
              <a:gd name="T4" fmla="*/ 25715232 w 7"/>
              <a:gd name="T5" fmla="*/ 0 h 11"/>
              <a:gd name="T6" fmla="*/ 10287000 w 7"/>
              <a:gd name="T7" fmla="*/ 42177153 h 1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1">
                <a:moveTo>
                  <a:pt x="2" y="9"/>
                </a:moveTo>
                <a:cubicBezTo>
                  <a:pt x="2" y="10"/>
                  <a:pt x="1" y="11"/>
                  <a:pt x="0" y="11"/>
                </a:cubicBezTo>
                <a:cubicBezTo>
                  <a:pt x="5" y="0"/>
                  <a:pt x="5" y="0"/>
                  <a:pt x="5" y="0"/>
                </a:cubicBezTo>
                <a:cubicBezTo>
                  <a:pt x="7" y="2"/>
                  <a:pt x="4" y="7"/>
                  <a:pt x="2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05" name="Rectangle 16"/>
          <p:cNvSpPr>
            <a:spLocks noChangeArrowheads="1"/>
          </p:cNvSpPr>
          <p:nvPr/>
        </p:nvSpPr>
        <p:spPr bwMode="auto">
          <a:xfrm>
            <a:off x="5422901" y="2669117"/>
            <a:ext cx="260351" cy="148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06" name="Freeform 17"/>
          <p:cNvSpPr>
            <a:spLocks/>
          </p:cNvSpPr>
          <p:nvPr/>
        </p:nvSpPr>
        <p:spPr bwMode="auto">
          <a:xfrm>
            <a:off x="6170085" y="2114551"/>
            <a:ext cx="410633" cy="548216"/>
          </a:xfrm>
          <a:custGeom>
            <a:avLst/>
            <a:gdLst>
              <a:gd name="T0" fmla="*/ 661518977 w 136"/>
              <a:gd name="T1" fmla="*/ 551198807 h 182"/>
              <a:gd name="T2" fmla="*/ 625624038 w 136"/>
              <a:gd name="T3" fmla="*/ 250081380 h 182"/>
              <a:gd name="T4" fmla="*/ 625624038 w 136"/>
              <a:gd name="T5" fmla="*/ 250081380 h 182"/>
              <a:gd name="T6" fmla="*/ 620494896 w 136"/>
              <a:gd name="T7" fmla="*/ 244978001 h 182"/>
              <a:gd name="T8" fmla="*/ 492293508 w 136"/>
              <a:gd name="T9" fmla="*/ 438917694 h 182"/>
              <a:gd name="T10" fmla="*/ 379477284 w 136"/>
              <a:gd name="T11" fmla="*/ 5103379 h 182"/>
              <a:gd name="T12" fmla="*/ 379477284 w 136"/>
              <a:gd name="T13" fmla="*/ 5103379 h 182"/>
              <a:gd name="T14" fmla="*/ 374348142 w 136"/>
              <a:gd name="T15" fmla="*/ 0 h 182"/>
              <a:gd name="T16" fmla="*/ 266658795 w 136"/>
              <a:gd name="T17" fmla="*/ 91865338 h 182"/>
              <a:gd name="T18" fmla="*/ 241019876 w 136"/>
              <a:gd name="T19" fmla="*/ 408295162 h 182"/>
              <a:gd name="T20" fmla="*/ 199993530 w 136"/>
              <a:gd name="T21" fmla="*/ 566508944 h 182"/>
              <a:gd name="T22" fmla="*/ 210249551 w 136"/>
              <a:gd name="T23" fmla="*/ 484850363 h 182"/>
              <a:gd name="T24" fmla="*/ 112816224 w 136"/>
              <a:gd name="T25" fmla="*/ 321533202 h 182"/>
              <a:gd name="T26" fmla="*/ 112816224 w 136"/>
              <a:gd name="T27" fmla="*/ 321533202 h 182"/>
              <a:gd name="T28" fmla="*/ 107689347 w 136"/>
              <a:gd name="T29" fmla="*/ 326636581 h 182"/>
              <a:gd name="T30" fmla="*/ 87177306 w 136"/>
              <a:gd name="T31" fmla="*/ 520576275 h 182"/>
              <a:gd name="T32" fmla="*/ 25641183 w 136"/>
              <a:gd name="T33" fmla="*/ 745138501 h 182"/>
              <a:gd name="T34" fmla="*/ 205122673 w 136"/>
              <a:gd name="T35" fmla="*/ 908455662 h 182"/>
              <a:gd name="T36" fmla="*/ 282043958 w 136"/>
              <a:gd name="T37" fmla="*/ 928871436 h 182"/>
              <a:gd name="T38" fmla="*/ 287170836 w 136"/>
              <a:gd name="T39" fmla="*/ 923768057 h 182"/>
              <a:gd name="T40" fmla="*/ 287170836 w 136"/>
              <a:gd name="T41" fmla="*/ 918664679 h 182"/>
              <a:gd name="T42" fmla="*/ 220505571 w 136"/>
              <a:gd name="T43" fmla="*/ 755345258 h 182"/>
              <a:gd name="T44" fmla="*/ 246146754 w 136"/>
              <a:gd name="T45" fmla="*/ 617547251 h 182"/>
              <a:gd name="T46" fmla="*/ 292299978 w 136"/>
              <a:gd name="T47" fmla="*/ 704309210 h 182"/>
              <a:gd name="T48" fmla="*/ 292299978 w 136"/>
              <a:gd name="T49" fmla="*/ 709412589 h 182"/>
              <a:gd name="T50" fmla="*/ 297426856 w 136"/>
              <a:gd name="T51" fmla="*/ 709412589 h 182"/>
              <a:gd name="T52" fmla="*/ 364092121 w 136"/>
              <a:gd name="T53" fmla="*/ 495057121 h 182"/>
              <a:gd name="T54" fmla="*/ 415372223 w 136"/>
              <a:gd name="T55" fmla="*/ 683893436 h 182"/>
              <a:gd name="T56" fmla="*/ 441013406 w 136"/>
              <a:gd name="T57" fmla="*/ 770657654 h 182"/>
              <a:gd name="T58" fmla="*/ 446140284 w 136"/>
              <a:gd name="T59" fmla="*/ 775761033 h 182"/>
              <a:gd name="T60" fmla="*/ 446140284 w 136"/>
              <a:gd name="T61" fmla="*/ 770657654 h 182"/>
              <a:gd name="T62" fmla="*/ 476910610 w 136"/>
              <a:gd name="T63" fmla="*/ 653273162 h 182"/>
              <a:gd name="T64" fmla="*/ 492293508 w 136"/>
              <a:gd name="T65" fmla="*/ 745138501 h 182"/>
              <a:gd name="T66" fmla="*/ 523061570 w 136"/>
              <a:gd name="T67" fmla="*/ 842109477 h 182"/>
              <a:gd name="T68" fmla="*/ 476910610 w 136"/>
              <a:gd name="T69" fmla="*/ 903352283 h 182"/>
              <a:gd name="T70" fmla="*/ 476910610 w 136"/>
              <a:gd name="T71" fmla="*/ 908455662 h 182"/>
              <a:gd name="T72" fmla="*/ 482037488 w 136"/>
              <a:gd name="T73" fmla="*/ 913561300 h 182"/>
              <a:gd name="T74" fmla="*/ 671774998 w 136"/>
              <a:gd name="T75" fmla="*/ 765554275 h 182"/>
              <a:gd name="T76" fmla="*/ 661518977 w 136"/>
              <a:gd name="T77" fmla="*/ 551198807 h 18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36" h="182">
                <a:moveTo>
                  <a:pt x="129" y="108"/>
                </a:moveTo>
                <a:cubicBezTo>
                  <a:pt x="108" y="64"/>
                  <a:pt x="122" y="50"/>
                  <a:pt x="122" y="49"/>
                </a:cubicBezTo>
                <a:cubicBezTo>
                  <a:pt x="122" y="49"/>
                  <a:pt x="122" y="49"/>
                  <a:pt x="122" y="49"/>
                </a:cubicBezTo>
                <a:cubicBezTo>
                  <a:pt x="122" y="48"/>
                  <a:pt x="121" y="48"/>
                  <a:pt x="121" y="48"/>
                </a:cubicBezTo>
                <a:cubicBezTo>
                  <a:pt x="121" y="48"/>
                  <a:pt x="92" y="60"/>
                  <a:pt x="96" y="86"/>
                </a:cubicBezTo>
                <a:cubicBezTo>
                  <a:pt x="88" y="79"/>
                  <a:pt x="52" y="44"/>
                  <a:pt x="74" y="1"/>
                </a:cubicBezTo>
                <a:cubicBezTo>
                  <a:pt x="74" y="1"/>
                  <a:pt x="74" y="1"/>
                  <a:pt x="74" y="1"/>
                </a:cubicBezTo>
                <a:cubicBezTo>
                  <a:pt x="74" y="0"/>
                  <a:pt x="73" y="0"/>
                  <a:pt x="73" y="0"/>
                </a:cubicBezTo>
                <a:cubicBezTo>
                  <a:pt x="73" y="1"/>
                  <a:pt x="61" y="5"/>
                  <a:pt x="52" y="18"/>
                </a:cubicBezTo>
                <a:cubicBezTo>
                  <a:pt x="44" y="29"/>
                  <a:pt x="36" y="49"/>
                  <a:pt x="47" y="80"/>
                </a:cubicBezTo>
                <a:cubicBezTo>
                  <a:pt x="50" y="94"/>
                  <a:pt x="43" y="106"/>
                  <a:pt x="39" y="111"/>
                </a:cubicBezTo>
                <a:cubicBezTo>
                  <a:pt x="40" y="108"/>
                  <a:pt x="42" y="102"/>
                  <a:pt x="41" y="95"/>
                </a:cubicBezTo>
                <a:cubicBezTo>
                  <a:pt x="41" y="85"/>
                  <a:pt x="38" y="72"/>
                  <a:pt x="22" y="63"/>
                </a:cubicBezTo>
                <a:cubicBezTo>
                  <a:pt x="22" y="63"/>
                  <a:pt x="22" y="63"/>
                  <a:pt x="22" y="63"/>
                </a:cubicBezTo>
                <a:cubicBezTo>
                  <a:pt x="21" y="63"/>
                  <a:pt x="21" y="63"/>
                  <a:pt x="21" y="64"/>
                </a:cubicBezTo>
                <a:cubicBezTo>
                  <a:pt x="21" y="64"/>
                  <a:pt x="27" y="90"/>
                  <a:pt x="17" y="102"/>
                </a:cubicBezTo>
                <a:cubicBezTo>
                  <a:pt x="9" y="112"/>
                  <a:pt x="0" y="130"/>
                  <a:pt x="5" y="146"/>
                </a:cubicBezTo>
                <a:cubicBezTo>
                  <a:pt x="9" y="160"/>
                  <a:pt x="21" y="171"/>
                  <a:pt x="40" y="178"/>
                </a:cubicBezTo>
                <a:cubicBezTo>
                  <a:pt x="45" y="179"/>
                  <a:pt x="50" y="181"/>
                  <a:pt x="55" y="182"/>
                </a:cubicBezTo>
                <a:cubicBezTo>
                  <a:pt x="56" y="182"/>
                  <a:pt x="56" y="181"/>
                  <a:pt x="56" y="181"/>
                </a:cubicBezTo>
                <a:cubicBezTo>
                  <a:pt x="56" y="181"/>
                  <a:pt x="56" y="180"/>
                  <a:pt x="56" y="180"/>
                </a:cubicBezTo>
                <a:cubicBezTo>
                  <a:pt x="46" y="176"/>
                  <a:pt x="35" y="167"/>
                  <a:pt x="43" y="148"/>
                </a:cubicBezTo>
                <a:cubicBezTo>
                  <a:pt x="50" y="132"/>
                  <a:pt x="49" y="124"/>
                  <a:pt x="48" y="121"/>
                </a:cubicBezTo>
                <a:cubicBezTo>
                  <a:pt x="51" y="123"/>
                  <a:pt x="59" y="128"/>
                  <a:pt x="57" y="138"/>
                </a:cubicBezTo>
                <a:cubicBezTo>
                  <a:pt x="57" y="138"/>
                  <a:pt x="57" y="139"/>
                  <a:pt x="57" y="139"/>
                </a:cubicBezTo>
                <a:cubicBezTo>
                  <a:pt x="58" y="139"/>
                  <a:pt x="58" y="139"/>
                  <a:pt x="58" y="139"/>
                </a:cubicBezTo>
                <a:cubicBezTo>
                  <a:pt x="58" y="139"/>
                  <a:pt x="81" y="120"/>
                  <a:pt x="71" y="97"/>
                </a:cubicBezTo>
                <a:cubicBezTo>
                  <a:pt x="76" y="100"/>
                  <a:pt x="89" y="110"/>
                  <a:pt x="81" y="134"/>
                </a:cubicBezTo>
                <a:cubicBezTo>
                  <a:pt x="79" y="144"/>
                  <a:pt x="86" y="151"/>
                  <a:pt x="86" y="151"/>
                </a:cubicBezTo>
                <a:cubicBezTo>
                  <a:pt x="86" y="152"/>
                  <a:pt x="87" y="152"/>
                  <a:pt x="87" y="152"/>
                </a:cubicBezTo>
                <a:cubicBezTo>
                  <a:pt x="87" y="151"/>
                  <a:pt x="87" y="151"/>
                  <a:pt x="87" y="151"/>
                </a:cubicBezTo>
                <a:cubicBezTo>
                  <a:pt x="87" y="150"/>
                  <a:pt x="82" y="136"/>
                  <a:pt x="93" y="128"/>
                </a:cubicBezTo>
                <a:cubicBezTo>
                  <a:pt x="93" y="131"/>
                  <a:pt x="92" y="141"/>
                  <a:pt x="96" y="146"/>
                </a:cubicBezTo>
                <a:cubicBezTo>
                  <a:pt x="100" y="150"/>
                  <a:pt x="103" y="157"/>
                  <a:pt x="102" y="165"/>
                </a:cubicBezTo>
                <a:cubicBezTo>
                  <a:pt x="102" y="170"/>
                  <a:pt x="98" y="174"/>
                  <a:pt x="93" y="177"/>
                </a:cubicBezTo>
                <a:cubicBezTo>
                  <a:pt x="93" y="178"/>
                  <a:pt x="93" y="178"/>
                  <a:pt x="93" y="178"/>
                </a:cubicBezTo>
                <a:cubicBezTo>
                  <a:pt x="93" y="179"/>
                  <a:pt x="94" y="179"/>
                  <a:pt x="94" y="179"/>
                </a:cubicBezTo>
                <a:cubicBezTo>
                  <a:pt x="107" y="174"/>
                  <a:pt x="124" y="166"/>
                  <a:pt x="131" y="150"/>
                </a:cubicBezTo>
                <a:cubicBezTo>
                  <a:pt x="136" y="138"/>
                  <a:pt x="136" y="124"/>
                  <a:pt x="129" y="10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07" name="Freeform 18"/>
          <p:cNvSpPr>
            <a:spLocks noEditPoints="1"/>
          </p:cNvSpPr>
          <p:nvPr/>
        </p:nvSpPr>
        <p:spPr bwMode="auto">
          <a:xfrm>
            <a:off x="7052734" y="2116667"/>
            <a:ext cx="383117" cy="541867"/>
          </a:xfrm>
          <a:custGeom>
            <a:avLst/>
            <a:gdLst>
              <a:gd name="T0" fmla="*/ 151177950 w 128"/>
              <a:gd name="T1" fmla="*/ 183512178 h 180"/>
              <a:gd name="T2" fmla="*/ 146138311 w 128"/>
              <a:gd name="T3" fmla="*/ 489366560 h 180"/>
              <a:gd name="T4" fmla="*/ 115902721 w 128"/>
              <a:gd name="T5" fmla="*/ 361926293 h 180"/>
              <a:gd name="T6" fmla="*/ 30235590 w 128"/>
              <a:gd name="T7" fmla="*/ 601512640 h 180"/>
              <a:gd name="T8" fmla="*/ 443454572 w 128"/>
              <a:gd name="T9" fmla="*/ 861486720 h 180"/>
              <a:gd name="T10" fmla="*/ 544238375 w 128"/>
              <a:gd name="T11" fmla="*/ 504658489 h 180"/>
              <a:gd name="T12" fmla="*/ 478729801 w 128"/>
              <a:gd name="T13" fmla="*/ 601512640 h 180"/>
              <a:gd name="T14" fmla="*/ 473690162 w 128"/>
              <a:gd name="T15" fmla="*/ 290560196 h 180"/>
              <a:gd name="T16" fmla="*/ 388023031 w 128"/>
              <a:gd name="T17" fmla="*/ 168220249 h 180"/>
              <a:gd name="T18" fmla="*/ 337628884 w 128"/>
              <a:gd name="T19" fmla="*/ 372122418 h 180"/>
              <a:gd name="T20" fmla="*/ 206609491 w 128"/>
              <a:gd name="T21" fmla="*/ 137634133 h 180"/>
              <a:gd name="T22" fmla="*/ 473690162 w 128"/>
              <a:gd name="T23" fmla="*/ 0 h 180"/>
              <a:gd name="T24" fmla="*/ 508965391 w 128"/>
              <a:gd name="T25" fmla="*/ 290560196 h 180"/>
              <a:gd name="T26" fmla="*/ 549278015 w 128"/>
              <a:gd name="T27" fmla="*/ 265072142 h 180"/>
              <a:gd name="T28" fmla="*/ 579513605 w 128"/>
              <a:gd name="T29" fmla="*/ 494462364 h 180"/>
              <a:gd name="T30" fmla="*/ 488806835 w 128"/>
              <a:gd name="T31" fmla="*/ 881878969 h 180"/>
              <a:gd name="T32" fmla="*/ 0 w 128"/>
              <a:gd name="T33" fmla="*/ 611706507 h 180"/>
              <a:gd name="T34" fmla="*/ 20156312 w 128"/>
              <a:gd name="T35" fmla="*/ 275268267 h 180"/>
              <a:gd name="T36" fmla="*/ 181413540 w 128"/>
              <a:gd name="T37" fmla="*/ 351732427 h 180"/>
              <a:gd name="T38" fmla="*/ 257001393 w 128"/>
              <a:gd name="T39" fmla="*/ 5098062 h 180"/>
              <a:gd name="T40" fmla="*/ 312432934 w 128"/>
              <a:gd name="T41" fmla="*/ 214098293 h 180"/>
              <a:gd name="T42" fmla="*/ 367864475 w 128"/>
              <a:gd name="T43" fmla="*/ 244682151 h 180"/>
              <a:gd name="T44" fmla="*/ 473690162 w 128"/>
              <a:gd name="T45" fmla="*/ 0 h 180"/>
              <a:gd name="T46" fmla="*/ 337628884 w 128"/>
              <a:gd name="T47" fmla="*/ 540340409 h 180"/>
              <a:gd name="T48" fmla="*/ 377943753 w 128"/>
              <a:gd name="T49" fmla="*/ 540340409 h 180"/>
              <a:gd name="T50" fmla="*/ 418258621 w 128"/>
              <a:gd name="T51" fmla="*/ 713658720 h 180"/>
              <a:gd name="T52" fmla="*/ 529121703 w 128"/>
              <a:gd name="T53" fmla="*/ 693268729 h 180"/>
              <a:gd name="T54" fmla="*/ 307395539 w 128"/>
              <a:gd name="T55" fmla="*/ 830902862 h 180"/>
              <a:gd name="T56" fmla="*/ 151177950 w 128"/>
              <a:gd name="T57" fmla="*/ 591316516 h 180"/>
              <a:gd name="T58" fmla="*/ 196530213 w 128"/>
              <a:gd name="T59" fmla="*/ 616804569 h 180"/>
              <a:gd name="T60" fmla="*/ 186453179 w 128"/>
              <a:gd name="T61" fmla="*/ 693268729 h 180"/>
              <a:gd name="T62" fmla="*/ 277159949 w 128"/>
              <a:gd name="T63" fmla="*/ 530146542 h 180"/>
              <a:gd name="T64" fmla="*/ 251961754 w 128"/>
              <a:gd name="T65" fmla="*/ 412902400 h 1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8" h="180">
                <a:moveTo>
                  <a:pt x="39" y="18"/>
                </a:moveTo>
                <a:cubicBezTo>
                  <a:pt x="33" y="24"/>
                  <a:pt x="30" y="30"/>
                  <a:pt x="30" y="36"/>
                </a:cubicBezTo>
                <a:cubicBezTo>
                  <a:pt x="30" y="50"/>
                  <a:pt x="43" y="57"/>
                  <a:pt x="43" y="70"/>
                </a:cubicBezTo>
                <a:cubicBezTo>
                  <a:pt x="43" y="79"/>
                  <a:pt x="37" y="88"/>
                  <a:pt x="29" y="96"/>
                </a:cubicBezTo>
                <a:cubicBezTo>
                  <a:pt x="28" y="95"/>
                  <a:pt x="28" y="95"/>
                  <a:pt x="28" y="95"/>
                </a:cubicBezTo>
                <a:cubicBezTo>
                  <a:pt x="27" y="87"/>
                  <a:pt x="30" y="77"/>
                  <a:pt x="23" y="71"/>
                </a:cubicBezTo>
                <a:cubicBezTo>
                  <a:pt x="23" y="75"/>
                  <a:pt x="24" y="80"/>
                  <a:pt x="24" y="81"/>
                </a:cubicBezTo>
                <a:cubicBezTo>
                  <a:pt x="24" y="93"/>
                  <a:pt x="6" y="103"/>
                  <a:pt x="6" y="118"/>
                </a:cubicBezTo>
                <a:cubicBezTo>
                  <a:pt x="6" y="150"/>
                  <a:pt x="34" y="173"/>
                  <a:pt x="64" y="173"/>
                </a:cubicBezTo>
                <a:cubicBezTo>
                  <a:pt x="71" y="173"/>
                  <a:pt x="84" y="171"/>
                  <a:pt x="88" y="169"/>
                </a:cubicBezTo>
                <a:cubicBezTo>
                  <a:pt x="105" y="164"/>
                  <a:pt x="121" y="144"/>
                  <a:pt x="121" y="129"/>
                </a:cubicBezTo>
                <a:cubicBezTo>
                  <a:pt x="121" y="116"/>
                  <a:pt x="108" y="114"/>
                  <a:pt x="108" y="99"/>
                </a:cubicBezTo>
                <a:cubicBezTo>
                  <a:pt x="108" y="97"/>
                  <a:pt x="111" y="82"/>
                  <a:pt x="112" y="74"/>
                </a:cubicBezTo>
                <a:cubicBezTo>
                  <a:pt x="97" y="88"/>
                  <a:pt x="97" y="103"/>
                  <a:pt x="95" y="118"/>
                </a:cubicBezTo>
                <a:cubicBezTo>
                  <a:pt x="89" y="114"/>
                  <a:pt x="85" y="100"/>
                  <a:pt x="85" y="93"/>
                </a:cubicBezTo>
                <a:cubicBezTo>
                  <a:pt x="85" y="91"/>
                  <a:pt x="94" y="59"/>
                  <a:pt x="94" y="57"/>
                </a:cubicBezTo>
                <a:cubicBezTo>
                  <a:pt x="94" y="43"/>
                  <a:pt x="83" y="40"/>
                  <a:pt x="79" y="24"/>
                </a:cubicBezTo>
                <a:cubicBezTo>
                  <a:pt x="78" y="27"/>
                  <a:pt x="77" y="31"/>
                  <a:pt x="77" y="33"/>
                </a:cubicBezTo>
                <a:cubicBezTo>
                  <a:pt x="77" y="35"/>
                  <a:pt x="79" y="45"/>
                  <a:pt x="79" y="47"/>
                </a:cubicBezTo>
                <a:cubicBezTo>
                  <a:pt x="79" y="58"/>
                  <a:pt x="74" y="61"/>
                  <a:pt x="67" y="73"/>
                </a:cubicBezTo>
                <a:cubicBezTo>
                  <a:pt x="66" y="66"/>
                  <a:pt x="67" y="58"/>
                  <a:pt x="61" y="51"/>
                </a:cubicBezTo>
                <a:cubicBezTo>
                  <a:pt x="55" y="43"/>
                  <a:pt x="46" y="35"/>
                  <a:pt x="41" y="27"/>
                </a:cubicBezTo>
                <a:cubicBezTo>
                  <a:pt x="39" y="25"/>
                  <a:pt x="39" y="21"/>
                  <a:pt x="39" y="18"/>
                </a:cubicBezTo>
                <a:close/>
                <a:moveTo>
                  <a:pt x="94" y="0"/>
                </a:moveTo>
                <a:cubicBezTo>
                  <a:pt x="90" y="11"/>
                  <a:pt x="87" y="16"/>
                  <a:pt x="87" y="25"/>
                </a:cubicBezTo>
                <a:cubicBezTo>
                  <a:pt x="87" y="38"/>
                  <a:pt x="101" y="37"/>
                  <a:pt x="101" y="57"/>
                </a:cubicBezTo>
                <a:cubicBezTo>
                  <a:pt x="101" y="65"/>
                  <a:pt x="92" y="80"/>
                  <a:pt x="93" y="90"/>
                </a:cubicBezTo>
                <a:cubicBezTo>
                  <a:pt x="102" y="78"/>
                  <a:pt x="111" y="65"/>
                  <a:pt x="109" y="52"/>
                </a:cubicBezTo>
                <a:cubicBezTo>
                  <a:pt x="116" y="61"/>
                  <a:pt x="119" y="68"/>
                  <a:pt x="119" y="76"/>
                </a:cubicBezTo>
                <a:cubicBezTo>
                  <a:pt x="119" y="82"/>
                  <a:pt x="115" y="91"/>
                  <a:pt x="115" y="97"/>
                </a:cubicBezTo>
                <a:cubicBezTo>
                  <a:pt x="115" y="115"/>
                  <a:pt x="128" y="114"/>
                  <a:pt x="128" y="129"/>
                </a:cubicBezTo>
                <a:cubicBezTo>
                  <a:pt x="128" y="144"/>
                  <a:pt x="117" y="161"/>
                  <a:pt x="97" y="173"/>
                </a:cubicBezTo>
                <a:cubicBezTo>
                  <a:pt x="89" y="177"/>
                  <a:pt x="75" y="180"/>
                  <a:pt x="66" y="180"/>
                </a:cubicBezTo>
                <a:cubicBezTo>
                  <a:pt x="34" y="180"/>
                  <a:pt x="0" y="158"/>
                  <a:pt x="0" y="120"/>
                </a:cubicBezTo>
                <a:cubicBezTo>
                  <a:pt x="0" y="96"/>
                  <a:pt x="18" y="93"/>
                  <a:pt x="18" y="80"/>
                </a:cubicBezTo>
                <a:cubicBezTo>
                  <a:pt x="18" y="72"/>
                  <a:pt x="11" y="62"/>
                  <a:pt x="4" y="54"/>
                </a:cubicBezTo>
                <a:cubicBezTo>
                  <a:pt x="13" y="53"/>
                  <a:pt x="33" y="65"/>
                  <a:pt x="35" y="78"/>
                </a:cubicBezTo>
                <a:cubicBezTo>
                  <a:pt x="36" y="75"/>
                  <a:pt x="36" y="71"/>
                  <a:pt x="36" y="69"/>
                </a:cubicBezTo>
                <a:cubicBezTo>
                  <a:pt x="36" y="65"/>
                  <a:pt x="24" y="46"/>
                  <a:pt x="24" y="36"/>
                </a:cubicBezTo>
                <a:cubicBezTo>
                  <a:pt x="24" y="22"/>
                  <a:pt x="34" y="13"/>
                  <a:pt x="51" y="1"/>
                </a:cubicBezTo>
                <a:cubicBezTo>
                  <a:pt x="49" y="7"/>
                  <a:pt x="46" y="15"/>
                  <a:pt x="46" y="20"/>
                </a:cubicBezTo>
                <a:cubicBezTo>
                  <a:pt x="46" y="27"/>
                  <a:pt x="56" y="35"/>
                  <a:pt x="62" y="42"/>
                </a:cubicBezTo>
                <a:cubicBezTo>
                  <a:pt x="66" y="46"/>
                  <a:pt x="69" y="51"/>
                  <a:pt x="71" y="55"/>
                </a:cubicBezTo>
                <a:cubicBezTo>
                  <a:pt x="72" y="53"/>
                  <a:pt x="73" y="51"/>
                  <a:pt x="73" y="48"/>
                </a:cubicBezTo>
                <a:cubicBezTo>
                  <a:pt x="73" y="46"/>
                  <a:pt x="71" y="35"/>
                  <a:pt x="71" y="33"/>
                </a:cubicBezTo>
                <a:cubicBezTo>
                  <a:pt x="71" y="22"/>
                  <a:pt x="79" y="7"/>
                  <a:pt x="94" y="0"/>
                </a:cubicBezTo>
                <a:close/>
                <a:moveTo>
                  <a:pt x="50" y="81"/>
                </a:moveTo>
                <a:cubicBezTo>
                  <a:pt x="56" y="92"/>
                  <a:pt x="64" y="97"/>
                  <a:pt x="67" y="106"/>
                </a:cubicBezTo>
                <a:cubicBezTo>
                  <a:pt x="69" y="102"/>
                  <a:pt x="70" y="97"/>
                  <a:pt x="71" y="92"/>
                </a:cubicBezTo>
                <a:cubicBezTo>
                  <a:pt x="72" y="93"/>
                  <a:pt x="75" y="103"/>
                  <a:pt x="75" y="106"/>
                </a:cubicBezTo>
                <a:cubicBezTo>
                  <a:pt x="75" y="107"/>
                  <a:pt x="74" y="117"/>
                  <a:pt x="74" y="119"/>
                </a:cubicBezTo>
                <a:cubicBezTo>
                  <a:pt x="74" y="124"/>
                  <a:pt x="77" y="136"/>
                  <a:pt x="83" y="140"/>
                </a:cubicBezTo>
                <a:cubicBezTo>
                  <a:pt x="88" y="129"/>
                  <a:pt x="94" y="133"/>
                  <a:pt x="106" y="122"/>
                </a:cubicBezTo>
                <a:cubicBezTo>
                  <a:pt x="105" y="136"/>
                  <a:pt x="105" y="136"/>
                  <a:pt x="105" y="136"/>
                </a:cubicBezTo>
                <a:cubicBezTo>
                  <a:pt x="105" y="148"/>
                  <a:pt x="87" y="159"/>
                  <a:pt x="76" y="161"/>
                </a:cubicBezTo>
                <a:cubicBezTo>
                  <a:pt x="71" y="162"/>
                  <a:pt x="63" y="163"/>
                  <a:pt x="61" y="163"/>
                </a:cubicBezTo>
                <a:cubicBezTo>
                  <a:pt x="47" y="163"/>
                  <a:pt x="24" y="155"/>
                  <a:pt x="24" y="135"/>
                </a:cubicBezTo>
                <a:cubicBezTo>
                  <a:pt x="24" y="125"/>
                  <a:pt x="30" y="123"/>
                  <a:pt x="30" y="116"/>
                </a:cubicBezTo>
                <a:cubicBezTo>
                  <a:pt x="30" y="115"/>
                  <a:pt x="28" y="112"/>
                  <a:pt x="28" y="111"/>
                </a:cubicBezTo>
                <a:cubicBezTo>
                  <a:pt x="34" y="112"/>
                  <a:pt x="39" y="117"/>
                  <a:pt x="39" y="121"/>
                </a:cubicBezTo>
                <a:cubicBezTo>
                  <a:pt x="39" y="123"/>
                  <a:pt x="36" y="130"/>
                  <a:pt x="36" y="132"/>
                </a:cubicBezTo>
                <a:cubicBezTo>
                  <a:pt x="36" y="134"/>
                  <a:pt x="36" y="134"/>
                  <a:pt x="37" y="136"/>
                </a:cubicBezTo>
                <a:cubicBezTo>
                  <a:pt x="39" y="134"/>
                  <a:pt x="39" y="129"/>
                  <a:pt x="42" y="126"/>
                </a:cubicBezTo>
                <a:cubicBezTo>
                  <a:pt x="47" y="121"/>
                  <a:pt x="55" y="109"/>
                  <a:pt x="55" y="104"/>
                </a:cubicBezTo>
                <a:cubicBezTo>
                  <a:pt x="55" y="96"/>
                  <a:pt x="49" y="91"/>
                  <a:pt x="49" y="84"/>
                </a:cubicBezTo>
                <a:cubicBezTo>
                  <a:pt x="49" y="82"/>
                  <a:pt x="50" y="82"/>
                  <a:pt x="50" y="8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08" name="Freeform 19"/>
          <p:cNvSpPr>
            <a:spLocks/>
          </p:cNvSpPr>
          <p:nvPr/>
        </p:nvSpPr>
        <p:spPr bwMode="auto">
          <a:xfrm>
            <a:off x="7835900" y="2055285"/>
            <a:ext cx="524933" cy="563033"/>
          </a:xfrm>
          <a:custGeom>
            <a:avLst/>
            <a:gdLst>
              <a:gd name="T0" fmla="*/ 0 w 174"/>
              <a:gd name="T1" fmla="*/ 499727461 h 187"/>
              <a:gd name="T2" fmla="*/ 97271052 w 174"/>
              <a:gd name="T3" fmla="*/ 744493407 h 187"/>
              <a:gd name="T4" fmla="*/ 404445295 w 174"/>
              <a:gd name="T5" fmla="*/ 943364608 h 187"/>
              <a:gd name="T6" fmla="*/ 220141654 w 174"/>
              <a:gd name="T7" fmla="*/ 764889063 h 187"/>
              <a:gd name="T8" fmla="*/ 266215867 w 174"/>
              <a:gd name="T9" fmla="*/ 780188064 h 187"/>
              <a:gd name="T10" fmla="*/ 255977405 w 174"/>
              <a:gd name="T11" fmla="*/ 637407176 h 187"/>
              <a:gd name="T12" fmla="*/ 337889631 w 174"/>
              <a:gd name="T13" fmla="*/ 703697577 h 187"/>
              <a:gd name="T14" fmla="*/ 337889631 w 174"/>
              <a:gd name="T15" fmla="*/ 515026462 h 187"/>
              <a:gd name="T16" fmla="*/ 394206832 w 174"/>
              <a:gd name="T17" fmla="*/ 586415776 h 187"/>
              <a:gd name="T18" fmla="*/ 424922220 w 174"/>
              <a:gd name="T19" fmla="*/ 484430719 h 187"/>
              <a:gd name="T20" fmla="*/ 460760233 w 174"/>
              <a:gd name="T21" fmla="*/ 601712519 h 187"/>
              <a:gd name="T22" fmla="*/ 527313634 w 174"/>
              <a:gd name="T23" fmla="*/ 525224290 h 187"/>
              <a:gd name="T24" fmla="*/ 527313634 w 174"/>
              <a:gd name="T25" fmla="*/ 673101834 h 187"/>
              <a:gd name="T26" fmla="*/ 609228124 w 174"/>
              <a:gd name="T27" fmla="*/ 617011520 h 187"/>
              <a:gd name="T28" fmla="*/ 542672460 w 174"/>
              <a:gd name="T29" fmla="*/ 785286978 h 187"/>
              <a:gd name="T30" fmla="*/ 619466586 w 174"/>
              <a:gd name="T31" fmla="*/ 769987977 h 187"/>
              <a:gd name="T32" fmla="*/ 476119059 w 174"/>
              <a:gd name="T33" fmla="*/ 938265694 h 187"/>
              <a:gd name="T34" fmla="*/ 752575651 w 174"/>
              <a:gd name="T35" fmla="*/ 815882721 h 187"/>
              <a:gd name="T36" fmla="*/ 890802816 w 174"/>
              <a:gd name="T37" fmla="*/ 545622205 h 187"/>
              <a:gd name="T38" fmla="*/ 732096463 w 174"/>
              <a:gd name="T39" fmla="*/ 576217948 h 187"/>
              <a:gd name="T40" fmla="*/ 726976101 w 174"/>
              <a:gd name="T41" fmla="*/ 351849918 h 187"/>
              <a:gd name="T42" fmla="*/ 639943511 w 174"/>
              <a:gd name="T43" fmla="*/ 484430719 h 187"/>
              <a:gd name="T44" fmla="*/ 598987398 w 174"/>
              <a:gd name="T45" fmla="*/ 224368031 h 187"/>
              <a:gd name="T46" fmla="*/ 517075172 w 174"/>
              <a:gd name="T47" fmla="*/ 382445661 h 187"/>
              <a:gd name="T48" fmla="*/ 486357521 w 174"/>
              <a:gd name="T49" fmla="*/ 203970116 h 187"/>
              <a:gd name="T50" fmla="*/ 424922220 w 174"/>
              <a:gd name="T51" fmla="*/ 0 h 187"/>
              <a:gd name="T52" fmla="*/ 353248456 w 174"/>
              <a:gd name="T53" fmla="*/ 290658431 h 187"/>
              <a:gd name="T54" fmla="*/ 194542103 w 174"/>
              <a:gd name="T55" fmla="*/ 203970116 h 187"/>
              <a:gd name="T56" fmla="*/ 240618579 w 174"/>
              <a:gd name="T57" fmla="*/ 438535975 h 187"/>
              <a:gd name="T58" fmla="*/ 107511777 w 174"/>
              <a:gd name="T59" fmla="*/ 362047746 h 187"/>
              <a:gd name="T60" fmla="*/ 148467890 w 174"/>
              <a:gd name="T61" fmla="*/ 560918947 h 187"/>
              <a:gd name="T62" fmla="*/ 0 w 174"/>
              <a:gd name="T63" fmla="*/ 499727461 h 1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74" h="187">
                <a:moveTo>
                  <a:pt x="0" y="98"/>
                </a:moveTo>
                <a:cubicBezTo>
                  <a:pt x="16" y="106"/>
                  <a:pt x="16" y="132"/>
                  <a:pt x="19" y="146"/>
                </a:cubicBezTo>
                <a:cubicBezTo>
                  <a:pt x="26" y="176"/>
                  <a:pt x="51" y="185"/>
                  <a:pt x="79" y="185"/>
                </a:cubicBezTo>
                <a:cubicBezTo>
                  <a:pt x="65" y="178"/>
                  <a:pt x="47" y="166"/>
                  <a:pt x="43" y="150"/>
                </a:cubicBezTo>
                <a:cubicBezTo>
                  <a:pt x="45" y="152"/>
                  <a:pt x="49" y="152"/>
                  <a:pt x="52" y="153"/>
                </a:cubicBezTo>
                <a:cubicBezTo>
                  <a:pt x="51" y="144"/>
                  <a:pt x="50" y="135"/>
                  <a:pt x="50" y="125"/>
                </a:cubicBezTo>
                <a:cubicBezTo>
                  <a:pt x="55" y="129"/>
                  <a:pt x="60" y="134"/>
                  <a:pt x="66" y="138"/>
                </a:cubicBezTo>
                <a:cubicBezTo>
                  <a:pt x="66" y="125"/>
                  <a:pt x="66" y="113"/>
                  <a:pt x="66" y="101"/>
                </a:cubicBezTo>
                <a:cubicBezTo>
                  <a:pt x="69" y="106"/>
                  <a:pt x="73" y="110"/>
                  <a:pt x="77" y="115"/>
                </a:cubicBezTo>
                <a:cubicBezTo>
                  <a:pt x="79" y="109"/>
                  <a:pt x="79" y="100"/>
                  <a:pt x="83" y="95"/>
                </a:cubicBezTo>
                <a:cubicBezTo>
                  <a:pt x="86" y="102"/>
                  <a:pt x="90" y="110"/>
                  <a:pt x="90" y="118"/>
                </a:cubicBezTo>
                <a:cubicBezTo>
                  <a:pt x="94" y="113"/>
                  <a:pt x="99" y="108"/>
                  <a:pt x="103" y="103"/>
                </a:cubicBezTo>
                <a:cubicBezTo>
                  <a:pt x="103" y="113"/>
                  <a:pt x="103" y="123"/>
                  <a:pt x="103" y="132"/>
                </a:cubicBezTo>
                <a:cubicBezTo>
                  <a:pt x="108" y="128"/>
                  <a:pt x="114" y="125"/>
                  <a:pt x="119" y="121"/>
                </a:cubicBezTo>
                <a:cubicBezTo>
                  <a:pt x="118" y="133"/>
                  <a:pt x="111" y="144"/>
                  <a:pt x="106" y="154"/>
                </a:cubicBezTo>
                <a:cubicBezTo>
                  <a:pt x="111" y="153"/>
                  <a:pt x="116" y="152"/>
                  <a:pt x="121" y="151"/>
                </a:cubicBezTo>
                <a:cubicBezTo>
                  <a:pt x="119" y="166"/>
                  <a:pt x="105" y="177"/>
                  <a:pt x="93" y="184"/>
                </a:cubicBezTo>
                <a:cubicBezTo>
                  <a:pt x="114" y="187"/>
                  <a:pt x="134" y="176"/>
                  <a:pt x="147" y="160"/>
                </a:cubicBezTo>
                <a:cubicBezTo>
                  <a:pt x="159" y="145"/>
                  <a:pt x="153" y="116"/>
                  <a:pt x="174" y="107"/>
                </a:cubicBezTo>
                <a:cubicBezTo>
                  <a:pt x="164" y="109"/>
                  <a:pt x="154" y="111"/>
                  <a:pt x="143" y="113"/>
                </a:cubicBezTo>
                <a:cubicBezTo>
                  <a:pt x="147" y="100"/>
                  <a:pt x="151" y="81"/>
                  <a:pt x="142" y="69"/>
                </a:cubicBezTo>
                <a:cubicBezTo>
                  <a:pt x="139" y="78"/>
                  <a:pt x="134" y="89"/>
                  <a:pt x="125" y="95"/>
                </a:cubicBezTo>
                <a:cubicBezTo>
                  <a:pt x="123" y="79"/>
                  <a:pt x="116" y="60"/>
                  <a:pt x="117" y="44"/>
                </a:cubicBezTo>
                <a:cubicBezTo>
                  <a:pt x="114" y="54"/>
                  <a:pt x="109" y="68"/>
                  <a:pt x="101" y="75"/>
                </a:cubicBezTo>
                <a:cubicBezTo>
                  <a:pt x="100" y="63"/>
                  <a:pt x="98" y="52"/>
                  <a:pt x="95" y="40"/>
                </a:cubicBezTo>
                <a:cubicBezTo>
                  <a:pt x="91" y="26"/>
                  <a:pt x="82" y="15"/>
                  <a:pt x="83" y="0"/>
                </a:cubicBezTo>
                <a:cubicBezTo>
                  <a:pt x="72" y="18"/>
                  <a:pt x="68" y="36"/>
                  <a:pt x="69" y="57"/>
                </a:cubicBezTo>
                <a:cubicBezTo>
                  <a:pt x="61" y="50"/>
                  <a:pt x="49" y="40"/>
                  <a:pt x="38" y="40"/>
                </a:cubicBezTo>
                <a:cubicBezTo>
                  <a:pt x="47" y="53"/>
                  <a:pt x="48" y="70"/>
                  <a:pt x="47" y="86"/>
                </a:cubicBezTo>
                <a:cubicBezTo>
                  <a:pt x="40" y="80"/>
                  <a:pt x="30" y="71"/>
                  <a:pt x="21" y="71"/>
                </a:cubicBezTo>
                <a:cubicBezTo>
                  <a:pt x="28" y="83"/>
                  <a:pt x="31" y="97"/>
                  <a:pt x="29" y="110"/>
                </a:cubicBezTo>
                <a:cubicBezTo>
                  <a:pt x="22" y="104"/>
                  <a:pt x="9" y="95"/>
                  <a:pt x="0" y="98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09" name="Rectangle 20"/>
          <p:cNvSpPr>
            <a:spLocks noChangeArrowheads="1"/>
          </p:cNvSpPr>
          <p:nvPr/>
        </p:nvSpPr>
        <p:spPr bwMode="auto">
          <a:xfrm>
            <a:off x="7926917" y="2626784"/>
            <a:ext cx="319616" cy="232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10" name="Freeform 21"/>
          <p:cNvSpPr>
            <a:spLocks/>
          </p:cNvSpPr>
          <p:nvPr/>
        </p:nvSpPr>
        <p:spPr bwMode="auto">
          <a:xfrm>
            <a:off x="8655051" y="2091267"/>
            <a:ext cx="618067" cy="620184"/>
          </a:xfrm>
          <a:custGeom>
            <a:avLst/>
            <a:gdLst>
              <a:gd name="T0" fmla="*/ 567121922 w 206"/>
              <a:gd name="T1" fmla="*/ 20393818 h 206"/>
              <a:gd name="T2" fmla="*/ 521550006 w 206"/>
              <a:gd name="T3" fmla="*/ 0 h 206"/>
              <a:gd name="T4" fmla="*/ 475978091 w 206"/>
              <a:gd name="T5" fmla="*/ 20393818 h 206"/>
              <a:gd name="T6" fmla="*/ 20254435 w 206"/>
              <a:gd name="T7" fmla="*/ 479243423 h 206"/>
              <a:gd name="T8" fmla="*/ 0 w 206"/>
              <a:gd name="T9" fmla="*/ 525129512 h 206"/>
              <a:gd name="T10" fmla="*/ 20254435 w 206"/>
              <a:gd name="T11" fmla="*/ 571015602 h 206"/>
              <a:gd name="T12" fmla="*/ 475978091 w 206"/>
              <a:gd name="T13" fmla="*/ 1029865207 h 206"/>
              <a:gd name="T14" fmla="*/ 521550006 w 206"/>
              <a:gd name="T15" fmla="*/ 1050259024 h 206"/>
              <a:gd name="T16" fmla="*/ 521550006 w 206"/>
              <a:gd name="T17" fmla="*/ 1050259024 h 206"/>
              <a:gd name="T18" fmla="*/ 567121922 w 206"/>
              <a:gd name="T19" fmla="*/ 1029865207 h 206"/>
              <a:gd name="T20" fmla="*/ 850684008 w 206"/>
              <a:gd name="T21" fmla="*/ 744358535 h 206"/>
              <a:gd name="T22" fmla="*/ 308879567 w 206"/>
              <a:gd name="T23" fmla="*/ 744358535 h 206"/>
              <a:gd name="T24" fmla="*/ 288625132 w 206"/>
              <a:gd name="T25" fmla="*/ 698472446 h 206"/>
              <a:gd name="T26" fmla="*/ 349388436 w 206"/>
              <a:gd name="T27" fmla="*/ 591407161 h 206"/>
              <a:gd name="T28" fmla="*/ 379768963 w 206"/>
              <a:gd name="T29" fmla="*/ 586308707 h 206"/>
              <a:gd name="T30" fmla="*/ 410151740 w 206"/>
              <a:gd name="T31" fmla="*/ 555720239 h 206"/>
              <a:gd name="T32" fmla="*/ 440532267 w 206"/>
              <a:gd name="T33" fmla="*/ 555720239 h 206"/>
              <a:gd name="T34" fmla="*/ 450660610 w 206"/>
              <a:gd name="T35" fmla="*/ 555720239 h 206"/>
              <a:gd name="T36" fmla="*/ 486104183 w 206"/>
              <a:gd name="T37" fmla="*/ 535326421 h 206"/>
              <a:gd name="T38" fmla="*/ 475978091 w 206"/>
              <a:gd name="T39" fmla="*/ 469048772 h 206"/>
              <a:gd name="T40" fmla="*/ 445595313 w 206"/>
              <a:gd name="T41" fmla="*/ 387473502 h 206"/>
              <a:gd name="T42" fmla="*/ 465849748 w 206"/>
              <a:gd name="T43" fmla="*/ 336491216 h 206"/>
              <a:gd name="T44" fmla="*/ 470915044 w 206"/>
              <a:gd name="T45" fmla="*/ 310998944 h 206"/>
              <a:gd name="T46" fmla="*/ 450660610 w 206"/>
              <a:gd name="T47" fmla="*/ 300802035 h 206"/>
              <a:gd name="T48" fmla="*/ 440532267 w 206"/>
              <a:gd name="T49" fmla="*/ 285506672 h 206"/>
              <a:gd name="T50" fmla="*/ 425340879 w 206"/>
              <a:gd name="T51" fmla="*/ 270211309 h 206"/>
              <a:gd name="T52" fmla="*/ 445595313 w 206"/>
              <a:gd name="T53" fmla="*/ 224327477 h 206"/>
              <a:gd name="T54" fmla="*/ 501295571 w 206"/>
              <a:gd name="T55" fmla="*/ 224327477 h 206"/>
              <a:gd name="T56" fmla="*/ 516486960 w 206"/>
              <a:gd name="T57" fmla="*/ 270211309 h 206"/>
              <a:gd name="T58" fmla="*/ 562058875 w 206"/>
              <a:gd name="T59" fmla="*/ 280408218 h 206"/>
              <a:gd name="T60" fmla="*/ 627885226 w 206"/>
              <a:gd name="T61" fmla="*/ 305900489 h 206"/>
              <a:gd name="T62" fmla="*/ 724094353 w 206"/>
              <a:gd name="T63" fmla="*/ 351786579 h 206"/>
              <a:gd name="T64" fmla="*/ 734220445 w 206"/>
              <a:gd name="T65" fmla="*/ 402768865 h 206"/>
              <a:gd name="T66" fmla="*/ 688648530 w 206"/>
              <a:gd name="T67" fmla="*/ 438458046 h 206"/>
              <a:gd name="T68" fmla="*/ 688648530 w 206"/>
              <a:gd name="T69" fmla="*/ 463950318 h 206"/>
              <a:gd name="T70" fmla="*/ 703839918 w 206"/>
              <a:gd name="T71" fmla="*/ 509834149 h 206"/>
              <a:gd name="T72" fmla="*/ 724094353 w 206"/>
              <a:gd name="T73" fmla="*/ 581210253 h 206"/>
              <a:gd name="T74" fmla="*/ 784857657 w 206"/>
              <a:gd name="T75" fmla="*/ 693373991 h 206"/>
              <a:gd name="T76" fmla="*/ 794983750 w 206"/>
              <a:gd name="T77" fmla="*/ 718866263 h 206"/>
              <a:gd name="T78" fmla="*/ 876001488 w 206"/>
              <a:gd name="T79" fmla="*/ 718866263 h 206"/>
              <a:gd name="T80" fmla="*/ 1022845577 w 206"/>
              <a:gd name="T81" fmla="*/ 571015602 h 206"/>
              <a:gd name="T82" fmla="*/ 1043100012 w 206"/>
              <a:gd name="T83" fmla="*/ 525129512 h 206"/>
              <a:gd name="T84" fmla="*/ 1022845577 w 206"/>
              <a:gd name="T85" fmla="*/ 479243423 h 206"/>
              <a:gd name="T86" fmla="*/ 567121922 w 206"/>
              <a:gd name="T87" fmla="*/ 20393818 h 20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06" h="206">
                <a:moveTo>
                  <a:pt x="112" y="4"/>
                </a:moveTo>
                <a:cubicBezTo>
                  <a:pt x="109" y="2"/>
                  <a:pt x="106" y="0"/>
                  <a:pt x="103" y="0"/>
                </a:cubicBezTo>
                <a:cubicBezTo>
                  <a:pt x="100" y="0"/>
                  <a:pt x="97" y="2"/>
                  <a:pt x="94" y="4"/>
                </a:cubicBezTo>
                <a:cubicBezTo>
                  <a:pt x="4" y="94"/>
                  <a:pt x="4" y="94"/>
                  <a:pt x="4" y="94"/>
                </a:cubicBezTo>
                <a:cubicBezTo>
                  <a:pt x="2" y="97"/>
                  <a:pt x="0" y="100"/>
                  <a:pt x="0" y="103"/>
                </a:cubicBezTo>
                <a:cubicBezTo>
                  <a:pt x="0" y="106"/>
                  <a:pt x="2" y="109"/>
                  <a:pt x="4" y="112"/>
                </a:cubicBezTo>
                <a:cubicBezTo>
                  <a:pt x="94" y="202"/>
                  <a:pt x="94" y="202"/>
                  <a:pt x="94" y="202"/>
                </a:cubicBezTo>
                <a:cubicBezTo>
                  <a:pt x="97" y="204"/>
                  <a:pt x="100" y="206"/>
                  <a:pt x="103" y="206"/>
                </a:cubicBezTo>
                <a:cubicBezTo>
                  <a:pt x="103" y="206"/>
                  <a:pt x="103" y="206"/>
                  <a:pt x="103" y="206"/>
                </a:cubicBezTo>
                <a:cubicBezTo>
                  <a:pt x="106" y="206"/>
                  <a:pt x="109" y="204"/>
                  <a:pt x="112" y="202"/>
                </a:cubicBezTo>
                <a:cubicBezTo>
                  <a:pt x="168" y="146"/>
                  <a:pt x="168" y="146"/>
                  <a:pt x="168" y="146"/>
                </a:cubicBezTo>
                <a:cubicBezTo>
                  <a:pt x="61" y="146"/>
                  <a:pt x="61" y="146"/>
                  <a:pt x="61" y="146"/>
                </a:cubicBezTo>
                <a:cubicBezTo>
                  <a:pt x="55" y="146"/>
                  <a:pt x="57" y="137"/>
                  <a:pt x="57" y="137"/>
                </a:cubicBezTo>
                <a:cubicBezTo>
                  <a:pt x="60" y="123"/>
                  <a:pt x="67" y="117"/>
                  <a:pt x="69" y="116"/>
                </a:cubicBezTo>
                <a:cubicBezTo>
                  <a:pt x="72" y="114"/>
                  <a:pt x="75" y="115"/>
                  <a:pt x="75" y="115"/>
                </a:cubicBezTo>
                <a:cubicBezTo>
                  <a:pt x="75" y="115"/>
                  <a:pt x="79" y="111"/>
                  <a:pt x="81" y="109"/>
                </a:cubicBezTo>
                <a:cubicBezTo>
                  <a:pt x="83" y="108"/>
                  <a:pt x="85" y="107"/>
                  <a:pt x="87" y="109"/>
                </a:cubicBezTo>
                <a:cubicBezTo>
                  <a:pt x="88" y="110"/>
                  <a:pt x="89" y="109"/>
                  <a:pt x="89" y="109"/>
                </a:cubicBezTo>
                <a:cubicBezTo>
                  <a:pt x="96" y="105"/>
                  <a:pt x="96" y="105"/>
                  <a:pt x="96" y="105"/>
                </a:cubicBezTo>
                <a:cubicBezTo>
                  <a:pt x="96" y="105"/>
                  <a:pt x="96" y="97"/>
                  <a:pt x="94" y="92"/>
                </a:cubicBezTo>
                <a:cubicBezTo>
                  <a:pt x="93" y="86"/>
                  <a:pt x="90" y="81"/>
                  <a:pt x="88" y="76"/>
                </a:cubicBezTo>
                <a:cubicBezTo>
                  <a:pt x="86" y="70"/>
                  <a:pt x="92" y="66"/>
                  <a:pt x="92" y="66"/>
                </a:cubicBezTo>
                <a:cubicBezTo>
                  <a:pt x="94" y="63"/>
                  <a:pt x="94" y="62"/>
                  <a:pt x="93" y="61"/>
                </a:cubicBezTo>
                <a:cubicBezTo>
                  <a:pt x="91" y="61"/>
                  <a:pt x="90" y="60"/>
                  <a:pt x="89" y="59"/>
                </a:cubicBezTo>
                <a:cubicBezTo>
                  <a:pt x="88" y="58"/>
                  <a:pt x="89" y="56"/>
                  <a:pt x="87" y="56"/>
                </a:cubicBezTo>
                <a:cubicBezTo>
                  <a:pt x="85" y="56"/>
                  <a:pt x="84" y="55"/>
                  <a:pt x="84" y="53"/>
                </a:cubicBezTo>
                <a:cubicBezTo>
                  <a:pt x="83" y="50"/>
                  <a:pt x="85" y="45"/>
                  <a:pt x="88" y="44"/>
                </a:cubicBezTo>
                <a:cubicBezTo>
                  <a:pt x="90" y="42"/>
                  <a:pt x="95" y="40"/>
                  <a:pt x="99" y="44"/>
                </a:cubicBezTo>
                <a:cubicBezTo>
                  <a:pt x="104" y="48"/>
                  <a:pt x="100" y="51"/>
                  <a:pt x="102" y="53"/>
                </a:cubicBezTo>
                <a:cubicBezTo>
                  <a:pt x="103" y="56"/>
                  <a:pt x="107" y="55"/>
                  <a:pt x="111" y="55"/>
                </a:cubicBezTo>
                <a:cubicBezTo>
                  <a:pt x="116" y="56"/>
                  <a:pt x="124" y="60"/>
                  <a:pt x="124" y="60"/>
                </a:cubicBezTo>
                <a:cubicBezTo>
                  <a:pt x="124" y="60"/>
                  <a:pt x="137" y="66"/>
                  <a:pt x="143" y="69"/>
                </a:cubicBezTo>
                <a:cubicBezTo>
                  <a:pt x="148" y="72"/>
                  <a:pt x="146" y="78"/>
                  <a:pt x="145" y="79"/>
                </a:cubicBezTo>
                <a:cubicBezTo>
                  <a:pt x="144" y="80"/>
                  <a:pt x="139" y="84"/>
                  <a:pt x="136" y="86"/>
                </a:cubicBezTo>
                <a:cubicBezTo>
                  <a:pt x="134" y="88"/>
                  <a:pt x="136" y="91"/>
                  <a:pt x="136" y="91"/>
                </a:cubicBezTo>
                <a:cubicBezTo>
                  <a:pt x="136" y="91"/>
                  <a:pt x="138" y="95"/>
                  <a:pt x="139" y="100"/>
                </a:cubicBezTo>
                <a:cubicBezTo>
                  <a:pt x="140" y="104"/>
                  <a:pt x="140" y="106"/>
                  <a:pt x="143" y="114"/>
                </a:cubicBezTo>
                <a:cubicBezTo>
                  <a:pt x="147" y="122"/>
                  <a:pt x="153" y="132"/>
                  <a:pt x="155" y="136"/>
                </a:cubicBezTo>
                <a:cubicBezTo>
                  <a:pt x="156" y="139"/>
                  <a:pt x="157" y="141"/>
                  <a:pt x="157" y="141"/>
                </a:cubicBezTo>
                <a:cubicBezTo>
                  <a:pt x="173" y="141"/>
                  <a:pt x="173" y="141"/>
                  <a:pt x="173" y="141"/>
                </a:cubicBezTo>
                <a:cubicBezTo>
                  <a:pt x="202" y="112"/>
                  <a:pt x="202" y="112"/>
                  <a:pt x="202" y="112"/>
                </a:cubicBezTo>
                <a:cubicBezTo>
                  <a:pt x="204" y="109"/>
                  <a:pt x="206" y="106"/>
                  <a:pt x="206" y="103"/>
                </a:cubicBezTo>
                <a:cubicBezTo>
                  <a:pt x="206" y="100"/>
                  <a:pt x="204" y="97"/>
                  <a:pt x="202" y="94"/>
                </a:cubicBezTo>
                <a:lnTo>
                  <a:pt x="112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11" name="Freeform 22"/>
          <p:cNvSpPr>
            <a:spLocks/>
          </p:cNvSpPr>
          <p:nvPr/>
        </p:nvSpPr>
        <p:spPr bwMode="auto">
          <a:xfrm>
            <a:off x="8970434" y="2400300"/>
            <a:ext cx="114300" cy="112184"/>
          </a:xfrm>
          <a:custGeom>
            <a:avLst/>
            <a:gdLst>
              <a:gd name="T0" fmla="*/ 152676225 w 38"/>
              <a:gd name="T1" fmla="*/ 103421520 h 37"/>
              <a:gd name="T2" fmla="*/ 111961362 w 38"/>
              <a:gd name="T3" fmla="*/ 25855380 h 37"/>
              <a:gd name="T4" fmla="*/ 76338113 w 38"/>
              <a:gd name="T5" fmla="*/ 10342152 h 37"/>
              <a:gd name="T6" fmla="*/ 20357432 w 38"/>
              <a:gd name="T7" fmla="*/ 46539684 h 37"/>
              <a:gd name="T8" fmla="*/ 0 w 38"/>
              <a:gd name="T9" fmla="*/ 98250444 h 37"/>
              <a:gd name="T10" fmla="*/ 0 w 38"/>
              <a:gd name="T11" fmla="*/ 175816584 h 37"/>
              <a:gd name="T12" fmla="*/ 10178716 w 38"/>
              <a:gd name="T13" fmla="*/ 191329812 h 37"/>
              <a:gd name="T14" fmla="*/ 157765583 w 38"/>
              <a:gd name="T15" fmla="*/ 191329812 h 37"/>
              <a:gd name="T16" fmla="*/ 173031401 w 38"/>
              <a:gd name="T17" fmla="*/ 186158736 h 37"/>
              <a:gd name="T18" fmla="*/ 183210116 w 38"/>
              <a:gd name="T19" fmla="*/ 155132280 h 37"/>
              <a:gd name="T20" fmla="*/ 152676225 w 38"/>
              <a:gd name="T21" fmla="*/ 103421520 h 3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8" h="37">
                <a:moveTo>
                  <a:pt x="30" y="20"/>
                </a:moveTo>
                <a:cubicBezTo>
                  <a:pt x="30" y="20"/>
                  <a:pt x="24" y="9"/>
                  <a:pt x="22" y="5"/>
                </a:cubicBezTo>
                <a:cubicBezTo>
                  <a:pt x="19" y="2"/>
                  <a:pt x="18" y="0"/>
                  <a:pt x="15" y="2"/>
                </a:cubicBezTo>
                <a:cubicBezTo>
                  <a:pt x="11" y="5"/>
                  <a:pt x="7" y="7"/>
                  <a:pt x="4" y="9"/>
                </a:cubicBezTo>
                <a:cubicBezTo>
                  <a:pt x="1" y="11"/>
                  <a:pt x="1" y="12"/>
                  <a:pt x="0" y="19"/>
                </a:cubicBezTo>
                <a:cubicBezTo>
                  <a:pt x="0" y="26"/>
                  <a:pt x="0" y="33"/>
                  <a:pt x="0" y="34"/>
                </a:cubicBezTo>
                <a:cubicBezTo>
                  <a:pt x="0" y="36"/>
                  <a:pt x="0" y="37"/>
                  <a:pt x="2" y="37"/>
                </a:cubicBezTo>
                <a:cubicBezTo>
                  <a:pt x="4" y="37"/>
                  <a:pt x="31" y="37"/>
                  <a:pt x="31" y="37"/>
                </a:cubicBezTo>
                <a:cubicBezTo>
                  <a:pt x="31" y="37"/>
                  <a:pt x="33" y="37"/>
                  <a:pt x="34" y="36"/>
                </a:cubicBezTo>
                <a:cubicBezTo>
                  <a:pt x="35" y="35"/>
                  <a:pt x="38" y="33"/>
                  <a:pt x="36" y="30"/>
                </a:cubicBezTo>
                <a:cubicBezTo>
                  <a:pt x="35" y="28"/>
                  <a:pt x="30" y="20"/>
                  <a:pt x="30" y="2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12" name="Freeform 23"/>
          <p:cNvSpPr>
            <a:spLocks/>
          </p:cNvSpPr>
          <p:nvPr/>
        </p:nvSpPr>
        <p:spPr bwMode="auto">
          <a:xfrm>
            <a:off x="8955618" y="2334684"/>
            <a:ext cx="38100" cy="57149"/>
          </a:xfrm>
          <a:custGeom>
            <a:avLst/>
            <a:gdLst>
              <a:gd name="T0" fmla="*/ 48315929 w 13"/>
              <a:gd name="T1" fmla="*/ 81426521 h 19"/>
              <a:gd name="T2" fmla="*/ 48315929 w 13"/>
              <a:gd name="T3" fmla="*/ 40714388 h 19"/>
              <a:gd name="T4" fmla="*/ 19325492 w 13"/>
              <a:gd name="T5" fmla="*/ 15267896 h 19"/>
              <a:gd name="T6" fmla="*/ 19325492 w 13"/>
              <a:gd name="T7" fmla="*/ 66158625 h 19"/>
              <a:gd name="T8" fmla="*/ 48315929 w 13"/>
              <a:gd name="T9" fmla="*/ 81426521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19">
                <a:moveTo>
                  <a:pt x="10" y="16"/>
                </a:moveTo>
                <a:cubicBezTo>
                  <a:pt x="13" y="13"/>
                  <a:pt x="11" y="10"/>
                  <a:pt x="10" y="8"/>
                </a:cubicBezTo>
                <a:cubicBezTo>
                  <a:pt x="8" y="6"/>
                  <a:pt x="4" y="3"/>
                  <a:pt x="4" y="3"/>
                </a:cubicBezTo>
                <a:cubicBezTo>
                  <a:pt x="0" y="0"/>
                  <a:pt x="2" y="7"/>
                  <a:pt x="4" y="13"/>
                </a:cubicBezTo>
                <a:cubicBezTo>
                  <a:pt x="6" y="19"/>
                  <a:pt x="6" y="19"/>
                  <a:pt x="10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13" name="Freeform 24"/>
          <p:cNvSpPr>
            <a:spLocks/>
          </p:cNvSpPr>
          <p:nvPr/>
        </p:nvSpPr>
        <p:spPr bwMode="auto">
          <a:xfrm>
            <a:off x="9029700" y="2305052"/>
            <a:ext cx="27517" cy="29633"/>
          </a:xfrm>
          <a:custGeom>
            <a:avLst/>
            <a:gdLst>
              <a:gd name="T0" fmla="*/ 21032415 w 9"/>
              <a:gd name="T1" fmla="*/ 34577655 h 10"/>
              <a:gd name="T2" fmla="*/ 42067123 w 9"/>
              <a:gd name="T3" fmla="*/ 29637038 h 10"/>
              <a:gd name="T4" fmla="*/ 21032415 w 9"/>
              <a:gd name="T5" fmla="*/ 4940618 h 10"/>
              <a:gd name="T6" fmla="*/ 0 w 9"/>
              <a:gd name="T7" fmla="*/ 9879013 h 10"/>
              <a:gd name="T8" fmla="*/ 21032415 w 9"/>
              <a:gd name="T9" fmla="*/ 34577655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" h="10">
                <a:moveTo>
                  <a:pt x="4" y="7"/>
                </a:moveTo>
                <a:cubicBezTo>
                  <a:pt x="6" y="10"/>
                  <a:pt x="7" y="8"/>
                  <a:pt x="8" y="6"/>
                </a:cubicBezTo>
                <a:cubicBezTo>
                  <a:pt x="9" y="4"/>
                  <a:pt x="6" y="2"/>
                  <a:pt x="4" y="1"/>
                </a:cubicBezTo>
                <a:cubicBezTo>
                  <a:pt x="2" y="0"/>
                  <a:pt x="0" y="0"/>
                  <a:pt x="0" y="2"/>
                </a:cubicBezTo>
                <a:cubicBezTo>
                  <a:pt x="1" y="4"/>
                  <a:pt x="4" y="7"/>
                  <a:pt x="4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14" name="Freeform 25"/>
          <p:cNvSpPr>
            <a:spLocks/>
          </p:cNvSpPr>
          <p:nvPr/>
        </p:nvSpPr>
        <p:spPr bwMode="auto">
          <a:xfrm>
            <a:off x="8885767" y="2419351"/>
            <a:ext cx="57151" cy="93133"/>
          </a:xfrm>
          <a:custGeom>
            <a:avLst/>
            <a:gdLst>
              <a:gd name="T0" fmla="*/ 71249586 w 19"/>
              <a:gd name="T1" fmla="*/ 15231806 h 31"/>
              <a:gd name="T2" fmla="*/ 61070751 w 19"/>
              <a:gd name="T3" fmla="*/ 30461360 h 31"/>
              <a:gd name="T4" fmla="*/ 50891917 w 19"/>
              <a:gd name="T5" fmla="*/ 45693166 h 31"/>
              <a:gd name="T6" fmla="*/ 10178835 w 19"/>
              <a:gd name="T7" fmla="*/ 55846202 h 31"/>
              <a:gd name="T8" fmla="*/ 25447086 w 19"/>
              <a:gd name="T9" fmla="*/ 132002981 h 31"/>
              <a:gd name="T10" fmla="*/ 45804755 w 19"/>
              <a:gd name="T11" fmla="*/ 157387823 h 31"/>
              <a:gd name="T12" fmla="*/ 81428420 w 19"/>
              <a:gd name="T13" fmla="*/ 137079498 h 31"/>
              <a:gd name="T14" fmla="*/ 96696672 w 19"/>
              <a:gd name="T15" fmla="*/ 81233297 h 31"/>
              <a:gd name="T16" fmla="*/ 96696672 w 19"/>
              <a:gd name="T17" fmla="*/ 5076518 h 31"/>
              <a:gd name="T18" fmla="*/ 71249586 w 19"/>
              <a:gd name="T19" fmla="*/ 15231806 h 3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9" h="31">
                <a:moveTo>
                  <a:pt x="14" y="3"/>
                </a:moveTo>
                <a:cubicBezTo>
                  <a:pt x="12" y="4"/>
                  <a:pt x="12" y="4"/>
                  <a:pt x="12" y="6"/>
                </a:cubicBezTo>
                <a:cubicBezTo>
                  <a:pt x="13" y="7"/>
                  <a:pt x="13" y="8"/>
                  <a:pt x="10" y="9"/>
                </a:cubicBezTo>
                <a:cubicBezTo>
                  <a:pt x="8" y="10"/>
                  <a:pt x="4" y="10"/>
                  <a:pt x="2" y="11"/>
                </a:cubicBezTo>
                <a:cubicBezTo>
                  <a:pt x="0" y="11"/>
                  <a:pt x="4" y="23"/>
                  <a:pt x="5" y="26"/>
                </a:cubicBezTo>
                <a:cubicBezTo>
                  <a:pt x="6" y="28"/>
                  <a:pt x="7" y="31"/>
                  <a:pt x="9" y="31"/>
                </a:cubicBezTo>
                <a:cubicBezTo>
                  <a:pt x="12" y="31"/>
                  <a:pt x="13" y="29"/>
                  <a:pt x="16" y="27"/>
                </a:cubicBezTo>
                <a:cubicBezTo>
                  <a:pt x="19" y="25"/>
                  <a:pt x="19" y="22"/>
                  <a:pt x="19" y="16"/>
                </a:cubicBezTo>
                <a:cubicBezTo>
                  <a:pt x="19" y="10"/>
                  <a:pt x="19" y="1"/>
                  <a:pt x="19" y="1"/>
                </a:cubicBezTo>
                <a:cubicBezTo>
                  <a:pt x="19" y="0"/>
                  <a:pt x="16" y="2"/>
                  <a:pt x="14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15" name="Freeform 26"/>
          <p:cNvSpPr>
            <a:spLocks/>
          </p:cNvSpPr>
          <p:nvPr/>
        </p:nvSpPr>
        <p:spPr bwMode="auto">
          <a:xfrm>
            <a:off x="9637185" y="2156885"/>
            <a:ext cx="433916" cy="402167"/>
          </a:xfrm>
          <a:custGeom>
            <a:avLst/>
            <a:gdLst>
              <a:gd name="T0" fmla="*/ 51075529 w 144"/>
              <a:gd name="T1" fmla="*/ 678937617 h 134"/>
              <a:gd name="T2" fmla="*/ 51075529 w 144"/>
              <a:gd name="T3" fmla="*/ 608003970 h 134"/>
              <a:gd name="T4" fmla="*/ 51075529 w 144"/>
              <a:gd name="T5" fmla="*/ 608003970 h 134"/>
              <a:gd name="T6" fmla="*/ 61290635 w 144"/>
              <a:gd name="T7" fmla="*/ 567469172 h 134"/>
              <a:gd name="T8" fmla="*/ 342203785 w 144"/>
              <a:gd name="T9" fmla="*/ 81067346 h 134"/>
              <a:gd name="T10" fmla="*/ 342203785 w 144"/>
              <a:gd name="T11" fmla="*/ 81067346 h 134"/>
              <a:gd name="T12" fmla="*/ 342203785 w 144"/>
              <a:gd name="T13" fmla="*/ 81067346 h 134"/>
              <a:gd name="T14" fmla="*/ 367741550 w 144"/>
              <a:gd name="T15" fmla="*/ 65866797 h 134"/>
              <a:gd name="T16" fmla="*/ 388171762 w 144"/>
              <a:gd name="T17" fmla="*/ 70933646 h 134"/>
              <a:gd name="T18" fmla="*/ 393279315 w 144"/>
              <a:gd name="T19" fmla="*/ 81067346 h 134"/>
              <a:gd name="T20" fmla="*/ 393279315 w 144"/>
              <a:gd name="T21" fmla="*/ 81067346 h 134"/>
              <a:gd name="T22" fmla="*/ 393279315 w 144"/>
              <a:gd name="T23" fmla="*/ 81067346 h 134"/>
              <a:gd name="T24" fmla="*/ 393279315 w 144"/>
              <a:gd name="T25" fmla="*/ 81067346 h 134"/>
              <a:gd name="T26" fmla="*/ 674192465 w 144"/>
              <a:gd name="T27" fmla="*/ 567469172 h 134"/>
              <a:gd name="T28" fmla="*/ 684407571 w 144"/>
              <a:gd name="T29" fmla="*/ 608003970 h 134"/>
              <a:gd name="T30" fmla="*/ 684407571 w 144"/>
              <a:gd name="T31" fmla="*/ 608003970 h 134"/>
              <a:gd name="T32" fmla="*/ 684407571 w 144"/>
              <a:gd name="T33" fmla="*/ 673870767 h 134"/>
              <a:gd name="T34" fmla="*/ 735483100 w 144"/>
              <a:gd name="T35" fmla="*/ 673870767 h 134"/>
              <a:gd name="T36" fmla="*/ 735483100 w 144"/>
              <a:gd name="T37" fmla="*/ 623204520 h 134"/>
              <a:gd name="T38" fmla="*/ 735483100 w 144"/>
              <a:gd name="T39" fmla="*/ 613070820 h 134"/>
              <a:gd name="T40" fmla="*/ 720160441 w 144"/>
              <a:gd name="T41" fmla="*/ 542137174 h 134"/>
              <a:gd name="T42" fmla="*/ 429032185 w 144"/>
              <a:gd name="T43" fmla="*/ 35467949 h 134"/>
              <a:gd name="T44" fmla="*/ 413709526 w 144"/>
              <a:gd name="T45" fmla="*/ 20267399 h 134"/>
              <a:gd name="T46" fmla="*/ 367741550 w 144"/>
              <a:gd name="T47" fmla="*/ 0 h 134"/>
              <a:gd name="T48" fmla="*/ 321773574 w 144"/>
              <a:gd name="T49" fmla="*/ 20267399 h 134"/>
              <a:gd name="T50" fmla="*/ 306450915 w 144"/>
              <a:gd name="T51" fmla="*/ 35467949 h 134"/>
              <a:gd name="T52" fmla="*/ 15322659 w 144"/>
              <a:gd name="T53" fmla="*/ 542137174 h 134"/>
              <a:gd name="T54" fmla="*/ 0 w 144"/>
              <a:gd name="T55" fmla="*/ 613070820 h 134"/>
              <a:gd name="T56" fmla="*/ 0 w 144"/>
              <a:gd name="T57" fmla="*/ 623204520 h 134"/>
              <a:gd name="T58" fmla="*/ 0 w 144"/>
              <a:gd name="T59" fmla="*/ 678937617 h 134"/>
              <a:gd name="T60" fmla="*/ 51075529 w 144"/>
              <a:gd name="T61" fmla="*/ 678937617 h 1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44" h="134">
                <a:moveTo>
                  <a:pt x="10" y="134"/>
                </a:moveTo>
                <a:cubicBezTo>
                  <a:pt x="10" y="120"/>
                  <a:pt x="10" y="120"/>
                  <a:pt x="10" y="120"/>
                </a:cubicBezTo>
                <a:cubicBezTo>
                  <a:pt x="10" y="120"/>
                  <a:pt x="10" y="120"/>
                  <a:pt x="10" y="120"/>
                </a:cubicBezTo>
                <a:cubicBezTo>
                  <a:pt x="10" y="119"/>
                  <a:pt x="10" y="115"/>
                  <a:pt x="12" y="112"/>
                </a:cubicBezTo>
                <a:cubicBezTo>
                  <a:pt x="67" y="16"/>
                  <a:pt x="67" y="16"/>
                  <a:pt x="67" y="16"/>
                </a:cubicBezTo>
                <a:cubicBezTo>
                  <a:pt x="67" y="16"/>
                  <a:pt x="67" y="16"/>
                  <a:pt x="67" y="16"/>
                </a:cubicBezTo>
                <a:cubicBezTo>
                  <a:pt x="67" y="16"/>
                  <a:pt x="67" y="16"/>
                  <a:pt x="67" y="16"/>
                </a:cubicBezTo>
                <a:cubicBezTo>
                  <a:pt x="67" y="15"/>
                  <a:pt x="69" y="13"/>
                  <a:pt x="72" y="13"/>
                </a:cubicBezTo>
                <a:cubicBezTo>
                  <a:pt x="74" y="13"/>
                  <a:pt x="75" y="13"/>
                  <a:pt x="76" y="14"/>
                </a:cubicBezTo>
                <a:cubicBezTo>
                  <a:pt x="76" y="15"/>
                  <a:pt x="77" y="15"/>
                  <a:pt x="77" y="16"/>
                </a:cubicBezTo>
                <a:cubicBezTo>
                  <a:pt x="77" y="16"/>
                  <a:pt x="77" y="16"/>
                  <a:pt x="77" y="16"/>
                </a:cubicBezTo>
                <a:cubicBezTo>
                  <a:pt x="77" y="16"/>
                  <a:pt x="77" y="16"/>
                  <a:pt x="77" y="16"/>
                </a:cubicBezTo>
                <a:cubicBezTo>
                  <a:pt x="77" y="16"/>
                  <a:pt x="77" y="16"/>
                  <a:pt x="77" y="16"/>
                </a:cubicBezTo>
                <a:cubicBezTo>
                  <a:pt x="132" y="112"/>
                  <a:pt x="132" y="112"/>
                  <a:pt x="132" y="112"/>
                </a:cubicBezTo>
                <a:cubicBezTo>
                  <a:pt x="134" y="115"/>
                  <a:pt x="134" y="119"/>
                  <a:pt x="134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4" y="133"/>
                  <a:pt x="134" y="133"/>
                  <a:pt x="134" y="133"/>
                </a:cubicBezTo>
                <a:cubicBezTo>
                  <a:pt x="144" y="133"/>
                  <a:pt x="144" y="133"/>
                  <a:pt x="144" y="133"/>
                </a:cubicBezTo>
                <a:cubicBezTo>
                  <a:pt x="144" y="123"/>
                  <a:pt x="144" y="123"/>
                  <a:pt x="144" y="123"/>
                </a:cubicBezTo>
                <a:cubicBezTo>
                  <a:pt x="144" y="123"/>
                  <a:pt x="144" y="122"/>
                  <a:pt x="144" y="121"/>
                </a:cubicBezTo>
                <a:cubicBezTo>
                  <a:pt x="144" y="118"/>
                  <a:pt x="144" y="112"/>
                  <a:pt x="141" y="107"/>
                </a:cubicBezTo>
                <a:cubicBezTo>
                  <a:pt x="84" y="7"/>
                  <a:pt x="84" y="7"/>
                  <a:pt x="84" y="7"/>
                </a:cubicBezTo>
                <a:cubicBezTo>
                  <a:pt x="84" y="7"/>
                  <a:pt x="83" y="5"/>
                  <a:pt x="81" y="4"/>
                </a:cubicBezTo>
                <a:cubicBezTo>
                  <a:pt x="79" y="2"/>
                  <a:pt x="76" y="0"/>
                  <a:pt x="72" y="0"/>
                </a:cubicBezTo>
                <a:cubicBezTo>
                  <a:pt x="68" y="0"/>
                  <a:pt x="65" y="2"/>
                  <a:pt x="63" y="4"/>
                </a:cubicBezTo>
                <a:cubicBezTo>
                  <a:pt x="61" y="5"/>
                  <a:pt x="60" y="7"/>
                  <a:pt x="60" y="7"/>
                </a:cubicBezTo>
                <a:cubicBezTo>
                  <a:pt x="3" y="107"/>
                  <a:pt x="3" y="107"/>
                  <a:pt x="3" y="107"/>
                </a:cubicBezTo>
                <a:cubicBezTo>
                  <a:pt x="0" y="112"/>
                  <a:pt x="0" y="118"/>
                  <a:pt x="0" y="121"/>
                </a:cubicBezTo>
                <a:cubicBezTo>
                  <a:pt x="0" y="122"/>
                  <a:pt x="0" y="123"/>
                  <a:pt x="0" y="123"/>
                </a:cubicBezTo>
                <a:cubicBezTo>
                  <a:pt x="0" y="134"/>
                  <a:pt x="0" y="134"/>
                  <a:pt x="0" y="134"/>
                </a:cubicBezTo>
                <a:lnTo>
                  <a:pt x="10" y="1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16" name="Freeform 27"/>
          <p:cNvSpPr>
            <a:spLocks/>
          </p:cNvSpPr>
          <p:nvPr/>
        </p:nvSpPr>
        <p:spPr bwMode="auto">
          <a:xfrm>
            <a:off x="9637185" y="2569634"/>
            <a:ext cx="433916" cy="74084"/>
          </a:xfrm>
          <a:custGeom>
            <a:avLst/>
            <a:gdLst>
              <a:gd name="T0" fmla="*/ 684407571 w 144"/>
              <a:gd name="T1" fmla="*/ 0 h 25"/>
              <a:gd name="T2" fmla="*/ 684407571 w 144"/>
              <a:gd name="T3" fmla="*/ 54336169 h 25"/>
              <a:gd name="T4" fmla="*/ 679300018 w 144"/>
              <a:gd name="T5" fmla="*/ 69153710 h 25"/>
              <a:gd name="T6" fmla="*/ 663977359 w 144"/>
              <a:gd name="T7" fmla="*/ 74094372 h 25"/>
              <a:gd name="T8" fmla="*/ 71505741 w 144"/>
              <a:gd name="T9" fmla="*/ 74094372 h 25"/>
              <a:gd name="T10" fmla="*/ 56183082 w 144"/>
              <a:gd name="T11" fmla="*/ 69153710 h 25"/>
              <a:gd name="T12" fmla="*/ 51075529 w 144"/>
              <a:gd name="T13" fmla="*/ 54336169 h 25"/>
              <a:gd name="T14" fmla="*/ 51075529 w 144"/>
              <a:gd name="T15" fmla="*/ 0 h 25"/>
              <a:gd name="T16" fmla="*/ 0 w 144"/>
              <a:gd name="T17" fmla="*/ 0 h 25"/>
              <a:gd name="T18" fmla="*/ 0 w 144"/>
              <a:gd name="T19" fmla="*/ 74094372 h 25"/>
              <a:gd name="T20" fmla="*/ 51075529 w 144"/>
              <a:gd name="T21" fmla="*/ 123489879 h 25"/>
              <a:gd name="T22" fmla="*/ 684407571 w 144"/>
              <a:gd name="T23" fmla="*/ 123489879 h 25"/>
              <a:gd name="T24" fmla="*/ 735483100 w 144"/>
              <a:gd name="T25" fmla="*/ 74094372 h 25"/>
              <a:gd name="T26" fmla="*/ 735483100 w 144"/>
              <a:gd name="T27" fmla="*/ 0 h 25"/>
              <a:gd name="T28" fmla="*/ 684407571 w 144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44" h="25">
                <a:moveTo>
                  <a:pt x="134" y="0"/>
                </a:moveTo>
                <a:cubicBezTo>
                  <a:pt x="134" y="11"/>
                  <a:pt x="134" y="11"/>
                  <a:pt x="134" y="11"/>
                </a:cubicBezTo>
                <a:cubicBezTo>
                  <a:pt x="134" y="13"/>
                  <a:pt x="134" y="14"/>
                  <a:pt x="133" y="14"/>
                </a:cubicBezTo>
                <a:cubicBezTo>
                  <a:pt x="133" y="15"/>
                  <a:pt x="132" y="15"/>
                  <a:pt x="130" y="15"/>
                </a:cubicBezTo>
                <a:cubicBezTo>
                  <a:pt x="14" y="15"/>
                  <a:pt x="14" y="15"/>
                  <a:pt x="14" y="15"/>
                </a:cubicBezTo>
                <a:cubicBezTo>
                  <a:pt x="12" y="15"/>
                  <a:pt x="11" y="15"/>
                  <a:pt x="11" y="14"/>
                </a:cubicBezTo>
                <a:cubicBezTo>
                  <a:pt x="10" y="14"/>
                  <a:pt x="10" y="13"/>
                  <a:pt x="10" y="11"/>
                </a:cubicBezTo>
                <a:cubicBezTo>
                  <a:pt x="10" y="0"/>
                  <a:pt x="10" y="0"/>
                  <a:pt x="1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20"/>
                  <a:pt x="4" y="25"/>
                  <a:pt x="10" y="25"/>
                </a:cubicBezTo>
                <a:cubicBezTo>
                  <a:pt x="134" y="25"/>
                  <a:pt x="134" y="25"/>
                  <a:pt x="134" y="25"/>
                </a:cubicBezTo>
                <a:cubicBezTo>
                  <a:pt x="140" y="25"/>
                  <a:pt x="144" y="20"/>
                  <a:pt x="144" y="15"/>
                </a:cubicBezTo>
                <a:cubicBezTo>
                  <a:pt x="144" y="0"/>
                  <a:pt x="144" y="0"/>
                  <a:pt x="144" y="0"/>
                </a:cubicBezTo>
                <a:lnTo>
                  <a:pt x="13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17" name="Freeform 28"/>
          <p:cNvSpPr>
            <a:spLocks/>
          </p:cNvSpPr>
          <p:nvPr/>
        </p:nvSpPr>
        <p:spPr bwMode="auto">
          <a:xfrm>
            <a:off x="9956801" y="2478618"/>
            <a:ext cx="38100" cy="27516"/>
          </a:xfrm>
          <a:custGeom>
            <a:avLst/>
            <a:gdLst>
              <a:gd name="T0" fmla="*/ 7561263 w 18"/>
              <a:gd name="T1" fmla="*/ 32762031 h 13"/>
              <a:gd name="T2" fmla="*/ 45362813 w 18"/>
              <a:gd name="T3" fmla="*/ 32762031 h 13"/>
              <a:gd name="T4" fmla="*/ 35282188 w 18"/>
              <a:gd name="T5" fmla="*/ 0 h 13"/>
              <a:gd name="T6" fmla="*/ 0 w 18"/>
              <a:gd name="T7" fmla="*/ 0 h 13"/>
              <a:gd name="T8" fmla="*/ 7561263 w 18"/>
              <a:gd name="T9" fmla="*/ 32762031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8" h="13">
                <a:moveTo>
                  <a:pt x="3" y="13"/>
                </a:moveTo>
                <a:lnTo>
                  <a:pt x="18" y="13"/>
                </a:lnTo>
                <a:lnTo>
                  <a:pt x="14" y="0"/>
                </a:lnTo>
                <a:lnTo>
                  <a:pt x="0" y="0"/>
                </a:lnTo>
                <a:lnTo>
                  <a:pt x="3" y="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18" name="Freeform 29"/>
          <p:cNvSpPr>
            <a:spLocks/>
          </p:cNvSpPr>
          <p:nvPr/>
        </p:nvSpPr>
        <p:spPr bwMode="auto">
          <a:xfrm>
            <a:off x="9709151" y="2478618"/>
            <a:ext cx="46567" cy="27516"/>
          </a:xfrm>
          <a:custGeom>
            <a:avLst/>
            <a:gdLst>
              <a:gd name="T0" fmla="*/ 55443438 w 22"/>
              <a:gd name="T1" fmla="*/ 0 h 13"/>
              <a:gd name="T2" fmla="*/ 12601575 w 22"/>
              <a:gd name="T3" fmla="*/ 0 h 13"/>
              <a:gd name="T4" fmla="*/ 0 w 22"/>
              <a:gd name="T5" fmla="*/ 32762031 h 13"/>
              <a:gd name="T6" fmla="*/ 47883763 w 22"/>
              <a:gd name="T7" fmla="*/ 32762031 h 13"/>
              <a:gd name="T8" fmla="*/ 55443438 w 22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2" h="13">
                <a:moveTo>
                  <a:pt x="22" y="0"/>
                </a:moveTo>
                <a:lnTo>
                  <a:pt x="5" y="0"/>
                </a:lnTo>
                <a:lnTo>
                  <a:pt x="0" y="13"/>
                </a:lnTo>
                <a:lnTo>
                  <a:pt x="19" y="13"/>
                </a:lnTo>
                <a:lnTo>
                  <a:pt x="2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19" name="Freeform 30"/>
          <p:cNvSpPr>
            <a:spLocks/>
          </p:cNvSpPr>
          <p:nvPr/>
        </p:nvSpPr>
        <p:spPr bwMode="auto">
          <a:xfrm>
            <a:off x="9690100" y="2565400"/>
            <a:ext cx="330200" cy="25400"/>
          </a:xfrm>
          <a:custGeom>
            <a:avLst/>
            <a:gdLst>
              <a:gd name="T0" fmla="*/ 68045013 w 156"/>
              <a:gd name="T1" fmla="*/ 0 h 12"/>
              <a:gd name="T2" fmla="*/ 10080625 w 156"/>
              <a:gd name="T3" fmla="*/ 0 h 12"/>
              <a:gd name="T4" fmla="*/ 0 w 156"/>
              <a:gd name="T5" fmla="*/ 30241875 h 12"/>
              <a:gd name="T6" fmla="*/ 52924075 w 156"/>
              <a:gd name="T7" fmla="*/ 30241875 h 12"/>
              <a:gd name="T8" fmla="*/ 78125638 w 156"/>
              <a:gd name="T9" fmla="*/ 30241875 h 12"/>
              <a:gd name="T10" fmla="*/ 393144375 w 156"/>
              <a:gd name="T11" fmla="*/ 30241875 h 12"/>
              <a:gd name="T12" fmla="*/ 378023438 w 156"/>
              <a:gd name="T13" fmla="*/ 0 h 12"/>
              <a:gd name="T14" fmla="*/ 68045013 w 156"/>
              <a:gd name="T15" fmla="*/ 0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56" h="12">
                <a:moveTo>
                  <a:pt x="27" y="0"/>
                </a:moveTo>
                <a:lnTo>
                  <a:pt x="4" y="0"/>
                </a:lnTo>
                <a:lnTo>
                  <a:pt x="0" y="12"/>
                </a:lnTo>
                <a:lnTo>
                  <a:pt x="21" y="12"/>
                </a:lnTo>
                <a:lnTo>
                  <a:pt x="31" y="12"/>
                </a:lnTo>
                <a:lnTo>
                  <a:pt x="156" y="12"/>
                </a:lnTo>
                <a:lnTo>
                  <a:pt x="150" y="0"/>
                </a:lnTo>
                <a:lnTo>
                  <a:pt x="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0" name="Freeform 31"/>
          <p:cNvSpPr>
            <a:spLocks/>
          </p:cNvSpPr>
          <p:nvPr/>
        </p:nvSpPr>
        <p:spPr bwMode="auto">
          <a:xfrm>
            <a:off x="9749367" y="2286001"/>
            <a:ext cx="228600" cy="268817"/>
          </a:xfrm>
          <a:custGeom>
            <a:avLst/>
            <a:gdLst>
              <a:gd name="T0" fmla="*/ 50891323 w 76"/>
              <a:gd name="T1" fmla="*/ 271978202 h 89"/>
              <a:gd name="T2" fmla="*/ 45801965 w 76"/>
              <a:gd name="T3" fmla="*/ 307899296 h 89"/>
              <a:gd name="T4" fmla="*/ 15268074 w 76"/>
              <a:gd name="T5" fmla="*/ 384874686 h 89"/>
              <a:gd name="T6" fmla="*/ 45801965 w 76"/>
              <a:gd name="T7" fmla="*/ 446452733 h 89"/>
              <a:gd name="T8" fmla="*/ 50891323 w 76"/>
              <a:gd name="T9" fmla="*/ 390005624 h 89"/>
              <a:gd name="T10" fmla="*/ 111961362 w 76"/>
              <a:gd name="T11" fmla="*/ 318163437 h 89"/>
              <a:gd name="T12" fmla="*/ 137408151 w 76"/>
              <a:gd name="T13" fmla="*/ 400269764 h 89"/>
              <a:gd name="T14" fmla="*/ 188299474 w 76"/>
              <a:gd name="T15" fmla="*/ 436190858 h 89"/>
              <a:gd name="T16" fmla="*/ 162852685 w 76"/>
              <a:gd name="T17" fmla="*/ 287373280 h 89"/>
              <a:gd name="T18" fmla="*/ 157765583 w 76"/>
              <a:gd name="T19" fmla="*/ 215528828 h 89"/>
              <a:gd name="T20" fmla="*/ 208656906 w 76"/>
              <a:gd name="T21" fmla="*/ 246318984 h 89"/>
              <a:gd name="T22" fmla="*/ 213746264 w 76"/>
              <a:gd name="T23" fmla="*/ 302768358 h 89"/>
              <a:gd name="T24" fmla="*/ 234101439 w 76"/>
              <a:gd name="T25" fmla="*/ 354084530 h 89"/>
              <a:gd name="T26" fmla="*/ 218835622 w 76"/>
              <a:gd name="T27" fmla="*/ 425926718 h 89"/>
              <a:gd name="T28" fmla="*/ 244280155 w 76"/>
              <a:gd name="T29" fmla="*/ 410531640 h 89"/>
              <a:gd name="T30" fmla="*/ 279905661 w 76"/>
              <a:gd name="T31" fmla="*/ 359215468 h 89"/>
              <a:gd name="T32" fmla="*/ 300260836 w 76"/>
              <a:gd name="T33" fmla="*/ 431057655 h 89"/>
              <a:gd name="T34" fmla="*/ 340975699 w 76"/>
              <a:gd name="T35" fmla="*/ 436190858 h 89"/>
              <a:gd name="T36" fmla="*/ 330796984 w 76"/>
              <a:gd name="T37" fmla="*/ 333556249 h 89"/>
              <a:gd name="T38" fmla="*/ 330796984 w 76"/>
              <a:gd name="T39" fmla="*/ 282240077 h 89"/>
              <a:gd name="T40" fmla="*/ 361330875 w 76"/>
              <a:gd name="T41" fmla="*/ 271978202 h 89"/>
              <a:gd name="T42" fmla="*/ 300260836 w 76"/>
              <a:gd name="T43" fmla="*/ 210397890 h 89"/>
              <a:gd name="T44" fmla="*/ 320618268 w 76"/>
              <a:gd name="T45" fmla="*/ 164212656 h 89"/>
              <a:gd name="T46" fmla="*/ 290082120 w 76"/>
              <a:gd name="T47" fmla="*/ 107765546 h 89"/>
              <a:gd name="T48" fmla="*/ 274816303 w 76"/>
              <a:gd name="T49" fmla="*/ 82106328 h 89"/>
              <a:gd name="T50" fmla="*/ 259548229 w 76"/>
              <a:gd name="T51" fmla="*/ 102632344 h 89"/>
              <a:gd name="T52" fmla="*/ 239190797 w 76"/>
              <a:gd name="T53" fmla="*/ 107765546 h 89"/>
              <a:gd name="T54" fmla="*/ 239190797 w 76"/>
              <a:gd name="T55" fmla="*/ 143686640 h 89"/>
              <a:gd name="T56" fmla="*/ 254458871 w 76"/>
              <a:gd name="T57" fmla="*/ 200133750 h 89"/>
              <a:gd name="T58" fmla="*/ 213746264 w 76"/>
              <a:gd name="T59" fmla="*/ 220662031 h 89"/>
              <a:gd name="T60" fmla="*/ 152676225 w 76"/>
              <a:gd name="T61" fmla="*/ 123160625 h 89"/>
              <a:gd name="T62" fmla="*/ 142497509 w 76"/>
              <a:gd name="T63" fmla="*/ 92370468 h 89"/>
              <a:gd name="T64" fmla="*/ 173031401 w 76"/>
              <a:gd name="T65" fmla="*/ 51316172 h 89"/>
              <a:gd name="T66" fmla="*/ 152676225 w 76"/>
              <a:gd name="T67" fmla="*/ 15395078 h 89"/>
              <a:gd name="T68" fmla="*/ 81427470 w 76"/>
              <a:gd name="T69" fmla="*/ 56447109 h 89"/>
              <a:gd name="T70" fmla="*/ 81427470 w 76"/>
              <a:gd name="T71" fmla="*/ 112896484 h 89"/>
              <a:gd name="T72" fmla="*/ 20357432 w 76"/>
              <a:gd name="T73" fmla="*/ 184738671 h 89"/>
              <a:gd name="T74" fmla="*/ 20357432 w 76"/>
              <a:gd name="T75" fmla="*/ 251449921 h 89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6" h="89">
                <a:moveTo>
                  <a:pt x="4" y="49"/>
                </a:moveTo>
                <a:cubicBezTo>
                  <a:pt x="8" y="51"/>
                  <a:pt x="10" y="51"/>
                  <a:pt x="10" y="53"/>
                </a:cubicBezTo>
                <a:cubicBezTo>
                  <a:pt x="10" y="55"/>
                  <a:pt x="9" y="56"/>
                  <a:pt x="9" y="57"/>
                </a:cubicBezTo>
                <a:cubicBezTo>
                  <a:pt x="8" y="58"/>
                  <a:pt x="8" y="59"/>
                  <a:pt x="9" y="60"/>
                </a:cubicBezTo>
                <a:cubicBezTo>
                  <a:pt x="10" y="61"/>
                  <a:pt x="10" y="62"/>
                  <a:pt x="9" y="64"/>
                </a:cubicBezTo>
                <a:cubicBezTo>
                  <a:pt x="7" y="67"/>
                  <a:pt x="3" y="74"/>
                  <a:pt x="3" y="75"/>
                </a:cubicBezTo>
                <a:cubicBezTo>
                  <a:pt x="2" y="77"/>
                  <a:pt x="1" y="79"/>
                  <a:pt x="3" y="81"/>
                </a:cubicBezTo>
                <a:cubicBezTo>
                  <a:pt x="4" y="84"/>
                  <a:pt x="7" y="88"/>
                  <a:pt x="9" y="87"/>
                </a:cubicBezTo>
                <a:cubicBezTo>
                  <a:pt x="11" y="86"/>
                  <a:pt x="9" y="83"/>
                  <a:pt x="9" y="82"/>
                </a:cubicBezTo>
                <a:cubicBezTo>
                  <a:pt x="9" y="81"/>
                  <a:pt x="9" y="78"/>
                  <a:pt x="10" y="76"/>
                </a:cubicBezTo>
                <a:cubicBezTo>
                  <a:pt x="12" y="74"/>
                  <a:pt x="15" y="70"/>
                  <a:pt x="17" y="67"/>
                </a:cubicBezTo>
                <a:cubicBezTo>
                  <a:pt x="18" y="65"/>
                  <a:pt x="19" y="62"/>
                  <a:pt x="22" y="62"/>
                </a:cubicBezTo>
                <a:cubicBezTo>
                  <a:pt x="24" y="62"/>
                  <a:pt x="25" y="65"/>
                  <a:pt x="26" y="68"/>
                </a:cubicBezTo>
                <a:cubicBezTo>
                  <a:pt x="26" y="71"/>
                  <a:pt x="26" y="75"/>
                  <a:pt x="27" y="78"/>
                </a:cubicBezTo>
                <a:cubicBezTo>
                  <a:pt x="28" y="81"/>
                  <a:pt x="28" y="87"/>
                  <a:pt x="33" y="88"/>
                </a:cubicBezTo>
                <a:cubicBezTo>
                  <a:pt x="38" y="88"/>
                  <a:pt x="40" y="88"/>
                  <a:pt x="37" y="85"/>
                </a:cubicBezTo>
                <a:cubicBezTo>
                  <a:pt x="34" y="82"/>
                  <a:pt x="35" y="82"/>
                  <a:pt x="34" y="77"/>
                </a:cubicBezTo>
                <a:cubicBezTo>
                  <a:pt x="34" y="72"/>
                  <a:pt x="34" y="61"/>
                  <a:pt x="32" y="56"/>
                </a:cubicBezTo>
                <a:cubicBezTo>
                  <a:pt x="29" y="52"/>
                  <a:pt x="28" y="48"/>
                  <a:pt x="28" y="45"/>
                </a:cubicBezTo>
                <a:cubicBezTo>
                  <a:pt x="28" y="42"/>
                  <a:pt x="29" y="40"/>
                  <a:pt x="31" y="42"/>
                </a:cubicBezTo>
                <a:cubicBezTo>
                  <a:pt x="33" y="45"/>
                  <a:pt x="35" y="46"/>
                  <a:pt x="37" y="46"/>
                </a:cubicBezTo>
                <a:cubicBezTo>
                  <a:pt x="39" y="46"/>
                  <a:pt x="40" y="47"/>
                  <a:pt x="41" y="48"/>
                </a:cubicBezTo>
                <a:cubicBezTo>
                  <a:pt x="42" y="48"/>
                  <a:pt x="42" y="49"/>
                  <a:pt x="41" y="51"/>
                </a:cubicBezTo>
                <a:cubicBezTo>
                  <a:pt x="40" y="53"/>
                  <a:pt x="41" y="57"/>
                  <a:pt x="42" y="59"/>
                </a:cubicBezTo>
                <a:cubicBezTo>
                  <a:pt x="43" y="61"/>
                  <a:pt x="44" y="63"/>
                  <a:pt x="44" y="65"/>
                </a:cubicBezTo>
                <a:cubicBezTo>
                  <a:pt x="44" y="67"/>
                  <a:pt x="44" y="67"/>
                  <a:pt x="46" y="69"/>
                </a:cubicBezTo>
                <a:cubicBezTo>
                  <a:pt x="47" y="70"/>
                  <a:pt x="47" y="71"/>
                  <a:pt x="46" y="73"/>
                </a:cubicBezTo>
                <a:cubicBezTo>
                  <a:pt x="44" y="76"/>
                  <a:pt x="42" y="79"/>
                  <a:pt x="43" y="83"/>
                </a:cubicBezTo>
                <a:cubicBezTo>
                  <a:pt x="44" y="86"/>
                  <a:pt x="46" y="89"/>
                  <a:pt x="48" y="88"/>
                </a:cubicBezTo>
                <a:cubicBezTo>
                  <a:pt x="49" y="87"/>
                  <a:pt x="47" y="83"/>
                  <a:pt x="48" y="80"/>
                </a:cubicBezTo>
                <a:cubicBezTo>
                  <a:pt x="50" y="78"/>
                  <a:pt x="52" y="77"/>
                  <a:pt x="53" y="74"/>
                </a:cubicBezTo>
                <a:cubicBezTo>
                  <a:pt x="54" y="71"/>
                  <a:pt x="54" y="70"/>
                  <a:pt x="55" y="70"/>
                </a:cubicBezTo>
                <a:cubicBezTo>
                  <a:pt x="56" y="70"/>
                  <a:pt x="58" y="73"/>
                  <a:pt x="58" y="75"/>
                </a:cubicBezTo>
                <a:cubicBezTo>
                  <a:pt x="58" y="78"/>
                  <a:pt x="59" y="83"/>
                  <a:pt x="59" y="84"/>
                </a:cubicBezTo>
                <a:cubicBezTo>
                  <a:pt x="59" y="86"/>
                  <a:pt x="59" y="88"/>
                  <a:pt x="62" y="88"/>
                </a:cubicBezTo>
                <a:cubicBezTo>
                  <a:pt x="66" y="89"/>
                  <a:pt x="70" y="88"/>
                  <a:pt x="67" y="85"/>
                </a:cubicBezTo>
                <a:cubicBezTo>
                  <a:pt x="64" y="83"/>
                  <a:pt x="64" y="82"/>
                  <a:pt x="64" y="79"/>
                </a:cubicBezTo>
                <a:cubicBezTo>
                  <a:pt x="64" y="75"/>
                  <a:pt x="66" y="69"/>
                  <a:pt x="65" y="65"/>
                </a:cubicBezTo>
                <a:cubicBezTo>
                  <a:pt x="64" y="61"/>
                  <a:pt x="63" y="59"/>
                  <a:pt x="62" y="57"/>
                </a:cubicBezTo>
                <a:cubicBezTo>
                  <a:pt x="62" y="56"/>
                  <a:pt x="63" y="55"/>
                  <a:pt x="65" y="55"/>
                </a:cubicBezTo>
                <a:cubicBezTo>
                  <a:pt x="67" y="56"/>
                  <a:pt x="74" y="60"/>
                  <a:pt x="75" y="57"/>
                </a:cubicBezTo>
                <a:cubicBezTo>
                  <a:pt x="76" y="55"/>
                  <a:pt x="73" y="54"/>
                  <a:pt x="71" y="53"/>
                </a:cubicBezTo>
                <a:cubicBezTo>
                  <a:pt x="70" y="53"/>
                  <a:pt x="68" y="52"/>
                  <a:pt x="65" y="48"/>
                </a:cubicBezTo>
                <a:cubicBezTo>
                  <a:pt x="63" y="45"/>
                  <a:pt x="61" y="42"/>
                  <a:pt x="59" y="41"/>
                </a:cubicBezTo>
                <a:cubicBezTo>
                  <a:pt x="57" y="39"/>
                  <a:pt x="55" y="39"/>
                  <a:pt x="58" y="37"/>
                </a:cubicBezTo>
                <a:cubicBezTo>
                  <a:pt x="60" y="36"/>
                  <a:pt x="63" y="35"/>
                  <a:pt x="63" y="32"/>
                </a:cubicBezTo>
                <a:cubicBezTo>
                  <a:pt x="63" y="28"/>
                  <a:pt x="63" y="27"/>
                  <a:pt x="62" y="25"/>
                </a:cubicBezTo>
                <a:cubicBezTo>
                  <a:pt x="62" y="23"/>
                  <a:pt x="59" y="21"/>
                  <a:pt x="57" y="21"/>
                </a:cubicBezTo>
                <a:cubicBezTo>
                  <a:pt x="54" y="21"/>
                  <a:pt x="55" y="20"/>
                  <a:pt x="55" y="19"/>
                </a:cubicBezTo>
                <a:cubicBezTo>
                  <a:pt x="56" y="18"/>
                  <a:pt x="56" y="17"/>
                  <a:pt x="54" y="16"/>
                </a:cubicBezTo>
                <a:cubicBezTo>
                  <a:pt x="52" y="16"/>
                  <a:pt x="52" y="18"/>
                  <a:pt x="52" y="18"/>
                </a:cubicBezTo>
                <a:cubicBezTo>
                  <a:pt x="52" y="19"/>
                  <a:pt x="52" y="21"/>
                  <a:pt x="51" y="20"/>
                </a:cubicBezTo>
                <a:cubicBezTo>
                  <a:pt x="50" y="19"/>
                  <a:pt x="48" y="18"/>
                  <a:pt x="47" y="18"/>
                </a:cubicBezTo>
                <a:cubicBezTo>
                  <a:pt x="46" y="19"/>
                  <a:pt x="46" y="20"/>
                  <a:pt x="47" y="21"/>
                </a:cubicBezTo>
                <a:cubicBezTo>
                  <a:pt x="48" y="22"/>
                  <a:pt x="50" y="22"/>
                  <a:pt x="50" y="23"/>
                </a:cubicBezTo>
                <a:cubicBezTo>
                  <a:pt x="49" y="25"/>
                  <a:pt x="47" y="25"/>
                  <a:pt x="47" y="28"/>
                </a:cubicBezTo>
                <a:cubicBezTo>
                  <a:pt x="47" y="31"/>
                  <a:pt x="47" y="35"/>
                  <a:pt x="50" y="36"/>
                </a:cubicBezTo>
                <a:cubicBezTo>
                  <a:pt x="52" y="36"/>
                  <a:pt x="51" y="38"/>
                  <a:pt x="50" y="39"/>
                </a:cubicBezTo>
                <a:cubicBezTo>
                  <a:pt x="48" y="40"/>
                  <a:pt x="46" y="40"/>
                  <a:pt x="45" y="41"/>
                </a:cubicBezTo>
                <a:cubicBezTo>
                  <a:pt x="44" y="42"/>
                  <a:pt x="44" y="44"/>
                  <a:pt x="42" y="43"/>
                </a:cubicBezTo>
                <a:cubicBezTo>
                  <a:pt x="40" y="42"/>
                  <a:pt x="36" y="40"/>
                  <a:pt x="35" y="36"/>
                </a:cubicBezTo>
                <a:cubicBezTo>
                  <a:pt x="34" y="33"/>
                  <a:pt x="33" y="26"/>
                  <a:pt x="30" y="24"/>
                </a:cubicBezTo>
                <a:cubicBezTo>
                  <a:pt x="28" y="22"/>
                  <a:pt x="26" y="22"/>
                  <a:pt x="27" y="20"/>
                </a:cubicBezTo>
                <a:cubicBezTo>
                  <a:pt x="27" y="20"/>
                  <a:pt x="27" y="19"/>
                  <a:pt x="28" y="18"/>
                </a:cubicBezTo>
                <a:cubicBezTo>
                  <a:pt x="29" y="18"/>
                  <a:pt x="32" y="17"/>
                  <a:pt x="32" y="15"/>
                </a:cubicBezTo>
                <a:cubicBezTo>
                  <a:pt x="32" y="12"/>
                  <a:pt x="32" y="11"/>
                  <a:pt x="34" y="10"/>
                </a:cubicBezTo>
                <a:cubicBezTo>
                  <a:pt x="35" y="9"/>
                  <a:pt x="37" y="8"/>
                  <a:pt x="35" y="7"/>
                </a:cubicBezTo>
                <a:cubicBezTo>
                  <a:pt x="33" y="6"/>
                  <a:pt x="33" y="6"/>
                  <a:pt x="30" y="3"/>
                </a:cubicBezTo>
                <a:cubicBezTo>
                  <a:pt x="28" y="0"/>
                  <a:pt x="22" y="1"/>
                  <a:pt x="20" y="2"/>
                </a:cubicBezTo>
                <a:cubicBezTo>
                  <a:pt x="17" y="4"/>
                  <a:pt x="15" y="7"/>
                  <a:pt x="16" y="11"/>
                </a:cubicBezTo>
                <a:cubicBezTo>
                  <a:pt x="17" y="16"/>
                  <a:pt x="19" y="16"/>
                  <a:pt x="19" y="18"/>
                </a:cubicBezTo>
                <a:cubicBezTo>
                  <a:pt x="20" y="20"/>
                  <a:pt x="18" y="20"/>
                  <a:pt x="16" y="22"/>
                </a:cubicBezTo>
                <a:cubicBezTo>
                  <a:pt x="13" y="23"/>
                  <a:pt x="10" y="26"/>
                  <a:pt x="8" y="31"/>
                </a:cubicBezTo>
                <a:cubicBezTo>
                  <a:pt x="6" y="35"/>
                  <a:pt x="6" y="36"/>
                  <a:pt x="4" y="36"/>
                </a:cubicBezTo>
                <a:cubicBezTo>
                  <a:pt x="2" y="36"/>
                  <a:pt x="2" y="37"/>
                  <a:pt x="1" y="41"/>
                </a:cubicBezTo>
                <a:cubicBezTo>
                  <a:pt x="0" y="45"/>
                  <a:pt x="0" y="47"/>
                  <a:pt x="4" y="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1" name="Freeform 32"/>
          <p:cNvSpPr>
            <a:spLocks/>
          </p:cNvSpPr>
          <p:nvPr/>
        </p:nvSpPr>
        <p:spPr bwMode="auto">
          <a:xfrm>
            <a:off x="10392833" y="2120900"/>
            <a:ext cx="558800" cy="364067"/>
          </a:xfrm>
          <a:custGeom>
            <a:avLst/>
            <a:gdLst>
              <a:gd name="T0" fmla="*/ 203080989 w 186"/>
              <a:gd name="T1" fmla="*/ 264799828 h 121"/>
              <a:gd name="T2" fmla="*/ 553396765 w 186"/>
              <a:gd name="T3" fmla="*/ 616167789 h 121"/>
              <a:gd name="T4" fmla="*/ 563549800 w 186"/>
              <a:gd name="T5" fmla="*/ 580522353 h 121"/>
              <a:gd name="T6" fmla="*/ 548317994 w 186"/>
              <a:gd name="T7" fmla="*/ 534690572 h 121"/>
              <a:gd name="T8" fmla="*/ 507703598 w 186"/>
              <a:gd name="T9" fmla="*/ 473583787 h 121"/>
              <a:gd name="T10" fmla="*/ 482316503 w 186"/>
              <a:gd name="T11" fmla="*/ 417567918 h 121"/>
              <a:gd name="T12" fmla="*/ 451855144 w 186"/>
              <a:gd name="T13" fmla="*/ 392106570 h 121"/>
              <a:gd name="T14" fmla="*/ 441702108 w 186"/>
              <a:gd name="T15" fmla="*/ 392106570 h 121"/>
              <a:gd name="T16" fmla="*/ 416317266 w 186"/>
              <a:gd name="T17" fmla="*/ 381922482 h 121"/>
              <a:gd name="T18" fmla="*/ 401085460 w 186"/>
              <a:gd name="T19" fmla="*/ 351367961 h 121"/>
              <a:gd name="T20" fmla="*/ 401085460 w 186"/>
              <a:gd name="T21" fmla="*/ 336090701 h 121"/>
              <a:gd name="T22" fmla="*/ 264005961 w 186"/>
              <a:gd name="T23" fmla="*/ 203690787 h 121"/>
              <a:gd name="T24" fmla="*/ 472163468 w 186"/>
              <a:gd name="T25" fmla="*/ 132399914 h 121"/>
              <a:gd name="T26" fmla="*/ 710784587 w 186"/>
              <a:gd name="T27" fmla="*/ 234245307 h 121"/>
              <a:gd name="T28" fmla="*/ 812323955 w 186"/>
              <a:gd name="T29" fmla="*/ 463399699 h 121"/>
              <a:gd name="T30" fmla="*/ 944326935 w 186"/>
              <a:gd name="T31" fmla="*/ 463399699 h 121"/>
              <a:gd name="T32" fmla="*/ 472163468 w 186"/>
              <a:gd name="T33" fmla="*/ 0 h 121"/>
              <a:gd name="T34" fmla="*/ 0 w 186"/>
              <a:gd name="T35" fmla="*/ 463399699 h 121"/>
              <a:gd name="T36" fmla="*/ 132002981 w 186"/>
              <a:gd name="T37" fmla="*/ 463399699 h 121"/>
              <a:gd name="T38" fmla="*/ 203080989 w 186"/>
              <a:gd name="T39" fmla="*/ 264799828 h 12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86" h="121">
                <a:moveTo>
                  <a:pt x="40" y="52"/>
                </a:moveTo>
                <a:cubicBezTo>
                  <a:pt x="109" y="121"/>
                  <a:pt x="109" y="121"/>
                  <a:pt x="109" y="121"/>
                </a:cubicBezTo>
                <a:cubicBezTo>
                  <a:pt x="111" y="118"/>
                  <a:pt x="111" y="116"/>
                  <a:pt x="111" y="114"/>
                </a:cubicBezTo>
                <a:cubicBezTo>
                  <a:pt x="111" y="111"/>
                  <a:pt x="110" y="108"/>
                  <a:pt x="108" y="105"/>
                </a:cubicBezTo>
                <a:cubicBezTo>
                  <a:pt x="107" y="102"/>
                  <a:pt x="104" y="98"/>
                  <a:pt x="100" y="93"/>
                </a:cubicBezTo>
                <a:cubicBezTo>
                  <a:pt x="98" y="90"/>
                  <a:pt x="96" y="86"/>
                  <a:pt x="95" y="82"/>
                </a:cubicBezTo>
                <a:cubicBezTo>
                  <a:pt x="89" y="77"/>
                  <a:pt x="89" y="77"/>
                  <a:pt x="89" y="77"/>
                </a:cubicBezTo>
                <a:cubicBezTo>
                  <a:pt x="88" y="77"/>
                  <a:pt x="88" y="77"/>
                  <a:pt x="87" y="77"/>
                </a:cubicBezTo>
                <a:cubicBezTo>
                  <a:pt x="85" y="77"/>
                  <a:pt x="84" y="77"/>
                  <a:pt x="82" y="75"/>
                </a:cubicBezTo>
                <a:cubicBezTo>
                  <a:pt x="80" y="74"/>
                  <a:pt x="79" y="71"/>
                  <a:pt x="79" y="69"/>
                </a:cubicBezTo>
                <a:cubicBezTo>
                  <a:pt x="79" y="68"/>
                  <a:pt x="79" y="67"/>
                  <a:pt x="79" y="66"/>
                </a:cubicBezTo>
                <a:cubicBezTo>
                  <a:pt x="52" y="40"/>
                  <a:pt x="52" y="40"/>
                  <a:pt x="52" y="40"/>
                </a:cubicBezTo>
                <a:cubicBezTo>
                  <a:pt x="64" y="31"/>
                  <a:pt x="78" y="26"/>
                  <a:pt x="93" y="26"/>
                </a:cubicBezTo>
                <a:cubicBezTo>
                  <a:pt x="112" y="26"/>
                  <a:pt x="128" y="34"/>
                  <a:pt x="140" y="46"/>
                </a:cubicBezTo>
                <a:cubicBezTo>
                  <a:pt x="152" y="57"/>
                  <a:pt x="159" y="73"/>
                  <a:pt x="160" y="91"/>
                </a:cubicBezTo>
                <a:cubicBezTo>
                  <a:pt x="186" y="91"/>
                  <a:pt x="186" y="91"/>
                  <a:pt x="186" y="91"/>
                </a:cubicBezTo>
                <a:cubicBezTo>
                  <a:pt x="185" y="40"/>
                  <a:pt x="144" y="0"/>
                  <a:pt x="93" y="0"/>
                </a:cubicBezTo>
                <a:cubicBezTo>
                  <a:pt x="42" y="0"/>
                  <a:pt x="1" y="40"/>
                  <a:pt x="0" y="91"/>
                </a:cubicBezTo>
                <a:cubicBezTo>
                  <a:pt x="26" y="91"/>
                  <a:pt x="26" y="91"/>
                  <a:pt x="26" y="91"/>
                </a:cubicBezTo>
                <a:cubicBezTo>
                  <a:pt x="27" y="76"/>
                  <a:pt x="32" y="63"/>
                  <a:pt x="40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2" name="Freeform 33"/>
          <p:cNvSpPr>
            <a:spLocks/>
          </p:cNvSpPr>
          <p:nvPr/>
        </p:nvSpPr>
        <p:spPr bwMode="auto">
          <a:xfrm>
            <a:off x="10392833" y="2406652"/>
            <a:ext cx="558800" cy="273049"/>
          </a:xfrm>
          <a:custGeom>
            <a:avLst/>
            <a:gdLst>
              <a:gd name="T0" fmla="*/ 741245947 w 186"/>
              <a:gd name="T1" fmla="*/ 197509185 h 91"/>
              <a:gd name="T2" fmla="*/ 675244456 w 186"/>
              <a:gd name="T3" fmla="*/ 131673540 h 91"/>
              <a:gd name="T4" fmla="*/ 644783097 w 186"/>
              <a:gd name="T5" fmla="*/ 202574850 h 91"/>
              <a:gd name="T6" fmla="*/ 634627808 w 186"/>
              <a:gd name="T7" fmla="*/ 217767345 h 91"/>
              <a:gd name="T8" fmla="*/ 680320974 w 186"/>
              <a:gd name="T9" fmla="*/ 258281415 h 91"/>
              <a:gd name="T10" fmla="*/ 472163468 w 186"/>
              <a:gd name="T11" fmla="*/ 329182725 h 91"/>
              <a:gd name="T12" fmla="*/ 233542348 w 186"/>
              <a:gd name="T13" fmla="*/ 227896425 h 91"/>
              <a:gd name="T14" fmla="*/ 132002981 w 186"/>
              <a:gd name="T15" fmla="*/ 0 h 91"/>
              <a:gd name="T16" fmla="*/ 0 w 186"/>
              <a:gd name="T17" fmla="*/ 0 h 91"/>
              <a:gd name="T18" fmla="*/ 472163468 w 186"/>
              <a:gd name="T19" fmla="*/ 460856265 h 91"/>
              <a:gd name="T20" fmla="*/ 944326935 w 186"/>
              <a:gd name="T21" fmla="*/ 0 h 91"/>
              <a:gd name="T22" fmla="*/ 812323955 w 186"/>
              <a:gd name="T23" fmla="*/ 0 h 91"/>
              <a:gd name="T24" fmla="*/ 741245947 w 186"/>
              <a:gd name="T25" fmla="*/ 197509185 h 9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1">
                <a:moveTo>
                  <a:pt x="146" y="39"/>
                </a:moveTo>
                <a:cubicBezTo>
                  <a:pt x="133" y="26"/>
                  <a:pt x="133" y="26"/>
                  <a:pt x="133" y="26"/>
                </a:cubicBezTo>
                <a:cubicBezTo>
                  <a:pt x="132" y="31"/>
                  <a:pt x="130" y="36"/>
                  <a:pt x="127" y="40"/>
                </a:cubicBezTo>
                <a:cubicBezTo>
                  <a:pt x="126" y="41"/>
                  <a:pt x="126" y="42"/>
                  <a:pt x="125" y="43"/>
                </a:cubicBezTo>
                <a:cubicBezTo>
                  <a:pt x="134" y="51"/>
                  <a:pt x="134" y="51"/>
                  <a:pt x="134" y="51"/>
                </a:cubicBezTo>
                <a:cubicBezTo>
                  <a:pt x="122" y="60"/>
                  <a:pt x="108" y="65"/>
                  <a:pt x="93" y="65"/>
                </a:cubicBezTo>
                <a:cubicBezTo>
                  <a:pt x="74" y="65"/>
                  <a:pt x="58" y="57"/>
                  <a:pt x="46" y="45"/>
                </a:cubicBezTo>
                <a:cubicBezTo>
                  <a:pt x="34" y="34"/>
                  <a:pt x="27" y="18"/>
                  <a:pt x="26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51"/>
                  <a:pt x="42" y="91"/>
                  <a:pt x="93" y="91"/>
                </a:cubicBezTo>
                <a:cubicBezTo>
                  <a:pt x="144" y="91"/>
                  <a:pt x="185" y="51"/>
                  <a:pt x="186" y="0"/>
                </a:cubicBezTo>
                <a:cubicBezTo>
                  <a:pt x="160" y="0"/>
                  <a:pt x="160" y="0"/>
                  <a:pt x="160" y="0"/>
                </a:cubicBezTo>
                <a:cubicBezTo>
                  <a:pt x="159" y="15"/>
                  <a:pt x="154" y="28"/>
                  <a:pt x="146" y="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3" name="Freeform 34"/>
          <p:cNvSpPr>
            <a:spLocks/>
          </p:cNvSpPr>
          <p:nvPr/>
        </p:nvSpPr>
        <p:spPr bwMode="auto">
          <a:xfrm>
            <a:off x="10642600" y="2228851"/>
            <a:ext cx="137584" cy="342900"/>
          </a:xfrm>
          <a:custGeom>
            <a:avLst/>
            <a:gdLst>
              <a:gd name="T0" fmla="*/ 206313190 w 46"/>
              <a:gd name="T1" fmla="*/ 305350194 h 114"/>
              <a:gd name="T2" fmla="*/ 161024874 w 46"/>
              <a:gd name="T3" fmla="*/ 239190797 h 114"/>
              <a:gd name="T4" fmla="*/ 135864948 w 46"/>
              <a:gd name="T5" fmla="*/ 178120759 h 114"/>
              <a:gd name="T6" fmla="*/ 135864948 w 46"/>
              <a:gd name="T7" fmla="*/ 162852685 h 114"/>
              <a:gd name="T8" fmla="*/ 166056411 w 46"/>
              <a:gd name="T9" fmla="*/ 178120759 h 114"/>
              <a:gd name="T10" fmla="*/ 196247873 w 46"/>
              <a:gd name="T11" fmla="*/ 178120759 h 114"/>
              <a:gd name="T12" fmla="*/ 191216337 w 46"/>
              <a:gd name="T13" fmla="*/ 142497509 h 114"/>
              <a:gd name="T14" fmla="*/ 115736558 w 46"/>
              <a:gd name="T15" fmla="*/ 10178716 h 114"/>
              <a:gd name="T16" fmla="*/ 100639705 w 46"/>
              <a:gd name="T17" fmla="*/ 0 h 114"/>
              <a:gd name="T18" fmla="*/ 85545095 w 46"/>
              <a:gd name="T19" fmla="*/ 10178716 h 114"/>
              <a:gd name="T20" fmla="*/ 10063073 w 46"/>
              <a:gd name="T21" fmla="*/ 142497509 h 114"/>
              <a:gd name="T22" fmla="*/ 10063073 w 46"/>
              <a:gd name="T23" fmla="*/ 178120759 h 114"/>
              <a:gd name="T24" fmla="*/ 40256779 w 46"/>
              <a:gd name="T25" fmla="*/ 178120759 h 114"/>
              <a:gd name="T26" fmla="*/ 70448242 w 46"/>
              <a:gd name="T27" fmla="*/ 162852685 h 114"/>
              <a:gd name="T28" fmla="*/ 75479779 w 46"/>
              <a:gd name="T29" fmla="*/ 188299474 h 114"/>
              <a:gd name="T30" fmla="*/ 105673485 w 46"/>
              <a:gd name="T31" fmla="*/ 274816303 h 114"/>
              <a:gd name="T32" fmla="*/ 150961801 w 46"/>
              <a:gd name="T33" fmla="*/ 340975699 h 114"/>
              <a:gd name="T34" fmla="*/ 166056411 w 46"/>
              <a:gd name="T35" fmla="*/ 396956380 h 114"/>
              <a:gd name="T36" fmla="*/ 145928021 w 46"/>
              <a:gd name="T37" fmla="*/ 452937061 h 114"/>
              <a:gd name="T38" fmla="*/ 70448242 w 46"/>
              <a:gd name="T39" fmla="*/ 529275174 h 114"/>
              <a:gd name="T40" fmla="*/ 110705021 w 46"/>
              <a:gd name="T41" fmla="*/ 580166497 h 114"/>
              <a:gd name="T42" fmla="*/ 201281653 w 46"/>
              <a:gd name="T43" fmla="*/ 493649668 h 114"/>
              <a:gd name="T44" fmla="*/ 231473116 w 46"/>
              <a:gd name="T45" fmla="*/ 396956380 h 114"/>
              <a:gd name="T46" fmla="*/ 206313190 w 46"/>
              <a:gd name="T47" fmla="*/ 305350194 h 11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6" h="114">
                <a:moveTo>
                  <a:pt x="41" y="60"/>
                </a:moveTo>
                <a:cubicBezTo>
                  <a:pt x="38" y="55"/>
                  <a:pt x="35" y="51"/>
                  <a:pt x="32" y="47"/>
                </a:cubicBezTo>
                <a:cubicBezTo>
                  <a:pt x="30" y="44"/>
                  <a:pt x="28" y="39"/>
                  <a:pt x="27" y="35"/>
                </a:cubicBezTo>
                <a:cubicBezTo>
                  <a:pt x="27" y="34"/>
                  <a:pt x="27" y="33"/>
                  <a:pt x="27" y="32"/>
                </a:cubicBezTo>
                <a:cubicBezTo>
                  <a:pt x="33" y="35"/>
                  <a:pt x="33" y="35"/>
                  <a:pt x="33" y="35"/>
                </a:cubicBezTo>
                <a:cubicBezTo>
                  <a:pt x="33" y="35"/>
                  <a:pt x="37" y="37"/>
                  <a:pt x="39" y="35"/>
                </a:cubicBezTo>
                <a:cubicBezTo>
                  <a:pt x="41" y="33"/>
                  <a:pt x="40" y="31"/>
                  <a:pt x="38" y="28"/>
                </a:cubicBezTo>
                <a:cubicBezTo>
                  <a:pt x="37" y="26"/>
                  <a:pt x="23" y="2"/>
                  <a:pt x="23" y="2"/>
                </a:cubicBezTo>
                <a:cubicBezTo>
                  <a:pt x="23" y="2"/>
                  <a:pt x="22" y="0"/>
                  <a:pt x="20" y="0"/>
                </a:cubicBezTo>
                <a:cubicBezTo>
                  <a:pt x="19" y="0"/>
                  <a:pt x="17" y="2"/>
                  <a:pt x="17" y="2"/>
                </a:cubicBezTo>
                <a:cubicBezTo>
                  <a:pt x="17" y="2"/>
                  <a:pt x="4" y="26"/>
                  <a:pt x="2" y="28"/>
                </a:cubicBezTo>
                <a:cubicBezTo>
                  <a:pt x="1" y="31"/>
                  <a:pt x="0" y="33"/>
                  <a:pt x="2" y="35"/>
                </a:cubicBezTo>
                <a:cubicBezTo>
                  <a:pt x="4" y="37"/>
                  <a:pt x="8" y="35"/>
                  <a:pt x="8" y="35"/>
                </a:cubicBezTo>
                <a:cubicBezTo>
                  <a:pt x="14" y="32"/>
                  <a:pt x="14" y="32"/>
                  <a:pt x="14" y="32"/>
                </a:cubicBezTo>
                <a:cubicBezTo>
                  <a:pt x="14" y="33"/>
                  <a:pt x="14" y="35"/>
                  <a:pt x="15" y="37"/>
                </a:cubicBezTo>
                <a:cubicBezTo>
                  <a:pt x="16" y="42"/>
                  <a:pt x="17" y="49"/>
                  <a:pt x="21" y="54"/>
                </a:cubicBezTo>
                <a:cubicBezTo>
                  <a:pt x="25" y="59"/>
                  <a:pt x="28" y="63"/>
                  <a:pt x="30" y="67"/>
                </a:cubicBezTo>
                <a:cubicBezTo>
                  <a:pt x="32" y="70"/>
                  <a:pt x="33" y="74"/>
                  <a:pt x="33" y="78"/>
                </a:cubicBezTo>
                <a:cubicBezTo>
                  <a:pt x="33" y="82"/>
                  <a:pt x="32" y="85"/>
                  <a:pt x="29" y="89"/>
                </a:cubicBezTo>
                <a:cubicBezTo>
                  <a:pt x="26" y="93"/>
                  <a:pt x="21" y="98"/>
                  <a:pt x="14" y="10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30" y="108"/>
                  <a:pt x="36" y="103"/>
                  <a:pt x="40" y="97"/>
                </a:cubicBezTo>
                <a:cubicBezTo>
                  <a:pt x="44" y="91"/>
                  <a:pt x="46" y="84"/>
                  <a:pt x="46" y="78"/>
                </a:cubicBezTo>
                <a:cubicBezTo>
                  <a:pt x="46" y="71"/>
                  <a:pt x="44" y="65"/>
                  <a:pt x="41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4" name="Freeform 35"/>
          <p:cNvSpPr>
            <a:spLocks/>
          </p:cNvSpPr>
          <p:nvPr/>
        </p:nvSpPr>
        <p:spPr bwMode="auto">
          <a:xfrm>
            <a:off x="10551585" y="2408767"/>
            <a:ext cx="86783" cy="124884"/>
          </a:xfrm>
          <a:custGeom>
            <a:avLst/>
            <a:gdLst>
              <a:gd name="T0" fmla="*/ 85634293 w 29"/>
              <a:gd name="T1" fmla="*/ 15655428 h 41"/>
              <a:gd name="T2" fmla="*/ 75559274 w 29"/>
              <a:gd name="T3" fmla="*/ 0 h 41"/>
              <a:gd name="T4" fmla="*/ 60447868 w 29"/>
              <a:gd name="T5" fmla="*/ 15655428 h 41"/>
              <a:gd name="T6" fmla="*/ 5036387 w 29"/>
              <a:gd name="T7" fmla="*/ 104374849 h 41"/>
              <a:gd name="T8" fmla="*/ 0 w 29"/>
              <a:gd name="T9" fmla="*/ 125250276 h 41"/>
              <a:gd name="T10" fmla="*/ 15111406 w 29"/>
              <a:gd name="T11" fmla="*/ 120032561 h 41"/>
              <a:gd name="T12" fmla="*/ 50372849 w 29"/>
              <a:gd name="T13" fmla="*/ 104374849 h 41"/>
              <a:gd name="T14" fmla="*/ 50372849 w 29"/>
              <a:gd name="T15" fmla="*/ 213969697 h 41"/>
              <a:gd name="T16" fmla="*/ 95709311 w 29"/>
              <a:gd name="T17" fmla="*/ 213969697 h 41"/>
              <a:gd name="T18" fmla="*/ 95709311 w 29"/>
              <a:gd name="T19" fmla="*/ 104374849 h 41"/>
              <a:gd name="T20" fmla="*/ 130970755 w 29"/>
              <a:gd name="T21" fmla="*/ 120032561 h 41"/>
              <a:gd name="T22" fmla="*/ 146082161 w 29"/>
              <a:gd name="T23" fmla="*/ 125250276 h 41"/>
              <a:gd name="T24" fmla="*/ 141045773 w 29"/>
              <a:gd name="T25" fmla="*/ 104374849 h 41"/>
              <a:gd name="T26" fmla="*/ 85634293 w 29"/>
              <a:gd name="T27" fmla="*/ 15655428 h 4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9" h="41">
                <a:moveTo>
                  <a:pt x="17" y="3"/>
                </a:moveTo>
                <a:cubicBezTo>
                  <a:pt x="16" y="2"/>
                  <a:pt x="16" y="0"/>
                  <a:pt x="15" y="0"/>
                </a:cubicBezTo>
                <a:cubicBezTo>
                  <a:pt x="13" y="0"/>
                  <a:pt x="13" y="2"/>
                  <a:pt x="12" y="3"/>
                </a:cubicBezTo>
                <a:cubicBezTo>
                  <a:pt x="11" y="4"/>
                  <a:pt x="2" y="19"/>
                  <a:pt x="1" y="20"/>
                </a:cubicBezTo>
                <a:cubicBezTo>
                  <a:pt x="0" y="22"/>
                  <a:pt x="0" y="23"/>
                  <a:pt x="0" y="24"/>
                </a:cubicBezTo>
                <a:cubicBezTo>
                  <a:pt x="1" y="25"/>
                  <a:pt x="3" y="23"/>
                  <a:pt x="3" y="23"/>
                </a:cubicBezTo>
                <a:cubicBezTo>
                  <a:pt x="10" y="20"/>
                  <a:pt x="10" y="20"/>
                  <a:pt x="10" y="20"/>
                </a:cubicBezTo>
                <a:cubicBezTo>
                  <a:pt x="10" y="41"/>
                  <a:pt x="10" y="41"/>
                  <a:pt x="10" y="41"/>
                </a:cubicBezTo>
                <a:cubicBezTo>
                  <a:pt x="19" y="41"/>
                  <a:pt x="19" y="41"/>
                  <a:pt x="19" y="41"/>
                </a:cubicBezTo>
                <a:cubicBezTo>
                  <a:pt x="19" y="20"/>
                  <a:pt x="19" y="20"/>
                  <a:pt x="19" y="20"/>
                </a:cubicBezTo>
                <a:cubicBezTo>
                  <a:pt x="26" y="23"/>
                  <a:pt x="26" y="23"/>
                  <a:pt x="26" y="23"/>
                </a:cubicBezTo>
                <a:cubicBezTo>
                  <a:pt x="26" y="23"/>
                  <a:pt x="28" y="25"/>
                  <a:pt x="29" y="24"/>
                </a:cubicBezTo>
                <a:cubicBezTo>
                  <a:pt x="29" y="23"/>
                  <a:pt x="29" y="22"/>
                  <a:pt x="28" y="20"/>
                </a:cubicBezTo>
                <a:cubicBezTo>
                  <a:pt x="27" y="19"/>
                  <a:pt x="18" y="5"/>
                  <a:pt x="17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5" name="Freeform 36"/>
          <p:cNvSpPr>
            <a:spLocks/>
          </p:cNvSpPr>
          <p:nvPr/>
        </p:nvSpPr>
        <p:spPr bwMode="auto">
          <a:xfrm>
            <a:off x="1022351" y="2950634"/>
            <a:ext cx="558800" cy="275167"/>
          </a:xfrm>
          <a:custGeom>
            <a:avLst/>
            <a:gdLst>
              <a:gd name="T0" fmla="*/ 203080989 w 186"/>
              <a:gd name="T1" fmla="*/ 267446125 h 91"/>
              <a:gd name="T2" fmla="*/ 350315776 w 186"/>
              <a:gd name="T3" fmla="*/ 416596286 h 91"/>
              <a:gd name="T4" fmla="*/ 355392294 w 186"/>
              <a:gd name="T5" fmla="*/ 411455054 h 91"/>
              <a:gd name="T6" fmla="*/ 380777135 w 186"/>
              <a:gd name="T7" fmla="*/ 365165821 h 91"/>
              <a:gd name="T8" fmla="*/ 390930171 w 186"/>
              <a:gd name="T9" fmla="*/ 339450589 h 91"/>
              <a:gd name="T10" fmla="*/ 396008942 w 186"/>
              <a:gd name="T11" fmla="*/ 334307089 h 91"/>
              <a:gd name="T12" fmla="*/ 264005961 w 186"/>
              <a:gd name="T13" fmla="*/ 205726393 h 91"/>
              <a:gd name="T14" fmla="*/ 472163468 w 186"/>
              <a:gd name="T15" fmla="*/ 133721929 h 91"/>
              <a:gd name="T16" fmla="*/ 710784587 w 186"/>
              <a:gd name="T17" fmla="*/ 236585125 h 91"/>
              <a:gd name="T18" fmla="*/ 812323955 w 186"/>
              <a:gd name="T19" fmla="*/ 468029018 h 91"/>
              <a:gd name="T20" fmla="*/ 944326935 w 186"/>
              <a:gd name="T21" fmla="*/ 468029018 h 91"/>
              <a:gd name="T22" fmla="*/ 472163468 w 186"/>
              <a:gd name="T23" fmla="*/ 0 h 91"/>
              <a:gd name="T24" fmla="*/ 0 w 186"/>
              <a:gd name="T25" fmla="*/ 468029018 h 91"/>
              <a:gd name="T26" fmla="*/ 132002981 w 186"/>
              <a:gd name="T27" fmla="*/ 468029018 h 91"/>
              <a:gd name="T28" fmla="*/ 203080989 w 186"/>
              <a:gd name="T29" fmla="*/ 267446125 h 9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86" h="91">
                <a:moveTo>
                  <a:pt x="40" y="52"/>
                </a:moveTo>
                <a:cubicBezTo>
                  <a:pt x="69" y="81"/>
                  <a:pt x="69" y="81"/>
                  <a:pt x="69" y="81"/>
                </a:cubicBezTo>
                <a:cubicBezTo>
                  <a:pt x="69" y="81"/>
                  <a:pt x="69" y="81"/>
                  <a:pt x="70" y="80"/>
                </a:cubicBezTo>
                <a:cubicBezTo>
                  <a:pt x="72" y="76"/>
                  <a:pt x="73" y="74"/>
                  <a:pt x="75" y="71"/>
                </a:cubicBezTo>
                <a:cubicBezTo>
                  <a:pt x="75" y="69"/>
                  <a:pt x="76" y="68"/>
                  <a:pt x="77" y="66"/>
                </a:cubicBezTo>
                <a:cubicBezTo>
                  <a:pt x="77" y="66"/>
                  <a:pt x="78" y="66"/>
                  <a:pt x="78" y="65"/>
                </a:cubicBezTo>
                <a:cubicBezTo>
                  <a:pt x="52" y="40"/>
                  <a:pt x="52" y="40"/>
                  <a:pt x="52" y="40"/>
                </a:cubicBezTo>
                <a:cubicBezTo>
                  <a:pt x="64" y="31"/>
                  <a:pt x="78" y="26"/>
                  <a:pt x="93" y="26"/>
                </a:cubicBezTo>
                <a:cubicBezTo>
                  <a:pt x="112" y="26"/>
                  <a:pt x="128" y="34"/>
                  <a:pt x="140" y="46"/>
                </a:cubicBezTo>
                <a:cubicBezTo>
                  <a:pt x="152" y="57"/>
                  <a:pt x="159" y="73"/>
                  <a:pt x="160" y="91"/>
                </a:cubicBezTo>
                <a:cubicBezTo>
                  <a:pt x="186" y="91"/>
                  <a:pt x="186" y="91"/>
                  <a:pt x="186" y="91"/>
                </a:cubicBezTo>
                <a:cubicBezTo>
                  <a:pt x="185" y="40"/>
                  <a:pt x="144" y="0"/>
                  <a:pt x="93" y="0"/>
                </a:cubicBezTo>
                <a:cubicBezTo>
                  <a:pt x="42" y="0"/>
                  <a:pt x="1" y="40"/>
                  <a:pt x="0" y="91"/>
                </a:cubicBezTo>
                <a:cubicBezTo>
                  <a:pt x="26" y="91"/>
                  <a:pt x="26" y="91"/>
                  <a:pt x="26" y="91"/>
                </a:cubicBezTo>
                <a:cubicBezTo>
                  <a:pt x="27" y="76"/>
                  <a:pt x="32" y="63"/>
                  <a:pt x="40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6" name="Freeform 37"/>
          <p:cNvSpPr>
            <a:spLocks/>
          </p:cNvSpPr>
          <p:nvPr/>
        </p:nvSpPr>
        <p:spPr bwMode="auto">
          <a:xfrm>
            <a:off x="1022351" y="3238500"/>
            <a:ext cx="558800" cy="273051"/>
          </a:xfrm>
          <a:custGeom>
            <a:avLst/>
            <a:gdLst>
              <a:gd name="T0" fmla="*/ 741245947 w 186"/>
              <a:gd name="T1" fmla="*/ 197510150 h 91"/>
              <a:gd name="T2" fmla="*/ 705705816 w 186"/>
              <a:gd name="T3" fmla="*/ 162059321 h 91"/>
              <a:gd name="T4" fmla="*/ 624474773 w 186"/>
              <a:gd name="T5" fmla="*/ 202575840 h 91"/>
              <a:gd name="T6" fmla="*/ 680320974 w 186"/>
              <a:gd name="T7" fmla="*/ 258282676 h 91"/>
              <a:gd name="T8" fmla="*/ 472163468 w 186"/>
              <a:gd name="T9" fmla="*/ 329184333 h 91"/>
              <a:gd name="T10" fmla="*/ 233542348 w 186"/>
              <a:gd name="T11" fmla="*/ 227897538 h 91"/>
              <a:gd name="T12" fmla="*/ 132002981 w 186"/>
              <a:gd name="T13" fmla="*/ 0 h 91"/>
              <a:gd name="T14" fmla="*/ 0 w 186"/>
              <a:gd name="T15" fmla="*/ 0 h 91"/>
              <a:gd name="T16" fmla="*/ 472163468 w 186"/>
              <a:gd name="T17" fmla="*/ 460858516 h 91"/>
              <a:gd name="T18" fmla="*/ 944326935 w 186"/>
              <a:gd name="T19" fmla="*/ 0 h 91"/>
              <a:gd name="T20" fmla="*/ 812323955 w 186"/>
              <a:gd name="T21" fmla="*/ 0 h 91"/>
              <a:gd name="T22" fmla="*/ 741245947 w 186"/>
              <a:gd name="T23" fmla="*/ 197510150 h 9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86" h="91">
                <a:moveTo>
                  <a:pt x="146" y="39"/>
                </a:moveTo>
                <a:cubicBezTo>
                  <a:pt x="139" y="32"/>
                  <a:pt x="139" y="32"/>
                  <a:pt x="139" y="32"/>
                </a:cubicBezTo>
                <a:cubicBezTo>
                  <a:pt x="135" y="37"/>
                  <a:pt x="130" y="40"/>
                  <a:pt x="123" y="40"/>
                </a:cubicBezTo>
                <a:cubicBezTo>
                  <a:pt x="134" y="51"/>
                  <a:pt x="134" y="51"/>
                  <a:pt x="134" y="51"/>
                </a:cubicBezTo>
                <a:cubicBezTo>
                  <a:pt x="122" y="60"/>
                  <a:pt x="108" y="65"/>
                  <a:pt x="93" y="65"/>
                </a:cubicBezTo>
                <a:cubicBezTo>
                  <a:pt x="74" y="65"/>
                  <a:pt x="58" y="57"/>
                  <a:pt x="46" y="45"/>
                </a:cubicBezTo>
                <a:cubicBezTo>
                  <a:pt x="34" y="34"/>
                  <a:pt x="27" y="18"/>
                  <a:pt x="26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51"/>
                  <a:pt x="42" y="91"/>
                  <a:pt x="93" y="91"/>
                </a:cubicBezTo>
                <a:cubicBezTo>
                  <a:pt x="144" y="91"/>
                  <a:pt x="185" y="51"/>
                  <a:pt x="186" y="0"/>
                </a:cubicBezTo>
                <a:cubicBezTo>
                  <a:pt x="160" y="0"/>
                  <a:pt x="160" y="0"/>
                  <a:pt x="160" y="0"/>
                </a:cubicBezTo>
                <a:cubicBezTo>
                  <a:pt x="159" y="15"/>
                  <a:pt x="154" y="28"/>
                  <a:pt x="146" y="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7" name="Freeform 38"/>
          <p:cNvSpPr>
            <a:spLocks noEditPoints="1"/>
          </p:cNvSpPr>
          <p:nvPr/>
        </p:nvSpPr>
        <p:spPr bwMode="auto">
          <a:xfrm>
            <a:off x="1149351" y="3111501"/>
            <a:ext cx="287867" cy="234951"/>
          </a:xfrm>
          <a:custGeom>
            <a:avLst/>
            <a:gdLst>
              <a:gd name="T0" fmla="*/ 354046764 w 96"/>
              <a:gd name="T1" fmla="*/ 311327706 h 78"/>
              <a:gd name="T2" fmla="*/ 389452115 w 96"/>
              <a:gd name="T3" fmla="*/ 301118648 h 78"/>
              <a:gd name="T4" fmla="*/ 404625836 w 96"/>
              <a:gd name="T5" fmla="*/ 331741305 h 78"/>
              <a:gd name="T6" fmla="*/ 404625836 w 96"/>
              <a:gd name="T7" fmla="*/ 296015249 h 78"/>
              <a:gd name="T8" fmla="*/ 404625836 w 96"/>
              <a:gd name="T9" fmla="*/ 260289192 h 78"/>
              <a:gd name="T10" fmla="*/ 485550104 w 96"/>
              <a:gd name="T11" fmla="*/ 301118648 h 78"/>
              <a:gd name="T12" fmla="*/ 384394207 w 96"/>
              <a:gd name="T13" fmla="*/ 229666536 h 78"/>
              <a:gd name="T14" fmla="*/ 374278393 w 96"/>
              <a:gd name="T15" fmla="*/ 199046138 h 78"/>
              <a:gd name="T16" fmla="*/ 404625836 w 96"/>
              <a:gd name="T17" fmla="*/ 188837080 h 78"/>
              <a:gd name="T18" fmla="*/ 384394207 w 96"/>
              <a:gd name="T19" fmla="*/ 168423482 h 78"/>
              <a:gd name="T20" fmla="*/ 359104671 w 96"/>
              <a:gd name="T21" fmla="*/ 163320082 h 78"/>
              <a:gd name="T22" fmla="*/ 313583505 w 96"/>
              <a:gd name="T23" fmla="*/ 158214423 h 78"/>
              <a:gd name="T24" fmla="*/ 338873042 w 96"/>
              <a:gd name="T25" fmla="*/ 173526881 h 78"/>
              <a:gd name="T26" fmla="*/ 323699320 w 96"/>
              <a:gd name="T27" fmla="*/ 188837080 h 78"/>
              <a:gd name="T28" fmla="*/ 273122496 w 96"/>
              <a:gd name="T29" fmla="*/ 188837080 h 78"/>
              <a:gd name="T30" fmla="*/ 232659238 w 96"/>
              <a:gd name="T31" fmla="*/ 183733680 h 78"/>
              <a:gd name="T32" fmla="*/ 232659238 w 96"/>
              <a:gd name="T33" fmla="*/ 153111024 h 78"/>
              <a:gd name="T34" fmla="*/ 303469940 w 96"/>
              <a:gd name="T35" fmla="*/ 163320082 h 78"/>
              <a:gd name="T36" fmla="*/ 263006681 w 96"/>
              <a:gd name="T37" fmla="*/ 107178169 h 78"/>
              <a:gd name="T38" fmla="*/ 252890867 w 96"/>
              <a:gd name="T39" fmla="*/ 66348713 h 78"/>
              <a:gd name="T40" fmla="*/ 273122496 w 96"/>
              <a:gd name="T41" fmla="*/ 30622657 h 78"/>
              <a:gd name="T42" fmla="*/ 232659238 w 96"/>
              <a:gd name="T43" fmla="*/ 5103400 h 78"/>
              <a:gd name="T44" fmla="*/ 207369701 w 96"/>
              <a:gd name="T45" fmla="*/ 56141914 h 78"/>
              <a:gd name="T46" fmla="*/ 187138072 w 96"/>
              <a:gd name="T47" fmla="*/ 102074769 h 78"/>
              <a:gd name="T48" fmla="*/ 151734970 w 96"/>
              <a:gd name="T49" fmla="*/ 188837080 h 78"/>
              <a:gd name="T50" fmla="*/ 111271711 w 96"/>
              <a:gd name="T51" fmla="*/ 193940480 h 78"/>
              <a:gd name="T52" fmla="*/ 50579073 w 96"/>
              <a:gd name="T53" fmla="*/ 204149538 h 78"/>
              <a:gd name="T54" fmla="*/ 60694888 w 96"/>
              <a:gd name="T55" fmla="*/ 229666536 h 78"/>
              <a:gd name="T56" fmla="*/ 0 w 96"/>
              <a:gd name="T57" fmla="*/ 290911849 h 78"/>
              <a:gd name="T58" fmla="*/ 80924268 w 96"/>
              <a:gd name="T59" fmla="*/ 260289192 h 78"/>
              <a:gd name="T60" fmla="*/ 91040082 w 96"/>
              <a:gd name="T61" fmla="*/ 280705050 h 78"/>
              <a:gd name="T62" fmla="*/ 45521166 w 96"/>
              <a:gd name="T63" fmla="*/ 306222048 h 78"/>
              <a:gd name="T64" fmla="*/ 0 w 96"/>
              <a:gd name="T65" fmla="*/ 306222048 h 78"/>
              <a:gd name="T66" fmla="*/ 80924268 w 96"/>
              <a:gd name="T67" fmla="*/ 398090018 h 78"/>
              <a:gd name="T68" fmla="*/ 252890867 w 96"/>
              <a:gd name="T69" fmla="*/ 336844704 h 78"/>
              <a:gd name="T70" fmla="*/ 313583505 w 96"/>
              <a:gd name="T71" fmla="*/ 290911849 h 78"/>
              <a:gd name="T72" fmla="*/ 288296218 w 96"/>
              <a:gd name="T73" fmla="*/ 260289192 h 78"/>
              <a:gd name="T74" fmla="*/ 273122496 w 96"/>
              <a:gd name="T75" fmla="*/ 296015249 h 78"/>
              <a:gd name="T76" fmla="*/ 263006681 w 96"/>
              <a:gd name="T77" fmla="*/ 301118648 h 78"/>
              <a:gd name="T78" fmla="*/ 273122496 w 96"/>
              <a:gd name="T79" fmla="*/ 255185793 h 78"/>
              <a:gd name="T80" fmla="*/ 348988856 w 96"/>
              <a:gd name="T81" fmla="*/ 244978994 h 78"/>
              <a:gd name="T82" fmla="*/ 323699320 w 96"/>
              <a:gd name="T83" fmla="*/ 311327706 h 78"/>
              <a:gd name="T84" fmla="*/ 485550104 w 96"/>
              <a:gd name="T85" fmla="*/ 321534506 h 78"/>
              <a:gd name="T86" fmla="*/ 404625836 w 96"/>
              <a:gd name="T87" fmla="*/ 362363961 h 78"/>
              <a:gd name="T88" fmla="*/ 35405351 w 96"/>
              <a:gd name="T89" fmla="*/ 336844704 h 78"/>
              <a:gd name="T90" fmla="*/ 80924268 w 96"/>
              <a:gd name="T91" fmla="*/ 362363961 h 7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96" h="78">
                <a:moveTo>
                  <a:pt x="80" y="71"/>
                </a:moveTo>
                <a:cubicBezTo>
                  <a:pt x="74" y="71"/>
                  <a:pt x="70" y="67"/>
                  <a:pt x="70" y="61"/>
                </a:cubicBezTo>
                <a:cubicBezTo>
                  <a:pt x="70" y="58"/>
                  <a:pt x="71" y="55"/>
                  <a:pt x="74" y="53"/>
                </a:cubicBezTo>
                <a:cubicBezTo>
                  <a:pt x="75" y="55"/>
                  <a:pt x="76" y="58"/>
                  <a:pt x="77" y="59"/>
                </a:cubicBezTo>
                <a:cubicBezTo>
                  <a:pt x="77" y="60"/>
                  <a:pt x="76" y="61"/>
                  <a:pt x="76" y="61"/>
                </a:cubicBezTo>
                <a:cubicBezTo>
                  <a:pt x="76" y="63"/>
                  <a:pt x="78" y="65"/>
                  <a:pt x="80" y="65"/>
                </a:cubicBezTo>
                <a:cubicBezTo>
                  <a:pt x="82" y="65"/>
                  <a:pt x="83" y="63"/>
                  <a:pt x="83" y="61"/>
                </a:cubicBezTo>
                <a:cubicBezTo>
                  <a:pt x="83" y="59"/>
                  <a:pt x="82" y="58"/>
                  <a:pt x="80" y="58"/>
                </a:cubicBezTo>
                <a:cubicBezTo>
                  <a:pt x="77" y="52"/>
                  <a:pt x="77" y="52"/>
                  <a:pt x="77" y="52"/>
                </a:cubicBezTo>
                <a:cubicBezTo>
                  <a:pt x="78" y="51"/>
                  <a:pt x="79" y="51"/>
                  <a:pt x="80" y="51"/>
                </a:cubicBezTo>
                <a:cubicBezTo>
                  <a:pt x="85" y="51"/>
                  <a:pt x="89" y="55"/>
                  <a:pt x="90" y="59"/>
                </a:cubicBezTo>
                <a:cubicBezTo>
                  <a:pt x="96" y="59"/>
                  <a:pt x="96" y="59"/>
                  <a:pt x="96" y="59"/>
                </a:cubicBezTo>
                <a:cubicBezTo>
                  <a:pt x="95" y="51"/>
                  <a:pt x="88" y="45"/>
                  <a:pt x="80" y="45"/>
                </a:cubicBezTo>
                <a:cubicBezTo>
                  <a:pt x="79" y="45"/>
                  <a:pt x="77" y="45"/>
                  <a:pt x="76" y="45"/>
                </a:cubicBezTo>
                <a:cubicBezTo>
                  <a:pt x="75" y="44"/>
                  <a:pt x="74" y="42"/>
                  <a:pt x="74" y="42"/>
                </a:cubicBezTo>
                <a:cubicBezTo>
                  <a:pt x="73" y="40"/>
                  <a:pt x="73" y="39"/>
                  <a:pt x="74" y="39"/>
                </a:cubicBezTo>
                <a:cubicBezTo>
                  <a:pt x="75" y="38"/>
                  <a:pt x="76" y="39"/>
                  <a:pt x="77" y="40"/>
                </a:cubicBezTo>
                <a:cubicBezTo>
                  <a:pt x="77" y="40"/>
                  <a:pt x="79" y="40"/>
                  <a:pt x="80" y="37"/>
                </a:cubicBezTo>
                <a:cubicBezTo>
                  <a:pt x="82" y="35"/>
                  <a:pt x="82" y="32"/>
                  <a:pt x="80" y="32"/>
                </a:cubicBezTo>
                <a:cubicBezTo>
                  <a:pt x="79" y="31"/>
                  <a:pt x="77" y="32"/>
                  <a:pt x="76" y="33"/>
                </a:cubicBezTo>
                <a:cubicBezTo>
                  <a:pt x="75" y="34"/>
                  <a:pt x="74" y="36"/>
                  <a:pt x="73" y="36"/>
                </a:cubicBezTo>
                <a:cubicBezTo>
                  <a:pt x="72" y="36"/>
                  <a:pt x="72" y="34"/>
                  <a:pt x="71" y="32"/>
                </a:cubicBezTo>
                <a:cubicBezTo>
                  <a:pt x="70" y="30"/>
                  <a:pt x="69" y="29"/>
                  <a:pt x="67" y="29"/>
                </a:cubicBezTo>
                <a:cubicBezTo>
                  <a:pt x="65" y="29"/>
                  <a:pt x="62" y="28"/>
                  <a:pt x="62" y="31"/>
                </a:cubicBezTo>
                <a:cubicBezTo>
                  <a:pt x="62" y="33"/>
                  <a:pt x="64" y="33"/>
                  <a:pt x="65" y="33"/>
                </a:cubicBezTo>
                <a:cubicBezTo>
                  <a:pt x="66" y="33"/>
                  <a:pt x="67" y="33"/>
                  <a:pt x="67" y="34"/>
                </a:cubicBezTo>
                <a:cubicBezTo>
                  <a:pt x="68" y="35"/>
                  <a:pt x="69" y="37"/>
                  <a:pt x="68" y="38"/>
                </a:cubicBezTo>
                <a:cubicBezTo>
                  <a:pt x="67" y="38"/>
                  <a:pt x="67" y="38"/>
                  <a:pt x="64" y="37"/>
                </a:cubicBezTo>
                <a:cubicBezTo>
                  <a:pt x="62" y="36"/>
                  <a:pt x="60" y="37"/>
                  <a:pt x="59" y="37"/>
                </a:cubicBezTo>
                <a:cubicBezTo>
                  <a:pt x="58" y="37"/>
                  <a:pt x="55" y="37"/>
                  <a:pt x="54" y="37"/>
                </a:cubicBezTo>
                <a:cubicBezTo>
                  <a:pt x="52" y="38"/>
                  <a:pt x="51" y="39"/>
                  <a:pt x="50" y="38"/>
                </a:cubicBezTo>
                <a:cubicBezTo>
                  <a:pt x="50" y="38"/>
                  <a:pt x="47" y="37"/>
                  <a:pt x="46" y="36"/>
                </a:cubicBezTo>
                <a:cubicBezTo>
                  <a:pt x="45" y="36"/>
                  <a:pt x="45" y="35"/>
                  <a:pt x="45" y="34"/>
                </a:cubicBezTo>
                <a:cubicBezTo>
                  <a:pt x="45" y="33"/>
                  <a:pt x="44" y="32"/>
                  <a:pt x="46" y="30"/>
                </a:cubicBezTo>
                <a:cubicBezTo>
                  <a:pt x="48" y="29"/>
                  <a:pt x="49" y="30"/>
                  <a:pt x="51" y="31"/>
                </a:cubicBezTo>
                <a:cubicBezTo>
                  <a:pt x="54" y="32"/>
                  <a:pt x="59" y="35"/>
                  <a:pt x="60" y="32"/>
                </a:cubicBezTo>
                <a:cubicBezTo>
                  <a:pt x="61" y="29"/>
                  <a:pt x="59" y="28"/>
                  <a:pt x="57" y="27"/>
                </a:cubicBezTo>
                <a:cubicBezTo>
                  <a:pt x="54" y="25"/>
                  <a:pt x="53" y="25"/>
                  <a:pt x="52" y="21"/>
                </a:cubicBezTo>
                <a:cubicBezTo>
                  <a:pt x="50" y="18"/>
                  <a:pt x="51" y="17"/>
                  <a:pt x="49" y="16"/>
                </a:cubicBezTo>
                <a:cubicBezTo>
                  <a:pt x="47" y="14"/>
                  <a:pt x="49" y="13"/>
                  <a:pt x="50" y="13"/>
                </a:cubicBezTo>
                <a:cubicBezTo>
                  <a:pt x="51" y="12"/>
                  <a:pt x="52" y="11"/>
                  <a:pt x="52" y="9"/>
                </a:cubicBezTo>
                <a:cubicBezTo>
                  <a:pt x="52" y="6"/>
                  <a:pt x="53" y="7"/>
                  <a:pt x="54" y="6"/>
                </a:cubicBezTo>
                <a:cubicBezTo>
                  <a:pt x="55" y="5"/>
                  <a:pt x="55" y="4"/>
                  <a:pt x="53" y="2"/>
                </a:cubicBezTo>
                <a:cubicBezTo>
                  <a:pt x="51" y="1"/>
                  <a:pt x="49" y="0"/>
                  <a:pt x="46" y="1"/>
                </a:cubicBezTo>
                <a:cubicBezTo>
                  <a:pt x="44" y="1"/>
                  <a:pt x="40" y="4"/>
                  <a:pt x="40" y="8"/>
                </a:cubicBezTo>
                <a:cubicBezTo>
                  <a:pt x="40" y="8"/>
                  <a:pt x="41" y="10"/>
                  <a:pt x="41" y="11"/>
                </a:cubicBezTo>
                <a:cubicBezTo>
                  <a:pt x="42" y="11"/>
                  <a:pt x="43" y="13"/>
                  <a:pt x="41" y="14"/>
                </a:cubicBezTo>
                <a:cubicBezTo>
                  <a:pt x="39" y="16"/>
                  <a:pt x="39" y="16"/>
                  <a:pt x="37" y="20"/>
                </a:cubicBezTo>
                <a:cubicBezTo>
                  <a:pt x="35" y="24"/>
                  <a:pt x="34" y="26"/>
                  <a:pt x="32" y="29"/>
                </a:cubicBezTo>
                <a:cubicBezTo>
                  <a:pt x="30" y="33"/>
                  <a:pt x="30" y="36"/>
                  <a:pt x="30" y="37"/>
                </a:cubicBezTo>
                <a:cubicBezTo>
                  <a:pt x="30" y="37"/>
                  <a:pt x="30" y="40"/>
                  <a:pt x="28" y="39"/>
                </a:cubicBezTo>
                <a:cubicBezTo>
                  <a:pt x="26" y="39"/>
                  <a:pt x="26" y="38"/>
                  <a:pt x="22" y="38"/>
                </a:cubicBezTo>
                <a:cubicBezTo>
                  <a:pt x="18" y="38"/>
                  <a:pt x="12" y="38"/>
                  <a:pt x="12" y="38"/>
                </a:cubicBezTo>
                <a:cubicBezTo>
                  <a:pt x="12" y="38"/>
                  <a:pt x="10" y="38"/>
                  <a:pt x="10" y="40"/>
                </a:cubicBezTo>
                <a:cubicBezTo>
                  <a:pt x="10" y="42"/>
                  <a:pt x="11" y="42"/>
                  <a:pt x="12" y="43"/>
                </a:cubicBezTo>
                <a:cubicBezTo>
                  <a:pt x="12" y="43"/>
                  <a:pt x="12" y="44"/>
                  <a:pt x="12" y="45"/>
                </a:cubicBezTo>
                <a:cubicBezTo>
                  <a:pt x="12" y="45"/>
                  <a:pt x="12" y="45"/>
                  <a:pt x="12" y="45"/>
                </a:cubicBezTo>
                <a:cubicBezTo>
                  <a:pt x="6" y="47"/>
                  <a:pt x="2" y="51"/>
                  <a:pt x="0" y="57"/>
                </a:cubicBezTo>
                <a:cubicBezTo>
                  <a:pt x="7" y="57"/>
                  <a:pt x="7" y="57"/>
                  <a:pt x="7" y="57"/>
                </a:cubicBezTo>
                <a:cubicBezTo>
                  <a:pt x="8" y="54"/>
                  <a:pt x="12" y="51"/>
                  <a:pt x="16" y="51"/>
                </a:cubicBezTo>
                <a:cubicBezTo>
                  <a:pt x="19" y="51"/>
                  <a:pt x="22" y="52"/>
                  <a:pt x="24" y="55"/>
                </a:cubicBezTo>
                <a:cubicBezTo>
                  <a:pt x="18" y="55"/>
                  <a:pt x="18" y="55"/>
                  <a:pt x="18" y="55"/>
                </a:cubicBezTo>
                <a:cubicBezTo>
                  <a:pt x="18" y="55"/>
                  <a:pt x="14" y="54"/>
                  <a:pt x="12" y="57"/>
                </a:cubicBezTo>
                <a:cubicBezTo>
                  <a:pt x="10" y="60"/>
                  <a:pt x="10" y="60"/>
                  <a:pt x="9" y="60"/>
                </a:cubicBezTo>
                <a:cubicBezTo>
                  <a:pt x="9" y="60"/>
                  <a:pt x="9" y="60"/>
                  <a:pt x="9" y="6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70"/>
                  <a:pt x="7" y="78"/>
                  <a:pt x="16" y="78"/>
                </a:cubicBezTo>
                <a:cubicBezTo>
                  <a:pt x="23" y="78"/>
                  <a:pt x="29" y="73"/>
                  <a:pt x="31" y="66"/>
                </a:cubicBezTo>
                <a:cubicBezTo>
                  <a:pt x="50" y="66"/>
                  <a:pt x="50" y="66"/>
                  <a:pt x="50" y="66"/>
                </a:cubicBezTo>
                <a:cubicBezTo>
                  <a:pt x="50" y="66"/>
                  <a:pt x="53" y="66"/>
                  <a:pt x="55" y="64"/>
                </a:cubicBezTo>
                <a:cubicBezTo>
                  <a:pt x="57" y="63"/>
                  <a:pt x="60" y="59"/>
                  <a:pt x="62" y="57"/>
                </a:cubicBezTo>
                <a:cubicBezTo>
                  <a:pt x="63" y="55"/>
                  <a:pt x="64" y="53"/>
                  <a:pt x="62" y="52"/>
                </a:cubicBezTo>
                <a:cubicBezTo>
                  <a:pt x="60" y="50"/>
                  <a:pt x="59" y="50"/>
                  <a:pt x="57" y="51"/>
                </a:cubicBezTo>
                <a:cubicBezTo>
                  <a:pt x="56" y="53"/>
                  <a:pt x="55" y="54"/>
                  <a:pt x="55" y="54"/>
                </a:cubicBezTo>
                <a:cubicBezTo>
                  <a:pt x="55" y="54"/>
                  <a:pt x="53" y="56"/>
                  <a:pt x="54" y="58"/>
                </a:cubicBezTo>
                <a:cubicBezTo>
                  <a:pt x="55" y="59"/>
                  <a:pt x="55" y="61"/>
                  <a:pt x="54" y="61"/>
                </a:cubicBezTo>
                <a:cubicBezTo>
                  <a:pt x="54" y="62"/>
                  <a:pt x="53" y="61"/>
                  <a:pt x="52" y="59"/>
                </a:cubicBezTo>
                <a:cubicBezTo>
                  <a:pt x="51" y="57"/>
                  <a:pt x="49" y="56"/>
                  <a:pt x="50" y="54"/>
                </a:cubicBezTo>
                <a:cubicBezTo>
                  <a:pt x="51" y="52"/>
                  <a:pt x="54" y="50"/>
                  <a:pt x="54" y="50"/>
                </a:cubicBezTo>
                <a:cubicBezTo>
                  <a:pt x="54" y="50"/>
                  <a:pt x="55" y="48"/>
                  <a:pt x="56" y="48"/>
                </a:cubicBezTo>
                <a:cubicBezTo>
                  <a:pt x="58" y="48"/>
                  <a:pt x="69" y="48"/>
                  <a:pt x="69" y="48"/>
                </a:cubicBezTo>
                <a:cubicBezTo>
                  <a:pt x="69" y="48"/>
                  <a:pt x="70" y="48"/>
                  <a:pt x="70" y="48"/>
                </a:cubicBezTo>
                <a:cubicBezTo>
                  <a:pt x="66" y="51"/>
                  <a:pt x="64" y="56"/>
                  <a:pt x="64" y="61"/>
                </a:cubicBezTo>
                <a:cubicBezTo>
                  <a:pt x="64" y="70"/>
                  <a:pt x="71" y="78"/>
                  <a:pt x="80" y="78"/>
                </a:cubicBezTo>
                <a:cubicBezTo>
                  <a:pt x="88" y="78"/>
                  <a:pt x="95" y="71"/>
                  <a:pt x="96" y="63"/>
                </a:cubicBezTo>
                <a:cubicBezTo>
                  <a:pt x="90" y="63"/>
                  <a:pt x="90" y="63"/>
                  <a:pt x="90" y="63"/>
                </a:cubicBezTo>
                <a:cubicBezTo>
                  <a:pt x="89" y="68"/>
                  <a:pt x="85" y="71"/>
                  <a:pt x="80" y="71"/>
                </a:cubicBezTo>
                <a:close/>
                <a:moveTo>
                  <a:pt x="16" y="71"/>
                </a:moveTo>
                <a:cubicBezTo>
                  <a:pt x="12" y="71"/>
                  <a:pt x="9" y="69"/>
                  <a:pt x="7" y="66"/>
                </a:cubicBezTo>
                <a:cubicBezTo>
                  <a:pt x="25" y="66"/>
                  <a:pt x="25" y="66"/>
                  <a:pt x="25" y="66"/>
                </a:cubicBezTo>
                <a:cubicBezTo>
                  <a:pt x="23" y="69"/>
                  <a:pt x="20" y="71"/>
                  <a:pt x="16" y="7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8" name="Freeform 39"/>
          <p:cNvSpPr>
            <a:spLocks/>
          </p:cNvSpPr>
          <p:nvPr/>
        </p:nvSpPr>
        <p:spPr bwMode="auto">
          <a:xfrm>
            <a:off x="2053168" y="3249085"/>
            <a:ext cx="40217" cy="21167"/>
          </a:xfrm>
          <a:custGeom>
            <a:avLst/>
            <a:gdLst>
              <a:gd name="T0" fmla="*/ 43068124 w 13"/>
              <a:gd name="T1" fmla="*/ 0 h 7"/>
              <a:gd name="T2" fmla="*/ 21534062 w 13"/>
              <a:gd name="T3" fmla="*/ 0 h 7"/>
              <a:gd name="T4" fmla="*/ 0 w 13"/>
              <a:gd name="T5" fmla="*/ 36002232 h 7"/>
              <a:gd name="T6" fmla="*/ 69985121 w 13"/>
              <a:gd name="T7" fmla="*/ 36002232 h 7"/>
              <a:gd name="T8" fmla="*/ 43068124 w 13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7">
                <a:moveTo>
                  <a:pt x="8" y="0"/>
                </a:moveTo>
                <a:cubicBezTo>
                  <a:pt x="4" y="0"/>
                  <a:pt x="4" y="0"/>
                  <a:pt x="4" y="0"/>
                </a:cubicBezTo>
                <a:cubicBezTo>
                  <a:pt x="4" y="3"/>
                  <a:pt x="2" y="6"/>
                  <a:pt x="0" y="7"/>
                </a:cubicBezTo>
                <a:cubicBezTo>
                  <a:pt x="13" y="7"/>
                  <a:pt x="13" y="7"/>
                  <a:pt x="13" y="7"/>
                </a:cubicBezTo>
                <a:cubicBezTo>
                  <a:pt x="10" y="6"/>
                  <a:pt x="8" y="3"/>
                  <a:pt x="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29" name="Freeform 40"/>
          <p:cNvSpPr>
            <a:spLocks/>
          </p:cNvSpPr>
          <p:nvPr/>
        </p:nvSpPr>
        <p:spPr bwMode="auto">
          <a:xfrm>
            <a:off x="2260601" y="3249085"/>
            <a:ext cx="40217" cy="21167"/>
          </a:xfrm>
          <a:custGeom>
            <a:avLst/>
            <a:gdLst>
              <a:gd name="T0" fmla="*/ 0 w 13"/>
              <a:gd name="T1" fmla="*/ 36002232 h 7"/>
              <a:gd name="T2" fmla="*/ 69985121 w 13"/>
              <a:gd name="T3" fmla="*/ 36002232 h 7"/>
              <a:gd name="T4" fmla="*/ 43068124 w 13"/>
              <a:gd name="T5" fmla="*/ 0 h 7"/>
              <a:gd name="T6" fmla="*/ 26916997 w 13"/>
              <a:gd name="T7" fmla="*/ 0 h 7"/>
              <a:gd name="T8" fmla="*/ 0 w 13"/>
              <a:gd name="T9" fmla="*/ 36002232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7">
                <a:moveTo>
                  <a:pt x="0" y="7"/>
                </a:moveTo>
                <a:cubicBezTo>
                  <a:pt x="13" y="7"/>
                  <a:pt x="13" y="7"/>
                  <a:pt x="13" y="7"/>
                </a:cubicBezTo>
                <a:cubicBezTo>
                  <a:pt x="10" y="6"/>
                  <a:pt x="8" y="3"/>
                  <a:pt x="8" y="0"/>
                </a:cubicBezTo>
                <a:cubicBezTo>
                  <a:pt x="5" y="0"/>
                  <a:pt x="5" y="0"/>
                  <a:pt x="5" y="0"/>
                </a:cubicBezTo>
                <a:cubicBezTo>
                  <a:pt x="5" y="3"/>
                  <a:pt x="3" y="6"/>
                  <a:pt x="0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0" name="Freeform 41"/>
          <p:cNvSpPr>
            <a:spLocks/>
          </p:cNvSpPr>
          <p:nvPr/>
        </p:nvSpPr>
        <p:spPr bwMode="auto">
          <a:xfrm>
            <a:off x="2106085" y="3249085"/>
            <a:ext cx="139700" cy="21167"/>
          </a:xfrm>
          <a:custGeom>
            <a:avLst/>
            <a:gdLst>
              <a:gd name="T0" fmla="*/ 0 w 47"/>
              <a:gd name="T1" fmla="*/ 36002232 h 7"/>
              <a:gd name="T2" fmla="*/ 233570226 w 47"/>
              <a:gd name="T3" fmla="*/ 36002232 h 7"/>
              <a:gd name="T4" fmla="*/ 213691956 w 47"/>
              <a:gd name="T5" fmla="*/ 0 h 7"/>
              <a:gd name="T6" fmla="*/ 24847280 w 47"/>
              <a:gd name="T7" fmla="*/ 0 h 7"/>
              <a:gd name="T8" fmla="*/ 0 w 47"/>
              <a:gd name="T9" fmla="*/ 36002232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7">
                <a:moveTo>
                  <a:pt x="0" y="7"/>
                </a:moveTo>
                <a:cubicBezTo>
                  <a:pt x="47" y="7"/>
                  <a:pt x="47" y="7"/>
                  <a:pt x="47" y="7"/>
                </a:cubicBezTo>
                <a:cubicBezTo>
                  <a:pt x="45" y="6"/>
                  <a:pt x="43" y="3"/>
                  <a:pt x="43" y="0"/>
                </a:cubicBezTo>
                <a:cubicBezTo>
                  <a:pt x="5" y="0"/>
                  <a:pt x="5" y="0"/>
                  <a:pt x="5" y="0"/>
                </a:cubicBezTo>
                <a:cubicBezTo>
                  <a:pt x="5" y="3"/>
                  <a:pt x="3" y="6"/>
                  <a:pt x="0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1" name="Freeform 42"/>
          <p:cNvSpPr>
            <a:spLocks/>
          </p:cNvSpPr>
          <p:nvPr/>
        </p:nvSpPr>
        <p:spPr bwMode="auto">
          <a:xfrm>
            <a:off x="2048933" y="3111500"/>
            <a:ext cx="0" cy="2117"/>
          </a:xfrm>
          <a:custGeom>
            <a:avLst/>
            <a:gdLst>
              <a:gd name="T0" fmla="*/ 0 h 1"/>
              <a:gd name="T1" fmla="*/ 0 h 1"/>
              <a:gd name="T2" fmla="*/ 2521744 h 1"/>
              <a:gd name="T3" fmla="*/ 0 h 1"/>
              <a:gd name="T4" fmla="*/ 0 60000 65536"/>
              <a:gd name="T5" fmla="*/ 0 60000 65536"/>
              <a:gd name="T6" fmla="*/ 0 60000 65536"/>
              <a:gd name="T7" fmla="*/ 0 60000 65536"/>
            </a:gdLst>
            <a:ahLst/>
            <a:cxnLst>
              <a:cxn ang="T4">
                <a:pos x="0" y="T0"/>
              </a:cxn>
              <a:cxn ang="T5">
                <a:pos x="0" y="T1"/>
              </a:cxn>
              <a:cxn ang="T6">
                <a:pos x="0" y="T2"/>
              </a:cxn>
              <a:cxn ang="T7">
                <a:pos x="0" y="T3"/>
              </a:cxn>
            </a:cxnLst>
            <a:rect l="0" t="0" r="r" b="b"/>
            <a:pathLst>
              <a:path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2" name="Freeform 43"/>
          <p:cNvSpPr>
            <a:spLocks/>
          </p:cNvSpPr>
          <p:nvPr/>
        </p:nvSpPr>
        <p:spPr bwMode="auto">
          <a:xfrm>
            <a:off x="2057400" y="3098800"/>
            <a:ext cx="52917" cy="27517"/>
          </a:xfrm>
          <a:custGeom>
            <a:avLst/>
            <a:gdLst>
              <a:gd name="T0" fmla="*/ 43753815 w 18"/>
              <a:gd name="T1" fmla="*/ 47325227 h 9"/>
              <a:gd name="T2" fmla="*/ 43753815 w 18"/>
              <a:gd name="T3" fmla="*/ 47325227 h 9"/>
              <a:gd name="T4" fmla="*/ 43753815 w 18"/>
              <a:gd name="T5" fmla="*/ 47325227 h 9"/>
              <a:gd name="T6" fmla="*/ 87507630 w 18"/>
              <a:gd name="T7" fmla="*/ 21032415 h 9"/>
              <a:gd name="T8" fmla="*/ 43753815 w 18"/>
              <a:gd name="T9" fmla="*/ 0 h 9"/>
              <a:gd name="T10" fmla="*/ 43753815 w 18"/>
              <a:gd name="T11" fmla="*/ 0 h 9"/>
              <a:gd name="T12" fmla="*/ 43753815 w 18"/>
              <a:gd name="T13" fmla="*/ 0 h 9"/>
              <a:gd name="T14" fmla="*/ 43753815 w 18"/>
              <a:gd name="T15" fmla="*/ 0 h 9"/>
              <a:gd name="T16" fmla="*/ 0 w 18"/>
              <a:gd name="T17" fmla="*/ 21032415 h 9"/>
              <a:gd name="T18" fmla="*/ 43753815 w 18"/>
              <a:gd name="T19" fmla="*/ 47325227 h 9"/>
              <a:gd name="T20" fmla="*/ 43753815 w 18"/>
              <a:gd name="T21" fmla="*/ 47325227 h 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8" h="9">
                <a:moveTo>
                  <a:pt x="9" y="9"/>
                </a:move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ubicBezTo>
                  <a:pt x="18" y="4"/>
                  <a:pt x="18" y="4"/>
                  <a:pt x="18" y="4"/>
                </a:cubicBezTo>
                <a:cubicBezTo>
                  <a:pt x="9" y="0"/>
                  <a:pt x="9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0" y="4"/>
                  <a:pt x="0" y="4"/>
                  <a:pt x="0" y="4"/>
                </a:cubicBez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3" name="Freeform 44"/>
          <p:cNvSpPr>
            <a:spLocks/>
          </p:cNvSpPr>
          <p:nvPr/>
        </p:nvSpPr>
        <p:spPr bwMode="auto">
          <a:xfrm>
            <a:off x="1873252" y="3213100"/>
            <a:ext cx="613833" cy="304800"/>
          </a:xfrm>
          <a:custGeom>
            <a:avLst/>
            <a:gdLst>
              <a:gd name="T0" fmla="*/ 835230830 w 204"/>
              <a:gd name="T1" fmla="*/ 0 h 101"/>
              <a:gd name="T2" fmla="*/ 835230830 w 204"/>
              <a:gd name="T3" fmla="*/ 40982774 h 101"/>
              <a:gd name="T4" fmla="*/ 814859237 w 204"/>
              <a:gd name="T5" fmla="*/ 61473030 h 101"/>
              <a:gd name="T6" fmla="*/ 769024843 w 204"/>
              <a:gd name="T7" fmla="*/ 61473030 h 101"/>
              <a:gd name="T8" fmla="*/ 743559787 w 204"/>
              <a:gd name="T9" fmla="*/ 97333806 h 101"/>
              <a:gd name="T10" fmla="*/ 819952699 w 204"/>
              <a:gd name="T11" fmla="*/ 97333806 h 101"/>
              <a:gd name="T12" fmla="*/ 835230830 w 204"/>
              <a:gd name="T13" fmla="*/ 107580065 h 101"/>
              <a:gd name="T14" fmla="*/ 819952699 w 204"/>
              <a:gd name="T15" fmla="*/ 117824061 h 101"/>
              <a:gd name="T16" fmla="*/ 213900606 w 204"/>
              <a:gd name="T17" fmla="*/ 117824061 h 101"/>
              <a:gd name="T18" fmla="*/ 203715938 w 204"/>
              <a:gd name="T19" fmla="*/ 107580065 h 101"/>
              <a:gd name="T20" fmla="*/ 213900606 w 204"/>
              <a:gd name="T21" fmla="*/ 97333806 h 101"/>
              <a:gd name="T22" fmla="*/ 280108850 w 204"/>
              <a:gd name="T23" fmla="*/ 97333806 h 101"/>
              <a:gd name="T24" fmla="*/ 254643794 w 204"/>
              <a:gd name="T25" fmla="*/ 61473030 h 101"/>
              <a:gd name="T26" fmla="*/ 224087531 w 204"/>
              <a:gd name="T27" fmla="*/ 61473030 h 101"/>
              <a:gd name="T28" fmla="*/ 203715938 w 204"/>
              <a:gd name="T29" fmla="*/ 40982774 h 101"/>
              <a:gd name="T30" fmla="*/ 203715938 w 204"/>
              <a:gd name="T31" fmla="*/ 0 h 101"/>
              <a:gd name="T32" fmla="*/ 0 w 204"/>
              <a:gd name="T33" fmla="*/ 0 h 101"/>
              <a:gd name="T34" fmla="*/ 15278131 w 204"/>
              <a:gd name="T35" fmla="*/ 35860776 h 101"/>
              <a:gd name="T36" fmla="*/ 15278131 w 204"/>
              <a:gd name="T37" fmla="*/ 35860776 h 101"/>
              <a:gd name="T38" fmla="*/ 473637862 w 204"/>
              <a:gd name="T39" fmla="*/ 496915289 h 101"/>
              <a:gd name="T40" fmla="*/ 519474512 w 204"/>
              <a:gd name="T41" fmla="*/ 517405545 h 101"/>
              <a:gd name="T42" fmla="*/ 519474512 w 204"/>
              <a:gd name="T43" fmla="*/ 517405545 h 101"/>
              <a:gd name="T44" fmla="*/ 565308906 w 204"/>
              <a:gd name="T45" fmla="*/ 496915289 h 101"/>
              <a:gd name="T46" fmla="*/ 1023668637 w 204"/>
              <a:gd name="T47" fmla="*/ 35860776 h 101"/>
              <a:gd name="T48" fmla="*/ 1038946768 w 204"/>
              <a:gd name="T49" fmla="*/ 0 h 101"/>
              <a:gd name="T50" fmla="*/ 835230830 w 204"/>
              <a:gd name="T51" fmla="*/ 0 h 10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204" h="101">
                <a:moveTo>
                  <a:pt x="164" y="0"/>
                </a:moveTo>
                <a:cubicBezTo>
                  <a:pt x="164" y="8"/>
                  <a:pt x="164" y="8"/>
                  <a:pt x="164" y="8"/>
                </a:cubicBezTo>
                <a:cubicBezTo>
                  <a:pt x="164" y="8"/>
                  <a:pt x="165" y="12"/>
                  <a:pt x="160" y="12"/>
                </a:cubicBezTo>
                <a:cubicBezTo>
                  <a:pt x="151" y="12"/>
                  <a:pt x="151" y="12"/>
                  <a:pt x="151" y="12"/>
                </a:cubicBezTo>
                <a:cubicBezTo>
                  <a:pt x="151" y="15"/>
                  <a:pt x="149" y="18"/>
                  <a:pt x="146" y="19"/>
                </a:cubicBezTo>
                <a:cubicBezTo>
                  <a:pt x="161" y="19"/>
                  <a:pt x="161" y="19"/>
                  <a:pt x="161" y="19"/>
                </a:cubicBezTo>
                <a:cubicBezTo>
                  <a:pt x="163" y="19"/>
                  <a:pt x="164" y="20"/>
                  <a:pt x="164" y="21"/>
                </a:cubicBezTo>
                <a:cubicBezTo>
                  <a:pt x="164" y="22"/>
                  <a:pt x="163" y="23"/>
                  <a:pt x="161" y="23"/>
                </a:cubicBezTo>
                <a:cubicBezTo>
                  <a:pt x="42" y="23"/>
                  <a:pt x="42" y="23"/>
                  <a:pt x="42" y="23"/>
                </a:cubicBezTo>
                <a:cubicBezTo>
                  <a:pt x="41" y="23"/>
                  <a:pt x="40" y="22"/>
                  <a:pt x="40" y="21"/>
                </a:cubicBezTo>
                <a:cubicBezTo>
                  <a:pt x="40" y="20"/>
                  <a:pt x="41" y="19"/>
                  <a:pt x="42" y="19"/>
                </a:cubicBezTo>
                <a:cubicBezTo>
                  <a:pt x="55" y="19"/>
                  <a:pt x="55" y="19"/>
                  <a:pt x="55" y="19"/>
                </a:cubicBezTo>
                <a:cubicBezTo>
                  <a:pt x="52" y="18"/>
                  <a:pt x="50" y="15"/>
                  <a:pt x="50" y="12"/>
                </a:cubicBezTo>
                <a:cubicBezTo>
                  <a:pt x="44" y="12"/>
                  <a:pt x="44" y="12"/>
                  <a:pt x="44" y="12"/>
                </a:cubicBezTo>
                <a:cubicBezTo>
                  <a:pt x="39" y="12"/>
                  <a:pt x="40" y="8"/>
                  <a:pt x="40" y="8"/>
                </a:cubicBezTo>
                <a:cubicBezTo>
                  <a:pt x="40" y="0"/>
                  <a:pt x="40" y="0"/>
                  <a:pt x="4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1" y="5"/>
                  <a:pt x="3" y="7"/>
                </a:cubicBezTo>
                <a:cubicBezTo>
                  <a:pt x="3" y="7"/>
                  <a:pt x="3" y="7"/>
                  <a:pt x="3" y="7"/>
                </a:cubicBezTo>
                <a:cubicBezTo>
                  <a:pt x="93" y="97"/>
                  <a:pt x="93" y="97"/>
                  <a:pt x="93" y="97"/>
                </a:cubicBezTo>
                <a:cubicBezTo>
                  <a:pt x="95" y="99"/>
                  <a:pt x="99" y="101"/>
                  <a:pt x="102" y="101"/>
                </a:cubicBezTo>
                <a:cubicBezTo>
                  <a:pt x="102" y="101"/>
                  <a:pt x="102" y="101"/>
                  <a:pt x="102" y="101"/>
                </a:cubicBezTo>
                <a:cubicBezTo>
                  <a:pt x="105" y="101"/>
                  <a:pt x="109" y="99"/>
                  <a:pt x="111" y="97"/>
                </a:cubicBezTo>
                <a:cubicBezTo>
                  <a:pt x="201" y="7"/>
                  <a:pt x="201" y="7"/>
                  <a:pt x="201" y="7"/>
                </a:cubicBezTo>
                <a:cubicBezTo>
                  <a:pt x="203" y="5"/>
                  <a:pt x="204" y="3"/>
                  <a:pt x="204" y="0"/>
                </a:cubicBezTo>
                <a:lnTo>
                  <a:pt x="16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4" name="Freeform 45"/>
          <p:cNvSpPr>
            <a:spLocks/>
          </p:cNvSpPr>
          <p:nvPr/>
        </p:nvSpPr>
        <p:spPr bwMode="auto">
          <a:xfrm>
            <a:off x="1873252" y="2897717"/>
            <a:ext cx="613833" cy="302683"/>
          </a:xfrm>
          <a:custGeom>
            <a:avLst/>
            <a:gdLst>
              <a:gd name="T0" fmla="*/ 203715938 w 204"/>
              <a:gd name="T1" fmla="*/ 510244308 h 101"/>
              <a:gd name="T2" fmla="*/ 203715938 w 204"/>
              <a:gd name="T3" fmla="*/ 464776727 h 101"/>
              <a:gd name="T4" fmla="*/ 254643794 w 204"/>
              <a:gd name="T5" fmla="*/ 399102830 h 101"/>
              <a:gd name="T6" fmla="*/ 331036706 w 204"/>
              <a:gd name="T7" fmla="*/ 399102830 h 101"/>
              <a:gd name="T8" fmla="*/ 285200056 w 204"/>
              <a:gd name="T9" fmla="*/ 373841563 h 101"/>
              <a:gd name="T10" fmla="*/ 285200056 w 204"/>
              <a:gd name="T11" fmla="*/ 373841563 h 101"/>
              <a:gd name="T12" fmla="*/ 280108850 w 204"/>
              <a:gd name="T13" fmla="*/ 358685703 h 101"/>
              <a:gd name="T14" fmla="*/ 285200056 w 204"/>
              <a:gd name="T15" fmla="*/ 343529842 h 101"/>
              <a:gd name="T16" fmla="*/ 341223631 w 204"/>
              <a:gd name="T17" fmla="*/ 313220369 h 101"/>
              <a:gd name="T18" fmla="*/ 356501762 w 204"/>
              <a:gd name="T19" fmla="*/ 313220369 h 101"/>
              <a:gd name="T20" fmla="*/ 371779893 w 204"/>
              <a:gd name="T21" fmla="*/ 313220369 h 101"/>
              <a:gd name="T22" fmla="*/ 427801212 w 204"/>
              <a:gd name="T23" fmla="*/ 343529842 h 101"/>
              <a:gd name="T24" fmla="*/ 432894675 w 204"/>
              <a:gd name="T25" fmla="*/ 358685703 h 101"/>
              <a:gd name="T26" fmla="*/ 427801212 w 204"/>
              <a:gd name="T27" fmla="*/ 373841563 h 101"/>
              <a:gd name="T28" fmla="*/ 381966819 w 204"/>
              <a:gd name="T29" fmla="*/ 399102830 h 101"/>
              <a:gd name="T30" fmla="*/ 697723137 w 204"/>
              <a:gd name="T31" fmla="*/ 399102830 h 101"/>
              <a:gd name="T32" fmla="*/ 784302974 w 204"/>
              <a:gd name="T33" fmla="*/ 399102830 h 101"/>
              <a:gd name="T34" fmla="*/ 835230830 w 204"/>
              <a:gd name="T35" fmla="*/ 464776727 h 101"/>
              <a:gd name="T36" fmla="*/ 835230830 w 204"/>
              <a:gd name="T37" fmla="*/ 510244308 h 101"/>
              <a:gd name="T38" fmla="*/ 1038946768 w 204"/>
              <a:gd name="T39" fmla="*/ 510244308 h 101"/>
              <a:gd name="T40" fmla="*/ 1023668637 w 204"/>
              <a:gd name="T41" fmla="*/ 474879885 h 101"/>
              <a:gd name="T42" fmla="*/ 565308906 w 204"/>
              <a:gd name="T43" fmla="*/ 20208563 h 101"/>
              <a:gd name="T44" fmla="*/ 519474512 w 204"/>
              <a:gd name="T45" fmla="*/ 0 h 101"/>
              <a:gd name="T46" fmla="*/ 473637862 w 204"/>
              <a:gd name="T47" fmla="*/ 20208563 h 101"/>
              <a:gd name="T48" fmla="*/ 15278131 w 204"/>
              <a:gd name="T49" fmla="*/ 474879885 h 101"/>
              <a:gd name="T50" fmla="*/ 0 w 204"/>
              <a:gd name="T51" fmla="*/ 510244308 h 101"/>
              <a:gd name="T52" fmla="*/ 203715938 w 204"/>
              <a:gd name="T53" fmla="*/ 510244308 h 10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04" h="101">
                <a:moveTo>
                  <a:pt x="40" y="101"/>
                </a:moveTo>
                <a:cubicBezTo>
                  <a:pt x="40" y="92"/>
                  <a:pt x="40" y="92"/>
                  <a:pt x="40" y="92"/>
                </a:cubicBezTo>
                <a:cubicBezTo>
                  <a:pt x="40" y="92"/>
                  <a:pt x="38" y="79"/>
                  <a:pt x="50" y="79"/>
                </a:cubicBezTo>
                <a:cubicBezTo>
                  <a:pt x="59" y="79"/>
                  <a:pt x="64" y="79"/>
                  <a:pt x="65" y="79"/>
                </a:cubicBezTo>
                <a:cubicBezTo>
                  <a:pt x="56" y="74"/>
                  <a:pt x="56" y="74"/>
                  <a:pt x="56" y="74"/>
                </a:cubicBezTo>
                <a:cubicBezTo>
                  <a:pt x="56" y="74"/>
                  <a:pt x="56" y="74"/>
                  <a:pt x="56" y="74"/>
                </a:cubicBezTo>
                <a:cubicBezTo>
                  <a:pt x="56" y="74"/>
                  <a:pt x="55" y="73"/>
                  <a:pt x="55" y="71"/>
                </a:cubicBezTo>
                <a:cubicBezTo>
                  <a:pt x="55" y="70"/>
                  <a:pt x="56" y="69"/>
                  <a:pt x="56" y="68"/>
                </a:cubicBezTo>
                <a:cubicBezTo>
                  <a:pt x="67" y="62"/>
                  <a:pt x="67" y="62"/>
                  <a:pt x="67" y="62"/>
                </a:cubicBezTo>
                <a:cubicBezTo>
                  <a:pt x="68" y="62"/>
                  <a:pt x="69" y="62"/>
                  <a:pt x="70" y="62"/>
                </a:cubicBezTo>
                <a:cubicBezTo>
                  <a:pt x="71" y="62"/>
                  <a:pt x="72" y="62"/>
                  <a:pt x="73" y="62"/>
                </a:cubicBezTo>
                <a:cubicBezTo>
                  <a:pt x="84" y="68"/>
                  <a:pt x="84" y="68"/>
                  <a:pt x="84" y="68"/>
                </a:cubicBezTo>
                <a:cubicBezTo>
                  <a:pt x="84" y="69"/>
                  <a:pt x="85" y="70"/>
                  <a:pt x="85" y="71"/>
                </a:cubicBezTo>
                <a:cubicBezTo>
                  <a:pt x="85" y="73"/>
                  <a:pt x="84" y="74"/>
                  <a:pt x="84" y="74"/>
                </a:cubicBezTo>
                <a:cubicBezTo>
                  <a:pt x="75" y="79"/>
                  <a:pt x="75" y="79"/>
                  <a:pt x="75" y="79"/>
                </a:cubicBezTo>
                <a:cubicBezTo>
                  <a:pt x="137" y="79"/>
                  <a:pt x="137" y="79"/>
                  <a:pt x="137" y="79"/>
                </a:cubicBezTo>
                <a:cubicBezTo>
                  <a:pt x="137" y="79"/>
                  <a:pt x="142" y="79"/>
                  <a:pt x="154" y="79"/>
                </a:cubicBezTo>
                <a:cubicBezTo>
                  <a:pt x="166" y="79"/>
                  <a:pt x="164" y="92"/>
                  <a:pt x="164" y="92"/>
                </a:cubicBezTo>
                <a:cubicBezTo>
                  <a:pt x="164" y="101"/>
                  <a:pt x="164" y="101"/>
                  <a:pt x="164" y="101"/>
                </a:cubicBezTo>
                <a:cubicBezTo>
                  <a:pt x="204" y="101"/>
                  <a:pt x="204" y="101"/>
                  <a:pt x="204" y="101"/>
                </a:cubicBezTo>
                <a:cubicBezTo>
                  <a:pt x="204" y="98"/>
                  <a:pt x="203" y="96"/>
                  <a:pt x="201" y="94"/>
                </a:cubicBezTo>
                <a:cubicBezTo>
                  <a:pt x="111" y="4"/>
                  <a:pt x="111" y="4"/>
                  <a:pt x="111" y="4"/>
                </a:cubicBezTo>
                <a:cubicBezTo>
                  <a:pt x="109" y="2"/>
                  <a:pt x="105" y="0"/>
                  <a:pt x="102" y="0"/>
                </a:cubicBezTo>
                <a:cubicBezTo>
                  <a:pt x="99" y="0"/>
                  <a:pt x="95" y="2"/>
                  <a:pt x="93" y="4"/>
                </a:cubicBezTo>
                <a:cubicBezTo>
                  <a:pt x="3" y="94"/>
                  <a:pt x="3" y="94"/>
                  <a:pt x="3" y="94"/>
                </a:cubicBezTo>
                <a:cubicBezTo>
                  <a:pt x="1" y="96"/>
                  <a:pt x="0" y="98"/>
                  <a:pt x="0" y="101"/>
                </a:cubicBezTo>
                <a:lnTo>
                  <a:pt x="40" y="1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5" name="Freeform 46"/>
          <p:cNvSpPr>
            <a:spLocks/>
          </p:cNvSpPr>
          <p:nvPr/>
        </p:nvSpPr>
        <p:spPr bwMode="auto">
          <a:xfrm>
            <a:off x="2021417" y="3160185"/>
            <a:ext cx="23283" cy="38100"/>
          </a:xfrm>
          <a:custGeom>
            <a:avLst/>
            <a:gdLst>
              <a:gd name="T0" fmla="*/ 9529887 w 8"/>
              <a:gd name="T1" fmla="*/ 62810048 h 13"/>
              <a:gd name="T2" fmla="*/ 28587477 w 8"/>
              <a:gd name="T3" fmla="*/ 62810048 h 13"/>
              <a:gd name="T4" fmla="*/ 38117363 w 8"/>
              <a:gd name="T5" fmla="*/ 53147302 h 13"/>
              <a:gd name="T6" fmla="*/ 38117363 w 8"/>
              <a:gd name="T7" fmla="*/ 14494119 h 13"/>
              <a:gd name="T8" fmla="*/ 28587477 w 8"/>
              <a:gd name="T9" fmla="*/ 0 h 13"/>
              <a:gd name="T10" fmla="*/ 9529887 w 8"/>
              <a:gd name="T11" fmla="*/ 0 h 13"/>
              <a:gd name="T12" fmla="*/ 0 w 8"/>
              <a:gd name="T13" fmla="*/ 14494119 h 13"/>
              <a:gd name="T14" fmla="*/ 0 w 8"/>
              <a:gd name="T15" fmla="*/ 53147302 h 13"/>
              <a:gd name="T16" fmla="*/ 9529887 w 8"/>
              <a:gd name="T17" fmla="*/ 62810048 h 1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" h="13">
                <a:moveTo>
                  <a:pt x="2" y="13"/>
                </a:moveTo>
                <a:cubicBezTo>
                  <a:pt x="6" y="13"/>
                  <a:pt x="6" y="13"/>
                  <a:pt x="6" y="13"/>
                </a:cubicBezTo>
                <a:cubicBezTo>
                  <a:pt x="7" y="13"/>
                  <a:pt x="8" y="12"/>
                  <a:pt x="8" y="11"/>
                </a:cubicBezTo>
                <a:cubicBezTo>
                  <a:pt x="8" y="3"/>
                  <a:pt x="8" y="3"/>
                  <a:pt x="8" y="3"/>
                </a:cubicBezTo>
                <a:cubicBezTo>
                  <a:pt x="8" y="1"/>
                  <a:pt x="7" y="0"/>
                  <a:pt x="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2"/>
                  <a:pt x="1" y="13"/>
                  <a:pt x="2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6" name="Freeform 47"/>
          <p:cNvSpPr>
            <a:spLocks/>
          </p:cNvSpPr>
          <p:nvPr/>
        </p:nvSpPr>
        <p:spPr bwMode="auto">
          <a:xfrm>
            <a:off x="2309284" y="3160185"/>
            <a:ext cx="25400" cy="38100"/>
          </a:xfrm>
          <a:custGeom>
            <a:avLst/>
            <a:gdLst>
              <a:gd name="T0" fmla="*/ 11341894 w 8"/>
              <a:gd name="T1" fmla="*/ 62810048 h 13"/>
              <a:gd name="T2" fmla="*/ 34023300 w 8"/>
              <a:gd name="T3" fmla="*/ 62810048 h 13"/>
              <a:gd name="T4" fmla="*/ 45362813 w 8"/>
              <a:gd name="T5" fmla="*/ 53147302 h 13"/>
              <a:gd name="T6" fmla="*/ 45362813 w 8"/>
              <a:gd name="T7" fmla="*/ 14494119 h 13"/>
              <a:gd name="T8" fmla="*/ 34023300 w 8"/>
              <a:gd name="T9" fmla="*/ 0 h 13"/>
              <a:gd name="T10" fmla="*/ 11341894 w 8"/>
              <a:gd name="T11" fmla="*/ 0 h 13"/>
              <a:gd name="T12" fmla="*/ 0 w 8"/>
              <a:gd name="T13" fmla="*/ 14494119 h 13"/>
              <a:gd name="T14" fmla="*/ 0 w 8"/>
              <a:gd name="T15" fmla="*/ 53147302 h 13"/>
              <a:gd name="T16" fmla="*/ 11341894 w 8"/>
              <a:gd name="T17" fmla="*/ 62810048 h 1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" h="13">
                <a:moveTo>
                  <a:pt x="2" y="13"/>
                </a:moveTo>
                <a:cubicBezTo>
                  <a:pt x="6" y="13"/>
                  <a:pt x="6" y="13"/>
                  <a:pt x="6" y="13"/>
                </a:cubicBezTo>
                <a:cubicBezTo>
                  <a:pt x="7" y="13"/>
                  <a:pt x="8" y="12"/>
                  <a:pt x="8" y="11"/>
                </a:cubicBezTo>
                <a:cubicBezTo>
                  <a:pt x="8" y="3"/>
                  <a:pt x="8" y="3"/>
                  <a:pt x="8" y="3"/>
                </a:cubicBezTo>
                <a:cubicBezTo>
                  <a:pt x="8" y="1"/>
                  <a:pt x="7" y="0"/>
                  <a:pt x="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2"/>
                  <a:pt x="1" y="13"/>
                  <a:pt x="2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7" name="Freeform 48"/>
          <p:cNvSpPr>
            <a:spLocks/>
          </p:cNvSpPr>
          <p:nvPr/>
        </p:nvSpPr>
        <p:spPr bwMode="auto">
          <a:xfrm>
            <a:off x="2067984" y="3155952"/>
            <a:ext cx="33867" cy="44449"/>
          </a:xfrm>
          <a:custGeom>
            <a:avLst/>
            <a:gdLst>
              <a:gd name="T0" fmla="*/ 42655836 w 11"/>
              <a:gd name="T1" fmla="*/ 74092594 h 15"/>
              <a:gd name="T2" fmla="*/ 58650909 w 11"/>
              <a:gd name="T3" fmla="*/ 64213729 h 15"/>
              <a:gd name="T4" fmla="*/ 58650909 w 11"/>
              <a:gd name="T5" fmla="*/ 9878864 h 15"/>
              <a:gd name="T6" fmla="*/ 42655836 w 11"/>
              <a:gd name="T7" fmla="*/ 0 h 15"/>
              <a:gd name="T8" fmla="*/ 15995073 w 11"/>
              <a:gd name="T9" fmla="*/ 0 h 15"/>
              <a:gd name="T10" fmla="*/ 0 w 11"/>
              <a:gd name="T11" fmla="*/ 9878864 h 15"/>
              <a:gd name="T12" fmla="*/ 0 w 11"/>
              <a:gd name="T13" fmla="*/ 64213729 h 15"/>
              <a:gd name="T14" fmla="*/ 15995073 w 11"/>
              <a:gd name="T15" fmla="*/ 74092594 h 15"/>
              <a:gd name="T16" fmla="*/ 42655836 w 11"/>
              <a:gd name="T17" fmla="*/ 74092594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1" h="15">
                <a:moveTo>
                  <a:pt x="8" y="15"/>
                </a:moveTo>
                <a:cubicBezTo>
                  <a:pt x="10" y="15"/>
                  <a:pt x="11" y="14"/>
                  <a:pt x="11" y="13"/>
                </a:cubicBezTo>
                <a:cubicBezTo>
                  <a:pt x="11" y="2"/>
                  <a:pt x="11" y="2"/>
                  <a:pt x="11" y="2"/>
                </a:cubicBezTo>
                <a:cubicBezTo>
                  <a:pt x="11" y="1"/>
                  <a:pt x="10" y="0"/>
                  <a:pt x="8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4"/>
                  <a:pt x="1" y="15"/>
                  <a:pt x="3" y="15"/>
                </a:cubicBezTo>
                <a:lnTo>
                  <a:pt x="8" y="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8" name="Freeform 49"/>
          <p:cNvSpPr>
            <a:spLocks/>
          </p:cNvSpPr>
          <p:nvPr/>
        </p:nvSpPr>
        <p:spPr bwMode="auto">
          <a:xfrm>
            <a:off x="2114552" y="3155952"/>
            <a:ext cx="29633" cy="44449"/>
          </a:xfrm>
          <a:custGeom>
            <a:avLst/>
            <a:gdLst>
              <a:gd name="T0" fmla="*/ 9879013 w 10"/>
              <a:gd name="T1" fmla="*/ 74092594 h 15"/>
              <a:gd name="T2" fmla="*/ 39516050 w 10"/>
              <a:gd name="T3" fmla="*/ 74092594 h 15"/>
              <a:gd name="T4" fmla="*/ 49395063 w 10"/>
              <a:gd name="T5" fmla="*/ 64213729 h 15"/>
              <a:gd name="T6" fmla="*/ 49395063 w 10"/>
              <a:gd name="T7" fmla="*/ 9878864 h 15"/>
              <a:gd name="T8" fmla="*/ 39516050 w 10"/>
              <a:gd name="T9" fmla="*/ 0 h 15"/>
              <a:gd name="T10" fmla="*/ 9879013 w 10"/>
              <a:gd name="T11" fmla="*/ 0 h 15"/>
              <a:gd name="T12" fmla="*/ 0 w 10"/>
              <a:gd name="T13" fmla="*/ 9878864 h 15"/>
              <a:gd name="T14" fmla="*/ 0 w 10"/>
              <a:gd name="T15" fmla="*/ 64213729 h 15"/>
              <a:gd name="T16" fmla="*/ 9879013 w 10"/>
              <a:gd name="T17" fmla="*/ 74092594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" h="15">
                <a:moveTo>
                  <a:pt x="2" y="15"/>
                </a:moveTo>
                <a:cubicBezTo>
                  <a:pt x="8" y="15"/>
                  <a:pt x="8" y="15"/>
                  <a:pt x="8" y="15"/>
                </a:cubicBezTo>
                <a:cubicBezTo>
                  <a:pt x="9" y="15"/>
                  <a:pt x="10" y="14"/>
                  <a:pt x="10" y="13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1"/>
                  <a:pt x="9" y="0"/>
                  <a:pt x="8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4"/>
                  <a:pt x="1" y="15"/>
                  <a:pt x="2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39" name="Freeform 50"/>
          <p:cNvSpPr>
            <a:spLocks/>
          </p:cNvSpPr>
          <p:nvPr/>
        </p:nvSpPr>
        <p:spPr bwMode="auto">
          <a:xfrm>
            <a:off x="2159001" y="3155952"/>
            <a:ext cx="29633" cy="44449"/>
          </a:xfrm>
          <a:custGeom>
            <a:avLst/>
            <a:gdLst>
              <a:gd name="T0" fmla="*/ 9879013 w 10"/>
              <a:gd name="T1" fmla="*/ 74092594 h 15"/>
              <a:gd name="T2" fmla="*/ 39516050 w 10"/>
              <a:gd name="T3" fmla="*/ 74092594 h 15"/>
              <a:gd name="T4" fmla="*/ 49395063 w 10"/>
              <a:gd name="T5" fmla="*/ 64213729 h 15"/>
              <a:gd name="T6" fmla="*/ 49395063 w 10"/>
              <a:gd name="T7" fmla="*/ 9878864 h 15"/>
              <a:gd name="T8" fmla="*/ 39516050 w 10"/>
              <a:gd name="T9" fmla="*/ 0 h 15"/>
              <a:gd name="T10" fmla="*/ 9879013 w 10"/>
              <a:gd name="T11" fmla="*/ 0 h 15"/>
              <a:gd name="T12" fmla="*/ 0 w 10"/>
              <a:gd name="T13" fmla="*/ 9878864 h 15"/>
              <a:gd name="T14" fmla="*/ 0 w 10"/>
              <a:gd name="T15" fmla="*/ 64213729 h 15"/>
              <a:gd name="T16" fmla="*/ 9879013 w 10"/>
              <a:gd name="T17" fmla="*/ 74092594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" h="15">
                <a:moveTo>
                  <a:pt x="2" y="15"/>
                </a:moveTo>
                <a:cubicBezTo>
                  <a:pt x="8" y="15"/>
                  <a:pt x="8" y="15"/>
                  <a:pt x="8" y="15"/>
                </a:cubicBezTo>
                <a:cubicBezTo>
                  <a:pt x="9" y="15"/>
                  <a:pt x="10" y="14"/>
                  <a:pt x="10" y="13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1"/>
                  <a:pt x="9" y="0"/>
                  <a:pt x="8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4"/>
                  <a:pt x="1" y="15"/>
                  <a:pt x="2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40" name="Freeform 51"/>
          <p:cNvSpPr>
            <a:spLocks/>
          </p:cNvSpPr>
          <p:nvPr/>
        </p:nvSpPr>
        <p:spPr bwMode="auto">
          <a:xfrm>
            <a:off x="2203451" y="3155952"/>
            <a:ext cx="31749" cy="44449"/>
          </a:xfrm>
          <a:custGeom>
            <a:avLst/>
            <a:gdLst>
              <a:gd name="T0" fmla="*/ 11341656 w 10"/>
              <a:gd name="T1" fmla="*/ 74092594 h 15"/>
              <a:gd name="T2" fmla="*/ 45361860 w 10"/>
              <a:gd name="T3" fmla="*/ 74092594 h 15"/>
              <a:gd name="T4" fmla="*/ 56703516 w 10"/>
              <a:gd name="T5" fmla="*/ 64213729 h 15"/>
              <a:gd name="T6" fmla="*/ 56703516 w 10"/>
              <a:gd name="T7" fmla="*/ 9878864 h 15"/>
              <a:gd name="T8" fmla="*/ 45361860 w 10"/>
              <a:gd name="T9" fmla="*/ 0 h 15"/>
              <a:gd name="T10" fmla="*/ 11341656 w 10"/>
              <a:gd name="T11" fmla="*/ 0 h 15"/>
              <a:gd name="T12" fmla="*/ 0 w 10"/>
              <a:gd name="T13" fmla="*/ 9878864 h 15"/>
              <a:gd name="T14" fmla="*/ 0 w 10"/>
              <a:gd name="T15" fmla="*/ 64213729 h 15"/>
              <a:gd name="T16" fmla="*/ 11341656 w 10"/>
              <a:gd name="T17" fmla="*/ 74092594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" h="15">
                <a:moveTo>
                  <a:pt x="2" y="15"/>
                </a:moveTo>
                <a:cubicBezTo>
                  <a:pt x="8" y="15"/>
                  <a:pt x="8" y="15"/>
                  <a:pt x="8" y="15"/>
                </a:cubicBezTo>
                <a:cubicBezTo>
                  <a:pt x="9" y="15"/>
                  <a:pt x="10" y="14"/>
                  <a:pt x="10" y="13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1"/>
                  <a:pt x="9" y="0"/>
                  <a:pt x="8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4"/>
                  <a:pt x="1" y="15"/>
                  <a:pt x="2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41" name="Freeform 52"/>
          <p:cNvSpPr>
            <a:spLocks/>
          </p:cNvSpPr>
          <p:nvPr/>
        </p:nvSpPr>
        <p:spPr bwMode="auto">
          <a:xfrm>
            <a:off x="2250018" y="3155952"/>
            <a:ext cx="29633" cy="44449"/>
          </a:xfrm>
          <a:custGeom>
            <a:avLst/>
            <a:gdLst>
              <a:gd name="T0" fmla="*/ 9879013 w 10"/>
              <a:gd name="T1" fmla="*/ 74092594 h 15"/>
              <a:gd name="T2" fmla="*/ 39516050 w 10"/>
              <a:gd name="T3" fmla="*/ 74092594 h 15"/>
              <a:gd name="T4" fmla="*/ 49395063 w 10"/>
              <a:gd name="T5" fmla="*/ 64213729 h 15"/>
              <a:gd name="T6" fmla="*/ 49395063 w 10"/>
              <a:gd name="T7" fmla="*/ 9878864 h 15"/>
              <a:gd name="T8" fmla="*/ 39516050 w 10"/>
              <a:gd name="T9" fmla="*/ 0 h 15"/>
              <a:gd name="T10" fmla="*/ 9879013 w 10"/>
              <a:gd name="T11" fmla="*/ 0 h 15"/>
              <a:gd name="T12" fmla="*/ 0 w 10"/>
              <a:gd name="T13" fmla="*/ 9878864 h 15"/>
              <a:gd name="T14" fmla="*/ 0 w 10"/>
              <a:gd name="T15" fmla="*/ 64213729 h 15"/>
              <a:gd name="T16" fmla="*/ 9879013 w 10"/>
              <a:gd name="T17" fmla="*/ 74092594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" h="15">
                <a:moveTo>
                  <a:pt x="2" y="15"/>
                </a:moveTo>
                <a:cubicBezTo>
                  <a:pt x="8" y="15"/>
                  <a:pt x="8" y="15"/>
                  <a:pt x="8" y="15"/>
                </a:cubicBezTo>
                <a:cubicBezTo>
                  <a:pt x="9" y="15"/>
                  <a:pt x="10" y="14"/>
                  <a:pt x="10" y="13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1"/>
                  <a:pt x="9" y="0"/>
                  <a:pt x="8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4"/>
                  <a:pt x="1" y="15"/>
                  <a:pt x="2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42" name="Freeform 53"/>
          <p:cNvSpPr>
            <a:spLocks/>
          </p:cNvSpPr>
          <p:nvPr/>
        </p:nvSpPr>
        <p:spPr bwMode="auto">
          <a:xfrm>
            <a:off x="2774951" y="3225800"/>
            <a:ext cx="541867" cy="264584"/>
          </a:xfrm>
          <a:custGeom>
            <a:avLst/>
            <a:gdLst>
              <a:gd name="T0" fmla="*/ 769730631 w 180"/>
              <a:gd name="T1" fmla="*/ 76274606 h 88"/>
              <a:gd name="T2" fmla="*/ 764634827 w 180"/>
              <a:gd name="T3" fmla="*/ 116952141 h 88"/>
              <a:gd name="T4" fmla="*/ 739146773 w 180"/>
              <a:gd name="T5" fmla="*/ 157631931 h 88"/>
              <a:gd name="T6" fmla="*/ 703462596 w 180"/>
              <a:gd name="T7" fmla="*/ 233906538 h 88"/>
              <a:gd name="T8" fmla="*/ 662682613 w 180"/>
              <a:gd name="T9" fmla="*/ 172886853 h 88"/>
              <a:gd name="T10" fmla="*/ 642292622 w 180"/>
              <a:gd name="T11" fmla="*/ 137292036 h 88"/>
              <a:gd name="T12" fmla="*/ 565828462 w 180"/>
              <a:gd name="T13" fmla="*/ 152546958 h 88"/>
              <a:gd name="T14" fmla="*/ 463878507 w 180"/>
              <a:gd name="T15" fmla="*/ 152546958 h 88"/>
              <a:gd name="T16" fmla="*/ 453682382 w 180"/>
              <a:gd name="T17" fmla="*/ 152546958 h 88"/>
              <a:gd name="T18" fmla="*/ 351732427 w 180"/>
              <a:gd name="T19" fmla="*/ 152546958 h 88"/>
              <a:gd name="T20" fmla="*/ 275268267 w 180"/>
              <a:gd name="T21" fmla="*/ 137292036 h 88"/>
              <a:gd name="T22" fmla="*/ 254878276 w 180"/>
              <a:gd name="T23" fmla="*/ 172886853 h 88"/>
              <a:gd name="T24" fmla="*/ 214098293 w 180"/>
              <a:gd name="T25" fmla="*/ 233906538 h 88"/>
              <a:gd name="T26" fmla="*/ 178414116 w 180"/>
              <a:gd name="T27" fmla="*/ 157631931 h 88"/>
              <a:gd name="T28" fmla="*/ 152926062 w 180"/>
              <a:gd name="T29" fmla="*/ 116952141 h 88"/>
              <a:gd name="T30" fmla="*/ 147830258 w 180"/>
              <a:gd name="T31" fmla="*/ 76274606 h 88"/>
              <a:gd name="T32" fmla="*/ 147830258 w 180"/>
              <a:gd name="T33" fmla="*/ 0 h 88"/>
              <a:gd name="T34" fmla="*/ 0 w 180"/>
              <a:gd name="T35" fmla="*/ 0 h 88"/>
              <a:gd name="T36" fmla="*/ 458780444 w 180"/>
              <a:gd name="T37" fmla="*/ 447473180 h 88"/>
              <a:gd name="T38" fmla="*/ 917560889 w 180"/>
              <a:gd name="T39" fmla="*/ 0 h 88"/>
              <a:gd name="T40" fmla="*/ 769730631 w 180"/>
              <a:gd name="T41" fmla="*/ 0 h 88"/>
              <a:gd name="T42" fmla="*/ 769730631 w 180"/>
              <a:gd name="T43" fmla="*/ 76274606 h 8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80" h="88">
                <a:moveTo>
                  <a:pt x="151" y="15"/>
                </a:moveTo>
                <a:cubicBezTo>
                  <a:pt x="151" y="15"/>
                  <a:pt x="151" y="20"/>
                  <a:pt x="150" y="23"/>
                </a:cubicBezTo>
                <a:cubicBezTo>
                  <a:pt x="148" y="25"/>
                  <a:pt x="145" y="26"/>
                  <a:pt x="145" y="31"/>
                </a:cubicBezTo>
                <a:cubicBezTo>
                  <a:pt x="145" y="36"/>
                  <a:pt x="146" y="46"/>
                  <a:pt x="138" y="46"/>
                </a:cubicBezTo>
                <a:cubicBezTo>
                  <a:pt x="129" y="46"/>
                  <a:pt x="130" y="38"/>
                  <a:pt x="130" y="34"/>
                </a:cubicBezTo>
                <a:cubicBezTo>
                  <a:pt x="130" y="30"/>
                  <a:pt x="130" y="27"/>
                  <a:pt x="126" y="27"/>
                </a:cubicBezTo>
                <a:cubicBezTo>
                  <a:pt x="122" y="26"/>
                  <a:pt x="118" y="30"/>
                  <a:pt x="111" y="30"/>
                </a:cubicBezTo>
                <a:cubicBezTo>
                  <a:pt x="103" y="30"/>
                  <a:pt x="91" y="30"/>
                  <a:pt x="91" y="30"/>
                </a:cubicBezTo>
                <a:cubicBezTo>
                  <a:pt x="89" y="30"/>
                  <a:pt x="89" y="30"/>
                  <a:pt x="89" y="30"/>
                </a:cubicBezTo>
                <a:cubicBezTo>
                  <a:pt x="89" y="30"/>
                  <a:pt x="77" y="30"/>
                  <a:pt x="69" y="30"/>
                </a:cubicBezTo>
                <a:cubicBezTo>
                  <a:pt x="62" y="30"/>
                  <a:pt x="58" y="26"/>
                  <a:pt x="54" y="27"/>
                </a:cubicBezTo>
                <a:cubicBezTo>
                  <a:pt x="50" y="27"/>
                  <a:pt x="50" y="30"/>
                  <a:pt x="50" y="34"/>
                </a:cubicBezTo>
                <a:cubicBezTo>
                  <a:pt x="50" y="38"/>
                  <a:pt x="51" y="46"/>
                  <a:pt x="42" y="46"/>
                </a:cubicBezTo>
                <a:cubicBezTo>
                  <a:pt x="34" y="46"/>
                  <a:pt x="35" y="36"/>
                  <a:pt x="35" y="31"/>
                </a:cubicBezTo>
                <a:cubicBezTo>
                  <a:pt x="35" y="26"/>
                  <a:pt x="32" y="25"/>
                  <a:pt x="30" y="23"/>
                </a:cubicBezTo>
                <a:cubicBezTo>
                  <a:pt x="29" y="20"/>
                  <a:pt x="29" y="15"/>
                  <a:pt x="29" y="15"/>
                </a:cubicBezTo>
                <a:cubicBezTo>
                  <a:pt x="29" y="15"/>
                  <a:pt x="29" y="7"/>
                  <a:pt x="29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49"/>
                  <a:pt x="41" y="88"/>
                  <a:pt x="90" y="88"/>
                </a:cubicBezTo>
                <a:cubicBezTo>
                  <a:pt x="139" y="88"/>
                  <a:pt x="178" y="49"/>
                  <a:pt x="180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51" y="7"/>
                  <a:pt x="151" y="15"/>
                  <a:pt x="151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43" name="Freeform 54"/>
          <p:cNvSpPr>
            <a:spLocks/>
          </p:cNvSpPr>
          <p:nvPr/>
        </p:nvSpPr>
        <p:spPr bwMode="auto">
          <a:xfrm>
            <a:off x="2774951" y="2948518"/>
            <a:ext cx="541867" cy="264583"/>
          </a:xfrm>
          <a:custGeom>
            <a:avLst/>
            <a:gdLst>
              <a:gd name="T0" fmla="*/ 178414116 w 180"/>
              <a:gd name="T1" fmla="*/ 396621444 h 88"/>
              <a:gd name="T2" fmla="*/ 198804107 w 180"/>
              <a:gd name="T3" fmla="*/ 361026807 h 88"/>
              <a:gd name="T4" fmla="*/ 224292160 w 180"/>
              <a:gd name="T5" fmla="*/ 269499996 h 88"/>
              <a:gd name="T6" fmla="*/ 321146311 w 180"/>
              <a:gd name="T7" fmla="*/ 213565566 h 88"/>
              <a:gd name="T8" fmla="*/ 453682382 w 180"/>
              <a:gd name="T9" fmla="*/ 213565566 h 88"/>
              <a:gd name="T10" fmla="*/ 463878507 w 180"/>
              <a:gd name="T11" fmla="*/ 213565566 h 88"/>
              <a:gd name="T12" fmla="*/ 596414578 w 180"/>
              <a:gd name="T13" fmla="*/ 213565566 h 88"/>
              <a:gd name="T14" fmla="*/ 693268729 w 180"/>
              <a:gd name="T15" fmla="*/ 269499996 h 88"/>
              <a:gd name="T16" fmla="*/ 718756782 w 180"/>
              <a:gd name="T17" fmla="*/ 361026807 h 88"/>
              <a:gd name="T18" fmla="*/ 739146773 w 180"/>
              <a:gd name="T19" fmla="*/ 396621444 h 88"/>
              <a:gd name="T20" fmla="*/ 769730631 w 180"/>
              <a:gd name="T21" fmla="*/ 447470925 h 88"/>
              <a:gd name="T22" fmla="*/ 917560889 w 180"/>
              <a:gd name="T23" fmla="*/ 447470925 h 88"/>
              <a:gd name="T24" fmla="*/ 458780444 w 180"/>
              <a:gd name="T25" fmla="*/ 0 h 88"/>
              <a:gd name="T26" fmla="*/ 0 w 180"/>
              <a:gd name="T27" fmla="*/ 447470925 h 88"/>
              <a:gd name="T28" fmla="*/ 147830258 w 180"/>
              <a:gd name="T29" fmla="*/ 447470925 h 88"/>
              <a:gd name="T30" fmla="*/ 178414116 w 180"/>
              <a:gd name="T31" fmla="*/ 396621444 h 8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80" h="88">
                <a:moveTo>
                  <a:pt x="35" y="78"/>
                </a:moveTo>
                <a:cubicBezTo>
                  <a:pt x="39" y="75"/>
                  <a:pt x="39" y="71"/>
                  <a:pt x="39" y="71"/>
                </a:cubicBezTo>
                <a:cubicBezTo>
                  <a:pt x="39" y="71"/>
                  <a:pt x="40" y="64"/>
                  <a:pt x="44" y="53"/>
                </a:cubicBezTo>
                <a:cubicBezTo>
                  <a:pt x="48" y="41"/>
                  <a:pt x="63" y="42"/>
                  <a:pt x="63" y="42"/>
                </a:cubicBezTo>
                <a:cubicBezTo>
                  <a:pt x="89" y="42"/>
                  <a:pt x="89" y="42"/>
                  <a:pt x="89" y="42"/>
                </a:cubicBezTo>
                <a:cubicBezTo>
                  <a:pt x="91" y="42"/>
                  <a:pt x="91" y="42"/>
                  <a:pt x="91" y="42"/>
                </a:cubicBezTo>
                <a:cubicBezTo>
                  <a:pt x="117" y="42"/>
                  <a:pt x="117" y="42"/>
                  <a:pt x="117" y="42"/>
                </a:cubicBezTo>
                <a:cubicBezTo>
                  <a:pt x="117" y="42"/>
                  <a:pt x="132" y="41"/>
                  <a:pt x="136" y="53"/>
                </a:cubicBezTo>
                <a:cubicBezTo>
                  <a:pt x="140" y="64"/>
                  <a:pt x="141" y="71"/>
                  <a:pt x="141" y="71"/>
                </a:cubicBezTo>
                <a:cubicBezTo>
                  <a:pt x="141" y="71"/>
                  <a:pt x="141" y="75"/>
                  <a:pt x="145" y="78"/>
                </a:cubicBezTo>
                <a:cubicBezTo>
                  <a:pt x="148" y="81"/>
                  <a:pt x="150" y="83"/>
                  <a:pt x="151" y="88"/>
                </a:cubicBezTo>
                <a:cubicBezTo>
                  <a:pt x="180" y="88"/>
                  <a:pt x="180" y="88"/>
                  <a:pt x="180" y="88"/>
                </a:cubicBezTo>
                <a:cubicBezTo>
                  <a:pt x="178" y="39"/>
                  <a:pt x="139" y="0"/>
                  <a:pt x="90" y="0"/>
                </a:cubicBezTo>
                <a:cubicBezTo>
                  <a:pt x="41" y="0"/>
                  <a:pt x="2" y="39"/>
                  <a:pt x="0" y="88"/>
                </a:cubicBezTo>
                <a:cubicBezTo>
                  <a:pt x="29" y="88"/>
                  <a:pt x="29" y="88"/>
                  <a:pt x="29" y="88"/>
                </a:cubicBezTo>
                <a:cubicBezTo>
                  <a:pt x="30" y="83"/>
                  <a:pt x="32" y="81"/>
                  <a:pt x="35" y="7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44" name="Freeform 55"/>
          <p:cNvSpPr>
            <a:spLocks/>
          </p:cNvSpPr>
          <p:nvPr/>
        </p:nvSpPr>
        <p:spPr bwMode="auto">
          <a:xfrm>
            <a:off x="2880784" y="3282951"/>
            <a:ext cx="330200" cy="12700"/>
          </a:xfrm>
          <a:custGeom>
            <a:avLst/>
            <a:gdLst>
              <a:gd name="T0" fmla="*/ 547412314 w 110"/>
              <a:gd name="T1" fmla="*/ 0 h 4"/>
              <a:gd name="T2" fmla="*/ 10137890 w 110"/>
              <a:gd name="T3" fmla="*/ 0 h 4"/>
              <a:gd name="T4" fmla="*/ 0 w 110"/>
              <a:gd name="T5" fmla="*/ 11341894 h 4"/>
              <a:gd name="T6" fmla="*/ 10137890 w 110"/>
              <a:gd name="T7" fmla="*/ 22681406 h 4"/>
              <a:gd name="T8" fmla="*/ 547412314 w 110"/>
              <a:gd name="T9" fmla="*/ 22681406 h 4"/>
              <a:gd name="T10" fmla="*/ 557550205 w 110"/>
              <a:gd name="T11" fmla="*/ 11341894 h 4"/>
              <a:gd name="T12" fmla="*/ 547412314 w 110"/>
              <a:gd name="T13" fmla="*/ 0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0" h="4">
                <a:moveTo>
                  <a:pt x="108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"/>
                  <a:pt x="1" y="4"/>
                  <a:pt x="2" y="4"/>
                </a:cubicBezTo>
                <a:cubicBezTo>
                  <a:pt x="108" y="4"/>
                  <a:pt x="108" y="4"/>
                  <a:pt x="108" y="4"/>
                </a:cubicBezTo>
                <a:cubicBezTo>
                  <a:pt x="109" y="4"/>
                  <a:pt x="110" y="3"/>
                  <a:pt x="110" y="2"/>
                </a:cubicBezTo>
                <a:cubicBezTo>
                  <a:pt x="110" y="1"/>
                  <a:pt x="109" y="0"/>
                  <a:pt x="10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45" name="Oval 56"/>
          <p:cNvSpPr>
            <a:spLocks noChangeArrowheads="1"/>
          </p:cNvSpPr>
          <p:nvPr/>
        </p:nvSpPr>
        <p:spPr bwMode="auto">
          <a:xfrm>
            <a:off x="2878667" y="3196167"/>
            <a:ext cx="44451" cy="423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46" name="Oval 57"/>
          <p:cNvSpPr>
            <a:spLocks noChangeArrowheads="1"/>
          </p:cNvSpPr>
          <p:nvPr/>
        </p:nvSpPr>
        <p:spPr bwMode="auto">
          <a:xfrm>
            <a:off x="3168651" y="3196167"/>
            <a:ext cx="46567" cy="423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47" name="Rectangle 58"/>
          <p:cNvSpPr>
            <a:spLocks noChangeArrowheads="1"/>
          </p:cNvSpPr>
          <p:nvPr/>
        </p:nvSpPr>
        <p:spPr bwMode="auto">
          <a:xfrm>
            <a:off x="2904067" y="3183467"/>
            <a:ext cx="2117" cy="21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48" name="Freeform 59"/>
          <p:cNvSpPr>
            <a:spLocks/>
          </p:cNvSpPr>
          <p:nvPr/>
        </p:nvSpPr>
        <p:spPr bwMode="auto">
          <a:xfrm>
            <a:off x="2901952" y="3177118"/>
            <a:ext cx="80433" cy="12700"/>
          </a:xfrm>
          <a:custGeom>
            <a:avLst/>
            <a:gdLst>
              <a:gd name="T0" fmla="*/ 4991335 w 27"/>
              <a:gd name="T1" fmla="*/ 11341894 h 4"/>
              <a:gd name="T2" fmla="*/ 19967575 w 27"/>
              <a:gd name="T3" fmla="*/ 11341894 h 4"/>
              <a:gd name="T4" fmla="*/ 129790355 w 27"/>
              <a:gd name="T5" fmla="*/ 22681406 h 4"/>
              <a:gd name="T6" fmla="*/ 129790355 w 27"/>
              <a:gd name="T7" fmla="*/ 22681406 h 4"/>
              <a:gd name="T8" fmla="*/ 134781690 w 27"/>
              <a:gd name="T9" fmla="*/ 17011650 h 4"/>
              <a:gd name="T10" fmla="*/ 129790355 w 27"/>
              <a:gd name="T11" fmla="*/ 5669756 h 4"/>
              <a:gd name="T12" fmla="*/ 19967575 w 27"/>
              <a:gd name="T13" fmla="*/ 0 h 4"/>
              <a:gd name="T14" fmla="*/ 4991335 w 27"/>
              <a:gd name="T15" fmla="*/ 0 h 4"/>
              <a:gd name="T16" fmla="*/ 0 w 27"/>
              <a:gd name="T17" fmla="*/ 5669756 h 4"/>
              <a:gd name="T18" fmla="*/ 4991335 w 27"/>
              <a:gd name="T19" fmla="*/ 11341894 h 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4">
                <a:moveTo>
                  <a:pt x="1" y="2"/>
                </a:moveTo>
                <a:cubicBezTo>
                  <a:pt x="1" y="2"/>
                  <a:pt x="2" y="2"/>
                  <a:pt x="4" y="2"/>
                </a:cubicBezTo>
                <a:cubicBezTo>
                  <a:pt x="8" y="2"/>
                  <a:pt x="17" y="2"/>
                  <a:pt x="26" y="4"/>
                </a:cubicBezTo>
                <a:cubicBezTo>
                  <a:pt x="26" y="4"/>
                  <a:pt x="26" y="4"/>
                  <a:pt x="26" y="4"/>
                </a:cubicBezTo>
                <a:cubicBezTo>
                  <a:pt x="27" y="4"/>
                  <a:pt x="27" y="3"/>
                  <a:pt x="27" y="3"/>
                </a:cubicBezTo>
                <a:cubicBezTo>
                  <a:pt x="27" y="2"/>
                  <a:pt x="27" y="2"/>
                  <a:pt x="26" y="1"/>
                </a:cubicBezTo>
                <a:cubicBezTo>
                  <a:pt x="17" y="0"/>
                  <a:pt x="9" y="0"/>
                  <a:pt x="4" y="0"/>
                </a:cubicBezTo>
                <a:cubicBezTo>
                  <a:pt x="2" y="0"/>
                  <a:pt x="1" y="0"/>
                  <a:pt x="1" y="0"/>
                </a:cubicBezTo>
                <a:cubicBezTo>
                  <a:pt x="0" y="0"/>
                  <a:pt x="0" y="0"/>
                  <a:pt x="0" y="1"/>
                </a:cubicBezTo>
                <a:cubicBezTo>
                  <a:pt x="0" y="2"/>
                  <a:pt x="0" y="2"/>
                  <a:pt x="1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49" name="Freeform 60"/>
          <p:cNvSpPr>
            <a:spLocks/>
          </p:cNvSpPr>
          <p:nvPr/>
        </p:nvSpPr>
        <p:spPr bwMode="auto">
          <a:xfrm>
            <a:off x="3109385" y="3177118"/>
            <a:ext cx="80433" cy="12700"/>
          </a:xfrm>
          <a:custGeom>
            <a:avLst/>
            <a:gdLst>
              <a:gd name="T0" fmla="*/ 0 w 27"/>
              <a:gd name="T1" fmla="*/ 17011650 h 4"/>
              <a:gd name="T2" fmla="*/ 4991335 w 27"/>
              <a:gd name="T3" fmla="*/ 22681406 h 4"/>
              <a:gd name="T4" fmla="*/ 4991335 w 27"/>
              <a:gd name="T5" fmla="*/ 22681406 h 4"/>
              <a:gd name="T6" fmla="*/ 114814115 w 27"/>
              <a:gd name="T7" fmla="*/ 11341894 h 4"/>
              <a:gd name="T8" fmla="*/ 129790355 w 27"/>
              <a:gd name="T9" fmla="*/ 11341894 h 4"/>
              <a:gd name="T10" fmla="*/ 134781690 w 27"/>
              <a:gd name="T11" fmla="*/ 5669756 h 4"/>
              <a:gd name="T12" fmla="*/ 129790355 w 27"/>
              <a:gd name="T13" fmla="*/ 0 h 4"/>
              <a:gd name="T14" fmla="*/ 129790355 w 27"/>
              <a:gd name="T15" fmla="*/ 0 h 4"/>
              <a:gd name="T16" fmla="*/ 114814115 w 27"/>
              <a:gd name="T17" fmla="*/ 0 h 4"/>
              <a:gd name="T18" fmla="*/ 4991335 w 27"/>
              <a:gd name="T19" fmla="*/ 5669756 h 4"/>
              <a:gd name="T20" fmla="*/ 0 w 27"/>
              <a:gd name="T21" fmla="*/ 17011650 h 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4">
                <a:moveTo>
                  <a:pt x="0" y="3"/>
                </a:moveTo>
                <a:cubicBezTo>
                  <a:pt x="0" y="3"/>
                  <a:pt x="0" y="4"/>
                  <a:pt x="1" y="4"/>
                </a:cubicBezTo>
                <a:cubicBezTo>
                  <a:pt x="1" y="4"/>
                  <a:pt x="1" y="4"/>
                  <a:pt x="1" y="4"/>
                </a:cubicBezTo>
                <a:cubicBezTo>
                  <a:pt x="10" y="2"/>
                  <a:pt x="19" y="2"/>
                  <a:pt x="23" y="2"/>
                </a:cubicBezTo>
                <a:cubicBezTo>
                  <a:pt x="25" y="2"/>
                  <a:pt x="26" y="2"/>
                  <a:pt x="26" y="2"/>
                </a:cubicBezTo>
                <a:cubicBezTo>
                  <a:pt x="27" y="2"/>
                  <a:pt x="27" y="2"/>
                  <a:pt x="27" y="1"/>
                </a:cubicBezTo>
                <a:cubicBezTo>
                  <a:pt x="27" y="0"/>
                  <a:pt x="27" y="0"/>
                  <a:pt x="26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0"/>
                  <a:pt x="25" y="0"/>
                  <a:pt x="23" y="0"/>
                </a:cubicBezTo>
                <a:cubicBezTo>
                  <a:pt x="18" y="0"/>
                  <a:pt x="10" y="0"/>
                  <a:pt x="1" y="1"/>
                </a:cubicBezTo>
                <a:cubicBezTo>
                  <a:pt x="0" y="2"/>
                  <a:pt x="0" y="2"/>
                  <a:pt x="0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0" name="Freeform 61"/>
          <p:cNvSpPr>
            <a:spLocks/>
          </p:cNvSpPr>
          <p:nvPr/>
        </p:nvSpPr>
        <p:spPr bwMode="auto">
          <a:xfrm>
            <a:off x="2995084" y="3175001"/>
            <a:ext cx="101600" cy="99484"/>
          </a:xfrm>
          <a:custGeom>
            <a:avLst/>
            <a:gdLst>
              <a:gd name="T0" fmla="*/ 25114624 w 34"/>
              <a:gd name="T1" fmla="*/ 163587872 h 33"/>
              <a:gd name="T2" fmla="*/ 145663024 w 34"/>
              <a:gd name="T3" fmla="*/ 163587872 h 33"/>
              <a:gd name="T4" fmla="*/ 165755171 w 34"/>
              <a:gd name="T5" fmla="*/ 138027267 h 33"/>
              <a:gd name="T6" fmla="*/ 165755171 w 34"/>
              <a:gd name="T7" fmla="*/ 40896968 h 33"/>
              <a:gd name="T8" fmla="*/ 145663024 w 34"/>
              <a:gd name="T9" fmla="*/ 10224242 h 33"/>
              <a:gd name="T10" fmla="*/ 85388824 w 34"/>
              <a:gd name="T11" fmla="*/ 0 h 33"/>
              <a:gd name="T12" fmla="*/ 25114624 w 34"/>
              <a:gd name="T13" fmla="*/ 10224242 h 33"/>
              <a:gd name="T14" fmla="*/ 5022476 w 34"/>
              <a:gd name="T15" fmla="*/ 40896968 h 33"/>
              <a:gd name="T16" fmla="*/ 5022476 w 34"/>
              <a:gd name="T17" fmla="*/ 138027267 h 33"/>
              <a:gd name="T18" fmla="*/ 25114624 w 34"/>
              <a:gd name="T19" fmla="*/ 163587872 h 3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4" h="33">
                <a:moveTo>
                  <a:pt x="5" y="32"/>
                </a:moveTo>
                <a:cubicBezTo>
                  <a:pt x="29" y="32"/>
                  <a:pt x="29" y="32"/>
                  <a:pt x="29" y="32"/>
                </a:cubicBezTo>
                <a:cubicBezTo>
                  <a:pt x="29" y="32"/>
                  <a:pt x="33" y="33"/>
                  <a:pt x="33" y="27"/>
                </a:cubicBezTo>
                <a:cubicBezTo>
                  <a:pt x="33" y="22"/>
                  <a:pt x="33" y="8"/>
                  <a:pt x="33" y="8"/>
                </a:cubicBezTo>
                <a:cubicBezTo>
                  <a:pt x="33" y="8"/>
                  <a:pt x="34" y="4"/>
                  <a:pt x="29" y="2"/>
                </a:cubicBezTo>
                <a:cubicBezTo>
                  <a:pt x="26" y="1"/>
                  <a:pt x="20" y="0"/>
                  <a:pt x="17" y="0"/>
                </a:cubicBezTo>
                <a:cubicBezTo>
                  <a:pt x="14" y="0"/>
                  <a:pt x="8" y="1"/>
                  <a:pt x="5" y="2"/>
                </a:cubicBezTo>
                <a:cubicBezTo>
                  <a:pt x="0" y="4"/>
                  <a:pt x="1" y="8"/>
                  <a:pt x="1" y="8"/>
                </a:cubicBezTo>
                <a:cubicBezTo>
                  <a:pt x="1" y="8"/>
                  <a:pt x="1" y="22"/>
                  <a:pt x="1" y="27"/>
                </a:cubicBezTo>
                <a:cubicBezTo>
                  <a:pt x="1" y="33"/>
                  <a:pt x="5" y="32"/>
                  <a:pt x="5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1" name="Freeform 62"/>
          <p:cNvSpPr>
            <a:spLocks/>
          </p:cNvSpPr>
          <p:nvPr/>
        </p:nvSpPr>
        <p:spPr bwMode="auto">
          <a:xfrm>
            <a:off x="3054351" y="3096685"/>
            <a:ext cx="118533" cy="63500"/>
          </a:xfrm>
          <a:custGeom>
            <a:avLst/>
            <a:gdLst>
              <a:gd name="T0" fmla="*/ 0 w 39"/>
              <a:gd name="T1" fmla="*/ 108006696 h 21"/>
              <a:gd name="T2" fmla="*/ 202646410 w 39"/>
              <a:gd name="T3" fmla="*/ 108006696 h 21"/>
              <a:gd name="T4" fmla="*/ 181862046 w 39"/>
              <a:gd name="T5" fmla="*/ 30858732 h 21"/>
              <a:gd name="T6" fmla="*/ 124706185 w 39"/>
              <a:gd name="T7" fmla="*/ 0 h 21"/>
              <a:gd name="T8" fmla="*/ 103921821 w 39"/>
              <a:gd name="T9" fmla="*/ 0 h 21"/>
              <a:gd name="T10" fmla="*/ 0 w 39"/>
              <a:gd name="T11" fmla="*/ 0 h 21"/>
              <a:gd name="T12" fmla="*/ 0 w 39"/>
              <a:gd name="T13" fmla="*/ 108006696 h 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9" h="21">
                <a:moveTo>
                  <a:pt x="0" y="21"/>
                </a:moveTo>
                <a:cubicBezTo>
                  <a:pt x="39" y="21"/>
                  <a:pt x="39" y="21"/>
                  <a:pt x="39" y="21"/>
                </a:cubicBezTo>
                <a:cubicBezTo>
                  <a:pt x="39" y="21"/>
                  <a:pt x="38" y="13"/>
                  <a:pt x="35" y="6"/>
                </a:cubicBezTo>
                <a:cubicBezTo>
                  <a:pt x="32" y="0"/>
                  <a:pt x="24" y="0"/>
                  <a:pt x="24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0" y="0"/>
                  <a:pt x="0" y="0"/>
                  <a:pt x="0" y="0"/>
                </a:cubicBezTo>
                <a:lnTo>
                  <a:pt x="0" y="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2" name="Freeform 63"/>
          <p:cNvSpPr>
            <a:spLocks/>
          </p:cNvSpPr>
          <p:nvPr/>
        </p:nvSpPr>
        <p:spPr bwMode="auto">
          <a:xfrm>
            <a:off x="2921001" y="3096685"/>
            <a:ext cx="116417" cy="63500"/>
          </a:xfrm>
          <a:custGeom>
            <a:avLst/>
            <a:gdLst>
              <a:gd name="T0" fmla="*/ 195475897 w 39"/>
              <a:gd name="T1" fmla="*/ 0 h 21"/>
              <a:gd name="T2" fmla="*/ 95231617 w 39"/>
              <a:gd name="T3" fmla="*/ 0 h 21"/>
              <a:gd name="T4" fmla="*/ 75183209 w 39"/>
              <a:gd name="T5" fmla="*/ 0 h 21"/>
              <a:gd name="T6" fmla="*/ 20048408 w 39"/>
              <a:gd name="T7" fmla="*/ 30858732 h 21"/>
              <a:gd name="T8" fmla="*/ 0 w 39"/>
              <a:gd name="T9" fmla="*/ 108006696 h 21"/>
              <a:gd name="T10" fmla="*/ 195475897 w 39"/>
              <a:gd name="T11" fmla="*/ 108006696 h 21"/>
              <a:gd name="T12" fmla="*/ 195475897 w 39"/>
              <a:gd name="T13" fmla="*/ 0 h 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9" h="21">
                <a:moveTo>
                  <a:pt x="39" y="0"/>
                </a:moveTo>
                <a:cubicBezTo>
                  <a:pt x="19" y="0"/>
                  <a:pt x="19" y="0"/>
                  <a:pt x="1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5" y="0"/>
                  <a:pt x="7" y="0"/>
                  <a:pt x="4" y="6"/>
                </a:cubicBezTo>
                <a:cubicBezTo>
                  <a:pt x="1" y="13"/>
                  <a:pt x="0" y="21"/>
                  <a:pt x="0" y="21"/>
                </a:cubicBezTo>
                <a:cubicBezTo>
                  <a:pt x="39" y="21"/>
                  <a:pt x="39" y="21"/>
                  <a:pt x="39" y="21"/>
                </a:cubicBezTo>
                <a:lnTo>
                  <a:pt x="3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3" name="Freeform 64"/>
          <p:cNvSpPr>
            <a:spLocks/>
          </p:cNvSpPr>
          <p:nvPr/>
        </p:nvSpPr>
        <p:spPr bwMode="auto">
          <a:xfrm>
            <a:off x="3632201" y="2921001"/>
            <a:ext cx="512233" cy="469900"/>
          </a:xfrm>
          <a:custGeom>
            <a:avLst/>
            <a:gdLst>
              <a:gd name="T0" fmla="*/ 61282692 w 170"/>
              <a:gd name="T1" fmla="*/ 796175517 h 156"/>
              <a:gd name="T2" fmla="*/ 61282692 w 170"/>
              <a:gd name="T3" fmla="*/ 714516837 h 156"/>
              <a:gd name="T4" fmla="*/ 61282692 w 170"/>
              <a:gd name="T5" fmla="*/ 714516837 h 156"/>
              <a:gd name="T6" fmla="*/ 76604495 w 170"/>
              <a:gd name="T7" fmla="*/ 668584112 h 156"/>
              <a:gd name="T8" fmla="*/ 403447026 w 170"/>
              <a:gd name="T9" fmla="*/ 96971094 h 156"/>
              <a:gd name="T10" fmla="*/ 403447026 w 170"/>
              <a:gd name="T11" fmla="*/ 96971094 h 156"/>
              <a:gd name="T12" fmla="*/ 403447026 w 170"/>
              <a:gd name="T13" fmla="*/ 96971094 h 156"/>
              <a:gd name="T14" fmla="*/ 434090632 w 170"/>
              <a:gd name="T15" fmla="*/ 76555295 h 156"/>
              <a:gd name="T16" fmla="*/ 459624710 w 170"/>
              <a:gd name="T17" fmla="*/ 86762065 h 156"/>
              <a:gd name="T18" fmla="*/ 464731978 w 170"/>
              <a:gd name="T19" fmla="*/ 96971094 h 156"/>
              <a:gd name="T20" fmla="*/ 464731978 w 170"/>
              <a:gd name="T21" fmla="*/ 96971094 h 156"/>
              <a:gd name="T22" fmla="*/ 464731978 w 170"/>
              <a:gd name="T23" fmla="*/ 96971094 h 156"/>
              <a:gd name="T24" fmla="*/ 464731978 w 170"/>
              <a:gd name="T25" fmla="*/ 96971094 h 156"/>
              <a:gd name="T26" fmla="*/ 791574509 w 170"/>
              <a:gd name="T27" fmla="*/ 668584112 h 156"/>
              <a:gd name="T28" fmla="*/ 806896312 w 170"/>
              <a:gd name="T29" fmla="*/ 714516837 h 156"/>
              <a:gd name="T30" fmla="*/ 806896312 w 170"/>
              <a:gd name="T31" fmla="*/ 714516837 h 156"/>
              <a:gd name="T32" fmla="*/ 806896312 w 170"/>
              <a:gd name="T33" fmla="*/ 796175517 h 156"/>
              <a:gd name="T34" fmla="*/ 863071736 w 170"/>
              <a:gd name="T35" fmla="*/ 796175517 h 156"/>
              <a:gd name="T36" fmla="*/ 863071736 w 170"/>
              <a:gd name="T37" fmla="*/ 734930377 h 156"/>
              <a:gd name="T38" fmla="*/ 868179004 w 170"/>
              <a:gd name="T39" fmla="*/ 724723607 h 156"/>
              <a:gd name="T40" fmla="*/ 842644925 w 170"/>
              <a:gd name="T41" fmla="*/ 637961542 h 156"/>
              <a:gd name="T42" fmla="*/ 505585599 w 170"/>
              <a:gd name="T43" fmla="*/ 45932725 h 156"/>
              <a:gd name="T44" fmla="*/ 485158789 w 170"/>
              <a:gd name="T45" fmla="*/ 25519185 h 156"/>
              <a:gd name="T46" fmla="*/ 434090632 w 170"/>
              <a:gd name="T47" fmla="*/ 0 h 156"/>
              <a:gd name="T48" fmla="*/ 383020215 w 170"/>
              <a:gd name="T49" fmla="*/ 25519185 h 156"/>
              <a:gd name="T50" fmla="*/ 362593404 w 170"/>
              <a:gd name="T51" fmla="*/ 45932725 h 156"/>
              <a:gd name="T52" fmla="*/ 25534078 w 170"/>
              <a:gd name="T53" fmla="*/ 637961542 h 156"/>
              <a:gd name="T54" fmla="*/ 0 w 170"/>
              <a:gd name="T55" fmla="*/ 724723607 h 156"/>
              <a:gd name="T56" fmla="*/ 5107268 w 170"/>
              <a:gd name="T57" fmla="*/ 734930377 h 156"/>
              <a:gd name="T58" fmla="*/ 5107268 w 170"/>
              <a:gd name="T59" fmla="*/ 796175517 h 156"/>
              <a:gd name="T60" fmla="*/ 61282692 w 170"/>
              <a:gd name="T61" fmla="*/ 796175517 h 15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70" h="156">
                <a:moveTo>
                  <a:pt x="12" y="156"/>
                </a:moveTo>
                <a:cubicBezTo>
                  <a:pt x="12" y="140"/>
                  <a:pt x="12" y="140"/>
                  <a:pt x="12" y="140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2" y="139"/>
                  <a:pt x="13" y="135"/>
                  <a:pt x="15" y="131"/>
                </a:cubicBezTo>
                <a:cubicBezTo>
                  <a:pt x="79" y="19"/>
                  <a:pt x="79" y="19"/>
                  <a:pt x="79" y="19"/>
                </a:cubicBezTo>
                <a:cubicBezTo>
                  <a:pt x="79" y="19"/>
                  <a:pt x="79" y="19"/>
                  <a:pt x="79" y="19"/>
                </a:cubicBezTo>
                <a:cubicBezTo>
                  <a:pt x="79" y="19"/>
                  <a:pt x="79" y="19"/>
                  <a:pt x="79" y="19"/>
                </a:cubicBezTo>
                <a:cubicBezTo>
                  <a:pt x="79" y="18"/>
                  <a:pt x="81" y="15"/>
                  <a:pt x="85" y="15"/>
                </a:cubicBezTo>
                <a:cubicBezTo>
                  <a:pt x="87" y="15"/>
                  <a:pt x="89" y="16"/>
                  <a:pt x="90" y="17"/>
                </a:cubicBezTo>
                <a:cubicBezTo>
                  <a:pt x="90" y="18"/>
                  <a:pt x="90" y="18"/>
                  <a:pt x="91" y="19"/>
                </a:cubicBezTo>
                <a:cubicBezTo>
                  <a:pt x="91" y="19"/>
                  <a:pt x="91" y="19"/>
                  <a:pt x="91" y="19"/>
                </a:cubicBezTo>
                <a:cubicBezTo>
                  <a:pt x="91" y="19"/>
                  <a:pt x="91" y="19"/>
                  <a:pt x="91" y="19"/>
                </a:cubicBezTo>
                <a:cubicBezTo>
                  <a:pt x="91" y="19"/>
                  <a:pt x="91" y="19"/>
                  <a:pt x="91" y="19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7" y="135"/>
                  <a:pt x="158" y="139"/>
                  <a:pt x="158" y="140"/>
                </a:cubicBezTo>
                <a:cubicBezTo>
                  <a:pt x="158" y="140"/>
                  <a:pt x="158" y="140"/>
                  <a:pt x="158" y="140"/>
                </a:cubicBezTo>
                <a:cubicBezTo>
                  <a:pt x="158" y="156"/>
                  <a:pt x="158" y="156"/>
                  <a:pt x="158" y="156"/>
                </a:cubicBezTo>
                <a:cubicBezTo>
                  <a:pt x="169" y="156"/>
                  <a:pt x="169" y="156"/>
                  <a:pt x="169" y="156"/>
                </a:cubicBezTo>
                <a:cubicBezTo>
                  <a:pt x="169" y="144"/>
                  <a:pt x="169" y="144"/>
                  <a:pt x="169" y="144"/>
                </a:cubicBezTo>
                <a:cubicBezTo>
                  <a:pt x="170" y="144"/>
                  <a:pt x="170" y="143"/>
                  <a:pt x="170" y="142"/>
                </a:cubicBezTo>
                <a:cubicBezTo>
                  <a:pt x="170" y="139"/>
                  <a:pt x="169" y="131"/>
                  <a:pt x="165" y="125"/>
                </a:cubicBezTo>
                <a:cubicBezTo>
                  <a:pt x="99" y="9"/>
                  <a:pt x="99" y="9"/>
                  <a:pt x="99" y="9"/>
                </a:cubicBezTo>
                <a:cubicBezTo>
                  <a:pt x="99" y="9"/>
                  <a:pt x="97" y="7"/>
                  <a:pt x="95" y="5"/>
                </a:cubicBezTo>
                <a:cubicBezTo>
                  <a:pt x="93" y="3"/>
                  <a:pt x="90" y="0"/>
                  <a:pt x="85" y="0"/>
                </a:cubicBezTo>
                <a:cubicBezTo>
                  <a:pt x="80" y="0"/>
                  <a:pt x="77" y="3"/>
                  <a:pt x="75" y="5"/>
                </a:cubicBezTo>
                <a:cubicBezTo>
                  <a:pt x="73" y="7"/>
                  <a:pt x="71" y="9"/>
                  <a:pt x="71" y="9"/>
                </a:cubicBezTo>
                <a:cubicBezTo>
                  <a:pt x="5" y="125"/>
                  <a:pt x="5" y="125"/>
                  <a:pt x="5" y="125"/>
                </a:cubicBezTo>
                <a:cubicBezTo>
                  <a:pt x="1" y="131"/>
                  <a:pt x="0" y="139"/>
                  <a:pt x="0" y="142"/>
                </a:cubicBezTo>
                <a:cubicBezTo>
                  <a:pt x="0" y="143"/>
                  <a:pt x="1" y="144"/>
                  <a:pt x="1" y="144"/>
                </a:cubicBezTo>
                <a:cubicBezTo>
                  <a:pt x="1" y="156"/>
                  <a:pt x="1" y="156"/>
                  <a:pt x="1" y="156"/>
                </a:cubicBezTo>
                <a:lnTo>
                  <a:pt x="12" y="1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4" name="Freeform 65"/>
          <p:cNvSpPr>
            <a:spLocks/>
          </p:cNvSpPr>
          <p:nvPr/>
        </p:nvSpPr>
        <p:spPr bwMode="auto">
          <a:xfrm>
            <a:off x="3636434" y="3405718"/>
            <a:ext cx="503767" cy="86783"/>
          </a:xfrm>
          <a:custGeom>
            <a:avLst/>
            <a:gdLst>
              <a:gd name="T0" fmla="*/ 794075702 w 168"/>
              <a:gd name="T1" fmla="*/ 0 h 29"/>
              <a:gd name="T2" fmla="*/ 794075702 w 168"/>
              <a:gd name="T3" fmla="*/ 60447868 h 29"/>
              <a:gd name="T4" fmla="*/ 789020044 w 168"/>
              <a:gd name="T5" fmla="*/ 80597905 h 29"/>
              <a:gd name="T6" fmla="*/ 768788415 w 168"/>
              <a:gd name="T7" fmla="*/ 85634293 h 29"/>
              <a:gd name="T8" fmla="*/ 80924268 w 168"/>
              <a:gd name="T9" fmla="*/ 85634293 h 29"/>
              <a:gd name="T10" fmla="*/ 60694888 w 168"/>
              <a:gd name="T11" fmla="*/ 80597905 h 29"/>
              <a:gd name="T12" fmla="*/ 55636980 w 168"/>
              <a:gd name="T13" fmla="*/ 60447868 h 29"/>
              <a:gd name="T14" fmla="*/ 55636980 w 168"/>
              <a:gd name="T15" fmla="*/ 0 h 29"/>
              <a:gd name="T16" fmla="*/ 0 w 168"/>
              <a:gd name="T17" fmla="*/ 0 h 29"/>
              <a:gd name="T18" fmla="*/ 0 w 168"/>
              <a:gd name="T19" fmla="*/ 85634293 h 29"/>
              <a:gd name="T20" fmla="*/ 60694888 w 168"/>
              <a:gd name="T21" fmla="*/ 146082161 h 29"/>
              <a:gd name="T22" fmla="*/ 789020044 w 168"/>
              <a:gd name="T23" fmla="*/ 146082161 h 29"/>
              <a:gd name="T24" fmla="*/ 849712682 w 168"/>
              <a:gd name="T25" fmla="*/ 85634293 h 29"/>
              <a:gd name="T26" fmla="*/ 849712682 w 168"/>
              <a:gd name="T27" fmla="*/ 0 h 29"/>
              <a:gd name="T28" fmla="*/ 794075702 w 168"/>
              <a:gd name="T29" fmla="*/ 0 h 2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8" h="29">
                <a:moveTo>
                  <a:pt x="157" y="0"/>
                </a:moveTo>
                <a:cubicBezTo>
                  <a:pt x="157" y="12"/>
                  <a:pt x="157" y="12"/>
                  <a:pt x="157" y="12"/>
                </a:cubicBezTo>
                <a:cubicBezTo>
                  <a:pt x="157" y="15"/>
                  <a:pt x="156" y="16"/>
                  <a:pt x="156" y="16"/>
                </a:cubicBezTo>
                <a:cubicBezTo>
                  <a:pt x="155" y="16"/>
                  <a:pt x="154" y="17"/>
                  <a:pt x="152" y="17"/>
                </a:cubicBezTo>
                <a:cubicBezTo>
                  <a:pt x="16" y="17"/>
                  <a:pt x="16" y="17"/>
                  <a:pt x="16" y="17"/>
                </a:cubicBezTo>
                <a:cubicBezTo>
                  <a:pt x="14" y="17"/>
                  <a:pt x="13" y="16"/>
                  <a:pt x="12" y="16"/>
                </a:cubicBezTo>
                <a:cubicBezTo>
                  <a:pt x="12" y="16"/>
                  <a:pt x="11" y="15"/>
                  <a:pt x="11" y="12"/>
                </a:cubicBezTo>
                <a:cubicBezTo>
                  <a:pt x="11" y="0"/>
                  <a:pt x="11" y="0"/>
                  <a:pt x="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23"/>
                  <a:pt x="5" y="29"/>
                  <a:pt x="12" y="29"/>
                </a:cubicBezTo>
                <a:cubicBezTo>
                  <a:pt x="156" y="29"/>
                  <a:pt x="156" y="29"/>
                  <a:pt x="156" y="29"/>
                </a:cubicBezTo>
                <a:cubicBezTo>
                  <a:pt x="163" y="29"/>
                  <a:pt x="168" y="23"/>
                  <a:pt x="168" y="17"/>
                </a:cubicBezTo>
                <a:cubicBezTo>
                  <a:pt x="168" y="0"/>
                  <a:pt x="168" y="0"/>
                  <a:pt x="168" y="0"/>
                </a:cubicBezTo>
                <a:lnTo>
                  <a:pt x="15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5" name="Freeform 66"/>
          <p:cNvSpPr>
            <a:spLocks/>
          </p:cNvSpPr>
          <p:nvPr/>
        </p:nvSpPr>
        <p:spPr bwMode="auto">
          <a:xfrm>
            <a:off x="3786718" y="3033185"/>
            <a:ext cx="194733" cy="359833"/>
          </a:xfrm>
          <a:custGeom>
            <a:avLst/>
            <a:gdLst>
              <a:gd name="T0" fmla="*/ 35339606 w 65"/>
              <a:gd name="T1" fmla="*/ 298412032 h 120"/>
              <a:gd name="T2" fmla="*/ 45437278 w 65"/>
              <a:gd name="T3" fmla="*/ 323699320 h 120"/>
              <a:gd name="T4" fmla="*/ 60583787 w 65"/>
              <a:gd name="T5" fmla="*/ 318641413 h 120"/>
              <a:gd name="T6" fmla="*/ 60583787 w 65"/>
              <a:gd name="T7" fmla="*/ 298412032 h 120"/>
              <a:gd name="T8" fmla="*/ 65632623 w 65"/>
              <a:gd name="T9" fmla="*/ 293354125 h 120"/>
              <a:gd name="T10" fmla="*/ 75730295 w 65"/>
              <a:gd name="T11" fmla="*/ 247832959 h 120"/>
              <a:gd name="T12" fmla="*/ 80779132 w 65"/>
              <a:gd name="T13" fmla="*/ 217485516 h 120"/>
              <a:gd name="T14" fmla="*/ 111069902 w 65"/>
              <a:gd name="T15" fmla="*/ 187138072 h 120"/>
              <a:gd name="T16" fmla="*/ 95925640 w 65"/>
              <a:gd name="T17" fmla="*/ 303469940 h 120"/>
              <a:gd name="T18" fmla="*/ 100972229 w 65"/>
              <a:gd name="T19" fmla="*/ 328757227 h 120"/>
              <a:gd name="T20" fmla="*/ 100972229 w 65"/>
              <a:gd name="T21" fmla="*/ 348988856 h 120"/>
              <a:gd name="T22" fmla="*/ 70681459 w 65"/>
              <a:gd name="T23" fmla="*/ 419799558 h 120"/>
              <a:gd name="T24" fmla="*/ 10097672 w 65"/>
              <a:gd name="T25" fmla="*/ 546244992 h 120"/>
              <a:gd name="T26" fmla="*/ 20195345 w 65"/>
              <a:gd name="T27" fmla="*/ 576590186 h 120"/>
              <a:gd name="T28" fmla="*/ 45437278 w 65"/>
              <a:gd name="T29" fmla="*/ 591763908 h 120"/>
              <a:gd name="T30" fmla="*/ 75730295 w 65"/>
              <a:gd name="T31" fmla="*/ 601879723 h 120"/>
              <a:gd name="T32" fmla="*/ 65632623 w 65"/>
              <a:gd name="T33" fmla="*/ 576590186 h 120"/>
              <a:gd name="T34" fmla="*/ 90876804 w 65"/>
              <a:gd name="T35" fmla="*/ 510839641 h 120"/>
              <a:gd name="T36" fmla="*/ 146411755 w 65"/>
              <a:gd name="T37" fmla="*/ 399567929 h 120"/>
              <a:gd name="T38" fmla="*/ 161558263 w 65"/>
              <a:gd name="T39" fmla="*/ 399567929 h 120"/>
              <a:gd name="T40" fmla="*/ 196897869 w 65"/>
              <a:gd name="T41" fmla="*/ 450144753 h 120"/>
              <a:gd name="T42" fmla="*/ 212044378 w 65"/>
              <a:gd name="T43" fmla="*/ 485550104 h 120"/>
              <a:gd name="T44" fmla="*/ 242335148 w 65"/>
              <a:gd name="T45" fmla="*/ 581648094 h 120"/>
              <a:gd name="T46" fmla="*/ 287774673 w 65"/>
              <a:gd name="T47" fmla="*/ 591763908 h 120"/>
              <a:gd name="T48" fmla="*/ 328163115 w 65"/>
              <a:gd name="T49" fmla="*/ 576590186 h 120"/>
              <a:gd name="T50" fmla="*/ 307967771 w 65"/>
              <a:gd name="T51" fmla="*/ 566474372 h 120"/>
              <a:gd name="T52" fmla="*/ 292823509 w 65"/>
              <a:gd name="T53" fmla="*/ 546244992 h 120"/>
              <a:gd name="T54" fmla="*/ 267579328 w 65"/>
              <a:gd name="T55" fmla="*/ 460260568 h 120"/>
              <a:gd name="T56" fmla="*/ 247383984 w 65"/>
              <a:gd name="T57" fmla="*/ 414741651 h 120"/>
              <a:gd name="T58" fmla="*/ 201946705 w 65"/>
              <a:gd name="T59" fmla="*/ 328757227 h 120"/>
              <a:gd name="T60" fmla="*/ 196897869 w 65"/>
              <a:gd name="T61" fmla="*/ 303469940 h 120"/>
              <a:gd name="T62" fmla="*/ 201946705 w 65"/>
              <a:gd name="T63" fmla="*/ 242775052 h 120"/>
              <a:gd name="T64" fmla="*/ 217093214 w 65"/>
              <a:gd name="T65" fmla="*/ 237717145 h 120"/>
              <a:gd name="T66" fmla="*/ 272628165 w 65"/>
              <a:gd name="T67" fmla="*/ 273122496 h 120"/>
              <a:gd name="T68" fmla="*/ 292823509 w 65"/>
              <a:gd name="T69" fmla="*/ 278180403 h 120"/>
              <a:gd name="T70" fmla="*/ 318065443 w 65"/>
              <a:gd name="T71" fmla="*/ 278180403 h 120"/>
              <a:gd name="T72" fmla="*/ 297870098 w 65"/>
              <a:gd name="T73" fmla="*/ 247832959 h 120"/>
              <a:gd name="T74" fmla="*/ 247383984 w 65"/>
              <a:gd name="T75" fmla="*/ 212427608 h 120"/>
              <a:gd name="T76" fmla="*/ 232237475 w 65"/>
              <a:gd name="T77" fmla="*/ 192195979 h 120"/>
              <a:gd name="T78" fmla="*/ 217093214 w 65"/>
              <a:gd name="T79" fmla="*/ 151734970 h 120"/>
              <a:gd name="T80" fmla="*/ 196897869 w 65"/>
              <a:gd name="T81" fmla="*/ 116329619 h 120"/>
              <a:gd name="T82" fmla="*/ 181751361 w 65"/>
              <a:gd name="T83" fmla="*/ 101155897 h 120"/>
              <a:gd name="T84" fmla="*/ 196897869 w 65"/>
              <a:gd name="T85" fmla="*/ 85982175 h 120"/>
              <a:gd name="T86" fmla="*/ 206995542 w 65"/>
              <a:gd name="T87" fmla="*/ 65750546 h 120"/>
              <a:gd name="T88" fmla="*/ 212044378 w 65"/>
              <a:gd name="T89" fmla="*/ 45521166 h 120"/>
              <a:gd name="T90" fmla="*/ 227190886 w 65"/>
              <a:gd name="T91" fmla="*/ 30347444 h 120"/>
              <a:gd name="T92" fmla="*/ 217093214 w 65"/>
              <a:gd name="T93" fmla="*/ 25289536 h 120"/>
              <a:gd name="T94" fmla="*/ 206995542 w 65"/>
              <a:gd name="T95" fmla="*/ 15173722 h 120"/>
              <a:gd name="T96" fmla="*/ 186800197 w 65"/>
              <a:gd name="T97" fmla="*/ 0 h 120"/>
              <a:gd name="T98" fmla="*/ 151460591 w 65"/>
              <a:gd name="T99" fmla="*/ 10115815 h 120"/>
              <a:gd name="T100" fmla="*/ 131265246 w 65"/>
              <a:gd name="T101" fmla="*/ 35405351 h 120"/>
              <a:gd name="T102" fmla="*/ 126216410 w 65"/>
              <a:gd name="T103" fmla="*/ 45521166 h 120"/>
              <a:gd name="T104" fmla="*/ 136314082 w 65"/>
              <a:gd name="T105" fmla="*/ 50579073 h 120"/>
              <a:gd name="T106" fmla="*/ 141362918 w 65"/>
              <a:gd name="T107" fmla="*/ 65750546 h 120"/>
              <a:gd name="T108" fmla="*/ 141362918 w 65"/>
              <a:gd name="T109" fmla="*/ 91040082 h 120"/>
              <a:gd name="T110" fmla="*/ 100972229 w 65"/>
              <a:gd name="T111" fmla="*/ 121387526 h 120"/>
              <a:gd name="T112" fmla="*/ 50486115 w 65"/>
              <a:gd name="T113" fmla="*/ 182082414 h 120"/>
              <a:gd name="T114" fmla="*/ 35339606 w 65"/>
              <a:gd name="T115" fmla="*/ 222543423 h 120"/>
              <a:gd name="T116" fmla="*/ 25244181 w 65"/>
              <a:gd name="T117" fmla="*/ 288296218 h 120"/>
              <a:gd name="T118" fmla="*/ 35339606 w 65"/>
              <a:gd name="T119" fmla="*/ 298412032 h 12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65" h="120">
                <a:moveTo>
                  <a:pt x="7" y="59"/>
                </a:moveTo>
                <a:cubicBezTo>
                  <a:pt x="6" y="62"/>
                  <a:pt x="7" y="64"/>
                  <a:pt x="9" y="64"/>
                </a:cubicBezTo>
                <a:cubicBezTo>
                  <a:pt x="11" y="65"/>
                  <a:pt x="11" y="64"/>
                  <a:pt x="12" y="63"/>
                </a:cubicBezTo>
                <a:cubicBezTo>
                  <a:pt x="12" y="62"/>
                  <a:pt x="12" y="59"/>
                  <a:pt x="12" y="59"/>
                </a:cubicBezTo>
                <a:cubicBezTo>
                  <a:pt x="12" y="59"/>
                  <a:pt x="13" y="59"/>
                  <a:pt x="13" y="58"/>
                </a:cubicBezTo>
                <a:cubicBezTo>
                  <a:pt x="14" y="57"/>
                  <a:pt x="14" y="53"/>
                  <a:pt x="15" y="49"/>
                </a:cubicBezTo>
                <a:cubicBezTo>
                  <a:pt x="15" y="44"/>
                  <a:pt x="15" y="44"/>
                  <a:pt x="16" y="43"/>
                </a:cubicBezTo>
                <a:cubicBezTo>
                  <a:pt x="18" y="42"/>
                  <a:pt x="22" y="37"/>
                  <a:pt x="22" y="37"/>
                </a:cubicBezTo>
                <a:cubicBezTo>
                  <a:pt x="21" y="42"/>
                  <a:pt x="19" y="57"/>
                  <a:pt x="19" y="60"/>
                </a:cubicBezTo>
                <a:cubicBezTo>
                  <a:pt x="19" y="64"/>
                  <a:pt x="20" y="63"/>
                  <a:pt x="20" y="65"/>
                </a:cubicBezTo>
                <a:cubicBezTo>
                  <a:pt x="21" y="66"/>
                  <a:pt x="20" y="69"/>
                  <a:pt x="20" y="69"/>
                </a:cubicBezTo>
                <a:cubicBezTo>
                  <a:pt x="20" y="69"/>
                  <a:pt x="17" y="75"/>
                  <a:pt x="14" y="83"/>
                </a:cubicBezTo>
                <a:cubicBezTo>
                  <a:pt x="10" y="92"/>
                  <a:pt x="4" y="103"/>
                  <a:pt x="2" y="108"/>
                </a:cubicBezTo>
                <a:cubicBezTo>
                  <a:pt x="0" y="113"/>
                  <a:pt x="4" y="114"/>
                  <a:pt x="4" y="114"/>
                </a:cubicBezTo>
                <a:cubicBezTo>
                  <a:pt x="4" y="114"/>
                  <a:pt x="5" y="115"/>
                  <a:pt x="9" y="117"/>
                </a:cubicBezTo>
                <a:cubicBezTo>
                  <a:pt x="12" y="119"/>
                  <a:pt x="15" y="120"/>
                  <a:pt x="15" y="119"/>
                </a:cubicBezTo>
                <a:cubicBezTo>
                  <a:pt x="16" y="117"/>
                  <a:pt x="14" y="116"/>
                  <a:pt x="13" y="114"/>
                </a:cubicBezTo>
                <a:cubicBezTo>
                  <a:pt x="12" y="112"/>
                  <a:pt x="15" y="108"/>
                  <a:pt x="18" y="101"/>
                </a:cubicBezTo>
                <a:cubicBezTo>
                  <a:pt x="22" y="94"/>
                  <a:pt x="28" y="81"/>
                  <a:pt x="29" y="79"/>
                </a:cubicBezTo>
                <a:cubicBezTo>
                  <a:pt x="30" y="78"/>
                  <a:pt x="32" y="79"/>
                  <a:pt x="32" y="79"/>
                </a:cubicBezTo>
                <a:cubicBezTo>
                  <a:pt x="32" y="79"/>
                  <a:pt x="36" y="85"/>
                  <a:pt x="39" y="89"/>
                </a:cubicBezTo>
                <a:cubicBezTo>
                  <a:pt x="41" y="93"/>
                  <a:pt x="42" y="96"/>
                  <a:pt x="42" y="96"/>
                </a:cubicBezTo>
                <a:cubicBezTo>
                  <a:pt x="42" y="96"/>
                  <a:pt x="46" y="109"/>
                  <a:pt x="48" y="115"/>
                </a:cubicBezTo>
                <a:cubicBezTo>
                  <a:pt x="50" y="120"/>
                  <a:pt x="52" y="118"/>
                  <a:pt x="57" y="117"/>
                </a:cubicBezTo>
                <a:cubicBezTo>
                  <a:pt x="62" y="117"/>
                  <a:pt x="65" y="115"/>
                  <a:pt x="65" y="114"/>
                </a:cubicBezTo>
                <a:cubicBezTo>
                  <a:pt x="64" y="113"/>
                  <a:pt x="63" y="113"/>
                  <a:pt x="61" y="112"/>
                </a:cubicBezTo>
                <a:cubicBezTo>
                  <a:pt x="59" y="112"/>
                  <a:pt x="58" y="111"/>
                  <a:pt x="58" y="108"/>
                </a:cubicBezTo>
                <a:cubicBezTo>
                  <a:pt x="57" y="105"/>
                  <a:pt x="54" y="96"/>
                  <a:pt x="53" y="91"/>
                </a:cubicBezTo>
                <a:cubicBezTo>
                  <a:pt x="51" y="86"/>
                  <a:pt x="51" y="86"/>
                  <a:pt x="49" y="82"/>
                </a:cubicBezTo>
                <a:cubicBezTo>
                  <a:pt x="47" y="78"/>
                  <a:pt x="41" y="68"/>
                  <a:pt x="40" y="65"/>
                </a:cubicBezTo>
                <a:cubicBezTo>
                  <a:pt x="39" y="62"/>
                  <a:pt x="39" y="60"/>
                  <a:pt x="39" y="60"/>
                </a:cubicBezTo>
                <a:cubicBezTo>
                  <a:pt x="39" y="60"/>
                  <a:pt x="40" y="51"/>
                  <a:pt x="40" y="48"/>
                </a:cubicBezTo>
                <a:cubicBezTo>
                  <a:pt x="41" y="45"/>
                  <a:pt x="43" y="47"/>
                  <a:pt x="43" y="47"/>
                </a:cubicBezTo>
                <a:cubicBezTo>
                  <a:pt x="43" y="47"/>
                  <a:pt x="51" y="53"/>
                  <a:pt x="54" y="54"/>
                </a:cubicBezTo>
                <a:cubicBezTo>
                  <a:pt x="56" y="56"/>
                  <a:pt x="57" y="55"/>
                  <a:pt x="58" y="55"/>
                </a:cubicBezTo>
                <a:cubicBezTo>
                  <a:pt x="60" y="56"/>
                  <a:pt x="61" y="57"/>
                  <a:pt x="63" y="55"/>
                </a:cubicBezTo>
                <a:cubicBezTo>
                  <a:pt x="64" y="54"/>
                  <a:pt x="62" y="51"/>
                  <a:pt x="59" y="49"/>
                </a:cubicBezTo>
                <a:cubicBezTo>
                  <a:pt x="56" y="47"/>
                  <a:pt x="51" y="43"/>
                  <a:pt x="49" y="42"/>
                </a:cubicBezTo>
                <a:cubicBezTo>
                  <a:pt x="47" y="41"/>
                  <a:pt x="46" y="38"/>
                  <a:pt x="46" y="38"/>
                </a:cubicBezTo>
                <a:cubicBezTo>
                  <a:pt x="46" y="38"/>
                  <a:pt x="44" y="34"/>
                  <a:pt x="43" y="30"/>
                </a:cubicBezTo>
                <a:cubicBezTo>
                  <a:pt x="42" y="26"/>
                  <a:pt x="41" y="24"/>
                  <a:pt x="39" y="23"/>
                </a:cubicBezTo>
                <a:cubicBezTo>
                  <a:pt x="36" y="21"/>
                  <a:pt x="36" y="21"/>
                  <a:pt x="36" y="20"/>
                </a:cubicBezTo>
                <a:cubicBezTo>
                  <a:pt x="36" y="19"/>
                  <a:pt x="37" y="18"/>
                  <a:pt x="39" y="17"/>
                </a:cubicBezTo>
                <a:cubicBezTo>
                  <a:pt x="41" y="16"/>
                  <a:pt x="41" y="15"/>
                  <a:pt x="41" y="13"/>
                </a:cubicBezTo>
                <a:cubicBezTo>
                  <a:pt x="41" y="10"/>
                  <a:pt x="41" y="9"/>
                  <a:pt x="42" y="9"/>
                </a:cubicBezTo>
                <a:cubicBezTo>
                  <a:pt x="44" y="8"/>
                  <a:pt x="45" y="7"/>
                  <a:pt x="45" y="6"/>
                </a:cubicBezTo>
                <a:cubicBezTo>
                  <a:pt x="45" y="5"/>
                  <a:pt x="43" y="5"/>
                  <a:pt x="43" y="5"/>
                </a:cubicBezTo>
                <a:cubicBezTo>
                  <a:pt x="41" y="5"/>
                  <a:pt x="41" y="4"/>
                  <a:pt x="41" y="3"/>
                </a:cubicBezTo>
                <a:cubicBezTo>
                  <a:pt x="41" y="2"/>
                  <a:pt x="40" y="0"/>
                  <a:pt x="37" y="0"/>
                </a:cubicBezTo>
                <a:cubicBezTo>
                  <a:pt x="34" y="0"/>
                  <a:pt x="31" y="1"/>
                  <a:pt x="30" y="2"/>
                </a:cubicBezTo>
                <a:cubicBezTo>
                  <a:pt x="28" y="3"/>
                  <a:pt x="30" y="5"/>
                  <a:pt x="26" y="7"/>
                </a:cubicBezTo>
                <a:cubicBezTo>
                  <a:pt x="25" y="7"/>
                  <a:pt x="24" y="8"/>
                  <a:pt x="25" y="9"/>
                </a:cubicBezTo>
                <a:cubicBezTo>
                  <a:pt x="25" y="10"/>
                  <a:pt x="26" y="10"/>
                  <a:pt x="27" y="10"/>
                </a:cubicBezTo>
                <a:cubicBezTo>
                  <a:pt x="29" y="11"/>
                  <a:pt x="28" y="13"/>
                  <a:pt x="28" y="13"/>
                </a:cubicBezTo>
                <a:cubicBezTo>
                  <a:pt x="28" y="13"/>
                  <a:pt x="29" y="16"/>
                  <a:pt x="28" y="18"/>
                </a:cubicBezTo>
                <a:cubicBezTo>
                  <a:pt x="28" y="20"/>
                  <a:pt x="24" y="20"/>
                  <a:pt x="20" y="24"/>
                </a:cubicBezTo>
                <a:cubicBezTo>
                  <a:pt x="16" y="27"/>
                  <a:pt x="13" y="32"/>
                  <a:pt x="10" y="36"/>
                </a:cubicBezTo>
                <a:cubicBezTo>
                  <a:pt x="7" y="40"/>
                  <a:pt x="7" y="42"/>
                  <a:pt x="7" y="44"/>
                </a:cubicBezTo>
                <a:cubicBezTo>
                  <a:pt x="7" y="46"/>
                  <a:pt x="5" y="56"/>
                  <a:pt x="5" y="57"/>
                </a:cubicBezTo>
                <a:cubicBezTo>
                  <a:pt x="5" y="59"/>
                  <a:pt x="7" y="59"/>
                  <a:pt x="7" y="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6" name="Freeform 67"/>
          <p:cNvSpPr>
            <a:spLocks/>
          </p:cNvSpPr>
          <p:nvPr/>
        </p:nvSpPr>
        <p:spPr bwMode="auto">
          <a:xfrm>
            <a:off x="3958167" y="3299885"/>
            <a:ext cx="78317" cy="27516"/>
          </a:xfrm>
          <a:custGeom>
            <a:avLst/>
            <a:gdLst>
              <a:gd name="T0" fmla="*/ 10080711 w 37"/>
              <a:gd name="T1" fmla="*/ 32762031 h 13"/>
              <a:gd name="T2" fmla="*/ 93247369 w 37"/>
              <a:gd name="T3" fmla="*/ 32762031 h 13"/>
              <a:gd name="T4" fmla="*/ 75605331 w 37"/>
              <a:gd name="T5" fmla="*/ 0 h 13"/>
              <a:gd name="T6" fmla="*/ 0 w 37"/>
              <a:gd name="T7" fmla="*/ 0 h 13"/>
              <a:gd name="T8" fmla="*/ 10080711 w 37"/>
              <a:gd name="T9" fmla="*/ 32762031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7" h="13">
                <a:moveTo>
                  <a:pt x="4" y="13"/>
                </a:moveTo>
                <a:lnTo>
                  <a:pt x="37" y="13"/>
                </a:lnTo>
                <a:lnTo>
                  <a:pt x="30" y="0"/>
                </a:lnTo>
                <a:lnTo>
                  <a:pt x="0" y="0"/>
                </a:lnTo>
                <a:lnTo>
                  <a:pt x="4" y="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7" name="Freeform 68"/>
          <p:cNvSpPr>
            <a:spLocks/>
          </p:cNvSpPr>
          <p:nvPr/>
        </p:nvSpPr>
        <p:spPr bwMode="auto">
          <a:xfrm>
            <a:off x="3740151" y="3299885"/>
            <a:ext cx="63500" cy="27516"/>
          </a:xfrm>
          <a:custGeom>
            <a:avLst/>
            <a:gdLst>
              <a:gd name="T0" fmla="*/ 75604688 w 30"/>
              <a:gd name="T1" fmla="*/ 0 h 13"/>
              <a:gd name="T2" fmla="*/ 15120938 w 30"/>
              <a:gd name="T3" fmla="*/ 0 h 13"/>
              <a:gd name="T4" fmla="*/ 0 w 30"/>
              <a:gd name="T5" fmla="*/ 32762031 h 13"/>
              <a:gd name="T6" fmla="*/ 57964388 w 30"/>
              <a:gd name="T7" fmla="*/ 32762031 h 13"/>
              <a:gd name="T8" fmla="*/ 75604688 w 30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0" h="13">
                <a:moveTo>
                  <a:pt x="30" y="0"/>
                </a:moveTo>
                <a:lnTo>
                  <a:pt x="6" y="0"/>
                </a:lnTo>
                <a:lnTo>
                  <a:pt x="0" y="13"/>
                </a:lnTo>
                <a:lnTo>
                  <a:pt x="23" y="13"/>
                </a:lnTo>
                <a:lnTo>
                  <a:pt x="3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8" name="Freeform 69"/>
          <p:cNvSpPr>
            <a:spLocks/>
          </p:cNvSpPr>
          <p:nvPr/>
        </p:nvSpPr>
        <p:spPr bwMode="auto">
          <a:xfrm>
            <a:off x="3695701" y="3399367"/>
            <a:ext cx="385233" cy="31751"/>
          </a:xfrm>
          <a:custGeom>
            <a:avLst/>
            <a:gdLst>
              <a:gd name="T0" fmla="*/ 78125638 w 182"/>
              <a:gd name="T1" fmla="*/ 0 h 15"/>
              <a:gd name="T2" fmla="*/ 17641888 w 182"/>
              <a:gd name="T3" fmla="*/ 0 h 15"/>
              <a:gd name="T4" fmla="*/ 0 w 182"/>
              <a:gd name="T5" fmla="*/ 37803931 h 15"/>
              <a:gd name="T6" fmla="*/ 60483750 w 182"/>
              <a:gd name="T7" fmla="*/ 37803931 h 15"/>
              <a:gd name="T8" fmla="*/ 90725625 w 182"/>
              <a:gd name="T9" fmla="*/ 37803931 h 15"/>
              <a:gd name="T10" fmla="*/ 458668438 w 182"/>
              <a:gd name="T11" fmla="*/ 37803931 h 15"/>
              <a:gd name="T12" fmla="*/ 441028138 w 182"/>
              <a:gd name="T13" fmla="*/ 0 h 15"/>
              <a:gd name="T14" fmla="*/ 78125638 w 182"/>
              <a:gd name="T15" fmla="*/ 0 h 1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82" h="15">
                <a:moveTo>
                  <a:pt x="31" y="0"/>
                </a:moveTo>
                <a:lnTo>
                  <a:pt x="7" y="0"/>
                </a:lnTo>
                <a:lnTo>
                  <a:pt x="0" y="15"/>
                </a:lnTo>
                <a:lnTo>
                  <a:pt x="24" y="15"/>
                </a:lnTo>
                <a:lnTo>
                  <a:pt x="36" y="15"/>
                </a:lnTo>
                <a:lnTo>
                  <a:pt x="182" y="15"/>
                </a:lnTo>
                <a:lnTo>
                  <a:pt x="175" y="0"/>
                </a:lnTo>
                <a:lnTo>
                  <a:pt x="3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59" name="Freeform 70"/>
          <p:cNvSpPr>
            <a:spLocks/>
          </p:cNvSpPr>
          <p:nvPr/>
        </p:nvSpPr>
        <p:spPr bwMode="auto">
          <a:xfrm>
            <a:off x="4724401" y="2976034"/>
            <a:ext cx="249767" cy="512233"/>
          </a:xfrm>
          <a:custGeom>
            <a:avLst/>
            <a:gdLst>
              <a:gd name="T0" fmla="*/ 366748496 w 83"/>
              <a:gd name="T1" fmla="*/ 0 h 170"/>
              <a:gd name="T2" fmla="*/ 0 w 83"/>
              <a:gd name="T3" fmla="*/ 0 h 170"/>
              <a:gd name="T4" fmla="*/ 0 w 83"/>
              <a:gd name="T5" fmla="*/ 102138573 h 170"/>
              <a:gd name="T6" fmla="*/ 142624290 w 83"/>
              <a:gd name="T7" fmla="*/ 183850336 h 170"/>
              <a:gd name="T8" fmla="*/ 142624290 w 83"/>
              <a:gd name="T9" fmla="*/ 398342018 h 170"/>
              <a:gd name="T10" fmla="*/ 325997409 w 83"/>
              <a:gd name="T11" fmla="*/ 398342018 h 170"/>
              <a:gd name="T12" fmla="*/ 325997409 w 83"/>
              <a:gd name="T13" fmla="*/ 464731978 h 170"/>
              <a:gd name="T14" fmla="*/ 142624290 w 83"/>
              <a:gd name="T15" fmla="*/ 464731978 h 170"/>
              <a:gd name="T16" fmla="*/ 142624290 w 83"/>
              <a:gd name="T17" fmla="*/ 771147698 h 170"/>
              <a:gd name="T18" fmla="*/ 0 w 83"/>
              <a:gd name="T19" fmla="*/ 689435935 h 170"/>
              <a:gd name="T20" fmla="*/ 0 w 83"/>
              <a:gd name="T21" fmla="*/ 868179004 h 170"/>
              <a:gd name="T22" fmla="*/ 366748496 w 83"/>
              <a:gd name="T23" fmla="*/ 868179004 h 170"/>
              <a:gd name="T24" fmla="*/ 422778983 w 83"/>
              <a:gd name="T25" fmla="*/ 812003579 h 170"/>
              <a:gd name="T26" fmla="*/ 422778983 w 83"/>
              <a:gd name="T27" fmla="*/ 56175424 h 170"/>
              <a:gd name="T28" fmla="*/ 366748496 w 83"/>
              <a:gd name="T29" fmla="*/ 0 h 17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83" h="170">
                <a:moveTo>
                  <a:pt x="7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20"/>
                  <a:pt x="0" y="20"/>
                  <a:pt x="0" y="20"/>
                </a:cubicBezTo>
                <a:cubicBezTo>
                  <a:pt x="28" y="36"/>
                  <a:pt x="28" y="36"/>
                  <a:pt x="28" y="36"/>
                </a:cubicBezTo>
                <a:cubicBezTo>
                  <a:pt x="28" y="78"/>
                  <a:pt x="28" y="78"/>
                  <a:pt x="28" y="78"/>
                </a:cubicBezTo>
                <a:cubicBezTo>
                  <a:pt x="64" y="78"/>
                  <a:pt x="64" y="78"/>
                  <a:pt x="64" y="78"/>
                </a:cubicBezTo>
                <a:cubicBezTo>
                  <a:pt x="64" y="91"/>
                  <a:pt x="64" y="91"/>
                  <a:pt x="64" y="91"/>
                </a:cubicBezTo>
                <a:cubicBezTo>
                  <a:pt x="28" y="91"/>
                  <a:pt x="28" y="91"/>
                  <a:pt x="28" y="91"/>
                </a:cubicBezTo>
                <a:cubicBezTo>
                  <a:pt x="28" y="151"/>
                  <a:pt x="28" y="151"/>
                  <a:pt x="28" y="151"/>
                </a:cubicBezTo>
                <a:cubicBezTo>
                  <a:pt x="0" y="135"/>
                  <a:pt x="0" y="135"/>
                  <a:pt x="0" y="135"/>
                </a:cubicBezTo>
                <a:cubicBezTo>
                  <a:pt x="0" y="170"/>
                  <a:pt x="0" y="170"/>
                  <a:pt x="0" y="170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8" y="170"/>
                  <a:pt x="83" y="165"/>
                  <a:pt x="83" y="159"/>
                </a:cubicBezTo>
                <a:cubicBezTo>
                  <a:pt x="83" y="11"/>
                  <a:pt x="83" y="11"/>
                  <a:pt x="83" y="11"/>
                </a:cubicBezTo>
                <a:cubicBezTo>
                  <a:pt x="83" y="5"/>
                  <a:pt x="78" y="0"/>
                  <a:pt x="7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60" name="Freeform 71"/>
          <p:cNvSpPr>
            <a:spLocks/>
          </p:cNvSpPr>
          <p:nvPr/>
        </p:nvSpPr>
        <p:spPr bwMode="auto">
          <a:xfrm>
            <a:off x="4461933" y="2976034"/>
            <a:ext cx="247651" cy="512233"/>
          </a:xfrm>
          <a:custGeom>
            <a:avLst/>
            <a:gdLst>
              <a:gd name="T0" fmla="*/ 282185854 w 82"/>
              <a:gd name="T1" fmla="*/ 771147698 h 170"/>
              <a:gd name="T2" fmla="*/ 282185854 w 82"/>
              <a:gd name="T3" fmla="*/ 464731978 h 170"/>
              <a:gd name="T4" fmla="*/ 97483004 w 82"/>
              <a:gd name="T5" fmla="*/ 464731978 h 170"/>
              <a:gd name="T6" fmla="*/ 97483004 w 82"/>
              <a:gd name="T7" fmla="*/ 398342018 h 170"/>
              <a:gd name="T8" fmla="*/ 282185854 w 82"/>
              <a:gd name="T9" fmla="*/ 398342018 h 170"/>
              <a:gd name="T10" fmla="*/ 282185854 w 82"/>
              <a:gd name="T11" fmla="*/ 183850336 h 170"/>
              <a:gd name="T12" fmla="*/ 420714691 w 82"/>
              <a:gd name="T13" fmla="*/ 107245841 h 170"/>
              <a:gd name="T14" fmla="*/ 420714691 w 82"/>
              <a:gd name="T15" fmla="*/ 0 h 170"/>
              <a:gd name="T16" fmla="*/ 56437171 w 82"/>
              <a:gd name="T17" fmla="*/ 0 h 170"/>
              <a:gd name="T18" fmla="*/ 0 w 82"/>
              <a:gd name="T19" fmla="*/ 56175424 h 170"/>
              <a:gd name="T20" fmla="*/ 0 w 82"/>
              <a:gd name="T21" fmla="*/ 812003579 h 170"/>
              <a:gd name="T22" fmla="*/ 56437171 w 82"/>
              <a:gd name="T23" fmla="*/ 868179004 h 170"/>
              <a:gd name="T24" fmla="*/ 420714691 w 82"/>
              <a:gd name="T25" fmla="*/ 868179004 h 170"/>
              <a:gd name="T26" fmla="*/ 420714691 w 82"/>
              <a:gd name="T27" fmla="*/ 694543203 h 170"/>
              <a:gd name="T28" fmla="*/ 282185854 w 82"/>
              <a:gd name="T29" fmla="*/ 771147698 h 17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82" h="170">
                <a:moveTo>
                  <a:pt x="55" y="151"/>
                </a:moveTo>
                <a:cubicBezTo>
                  <a:pt x="55" y="91"/>
                  <a:pt x="55" y="91"/>
                  <a:pt x="55" y="91"/>
                </a:cubicBezTo>
                <a:cubicBezTo>
                  <a:pt x="19" y="91"/>
                  <a:pt x="19" y="91"/>
                  <a:pt x="19" y="91"/>
                </a:cubicBezTo>
                <a:cubicBezTo>
                  <a:pt x="19" y="78"/>
                  <a:pt x="19" y="78"/>
                  <a:pt x="19" y="78"/>
                </a:cubicBezTo>
                <a:cubicBezTo>
                  <a:pt x="55" y="78"/>
                  <a:pt x="55" y="78"/>
                  <a:pt x="55" y="78"/>
                </a:cubicBezTo>
                <a:cubicBezTo>
                  <a:pt x="55" y="36"/>
                  <a:pt x="55" y="36"/>
                  <a:pt x="55" y="36"/>
                </a:cubicBezTo>
                <a:cubicBezTo>
                  <a:pt x="82" y="21"/>
                  <a:pt x="82" y="21"/>
                  <a:pt x="82" y="21"/>
                </a:cubicBezTo>
                <a:cubicBezTo>
                  <a:pt x="82" y="0"/>
                  <a:pt x="82" y="0"/>
                  <a:pt x="82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65"/>
                  <a:pt x="5" y="170"/>
                  <a:pt x="11" y="170"/>
                </a:cubicBezTo>
                <a:cubicBezTo>
                  <a:pt x="82" y="170"/>
                  <a:pt x="82" y="170"/>
                  <a:pt x="82" y="170"/>
                </a:cubicBezTo>
                <a:cubicBezTo>
                  <a:pt x="82" y="136"/>
                  <a:pt x="82" y="136"/>
                  <a:pt x="82" y="136"/>
                </a:cubicBezTo>
                <a:lnTo>
                  <a:pt x="55" y="1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61" name="Freeform 72"/>
          <p:cNvSpPr>
            <a:spLocks/>
          </p:cNvSpPr>
          <p:nvPr/>
        </p:nvSpPr>
        <p:spPr bwMode="auto">
          <a:xfrm>
            <a:off x="5262034" y="2933701"/>
            <a:ext cx="571500" cy="277284"/>
          </a:xfrm>
          <a:custGeom>
            <a:avLst/>
            <a:gdLst>
              <a:gd name="T0" fmla="*/ 483470953 w 190"/>
              <a:gd name="T1" fmla="*/ 76645668 h 92"/>
              <a:gd name="T2" fmla="*/ 890606049 w 190"/>
              <a:gd name="T3" fmla="*/ 470093580 h 92"/>
              <a:gd name="T4" fmla="*/ 966944161 w 190"/>
              <a:gd name="T5" fmla="*/ 470093580 h 92"/>
              <a:gd name="T6" fmla="*/ 483470953 w 190"/>
              <a:gd name="T7" fmla="*/ 0 h 92"/>
              <a:gd name="T8" fmla="*/ 0 w 190"/>
              <a:gd name="T9" fmla="*/ 470093580 h 92"/>
              <a:gd name="T10" fmla="*/ 76338113 w 190"/>
              <a:gd name="T11" fmla="*/ 470093580 h 92"/>
              <a:gd name="T12" fmla="*/ 483470953 w 190"/>
              <a:gd name="T13" fmla="*/ 76645668 h 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0" h="92">
                <a:moveTo>
                  <a:pt x="95" y="15"/>
                </a:moveTo>
                <a:cubicBezTo>
                  <a:pt x="138" y="15"/>
                  <a:pt x="173" y="50"/>
                  <a:pt x="175" y="92"/>
                </a:cubicBezTo>
                <a:cubicBezTo>
                  <a:pt x="190" y="92"/>
                  <a:pt x="190" y="92"/>
                  <a:pt x="190" y="92"/>
                </a:cubicBezTo>
                <a:cubicBezTo>
                  <a:pt x="188" y="41"/>
                  <a:pt x="146" y="0"/>
                  <a:pt x="95" y="0"/>
                </a:cubicBezTo>
                <a:cubicBezTo>
                  <a:pt x="44" y="0"/>
                  <a:pt x="2" y="41"/>
                  <a:pt x="0" y="92"/>
                </a:cubicBezTo>
                <a:cubicBezTo>
                  <a:pt x="15" y="92"/>
                  <a:pt x="15" y="92"/>
                  <a:pt x="15" y="92"/>
                </a:cubicBezTo>
                <a:cubicBezTo>
                  <a:pt x="17" y="50"/>
                  <a:pt x="52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62" name="Freeform 73"/>
          <p:cNvSpPr>
            <a:spLocks/>
          </p:cNvSpPr>
          <p:nvPr/>
        </p:nvSpPr>
        <p:spPr bwMode="auto">
          <a:xfrm>
            <a:off x="5262034" y="3227917"/>
            <a:ext cx="571500" cy="277283"/>
          </a:xfrm>
          <a:custGeom>
            <a:avLst/>
            <a:gdLst>
              <a:gd name="T0" fmla="*/ 483470953 w 190"/>
              <a:gd name="T1" fmla="*/ 393446020 h 92"/>
              <a:gd name="T2" fmla="*/ 76338113 w 190"/>
              <a:gd name="T3" fmla="*/ 0 h 92"/>
              <a:gd name="T4" fmla="*/ 0 w 190"/>
              <a:gd name="T5" fmla="*/ 0 h 92"/>
              <a:gd name="T6" fmla="*/ 483470953 w 190"/>
              <a:gd name="T7" fmla="*/ 470091320 h 92"/>
              <a:gd name="T8" fmla="*/ 966944161 w 190"/>
              <a:gd name="T9" fmla="*/ 0 h 92"/>
              <a:gd name="T10" fmla="*/ 890606049 w 190"/>
              <a:gd name="T11" fmla="*/ 0 h 92"/>
              <a:gd name="T12" fmla="*/ 483470953 w 190"/>
              <a:gd name="T13" fmla="*/ 393446020 h 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0" h="92">
                <a:moveTo>
                  <a:pt x="95" y="77"/>
                </a:moveTo>
                <a:cubicBezTo>
                  <a:pt x="52" y="77"/>
                  <a:pt x="17" y="42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51"/>
                  <a:pt x="44" y="92"/>
                  <a:pt x="95" y="92"/>
                </a:cubicBezTo>
                <a:cubicBezTo>
                  <a:pt x="146" y="92"/>
                  <a:pt x="188" y="51"/>
                  <a:pt x="190" y="0"/>
                </a:cubicBezTo>
                <a:cubicBezTo>
                  <a:pt x="175" y="0"/>
                  <a:pt x="175" y="0"/>
                  <a:pt x="175" y="0"/>
                </a:cubicBezTo>
                <a:cubicBezTo>
                  <a:pt x="173" y="42"/>
                  <a:pt x="138" y="77"/>
                  <a:pt x="95" y="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63" name="Freeform 74"/>
          <p:cNvSpPr>
            <a:spLocks/>
          </p:cNvSpPr>
          <p:nvPr/>
        </p:nvSpPr>
        <p:spPr bwMode="auto">
          <a:xfrm>
            <a:off x="5346701" y="3012018"/>
            <a:ext cx="402167" cy="427567"/>
          </a:xfrm>
          <a:custGeom>
            <a:avLst/>
            <a:gdLst>
              <a:gd name="T0" fmla="*/ 486404076 w 134"/>
              <a:gd name="T1" fmla="*/ 305987182 h 142"/>
              <a:gd name="T2" fmla="*/ 516802924 w 134"/>
              <a:gd name="T3" fmla="*/ 321286992 h 142"/>
              <a:gd name="T4" fmla="*/ 552270873 w 134"/>
              <a:gd name="T5" fmla="*/ 285588187 h 142"/>
              <a:gd name="T6" fmla="*/ 516802924 w 134"/>
              <a:gd name="T7" fmla="*/ 249889381 h 142"/>
              <a:gd name="T8" fmla="*/ 486404076 w 134"/>
              <a:gd name="T9" fmla="*/ 265189192 h 142"/>
              <a:gd name="T10" fmla="*/ 364801932 w 134"/>
              <a:gd name="T11" fmla="*/ 265189192 h 142"/>
              <a:gd name="T12" fmla="*/ 364801932 w 134"/>
              <a:gd name="T13" fmla="*/ 168293402 h 142"/>
              <a:gd name="T14" fmla="*/ 425601879 w 134"/>
              <a:gd name="T15" fmla="*/ 86697422 h 142"/>
              <a:gd name="T16" fmla="*/ 354668232 w 134"/>
              <a:gd name="T17" fmla="*/ 0 h 142"/>
              <a:gd name="T18" fmla="*/ 354668232 w 134"/>
              <a:gd name="T19" fmla="*/ 66298427 h 142"/>
              <a:gd name="T20" fmla="*/ 364801932 w 134"/>
              <a:gd name="T21" fmla="*/ 86697422 h 142"/>
              <a:gd name="T22" fmla="*/ 339469934 w 134"/>
              <a:gd name="T23" fmla="*/ 112195601 h 142"/>
              <a:gd name="T24" fmla="*/ 314135685 w 134"/>
              <a:gd name="T25" fmla="*/ 86697422 h 142"/>
              <a:gd name="T26" fmla="*/ 324269384 w 134"/>
              <a:gd name="T27" fmla="*/ 66298427 h 142"/>
              <a:gd name="T28" fmla="*/ 324269384 w 134"/>
              <a:gd name="T29" fmla="*/ 0 h 142"/>
              <a:gd name="T30" fmla="*/ 253335738 w 134"/>
              <a:gd name="T31" fmla="*/ 86697422 h 142"/>
              <a:gd name="T32" fmla="*/ 314135685 w 134"/>
              <a:gd name="T33" fmla="*/ 168293402 h 142"/>
              <a:gd name="T34" fmla="*/ 314135685 w 134"/>
              <a:gd name="T35" fmla="*/ 265189192 h 142"/>
              <a:gd name="T36" fmla="*/ 192533540 w 134"/>
              <a:gd name="T37" fmla="*/ 265189192 h 142"/>
              <a:gd name="T38" fmla="*/ 162134692 w 134"/>
              <a:gd name="T39" fmla="*/ 249889381 h 142"/>
              <a:gd name="T40" fmla="*/ 126666743 w 134"/>
              <a:gd name="T41" fmla="*/ 285588187 h 142"/>
              <a:gd name="T42" fmla="*/ 162134692 w 134"/>
              <a:gd name="T43" fmla="*/ 321286992 h 142"/>
              <a:gd name="T44" fmla="*/ 192533540 w 134"/>
              <a:gd name="T45" fmla="*/ 305987182 h 142"/>
              <a:gd name="T46" fmla="*/ 314135685 w 134"/>
              <a:gd name="T47" fmla="*/ 305987182 h 142"/>
              <a:gd name="T48" fmla="*/ 314135685 w 134"/>
              <a:gd name="T49" fmla="*/ 336586803 h 142"/>
              <a:gd name="T50" fmla="*/ 314135685 w 134"/>
              <a:gd name="T51" fmla="*/ 367186425 h 142"/>
              <a:gd name="T52" fmla="*/ 314135685 w 134"/>
              <a:gd name="T53" fmla="*/ 545678195 h 142"/>
              <a:gd name="T54" fmla="*/ 263469438 w 134"/>
              <a:gd name="T55" fmla="*/ 601775995 h 142"/>
              <a:gd name="T56" fmla="*/ 126666743 w 134"/>
              <a:gd name="T57" fmla="*/ 530380642 h 142"/>
              <a:gd name="T58" fmla="*/ 167201542 w 134"/>
              <a:gd name="T59" fmla="*/ 520180015 h 142"/>
              <a:gd name="T60" fmla="*/ 60799947 w 134"/>
              <a:gd name="T61" fmla="*/ 377384793 h 142"/>
              <a:gd name="T62" fmla="*/ 70933646 w 134"/>
              <a:gd name="T63" fmla="*/ 581377000 h 142"/>
              <a:gd name="T64" fmla="*/ 96267896 w 134"/>
              <a:gd name="T65" fmla="*/ 550779637 h 142"/>
              <a:gd name="T66" fmla="*/ 202667240 w 134"/>
              <a:gd name="T67" fmla="*/ 637474801 h 142"/>
              <a:gd name="T68" fmla="*/ 339469934 w 134"/>
              <a:gd name="T69" fmla="*/ 724172223 h 142"/>
              <a:gd name="T70" fmla="*/ 476270377 w 134"/>
              <a:gd name="T71" fmla="*/ 637474801 h 142"/>
              <a:gd name="T72" fmla="*/ 582669721 w 134"/>
              <a:gd name="T73" fmla="*/ 550779637 h 142"/>
              <a:gd name="T74" fmla="*/ 608003970 w 134"/>
              <a:gd name="T75" fmla="*/ 581377000 h 142"/>
              <a:gd name="T76" fmla="*/ 618137670 w 134"/>
              <a:gd name="T77" fmla="*/ 377384793 h 142"/>
              <a:gd name="T78" fmla="*/ 511736075 w 134"/>
              <a:gd name="T79" fmla="*/ 520180015 h 142"/>
              <a:gd name="T80" fmla="*/ 552270873 w 134"/>
              <a:gd name="T81" fmla="*/ 530380642 h 142"/>
              <a:gd name="T82" fmla="*/ 415468179 w 134"/>
              <a:gd name="T83" fmla="*/ 601775995 h 142"/>
              <a:gd name="T84" fmla="*/ 364801932 w 134"/>
              <a:gd name="T85" fmla="*/ 545678195 h 142"/>
              <a:gd name="T86" fmla="*/ 364801932 w 134"/>
              <a:gd name="T87" fmla="*/ 367186425 h 142"/>
              <a:gd name="T88" fmla="*/ 364801932 w 134"/>
              <a:gd name="T89" fmla="*/ 336586803 h 142"/>
              <a:gd name="T90" fmla="*/ 364801932 w 134"/>
              <a:gd name="T91" fmla="*/ 305987182 h 142"/>
              <a:gd name="T92" fmla="*/ 486404076 w 134"/>
              <a:gd name="T93" fmla="*/ 305987182 h 14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34" h="142">
                <a:moveTo>
                  <a:pt x="96" y="60"/>
                </a:moveTo>
                <a:cubicBezTo>
                  <a:pt x="97" y="62"/>
                  <a:pt x="99" y="63"/>
                  <a:pt x="102" y="63"/>
                </a:cubicBezTo>
                <a:cubicBezTo>
                  <a:pt x="106" y="63"/>
                  <a:pt x="109" y="60"/>
                  <a:pt x="109" y="56"/>
                </a:cubicBezTo>
                <a:cubicBezTo>
                  <a:pt x="109" y="52"/>
                  <a:pt x="106" y="49"/>
                  <a:pt x="102" y="49"/>
                </a:cubicBezTo>
                <a:cubicBezTo>
                  <a:pt x="99" y="49"/>
                  <a:pt x="97" y="50"/>
                  <a:pt x="96" y="52"/>
                </a:cubicBezTo>
                <a:cubicBezTo>
                  <a:pt x="72" y="52"/>
                  <a:pt x="72" y="52"/>
                  <a:pt x="72" y="52"/>
                </a:cubicBezTo>
                <a:cubicBezTo>
                  <a:pt x="72" y="33"/>
                  <a:pt x="72" y="33"/>
                  <a:pt x="72" y="33"/>
                </a:cubicBezTo>
                <a:cubicBezTo>
                  <a:pt x="79" y="31"/>
                  <a:pt x="84" y="25"/>
                  <a:pt x="84" y="17"/>
                </a:cubicBezTo>
                <a:cubicBezTo>
                  <a:pt x="84" y="9"/>
                  <a:pt x="78" y="2"/>
                  <a:pt x="70" y="0"/>
                </a:cubicBezTo>
                <a:cubicBezTo>
                  <a:pt x="70" y="13"/>
                  <a:pt x="70" y="13"/>
                  <a:pt x="70" y="13"/>
                </a:cubicBezTo>
                <a:cubicBezTo>
                  <a:pt x="71" y="13"/>
                  <a:pt x="72" y="15"/>
                  <a:pt x="72" y="17"/>
                </a:cubicBezTo>
                <a:cubicBezTo>
                  <a:pt x="72" y="20"/>
                  <a:pt x="70" y="22"/>
                  <a:pt x="67" y="22"/>
                </a:cubicBezTo>
                <a:cubicBezTo>
                  <a:pt x="64" y="22"/>
                  <a:pt x="62" y="20"/>
                  <a:pt x="62" y="17"/>
                </a:cubicBezTo>
                <a:cubicBezTo>
                  <a:pt x="62" y="15"/>
                  <a:pt x="63" y="13"/>
                  <a:pt x="64" y="13"/>
                </a:cubicBezTo>
                <a:cubicBezTo>
                  <a:pt x="64" y="0"/>
                  <a:pt x="64" y="0"/>
                  <a:pt x="64" y="0"/>
                </a:cubicBezTo>
                <a:cubicBezTo>
                  <a:pt x="56" y="2"/>
                  <a:pt x="50" y="9"/>
                  <a:pt x="50" y="17"/>
                </a:cubicBezTo>
                <a:cubicBezTo>
                  <a:pt x="50" y="25"/>
                  <a:pt x="55" y="31"/>
                  <a:pt x="62" y="33"/>
                </a:cubicBezTo>
                <a:cubicBezTo>
                  <a:pt x="62" y="52"/>
                  <a:pt x="62" y="52"/>
                  <a:pt x="62" y="52"/>
                </a:cubicBezTo>
                <a:cubicBezTo>
                  <a:pt x="38" y="52"/>
                  <a:pt x="38" y="52"/>
                  <a:pt x="38" y="52"/>
                </a:cubicBezTo>
                <a:cubicBezTo>
                  <a:pt x="37" y="50"/>
                  <a:pt x="35" y="49"/>
                  <a:pt x="32" y="49"/>
                </a:cubicBezTo>
                <a:cubicBezTo>
                  <a:pt x="28" y="49"/>
                  <a:pt x="25" y="52"/>
                  <a:pt x="25" y="56"/>
                </a:cubicBezTo>
                <a:cubicBezTo>
                  <a:pt x="25" y="60"/>
                  <a:pt x="28" y="63"/>
                  <a:pt x="32" y="63"/>
                </a:cubicBezTo>
                <a:cubicBezTo>
                  <a:pt x="35" y="63"/>
                  <a:pt x="37" y="62"/>
                  <a:pt x="38" y="60"/>
                </a:cubicBezTo>
                <a:cubicBezTo>
                  <a:pt x="62" y="60"/>
                  <a:pt x="62" y="60"/>
                  <a:pt x="62" y="60"/>
                </a:cubicBezTo>
                <a:cubicBezTo>
                  <a:pt x="62" y="66"/>
                  <a:pt x="62" y="66"/>
                  <a:pt x="62" y="66"/>
                </a:cubicBezTo>
                <a:cubicBezTo>
                  <a:pt x="62" y="72"/>
                  <a:pt x="62" y="72"/>
                  <a:pt x="62" y="72"/>
                </a:cubicBezTo>
                <a:cubicBezTo>
                  <a:pt x="62" y="107"/>
                  <a:pt x="62" y="107"/>
                  <a:pt x="62" y="107"/>
                </a:cubicBezTo>
                <a:cubicBezTo>
                  <a:pt x="62" y="107"/>
                  <a:pt x="63" y="117"/>
                  <a:pt x="52" y="118"/>
                </a:cubicBezTo>
                <a:cubicBezTo>
                  <a:pt x="41" y="119"/>
                  <a:pt x="32" y="112"/>
                  <a:pt x="25" y="104"/>
                </a:cubicBezTo>
                <a:cubicBezTo>
                  <a:pt x="27" y="103"/>
                  <a:pt x="29" y="102"/>
                  <a:pt x="33" y="102"/>
                </a:cubicBezTo>
                <a:cubicBezTo>
                  <a:pt x="33" y="102"/>
                  <a:pt x="17" y="86"/>
                  <a:pt x="12" y="74"/>
                </a:cubicBezTo>
                <a:cubicBezTo>
                  <a:pt x="12" y="74"/>
                  <a:pt x="0" y="93"/>
                  <a:pt x="14" y="114"/>
                </a:cubicBezTo>
                <a:cubicBezTo>
                  <a:pt x="14" y="114"/>
                  <a:pt x="16" y="111"/>
                  <a:pt x="19" y="108"/>
                </a:cubicBezTo>
                <a:cubicBezTo>
                  <a:pt x="23" y="113"/>
                  <a:pt x="30" y="121"/>
                  <a:pt x="40" y="125"/>
                </a:cubicBezTo>
                <a:cubicBezTo>
                  <a:pt x="55" y="130"/>
                  <a:pt x="61" y="132"/>
                  <a:pt x="67" y="142"/>
                </a:cubicBezTo>
                <a:cubicBezTo>
                  <a:pt x="73" y="132"/>
                  <a:pt x="79" y="130"/>
                  <a:pt x="94" y="125"/>
                </a:cubicBezTo>
                <a:cubicBezTo>
                  <a:pt x="104" y="121"/>
                  <a:pt x="111" y="113"/>
                  <a:pt x="115" y="108"/>
                </a:cubicBezTo>
                <a:cubicBezTo>
                  <a:pt x="118" y="111"/>
                  <a:pt x="120" y="114"/>
                  <a:pt x="120" y="114"/>
                </a:cubicBezTo>
                <a:cubicBezTo>
                  <a:pt x="134" y="93"/>
                  <a:pt x="122" y="74"/>
                  <a:pt x="122" y="74"/>
                </a:cubicBezTo>
                <a:cubicBezTo>
                  <a:pt x="117" y="86"/>
                  <a:pt x="101" y="102"/>
                  <a:pt x="101" y="102"/>
                </a:cubicBezTo>
                <a:cubicBezTo>
                  <a:pt x="105" y="102"/>
                  <a:pt x="107" y="103"/>
                  <a:pt x="109" y="104"/>
                </a:cubicBezTo>
                <a:cubicBezTo>
                  <a:pt x="102" y="112"/>
                  <a:pt x="93" y="119"/>
                  <a:pt x="82" y="118"/>
                </a:cubicBezTo>
                <a:cubicBezTo>
                  <a:pt x="71" y="117"/>
                  <a:pt x="72" y="107"/>
                  <a:pt x="72" y="107"/>
                </a:cubicBezTo>
                <a:cubicBezTo>
                  <a:pt x="72" y="72"/>
                  <a:pt x="72" y="72"/>
                  <a:pt x="72" y="72"/>
                </a:cubicBezTo>
                <a:cubicBezTo>
                  <a:pt x="72" y="66"/>
                  <a:pt x="72" y="66"/>
                  <a:pt x="72" y="66"/>
                </a:cubicBezTo>
                <a:cubicBezTo>
                  <a:pt x="72" y="60"/>
                  <a:pt x="72" y="60"/>
                  <a:pt x="72" y="60"/>
                </a:cubicBezTo>
                <a:lnTo>
                  <a:pt x="96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64" name="Freeform 75"/>
          <p:cNvSpPr>
            <a:spLocks/>
          </p:cNvSpPr>
          <p:nvPr/>
        </p:nvSpPr>
        <p:spPr bwMode="auto">
          <a:xfrm>
            <a:off x="6110817" y="3217334"/>
            <a:ext cx="558800" cy="270933"/>
          </a:xfrm>
          <a:custGeom>
            <a:avLst/>
            <a:gdLst>
              <a:gd name="T0" fmla="*/ 152311305 w 186"/>
              <a:gd name="T1" fmla="*/ 458780444 h 90"/>
              <a:gd name="T2" fmla="*/ 792015631 w 186"/>
              <a:gd name="T3" fmla="*/ 458780444 h 90"/>
              <a:gd name="T4" fmla="*/ 944326935 w 186"/>
              <a:gd name="T5" fmla="*/ 305854382 h 90"/>
              <a:gd name="T6" fmla="*/ 944326935 w 186"/>
              <a:gd name="T7" fmla="*/ 0 h 90"/>
              <a:gd name="T8" fmla="*/ 868172410 w 186"/>
              <a:gd name="T9" fmla="*/ 0 h 90"/>
              <a:gd name="T10" fmla="*/ 868172410 w 186"/>
              <a:gd name="T11" fmla="*/ 305854382 h 90"/>
              <a:gd name="T12" fmla="*/ 792015631 w 186"/>
              <a:gd name="T13" fmla="*/ 382316284 h 90"/>
              <a:gd name="T14" fmla="*/ 152311305 w 186"/>
              <a:gd name="T15" fmla="*/ 382316284 h 90"/>
              <a:gd name="T16" fmla="*/ 76154526 w 186"/>
              <a:gd name="T17" fmla="*/ 305854382 h 90"/>
              <a:gd name="T18" fmla="*/ 76154526 w 186"/>
              <a:gd name="T19" fmla="*/ 0 h 90"/>
              <a:gd name="T20" fmla="*/ 0 w 186"/>
              <a:gd name="T21" fmla="*/ 0 h 90"/>
              <a:gd name="T22" fmla="*/ 0 w 186"/>
              <a:gd name="T23" fmla="*/ 305854382 h 90"/>
              <a:gd name="T24" fmla="*/ 152311305 w 186"/>
              <a:gd name="T25" fmla="*/ 458780444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30" y="90"/>
                </a:moveTo>
                <a:cubicBezTo>
                  <a:pt x="156" y="90"/>
                  <a:pt x="156" y="90"/>
                  <a:pt x="156" y="90"/>
                </a:cubicBezTo>
                <a:cubicBezTo>
                  <a:pt x="173" y="90"/>
                  <a:pt x="186" y="77"/>
                  <a:pt x="186" y="60"/>
                </a:cubicBezTo>
                <a:cubicBezTo>
                  <a:pt x="186" y="0"/>
                  <a:pt x="186" y="0"/>
                  <a:pt x="186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171" y="60"/>
                  <a:pt x="171" y="60"/>
                  <a:pt x="171" y="60"/>
                </a:cubicBezTo>
                <a:cubicBezTo>
                  <a:pt x="171" y="68"/>
                  <a:pt x="164" y="75"/>
                  <a:pt x="156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22" y="75"/>
                  <a:pt x="15" y="68"/>
                  <a:pt x="15" y="60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77"/>
                  <a:pt x="13" y="90"/>
                  <a:pt x="30" y="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65" name="Freeform 76"/>
          <p:cNvSpPr>
            <a:spLocks/>
          </p:cNvSpPr>
          <p:nvPr/>
        </p:nvSpPr>
        <p:spPr bwMode="auto">
          <a:xfrm>
            <a:off x="6110817" y="2927351"/>
            <a:ext cx="558800" cy="270933"/>
          </a:xfrm>
          <a:custGeom>
            <a:avLst/>
            <a:gdLst>
              <a:gd name="T0" fmla="*/ 76154526 w 186"/>
              <a:gd name="T1" fmla="*/ 152926062 h 90"/>
              <a:gd name="T2" fmla="*/ 152311305 w 186"/>
              <a:gd name="T3" fmla="*/ 76464160 h 90"/>
              <a:gd name="T4" fmla="*/ 792015631 w 186"/>
              <a:gd name="T5" fmla="*/ 76464160 h 90"/>
              <a:gd name="T6" fmla="*/ 868172410 w 186"/>
              <a:gd name="T7" fmla="*/ 152926062 h 90"/>
              <a:gd name="T8" fmla="*/ 868172410 w 186"/>
              <a:gd name="T9" fmla="*/ 458780444 h 90"/>
              <a:gd name="T10" fmla="*/ 944326935 w 186"/>
              <a:gd name="T11" fmla="*/ 458780444 h 90"/>
              <a:gd name="T12" fmla="*/ 944326935 w 186"/>
              <a:gd name="T13" fmla="*/ 152926062 h 90"/>
              <a:gd name="T14" fmla="*/ 792015631 w 186"/>
              <a:gd name="T15" fmla="*/ 0 h 90"/>
              <a:gd name="T16" fmla="*/ 152311305 w 186"/>
              <a:gd name="T17" fmla="*/ 0 h 90"/>
              <a:gd name="T18" fmla="*/ 0 w 186"/>
              <a:gd name="T19" fmla="*/ 152926062 h 90"/>
              <a:gd name="T20" fmla="*/ 0 w 186"/>
              <a:gd name="T21" fmla="*/ 458780444 h 90"/>
              <a:gd name="T22" fmla="*/ 76154526 w 186"/>
              <a:gd name="T23" fmla="*/ 458780444 h 90"/>
              <a:gd name="T24" fmla="*/ 76154526 w 186"/>
              <a:gd name="T25" fmla="*/ 15292606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5" y="30"/>
                </a:moveTo>
                <a:cubicBezTo>
                  <a:pt x="15" y="22"/>
                  <a:pt x="22" y="15"/>
                  <a:pt x="30" y="15"/>
                </a:cubicBezTo>
                <a:cubicBezTo>
                  <a:pt x="156" y="15"/>
                  <a:pt x="156" y="15"/>
                  <a:pt x="156" y="15"/>
                </a:cubicBezTo>
                <a:cubicBezTo>
                  <a:pt x="164" y="15"/>
                  <a:pt x="171" y="22"/>
                  <a:pt x="171" y="30"/>
                </a:cubicBezTo>
                <a:cubicBezTo>
                  <a:pt x="171" y="90"/>
                  <a:pt x="171" y="90"/>
                  <a:pt x="171" y="90"/>
                </a:cubicBezTo>
                <a:cubicBezTo>
                  <a:pt x="186" y="90"/>
                  <a:pt x="186" y="90"/>
                  <a:pt x="186" y="90"/>
                </a:cubicBezTo>
                <a:cubicBezTo>
                  <a:pt x="186" y="30"/>
                  <a:pt x="186" y="30"/>
                  <a:pt x="186" y="30"/>
                </a:cubicBezTo>
                <a:cubicBezTo>
                  <a:pt x="186" y="13"/>
                  <a:pt x="173" y="0"/>
                  <a:pt x="15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3"/>
                  <a:pt x="0" y="30"/>
                </a:cubicBezTo>
                <a:cubicBezTo>
                  <a:pt x="0" y="90"/>
                  <a:pt x="0" y="90"/>
                  <a:pt x="0" y="90"/>
                </a:cubicBezTo>
                <a:cubicBezTo>
                  <a:pt x="15" y="90"/>
                  <a:pt x="15" y="90"/>
                  <a:pt x="15" y="90"/>
                </a:cubicBezTo>
                <a:lnTo>
                  <a:pt x="15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66" name="Freeform 77"/>
          <p:cNvSpPr>
            <a:spLocks/>
          </p:cNvSpPr>
          <p:nvPr/>
        </p:nvSpPr>
        <p:spPr bwMode="auto">
          <a:xfrm>
            <a:off x="6182784" y="3090334"/>
            <a:ext cx="421216" cy="192617"/>
          </a:xfrm>
          <a:custGeom>
            <a:avLst/>
            <a:gdLst>
              <a:gd name="T0" fmla="*/ 697585596 w 140"/>
              <a:gd name="T1" fmla="*/ 270039720 h 64"/>
              <a:gd name="T2" fmla="*/ 677218298 w 140"/>
              <a:gd name="T3" fmla="*/ 219089426 h 64"/>
              <a:gd name="T4" fmla="*/ 407350472 w 140"/>
              <a:gd name="T5" fmla="*/ 219089426 h 64"/>
              <a:gd name="T6" fmla="*/ 407350472 w 140"/>
              <a:gd name="T7" fmla="*/ 132472571 h 64"/>
              <a:gd name="T8" fmla="*/ 468452366 w 140"/>
              <a:gd name="T9" fmla="*/ 132472571 h 64"/>
              <a:gd name="T10" fmla="*/ 468452366 w 140"/>
              <a:gd name="T11" fmla="*/ 198708857 h 64"/>
              <a:gd name="T12" fmla="*/ 493912616 w 140"/>
              <a:gd name="T13" fmla="*/ 198708857 h 64"/>
              <a:gd name="T14" fmla="*/ 493912616 w 140"/>
              <a:gd name="T15" fmla="*/ 132472571 h 64"/>
              <a:gd name="T16" fmla="*/ 555014510 w 140"/>
              <a:gd name="T17" fmla="*/ 132472571 h 64"/>
              <a:gd name="T18" fmla="*/ 555014510 w 140"/>
              <a:gd name="T19" fmla="*/ 198708857 h 64"/>
              <a:gd name="T20" fmla="*/ 580472504 w 140"/>
              <a:gd name="T21" fmla="*/ 198708857 h 64"/>
              <a:gd name="T22" fmla="*/ 580472504 w 140"/>
              <a:gd name="T23" fmla="*/ 132472571 h 64"/>
              <a:gd name="T24" fmla="*/ 641576655 w 140"/>
              <a:gd name="T25" fmla="*/ 198708857 h 64"/>
              <a:gd name="T26" fmla="*/ 672127602 w 140"/>
              <a:gd name="T27" fmla="*/ 198708857 h 64"/>
              <a:gd name="T28" fmla="*/ 651760304 w 140"/>
              <a:gd name="T29" fmla="*/ 157947718 h 64"/>
              <a:gd name="T30" fmla="*/ 544830861 w 140"/>
              <a:gd name="T31" fmla="*/ 101902846 h 64"/>
              <a:gd name="T32" fmla="*/ 407350472 w 140"/>
              <a:gd name="T33" fmla="*/ 101902846 h 64"/>
              <a:gd name="T34" fmla="*/ 407350472 w 140"/>
              <a:gd name="T35" fmla="*/ 40761138 h 64"/>
              <a:gd name="T36" fmla="*/ 672127602 w 140"/>
              <a:gd name="T37" fmla="*/ 40761138 h 64"/>
              <a:gd name="T38" fmla="*/ 692494900 w 140"/>
              <a:gd name="T39" fmla="*/ 20380569 h 64"/>
              <a:gd name="T40" fmla="*/ 672127602 w 140"/>
              <a:gd name="T41" fmla="*/ 0 h 64"/>
              <a:gd name="T42" fmla="*/ 106929442 w 140"/>
              <a:gd name="T43" fmla="*/ 0 h 64"/>
              <a:gd name="T44" fmla="*/ 91652841 w 140"/>
              <a:gd name="T45" fmla="*/ 20380569 h 64"/>
              <a:gd name="T46" fmla="*/ 106929442 w 140"/>
              <a:gd name="T47" fmla="*/ 40761138 h 64"/>
              <a:gd name="T48" fmla="*/ 376799525 w 140"/>
              <a:gd name="T49" fmla="*/ 40761138 h 64"/>
              <a:gd name="T50" fmla="*/ 376799525 w 140"/>
              <a:gd name="T51" fmla="*/ 101902846 h 64"/>
              <a:gd name="T52" fmla="*/ 127296740 w 140"/>
              <a:gd name="T53" fmla="*/ 101902846 h 64"/>
              <a:gd name="T54" fmla="*/ 66194847 w 140"/>
              <a:gd name="T55" fmla="*/ 56047130 h 64"/>
              <a:gd name="T56" fmla="*/ 0 w 140"/>
              <a:gd name="T57" fmla="*/ 122283415 h 64"/>
              <a:gd name="T58" fmla="*/ 66194847 w 140"/>
              <a:gd name="T59" fmla="*/ 188519701 h 64"/>
              <a:gd name="T60" fmla="*/ 117113091 w 140"/>
              <a:gd name="T61" fmla="*/ 163044553 h 64"/>
              <a:gd name="T62" fmla="*/ 259686434 w 140"/>
              <a:gd name="T63" fmla="*/ 224184004 h 64"/>
              <a:gd name="T64" fmla="*/ 295328077 w 140"/>
              <a:gd name="T65" fmla="*/ 295517124 h 64"/>
              <a:gd name="T66" fmla="*/ 341155625 w 140"/>
              <a:gd name="T67" fmla="*/ 326086850 h 64"/>
              <a:gd name="T68" fmla="*/ 667034649 w 140"/>
              <a:gd name="T69" fmla="*/ 326086850 h 64"/>
              <a:gd name="T70" fmla="*/ 697585596 w 140"/>
              <a:gd name="T71" fmla="*/ 270039720 h 6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40" h="64">
                <a:moveTo>
                  <a:pt x="137" y="53"/>
                </a:moveTo>
                <a:cubicBezTo>
                  <a:pt x="133" y="43"/>
                  <a:pt x="133" y="43"/>
                  <a:pt x="133" y="43"/>
                </a:cubicBezTo>
                <a:cubicBezTo>
                  <a:pt x="80" y="43"/>
                  <a:pt x="80" y="43"/>
                  <a:pt x="80" y="43"/>
                </a:cubicBezTo>
                <a:cubicBezTo>
                  <a:pt x="80" y="26"/>
                  <a:pt x="80" y="26"/>
                  <a:pt x="80" y="2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39"/>
                  <a:pt x="92" y="39"/>
                  <a:pt x="92" y="39"/>
                </a:cubicBezTo>
                <a:cubicBezTo>
                  <a:pt x="97" y="39"/>
                  <a:pt x="97" y="39"/>
                  <a:pt x="97" y="39"/>
                </a:cubicBezTo>
                <a:cubicBezTo>
                  <a:pt x="97" y="26"/>
                  <a:pt x="97" y="26"/>
                  <a:pt x="97" y="26"/>
                </a:cubicBezTo>
                <a:cubicBezTo>
                  <a:pt x="109" y="26"/>
                  <a:pt x="109" y="26"/>
                  <a:pt x="109" y="26"/>
                </a:cubicBezTo>
                <a:cubicBezTo>
                  <a:pt x="109" y="39"/>
                  <a:pt x="109" y="39"/>
                  <a:pt x="109" y="39"/>
                </a:cubicBezTo>
                <a:cubicBezTo>
                  <a:pt x="114" y="39"/>
                  <a:pt x="114" y="39"/>
                  <a:pt x="114" y="39"/>
                </a:cubicBezTo>
                <a:cubicBezTo>
                  <a:pt x="114" y="26"/>
                  <a:pt x="114" y="26"/>
                  <a:pt x="114" y="26"/>
                </a:cubicBezTo>
                <a:cubicBezTo>
                  <a:pt x="120" y="27"/>
                  <a:pt x="122" y="32"/>
                  <a:pt x="126" y="39"/>
                </a:cubicBezTo>
                <a:cubicBezTo>
                  <a:pt x="132" y="39"/>
                  <a:pt x="132" y="39"/>
                  <a:pt x="132" y="39"/>
                </a:cubicBezTo>
                <a:cubicBezTo>
                  <a:pt x="128" y="31"/>
                  <a:pt x="128" y="31"/>
                  <a:pt x="128" y="31"/>
                </a:cubicBezTo>
                <a:cubicBezTo>
                  <a:pt x="125" y="24"/>
                  <a:pt x="118" y="20"/>
                  <a:pt x="107" y="20"/>
                </a:cubicBezTo>
                <a:cubicBezTo>
                  <a:pt x="80" y="20"/>
                  <a:pt x="80" y="20"/>
                  <a:pt x="80" y="20"/>
                </a:cubicBezTo>
                <a:cubicBezTo>
                  <a:pt x="80" y="8"/>
                  <a:pt x="80" y="8"/>
                  <a:pt x="80" y="8"/>
                </a:cubicBezTo>
                <a:cubicBezTo>
                  <a:pt x="132" y="8"/>
                  <a:pt x="132" y="8"/>
                  <a:pt x="132" y="8"/>
                </a:cubicBezTo>
                <a:cubicBezTo>
                  <a:pt x="134" y="8"/>
                  <a:pt x="136" y="6"/>
                  <a:pt x="136" y="4"/>
                </a:cubicBezTo>
                <a:cubicBezTo>
                  <a:pt x="136" y="2"/>
                  <a:pt x="134" y="0"/>
                  <a:pt x="132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19" y="0"/>
                  <a:pt x="18" y="2"/>
                  <a:pt x="18" y="4"/>
                </a:cubicBezTo>
                <a:cubicBezTo>
                  <a:pt x="18" y="6"/>
                  <a:pt x="19" y="8"/>
                  <a:pt x="21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74" y="20"/>
                  <a:pt x="74" y="20"/>
                  <a:pt x="74" y="20"/>
                </a:cubicBezTo>
                <a:cubicBezTo>
                  <a:pt x="25" y="20"/>
                  <a:pt x="25" y="20"/>
                  <a:pt x="25" y="20"/>
                </a:cubicBezTo>
                <a:cubicBezTo>
                  <a:pt x="23" y="15"/>
                  <a:pt x="18" y="11"/>
                  <a:pt x="13" y="11"/>
                </a:cubicBezTo>
                <a:cubicBezTo>
                  <a:pt x="6" y="11"/>
                  <a:pt x="0" y="17"/>
                  <a:pt x="0" y="24"/>
                </a:cubicBezTo>
                <a:cubicBezTo>
                  <a:pt x="0" y="31"/>
                  <a:pt x="6" y="37"/>
                  <a:pt x="13" y="37"/>
                </a:cubicBezTo>
                <a:cubicBezTo>
                  <a:pt x="17" y="37"/>
                  <a:pt x="21" y="35"/>
                  <a:pt x="23" y="32"/>
                </a:cubicBezTo>
                <a:cubicBezTo>
                  <a:pt x="51" y="44"/>
                  <a:pt x="51" y="44"/>
                  <a:pt x="51" y="44"/>
                </a:cubicBezTo>
                <a:cubicBezTo>
                  <a:pt x="58" y="58"/>
                  <a:pt x="58" y="58"/>
                  <a:pt x="58" y="58"/>
                </a:cubicBezTo>
                <a:cubicBezTo>
                  <a:pt x="60" y="62"/>
                  <a:pt x="61" y="64"/>
                  <a:pt x="67" y="64"/>
                </a:cubicBezTo>
                <a:cubicBezTo>
                  <a:pt x="131" y="64"/>
                  <a:pt x="131" y="64"/>
                  <a:pt x="131" y="64"/>
                </a:cubicBezTo>
                <a:cubicBezTo>
                  <a:pt x="137" y="64"/>
                  <a:pt x="140" y="58"/>
                  <a:pt x="137" y="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67" name="Oval 78"/>
          <p:cNvSpPr>
            <a:spLocks noChangeArrowheads="1"/>
          </p:cNvSpPr>
          <p:nvPr/>
        </p:nvSpPr>
        <p:spPr bwMode="auto">
          <a:xfrm>
            <a:off x="6392334" y="3295652"/>
            <a:ext cx="27517" cy="296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68" name="Oval 79"/>
          <p:cNvSpPr>
            <a:spLocks noChangeArrowheads="1"/>
          </p:cNvSpPr>
          <p:nvPr/>
        </p:nvSpPr>
        <p:spPr bwMode="auto">
          <a:xfrm>
            <a:off x="6498167" y="3295652"/>
            <a:ext cx="27517" cy="296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69" name="Oval 80"/>
          <p:cNvSpPr>
            <a:spLocks noChangeArrowheads="1"/>
          </p:cNvSpPr>
          <p:nvPr/>
        </p:nvSpPr>
        <p:spPr bwMode="auto">
          <a:xfrm>
            <a:off x="6532034" y="3295652"/>
            <a:ext cx="29633" cy="296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70" name="Freeform 81"/>
          <p:cNvSpPr>
            <a:spLocks/>
          </p:cNvSpPr>
          <p:nvPr/>
        </p:nvSpPr>
        <p:spPr bwMode="auto">
          <a:xfrm>
            <a:off x="6985000" y="2961217"/>
            <a:ext cx="541867" cy="541867"/>
          </a:xfrm>
          <a:custGeom>
            <a:avLst/>
            <a:gdLst>
              <a:gd name="T0" fmla="*/ 514854613 w 180"/>
              <a:gd name="T1" fmla="*/ 326244373 h 180"/>
              <a:gd name="T2" fmla="*/ 514854613 w 180"/>
              <a:gd name="T3" fmla="*/ 412902400 h 180"/>
              <a:gd name="T4" fmla="*/ 494462364 w 180"/>
              <a:gd name="T5" fmla="*/ 412902400 h 180"/>
              <a:gd name="T6" fmla="*/ 494462364 w 180"/>
              <a:gd name="T7" fmla="*/ 499560427 h 180"/>
              <a:gd name="T8" fmla="*/ 637194560 w 180"/>
              <a:gd name="T9" fmla="*/ 499560427 h 180"/>
              <a:gd name="T10" fmla="*/ 606610702 w 180"/>
              <a:gd name="T11" fmla="*/ 836000924 h 180"/>
              <a:gd name="T12" fmla="*/ 249780213 w 180"/>
              <a:gd name="T13" fmla="*/ 836000924 h 180"/>
              <a:gd name="T14" fmla="*/ 219194098 w 180"/>
              <a:gd name="T15" fmla="*/ 499560427 h 180"/>
              <a:gd name="T16" fmla="*/ 356828231 w 180"/>
              <a:gd name="T17" fmla="*/ 499560427 h 180"/>
              <a:gd name="T18" fmla="*/ 356828231 w 180"/>
              <a:gd name="T19" fmla="*/ 412902400 h 180"/>
              <a:gd name="T20" fmla="*/ 341536302 w 180"/>
              <a:gd name="T21" fmla="*/ 412902400 h 180"/>
              <a:gd name="T22" fmla="*/ 341536302 w 180"/>
              <a:gd name="T23" fmla="*/ 326244373 h 180"/>
              <a:gd name="T24" fmla="*/ 581122649 w 180"/>
              <a:gd name="T25" fmla="*/ 91756089 h 180"/>
              <a:gd name="T26" fmla="*/ 912462827 w 180"/>
              <a:gd name="T27" fmla="*/ 91756089 h 180"/>
              <a:gd name="T28" fmla="*/ 795218684 w 180"/>
              <a:gd name="T29" fmla="*/ 0 h 180"/>
              <a:gd name="T30" fmla="*/ 122342204 w 180"/>
              <a:gd name="T31" fmla="*/ 0 h 180"/>
              <a:gd name="T32" fmla="*/ 0 w 180"/>
              <a:gd name="T33" fmla="*/ 122342204 h 180"/>
              <a:gd name="T34" fmla="*/ 0 w 180"/>
              <a:gd name="T35" fmla="*/ 795218684 h 180"/>
              <a:gd name="T36" fmla="*/ 122342204 w 180"/>
              <a:gd name="T37" fmla="*/ 917560889 h 180"/>
              <a:gd name="T38" fmla="*/ 795218684 w 180"/>
              <a:gd name="T39" fmla="*/ 917560889 h 180"/>
              <a:gd name="T40" fmla="*/ 917560889 w 180"/>
              <a:gd name="T41" fmla="*/ 795218684 h 180"/>
              <a:gd name="T42" fmla="*/ 917560889 w 180"/>
              <a:gd name="T43" fmla="*/ 265072142 h 180"/>
              <a:gd name="T44" fmla="*/ 581122649 w 180"/>
              <a:gd name="T45" fmla="*/ 265072142 h 180"/>
              <a:gd name="T46" fmla="*/ 514854613 w 180"/>
              <a:gd name="T47" fmla="*/ 326244373 h 18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80" h="180">
                <a:moveTo>
                  <a:pt x="101" y="64"/>
                </a:moveTo>
                <a:cubicBezTo>
                  <a:pt x="101" y="81"/>
                  <a:pt x="101" y="81"/>
                  <a:pt x="101" y="81"/>
                </a:cubicBezTo>
                <a:cubicBezTo>
                  <a:pt x="97" y="81"/>
                  <a:pt x="97" y="81"/>
                  <a:pt x="97" y="81"/>
                </a:cubicBezTo>
                <a:cubicBezTo>
                  <a:pt x="97" y="98"/>
                  <a:pt x="97" y="98"/>
                  <a:pt x="97" y="98"/>
                </a:cubicBezTo>
                <a:cubicBezTo>
                  <a:pt x="125" y="98"/>
                  <a:pt x="125" y="98"/>
                  <a:pt x="125" y="98"/>
                </a:cubicBezTo>
                <a:cubicBezTo>
                  <a:pt x="119" y="164"/>
                  <a:pt x="119" y="164"/>
                  <a:pt x="119" y="164"/>
                </a:cubicBezTo>
                <a:cubicBezTo>
                  <a:pt x="49" y="164"/>
                  <a:pt x="49" y="164"/>
                  <a:pt x="49" y="164"/>
                </a:cubicBezTo>
                <a:cubicBezTo>
                  <a:pt x="43" y="98"/>
                  <a:pt x="43" y="98"/>
                  <a:pt x="43" y="98"/>
                </a:cubicBezTo>
                <a:cubicBezTo>
                  <a:pt x="70" y="98"/>
                  <a:pt x="70" y="98"/>
                  <a:pt x="70" y="98"/>
                </a:cubicBezTo>
                <a:cubicBezTo>
                  <a:pt x="70" y="81"/>
                  <a:pt x="70" y="81"/>
                  <a:pt x="70" y="81"/>
                </a:cubicBezTo>
                <a:cubicBezTo>
                  <a:pt x="67" y="81"/>
                  <a:pt x="67" y="81"/>
                  <a:pt x="67" y="81"/>
                </a:cubicBezTo>
                <a:cubicBezTo>
                  <a:pt x="67" y="64"/>
                  <a:pt x="67" y="64"/>
                  <a:pt x="67" y="64"/>
                </a:cubicBezTo>
                <a:cubicBezTo>
                  <a:pt x="67" y="34"/>
                  <a:pt x="84" y="18"/>
                  <a:pt x="114" y="18"/>
                </a:cubicBezTo>
                <a:cubicBezTo>
                  <a:pt x="179" y="18"/>
                  <a:pt x="179" y="18"/>
                  <a:pt x="179" y="18"/>
                </a:cubicBezTo>
                <a:cubicBezTo>
                  <a:pt x="177" y="8"/>
                  <a:pt x="167" y="0"/>
                  <a:pt x="156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11" y="0"/>
                  <a:pt x="0" y="11"/>
                  <a:pt x="0" y="24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69"/>
                  <a:pt x="11" y="180"/>
                  <a:pt x="24" y="180"/>
                </a:cubicBezTo>
                <a:cubicBezTo>
                  <a:pt x="156" y="180"/>
                  <a:pt x="156" y="180"/>
                  <a:pt x="156" y="180"/>
                </a:cubicBezTo>
                <a:cubicBezTo>
                  <a:pt x="169" y="180"/>
                  <a:pt x="180" y="169"/>
                  <a:pt x="180" y="156"/>
                </a:cubicBezTo>
                <a:cubicBezTo>
                  <a:pt x="180" y="52"/>
                  <a:pt x="180" y="52"/>
                  <a:pt x="180" y="52"/>
                </a:cubicBezTo>
                <a:cubicBezTo>
                  <a:pt x="114" y="52"/>
                  <a:pt x="114" y="52"/>
                  <a:pt x="114" y="52"/>
                </a:cubicBezTo>
                <a:cubicBezTo>
                  <a:pt x="104" y="52"/>
                  <a:pt x="101" y="57"/>
                  <a:pt x="101" y="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71" name="Rectangle 82"/>
          <p:cNvSpPr>
            <a:spLocks noChangeArrowheads="1"/>
          </p:cNvSpPr>
          <p:nvPr/>
        </p:nvSpPr>
        <p:spPr bwMode="auto">
          <a:xfrm>
            <a:off x="7213601" y="3204633"/>
            <a:ext cx="14817" cy="50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72" name="Rectangle 83"/>
          <p:cNvSpPr>
            <a:spLocks noChangeArrowheads="1"/>
          </p:cNvSpPr>
          <p:nvPr/>
        </p:nvSpPr>
        <p:spPr bwMode="auto">
          <a:xfrm>
            <a:off x="7245351" y="3204633"/>
            <a:ext cx="16933" cy="50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73" name="Freeform 84"/>
          <p:cNvSpPr>
            <a:spLocks/>
          </p:cNvSpPr>
          <p:nvPr/>
        </p:nvSpPr>
        <p:spPr bwMode="auto">
          <a:xfrm>
            <a:off x="7135284" y="3276601"/>
            <a:ext cx="203200" cy="156633"/>
          </a:xfrm>
          <a:custGeom>
            <a:avLst/>
            <a:gdLst>
              <a:gd name="T0" fmla="*/ 243173534 w 67"/>
              <a:gd name="T1" fmla="*/ 122488020 h 52"/>
              <a:gd name="T2" fmla="*/ 217304203 w 67"/>
              <a:gd name="T3" fmla="*/ 122488020 h 52"/>
              <a:gd name="T4" fmla="*/ 217304203 w 67"/>
              <a:gd name="T5" fmla="*/ 0 h 52"/>
              <a:gd name="T6" fmla="*/ 186262370 w 67"/>
              <a:gd name="T7" fmla="*/ 0 h 52"/>
              <a:gd name="T8" fmla="*/ 186262370 w 67"/>
              <a:gd name="T9" fmla="*/ 122488020 h 52"/>
              <a:gd name="T10" fmla="*/ 160390764 w 67"/>
              <a:gd name="T11" fmla="*/ 122488020 h 52"/>
              <a:gd name="T12" fmla="*/ 160390764 w 67"/>
              <a:gd name="T13" fmla="*/ 0 h 52"/>
              <a:gd name="T14" fmla="*/ 134521433 w 67"/>
              <a:gd name="T15" fmla="*/ 0 h 52"/>
              <a:gd name="T16" fmla="*/ 134521433 w 67"/>
              <a:gd name="T17" fmla="*/ 122488020 h 52"/>
              <a:gd name="T18" fmla="*/ 103479600 w 67"/>
              <a:gd name="T19" fmla="*/ 122488020 h 52"/>
              <a:gd name="T20" fmla="*/ 103479600 w 67"/>
              <a:gd name="T21" fmla="*/ 0 h 52"/>
              <a:gd name="T22" fmla="*/ 0 w 67"/>
              <a:gd name="T23" fmla="*/ 0 h 52"/>
              <a:gd name="T24" fmla="*/ 25869331 w 67"/>
              <a:gd name="T25" fmla="*/ 265391839 h 52"/>
              <a:gd name="T26" fmla="*/ 320783803 w 67"/>
              <a:gd name="T27" fmla="*/ 265391839 h 52"/>
              <a:gd name="T28" fmla="*/ 346653134 w 67"/>
              <a:gd name="T29" fmla="*/ 0 h 52"/>
              <a:gd name="T30" fmla="*/ 243173534 w 67"/>
              <a:gd name="T31" fmla="*/ 0 h 52"/>
              <a:gd name="T32" fmla="*/ 243173534 w 67"/>
              <a:gd name="T33" fmla="*/ 122488020 h 5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67" h="52">
                <a:moveTo>
                  <a:pt x="47" y="24"/>
                </a:moveTo>
                <a:cubicBezTo>
                  <a:pt x="42" y="24"/>
                  <a:pt x="42" y="24"/>
                  <a:pt x="42" y="24"/>
                </a:cubicBezTo>
                <a:cubicBezTo>
                  <a:pt x="42" y="0"/>
                  <a:pt x="42" y="0"/>
                  <a:pt x="42" y="0"/>
                </a:cubicBezTo>
                <a:cubicBezTo>
                  <a:pt x="40" y="0"/>
                  <a:pt x="38" y="0"/>
                  <a:pt x="36" y="0"/>
                </a:cubicBezTo>
                <a:cubicBezTo>
                  <a:pt x="36" y="24"/>
                  <a:pt x="36" y="24"/>
                  <a:pt x="36" y="24"/>
                </a:cubicBezTo>
                <a:cubicBezTo>
                  <a:pt x="31" y="24"/>
                  <a:pt x="31" y="24"/>
                  <a:pt x="31" y="24"/>
                </a:cubicBezTo>
                <a:cubicBezTo>
                  <a:pt x="31" y="0"/>
                  <a:pt x="31" y="0"/>
                  <a:pt x="31" y="0"/>
                </a:cubicBezTo>
                <a:cubicBezTo>
                  <a:pt x="29" y="0"/>
                  <a:pt x="28" y="0"/>
                  <a:pt x="26" y="0"/>
                </a:cubicBezTo>
                <a:cubicBezTo>
                  <a:pt x="26" y="24"/>
                  <a:pt x="26" y="24"/>
                  <a:pt x="26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20" y="0"/>
                  <a:pt x="20" y="0"/>
                  <a:pt x="20" y="0"/>
                </a:cubicBezTo>
                <a:cubicBezTo>
                  <a:pt x="11" y="0"/>
                  <a:pt x="3" y="0"/>
                  <a:pt x="0" y="0"/>
                </a:cubicBezTo>
                <a:cubicBezTo>
                  <a:pt x="1" y="6"/>
                  <a:pt x="5" y="46"/>
                  <a:pt x="5" y="52"/>
                </a:cubicBezTo>
                <a:cubicBezTo>
                  <a:pt x="11" y="52"/>
                  <a:pt x="57" y="52"/>
                  <a:pt x="62" y="52"/>
                </a:cubicBezTo>
                <a:cubicBezTo>
                  <a:pt x="63" y="46"/>
                  <a:pt x="67" y="6"/>
                  <a:pt x="67" y="0"/>
                </a:cubicBezTo>
                <a:cubicBezTo>
                  <a:pt x="65" y="0"/>
                  <a:pt x="57" y="0"/>
                  <a:pt x="47" y="0"/>
                </a:cubicBezTo>
                <a:lnTo>
                  <a:pt x="47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74" name="Freeform 85"/>
          <p:cNvSpPr>
            <a:spLocks/>
          </p:cNvSpPr>
          <p:nvPr/>
        </p:nvSpPr>
        <p:spPr bwMode="auto">
          <a:xfrm>
            <a:off x="7812618" y="2921001"/>
            <a:ext cx="571500" cy="277284"/>
          </a:xfrm>
          <a:custGeom>
            <a:avLst/>
            <a:gdLst>
              <a:gd name="T0" fmla="*/ 483470953 w 190"/>
              <a:gd name="T1" fmla="*/ 76645668 h 92"/>
              <a:gd name="T2" fmla="*/ 890606049 w 190"/>
              <a:gd name="T3" fmla="*/ 470093580 h 92"/>
              <a:gd name="T4" fmla="*/ 966944161 w 190"/>
              <a:gd name="T5" fmla="*/ 470093580 h 92"/>
              <a:gd name="T6" fmla="*/ 483470953 w 190"/>
              <a:gd name="T7" fmla="*/ 0 h 92"/>
              <a:gd name="T8" fmla="*/ 0 w 190"/>
              <a:gd name="T9" fmla="*/ 470093580 h 92"/>
              <a:gd name="T10" fmla="*/ 76338113 w 190"/>
              <a:gd name="T11" fmla="*/ 470093580 h 92"/>
              <a:gd name="T12" fmla="*/ 483470953 w 190"/>
              <a:gd name="T13" fmla="*/ 76645668 h 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0" h="92">
                <a:moveTo>
                  <a:pt x="95" y="15"/>
                </a:moveTo>
                <a:cubicBezTo>
                  <a:pt x="138" y="15"/>
                  <a:pt x="173" y="50"/>
                  <a:pt x="175" y="92"/>
                </a:cubicBezTo>
                <a:cubicBezTo>
                  <a:pt x="190" y="92"/>
                  <a:pt x="190" y="92"/>
                  <a:pt x="190" y="92"/>
                </a:cubicBezTo>
                <a:cubicBezTo>
                  <a:pt x="188" y="41"/>
                  <a:pt x="146" y="0"/>
                  <a:pt x="95" y="0"/>
                </a:cubicBezTo>
                <a:cubicBezTo>
                  <a:pt x="44" y="0"/>
                  <a:pt x="2" y="41"/>
                  <a:pt x="0" y="92"/>
                </a:cubicBezTo>
                <a:cubicBezTo>
                  <a:pt x="15" y="92"/>
                  <a:pt x="15" y="92"/>
                  <a:pt x="15" y="92"/>
                </a:cubicBezTo>
                <a:cubicBezTo>
                  <a:pt x="17" y="50"/>
                  <a:pt x="52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75" name="Freeform 86"/>
          <p:cNvSpPr>
            <a:spLocks/>
          </p:cNvSpPr>
          <p:nvPr/>
        </p:nvSpPr>
        <p:spPr bwMode="auto">
          <a:xfrm>
            <a:off x="7812618" y="3217334"/>
            <a:ext cx="571500" cy="275167"/>
          </a:xfrm>
          <a:custGeom>
            <a:avLst/>
            <a:gdLst>
              <a:gd name="T0" fmla="*/ 483470953 w 190"/>
              <a:gd name="T1" fmla="*/ 387462333 h 92"/>
              <a:gd name="T2" fmla="*/ 76338113 w 190"/>
              <a:gd name="T3" fmla="*/ 0 h 92"/>
              <a:gd name="T4" fmla="*/ 0 w 190"/>
              <a:gd name="T5" fmla="*/ 0 h 92"/>
              <a:gd name="T6" fmla="*/ 483470953 w 190"/>
              <a:gd name="T7" fmla="*/ 462941746 h 92"/>
              <a:gd name="T8" fmla="*/ 966944161 w 190"/>
              <a:gd name="T9" fmla="*/ 0 h 92"/>
              <a:gd name="T10" fmla="*/ 890606049 w 190"/>
              <a:gd name="T11" fmla="*/ 0 h 92"/>
              <a:gd name="T12" fmla="*/ 483470953 w 190"/>
              <a:gd name="T13" fmla="*/ 387462333 h 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0" h="92">
                <a:moveTo>
                  <a:pt x="95" y="77"/>
                </a:moveTo>
                <a:cubicBezTo>
                  <a:pt x="52" y="77"/>
                  <a:pt x="17" y="42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51"/>
                  <a:pt x="44" y="92"/>
                  <a:pt x="95" y="92"/>
                </a:cubicBezTo>
                <a:cubicBezTo>
                  <a:pt x="146" y="92"/>
                  <a:pt x="188" y="51"/>
                  <a:pt x="190" y="0"/>
                </a:cubicBezTo>
                <a:cubicBezTo>
                  <a:pt x="175" y="0"/>
                  <a:pt x="175" y="0"/>
                  <a:pt x="175" y="0"/>
                </a:cubicBezTo>
                <a:cubicBezTo>
                  <a:pt x="173" y="42"/>
                  <a:pt x="138" y="77"/>
                  <a:pt x="95" y="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76" name="Freeform 87"/>
          <p:cNvSpPr>
            <a:spLocks/>
          </p:cNvSpPr>
          <p:nvPr/>
        </p:nvSpPr>
        <p:spPr bwMode="auto">
          <a:xfrm>
            <a:off x="7899401" y="3117851"/>
            <a:ext cx="232833" cy="179916"/>
          </a:xfrm>
          <a:custGeom>
            <a:avLst/>
            <a:gdLst>
              <a:gd name="T0" fmla="*/ 334307089 w 77"/>
              <a:gd name="T1" fmla="*/ 0 h 60"/>
              <a:gd name="T2" fmla="*/ 282874357 w 77"/>
              <a:gd name="T3" fmla="*/ 171965962 h 60"/>
              <a:gd name="T4" fmla="*/ 231443893 w 77"/>
              <a:gd name="T5" fmla="*/ 0 h 60"/>
              <a:gd name="T6" fmla="*/ 164580661 w 77"/>
              <a:gd name="T7" fmla="*/ 0 h 60"/>
              <a:gd name="T8" fmla="*/ 108006696 w 77"/>
              <a:gd name="T9" fmla="*/ 177023850 h 60"/>
              <a:gd name="T10" fmla="*/ 66860964 w 77"/>
              <a:gd name="T11" fmla="*/ 0 h 60"/>
              <a:gd name="T12" fmla="*/ 0 w 77"/>
              <a:gd name="T13" fmla="*/ 0 h 60"/>
              <a:gd name="T14" fmla="*/ 82291464 w 77"/>
              <a:gd name="T15" fmla="*/ 303468815 h 60"/>
              <a:gd name="T16" fmla="*/ 138865429 w 77"/>
              <a:gd name="T17" fmla="*/ 303468815 h 60"/>
              <a:gd name="T18" fmla="*/ 195441661 w 77"/>
              <a:gd name="T19" fmla="*/ 101155522 h 60"/>
              <a:gd name="T20" fmla="*/ 257159125 w 77"/>
              <a:gd name="T21" fmla="*/ 303468815 h 60"/>
              <a:gd name="T22" fmla="*/ 313733089 w 77"/>
              <a:gd name="T23" fmla="*/ 303468815 h 60"/>
              <a:gd name="T24" fmla="*/ 396024554 w 77"/>
              <a:gd name="T25" fmla="*/ 0 h 60"/>
              <a:gd name="T26" fmla="*/ 334307089 w 77"/>
              <a:gd name="T27" fmla="*/ 0 h 6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77" h="60">
                <a:moveTo>
                  <a:pt x="65" y="0"/>
                </a:moveTo>
                <a:cubicBezTo>
                  <a:pt x="65" y="0"/>
                  <a:pt x="57" y="30"/>
                  <a:pt x="55" y="34"/>
                </a:cubicBezTo>
                <a:cubicBezTo>
                  <a:pt x="54" y="30"/>
                  <a:pt x="45" y="0"/>
                  <a:pt x="45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23" y="30"/>
                  <a:pt x="21" y="35"/>
                </a:cubicBezTo>
                <a:cubicBezTo>
                  <a:pt x="20" y="30"/>
                  <a:pt x="13" y="0"/>
                  <a:pt x="13" y="0"/>
                </a:cubicBezTo>
                <a:cubicBezTo>
                  <a:pt x="0" y="0"/>
                  <a:pt x="0" y="0"/>
                  <a:pt x="0" y="0"/>
                </a:cubicBezTo>
                <a:cubicBezTo>
                  <a:pt x="16" y="60"/>
                  <a:pt x="16" y="60"/>
                  <a:pt x="16" y="60"/>
                </a:cubicBezTo>
                <a:cubicBezTo>
                  <a:pt x="27" y="60"/>
                  <a:pt x="27" y="60"/>
                  <a:pt x="27" y="60"/>
                </a:cubicBezTo>
                <a:cubicBezTo>
                  <a:pt x="27" y="60"/>
                  <a:pt x="37" y="25"/>
                  <a:pt x="38" y="20"/>
                </a:cubicBezTo>
                <a:cubicBezTo>
                  <a:pt x="40" y="25"/>
                  <a:pt x="50" y="60"/>
                  <a:pt x="50" y="60"/>
                </a:cubicBezTo>
                <a:cubicBezTo>
                  <a:pt x="61" y="60"/>
                  <a:pt x="61" y="60"/>
                  <a:pt x="61" y="60"/>
                </a:cubicBezTo>
                <a:cubicBezTo>
                  <a:pt x="77" y="0"/>
                  <a:pt x="77" y="0"/>
                  <a:pt x="77" y="0"/>
                </a:cubicBezTo>
                <a:lnTo>
                  <a:pt x="6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77" name="Freeform 88"/>
          <p:cNvSpPr>
            <a:spLocks/>
          </p:cNvSpPr>
          <p:nvPr/>
        </p:nvSpPr>
        <p:spPr bwMode="auto">
          <a:xfrm>
            <a:off x="8134351" y="3113617"/>
            <a:ext cx="162983" cy="186267"/>
          </a:xfrm>
          <a:custGeom>
            <a:avLst/>
            <a:gdLst>
              <a:gd name="T0" fmla="*/ 143476811 w 54"/>
              <a:gd name="T1" fmla="*/ 253850673 h 62"/>
              <a:gd name="T2" fmla="*/ 61489738 w 54"/>
              <a:gd name="T3" fmla="*/ 157387823 h 62"/>
              <a:gd name="T4" fmla="*/ 143476811 w 54"/>
              <a:gd name="T5" fmla="*/ 60924973 h 62"/>
              <a:gd name="T6" fmla="*/ 215214084 w 54"/>
              <a:gd name="T7" fmla="*/ 116771174 h 62"/>
              <a:gd name="T8" fmla="*/ 276703822 w 54"/>
              <a:gd name="T9" fmla="*/ 116771174 h 62"/>
              <a:gd name="T10" fmla="*/ 143476811 w 54"/>
              <a:gd name="T11" fmla="*/ 0 h 62"/>
              <a:gd name="T12" fmla="*/ 0 w 54"/>
              <a:gd name="T13" fmla="*/ 157387823 h 62"/>
              <a:gd name="T14" fmla="*/ 143476811 w 54"/>
              <a:gd name="T15" fmla="*/ 314775645 h 62"/>
              <a:gd name="T16" fmla="*/ 276703822 w 54"/>
              <a:gd name="T17" fmla="*/ 198004471 h 62"/>
              <a:gd name="T18" fmla="*/ 215214084 w 54"/>
              <a:gd name="T19" fmla="*/ 198004471 h 62"/>
              <a:gd name="T20" fmla="*/ 143476811 w 54"/>
              <a:gd name="T21" fmla="*/ 253850673 h 6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4" h="62">
                <a:moveTo>
                  <a:pt x="28" y="50"/>
                </a:moveTo>
                <a:cubicBezTo>
                  <a:pt x="18" y="50"/>
                  <a:pt x="12" y="41"/>
                  <a:pt x="12" y="31"/>
                </a:cubicBezTo>
                <a:cubicBezTo>
                  <a:pt x="12" y="21"/>
                  <a:pt x="18" y="12"/>
                  <a:pt x="28" y="12"/>
                </a:cubicBezTo>
                <a:cubicBezTo>
                  <a:pt x="37" y="12"/>
                  <a:pt x="41" y="20"/>
                  <a:pt x="42" y="23"/>
                </a:cubicBezTo>
                <a:cubicBezTo>
                  <a:pt x="54" y="23"/>
                  <a:pt x="54" y="23"/>
                  <a:pt x="54" y="23"/>
                </a:cubicBezTo>
                <a:cubicBezTo>
                  <a:pt x="51" y="9"/>
                  <a:pt x="40" y="0"/>
                  <a:pt x="28" y="0"/>
                </a:cubicBezTo>
                <a:cubicBezTo>
                  <a:pt x="12" y="0"/>
                  <a:pt x="0" y="14"/>
                  <a:pt x="0" y="31"/>
                </a:cubicBezTo>
                <a:cubicBezTo>
                  <a:pt x="0" y="48"/>
                  <a:pt x="12" y="62"/>
                  <a:pt x="28" y="62"/>
                </a:cubicBezTo>
                <a:cubicBezTo>
                  <a:pt x="40" y="62"/>
                  <a:pt x="51" y="52"/>
                  <a:pt x="54" y="39"/>
                </a:cubicBezTo>
                <a:cubicBezTo>
                  <a:pt x="42" y="39"/>
                  <a:pt x="42" y="39"/>
                  <a:pt x="42" y="39"/>
                </a:cubicBezTo>
                <a:cubicBezTo>
                  <a:pt x="40" y="43"/>
                  <a:pt x="37" y="50"/>
                  <a:pt x="28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78" name="Freeform 89"/>
          <p:cNvSpPr>
            <a:spLocks/>
          </p:cNvSpPr>
          <p:nvPr/>
        </p:nvSpPr>
        <p:spPr bwMode="auto">
          <a:xfrm>
            <a:off x="8667751" y="3217334"/>
            <a:ext cx="569383" cy="275167"/>
          </a:xfrm>
          <a:custGeom>
            <a:avLst/>
            <a:gdLst>
              <a:gd name="T0" fmla="*/ 479897438 w 190"/>
              <a:gd name="T1" fmla="*/ 387462333 h 92"/>
              <a:gd name="T2" fmla="*/ 75774344 w 190"/>
              <a:gd name="T3" fmla="*/ 0 h 92"/>
              <a:gd name="T4" fmla="*/ 0 w 190"/>
              <a:gd name="T5" fmla="*/ 0 h 92"/>
              <a:gd name="T6" fmla="*/ 479897438 w 190"/>
              <a:gd name="T7" fmla="*/ 462941746 h 92"/>
              <a:gd name="T8" fmla="*/ 959794876 w 190"/>
              <a:gd name="T9" fmla="*/ 0 h 92"/>
              <a:gd name="T10" fmla="*/ 884020532 w 190"/>
              <a:gd name="T11" fmla="*/ 0 h 92"/>
              <a:gd name="T12" fmla="*/ 479897438 w 190"/>
              <a:gd name="T13" fmla="*/ 387462333 h 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0" h="92">
                <a:moveTo>
                  <a:pt x="95" y="77"/>
                </a:moveTo>
                <a:cubicBezTo>
                  <a:pt x="52" y="77"/>
                  <a:pt x="17" y="42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51"/>
                  <a:pt x="44" y="92"/>
                  <a:pt x="95" y="92"/>
                </a:cubicBezTo>
                <a:cubicBezTo>
                  <a:pt x="146" y="92"/>
                  <a:pt x="188" y="51"/>
                  <a:pt x="190" y="0"/>
                </a:cubicBezTo>
                <a:cubicBezTo>
                  <a:pt x="175" y="0"/>
                  <a:pt x="175" y="0"/>
                  <a:pt x="175" y="0"/>
                </a:cubicBezTo>
                <a:cubicBezTo>
                  <a:pt x="173" y="42"/>
                  <a:pt x="138" y="77"/>
                  <a:pt x="95" y="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79" name="Freeform 90"/>
          <p:cNvSpPr>
            <a:spLocks/>
          </p:cNvSpPr>
          <p:nvPr/>
        </p:nvSpPr>
        <p:spPr bwMode="auto">
          <a:xfrm>
            <a:off x="8667751" y="2921001"/>
            <a:ext cx="569383" cy="277284"/>
          </a:xfrm>
          <a:custGeom>
            <a:avLst/>
            <a:gdLst>
              <a:gd name="T0" fmla="*/ 479897438 w 190"/>
              <a:gd name="T1" fmla="*/ 76645668 h 92"/>
              <a:gd name="T2" fmla="*/ 884020532 w 190"/>
              <a:gd name="T3" fmla="*/ 470093580 h 92"/>
              <a:gd name="T4" fmla="*/ 959794876 w 190"/>
              <a:gd name="T5" fmla="*/ 470093580 h 92"/>
              <a:gd name="T6" fmla="*/ 479897438 w 190"/>
              <a:gd name="T7" fmla="*/ 0 h 92"/>
              <a:gd name="T8" fmla="*/ 0 w 190"/>
              <a:gd name="T9" fmla="*/ 470093580 h 92"/>
              <a:gd name="T10" fmla="*/ 75774344 w 190"/>
              <a:gd name="T11" fmla="*/ 470093580 h 92"/>
              <a:gd name="T12" fmla="*/ 479897438 w 190"/>
              <a:gd name="T13" fmla="*/ 76645668 h 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0" h="92">
                <a:moveTo>
                  <a:pt x="95" y="15"/>
                </a:moveTo>
                <a:cubicBezTo>
                  <a:pt x="138" y="15"/>
                  <a:pt x="173" y="50"/>
                  <a:pt x="175" y="92"/>
                </a:cubicBezTo>
                <a:cubicBezTo>
                  <a:pt x="190" y="92"/>
                  <a:pt x="190" y="92"/>
                  <a:pt x="190" y="92"/>
                </a:cubicBezTo>
                <a:cubicBezTo>
                  <a:pt x="188" y="41"/>
                  <a:pt x="146" y="0"/>
                  <a:pt x="95" y="0"/>
                </a:cubicBezTo>
                <a:cubicBezTo>
                  <a:pt x="44" y="0"/>
                  <a:pt x="2" y="41"/>
                  <a:pt x="0" y="92"/>
                </a:cubicBezTo>
                <a:cubicBezTo>
                  <a:pt x="15" y="92"/>
                  <a:pt x="15" y="92"/>
                  <a:pt x="15" y="92"/>
                </a:cubicBezTo>
                <a:cubicBezTo>
                  <a:pt x="17" y="50"/>
                  <a:pt x="52" y="15"/>
                  <a:pt x="95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0" name="Freeform 91"/>
          <p:cNvSpPr>
            <a:spLocks/>
          </p:cNvSpPr>
          <p:nvPr/>
        </p:nvSpPr>
        <p:spPr bwMode="auto">
          <a:xfrm>
            <a:off x="8807451" y="3077634"/>
            <a:ext cx="289983" cy="296333"/>
          </a:xfrm>
          <a:custGeom>
            <a:avLst/>
            <a:gdLst>
              <a:gd name="T0" fmla="*/ 0 w 96"/>
              <a:gd name="T1" fmla="*/ 0 h 98"/>
              <a:gd name="T2" fmla="*/ 169372532 w 96"/>
              <a:gd name="T3" fmla="*/ 205726393 h 98"/>
              <a:gd name="T4" fmla="*/ 189902399 w 96"/>
              <a:gd name="T5" fmla="*/ 236585125 h 98"/>
              <a:gd name="T6" fmla="*/ 220697199 w 96"/>
              <a:gd name="T7" fmla="*/ 267446125 h 98"/>
              <a:gd name="T8" fmla="*/ 220697199 w 96"/>
              <a:gd name="T9" fmla="*/ 447457286 h 98"/>
              <a:gd name="T10" fmla="*/ 92384400 w 96"/>
              <a:gd name="T11" fmla="*/ 447457286 h 98"/>
              <a:gd name="T12" fmla="*/ 66723199 w 96"/>
              <a:gd name="T13" fmla="*/ 473172518 h 98"/>
              <a:gd name="T14" fmla="*/ 92384400 w 96"/>
              <a:gd name="T15" fmla="*/ 504031250 h 98"/>
              <a:gd name="T16" fmla="*/ 400332399 w 96"/>
              <a:gd name="T17" fmla="*/ 504031250 h 98"/>
              <a:gd name="T18" fmla="*/ 425995865 w 96"/>
              <a:gd name="T19" fmla="*/ 473172518 h 98"/>
              <a:gd name="T20" fmla="*/ 400332399 w 96"/>
              <a:gd name="T21" fmla="*/ 447457286 h 98"/>
              <a:gd name="T22" fmla="*/ 272021865 w 96"/>
              <a:gd name="T23" fmla="*/ 447457286 h 98"/>
              <a:gd name="T24" fmla="*/ 272021865 w 96"/>
              <a:gd name="T25" fmla="*/ 267446125 h 98"/>
              <a:gd name="T26" fmla="*/ 302816665 w 96"/>
              <a:gd name="T27" fmla="*/ 236585125 h 98"/>
              <a:gd name="T28" fmla="*/ 323346532 w 96"/>
              <a:gd name="T29" fmla="*/ 205726393 h 98"/>
              <a:gd name="T30" fmla="*/ 492716799 w 96"/>
              <a:gd name="T31" fmla="*/ 0 h 98"/>
              <a:gd name="T32" fmla="*/ 0 w 96"/>
              <a:gd name="T33" fmla="*/ 0 h 9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96" h="98">
                <a:moveTo>
                  <a:pt x="0" y="0"/>
                </a:moveTo>
                <a:cubicBezTo>
                  <a:pt x="33" y="40"/>
                  <a:pt x="33" y="40"/>
                  <a:pt x="33" y="40"/>
                </a:cubicBezTo>
                <a:cubicBezTo>
                  <a:pt x="37" y="46"/>
                  <a:pt x="37" y="46"/>
                  <a:pt x="37" y="46"/>
                </a:cubicBezTo>
                <a:cubicBezTo>
                  <a:pt x="43" y="52"/>
                  <a:pt x="43" y="52"/>
                  <a:pt x="43" y="52"/>
                </a:cubicBezTo>
                <a:cubicBezTo>
                  <a:pt x="43" y="87"/>
                  <a:pt x="43" y="87"/>
                  <a:pt x="43" y="87"/>
                </a:cubicBezTo>
                <a:cubicBezTo>
                  <a:pt x="18" y="87"/>
                  <a:pt x="18" y="87"/>
                  <a:pt x="18" y="87"/>
                </a:cubicBezTo>
                <a:cubicBezTo>
                  <a:pt x="15" y="87"/>
                  <a:pt x="13" y="89"/>
                  <a:pt x="13" y="92"/>
                </a:cubicBezTo>
                <a:cubicBezTo>
                  <a:pt x="13" y="95"/>
                  <a:pt x="15" y="98"/>
                  <a:pt x="18" y="98"/>
                </a:cubicBezTo>
                <a:cubicBezTo>
                  <a:pt x="78" y="98"/>
                  <a:pt x="78" y="98"/>
                  <a:pt x="78" y="98"/>
                </a:cubicBezTo>
                <a:cubicBezTo>
                  <a:pt x="81" y="98"/>
                  <a:pt x="83" y="95"/>
                  <a:pt x="83" y="92"/>
                </a:cubicBezTo>
                <a:cubicBezTo>
                  <a:pt x="83" y="89"/>
                  <a:pt x="81" y="87"/>
                  <a:pt x="78" y="87"/>
                </a:cubicBezTo>
                <a:cubicBezTo>
                  <a:pt x="53" y="87"/>
                  <a:pt x="53" y="87"/>
                  <a:pt x="53" y="87"/>
                </a:cubicBezTo>
                <a:cubicBezTo>
                  <a:pt x="53" y="52"/>
                  <a:pt x="53" y="52"/>
                  <a:pt x="53" y="52"/>
                </a:cubicBezTo>
                <a:cubicBezTo>
                  <a:pt x="59" y="46"/>
                  <a:pt x="59" y="46"/>
                  <a:pt x="59" y="46"/>
                </a:cubicBezTo>
                <a:cubicBezTo>
                  <a:pt x="63" y="40"/>
                  <a:pt x="63" y="40"/>
                  <a:pt x="63" y="40"/>
                </a:cubicBezTo>
                <a:cubicBezTo>
                  <a:pt x="96" y="0"/>
                  <a:pt x="96" y="0"/>
                  <a:pt x="96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1" name="Freeform 92"/>
          <p:cNvSpPr>
            <a:spLocks/>
          </p:cNvSpPr>
          <p:nvPr/>
        </p:nvSpPr>
        <p:spPr bwMode="auto">
          <a:xfrm>
            <a:off x="9563100" y="3227918"/>
            <a:ext cx="558800" cy="270933"/>
          </a:xfrm>
          <a:custGeom>
            <a:avLst/>
            <a:gdLst>
              <a:gd name="T0" fmla="*/ 446778626 w 186"/>
              <a:gd name="T1" fmla="*/ 107048018 h 90"/>
              <a:gd name="T2" fmla="*/ 487395274 w 186"/>
              <a:gd name="T3" fmla="*/ 142732196 h 90"/>
              <a:gd name="T4" fmla="*/ 558473282 w 186"/>
              <a:gd name="T5" fmla="*/ 142732196 h 90"/>
              <a:gd name="T6" fmla="*/ 583858124 w 186"/>
              <a:gd name="T7" fmla="*/ 168220249 h 90"/>
              <a:gd name="T8" fmla="*/ 583858124 w 186"/>
              <a:gd name="T9" fmla="*/ 326244373 h 90"/>
              <a:gd name="T10" fmla="*/ 553396765 w 186"/>
              <a:gd name="T11" fmla="*/ 351732427 h 90"/>
              <a:gd name="T12" fmla="*/ 492471792 w 186"/>
              <a:gd name="T13" fmla="*/ 351732427 h 90"/>
              <a:gd name="T14" fmla="*/ 472163468 w 186"/>
              <a:gd name="T15" fmla="*/ 351732427 h 90"/>
              <a:gd name="T16" fmla="*/ 314775645 w 186"/>
              <a:gd name="T17" fmla="*/ 0 h 90"/>
              <a:gd name="T18" fmla="*/ 0 w 186"/>
              <a:gd name="T19" fmla="*/ 0 h 90"/>
              <a:gd name="T20" fmla="*/ 472163468 w 186"/>
              <a:gd name="T21" fmla="*/ 458780444 h 90"/>
              <a:gd name="T22" fmla="*/ 944326935 w 186"/>
              <a:gd name="T23" fmla="*/ 0 h 90"/>
              <a:gd name="T24" fmla="*/ 436623337 w 186"/>
              <a:gd name="T25" fmla="*/ 0 h 90"/>
              <a:gd name="T26" fmla="*/ 446778626 w 186"/>
              <a:gd name="T27" fmla="*/ 107048018 h 9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86" h="90">
                <a:moveTo>
                  <a:pt x="88" y="21"/>
                </a:moveTo>
                <a:cubicBezTo>
                  <a:pt x="90" y="26"/>
                  <a:pt x="91" y="28"/>
                  <a:pt x="96" y="28"/>
                </a:cubicBezTo>
                <a:cubicBezTo>
                  <a:pt x="110" y="28"/>
                  <a:pt x="110" y="28"/>
                  <a:pt x="110" y="28"/>
                </a:cubicBezTo>
                <a:cubicBezTo>
                  <a:pt x="113" y="28"/>
                  <a:pt x="115" y="29"/>
                  <a:pt x="115" y="33"/>
                </a:cubicBezTo>
                <a:cubicBezTo>
                  <a:pt x="115" y="64"/>
                  <a:pt x="115" y="64"/>
                  <a:pt x="115" y="64"/>
                </a:cubicBezTo>
                <a:cubicBezTo>
                  <a:pt x="115" y="68"/>
                  <a:pt x="113" y="69"/>
                  <a:pt x="109" y="69"/>
                </a:cubicBezTo>
                <a:cubicBezTo>
                  <a:pt x="109" y="69"/>
                  <a:pt x="98" y="69"/>
                  <a:pt x="97" y="69"/>
                </a:cubicBezTo>
                <a:cubicBezTo>
                  <a:pt x="94" y="69"/>
                  <a:pt x="93" y="69"/>
                  <a:pt x="93" y="69"/>
                </a:cubicBezTo>
                <a:cubicBezTo>
                  <a:pt x="73" y="61"/>
                  <a:pt x="63" y="36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50"/>
                  <a:pt x="42" y="90"/>
                  <a:pt x="93" y="90"/>
                </a:cubicBezTo>
                <a:cubicBezTo>
                  <a:pt x="144" y="90"/>
                  <a:pt x="185" y="50"/>
                  <a:pt x="186" y="0"/>
                </a:cubicBezTo>
                <a:cubicBezTo>
                  <a:pt x="86" y="0"/>
                  <a:pt x="86" y="0"/>
                  <a:pt x="86" y="0"/>
                </a:cubicBezTo>
                <a:cubicBezTo>
                  <a:pt x="86" y="6"/>
                  <a:pt x="87" y="18"/>
                  <a:pt x="88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2" name="Freeform 93"/>
          <p:cNvSpPr>
            <a:spLocks/>
          </p:cNvSpPr>
          <p:nvPr/>
        </p:nvSpPr>
        <p:spPr bwMode="auto">
          <a:xfrm>
            <a:off x="9563100" y="2940051"/>
            <a:ext cx="558800" cy="270933"/>
          </a:xfrm>
          <a:custGeom>
            <a:avLst/>
            <a:gdLst>
              <a:gd name="T0" fmla="*/ 462010432 w 186"/>
              <a:gd name="T1" fmla="*/ 112146080 h 90"/>
              <a:gd name="T2" fmla="*/ 472163468 w 186"/>
              <a:gd name="T3" fmla="*/ 107048018 h 90"/>
              <a:gd name="T4" fmla="*/ 507703598 w 186"/>
              <a:gd name="T5" fmla="*/ 107048018 h 90"/>
              <a:gd name="T6" fmla="*/ 553396765 w 186"/>
              <a:gd name="T7" fmla="*/ 107048018 h 90"/>
              <a:gd name="T8" fmla="*/ 583858124 w 186"/>
              <a:gd name="T9" fmla="*/ 132536071 h 90"/>
              <a:gd name="T10" fmla="*/ 583858124 w 186"/>
              <a:gd name="T11" fmla="*/ 290560196 h 90"/>
              <a:gd name="T12" fmla="*/ 558473282 w 186"/>
              <a:gd name="T13" fmla="*/ 316048249 h 90"/>
              <a:gd name="T14" fmla="*/ 507703598 w 186"/>
              <a:gd name="T15" fmla="*/ 316048249 h 90"/>
              <a:gd name="T16" fmla="*/ 502624827 w 186"/>
              <a:gd name="T17" fmla="*/ 316048249 h 90"/>
              <a:gd name="T18" fmla="*/ 487395274 w 186"/>
              <a:gd name="T19" fmla="*/ 316048249 h 90"/>
              <a:gd name="T20" fmla="*/ 446778626 w 186"/>
              <a:gd name="T21" fmla="*/ 351732427 h 90"/>
              <a:gd name="T22" fmla="*/ 436623337 w 186"/>
              <a:gd name="T23" fmla="*/ 458780444 h 90"/>
              <a:gd name="T24" fmla="*/ 944326935 w 186"/>
              <a:gd name="T25" fmla="*/ 458780444 h 90"/>
              <a:gd name="T26" fmla="*/ 472163468 w 186"/>
              <a:gd name="T27" fmla="*/ 0 h 90"/>
              <a:gd name="T28" fmla="*/ 0 w 186"/>
              <a:gd name="T29" fmla="*/ 458780444 h 90"/>
              <a:gd name="T30" fmla="*/ 314775645 w 186"/>
              <a:gd name="T31" fmla="*/ 458780444 h 90"/>
              <a:gd name="T32" fmla="*/ 462010432 w 186"/>
              <a:gd name="T33" fmla="*/ 112146080 h 9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86" h="90">
                <a:moveTo>
                  <a:pt x="91" y="22"/>
                </a:moveTo>
                <a:cubicBezTo>
                  <a:pt x="92" y="22"/>
                  <a:pt x="92" y="21"/>
                  <a:pt x="93" y="21"/>
                </a:cubicBezTo>
                <a:cubicBezTo>
                  <a:pt x="95" y="20"/>
                  <a:pt x="100" y="21"/>
                  <a:pt x="100" y="21"/>
                </a:cubicBezTo>
                <a:cubicBezTo>
                  <a:pt x="109" y="21"/>
                  <a:pt x="109" y="21"/>
                  <a:pt x="109" y="21"/>
                </a:cubicBezTo>
                <a:cubicBezTo>
                  <a:pt x="113" y="21"/>
                  <a:pt x="115" y="22"/>
                  <a:pt x="115" y="26"/>
                </a:cubicBezTo>
                <a:cubicBezTo>
                  <a:pt x="115" y="57"/>
                  <a:pt x="115" y="57"/>
                  <a:pt x="115" y="57"/>
                </a:cubicBezTo>
                <a:cubicBezTo>
                  <a:pt x="115" y="61"/>
                  <a:pt x="113" y="62"/>
                  <a:pt x="110" y="62"/>
                </a:cubicBezTo>
                <a:cubicBezTo>
                  <a:pt x="100" y="62"/>
                  <a:pt x="100" y="62"/>
                  <a:pt x="100" y="62"/>
                </a:cubicBezTo>
                <a:cubicBezTo>
                  <a:pt x="99" y="62"/>
                  <a:pt x="99" y="62"/>
                  <a:pt x="99" y="62"/>
                </a:cubicBezTo>
                <a:cubicBezTo>
                  <a:pt x="96" y="62"/>
                  <a:pt x="96" y="62"/>
                  <a:pt x="96" y="62"/>
                </a:cubicBezTo>
                <a:cubicBezTo>
                  <a:pt x="91" y="62"/>
                  <a:pt x="90" y="64"/>
                  <a:pt x="88" y="69"/>
                </a:cubicBezTo>
                <a:cubicBezTo>
                  <a:pt x="87" y="72"/>
                  <a:pt x="86" y="84"/>
                  <a:pt x="86" y="90"/>
                </a:cubicBezTo>
                <a:cubicBezTo>
                  <a:pt x="186" y="90"/>
                  <a:pt x="186" y="90"/>
                  <a:pt x="186" y="90"/>
                </a:cubicBezTo>
                <a:cubicBezTo>
                  <a:pt x="185" y="40"/>
                  <a:pt x="144" y="0"/>
                  <a:pt x="93" y="0"/>
                </a:cubicBezTo>
                <a:cubicBezTo>
                  <a:pt x="42" y="0"/>
                  <a:pt x="1" y="40"/>
                  <a:pt x="0" y="90"/>
                </a:cubicBezTo>
                <a:cubicBezTo>
                  <a:pt x="62" y="90"/>
                  <a:pt x="62" y="90"/>
                  <a:pt x="62" y="90"/>
                </a:cubicBezTo>
                <a:cubicBezTo>
                  <a:pt x="63" y="55"/>
                  <a:pt x="73" y="31"/>
                  <a:pt x="91" y="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3" name="Freeform 94"/>
          <p:cNvSpPr>
            <a:spLocks/>
          </p:cNvSpPr>
          <p:nvPr/>
        </p:nvSpPr>
        <p:spPr bwMode="auto">
          <a:xfrm>
            <a:off x="10380134" y="2946401"/>
            <a:ext cx="560917" cy="294217"/>
          </a:xfrm>
          <a:custGeom>
            <a:avLst/>
            <a:gdLst>
              <a:gd name="T0" fmla="*/ 76732586 w 186"/>
              <a:gd name="T1" fmla="*/ 152099854 h 98"/>
              <a:gd name="T2" fmla="*/ 153467435 w 186"/>
              <a:gd name="T3" fmla="*/ 76049927 h 98"/>
              <a:gd name="T4" fmla="*/ 798029304 w 186"/>
              <a:gd name="T5" fmla="*/ 76049927 h 98"/>
              <a:gd name="T6" fmla="*/ 874764152 w 186"/>
              <a:gd name="T7" fmla="*/ 152099854 h 98"/>
              <a:gd name="T8" fmla="*/ 874764152 w 186"/>
              <a:gd name="T9" fmla="*/ 496858771 h 98"/>
              <a:gd name="T10" fmla="*/ 951496738 w 186"/>
              <a:gd name="T11" fmla="*/ 496858771 h 98"/>
              <a:gd name="T12" fmla="*/ 951496738 w 186"/>
              <a:gd name="T13" fmla="*/ 152099854 h 98"/>
              <a:gd name="T14" fmla="*/ 798029304 w 186"/>
              <a:gd name="T15" fmla="*/ 0 h 98"/>
              <a:gd name="T16" fmla="*/ 153467435 w 186"/>
              <a:gd name="T17" fmla="*/ 0 h 98"/>
              <a:gd name="T18" fmla="*/ 0 w 186"/>
              <a:gd name="T19" fmla="*/ 152099854 h 98"/>
              <a:gd name="T20" fmla="*/ 0 w 186"/>
              <a:gd name="T21" fmla="*/ 496858771 h 98"/>
              <a:gd name="T22" fmla="*/ 76732586 w 186"/>
              <a:gd name="T23" fmla="*/ 496858771 h 98"/>
              <a:gd name="T24" fmla="*/ 76732586 w 186"/>
              <a:gd name="T25" fmla="*/ 152099854 h 9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8">
                <a:moveTo>
                  <a:pt x="15" y="30"/>
                </a:moveTo>
                <a:cubicBezTo>
                  <a:pt x="15" y="22"/>
                  <a:pt x="22" y="15"/>
                  <a:pt x="30" y="15"/>
                </a:cubicBezTo>
                <a:cubicBezTo>
                  <a:pt x="156" y="15"/>
                  <a:pt x="156" y="15"/>
                  <a:pt x="156" y="15"/>
                </a:cubicBezTo>
                <a:cubicBezTo>
                  <a:pt x="164" y="15"/>
                  <a:pt x="171" y="22"/>
                  <a:pt x="171" y="30"/>
                </a:cubicBezTo>
                <a:cubicBezTo>
                  <a:pt x="171" y="98"/>
                  <a:pt x="171" y="98"/>
                  <a:pt x="171" y="98"/>
                </a:cubicBezTo>
                <a:cubicBezTo>
                  <a:pt x="186" y="98"/>
                  <a:pt x="186" y="98"/>
                  <a:pt x="186" y="98"/>
                </a:cubicBezTo>
                <a:cubicBezTo>
                  <a:pt x="186" y="30"/>
                  <a:pt x="186" y="30"/>
                  <a:pt x="186" y="30"/>
                </a:cubicBezTo>
                <a:cubicBezTo>
                  <a:pt x="186" y="13"/>
                  <a:pt x="173" y="0"/>
                  <a:pt x="15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3"/>
                  <a:pt x="0" y="30"/>
                </a:cubicBezTo>
                <a:cubicBezTo>
                  <a:pt x="0" y="98"/>
                  <a:pt x="0" y="98"/>
                  <a:pt x="0" y="98"/>
                </a:cubicBezTo>
                <a:cubicBezTo>
                  <a:pt x="15" y="98"/>
                  <a:pt x="15" y="98"/>
                  <a:pt x="15" y="98"/>
                </a:cubicBezTo>
                <a:lnTo>
                  <a:pt x="15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4" name="Freeform 95"/>
          <p:cNvSpPr>
            <a:spLocks/>
          </p:cNvSpPr>
          <p:nvPr/>
        </p:nvSpPr>
        <p:spPr bwMode="auto">
          <a:xfrm>
            <a:off x="10380134" y="3255434"/>
            <a:ext cx="560917" cy="249767"/>
          </a:xfrm>
          <a:custGeom>
            <a:avLst/>
            <a:gdLst>
              <a:gd name="T0" fmla="*/ 874764152 w 186"/>
              <a:gd name="T1" fmla="*/ 269966922 h 83"/>
              <a:gd name="T2" fmla="*/ 798029304 w 186"/>
              <a:gd name="T3" fmla="*/ 346372953 h 83"/>
              <a:gd name="T4" fmla="*/ 153467435 w 186"/>
              <a:gd name="T5" fmla="*/ 346372953 h 83"/>
              <a:gd name="T6" fmla="*/ 76732586 w 186"/>
              <a:gd name="T7" fmla="*/ 269966922 h 83"/>
              <a:gd name="T8" fmla="*/ 76732586 w 186"/>
              <a:gd name="T9" fmla="*/ 0 h 83"/>
              <a:gd name="T10" fmla="*/ 0 w 186"/>
              <a:gd name="T11" fmla="*/ 0 h 83"/>
              <a:gd name="T12" fmla="*/ 0 w 186"/>
              <a:gd name="T13" fmla="*/ 269966922 h 83"/>
              <a:gd name="T14" fmla="*/ 153467435 w 186"/>
              <a:gd name="T15" fmla="*/ 422778983 h 83"/>
              <a:gd name="T16" fmla="*/ 798029304 w 186"/>
              <a:gd name="T17" fmla="*/ 422778983 h 83"/>
              <a:gd name="T18" fmla="*/ 951496738 w 186"/>
              <a:gd name="T19" fmla="*/ 269966922 h 83"/>
              <a:gd name="T20" fmla="*/ 951496738 w 186"/>
              <a:gd name="T21" fmla="*/ 0 h 83"/>
              <a:gd name="T22" fmla="*/ 874764152 w 186"/>
              <a:gd name="T23" fmla="*/ 0 h 83"/>
              <a:gd name="T24" fmla="*/ 874764152 w 186"/>
              <a:gd name="T25" fmla="*/ 269966922 h 8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83">
                <a:moveTo>
                  <a:pt x="171" y="53"/>
                </a:moveTo>
                <a:cubicBezTo>
                  <a:pt x="171" y="61"/>
                  <a:pt x="164" y="68"/>
                  <a:pt x="156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22" y="68"/>
                  <a:pt x="15" y="61"/>
                  <a:pt x="15" y="53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70"/>
                  <a:pt x="13" y="83"/>
                  <a:pt x="30" y="83"/>
                </a:cubicBezTo>
                <a:cubicBezTo>
                  <a:pt x="156" y="83"/>
                  <a:pt x="156" y="83"/>
                  <a:pt x="156" y="83"/>
                </a:cubicBezTo>
                <a:cubicBezTo>
                  <a:pt x="173" y="83"/>
                  <a:pt x="186" y="70"/>
                  <a:pt x="186" y="53"/>
                </a:cubicBezTo>
                <a:cubicBezTo>
                  <a:pt x="186" y="0"/>
                  <a:pt x="186" y="0"/>
                  <a:pt x="186" y="0"/>
                </a:cubicBezTo>
                <a:cubicBezTo>
                  <a:pt x="171" y="0"/>
                  <a:pt x="171" y="0"/>
                  <a:pt x="171" y="0"/>
                </a:cubicBezTo>
                <a:lnTo>
                  <a:pt x="171" y="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5" name="Freeform 96"/>
          <p:cNvSpPr>
            <a:spLocks/>
          </p:cNvSpPr>
          <p:nvPr/>
        </p:nvSpPr>
        <p:spPr bwMode="auto">
          <a:xfrm>
            <a:off x="10598151" y="3069167"/>
            <a:ext cx="245533" cy="107951"/>
          </a:xfrm>
          <a:custGeom>
            <a:avLst/>
            <a:gdLst>
              <a:gd name="T0" fmla="*/ 40346816 w 82"/>
              <a:gd name="T1" fmla="*/ 80927016 h 36"/>
              <a:gd name="T2" fmla="*/ 80693632 w 82"/>
              <a:gd name="T3" fmla="*/ 40463508 h 36"/>
              <a:gd name="T4" fmla="*/ 196690166 w 82"/>
              <a:gd name="T5" fmla="*/ 40463508 h 36"/>
              <a:gd name="T6" fmla="*/ 196690166 w 82"/>
              <a:gd name="T7" fmla="*/ 182083538 h 36"/>
              <a:gd name="T8" fmla="*/ 221905241 w 82"/>
              <a:gd name="T9" fmla="*/ 182083538 h 36"/>
              <a:gd name="T10" fmla="*/ 221905241 w 82"/>
              <a:gd name="T11" fmla="*/ 40463508 h 36"/>
              <a:gd name="T12" fmla="*/ 332857862 w 82"/>
              <a:gd name="T13" fmla="*/ 40463508 h 36"/>
              <a:gd name="T14" fmla="*/ 373204678 w 82"/>
              <a:gd name="T15" fmla="*/ 80927016 h 36"/>
              <a:gd name="T16" fmla="*/ 373204678 w 82"/>
              <a:gd name="T17" fmla="*/ 182083538 h 36"/>
              <a:gd name="T18" fmla="*/ 413551494 w 82"/>
              <a:gd name="T19" fmla="*/ 182083538 h 36"/>
              <a:gd name="T20" fmla="*/ 413551494 w 82"/>
              <a:gd name="T21" fmla="*/ 70811139 h 36"/>
              <a:gd name="T22" fmla="*/ 347987357 w 82"/>
              <a:gd name="T23" fmla="*/ 0 h 36"/>
              <a:gd name="T24" fmla="*/ 70605805 w 82"/>
              <a:gd name="T25" fmla="*/ 0 h 36"/>
              <a:gd name="T26" fmla="*/ 0 w 82"/>
              <a:gd name="T27" fmla="*/ 70811139 h 36"/>
              <a:gd name="T28" fmla="*/ 0 w 82"/>
              <a:gd name="T29" fmla="*/ 182083538 h 36"/>
              <a:gd name="T30" fmla="*/ 40346816 w 82"/>
              <a:gd name="T31" fmla="*/ 182083538 h 36"/>
              <a:gd name="T32" fmla="*/ 40346816 w 82"/>
              <a:gd name="T33" fmla="*/ 80927016 h 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82" h="36">
                <a:moveTo>
                  <a:pt x="8" y="16"/>
                </a:moveTo>
                <a:cubicBezTo>
                  <a:pt x="8" y="12"/>
                  <a:pt x="12" y="8"/>
                  <a:pt x="16" y="8"/>
                </a:cubicBezTo>
                <a:cubicBezTo>
                  <a:pt x="39" y="8"/>
                  <a:pt x="39" y="8"/>
                  <a:pt x="39" y="8"/>
                </a:cubicBezTo>
                <a:cubicBezTo>
                  <a:pt x="39" y="36"/>
                  <a:pt x="39" y="36"/>
                  <a:pt x="39" y="36"/>
                </a:cubicBezTo>
                <a:cubicBezTo>
                  <a:pt x="44" y="36"/>
                  <a:pt x="44" y="36"/>
                  <a:pt x="44" y="36"/>
                </a:cubicBezTo>
                <a:cubicBezTo>
                  <a:pt x="44" y="8"/>
                  <a:pt x="44" y="8"/>
                  <a:pt x="44" y="8"/>
                </a:cubicBezTo>
                <a:cubicBezTo>
                  <a:pt x="66" y="8"/>
                  <a:pt x="66" y="8"/>
                  <a:pt x="66" y="8"/>
                </a:cubicBezTo>
                <a:cubicBezTo>
                  <a:pt x="70" y="8"/>
                  <a:pt x="74" y="12"/>
                  <a:pt x="74" y="16"/>
                </a:cubicBezTo>
                <a:cubicBezTo>
                  <a:pt x="74" y="36"/>
                  <a:pt x="74" y="36"/>
                  <a:pt x="74" y="36"/>
                </a:cubicBezTo>
                <a:cubicBezTo>
                  <a:pt x="82" y="36"/>
                  <a:pt x="82" y="36"/>
                  <a:pt x="82" y="36"/>
                </a:cubicBezTo>
                <a:cubicBezTo>
                  <a:pt x="82" y="14"/>
                  <a:pt x="82" y="14"/>
                  <a:pt x="82" y="14"/>
                </a:cubicBezTo>
                <a:cubicBezTo>
                  <a:pt x="82" y="6"/>
                  <a:pt x="76" y="0"/>
                  <a:pt x="69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6" y="0"/>
                  <a:pt x="0" y="6"/>
                  <a:pt x="0" y="14"/>
                </a:cubicBezTo>
                <a:cubicBezTo>
                  <a:pt x="0" y="36"/>
                  <a:pt x="0" y="36"/>
                  <a:pt x="0" y="36"/>
                </a:cubicBezTo>
                <a:cubicBezTo>
                  <a:pt x="8" y="36"/>
                  <a:pt x="8" y="36"/>
                  <a:pt x="8" y="36"/>
                </a:cubicBezTo>
                <a:lnTo>
                  <a:pt x="8" y="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6" name="Freeform 97"/>
          <p:cNvSpPr>
            <a:spLocks/>
          </p:cNvSpPr>
          <p:nvPr/>
        </p:nvSpPr>
        <p:spPr bwMode="auto">
          <a:xfrm>
            <a:off x="10598151" y="3189817"/>
            <a:ext cx="245533" cy="135467"/>
          </a:xfrm>
          <a:custGeom>
            <a:avLst/>
            <a:gdLst>
              <a:gd name="T0" fmla="*/ 0 w 82"/>
              <a:gd name="T1" fmla="*/ 0 h 45"/>
              <a:gd name="T2" fmla="*/ 0 w 82"/>
              <a:gd name="T3" fmla="*/ 142732196 h 45"/>
              <a:gd name="T4" fmla="*/ 45390729 w 82"/>
              <a:gd name="T5" fmla="*/ 142732196 h 45"/>
              <a:gd name="T6" fmla="*/ 75649718 w 82"/>
              <a:gd name="T7" fmla="*/ 117244142 h 45"/>
              <a:gd name="T8" fmla="*/ 110952621 w 82"/>
              <a:gd name="T9" fmla="*/ 152926062 h 45"/>
              <a:gd name="T10" fmla="*/ 75649718 w 82"/>
              <a:gd name="T11" fmla="*/ 183512178 h 45"/>
              <a:gd name="T12" fmla="*/ 45390729 w 82"/>
              <a:gd name="T13" fmla="*/ 158024124 h 45"/>
              <a:gd name="T14" fmla="*/ 0 w 82"/>
              <a:gd name="T15" fmla="*/ 158024124 h 45"/>
              <a:gd name="T16" fmla="*/ 0 w 82"/>
              <a:gd name="T17" fmla="*/ 229390222 h 45"/>
              <a:gd name="T18" fmla="*/ 413551494 w 82"/>
              <a:gd name="T19" fmla="*/ 229390222 h 45"/>
              <a:gd name="T20" fmla="*/ 413551494 w 82"/>
              <a:gd name="T21" fmla="*/ 158024124 h 45"/>
              <a:gd name="T22" fmla="*/ 373204678 w 82"/>
              <a:gd name="T23" fmla="*/ 158024124 h 45"/>
              <a:gd name="T24" fmla="*/ 337901776 w 82"/>
              <a:gd name="T25" fmla="*/ 183512178 h 45"/>
              <a:gd name="T26" fmla="*/ 307642787 w 82"/>
              <a:gd name="T27" fmla="*/ 152926062 h 45"/>
              <a:gd name="T28" fmla="*/ 337901776 w 82"/>
              <a:gd name="T29" fmla="*/ 117244142 h 45"/>
              <a:gd name="T30" fmla="*/ 373204678 w 82"/>
              <a:gd name="T31" fmla="*/ 142732196 h 45"/>
              <a:gd name="T32" fmla="*/ 413551494 w 82"/>
              <a:gd name="T33" fmla="*/ 142732196 h 45"/>
              <a:gd name="T34" fmla="*/ 413551494 w 82"/>
              <a:gd name="T35" fmla="*/ 0 h 45"/>
              <a:gd name="T36" fmla="*/ 0 w 82"/>
              <a:gd name="T37" fmla="*/ 0 h 4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82" h="45">
                <a:moveTo>
                  <a:pt x="0" y="0"/>
                </a:moveTo>
                <a:cubicBezTo>
                  <a:pt x="0" y="28"/>
                  <a:pt x="0" y="28"/>
                  <a:pt x="0" y="28"/>
                </a:cubicBezTo>
                <a:cubicBezTo>
                  <a:pt x="9" y="28"/>
                  <a:pt x="9" y="28"/>
                  <a:pt x="9" y="28"/>
                </a:cubicBezTo>
                <a:cubicBezTo>
                  <a:pt x="9" y="25"/>
                  <a:pt x="12" y="23"/>
                  <a:pt x="15" y="23"/>
                </a:cubicBezTo>
                <a:cubicBezTo>
                  <a:pt x="19" y="23"/>
                  <a:pt x="22" y="26"/>
                  <a:pt x="22" y="30"/>
                </a:cubicBezTo>
                <a:cubicBezTo>
                  <a:pt x="22" y="33"/>
                  <a:pt x="19" y="36"/>
                  <a:pt x="15" y="36"/>
                </a:cubicBezTo>
                <a:cubicBezTo>
                  <a:pt x="12" y="36"/>
                  <a:pt x="9" y="34"/>
                  <a:pt x="9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45"/>
                  <a:pt x="0" y="45"/>
                  <a:pt x="0" y="45"/>
                </a:cubicBezTo>
                <a:cubicBezTo>
                  <a:pt x="82" y="45"/>
                  <a:pt x="82" y="45"/>
                  <a:pt x="82" y="45"/>
                </a:cubicBezTo>
                <a:cubicBezTo>
                  <a:pt x="82" y="31"/>
                  <a:pt x="82" y="31"/>
                  <a:pt x="82" y="31"/>
                </a:cubicBezTo>
                <a:cubicBezTo>
                  <a:pt x="74" y="31"/>
                  <a:pt x="74" y="31"/>
                  <a:pt x="74" y="31"/>
                </a:cubicBezTo>
                <a:cubicBezTo>
                  <a:pt x="73" y="34"/>
                  <a:pt x="70" y="36"/>
                  <a:pt x="67" y="36"/>
                </a:cubicBezTo>
                <a:cubicBezTo>
                  <a:pt x="64" y="36"/>
                  <a:pt x="61" y="33"/>
                  <a:pt x="61" y="30"/>
                </a:cubicBezTo>
                <a:cubicBezTo>
                  <a:pt x="61" y="26"/>
                  <a:pt x="64" y="23"/>
                  <a:pt x="67" y="23"/>
                </a:cubicBezTo>
                <a:cubicBezTo>
                  <a:pt x="70" y="23"/>
                  <a:pt x="73" y="25"/>
                  <a:pt x="74" y="28"/>
                </a:cubicBezTo>
                <a:cubicBezTo>
                  <a:pt x="82" y="28"/>
                  <a:pt x="82" y="28"/>
                  <a:pt x="82" y="28"/>
                </a:cubicBezTo>
                <a:cubicBezTo>
                  <a:pt x="82" y="0"/>
                  <a:pt x="82" y="0"/>
                  <a:pt x="8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7" name="Freeform 98"/>
          <p:cNvSpPr>
            <a:spLocks/>
          </p:cNvSpPr>
          <p:nvPr/>
        </p:nvSpPr>
        <p:spPr bwMode="auto">
          <a:xfrm>
            <a:off x="10619318" y="3335867"/>
            <a:ext cx="44449" cy="46567"/>
          </a:xfrm>
          <a:custGeom>
            <a:avLst/>
            <a:gdLst>
              <a:gd name="T0" fmla="*/ 0 w 15"/>
              <a:gd name="T1" fmla="*/ 43369865 h 15"/>
              <a:gd name="T2" fmla="*/ 39515457 w 15"/>
              <a:gd name="T3" fmla="*/ 81317042 h 15"/>
              <a:gd name="T4" fmla="*/ 74092594 w 15"/>
              <a:gd name="T5" fmla="*/ 43369865 h 15"/>
              <a:gd name="T6" fmla="*/ 74092594 w 15"/>
              <a:gd name="T7" fmla="*/ 0 h 15"/>
              <a:gd name="T8" fmla="*/ 0 w 15"/>
              <a:gd name="T9" fmla="*/ 0 h 15"/>
              <a:gd name="T10" fmla="*/ 0 w 15"/>
              <a:gd name="T11" fmla="*/ 43369865 h 1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" h="15">
                <a:moveTo>
                  <a:pt x="0" y="8"/>
                </a:moveTo>
                <a:cubicBezTo>
                  <a:pt x="0" y="12"/>
                  <a:pt x="4" y="15"/>
                  <a:pt x="8" y="15"/>
                </a:cubicBezTo>
                <a:cubicBezTo>
                  <a:pt x="11" y="15"/>
                  <a:pt x="15" y="12"/>
                  <a:pt x="15" y="8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lnTo>
                  <a:pt x="0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8" name="Freeform 99"/>
          <p:cNvSpPr>
            <a:spLocks/>
          </p:cNvSpPr>
          <p:nvPr/>
        </p:nvSpPr>
        <p:spPr bwMode="auto">
          <a:xfrm>
            <a:off x="10780184" y="3335867"/>
            <a:ext cx="42333" cy="46567"/>
          </a:xfrm>
          <a:custGeom>
            <a:avLst/>
            <a:gdLst>
              <a:gd name="T0" fmla="*/ 0 w 14"/>
              <a:gd name="T1" fmla="*/ 43369865 h 15"/>
              <a:gd name="T2" fmla="*/ 36002232 w 14"/>
              <a:gd name="T3" fmla="*/ 81317042 h 15"/>
              <a:gd name="T4" fmla="*/ 72004464 w 14"/>
              <a:gd name="T5" fmla="*/ 43369865 h 15"/>
              <a:gd name="T6" fmla="*/ 72004464 w 14"/>
              <a:gd name="T7" fmla="*/ 0 h 15"/>
              <a:gd name="T8" fmla="*/ 0 w 14"/>
              <a:gd name="T9" fmla="*/ 0 h 15"/>
              <a:gd name="T10" fmla="*/ 0 w 14"/>
              <a:gd name="T11" fmla="*/ 43369865 h 1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4" h="15">
                <a:moveTo>
                  <a:pt x="0" y="8"/>
                </a:moveTo>
                <a:cubicBezTo>
                  <a:pt x="0" y="12"/>
                  <a:pt x="3" y="15"/>
                  <a:pt x="7" y="15"/>
                </a:cubicBezTo>
                <a:cubicBezTo>
                  <a:pt x="11" y="15"/>
                  <a:pt x="14" y="12"/>
                  <a:pt x="14" y="8"/>
                </a:cubicBezTo>
                <a:cubicBezTo>
                  <a:pt x="14" y="0"/>
                  <a:pt x="14" y="0"/>
                  <a:pt x="14" y="0"/>
                </a:cubicBezTo>
                <a:cubicBezTo>
                  <a:pt x="0" y="0"/>
                  <a:pt x="0" y="0"/>
                  <a:pt x="0" y="0"/>
                </a:cubicBezTo>
                <a:lnTo>
                  <a:pt x="0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89" name="Freeform 100"/>
          <p:cNvSpPr>
            <a:spLocks/>
          </p:cNvSpPr>
          <p:nvPr/>
        </p:nvSpPr>
        <p:spPr bwMode="auto">
          <a:xfrm>
            <a:off x="10477500" y="3090334"/>
            <a:ext cx="84667" cy="292100"/>
          </a:xfrm>
          <a:custGeom>
            <a:avLst/>
            <a:gdLst>
              <a:gd name="T0" fmla="*/ 87434964 w 28"/>
              <a:gd name="T1" fmla="*/ 494782017 h 97"/>
              <a:gd name="T2" fmla="*/ 87434964 w 28"/>
              <a:gd name="T3" fmla="*/ 295848366 h 97"/>
              <a:gd name="T4" fmla="*/ 87434964 w 28"/>
              <a:gd name="T5" fmla="*/ 270345326 h 97"/>
              <a:gd name="T6" fmla="*/ 87434964 w 28"/>
              <a:gd name="T7" fmla="*/ 142823349 h 97"/>
              <a:gd name="T8" fmla="*/ 144008929 w 28"/>
              <a:gd name="T9" fmla="*/ 71411674 h 97"/>
              <a:gd name="T10" fmla="*/ 72004464 w 28"/>
              <a:gd name="T11" fmla="*/ 0 h 97"/>
              <a:gd name="T12" fmla="*/ 0 w 28"/>
              <a:gd name="T13" fmla="*/ 71411674 h 97"/>
              <a:gd name="T14" fmla="*/ 56573964 w 28"/>
              <a:gd name="T15" fmla="*/ 142823349 h 97"/>
              <a:gd name="T16" fmla="*/ 56573964 w 28"/>
              <a:gd name="T17" fmla="*/ 270345326 h 97"/>
              <a:gd name="T18" fmla="*/ 56573964 w 28"/>
              <a:gd name="T19" fmla="*/ 295848366 h 97"/>
              <a:gd name="T20" fmla="*/ 56573964 w 28"/>
              <a:gd name="T21" fmla="*/ 494782017 h 97"/>
              <a:gd name="T22" fmla="*/ 87434964 w 28"/>
              <a:gd name="T23" fmla="*/ 494782017 h 9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8" h="97">
                <a:moveTo>
                  <a:pt x="17" y="97"/>
                </a:moveTo>
                <a:cubicBezTo>
                  <a:pt x="17" y="58"/>
                  <a:pt x="17" y="58"/>
                  <a:pt x="17" y="58"/>
                </a:cubicBezTo>
                <a:cubicBezTo>
                  <a:pt x="17" y="53"/>
                  <a:pt x="17" y="53"/>
                  <a:pt x="17" y="53"/>
                </a:cubicBezTo>
                <a:cubicBezTo>
                  <a:pt x="17" y="28"/>
                  <a:pt x="17" y="28"/>
                  <a:pt x="17" y="28"/>
                </a:cubicBezTo>
                <a:cubicBezTo>
                  <a:pt x="23" y="27"/>
                  <a:pt x="28" y="21"/>
                  <a:pt x="28" y="14"/>
                </a:cubicBezTo>
                <a:cubicBezTo>
                  <a:pt x="28" y="7"/>
                  <a:pt x="22" y="0"/>
                  <a:pt x="14" y="0"/>
                </a:cubicBezTo>
                <a:cubicBezTo>
                  <a:pt x="6" y="0"/>
                  <a:pt x="0" y="7"/>
                  <a:pt x="0" y="14"/>
                </a:cubicBezTo>
                <a:cubicBezTo>
                  <a:pt x="0" y="21"/>
                  <a:pt x="5" y="27"/>
                  <a:pt x="11" y="28"/>
                </a:cubicBezTo>
                <a:cubicBezTo>
                  <a:pt x="11" y="53"/>
                  <a:pt x="11" y="53"/>
                  <a:pt x="11" y="53"/>
                </a:cubicBezTo>
                <a:cubicBezTo>
                  <a:pt x="11" y="58"/>
                  <a:pt x="11" y="58"/>
                  <a:pt x="11" y="58"/>
                </a:cubicBezTo>
                <a:cubicBezTo>
                  <a:pt x="11" y="97"/>
                  <a:pt x="11" y="97"/>
                  <a:pt x="11" y="97"/>
                </a:cubicBezTo>
                <a:lnTo>
                  <a:pt x="17" y="9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90" name="Freeform 101"/>
          <p:cNvSpPr>
            <a:spLocks/>
          </p:cNvSpPr>
          <p:nvPr/>
        </p:nvSpPr>
        <p:spPr bwMode="auto">
          <a:xfrm>
            <a:off x="1009651" y="3788834"/>
            <a:ext cx="560916" cy="270933"/>
          </a:xfrm>
          <a:custGeom>
            <a:avLst/>
            <a:gdLst>
              <a:gd name="T0" fmla="*/ 798027407 w 186"/>
              <a:gd name="T1" fmla="*/ 0 h 90"/>
              <a:gd name="T2" fmla="*/ 153467070 w 186"/>
              <a:gd name="T3" fmla="*/ 0 h 90"/>
              <a:gd name="T4" fmla="*/ 0 w 186"/>
              <a:gd name="T5" fmla="*/ 152926062 h 90"/>
              <a:gd name="T6" fmla="*/ 0 w 186"/>
              <a:gd name="T7" fmla="*/ 458780444 h 90"/>
              <a:gd name="T8" fmla="*/ 76732404 w 186"/>
              <a:gd name="T9" fmla="*/ 458780444 h 90"/>
              <a:gd name="T10" fmla="*/ 76732404 w 186"/>
              <a:gd name="T11" fmla="*/ 152926062 h 90"/>
              <a:gd name="T12" fmla="*/ 153467070 w 186"/>
              <a:gd name="T13" fmla="*/ 76464160 h 90"/>
              <a:gd name="T14" fmla="*/ 798027407 w 186"/>
              <a:gd name="T15" fmla="*/ 76464160 h 90"/>
              <a:gd name="T16" fmla="*/ 874762073 w 186"/>
              <a:gd name="T17" fmla="*/ 152926062 h 90"/>
              <a:gd name="T18" fmla="*/ 874762073 w 186"/>
              <a:gd name="T19" fmla="*/ 458780444 h 90"/>
              <a:gd name="T20" fmla="*/ 951494477 w 186"/>
              <a:gd name="T21" fmla="*/ 458780444 h 90"/>
              <a:gd name="T22" fmla="*/ 951494477 w 186"/>
              <a:gd name="T23" fmla="*/ 152926062 h 90"/>
              <a:gd name="T24" fmla="*/ 798027407 w 186"/>
              <a:gd name="T25" fmla="*/ 0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56" y="0"/>
                </a:move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3"/>
                  <a:pt x="0" y="30"/>
                </a:cubicBezTo>
                <a:cubicBezTo>
                  <a:pt x="0" y="90"/>
                  <a:pt x="0" y="90"/>
                  <a:pt x="0" y="90"/>
                </a:cubicBezTo>
                <a:cubicBezTo>
                  <a:pt x="15" y="90"/>
                  <a:pt x="15" y="90"/>
                  <a:pt x="15" y="90"/>
                </a:cubicBezTo>
                <a:cubicBezTo>
                  <a:pt x="15" y="30"/>
                  <a:pt x="15" y="30"/>
                  <a:pt x="15" y="30"/>
                </a:cubicBezTo>
                <a:cubicBezTo>
                  <a:pt x="15" y="22"/>
                  <a:pt x="22" y="15"/>
                  <a:pt x="30" y="15"/>
                </a:cubicBezTo>
                <a:cubicBezTo>
                  <a:pt x="156" y="15"/>
                  <a:pt x="156" y="15"/>
                  <a:pt x="156" y="15"/>
                </a:cubicBezTo>
                <a:cubicBezTo>
                  <a:pt x="164" y="15"/>
                  <a:pt x="171" y="22"/>
                  <a:pt x="171" y="30"/>
                </a:cubicBezTo>
                <a:cubicBezTo>
                  <a:pt x="171" y="90"/>
                  <a:pt x="171" y="90"/>
                  <a:pt x="171" y="90"/>
                </a:cubicBezTo>
                <a:cubicBezTo>
                  <a:pt x="186" y="90"/>
                  <a:pt x="186" y="90"/>
                  <a:pt x="186" y="90"/>
                </a:cubicBezTo>
                <a:cubicBezTo>
                  <a:pt x="186" y="30"/>
                  <a:pt x="186" y="30"/>
                  <a:pt x="186" y="30"/>
                </a:cubicBezTo>
                <a:cubicBezTo>
                  <a:pt x="186" y="13"/>
                  <a:pt x="173" y="0"/>
                  <a:pt x="15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91" name="Freeform 102"/>
          <p:cNvSpPr>
            <a:spLocks/>
          </p:cNvSpPr>
          <p:nvPr/>
        </p:nvSpPr>
        <p:spPr bwMode="auto">
          <a:xfrm>
            <a:off x="1009651" y="4076700"/>
            <a:ext cx="560916" cy="270933"/>
          </a:xfrm>
          <a:custGeom>
            <a:avLst/>
            <a:gdLst>
              <a:gd name="T0" fmla="*/ 874762073 w 186"/>
              <a:gd name="T1" fmla="*/ 305854382 h 90"/>
              <a:gd name="T2" fmla="*/ 798027407 w 186"/>
              <a:gd name="T3" fmla="*/ 382316284 h 90"/>
              <a:gd name="T4" fmla="*/ 153467070 w 186"/>
              <a:gd name="T5" fmla="*/ 382316284 h 90"/>
              <a:gd name="T6" fmla="*/ 76732404 w 186"/>
              <a:gd name="T7" fmla="*/ 305854382 h 90"/>
              <a:gd name="T8" fmla="*/ 76732404 w 186"/>
              <a:gd name="T9" fmla="*/ 0 h 90"/>
              <a:gd name="T10" fmla="*/ 0 w 186"/>
              <a:gd name="T11" fmla="*/ 0 h 90"/>
              <a:gd name="T12" fmla="*/ 0 w 186"/>
              <a:gd name="T13" fmla="*/ 305854382 h 90"/>
              <a:gd name="T14" fmla="*/ 153467070 w 186"/>
              <a:gd name="T15" fmla="*/ 458780444 h 90"/>
              <a:gd name="T16" fmla="*/ 798027407 w 186"/>
              <a:gd name="T17" fmla="*/ 458780444 h 90"/>
              <a:gd name="T18" fmla="*/ 951494477 w 186"/>
              <a:gd name="T19" fmla="*/ 305854382 h 90"/>
              <a:gd name="T20" fmla="*/ 951494477 w 186"/>
              <a:gd name="T21" fmla="*/ 0 h 90"/>
              <a:gd name="T22" fmla="*/ 874762073 w 186"/>
              <a:gd name="T23" fmla="*/ 0 h 90"/>
              <a:gd name="T24" fmla="*/ 874762073 w 186"/>
              <a:gd name="T25" fmla="*/ 30585438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71" y="60"/>
                </a:moveTo>
                <a:cubicBezTo>
                  <a:pt x="171" y="68"/>
                  <a:pt x="164" y="75"/>
                  <a:pt x="156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22" y="75"/>
                  <a:pt x="15" y="68"/>
                  <a:pt x="15" y="60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77"/>
                  <a:pt x="13" y="90"/>
                  <a:pt x="30" y="90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73" y="90"/>
                  <a:pt x="186" y="77"/>
                  <a:pt x="186" y="60"/>
                </a:cubicBezTo>
                <a:cubicBezTo>
                  <a:pt x="186" y="0"/>
                  <a:pt x="186" y="0"/>
                  <a:pt x="186" y="0"/>
                </a:cubicBezTo>
                <a:cubicBezTo>
                  <a:pt x="171" y="0"/>
                  <a:pt x="171" y="0"/>
                  <a:pt x="171" y="0"/>
                </a:cubicBezTo>
                <a:lnTo>
                  <a:pt x="17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92" name="Freeform 103"/>
          <p:cNvSpPr>
            <a:spLocks/>
          </p:cNvSpPr>
          <p:nvPr/>
        </p:nvSpPr>
        <p:spPr bwMode="auto">
          <a:xfrm>
            <a:off x="1164167" y="4004733"/>
            <a:ext cx="251884" cy="160867"/>
          </a:xfrm>
          <a:custGeom>
            <a:avLst/>
            <a:gdLst>
              <a:gd name="T0" fmla="*/ 0 w 84"/>
              <a:gd name="T1" fmla="*/ 114005144 h 53"/>
              <a:gd name="T2" fmla="*/ 0 w 84"/>
              <a:gd name="T3" fmla="*/ 176189975 h 53"/>
              <a:gd name="T4" fmla="*/ 45521286 w 84"/>
              <a:gd name="T5" fmla="*/ 176189975 h 53"/>
              <a:gd name="T6" fmla="*/ 80924482 w 84"/>
              <a:gd name="T7" fmla="*/ 150279819 h 53"/>
              <a:gd name="T8" fmla="*/ 116329927 w 84"/>
              <a:gd name="T9" fmla="*/ 181373373 h 53"/>
              <a:gd name="T10" fmla="*/ 80924482 w 84"/>
              <a:gd name="T11" fmla="*/ 217645771 h 53"/>
              <a:gd name="T12" fmla="*/ 50579207 w 84"/>
              <a:gd name="T13" fmla="*/ 191735614 h 53"/>
              <a:gd name="T14" fmla="*/ 0 w 84"/>
              <a:gd name="T15" fmla="*/ 191735614 h 53"/>
              <a:gd name="T16" fmla="*/ 0 w 84"/>
              <a:gd name="T17" fmla="*/ 202100132 h 53"/>
              <a:gd name="T18" fmla="*/ 75866561 w 84"/>
              <a:gd name="T19" fmla="*/ 274649481 h 53"/>
              <a:gd name="T20" fmla="*/ 348992029 w 84"/>
              <a:gd name="T21" fmla="*/ 274649481 h 53"/>
              <a:gd name="T22" fmla="*/ 424858590 w 84"/>
              <a:gd name="T23" fmla="*/ 202100132 h 53"/>
              <a:gd name="T24" fmla="*/ 424858590 w 84"/>
              <a:gd name="T25" fmla="*/ 191735614 h 53"/>
              <a:gd name="T26" fmla="*/ 374279383 w 84"/>
              <a:gd name="T27" fmla="*/ 191735614 h 53"/>
              <a:gd name="T28" fmla="*/ 343934108 w 84"/>
              <a:gd name="T29" fmla="*/ 217645771 h 53"/>
              <a:gd name="T30" fmla="*/ 308528663 w 84"/>
              <a:gd name="T31" fmla="*/ 181373373 h 53"/>
              <a:gd name="T32" fmla="*/ 343934108 w 84"/>
              <a:gd name="T33" fmla="*/ 150279819 h 53"/>
              <a:gd name="T34" fmla="*/ 379337304 w 84"/>
              <a:gd name="T35" fmla="*/ 176189975 h 53"/>
              <a:gd name="T36" fmla="*/ 424858590 w 84"/>
              <a:gd name="T37" fmla="*/ 176189975 h 53"/>
              <a:gd name="T38" fmla="*/ 424858590 w 84"/>
              <a:gd name="T39" fmla="*/ 114005144 h 53"/>
              <a:gd name="T40" fmla="*/ 424858590 w 84"/>
              <a:gd name="T41" fmla="*/ 88094988 h 53"/>
              <a:gd name="T42" fmla="*/ 424858590 w 84"/>
              <a:gd name="T43" fmla="*/ 0 h 53"/>
              <a:gd name="T44" fmla="*/ 389453145 w 84"/>
              <a:gd name="T45" fmla="*/ 0 h 53"/>
              <a:gd name="T46" fmla="*/ 389453145 w 84"/>
              <a:gd name="T47" fmla="*/ 51820313 h 53"/>
              <a:gd name="T48" fmla="*/ 364163542 w 84"/>
              <a:gd name="T49" fmla="*/ 77730470 h 53"/>
              <a:gd name="T50" fmla="*/ 60695048 w 84"/>
              <a:gd name="T51" fmla="*/ 77730470 h 53"/>
              <a:gd name="T52" fmla="*/ 35405445 w 84"/>
              <a:gd name="T53" fmla="*/ 51820313 h 53"/>
              <a:gd name="T54" fmla="*/ 35405445 w 84"/>
              <a:gd name="T55" fmla="*/ 0 h 53"/>
              <a:gd name="T56" fmla="*/ 0 w 84"/>
              <a:gd name="T57" fmla="*/ 0 h 53"/>
              <a:gd name="T58" fmla="*/ 0 w 84"/>
              <a:gd name="T59" fmla="*/ 88094988 h 53"/>
              <a:gd name="T60" fmla="*/ 0 w 84"/>
              <a:gd name="T61" fmla="*/ 114005144 h 5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4" h="53">
                <a:moveTo>
                  <a:pt x="0" y="22"/>
                </a:moveTo>
                <a:cubicBezTo>
                  <a:pt x="0" y="34"/>
                  <a:pt x="0" y="34"/>
                  <a:pt x="0" y="34"/>
                </a:cubicBezTo>
                <a:cubicBezTo>
                  <a:pt x="9" y="34"/>
                  <a:pt x="9" y="34"/>
                  <a:pt x="9" y="34"/>
                </a:cubicBezTo>
                <a:cubicBezTo>
                  <a:pt x="10" y="31"/>
                  <a:pt x="13" y="29"/>
                  <a:pt x="16" y="29"/>
                </a:cubicBezTo>
                <a:cubicBezTo>
                  <a:pt x="20" y="29"/>
                  <a:pt x="23" y="32"/>
                  <a:pt x="23" y="35"/>
                </a:cubicBezTo>
                <a:cubicBezTo>
                  <a:pt x="23" y="39"/>
                  <a:pt x="20" y="42"/>
                  <a:pt x="16" y="42"/>
                </a:cubicBezTo>
                <a:cubicBezTo>
                  <a:pt x="13" y="42"/>
                  <a:pt x="10" y="40"/>
                  <a:pt x="10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47"/>
                  <a:pt x="7" y="53"/>
                  <a:pt x="15" y="53"/>
                </a:cubicBezTo>
                <a:cubicBezTo>
                  <a:pt x="69" y="53"/>
                  <a:pt x="69" y="53"/>
                  <a:pt x="69" y="53"/>
                </a:cubicBezTo>
                <a:cubicBezTo>
                  <a:pt x="77" y="53"/>
                  <a:pt x="84" y="47"/>
                  <a:pt x="84" y="39"/>
                </a:cubicBezTo>
                <a:cubicBezTo>
                  <a:pt x="84" y="37"/>
                  <a:pt x="84" y="37"/>
                  <a:pt x="84" y="37"/>
                </a:cubicBezTo>
                <a:cubicBezTo>
                  <a:pt x="74" y="37"/>
                  <a:pt x="74" y="37"/>
                  <a:pt x="74" y="37"/>
                </a:cubicBezTo>
                <a:cubicBezTo>
                  <a:pt x="74" y="40"/>
                  <a:pt x="71" y="42"/>
                  <a:pt x="68" y="42"/>
                </a:cubicBezTo>
                <a:cubicBezTo>
                  <a:pt x="64" y="42"/>
                  <a:pt x="61" y="39"/>
                  <a:pt x="61" y="35"/>
                </a:cubicBezTo>
                <a:cubicBezTo>
                  <a:pt x="61" y="32"/>
                  <a:pt x="64" y="29"/>
                  <a:pt x="68" y="29"/>
                </a:cubicBezTo>
                <a:cubicBezTo>
                  <a:pt x="71" y="29"/>
                  <a:pt x="74" y="31"/>
                  <a:pt x="75" y="34"/>
                </a:cubicBezTo>
                <a:cubicBezTo>
                  <a:pt x="84" y="34"/>
                  <a:pt x="84" y="34"/>
                  <a:pt x="84" y="34"/>
                </a:cubicBezTo>
                <a:cubicBezTo>
                  <a:pt x="84" y="22"/>
                  <a:pt x="84" y="22"/>
                  <a:pt x="84" y="22"/>
                </a:cubicBezTo>
                <a:cubicBezTo>
                  <a:pt x="84" y="17"/>
                  <a:pt x="84" y="17"/>
                  <a:pt x="84" y="17"/>
                </a:cubicBezTo>
                <a:cubicBezTo>
                  <a:pt x="84" y="0"/>
                  <a:pt x="84" y="0"/>
                  <a:pt x="84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77" y="10"/>
                  <a:pt x="77" y="10"/>
                  <a:pt x="77" y="10"/>
                </a:cubicBezTo>
                <a:cubicBezTo>
                  <a:pt x="77" y="13"/>
                  <a:pt x="75" y="15"/>
                  <a:pt x="72" y="15"/>
                </a:cubicBezTo>
                <a:cubicBezTo>
                  <a:pt x="12" y="15"/>
                  <a:pt x="12" y="15"/>
                  <a:pt x="12" y="15"/>
                </a:cubicBezTo>
                <a:cubicBezTo>
                  <a:pt x="9" y="15"/>
                  <a:pt x="7" y="13"/>
                  <a:pt x="7" y="10"/>
                </a:cubicBezTo>
                <a:cubicBezTo>
                  <a:pt x="7" y="0"/>
                  <a:pt x="7" y="0"/>
                  <a:pt x="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7"/>
                  <a:pt x="0" y="17"/>
                  <a:pt x="0" y="17"/>
                </a:cubicBezTo>
                <a:lnTo>
                  <a:pt x="0" y="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93" name="Freeform 104"/>
          <p:cNvSpPr>
            <a:spLocks/>
          </p:cNvSpPr>
          <p:nvPr/>
        </p:nvSpPr>
        <p:spPr bwMode="auto">
          <a:xfrm>
            <a:off x="1164167" y="3898901"/>
            <a:ext cx="251884" cy="97367"/>
          </a:xfrm>
          <a:custGeom>
            <a:avLst/>
            <a:gdLst>
              <a:gd name="T0" fmla="*/ 35405445 w 84"/>
              <a:gd name="T1" fmla="*/ 114569379 h 32"/>
              <a:gd name="T2" fmla="*/ 60695048 w 84"/>
              <a:gd name="T3" fmla="*/ 88531402 h 32"/>
              <a:gd name="T4" fmla="*/ 364163542 w 84"/>
              <a:gd name="T5" fmla="*/ 88531402 h 32"/>
              <a:gd name="T6" fmla="*/ 389453145 w 84"/>
              <a:gd name="T7" fmla="*/ 114569379 h 32"/>
              <a:gd name="T8" fmla="*/ 389453145 w 84"/>
              <a:gd name="T9" fmla="*/ 166645332 h 32"/>
              <a:gd name="T10" fmla="*/ 424858590 w 84"/>
              <a:gd name="T11" fmla="*/ 166645332 h 32"/>
              <a:gd name="T12" fmla="*/ 424858590 w 84"/>
              <a:gd name="T13" fmla="*/ 72906334 h 32"/>
              <a:gd name="T14" fmla="*/ 348992029 w 84"/>
              <a:gd name="T15" fmla="*/ 0 h 32"/>
              <a:gd name="T16" fmla="*/ 75866561 w 84"/>
              <a:gd name="T17" fmla="*/ 0 h 32"/>
              <a:gd name="T18" fmla="*/ 0 w 84"/>
              <a:gd name="T19" fmla="*/ 72906334 h 32"/>
              <a:gd name="T20" fmla="*/ 0 w 84"/>
              <a:gd name="T21" fmla="*/ 166645332 h 32"/>
              <a:gd name="T22" fmla="*/ 35405445 w 84"/>
              <a:gd name="T23" fmla="*/ 166645332 h 32"/>
              <a:gd name="T24" fmla="*/ 35405445 w 84"/>
              <a:gd name="T25" fmla="*/ 114569379 h 3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84" h="32">
                <a:moveTo>
                  <a:pt x="7" y="22"/>
                </a:moveTo>
                <a:cubicBezTo>
                  <a:pt x="7" y="19"/>
                  <a:pt x="9" y="17"/>
                  <a:pt x="12" y="17"/>
                </a:cubicBezTo>
                <a:cubicBezTo>
                  <a:pt x="72" y="17"/>
                  <a:pt x="72" y="17"/>
                  <a:pt x="72" y="17"/>
                </a:cubicBezTo>
                <a:cubicBezTo>
                  <a:pt x="75" y="17"/>
                  <a:pt x="77" y="19"/>
                  <a:pt x="77" y="22"/>
                </a:cubicBezTo>
                <a:cubicBezTo>
                  <a:pt x="77" y="32"/>
                  <a:pt x="77" y="32"/>
                  <a:pt x="77" y="32"/>
                </a:cubicBezTo>
                <a:cubicBezTo>
                  <a:pt x="84" y="32"/>
                  <a:pt x="84" y="32"/>
                  <a:pt x="84" y="32"/>
                </a:cubicBezTo>
                <a:cubicBezTo>
                  <a:pt x="84" y="14"/>
                  <a:pt x="84" y="14"/>
                  <a:pt x="84" y="14"/>
                </a:cubicBezTo>
                <a:cubicBezTo>
                  <a:pt x="84" y="6"/>
                  <a:pt x="77" y="0"/>
                  <a:pt x="69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32"/>
                  <a:pt x="0" y="32"/>
                  <a:pt x="0" y="32"/>
                </a:cubicBezTo>
                <a:cubicBezTo>
                  <a:pt x="7" y="32"/>
                  <a:pt x="7" y="32"/>
                  <a:pt x="7" y="32"/>
                </a:cubicBezTo>
                <a:lnTo>
                  <a:pt x="7" y="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94" name="Freeform 105"/>
          <p:cNvSpPr>
            <a:spLocks/>
          </p:cNvSpPr>
          <p:nvPr/>
        </p:nvSpPr>
        <p:spPr bwMode="auto">
          <a:xfrm>
            <a:off x="1178985" y="4174067"/>
            <a:ext cx="222249" cy="42333"/>
          </a:xfrm>
          <a:custGeom>
            <a:avLst/>
            <a:gdLst>
              <a:gd name="T0" fmla="*/ 264616406 w 105"/>
              <a:gd name="T1" fmla="*/ 20161250 h 20"/>
              <a:gd name="T2" fmla="*/ 239414919 w 105"/>
              <a:gd name="T3" fmla="*/ 20161250 h 20"/>
              <a:gd name="T4" fmla="*/ 239414919 w 105"/>
              <a:gd name="T5" fmla="*/ 0 h 20"/>
              <a:gd name="T6" fmla="*/ 211692490 w 105"/>
              <a:gd name="T7" fmla="*/ 0 h 20"/>
              <a:gd name="T8" fmla="*/ 211692490 w 105"/>
              <a:gd name="T9" fmla="*/ 20161250 h 20"/>
              <a:gd name="T10" fmla="*/ 52923916 w 105"/>
              <a:gd name="T11" fmla="*/ 20161250 h 20"/>
              <a:gd name="T12" fmla="*/ 52923916 w 105"/>
              <a:gd name="T13" fmla="*/ 0 h 20"/>
              <a:gd name="T14" fmla="*/ 25201487 w 105"/>
              <a:gd name="T15" fmla="*/ 0 h 20"/>
              <a:gd name="T16" fmla="*/ 25201487 w 105"/>
              <a:gd name="T17" fmla="*/ 20161250 h 20"/>
              <a:gd name="T18" fmla="*/ 0 w 105"/>
              <a:gd name="T19" fmla="*/ 20161250 h 20"/>
              <a:gd name="T20" fmla="*/ 0 w 105"/>
              <a:gd name="T21" fmla="*/ 50403125 h 20"/>
              <a:gd name="T22" fmla="*/ 264616406 w 105"/>
              <a:gd name="T23" fmla="*/ 50403125 h 20"/>
              <a:gd name="T24" fmla="*/ 264616406 w 105"/>
              <a:gd name="T25" fmla="*/ 20161250 h 2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05" h="20">
                <a:moveTo>
                  <a:pt x="105" y="8"/>
                </a:moveTo>
                <a:lnTo>
                  <a:pt x="95" y="8"/>
                </a:lnTo>
                <a:lnTo>
                  <a:pt x="95" y="0"/>
                </a:lnTo>
                <a:lnTo>
                  <a:pt x="84" y="0"/>
                </a:lnTo>
                <a:lnTo>
                  <a:pt x="84" y="8"/>
                </a:lnTo>
                <a:lnTo>
                  <a:pt x="21" y="8"/>
                </a:lnTo>
                <a:lnTo>
                  <a:pt x="21" y="0"/>
                </a:lnTo>
                <a:lnTo>
                  <a:pt x="10" y="0"/>
                </a:lnTo>
                <a:lnTo>
                  <a:pt x="10" y="8"/>
                </a:lnTo>
                <a:lnTo>
                  <a:pt x="0" y="8"/>
                </a:lnTo>
                <a:lnTo>
                  <a:pt x="0" y="20"/>
                </a:lnTo>
                <a:lnTo>
                  <a:pt x="105" y="20"/>
                </a:lnTo>
                <a:lnTo>
                  <a:pt x="105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95" name="Freeform 106"/>
          <p:cNvSpPr>
            <a:spLocks/>
          </p:cNvSpPr>
          <p:nvPr/>
        </p:nvSpPr>
        <p:spPr bwMode="auto">
          <a:xfrm>
            <a:off x="1178985" y="4224867"/>
            <a:ext cx="222249" cy="57151"/>
          </a:xfrm>
          <a:custGeom>
            <a:avLst/>
            <a:gdLst>
              <a:gd name="T0" fmla="*/ 211692490 w 105"/>
              <a:gd name="T1" fmla="*/ 0 h 27"/>
              <a:gd name="T2" fmla="*/ 211692490 w 105"/>
              <a:gd name="T3" fmla="*/ 22682465 h 27"/>
              <a:gd name="T4" fmla="*/ 52923916 w 105"/>
              <a:gd name="T5" fmla="*/ 22682465 h 27"/>
              <a:gd name="T6" fmla="*/ 52923916 w 105"/>
              <a:gd name="T7" fmla="*/ 0 h 27"/>
              <a:gd name="T8" fmla="*/ 25201487 w 105"/>
              <a:gd name="T9" fmla="*/ 0 h 27"/>
              <a:gd name="T10" fmla="*/ 25201487 w 105"/>
              <a:gd name="T11" fmla="*/ 22682465 h 27"/>
              <a:gd name="T12" fmla="*/ 0 w 105"/>
              <a:gd name="T13" fmla="*/ 22682465 h 27"/>
              <a:gd name="T14" fmla="*/ 0 w 105"/>
              <a:gd name="T15" fmla="*/ 50403713 h 27"/>
              <a:gd name="T16" fmla="*/ 25201487 w 105"/>
              <a:gd name="T17" fmla="*/ 50403713 h 27"/>
              <a:gd name="T18" fmla="*/ 25201487 w 105"/>
              <a:gd name="T19" fmla="*/ 68045806 h 27"/>
              <a:gd name="T20" fmla="*/ 52923916 w 105"/>
              <a:gd name="T21" fmla="*/ 68045806 h 27"/>
              <a:gd name="T22" fmla="*/ 52923916 w 105"/>
              <a:gd name="T23" fmla="*/ 50403713 h 27"/>
              <a:gd name="T24" fmla="*/ 211692490 w 105"/>
              <a:gd name="T25" fmla="*/ 50403713 h 27"/>
              <a:gd name="T26" fmla="*/ 211692490 w 105"/>
              <a:gd name="T27" fmla="*/ 68045806 h 27"/>
              <a:gd name="T28" fmla="*/ 239414919 w 105"/>
              <a:gd name="T29" fmla="*/ 68045806 h 27"/>
              <a:gd name="T30" fmla="*/ 239414919 w 105"/>
              <a:gd name="T31" fmla="*/ 50403713 h 27"/>
              <a:gd name="T32" fmla="*/ 264616406 w 105"/>
              <a:gd name="T33" fmla="*/ 50403713 h 27"/>
              <a:gd name="T34" fmla="*/ 264616406 w 105"/>
              <a:gd name="T35" fmla="*/ 22682465 h 27"/>
              <a:gd name="T36" fmla="*/ 239414919 w 105"/>
              <a:gd name="T37" fmla="*/ 22682465 h 27"/>
              <a:gd name="T38" fmla="*/ 239414919 w 105"/>
              <a:gd name="T39" fmla="*/ 0 h 27"/>
              <a:gd name="T40" fmla="*/ 211692490 w 105"/>
              <a:gd name="T41" fmla="*/ 0 h 2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05" h="27">
                <a:moveTo>
                  <a:pt x="84" y="0"/>
                </a:moveTo>
                <a:lnTo>
                  <a:pt x="84" y="9"/>
                </a:lnTo>
                <a:lnTo>
                  <a:pt x="21" y="9"/>
                </a:lnTo>
                <a:lnTo>
                  <a:pt x="21" y="0"/>
                </a:lnTo>
                <a:lnTo>
                  <a:pt x="10" y="0"/>
                </a:lnTo>
                <a:lnTo>
                  <a:pt x="10" y="9"/>
                </a:lnTo>
                <a:lnTo>
                  <a:pt x="0" y="9"/>
                </a:lnTo>
                <a:lnTo>
                  <a:pt x="0" y="20"/>
                </a:lnTo>
                <a:lnTo>
                  <a:pt x="10" y="20"/>
                </a:lnTo>
                <a:lnTo>
                  <a:pt x="10" y="27"/>
                </a:lnTo>
                <a:lnTo>
                  <a:pt x="21" y="27"/>
                </a:lnTo>
                <a:lnTo>
                  <a:pt x="21" y="20"/>
                </a:lnTo>
                <a:lnTo>
                  <a:pt x="84" y="20"/>
                </a:lnTo>
                <a:lnTo>
                  <a:pt x="84" y="27"/>
                </a:lnTo>
                <a:lnTo>
                  <a:pt x="95" y="27"/>
                </a:lnTo>
                <a:lnTo>
                  <a:pt x="95" y="20"/>
                </a:lnTo>
                <a:lnTo>
                  <a:pt x="105" y="20"/>
                </a:lnTo>
                <a:lnTo>
                  <a:pt x="105" y="9"/>
                </a:lnTo>
                <a:lnTo>
                  <a:pt x="95" y="9"/>
                </a:lnTo>
                <a:lnTo>
                  <a:pt x="95" y="0"/>
                </a:lnTo>
                <a:lnTo>
                  <a:pt x="8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96" name="Oval 107"/>
          <p:cNvSpPr>
            <a:spLocks noChangeArrowheads="1"/>
          </p:cNvSpPr>
          <p:nvPr/>
        </p:nvSpPr>
        <p:spPr bwMode="auto">
          <a:xfrm>
            <a:off x="1248833" y="3854451"/>
            <a:ext cx="35984" cy="359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97" name="Oval 108"/>
          <p:cNvSpPr>
            <a:spLocks noChangeArrowheads="1"/>
          </p:cNvSpPr>
          <p:nvPr/>
        </p:nvSpPr>
        <p:spPr bwMode="auto">
          <a:xfrm>
            <a:off x="1295400" y="3854451"/>
            <a:ext cx="35984" cy="359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498" name="Freeform 109"/>
          <p:cNvSpPr>
            <a:spLocks/>
          </p:cNvSpPr>
          <p:nvPr/>
        </p:nvSpPr>
        <p:spPr bwMode="auto">
          <a:xfrm>
            <a:off x="1921933" y="3797300"/>
            <a:ext cx="541867" cy="262467"/>
          </a:xfrm>
          <a:custGeom>
            <a:avLst/>
            <a:gdLst>
              <a:gd name="T0" fmla="*/ 316048249 w 180"/>
              <a:gd name="T1" fmla="*/ 394206832 h 87"/>
              <a:gd name="T2" fmla="*/ 305854382 w 180"/>
              <a:gd name="T3" fmla="*/ 378848007 h 87"/>
              <a:gd name="T4" fmla="*/ 265072142 w 180"/>
              <a:gd name="T5" fmla="*/ 332771531 h 87"/>
              <a:gd name="T6" fmla="*/ 265072142 w 180"/>
              <a:gd name="T7" fmla="*/ 107511777 h 87"/>
              <a:gd name="T8" fmla="*/ 275268267 w 180"/>
              <a:gd name="T9" fmla="*/ 92152952 h 87"/>
              <a:gd name="T10" fmla="*/ 285464391 w 180"/>
              <a:gd name="T11" fmla="*/ 107511777 h 87"/>
              <a:gd name="T12" fmla="*/ 285464391 w 180"/>
              <a:gd name="T13" fmla="*/ 266215867 h 87"/>
              <a:gd name="T14" fmla="*/ 295658258 w 180"/>
              <a:gd name="T15" fmla="*/ 276456593 h 87"/>
              <a:gd name="T16" fmla="*/ 305854382 w 180"/>
              <a:gd name="T17" fmla="*/ 276456593 h 87"/>
              <a:gd name="T18" fmla="*/ 316048249 w 180"/>
              <a:gd name="T19" fmla="*/ 266215867 h 87"/>
              <a:gd name="T20" fmla="*/ 316048249 w 180"/>
              <a:gd name="T21" fmla="*/ 107511777 h 87"/>
              <a:gd name="T22" fmla="*/ 326244373 w 180"/>
              <a:gd name="T23" fmla="*/ 92152952 h 87"/>
              <a:gd name="T24" fmla="*/ 336438240 w 180"/>
              <a:gd name="T25" fmla="*/ 107511777 h 87"/>
              <a:gd name="T26" fmla="*/ 336438240 w 180"/>
              <a:gd name="T27" fmla="*/ 266215867 h 87"/>
              <a:gd name="T28" fmla="*/ 346634364 w 180"/>
              <a:gd name="T29" fmla="*/ 276456593 h 87"/>
              <a:gd name="T30" fmla="*/ 356828231 w 180"/>
              <a:gd name="T31" fmla="*/ 276456593 h 87"/>
              <a:gd name="T32" fmla="*/ 367024356 w 180"/>
              <a:gd name="T33" fmla="*/ 266215867 h 87"/>
              <a:gd name="T34" fmla="*/ 367024356 w 180"/>
              <a:gd name="T35" fmla="*/ 107511777 h 87"/>
              <a:gd name="T36" fmla="*/ 377220480 w 180"/>
              <a:gd name="T37" fmla="*/ 92152952 h 87"/>
              <a:gd name="T38" fmla="*/ 387414347 w 180"/>
              <a:gd name="T39" fmla="*/ 107511777 h 87"/>
              <a:gd name="T40" fmla="*/ 387414347 w 180"/>
              <a:gd name="T41" fmla="*/ 266215867 h 87"/>
              <a:gd name="T42" fmla="*/ 397610471 w 180"/>
              <a:gd name="T43" fmla="*/ 276456593 h 87"/>
              <a:gd name="T44" fmla="*/ 407804338 w 180"/>
              <a:gd name="T45" fmla="*/ 276456593 h 87"/>
              <a:gd name="T46" fmla="*/ 418000462 w 180"/>
              <a:gd name="T47" fmla="*/ 266215867 h 87"/>
              <a:gd name="T48" fmla="*/ 418000462 w 180"/>
              <a:gd name="T49" fmla="*/ 107511777 h 87"/>
              <a:gd name="T50" fmla="*/ 428194329 w 180"/>
              <a:gd name="T51" fmla="*/ 92152952 h 87"/>
              <a:gd name="T52" fmla="*/ 438390453 w 180"/>
              <a:gd name="T53" fmla="*/ 107511777 h 87"/>
              <a:gd name="T54" fmla="*/ 438390453 w 180"/>
              <a:gd name="T55" fmla="*/ 332771531 h 87"/>
              <a:gd name="T56" fmla="*/ 397610471 w 180"/>
              <a:gd name="T57" fmla="*/ 378848007 h 87"/>
              <a:gd name="T58" fmla="*/ 387414347 w 180"/>
              <a:gd name="T59" fmla="*/ 394206832 h 87"/>
              <a:gd name="T60" fmla="*/ 387414347 w 180"/>
              <a:gd name="T61" fmla="*/ 445401408 h 87"/>
              <a:gd name="T62" fmla="*/ 535244604 w 180"/>
              <a:gd name="T63" fmla="*/ 445401408 h 87"/>
              <a:gd name="T64" fmla="*/ 535244604 w 180"/>
              <a:gd name="T65" fmla="*/ 153585990 h 87"/>
              <a:gd name="T66" fmla="*/ 591316516 w 180"/>
              <a:gd name="T67" fmla="*/ 92152952 h 87"/>
              <a:gd name="T68" fmla="*/ 652488747 w 180"/>
              <a:gd name="T69" fmla="*/ 153585990 h 87"/>
              <a:gd name="T70" fmla="*/ 652488747 w 180"/>
              <a:gd name="T71" fmla="*/ 445401408 h 87"/>
              <a:gd name="T72" fmla="*/ 917560889 w 180"/>
              <a:gd name="T73" fmla="*/ 445401408 h 87"/>
              <a:gd name="T74" fmla="*/ 917560889 w 180"/>
              <a:gd name="T75" fmla="*/ 117750240 h 87"/>
              <a:gd name="T76" fmla="*/ 800316747 w 180"/>
              <a:gd name="T77" fmla="*/ 0 h 87"/>
              <a:gd name="T78" fmla="*/ 117244142 w 180"/>
              <a:gd name="T79" fmla="*/ 0 h 87"/>
              <a:gd name="T80" fmla="*/ 0 w 180"/>
              <a:gd name="T81" fmla="*/ 117750240 h 87"/>
              <a:gd name="T82" fmla="*/ 0 w 180"/>
              <a:gd name="T83" fmla="*/ 445401408 h 87"/>
              <a:gd name="T84" fmla="*/ 316048249 w 180"/>
              <a:gd name="T85" fmla="*/ 445401408 h 87"/>
              <a:gd name="T86" fmla="*/ 316048249 w 180"/>
              <a:gd name="T87" fmla="*/ 394206832 h 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80" h="87">
                <a:moveTo>
                  <a:pt x="62" y="77"/>
                </a:moveTo>
                <a:cubicBezTo>
                  <a:pt x="62" y="76"/>
                  <a:pt x="61" y="75"/>
                  <a:pt x="60" y="74"/>
                </a:cubicBezTo>
                <a:cubicBezTo>
                  <a:pt x="58" y="74"/>
                  <a:pt x="52" y="71"/>
                  <a:pt x="52" y="65"/>
                </a:cubicBezTo>
                <a:cubicBezTo>
                  <a:pt x="52" y="21"/>
                  <a:pt x="52" y="21"/>
                  <a:pt x="52" y="21"/>
                </a:cubicBezTo>
                <a:cubicBezTo>
                  <a:pt x="52" y="19"/>
                  <a:pt x="53" y="18"/>
                  <a:pt x="54" y="18"/>
                </a:cubicBezTo>
                <a:cubicBezTo>
                  <a:pt x="55" y="18"/>
                  <a:pt x="56" y="19"/>
                  <a:pt x="56" y="21"/>
                </a:cubicBezTo>
                <a:cubicBezTo>
                  <a:pt x="56" y="52"/>
                  <a:pt x="56" y="52"/>
                  <a:pt x="56" y="52"/>
                </a:cubicBezTo>
                <a:cubicBezTo>
                  <a:pt x="56" y="53"/>
                  <a:pt x="57" y="54"/>
                  <a:pt x="58" y="54"/>
                </a:cubicBezTo>
                <a:cubicBezTo>
                  <a:pt x="60" y="54"/>
                  <a:pt x="60" y="54"/>
                  <a:pt x="60" y="54"/>
                </a:cubicBezTo>
                <a:cubicBezTo>
                  <a:pt x="61" y="54"/>
                  <a:pt x="62" y="53"/>
                  <a:pt x="62" y="52"/>
                </a:cubicBezTo>
                <a:cubicBezTo>
                  <a:pt x="62" y="21"/>
                  <a:pt x="62" y="21"/>
                  <a:pt x="62" y="21"/>
                </a:cubicBezTo>
                <a:cubicBezTo>
                  <a:pt x="62" y="19"/>
                  <a:pt x="63" y="18"/>
                  <a:pt x="64" y="18"/>
                </a:cubicBezTo>
                <a:cubicBezTo>
                  <a:pt x="65" y="18"/>
                  <a:pt x="66" y="19"/>
                  <a:pt x="66" y="21"/>
                </a:cubicBezTo>
                <a:cubicBezTo>
                  <a:pt x="66" y="52"/>
                  <a:pt x="66" y="52"/>
                  <a:pt x="66" y="52"/>
                </a:cubicBezTo>
                <a:cubicBezTo>
                  <a:pt x="66" y="53"/>
                  <a:pt x="67" y="54"/>
                  <a:pt x="68" y="54"/>
                </a:cubicBezTo>
                <a:cubicBezTo>
                  <a:pt x="70" y="54"/>
                  <a:pt x="70" y="54"/>
                  <a:pt x="70" y="54"/>
                </a:cubicBezTo>
                <a:cubicBezTo>
                  <a:pt x="71" y="54"/>
                  <a:pt x="72" y="53"/>
                  <a:pt x="72" y="52"/>
                </a:cubicBezTo>
                <a:cubicBezTo>
                  <a:pt x="72" y="21"/>
                  <a:pt x="72" y="21"/>
                  <a:pt x="72" y="21"/>
                </a:cubicBezTo>
                <a:cubicBezTo>
                  <a:pt x="72" y="19"/>
                  <a:pt x="73" y="18"/>
                  <a:pt x="74" y="18"/>
                </a:cubicBezTo>
                <a:cubicBezTo>
                  <a:pt x="75" y="18"/>
                  <a:pt x="76" y="19"/>
                  <a:pt x="76" y="21"/>
                </a:cubicBezTo>
                <a:cubicBezTo>
                  <a:pt x="76" y="52"/>
                  <a:pt x="76" y="52"/>
                  <a:pt x="76" y="52"/>
                </a:cubicBezTo>
                <a:cubicBezTo>
                  <a:pt x="76" y="53"/>
                  <a:pt x="77" y="54"/>
                  <a:pt x="78" y="54"/>
                </a:cubicBezTo>
                <a:cubicBezTo>
                  <a:pt x="80" y="54"/>
                  <a:pt x="80" y="54"/>
                  <a:pt x="80" y="54"/>
                </a:cubicBezTo>
                <a:cubicBezTo>
                  <a:pt x="81" y="54"/>
                  <a:pt x="82" y="53"/>
                  <a:pt x="82" y="52"/>
                </a:cubicBezTo>
                <a:cubicBezTo>
                  <a:pt x="82" y="21"/>
                  <a:pt x="82" y="21"/>
                  <a:pt x="82" y="21"/>
                </a:cubicBezTo>
                <a:cubicBezTo>
                  <a:pt x="82" y="19"/>
                  <a:pt x="83" y="18"/>
                  <a:pt x="84" y="18"/>
                </a:cubicBezTo>
                <a:cubicBezTo>
                  <a:pt x="85" y="18"/>
                  <a:pt x="86" y="19"/>
                  <a:pt x="86" y="21"/>
                </a:cubicBezTo>
                <a:cubicBezTo>
                  <a:pt x="86" y="65"/>
                  <a:pt x="86" y="65"/>
                  <a:pt x="86" y="65"/>
                </a:cubicBezTo>
                <a:cubicBezTo>
                  <a:pt x="86" y="71"/>
                  <a:pt x="81" y="74"/>
                  <a:pt x="78" y="74"/>
                </a:cubicBezTo>
                <a:cubicBezTo>
                  <a:pt x="77" y="75"/>
                  <a:pt x="76" y="76"/>
                  <a:pt x="76" y="77"/>
                </a:cubicBezTo>
                <a:cubicBezTo>
                  <a:pt x="76" y="87"/>
                  <a:pt x="76" y="87"/>
                  <a:pt x="76" y="87"/>
                </a:cubicBezTo>
                <a:cubicBezTo>
                  <a:pt x="105" y="87"/>
                  <a:pt x="105" y="87"/>
                  <a:pt x="105" y="87"/>
                </a:cubicBezTo>
                <a:cubicBezTo>
                  <a:pt x="105" y="30"/>
                  <a:pt x="105" y="30"/>
                  <a:pt x="105" y="30"/>
                </a:cubicBezTo>
                <a:cubicBezTo>
                  <a:pt x="105" y="24"/>
                  <a:pt x="110" y="18"/>
                  <a:pt x="116" y="18"/>
                </a:cubicBezTo>
                <a:cubicBezTo>
                  <a:pt x="123" y="18"/>
                  <a:pt x="128" y="24"/>
                  <a:pt x="128" y="30"/>
                </a:cubicBezTo>
                <a:cubicBezTo>
                  <a:pt x="128" y="87"/>
                  <a:pt x="128" y="87"/>
                  <a:pt x="128" y="87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23"/>
                  <a:pt x="180" y="23"/>
                  <a:pt x="180" y="23"/>
                </a:cubicBezTo>
                <a:cubicBezTo>
                  <a:pt x="180" y="10"/>
                  <a:pt x="170" y="0"/>
                  <a:pt x="157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10" y="0"/>
                  <a:pt x="0" y="10"/>
                  <a:pt x="0" y="23"/>
                </a:cubicBezTo>
                <a:cubicBezTo>
                  <a:pt x="0" y="87"/>
                  <a:pt x="0" y="87"/>
                  <a:pt x="0" y="87"/>
                </a:cubicBezTo>
                <a:cubicBezTo>
                  <a:pt x="62" y="87"/>
                  <a:pt x="62" y="87"/>
                  <a:pt x="62" y="87"/>
                </a:cubicBezTo>
                <a:lnTo>
                  <a:pt x="62" y="7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499" name="Freeform 110"/>
          <p:cNvSpPr>
            <a:spLocks/>
          </p:cNvSpPr>
          <p:nvPr/>
        </p:nvSpPr>
        <p:spPr bwMode="auto">
          <a:xfrm>
            <a:off x="1921933" y="4076700"/>
            <a:ext cx="541867" cy="262467"/>
          </a:xfrm>
          <a:custGeom>
            <a:avLst/>
            <a:gdLst>
              <a:gd name="T0" fmla="*/ 652488747 w 180"/>
              <a:gd name="T1" fmla="*/ 317412706 h 87"/>
              <a:gd name="T2" fmla="*/ 616804569 w 180"/>
              <a:gd name="T3" fmla="*/ 353248456 h 87"/>
              <a:gd name="T4" fmla="*/ 581122649 w 180"/>
              <a:gd name="T5" fmla="*/ 317412706 h 87"/>
              <a:gd name="T6" fmla="*/ 581122649 w 180"/>
              <a:gd name="T7" fmla="*/ 71673764 h 87"/>
              <a:gd name="T8" fmla="*/ 535244604 w 180"/>
              <a:gd name="T9" fmla="*/ 71673764 h 87"/>
              <a:gd name="T10" fmla="*/ 535244604 w 180"/>
              <a:gd name="T11" fmla="*/ 0 h 87"/>
              <a:gd name="T12" fmla="*/ 387414347 w 180"/>
              <a:gd name="T13" fmla="*/ 0 h 87"/>
              <a:gd name="T14" fmla="*/ 387414347 w 180"/>
              <a:gd name="T15" fmla="*/ 317412706 h 87"/>
              <a:gd name="T16" fmla="*/ 351732427 w 180"/>
              <a:gd name="T17" fmla="*/ 353248456 h 87"/>
              <a:gd name="T18" fmla="*/ 316048249 w 180"/>
              <a:gd name="T19" fmla="*/ 317412706 h 87"/>
              <a:gd name="T20" fmla="*/ 316048249 w 180"/>
              <a:gd name="T21" fmla="*/ 0 h 87"/>
              <a:gd name="T22" fmla="*/ 0 w 180"/>
              <a:gd name="T23" fmla="*/ 0 h 87"/>
              <a:gd name="T24" fmla="*/ 0 w 180"/>
              <a:gd name="T25" fmla="*/ 327651168 h 87"/>
              <a:gd name="T26" fmla="*/ 117244142 w 180"/>
              <a:gd name="T27" fmla="*/ 445401408 h 87"/>
              <a:gd name="T28" fmla="*/ 800316747 w 180"/>
              <a:gd name="T29" fmla="*/ 445401408 h 87"/>
              <a:gd name="T30" fmla="*/ 917560889 w 180"/>
              <a:gd name="T31" fmla="*/ 327651168 h 87"/>
              <a:gd name="T32" fmla="*/ 917560889 w 180"/>
              <a:gd name="T33" fmla="*/ 0 h 87"/>
              <a:gd name="T34" fmla="*/ 652488747 w 180"/>
              <a:gd name="T35" fmla="*/ 0 h 87"/>
              <a:gd name="T36" fmla="*/ 652488747 w 180"/>
              <a:gd name="T37" fmla="*/ 317412706 h 8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80" h="87">
                <a:moveTo>
                  <a:pt x="128" y="62"/>
                </a:moveTo>
                <a:cubicBezTo>
                  <a:pt x="128" y="66"/>
                  <a:pt x="125" y="69"/>
                  <a:pt x="121" y="69"/>
                </a:cubicBezTo>
                <a:cubicBezTo>
                  <a:pt x="117" y="69"/>
                  <a:pt x="114" y="66"/>
                  <a:pt x="114" y="62"/>
                </a:cubicBezTo>
                <a:cubicBezTo>
                  <a:pt x="114" y="14"/>
                  <a:pt x="114" y="14"/>
                  <a:pt x="114" y="14"/>
                </a:cubicBezTo>
                <a:cubicBezTo>
                  <a:pt x="105" y="14"/>
                  <a:pt x="105" y="14"/>
                  <a:pt x="105" y="14"/>
                </a:cubicBezTo>
                <a:cubicBezTo>
                  <a:pt x="105" y="0"/>
                  <a:pt x="105" y="0"/>
                  <a:pt x="105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6" y="62"/>
                  <a:pt x="76" y="62"/>
                  <a:pt x="76" y="62"/>
                </a:cubicBezTo>
                <a:cubicBezTo>
                  <a:pt x="76" y="66"/>
                  <a:pt x="73" y="69"/>
                  <a:pt x="69" y="69"/>
                </a:cubicBezTo>
                <a:cubicBezTo>
                  <a:pt x="65" y="69"/>
                  <a:pt x="62" y="66"/>
                  <a:pt x="62" y="62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77"/>
                  <a:pt x="10" y="87"/>
                  <a:pt x="23" y="87"/>
                </a:cubicBezTo>
                <a:cubicBezTo>
                  <a:pt x="157" y="87"/>
                  <a:pt x="157" y="87"/>
                  <a:pt x="157" y="87"/>
                </a:cubicBezTo>
                <a:cubicBezTo>
                  <a:pt x="170" y="87"/>
                  <a:pt x="180" y="77"/>
                  <a:pt x="180" y="64"/>
                </a:cubicBezTo>
                <a:cubicBezTo>
                  <a:pt x="180" y="0"/>
                  <a:pt x="180" y="0"/>
                  <a:pt x="180" y="0"/>
                </a:cubicBezTo>
                <a:cubicBezTo>
                  <a:pt x="128" y="0"/>
                  <a:pt x="128" y="0"/>
                  <a:pt x="128" y="0"/>
                </a:cubicBezTo>
                <a:lnTo>
                  <a:pt x="128" y="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0" name="Freeform 111"/>
          <p:cNvSpPr>
            <a:spLocks/>
          </p:cNvSpPr>
          <p:nvPr/>
        </p:nvSpPr>
        <p:spPr bwMode="auto">
          <a:xfrm>
            <a:off x="2758018" y="3790951"/>
            <a:ext cx="552449" cy="268816"/>
          </a:xfrm>
          <a:custGeom>
            <a:avLst/>
            <a:gdLst>
              <a:gd name="T0" fmla="*/ 65920116 w 184"/>
              <a:gd name="T1" fmla="*/ 148816840 h 89"/>
              <a:gd name="T2" fmla="*/ 147051354 w 184"/>
              <a:gd name="T3" fmla="*/ 66710919 h 89"/>
              <a:gd name="T4" fmla="*/ 785968015 w 184"/>
              <a:gd name="T5" fmla="*/ 66710919 h 89"/>
              <a:gd name="T6" fmla="*/ 867099253 w 184"/>
              <a:gd name="T7" fmla="*/ 148816840 h 89"/>
              <a:gd name="T8" fmla="*/ 867099253 w 184"/>
              <a:gd name="T9" fmla="*/ 456714608 h 89"/>
              <a:gd name="T10" fmla="*/ 933019369 w 184"/>
              <a:gd name="T11" fmla="*/ 456714608 h 89"/>
              <a:gd name="T12" fmla="*/ 933019369 w 184"/>
              <a:gd name="T13" fmla="*/ 148816840 h 89"/>
              <a:gd name="T14" fmla="*/ 785968015 w 184"/>
              <a:gd name="T15" fmla="*/ 0 h 89"/>
              <a:gd name="T16" fmla="*/ 147051354 w 184"/>
              <a:gd name="T17" fmla="*/ 0 h 89"/>
              <a:gd name="T18" fmla="*/ 0 w 184"/>
              <a:gd name="T19" fmla="*/ 148816840 h 89"/>
              <a:gd name="T20" fmla="*/ 0 w 184"/>
              <a:gd name="T21" fmla="*/ 456714608 h 89"/>
              <a:gd name="T22" fmla="*/ 65920116 w 184"/>
              <a:gd name="T23" fmla="*/ 456714608 h 89"/>
              <a:gd name="T24" fmla="*/ 65920116 w 184"/>
              <a:gd name="T25" fmla="*/ 148816840 h 8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4" h="89">
                <a:moveTo>
                  <a:pt x="13" y="29"/>
                </a:moveTo>
                <a:cubicBezTo>
                  <a:pt x="13" y="20"/>
                  <a:pt x="20" y="13"/>
                  <a:pt x="29" y="13"/>
                </a:cubicBezTo>
                <a:cubicBezTo>
                  <a:pt x="155" y="13"/>
                  <a:pt x="155" y="13"/>
                  <a:pt x="155" y="13"/>
                </a:cubicBezTo>
                <a:cubicBezTo>
                  <a:pt x="164" y="13"/>
                  <a:pt x="171" y="20"/>
                  <a:pt x="171" y="29"/>
                </a:cubicBezTo>
                <a:cubicBezTo>
                  <a:pt x="171" y="89"/>
                  <a:pt x="171" y="89"/>
                  <a:pt x="171" y="89"/>
                </a:cubicBezTo>
                <a:cubicBezTo>
                  <a:pt x="184" y="89"/>
                  <a:pt x="184" y="89"/>
                  <a:pt x="184" y="89"/>
                </a:cubicBezTo>
                <a:cubicBezTo>
                  <a:pt x="184" y="29"/>
                  <a:pt x="184" y="29"/>
                  <a:pt x="184" y="29"/>
                </a:cubicBezTo>
                <a:cubicBezTo>
                  <a:pt x="184" y="13"/>
                  <a:pt x="171" y="0"/>
                  <a:pt x="155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13" y="0"/>
                  <a:pt x="0" y="13"/>
                  <a:pt x="0" y="29"/>
                </a:cubicBezTo>
                <a:cubicBezTo>
                  <a:pt x="0" y="89"/>
                  <a:pt x="0" y="89"/>
                  <a:pt x="0" y="89"/>
                </a:cubicBezTo>
                <a:cubicBezTo>
                  <a:pt x="13" y="89"/>
                  <a:pt x="13" y="89"/>
                  <a:pt x="13" y="89"/>
                </a:cubicBezTo>
                <a:lnTo>
                  <a:pt x="13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1" name="Freeform 112"/>
          <p:cNvSpPr>
            <a:spLocks/>
          </p:cNvSpPr>
          <p:nvPr/>
        </p:nvSpPr>
        <p:spPr bwMode="auto">
          <a:xfrm>
            <a:off x="2758018" y="4076701"/>
            <a:ext cx="552449" cy="268817"/>
          </a:xfrm>
          <a:custGeom>
            <a:avLst/>
            <a:gdLst>
              <a:gd name="T0" fmla="*/ 867099253 w 184"/>
              <a:gd name="T1" fmla="*/ 307899296 h 89"/>
              <a:gd name="T2" fmla="*/ 785968015 w 184"/>
              <a:gd name="T3" fmla="*/ 390005624 h 89"/>
              <a:gd name="T4" fmla="*/ 147051354 w 184"/>
              <a:gd name="T5" fmla="*/ 390005624 h 89"/>
              <a:gd name="T6" fmla="*/ 65920116 w 184"/>
              <a:gd name="T7" fmla="*/ 307899296 h 89"/>
              <a:gd name="T8" fmla="*/ 65920116 w 184"/>
              <a:gd name="T9" fmla="*/ 0 h 89"/>
              <a:gd name="T10" fmla="*/ 0 w 184"/>
              <a:gd name="T11" fmla="*/ 0 h 89"/>
              <a:gd name="T12" fmla="*/ 0 w 184"/>
              <a:gd name="T13" fmla="*/ 307899296 h 89"/>
              <a:gd name="T14" fmla="*/ 147051354 w 184"/>
              <a:gd name="T15" fmla="*/ 456716874 h 89"/>
              <a:gd name="T16" fmla="*/ 785968015 w 184"/>
              <a:gd name="T17" fmla="*/ 456716874 h 89"/>
              <a:gd name="T18" fmla="*/ 933019369 w 184"/>
              <a:gd name="T19" fmla="*/ 307899296 h 89"/>
              <a:gd name="T20" fmla="*/ 933019369 w 184"/>
              <a:gd name="T21" fmla="*/ 0 h 89"/>
              <a:gd name="T22" fmla="*/ 867099253 w 184"/>
              <a:gd name="T23" fmla="*/ 0 h 89"/>
              <a:gd name="T24" fmla="*/ 867099253 w 184"/>
              <a:gd name="T25" fmla="*/ 307899296 h 8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4" h="89">
                <a:moveTo>
                  <a:pt x="171" y="60"/>
                </a:moveTo>
                <a:cubicBezTo>
                  <a:pt x="171" y="69"/>
                  <a:pt x="164" y="76"/>
                  <a:pt x="155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0" y="76"/>
                  <a:pt x="13" y="69"/>
                  <a:pt x="13" y="60"/>
                </a:cubicBezTo>
                <a:cubicBezTo>
                  <a:pt x="13" y="0"/>
                  <a:pt x="13" y="0"/>
                  <a:pt x="1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76"/>
                  <a:pt x="13" y="89"/>
                  <a:pt x="29" y="89"/>
                </a:cubicBezTo>
                <a:cubicBezTo>
                  <a:pt x="155" y="89"/>
                  <a:pt x="155" y="89"/>
                  <a:pt x="155" y="89"/>
                </a:cubicBezTo>
                <a:cubicBezTo>
                  <a:pt x="171" y="89"/>
                  <a:pt x="184" y="76"/>
                  <a:pt x="184" y="60"/>
                </a:cubicBezTo>
                <a:cubicBezTo>
                  <a:pt x="184" y="0"/>
                  <a:pt x="184" y="0"/>
                  <a:pt x="184" y="0"/>
                </a:cubicBezTo>
                <a:cubicBezTo>
                  <a:pt x="171" y="0"/>
                  <a:pt x="171" y="0"/>
                  <a:pt x="171" y="0"/>
                </a:cubicBezTo>
                <a:lnTo>
                  <a:pt x="17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2" name="Freeform 113"/>
          <p:cNvSpPr>
            <a:spLocks/>
          </p:cNvSpPr>
          <p:nvPr/>
        </p:nvSpPr>
        <p:spPr bwMode="auto">
          <a:xfrm>
            <a:off x="2851151" y="3873500"/>
            <a:ext cx="101600" cy="391584"/>
          </a:xfrm>
          <a:custGeom>
            <a:avLst/>
            <a:gdLst>
              <a:gd name="T0" fmla="*/ 35159576 w 34"/>
              <a:gd name="T1" fmla="*/ 663481856 h 130"/>
              <a:gd name="T2" fmla="*/ 170777647 w 34"/>
              <a:gd name="T3" fmla="*/ 663481856 h 130"/>
              <a:gd name="T4" fmla="*/ 170777647 w 34"/>
              <a:gd name="T5" fmla="*/ 627755841 h 130"/>
              <a:gd name="T6" fmla="*/ 95433776 w 34"/>
              <a:gd name="T7" fmla="*/ 627755841 h 130"/>
              <a:gd name="T8" fmla="*/ 95433776 w 34"/>
              <a:gd name="T9" fmla="*/ 602236613 h 130"/>
              <a:gd name="T10" fmla="*/ 170777647 w 34"/>
              <a:gd name="T11" fmla="*/ 602236613 h 130"/>
              <a:gd name="T12" fmla="*/ 170777647 w 34"/>
              <a:gd name="T13" fmla="*/ 571616250 h 130"/>
              <a:gd name="T14" fmla="*/ 95433776 w 34"/>
              <a:gd name="T15" fmla="*/ 571616250 h 130"/>
              <a:gd name="T16" fmla="*/ 95433776 w 34"/>
              <a:gd name="T17" fmla="*/ 546097022 h 130"/>
              <a:gd name="T18" fmla="*/ 170777647 w 34"/>
              <a:gd name="T19" fmla="*/ 546097022 h 130"/>
              <a:gd name="T20" fmla="*/ 170777647 w 34"/>
              <a:gd name="T21" fmla="*/ 515474400 h 130"/>
              <a:gd name="T22" fmla="*/ 95433776 w 34"/>
              <a:gd name="T23" fmla="*/ 515474400 h 130"/>
              <a:gd name="T24" fmla="*/ 95433776 w 34"/>
              <a:gd name="T25" fmla="*/ 489955172 h 130"/>
              <a:gd name="T26" fmla="*/ 170777647 w 34"/>
              <a:gd name="T27" fmla="*/ 489955172 h 130"/>
              <a:gd name="T28" fmla="*/ 170777647 w 34"/>
              <a:gd name="T29" fmla="*/ 459332550 h 130"/>
              <a:gd name="T30" fmla="*/ 95433776 w 34"/>
              <a:gd name="T31" fmla="*/ 459332550 h 130"/>
              <a:gd name="T32" fmla="*/ 95433776 w 34"/>
              <a:gd name="T33" fmla="*/ 433815581 h 130"/>
              <a:gd name="T34" fmla="*/ 170777647 w 34"/>
              <a:gd name="T35" fmla="*/ 433815581 h 130"/>
              <a:gd name="T36" fmla="*/ 170777647 w 34"/>
              <a:gd name="T37" fmla="*/ 403192960 h 130"/>
              <a:gd name="T38" fmla="*/ 95433776 w 34"/>
              <a:gd name="T39" fmla="*/ 403192960 h 130"/>
              <a:gd name="T40" fmla="*/ 95433776 w 34"/>
              <a:gd name="T41" fmla="*/ 377673731 h 130"/>
              <a:gd name="T42" fmla="*/ 170777647 w 34"/>
              <a:gd name="T43" fmla="*/ 377673731 h 130"/>
              <a:gd name="T44" fmla="*/ 170777647 w 34"/>
              <a:gd name="T45" fmla="*/ 347051110 h 130"/>
              <a:gd name="T46" fmla="*/ 170777647 w 34"/>
              <a:gd name="T47" fmla="*/ 347051110 h 130"/>
              <a:gd name="T48" fmla="*/ 95433776 w 34"/>
              <a:gd name="T49" fmla="*/ 347051110 h 130"/>
              <a:gd name="T50" fmla="*/ 95433776 w 34"/>
              <a:gd name="T51" fmla="*/ 316430747 h 130"/>
              <a:gd name="T52" fmla="*/ 95433776 w 34"/>
              <a:gd name="T53" fmla="*/ 316430747 h 130"/>
              <a:gd name="T54" fmla="*/ 170777647 w 34"/>
              <a:gd name="T55" fmla="*/ 316430747 h 130"/>
              <a:gd name="T56" fmla="*/ 170777647 w 34"/>
              <a:gd name="T57" fmla="*/ 285808125 h 130"/>
              <a:gd name="T58" fmla="*/ 95433776 w 34"/>
              <a:gd name="T59" fmla="*/ 285808125 h 130"/>
              <a:gd name="T60" fmla="*/ 95433776 w 34"/>
              <a:gd name="T61" fmla="*/ 260288897 h 130"/>
              <a:gd name="T62" fmla="*/ 170777647 w 34"/>
              <a:gd name="T63" fmla="*/ 260288897 h 130"/>
              <a:gd name="T64" fmla="*/ 170777647 w 34"/>
              <a:gd name="T65" fmla="*/ 229666275 h 130"/>
              <a:gd name="T66" fmla="*/ 95433776 w 34"/>
              <a:gd name="T67" fmla="*/ 229666275 h 130"/>
              <a:gd name="T68" fmla="*/ 95433776 w 34"/>
              <a:gd name="T69" fmla="*/ 204149306 h 130"/>
              <a:gd name="T70" fmla="*/ 170777647 w 34"/>
              <a:gd name="T71" fmla="*/ 204149306 h 130"/>
              <a:gd name="T72" fmla="*/ 170777647 w 34"/>
              <a:gd name="T73" fmla="*/ 173526684 h 130"/>
              <a:gd name="T74" fmla="*/ 95433776 w 34"/>
              <a:gd name="T75" fmla="*/ 173526684 h 130"/>
              <a:gd name="T76" fmla="*/ 95433776 w 34"/>
              <a:gd name="T77" fmla="*/ 148007456 h 130"/>
              <a:gd name="T78" fmla="*/ 170777647 w 34"/>
              <a:gd name="T79" fmla="*/ 148007456 h 130"/>
              <a:gd name="T80" fmla="*/ 170777647 w 34"/>
              <a:gd name="T81" fmla="*/ 117384834 h 130"/>
              <a:gd name="T82" fmla="*/ 95433776 w 34"/>
              <a:gd name="T83" fmla="*/ 117384834 h 130"/>
              <a:gd name="T84" fmla="*/ 95433776 w 34"/>
              <a:gd name="T85" fmla="*/ 91865606 h 130"/>
              <a:gd name="T86" fmla="*/ 170777647 w 34"/>
              <a:gd name="T87" fmla="*/ 91865606 h 130"/>
              <a:gd name="T88" fmla="*/ 170777647 w 34"/>
              <a:gd name="T89" fmla="*/ 61245244 h 130"/>
              <a:gd name="T90" fmla="*/ 95433776 w 34"/>
              <a:gd name="T91" fmla="*/ 61245244 h 130"/>
              <a:gd name="T92" fmla="*/ 95433776 w 34"/>
              <a:gd name="T93" fmla="*/ 35726016 h 130"/>
              <a:gd name="T94" fmla="*/ 170777647 w 34"/>
              <a:gd name="T95" fmla="*/ 35726016 h 130"/>
              <a:gd name="T96" fmla="*/ 170777647 w 34"/>
              <a:gd name="T97" fmla="*/ 0 h 130"/>
              <a:gd name="T98" fmla="*/ 35159576 w 34"/>
              <a:gd name="T99" fmla="*/ 0 h 130"/>
              <a:gd name="T100" fmla="*/ 0 w 34"/>
              <a:gd name="T101" fmla="*/ 35726016 h 130"/>
              <a:gd name="T102" fmla="*/ 0 w 34"/>
              <a:gd name="T103" fmla="*/ 316430747 h 130"/>
              <a:gd name="T104" fmla="*/ 0 w 34"/>
              <a:gd name="T105" fmla="*/ 347051110 h 130"/>
              <a:gd name="T106" fmla="*/ 0 w 34"/>
              <a:gd name="T107" fmla="*/ 627755841 h 130"/>
              <a:gd name="T108" fmla="*/ 35159576 w 34"/>
              <a:gd name="T109" fmla="*/ 663481856 h 1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34" h="130">
                <a:moveTo>
                  <a:pt x="7" y="130"/>
                </a:moveTo>
                <a:cubicBezTo>
                  <a:pt x="34" y="130"/>
                  <a:pt x="34" y="130"/>
                  <a:pt x="34" y="130"/>
                </a:cubicBezTo>
                <a:cubicBezTo>
                  <a:pt x="34" y="123"/>
                  <a:pt x="34" y="123"/>
                  <a:pt x="34" y="123"/>
                </a:cubicBezTo>
                <a:cubicBezTo>
                  <a:pt x="19" y="123"/>
                  <a:pt x="19" y="123"/>
                  <a:pt x="19" y="123"/>
                </a:cubicBezTo>
                <a:cubicBezTo>
                  <a:pt x="19" y="118"/>
                  <a:pt x="19" y="118"/>
                  <a:pt x="19" y="118"/>
                </a:cubicBezTo>
                <a:cubicBezTo>
                  <a:pt x="34" y="118"/>
                  <a:pt x="34" y="118"/>
                  <a:pt x="34" y="118"/>
                </a:cubicBezTo>
                <a:cubicBezTo>
                  <a:pt x="34" y="112"/>
                  <a:pt x="34" y="112"/>
                  <a:pt x="34" y="112"/>
                </a:cubicBezTo>
                <a:cubicBezTo>
                  <a:pt x="19" y="112"/>
                  <a:pt x="19" y="112"/>
                  <a:pt x="19" y="112"/>
                </a:cubicBezTo>
                <a:cubicBezTo>
                  <a:pt x="19" y="107"/>
                  <a:pt x="19" y="107"/>
                  <a:pt x="19" y="107"/>
                </a:cubicBezTo>
                <a:cubicBezTo>
                  <a:pt x="34" y="107"/>
                  <a:pt x="34" y="107"/>
                  <a:pt x="34" y="107"/>
                </a:cubicBezTo>
                <a:cubicBezTo>
                  <a:pt x="34" y="101"/>
                  <a:pt x="34" y="101"/>
                  <a:pt x="34" y="101"/>
                </a:cubicBezTo>
                <a:cubicBezTo>
                  <a:pt x="19" y="101"/>
                  <a:pt x="19" y="101"/>
                  <a:pt x="19" y="101"/>
                </a:cubicBezTo>
                <a:cubicBezTo>
                  <a:pt x="19" y="96"/>
                  <a:pt x="19" y="96"/>
                  <a:pt x="19" y="96"/>
                </a:cubicBezTo>
                <a:cubicBezTo>
                  <a:pt x="34" y="96"/>
                  <a:pt x="34" y="96"/>
                  <a:pt x="34" y="96"/>
                </a:cubicBezTo>
                <a:cubicBezTo>
                  <a:pt x="34" y="90"/>
                  <a:pt x="34" y="90"/>
                  <a:pt x="34" y="90"/>
                </a:cubicBezTo>
                <a:cubicBezTo>
                  <a:pt x="19" y="90"/>
                  <a:pt x="19" y="90"/>
                  <a:pt x="19" y="90"/>
                </a:cubicBezTo>
                <a:cubicBezTo>
                  <a:pt x="19" y="85"/>
                  <a:pt x="19" y="85"/>
                  <a:pt x="19" y="85"/>
                </a:cubicBezTo>
                <a:cubicBezTo>
                  <a:pt x="34" y="85"/>
                  <a:pt x="34" y="85"/>
                  <a:pt x="34" y="85"/>
                </a:cubicBezTo>
                <a:cubicBezTo>
                  <a:pt x="34" y="79"/>
                  <a:pt x="34" y="79"/>
                  <a:pt x="34" y="79"/>
                </a:cubicBezTo>
                <a:cubicBezTo>
                  <a:pt x="19" y="79"/>
                  <a:pt x="19" y="79"/>
                  <a:pt x="19" y="79"/>
                </a:cubicBezTo>
                <a:cubicBezTo>
                  <a:pt x="19" y="74"/>
                  <a:pt x="19" y="74"/>
                  <a:pt x="19" y="74"/>
                </a:cubicBezTo>
                <a:cubicBezTo>
                  <a:pt x="34" y="74"/>
                  <a:pt x="34" y="74"/>
                  <a:pt x="34" y="74"/>
                </a:cubicBezTo>
                <a:cubicBezTo>
                  <a:pt x="34" y="68"/>
                  <a:pt x="34" y="68"/>
                  <a:pt x="34" y="68"/>
                </a:cubicBezTo>
                <a:cubicBezTo>
                  <a:pt x="34" y="68"/>
                  <a:pt x="34" y="68"/>
                  <a:pt x="34" y="68"/>
                </a:cubicBezTo>
                <a:cubicBezTo>
                  <a:pt x="19" y="68"/>
                  <a:pt x="19" y="68"/>
                  <a:pt x="19" y="68"/>
                </a:cubicBezTo>
                <a:cubicBezTo>
                  <a:pt x="19" y="62"/>
                  <a:pt x="19" y="62"/>
                  <a:pt x="19" y="62"/>
                </a:cubicBezTo>
                <a:cubicBezTo>
                  <a:pt x="19" y="62"/>
                  <a:pt x="19" y="62"/>
                  <a:pt x="19" y="62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56"/>
                  <a:pt x="34" y="56"/>
                  <a:pt x="34" y="56"/>
                </a:cubicBezTo>
                <a:cubicBezTo>
                  <a:pt x="19" y="56"/>
                  <a:pt x="19" y="56"/>
                  <a:pt x="19" y="56"/>
                </a:cubicBezTo>
                <a:cubicBezTo>
                  <a:pt x="19" y="51"/>
                  <a:pt x="19" y="51"/>
                  <a:pt x="19" y="51"/>
                </a:cubicBezTo>
                <a:cubicBezTo>
                  <a:pt x="34" y="51"/>
                  <a:pt x="34" y="51"/>
                  <a:pt x="34" y="51"/>
                </a:cubicBezTo>
                <a:cubicBezTo>
                  <a:pt x="34" y="45"/>
                  <a:pt x="34" y="45"/>
                  <a:pt x="34" y="45"/>
                </a:cubicBezTo>
                <a:cubicBezTo>
                  <a:pt x="19" y="45"/>
                  <a:pt x="19" y="45"/>
                  <a:pt x="19" y="45"/>
                </a:cubicBezTo>
                <a:cubicBezTo>
                  <a:pt x="19" y="40"/>
                  <a:pt x="19" y="40"/>
                  <a:pt x="19" y="40"/>
                </a:cubicBezTo>
                <a:cubicBezTo>
                  <a:pt x="34" y="40"/>
                  <a:pt x="34" y="40"/>
                  <a:pt x="34" y="40"/>
                </a:cubicBezTo>
                <a:cubicBezTo>
                  <a:pt x="34" y="34"/>
                  <a:pt x="34" y="34"/>
                  <a:pt x="34" y="34"/>
                </a:cubicBezTo>
                <a:cubicBezTo>
                  <a:pt x="19" y="34"/>
                  <a:pt x="19" y="34"/>
                  <a:pt x="19" y="34"/>
                </a:cubicBezTo>
                <a:cubicBezTo>
                  <a:pt x="19" y="29"/>
                  <a:pt x="19" y="29"/>
                  <a:pt x="19" y="29"/>
                </a:cubicBezTo>
                <a:cubicBezTo>
                  <a:pt x="34" y="29"/>
                  <a:pt x="34" y="29"/>
                  <a:pt x="34" y="29"/>
                </a:cubicBezTo>
                <a:cubicBezTo>
                  <a:pt x="34" y="23"/>
                  <a:pt x="34" y="23"/>
                  <a:pt x="34" y="23"/>
                </a:cubicBezTo>
                <a:cubicBezTo>
                  <a:pt x="19" y="23"/>
                  <a:pt x="19" y="23"/>
                  <a:pt x="19" y="23"/>
                </a:cubicBezTo>
                <a:cubicBezTo>
                  <a:pt x="19" y="18"/>
                  <a:pt x="19" y="18"/>
                  <a:pt x="19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12"/>
                  <a:pt x="34" y="12"/>
                  <a:pt x="34" y="12"/>
                </a:cubicBezTo>
                <a:cubicBezTo>
                  <a:pt x="19" y="12"/>
                  <a:pt x="19" y="12"/>
                  <a:pt x="19" y="12"/>
                </a:cubicBezTo>
                <a:cubicBezTo>
                  <a:pt x="19" y="7"/>
                  <a:pt x="19" y="7"/>
                  <a:pt x="19" y="7"/>
                </a:cubicBezTo>
                <a:cubicBezTo>
                  <a:pt x="34" y="7"/>
                  <a:pt x="34" y="7"/>
                  <a:pt x="34" y="7"/>
                </a:cubicBezTo>
                <a:cubicBezTo>
                  <a:pt x="34" y="0"/>
                  <a:pt x="34" y="0"/>
                  <a:pt x="34" y="0"/>
                </a:cubicBez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123"/>
                  <a:pt x="0" y="123"/>
                  <a:pt x="0" y="123"/>
                </a:cubicBezTo>
                <a:cubicBezTo>
                  <a:pt x="0" y="127"/>
                  <a:pt x="3" y="130"/>
                  <a:pt x="7" y="1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3" name="Freeform 114"/>
          <p:cNvSpPr>
            <a:spLocks/>
          </p:cNvSpPr>
          <p:nvPr/>
        </p:nvSpPr>
        <p:spPr bwMode="auto">
          <a:xfrm>
            <a:off x="2997201" y="3875618"/>
            <a:ext cx="234951" cy="385233"/>
          </a:xfrm>
          <a:custGeom>
            <a:avLst/>
            <a:gdLst>
              <a:gd name="T0" fmla="*/ 290911849 w 78"/>
              <a:gd name="T1" fmla="*/ 264944225 h 128"/>
              <a:gd name="T2" fmla="*/ 331741305 w 78"/>
              <a:gd name="T3" fmla="*/ 198708169 h 128"/>
              <a:gd name="T4" fmla="*/ 352157162 w 78"/>
              <a:gd name="T5" fmla="*/ 122280735 h 128"/>
              <a:gd name="T6" fmla="*/ 352157162 w 78"/>
              <a:gd name="T7" fmla="*/ 56044678 h 128"/>
              <a:gd name="T8" fmla="*/ 331741305 w 78"/>
              <a:gd name="T9" fmla="*/ 0 h 128"/>
              <a:gd name="T10" fmla="*/ 331741305 w 78"/>
              <a:gd name="T11" fmla="*/ 5094560 h 128"/>
              <a:gd name="T12" fmla="*/ 199046138 w 78"/>
              <a:gd name="T13" fmla="*/ 280227906 h 128"/>
              <a:gd name="T14" fmla="*/ 66348713 w 78"/>
              <a:gd name="T15" fmla="*/ 5094560 h 128"/>
              <a:gd name="T16" fmla="*/ 66348713 w 78"/>
              <a:gd name="T17" fmla="*/ 0 h 128"/>
              <a:gd name="T18" fmla="*/ 45932855 w 78"/>
              <a:gd name="T19" fmla="*/ 56044678 h 128"/>
              <a:gd name="T20" fmla="*/ 51036255 w 78"/>
              <a:gd name="T21" fmla="*/ 122280735 h 128"/>
              <a:gd name="T22" fmla="*/ 71452112 w 78"/>
              <a:gd name="T23" fmla="*/ 198708169 h 128"/>
              <a:gd name="T24" fmla="*/ 112281568 w 78"/>
              <a:gd name="T25" fmla="*/ 264944225 h 128"/>
              <a:gd name="T26" fmla="*/ 158214423 w 78"/>
              <a:gd name="T27" fmla="*/ 310799783 h 128"/>
              <a:gd name="T28" fmla="*/ 158214423 w 78"/>
              <a:gd name="T29" fmla="*/ 315894343 h 128"/>
              <a:gd name="T30" fmla="*/ 178630281 w 78"/>
              <a:gd name="T31" fmla="*/ 326085721 h 128"/>
              <a:gd name="T32" fmla="*/ 173526881 w 78"/>
              <a:gd name="T33" fmla="*/ 341369402 h 128"/>
              <a:gd name="T34" fmla="*/ 112281568 w 78"/>
              <a:gd name="T35" fmla="*/ 463652394 h 128"/>
              <a:gd name="T36" fmla="*/ 91867970 w 78"/>
              <a:gd name="T37" fmla="*/ 463652394 h 128"/>
              <a:gd name="T38" fmla="*/ 0 w 78"/>
              <a:gd name="T39" fmla="*/ 545172131 h 128"/>
              <a:gd name="T40" fmla="*/ 45932855 w 78"/>
              <a:gd name="T41" fmla="*/ 545172131 h 128"/>
              <a:gd name="T42" fmla="*/ 91867970 w 78"/>
              <a:gd name="T43" fmla="*/ 509507951 h 128"/>
              <a:gd name="T44" fmla="*/ 137800825 w 78"/>
              <a:gd name="T45" fmla="*/ 555363509 h 128"/>
              <a:gd name="T46" fmla="*/ 91867970 w 78"/>
              <a:gd name="T47" fmla="*/ 606313627 h 128"/>
              <a:gd name="T48" fmla="*/ 45932855 w 78"/>
              <a:gd name="T49" fmla="*/ 570647190 h 128"/>
              <a:gd name="T50" fmla="*/ 0 w 78"/>
              <a:gd name="T51" fmla="*/ 570647190 h 128"/>
              <a:gd name="T52" fmla="*/ 91867970 w 78"/>
              <a:gd name="T53" fmla="*/ 652169185 h 128"/>
              <a:gd name="T54" fmla="*/ 183733680 w 78"/>
              <a:gd name="T55" fmla="*/ 555363509 h 128"/>
              <a:gd name="T56" fmla="*/ 148007624 w 78"/>
              <a:gd name="T57" fmla="*/ 484032892 h 128"/>
              <a:gd name="T58" fmla="*/ 199046138 w 78"/>
              <a:gd name="T59" fmla="*/ 371941279 h 128"/>
              <a:gd name="T60" fmla="*/ 255185793 w 78"/>
              <a:gd name="T61" fmla="*/ 484032892 h 128"/>
              <a:gd name="T62" fmla="*/ 214356337 w 78"/>
              <a:gd name="T63" fmla="*/ 555363509 h 128"/>
              <a:gd name="T64" fmla="*/ 306222048 w 78"/>
              <a:gd name="T65" fmla="*/ 652169185 h 128"/>
              <a:gd name="T66" fmla="*/ 398090018 w 78"/>
              <a:gd name="T67" fmla="*/ 570647190 h 128"/>
              <a:gd name="T68" fmla="*/ 352157162 w 78"/>
              <a:gd name="T69" fmla="*/ 570647190 h 128"/>
              <a:gd name="T70" fmla="*/ 306222048 w 78"/>
              <a:gd name="T71" fmla="*/ 606313627 h 128"/>
              <a:gd name="T72" fmla="*/ 260289192 w 78"/>
              <a:gd name="T73" fmla="*/ 555363509 h 128"/>
              <a:gd name="T74" fmla="*/ 306222048 w 78"/>
              <a:gd name="T75" fmla="*/ 509507951 h 128"/>
              <a:gd name="T76" fmla="*/ 352157162 w 78"/>
              <a:gd name="T77" fmla="*/ 545172131 h 128"/>
              <a:gd name="T78" fmla="*/ 398090018 w 78"/>
              <a:gd name="T79" fmla="*/ 545172131 h 128"/>
              <a:gd name="T80" fmla="*/ 306222048 w 78"/>
              <a:gd name="T81" fmla="*/ 463652394 h 128"/>
              <a:gd name="T82" fmla="*/ 290911849 w 78"/>
              <a:gd name="T83" fmla="*/ 463652394 h 128"/>
              <a:gd name="T84" fmla="*/ 229666536 w 78"/>
              <a:gd name="T85" fmla="*/ 341369402 h 128"/>
              <a:gd name="T86" fmla="*/ 224563136 w 78"/>
              <a:gd name="T87" fmla="*/ 326085721 h 128"/>
              <a:gd name="T88" fmla="*/ 239875594 w 78"/>
              <a:gd name="T89" fmla="*/ 315894343 h 128"/>
              <a:gd name="T90" fmla="*/ 239875594 w 78"/>
              <a:gd name="T91" fmla="*/ 310799783 h 128"/>
              <a:gd name="T92" fmla="*/ 290911849 w 78"/>
              <a:gd name="T93" fmla="*/ 264944225 h 12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8" h="128">
                <a:moveTo>
                  <a:pt x="57" y="52"/>
                </a:moveTo>
                <a:cubicBezTo>
                  <a:pt x="60" y="49"/>
                  <a:pt x="62" y="44"/>
                  <a:pt x="65" y="39"/>
                </a:cubicBezTo>
                <a:cubicBezTo>
                  <a:pt x="67" y="34"/>
                  <a:pt x="68" y="29"/>
                  <a:pt x="69" y="24"/>
                </a:cubicBezTo>
                <a:cubicBezTo>
                  <a:pt x="70" y="20"/>
                  <a:pt x="70" y="15"/>
                  <a:pt x="69" y="11"/>
                </a:cubicBezTo>
                <a:cubicBezTo>
                  <a:pt x="68" y="7"/>
                  <a:pt x="67" y="3"/>
                  <a:pt x="65" y="0"/>
                </a:cubicBezTo>
                <a:cubicBezTo>
                  <a:pt x="65" y="1"/>
                  <a:pt x="65" y="1"/>
                  <a:pt x="65" y="1"/>
                </a:cubicBezTo>
                <a:cubicBezTo>
                  <a:pt x="39" y="55"/>
                  <a:pt x="39" y="55"/>
                  <a:pt x="39" y="55"/>
                </a:cubicBezTo>
                <a:cubicBezTo>
                  <a:pt x="13" y="1"/>
                  <a:pt x="13" y="1"/>
                  <a:pt x="13" y="1"/>
                </a:cubicBezTo>
                <a:cubicBezTo>
                  <a:pt x="13" y="0"/>
                  <a:pt x="13" y="0"/>
                  <a:pt x="13" y="0"/>
                </a:cubicBezTo>
                <a:cubicBezTo>
                  <a:pt x="11" y="3"/>
                  <a:pt x="10" y="7"/>
                  <a:pt x="9" y="11"/>
                </a:cubicBezTo>
                <a:cubicBezTo>
                  <a:pt x="9" y="15"/>
                  <a:pt x="9" y="20"/>
                  <a:pt x="10" y="24"/>
                </a:cubicBezTo>
                <a:cubicBezTo>
                  <a:pt x="10" y="29"/>
                  <a:pt x="12" y="34"/>
                  <a:pt x="14" y="39"/>
                </a:cubicBezTo>
                <a:cubicBezTo>
                  <a:pt x="16" y="44"/>
                  <a:pt x="19" y="49"/>
                  <a:pt x="22" y="52"/>
                </a:cubicBezTo>
                <a:cubicBezTo>
                  <a:pt x="24" y="56"/>
                  <a:pt x="28" y="59"/>
                  <a:pt x="31" y="61"/>
                </a:cubicBezTo>
                <a:cubicBezTo>
                  <a:pt x="31" y="62"/>
                  <a:pt x="31" y="62"/>
                  <a:pt x="31" y="62"/>
                </a:cubicBezTo>
                <a:cubicBezTo>
                  <a:pt x="32" y="63"/>
                  <a:pt x="34" y="63"/>
                  <a:pt x="35" y="64"/>
                </a:cubicBezTo>
                <a:cubicBezTo>
                  <a:pt x="34" y="67"/>
                  <a:pt x="34" y="67"/>
                  <a:pt x="34" y="67"/>
                </a:cubicBezTo>
                <a:cubicBezTo>
                  <a:pt x="22" y="91"/>
                  <a:pt x="22" y="91"/>
                  <a:pt x="22" y="91"/>
                </a:cubicBezTo>
                <a:cubicBezTo>
                  <a:pt x="20" y="91"/>
                  <a:pt x="19" y="91"/>
                  <a:pt x="18" y="91"/>
                </a:cubicBezTo>
                <a:cubicBezTo>
                  <a:pt x="9" y="91"/>
                  <a:pt x="1" y="98"/>
                  <a:pt x="0" y="107"/>
                </a:cubicBezTo>
                <a:cubicBezTo>
                  <a:pt x="9" y="107"/>
                  <a:pt x="9" y="107"/>
                  <a:pt x="9" y="107"/>
                </a:cubicBezTo>
                <a:cubicBezTo>
                  <a:pt x="10" y="103"/>
                  <a:pt x="14" y="100"/>
                  <a:pt x="18" y="100"/>
                </a:cubicBezTo>
                <a:cubicBezTo>
                  <a:pt x="23" y="100"/>
                  <a:pt x="27" y="104"/>
                  <a:pt x="27" y="109"/>
                </a:cubicBezTo>
                <a:cubicBezTo>
                  <a:pt x="27" y="114"/>
                  <a:pt x="23" y="119"/>
                  <a:pt x="18" y="119"/>
                </a:cubicBezTo>
                <a:cubicBezTo>
                  <a:pt x="14" y="119"/>
                  <a:pt x="10" y="116"/>
                  <a:pt x="9" y="112"/>
                </a:cubicBezTo>
                <a:cubicBezTo>
                  <a:pt x="0" y="112"/>
                  <a:pt x="0" y="112"/>
                  <a:pt x="0" y="112"/>
                </a:cubicBezTo>
                <a:cubicBezTo>
                  <a:pt x="1" y="121"/>
                  <a:pt x="9" y="128"/>
                  <a:pt x="18" y="128"/>
                </a:cubicBezTo>
                <a:cubicBezTo>
                  <a:pt x="28" y="128"/>
                  <a:pt x="36" y="119"/>
                  <a:pt x="36" y="109"/>
                </a:cubicBezTo>
                <a:cubicBezTo>
                  <a:pt x="36" y="103"/>
                  <a:pt x="33" y="98"/>
                  <a:pt x="29" y="95"/>
                </a:cubicBezTo>
                <a:cubicBezTo>
                  <a:pt x="39" y="73"/>
                  <a:pt x="39" y="73"/>
                  <a:pt x="39" y="73"/>
                </a:cubicBezTo>
                <a:cubicBezTo>
                  <a:pt x="50" y="95"/>
                  <a:pt x="50" y="95"/>
                  <a:pt x="50" y="95"/>
                </a:cubicBezTo>
                <a:cubicBezTo>
                  <a:pt x="45" y="98"/>
                  <a:pt x="42" y="103"/>
                  <a:pt x="42" y="109"/>
                </a:cubicBezTo>
                <a:cubicBezTo>
                  <a:pt x="42" y="119"/>
                  <a:pt x="50" y="128"/>
                  <a:pt x="60" y="128"/>
                </a:cubicBezTo>
                <a:cubicBezTo>
                  <a:pt x="69" y="128"/>
                  <a:pt x="77" y="121"/>
                  <a:pt x="78" y="112"/>
                </a:cubicBezTo>
                <a:cubicBezTo>
                  <a:pt x="69" y="112"/>
                  <a:pt x="69" y="112"/>
                  <a:pt x="69" y="112"/>
                </a:cubicBezTo>
                <a:cubicBezTo>
                  <a:pt x="68" y="116"/>
                  <a:pt x="64" y="119"/>
                  <a:pt x="60" y="119"/>
                </a:cubicBezTo>
                <a:cubicBezTo>
                  <a:pt x="55" y="119"/>
                  <a:pt x="51" y="114"/>
                  <a:pt x="51" y="109"/>
                </a:cubicBezTo>
                <a:cubicBezTo>
                  <a:pt x="51" y="104"/>
                  <a:pt x="55" y="100"/>
                  <a:pt x="60" y="100"/>
                </a:cubicBezTo>
                <a:cubicBezTo>
                  <a:pt x="64" y="100"/>
                  <a:pt x="68" y="103"/>
                  <a:pt x="69" y="107"/>
                </a:cubicBezTo>
                <a:cubicBezTo>
                  <a:pt x="78" y="107"/>
                  <a:pt x="78" y="107"/>
                  <a:pt x="78" y="107"/>
                </a:cubicBezTo>
                <a:cubicBezTo>
                  <a:pt x="77" y="98"/>
                  <a:pt x="69" y="91"/>
                  <a:pt x="60" y="91"/>
                </a:cubicBezTo>
                <a:cubicBezTo>
                  <a:pt x="59" y="91"/>
                  <a:pt x="58" y="91"/>
                  <a:pt x="57" y="91"/>
                </a:cubicBezTo>
                <a:cubicBezTo>
                  <a:pt x="45" y="67"/>
                  <a:pt x="45" y="67"/>
                  <a:pt x="45" y="67"/>
                </a:cubicBezTo>
                <a:cubicBezTo>
                  <a:pt x="44" y="64"/>
                  <a:pt x="44" y="64"/>
                  <a:pt x="44" y="64"/>
                </a:cubicBezTo>
                <a:cubicBezTo>
                  <a:pt x="45" y="63"/>
                  <a:pt x="46" y="63"/>
                  <a:pt x="47" y="62"/>
                </a:cubicBezTo>
                <a:cubicBezTo>
                  <a:pt x="47" y="62"/>
                  <a:pt x="47" y="62"/>
                  <a:pt x="47" y="61"/>
                </a:cubicBezTo>
                <a:cubicBezTo>
                  <a:pt x="51" y="59"/>
                  <a:pt x="54" y="56"/>
                  <a:pt x="57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4" name="Freeform 115"/>
          <p:cNvSpPr>
            <a:spLocks/>
          </p:cNvSpPr>
          <p:nvPr/>
        </p:nvSpPr>
        <p:spPr bwMode="auto">
          <a:xfrm>
            <a:off x="3621617" y="3799418"/>
            <a:ext cx="558800" cy="270933"/>
          </a:xfrm>
          <a:custGeom>
            <a:avLst/>
            <a:gdLst>
              <a:gd name="T0" fmla="*/ 76154526 w 186"/>
              <a:gd name="T1" fmla="*/ 152926062 h 90"/>
              <a:gd name="T2" fmla="*/ 152311305 w 186"/>
              <a:gd name="T3" fmla="*/ 76464160 h 90"/>
              <a:gd name="T4" fmla="*/ 792015631 w 186"/>
              <a:gd name="T5" fmla="*/ 76464160 h 90"/>
              <a:gd name="T6" fmla="*/ 868172410 w 186"/>
              <a:gd name="T7" fmla="*/ 152926062 h 90"/>
              <a:gd name="T8" fmla="*/ 868172410 w 186"/>
              <a:gd name="T9" fmla="*/ 458780444 h 90"/>
              <a:gd name="T10" fmla="*/ 944326935 w 186"/>
              <a:gd name="T11" fmla="*/ 458780444 h 90"/>
              <a:gd name="T12" fmla="*/ 944326935 w 186"/>
              <a:gd name="T13" fmla="*/ 152926062 h 90"/>
              <a:gd name="T14" fmla="*/ 792015631 w 186"/>
              <a:gd name="T15" fmla="*/ 0 h 90"/>
              <a:gd name="T16" fmla="*/ 152311305 w 186"/>
              <a:gd name="T17" fmla="*/ 0 h 90"/>
              <a:gd name="T18" fmla="*/ 0 w 186"/>
              <a:gd name="T19" fmla="*/ 152926062 h 90"/>
              <a:gd name="T20" fmla="*/ 0 w 186"/>
              <a:gd name="T21" fmla="*/ 458780444 h 90"/>
              <a:gd name="T22" fmla="*/ 76154526 w 186"/>
              <a:gd name="T23" fmla="*/ 458780444 h 90"/>
              <a:gd name="T24" fmla="*/ 76154526 w 186"/>
              <a:gd name="T25" fmla="*/ 15292606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5" y="30"/>
                </a:moveTo>
                <a:cubicBezTo>
                  <a:pt x="15" y="22"/>
                  <a:pt x="22" y="15"/>
                  <a:pt x="30" y="15"/>
                </a:cubicBezTo>
                <a:cubicBezTo>
                  <a:pt x="156" y="15"/>
                  <a:pt x="156" y="15"/>
                  <a:pt x="156" y="15"/>
                </a:cubicBezTo>
                <a:cubicBezTo>
                  <a:pt x="164" y="15"/>
                  <a:pt x="171" y="22"/>
                  <a:pt x="171" y="30"/>
                </a:cubicBezTo>
                <a:cubicBezTo>
                  <a:pt x="171" y="90"/>
                  <a:pt x="171" y="90"/>
                  <a:pt x="171" y="90"/>
                </a:cubicBezTo>
                <a:cubicBezTo>
                  <a:pt x="186" y="90"/>
                  <a:pt x="186" y="90"/>
                  <a:pt x="186" y="90"/>
                </a:cubicBezTo>
                <a:cubicBezTo>
                  <a:pt x="186" y="30"/>
                  <a:pt x="186" y="30"/>
                  <a:pt x="186" y="30"/>
                </a:cubicBezTo>
                <a:cubicBezTo>
                  <a:pt x="186" y="13"/>
                  <a:pt x="173" y="0"/>
                  <a:pt x="15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3"/>
                  <a:pt x="0" y="30"/>
                </a:cubicBezTo>
                <a:cubicBezTo>
                  <a:pt x="0" y="90"/>
                  <a:pt x="0" y="90"/>
                  <a:pt x="0" y="90"/>
                </a:cubicBezTo>
                <a:cubicBezTo>
                  <a:pt x="15" y="90"/>
                  <a:pt x="15" y="90"/>
                  <a:pt x="15" y="90"/>
                </a:cubicBezTo>
                <a:lnTo>
                  <a:pt x="15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5" name="Freeform 116"/>
          <p:cNvSpPr>
            <a:spLocks/>
          </p:cNvSpPr>
          <p:nvPr/>
        </p:nvSpPr>
        <p:spPr bwMode="auto">
          <a:xfrm>
            <a:off x="3621617" y="4089400"/>
            <a:ext cx="558800" cy="270933"/>
          </a:xfrm>
          <a:custGeom>
            <a:avLst/>
            <a:gdLst>
              <a:gd name="T0" fmla="*/ 868172410 w 186"/>
              <a:gd name="T1" fmla="*/ 305854382 h 90"/>
              <a:gd name="T2" fmla="*/ 792015631 w 186"/>
              <a:gd name="T3" fmla="*/ 382316284 h 90"/>
              <a:gd name="T4" fmla="*/ 152311305 w 186"/>
              <a:gd name="T5" fmla="*/ 382316284 h 90"/>
              <a:gd name="T6" fmla="*/ 76154526 w 186"/>
              <a:gd name="T7" fmla="*/ 305854382 h 90"/>
              <a:gd name="T8" fmla="*/ 76154526 w 186"/>
              <a:gd name="T9" fmla="*/ 0 h 90"/>
              <a:gd name="T10" fmla="*/ 0 w 186"/>
              <a:gd name="T11" fmla="*/ 0 h 90"/>
              <a:gd name="T12" fmla="*/ 0 w 186"/>
              <a:gd name="T13" fmla="*/ 305854382 h 90"/>
              <a:gd name="T14" fmla="*/ 152311305 w 186"/>
              <a:gd name="T15" fmla="*/ 458780444 h 90"/>
              <a:gd name="T16" fmla="*/ 792015631 w 186"/>
              <a:gd name="T17" fmla="*/ 458780444 h 90"/>
              <a:gd name="T18" fmla="*/ 944326935 w 186"/>
              <a:gd name="T19" fmla="*/ 305854382 h 90"/>
              <a:gd name="T20" fmla="*/ 944326935 w 186"/>
              <a:gd name="T21" fmla="*/ 0 h 90"/>
              <a:gd name="T22" fmla="*/ 868172410 w 186"/>
              <a:gd name="T23" fmla="*/ 0 h 90"/>
              <a:gd name="T24" fmla="*/ 868172410 w 186"/>
              <a:gd name="T25" fmla="*/ 30585438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71" y="60"/>
                </a:moveTo>
                <a:cubicBezTo>
                  <a:pt x="171" y="68"/>
                  <a:pt x="164" y="75"/>
                  <a:pt x="156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22" y="75"/>
                  <a:pt x="15" y="68"/>
                  <a:pt x="15" y="60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77"/>
                  <a:pt x="13" y="90"/>
                  <a:pt x="30" y="90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73" y="90"/>
                  <a:pt x="186" y="77"/>
                  <a:pt x="186" y="60"/>
                </a:cubicBezTo>
                <a:cubicBezTo>
                  <a:pt x="186" y="0"/>
                  <a:pt x="186" y="0"/>
                  <a:pt x="186" y="0"/>
                </a:cubicBezTo>
                <a:cubicBezTo>
                  <a:pt x="171" y="0"/>
                  <a:pt x="171" y="0"/>
                  <a:pt x="171" y="0"/>
                </a:cubicBezTo>
                <a:lnTo>
                  <a:pt x="17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6" name="Freeform 117"/>
          <p:cNvSpPr>
            <a:spLocks/>
          </p:cNvSpPr>
          <p:nvPr/>
        </p:nvSpPr>
        <p:spPr bwMode="auto">
          <a:xfrm>
            <a:off x="3875618" y="4144434"/>
            <a:ext cx="61383" cy="46567"/>
          </a:xfrm>
          <a:custGeom>
            <a:avLst/>
            <a:gdLst>
              <a:gd name="T0" fmla="*/ 63584003 w 20"/>
              <a:gd name="T1" fmla="*/ 38118455 h 16"/>
              <a:gd name="T2" fmla="*/ 21195435 w 20"/>
              <a:gd name="T3" fmla="*/ 0 h 16"/>
              <a:gd name="T4" fmla="*/ 0 w 20"/>
              <a:gd name="T5" fmla="*/ 19058136 h 16"/>
              <a:gd name="T6" fmla="*/ 63584003 w 20"/>
              <a:gd name="T7" fmla="*/ 76234727 h 16"/>
              <a:gd name="T8" fmla="*/ 105972570 w 20"/>
              <a:gd name="T9" fmla="*/ 38118455 h 16"/>
              <a:gd name="T10" fmla="*/ 84777136 w 20"/>
              <a:gd name="T11" fmla="*/ 19058136 h 16"/>
              <a:gd name="T12" fmla="*/ 63584003 w 20"/>
              <a:gd name="T13" fmla="*/ 38118455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6">
                <a:moveTo>
                  <a:pt x="12" y="8"/>
                </a:moveTo>
                <a:cubicBezTo>
                  <a:pt x="4" y="0"/>
                  <a:pt x="4" y="0"/>
                  <a:pt x="4" y="0"/>
                </a:cubicBezTo>
                <a:cubicBezTo>
                  <a:pt x="0" y="4"/>
                  <a:pt x="0" y="4"/>
                  <a:pt x="0" y="4"/>
                </a:cubicBezTo>
                <a:cubicBezTo>
                  <a:pt x="12" y="16"/>
                  <a:pt x="12" y="16"/>
                  <a:pt x="12" y="16"/>
                </a:cubicBezTo>
                <a:cubicBezTo>
                  <a:pt x="20" y="8"/>
                  <a:pt x="20" y="8"/>
                  <a:pt x="20" y="8"/>
                </a:cubicBezTo>
                <a:cubicBezTo>
                  <a:pt x="16" y="4"/>
                  <a:pt x="16" y="4"/>
                  <a:pt x="16" y="4"/>
                </a:cubicBezTo>
                <a:cubicBezTo>
                  <a:pt x="15" y="5"/>
                  <a:pt x="13" y="7"/>
                  <a:pt x="12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7" name="Freeform 118"/>
          <p:cNvSpPr>
            <a:spLocks/>
          </p:cNvSpPr>
          <p:nvPr/>
        </p:nvSpPr>
        <p:spPr bwMode="auto">
          <a:xfrm>
            <a:off x="3729567" y="3898901"/>
            <a:ext cx="364067" cy="361951"/>
          </a:xfrm>
          <a:custGeom>
            <a:avLst/>
            <a:gdLst>
              <a:gd name="T0" fmla="*/ 483767875 w 121"/>
              <a:gd name="T1" fmla="*/ 245640082 h 120"/>
              <a:gd name="T2" fmla="*/ 493951963 w 121"/>
              <a:gd name="T3" fmla="*/ 235405927 h 120"/>
              <a:gd name="T4" fmla="*/ 504138308 w 121"/>
              <a:gd name="T5" fmla="*/ 194464782 h 120"/>
              <a:gd name="T6" fmla="*/ 509229224 w 121"/>
              <a:gd name="T7" fmla="*/ 138172405 h 120"/>
              <a:gd name="T8" fmla="*/ 585613269 w 121"/>
              <a:gd name="T9" fmla="*/ 107467677 h 120"/>
              <a:gd name="T10" fmla="*/ 585613269 w 121"/>
              <a:gd name="T11" fmla="*/ 30704727 h 120"/>
              <a:gd name="T12" fmla="*/ 509229224 w 121"/>
              <a:gd name="T13" fmla="*/ 25587650 h 120"/>
              <a:gd name="T14" fmla="*/ 473583787 w 121"/>
              <a:gd name="T15" fmla="*/ 102350600 h 120"/>
              <a:gd name="T16" fmla="*/ 422661090 w 121"/>
              <a:gd name="T17" fmla="*/ 107467677 h 120"/>
              <a:gd name="T18" fmla="*/ 381922482 w 121"/>
              <a:gd name="T19" fmla="*/ 117701832 h 120"/>
              <a:gd name="T20" fmla="*/ 371738394 w 121"/>
              <a:gd name="T21" fmla="*/ 133055327 h 120"/>
              <a:gd name="T22" fmla="*/ 280077088 w 121"/>
              <a:gd name="T23" fmla="*/ 148408822 h 120"/>
              <a:gd name="T24" fmla="*/ 132399914 w 121"/>
              <a:gd name="T25" fmla="*/ 291698304 h 120"/>
              <a:gd name="T26" fmla="*/ 106938566 w 121"/>
              <a:gd name="T27" fmla="*/ 322403032 h 120"/>
              <a:gd name="T28" fmla="*/ 0 w 121"/>
              <a:gd name="T29" fmla="*/ 424753632 h 120"/>
              <a:gd name="T30" fmla="*/ 188415783 w 121"/>
              <a:gd name="T31" fmla="*/ 614101336 h 120"/>
              <a:gd name="T32" fmla="*/ 239338480 w 121"/>
              <a:gd name="T33" fmla="*/ 562926037 h 120"/>
              <a:gd name="T34" fmla="*/ 218968047 w 121"/>
              <a:gd name="T35" fmla="*/ 547574804 h 120"/>
              <a:gd name="T36" fmla="*/ 188415783 w 121"/>
              <a:gd name="T37" fmla="*/ 578279531 h 120"/>
              <a:gd name="T38" fmla="*/ 40738609 w 121"/>
              <a:gd name="T39" fmla="*/ 424753632 h 120"/>
              <a:gd name="T40" fmla="*/ 147677174 w 121"/>
              <a:gd name="T41" fmla="*/ 322403032 h 120"/>
              <a:gd name="T42" fmla="*/ 173138523 w 121"/>
              <a:gd name="T43" fmla="*/ 291698304 h 120"/>
              <a:gd name="T44" fmla="*/ 300445264 w 121"/>
              <a:gd name="T45" fmla="*/ 168877132 h 120"/>
              <a:gd name="T46" fmla="*/ 376829310 w 121"/>
              <a:gd name="T47" fmla="*/ 168877132 h 120"/>
              <a:gd name="T48" fmla="*/ 448122439 w 121"/>
              <a:gd name="T49" fmla="*/ 235405927 h 120"/>
              <a:gd name="T50" fmla="*/ 463399699 w 121"/>
              <a:gd name="T51" fmla="*/ 291698304 h 120"/>
              <a:gd name="T52" fmla="*/ 448122439 w 121"/>
              <a:gd name="T53" fmla="*/ 317285954 h 120"/>
              <a:gd name="T54" fmla="*/ 448122439 w 121"/>
              <a:gd name="T55" fmla="*/ 322403032 h 120"/>
              <a:gd name="T56" fmla="*/ 422661090 w 121"/>
              <a:gd name="T57" fmla="*/ 342873604 h 120"/>
              <a:gd name="T58" fmla="*/ 397199742 w 121"/>
              <a:gd name="T59" fmla="*/ 322403032 h 120"/>
              <a:gd name="T60" fmla="*/ 381922482 w 121"/>
              <a:gd name="T61" fmla="*/ 301932460 h 120"/>
              <a:gd name="T62" fmla="*/ 366645221 w 121"/>
              <a:gd name="T63" fmla="*/ 322403032 h 120"/>
              <a:gd name="T64" fmla="*/ 361552049 w 121"/>
              <a:gd name="T65" fmla="*/ 322403032 h 120"/>
              <a:gd name="T66" fmla="*/ 422661090 w 121"/>
              <a:gd name="T67" fmla="*/ 383812487 h 120"/>
              <a:gd name="T68" fmla="*/ 468490615 w 121"/>
              <a:gd name="T69" fmla="*/ 337756527 h 120"/>
              <a:gd name="T70" fmla="*/ 478674703 w 121"/>
              <a:gd name="T71" fmla="*/ 322403032 h 120"/>
              <a:gd name="T72" fmla="*/ 488861048 w 121"/>
              <a:gd name="T73" fmla="*/ 291698304 h 120"/>
              <a:gd name="T74" fmla="*/ 483767875 w 121"/>
              <a:gd name="T75" fmla="*/ 245640082 h 12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21" h="120">
                <a:moveTo>
                  <a:pt x="95" y="48"/>
                </a:moveTo>
                <a:cubicBezTo>
                  <a:pt x="97" y="46"/>
                  <a:pt x="97" y="46"/>
                  <a:pt x="97" y="46"/>
                </a:cubicBezTo>
                <a:cubicBezTo>
                  <a:pt x="97" y="46"/>
                  <a:pt x="101" y="43"/>
                  <a:pt x="99" y="38"/>
                </a:cubicBezTo>
                <a:cubicBezTo>
                  <a:pt x="97" y="32"/>
                  <a:pt x="98" y="30"/>
                  <a:pt x="100" y="27"/>
                </a:cubicBezTo>
                <a:cubicBezTo>
                  <a:pt x="105" y="23"/>
                  <a:pt x="109" y="27"/>
                  <a:pt x="115" y="21"/>
                </a:cubicBezTo>
                <a:cubicBezTo>
                  <a:pt x="121" y="15"/>
                  <a:pt x="118" y="9"/>
                  <a:pt x="115" y="6"/>
                </a:cubicBezTo>
                <a:cubicBezTo>
                  <a:pt x="111" y="2"/>
                  <a:pt x="106" y="0"/>
                  <a:pt x="100" y="5"/>
                </a:cubicBezTo>
                <a:cubicBezTo>
                  <a:pt x="94" y="12"/>
                  <a:pt x="98" y="16"/>
                  <a:pt x="93" y="20"/>
                </a:cubicBezTo>
                <a:cubicBezTo>
                  <a:pt x="91" y="23"/>
                  <a:pt x="88" y="23"/>
                  <a:pt x="83" y="21"/>
                </a:cubicBezTo>
                <a:cubicBezTo>
                  <a:pt x="78" y="20"/>
                  <a:pt x="75" y="23"/>
                  <a:pt x="75" y="23"/>
                </a:cubicBezTo>
                <a:cubicBezTo>
                  <a:pt x="73" y="26"/>
                  <a:pt x="73" y="26"/>
                  <a:pt x="73" y="26"/>
                </a:cubicBezTo>
                <a:cubicBezTo>
                  <a:pt x="67" y="23"/>
                  <a:pt x="60" y="24"/>
                  <a:pt x="55" y="29"/>
                </a:cubicBezTo>
                <a:cubicBezTo>
                  <a:pt x="26" y="57"/>
                  <a:pt x="26" y="57"/>
                  <a:pt x="26" y="57"/>
                </a:cubicBezTo>
                <a:cubicBezTo>
                  <a:pt x="21" y="63"/>
                  <a:pt x="21" y="63"/>
                  <a:pt x="21" y="63"/>
                </a:cubicBezTo>
                <a:cubicBezTo>
                  <a:pt x="0" y="83"/>
                  <a:pt x="0" y="83"/>
                  <a:pt x="0" y="83"/>
                </a:cubicBezTo>
                <a:cubicBezTo>
                  <a:pt x="37" y="120"/>
                  <a:pt x="37" y="120"/>
                  <a:pt x="37" y="120"/>
                </a:cubicBezTo>
                <a:cubicBezTo>
                  <a:pt x="47" y="110"/>
                  <a:pt x="47" y="110"/>
                  <a:pt x="47" y="110"/>
                </a:cubicBezTo>
                <a:cubicBezTo>
                  <a:pt x="43" y="107"/>
                  <a:pt x="43" y="107"/>
                  <a:pt x="43" y="107"/>
                </a:cubicBezTo>
                <a:cubicBezTo>
                  <a:pt x="40" y="110"/>
                  <a:pt x="38" y="112"/>
                  <a:pt x="37" y="113"/>
                </a:cubicBezTo>
                <a:cubicBezTo>
                  <a:pt x="34" y="110"/>
                  <a:pt x="11" y="86"/>
                  <a:pt x="8" y="83"/>
                </a:cubicBezTo>
                <a:cubicBezTo>
                  <a:pt x="9" y="82"/>
                  <a:pt x="19" y="73"/>
                  <a:pt x="29" y="63"/>
                </a:cubicBezTo>
                <a:cubicBezTo>
                  <a:pt x="30" y="61"/>
                  <a:pt x="32" y="59"/>
                  <a:pt x="34" y="57"/>
                </a:cubicBezTo>
                <a:cubicBezTo>
                  <a:pt x="46" y="45"/>
                  <a:pt x="59" y="33"/>
                  <a:pt x="59" y="33"/>
                </a:cubicBezTo>
                <a:cubicBezTo>
                  <a:pt x="63" y="28"/>
                  <a:pt x="70" y="28"/>
                  <a:pt x="74" y="33"/>
                </a:cubicBezTo>
                <a:cubicBezTo>
                  <a:pt x="88" y="46"/>
                  <a:pt x="88" y="46"/>
                  <a:pt x="88" y="46"/>
                </a:cubicBezTo>
                <a:cubicBezTo>
                  <a:pt x="91" y="49"/>
                  <a:pt x="92" y="54"/>
                  <a:pt x="91" y="57"/>
                </a:cubicBezTo>
                <a:cubicBezTo>
                  <a:pt x="90" y="59"/>
                  <a:pt x="89" y="61"/>
                  <a:pt x="88" y="62"/>
                </a:cubicBezTo>
                <a:cubicBezTo>
                  <a:pt x="88" y="62"/>
                  <a:pt x="88" y="62"/>
                  <a:pt x="88" y="63"/>
                </a:cubicBezTo>
                <a:cubicBezTo>
                  <a:pt x="87" y="63"/>
                  <a:pt x="85" y="65"/>
                  <a:pt x="83" y="67"/>
                </a:cubicBezTo>
                <a:cubicBezTo>
                  <a:pt x="78" y="63"/>
                  <a:pt x="78" y="63"/>
                  <a:pt x="78" y="63"/>
                </a:cubicBezTo>
                <a:cubicBezTo>
                  <a:pt x="75" y="59"/>
                  <a:pt x="75" y="59"/>
                  <a:pt x="75" y="59"/>
                </a:cubicBezTo>
                <a:cubicBezTo>
                  <a:pt x="72" y="63"/>
                  <a:pt x="72" y="63"/>
                  <a:pt x="72" y="63"/>
                </a:cubicBezTo>
                <a:cubicBezTo>
                  <a:pt x="71" y="63"/>
                  <a:pt x="71" y="63"/>
                  <a:pt x="71" y="63"/>
                </a:cubicBezTo>
                <a:cubicBezTo>
                  <a:pt x="83" y="75"/>
                  <a:pt x="83" y="75"/>
                  <a:pt x="83" y="75"/>
                </a:cubicBezTo>
                <a:cubicBezTo>
                  <a:pt x="92" y="66"/>
                  <a:pt x="92" y="66"/>
                  <a:pt x="92" y="66"/>
                </a:cubicBezTo>
                <a:cubicBezTo>
                  <a:pt x="93" y="65"/>
                  <a:pt x="94" y="64"/>
                  <a:pt x="94" y="63"/>
                </a:cubicBezTo>
                <a:cubicBezTo>
                  <a:pt x="95" y="61"/>
                  <a:pt x="96" y="59"/>
                  <a:pt x="96" y="57"/>
                </a:cubicBezTo>
                <a:cubicBezTo>
                  <a:pt x="97" y="54"/>
                  <a:pt x="96" y="51"/>
                  <a:pt x="95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8" name="Freeform 119"/>
          <p:cNvSpPr>
            <a:spLocks/>
          </p:cNvSpPr>
          <p:nvPr/>
        </p:nvSpPr>
        <p:spPr bwMode="auto">
          <a:xfrm>
            <a:off x="3909484" y="4110567"/>
            <a:ext cx="59267" cy="48684"/>
          </a:xfrm>
          <a:custGeom>
            <a:avLst/>
            <a:gdLst>
              <a:gd name="T0" fmla="*/ 59274075 w 20"/>
              <a:gd name="T1" fmla="*/ 41663615 h 16"/>
              <a:gd name="T2" fmla="*/ 19758025 w 20"/>
              <a:gd name="T3" fmla="*/ 0 h 16"/>
              <a:gd name="T4" fmla="*/ 0 w 20"/>
              <a:gd name="T5" fmla="*/ 20830667 h 16"/>
              <a:gd name="T6" fmla="*/ 39516050 w 20"/>
              <a:gd name="T7" fmla="*/ 62494282 h 16"/>
              <a:gd name="T8" fmla="*/ 39516050 w 20"/>
              <a:gd name="T9" fmla="*/ 62494282 h 16"/>
              <a:gd name="T10" fmla="*/ 59274075 w 20"/>
              <a:gd name="T11" fmla="*/ 83324948 h 16"/>
              <a:gd name="T12" fmla="*/ 98790125 w 20"/>
              <a:gd name="T13" fmla="*/ 41663615 h 16"/>
              <a:gd name="T14" fmla="*/ 79032100 w 20"/>
              <a:gd name="T15" fmla="*/ 20830667 h 16"/>
              <a:gd name="T16" fmla="*/ 59274075 w 20"/>
              <a:gd name="T17" fmla="*/ 41663615 h 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16">
                <a:moveTo>
                  <a:pt x="12" y="8"/>
                </a:moveTo>
                <a:cubicBezTo>
                  <a:pt x="4" y="0"/>
                  <a:pt x="4" y="0"/>
                  <a:pt x="4" y="0"/>
                </a:cubicBezTo>
                <a:cubicBezTo>
                  <a:pt x="0" y="4"/>
                  <a:pt x="0" y="4"/>
                  <a:pt x="0" y="4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12"/>
                  <a:pt x="8" y="12"/>
                  <a:pt x="8" y="12"/>
                </a:cubicBezTo>
                <a:cubicBezTo>
                  <a:pt x="12" y="16"/>
                  <a:pt x="12" y="16"/>
                  <a:pt x="12" y="16"/>
                </a:cubicBezTo>
                <a:cubicBezTo>
                  <a:pt x="20" y="8"/>
                  <a:pt x="20" y="8"/>
                  <a:pt x="20" y="8"/>
                </a:cubicBezTo>
                <a:cubicBezTo>
                  <a:pt x="16" y="4"/>
                  <a:pt x="16" y="4"/>
                  <a:pt x="16" y="4"/>
                </a:cubicBezTo>
                <a:cubicBezTo>
                  <a:pt x="15" y="5"/>
                  <a:pt x="13" y="7"/>
                  <a:pt x="12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09" name="Freeform 120"/>
          <p:cNvSpPr>
            <a:spLocks/>
          </p:cNvSpPr>
          <p:nvPr/>
        </p:nvSpPr>
        <p:spPr bwMode="auto">
          <a:xfrm>
            <a:off x="3843867" y="4176184"/>
            <a:ext cx="59267" cy="48683"/>
          </a:xfrm>
          <a:custGeom>
            <a:avLst/>
            <a:gdLst>
              <a:gd name="T0" fmla="*/ 59274075 w 20"/>
              <a:gd name="T1" fmla="*/ 41662474 h 16"/>
              <a:gd name="T2" fmla="*/ 19758025 w 20"/>
              <a:gd name="T3" fmla="*/ 0 h 16"/>
              <a:gd name="T4" fmla="*/ 0 w 20"/>
              <a:gd name="T5" fmla="*/ 20830096 h 16"/>
              <a:gd name="T6" fmla="*/ 59274075 w 20"/>
              <a:gd name="T7" fmla="*/ 83322666 h 16"/>
              <a:gd name="T8" fmla="*/ 98790125 w 20"/>
              <a:gd name="T9" fmla="*/ 36452668 h 16"/>
              <a:gd name="T10" fmla="*/ 79032100 w 20"/>
              <a:gd name="T11" fmla="*/ 20830096 h 16"/>
              <a:gd name="T12" fmla="*/ 59274075 w 20"/>
              <a:gd name="T13" fmla="*/ 41662474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6">
                <a:moveTo>
                  <a:pt x="12" y="8"/>
                </a:moveTo>
                <a:cubicBezTo>
                  <a:pt x="4" y="0"/>
                  <a:pt x="4" y="0"/>
                  <a:pt x="4" y="0"/>
                </a:cubicBezTo>
                <a:cubicBezTo>
                  <a:pt x="0" y="4"/>
                  <a:pt x="0" y="4"/>
                  <a:pt x="0" y="4"/>
                </a:cubicBezTo>
                <a:cubicBezTo>
                  <a:pt x="12" y="16"/>
                  <a:pt x="12" y="16"/>
                  <a:pt x="12" y="16"/>
                </a:cubicBezTo>
                <a:cubicBezTo>
                  <a:pt x="20" y="7"/>
                  <a:pt x="20" y="7"/>
                  <a:pt x="20" y="7"/>
                </a:cubicBezTo>
                <a:cubicBezTo>
                  <a:pt x="16" y="4"/>
                  <a:pt x="16" y="4"/>
                  <a:pt x="16" y="4"/>
                </a:cubicBezTo>
                <a:cubicBezTo>
                  <a:pt x="15" y="5"/>
                  <a:pt x="13" y="7"/>
                  <a:pt x="12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0" name="Freeform 121"/>
          <p:cNvSpPr>
            <a:spLocks/>
          </p:cNvSpPr>
          <p:nvPr/>
        </p:nvSpPr>
        <p:spPr bwMode="auto">
          <a:xfrm>
            <a:off x="4425951" y="4076700"/>
            <a:ext cx="560916" cy="270933"/>
          </a:xfrm>
          <a:custGeom>
            <a:avLst/>
            <a:gdLst>
              <a:gd name="T0" fmla="*/ 874762073 w 186"/>
              <a:gd name="T1" fmla="*/ 305854382 h 90"/>
              <a:gd name="T2" fmla="*/ 798027407 w 186"/>
              <a:gd name="T3" fmla="*/ 382316284 h 90"/>
              <a:gd name="T4" fmla="*/ 153467070 w 186"/>
              <a:gd name="T5" fmla="*/ 382316284 h 90"/>
              <a:gd name="T6" fmla="*/ 76732404 w 186"/>
              <a:gd name="T7" fmla="*/ 305854382 h 90"/>
              <a:gd name="T8" fmla="*/ 76732404 w 186"/>
              <a:gd name="T9" fmla="*/ 0 h 90"/>
              <a:gd name="T10" fmla="*/ 0 w 186"/>
              <a:gd name="T11" fmla="*/ 0 h 90"/>
              <a:gd name="T12" fmla="*/ 0 w 186"/>
              <a:gd name="T13" fmla="*/ 305854382 h 90"/>
              <a:gd name="T14" fmla="*/ 153467070 w 186"/>
              <a:gd name="T15" fmla="*/ 458780444 h 90"/>
              <a:gd name="T16" fmla="*/ 798027407 w 186"/>
              <a:gd name="T17" fmla="*/ 458780444 h 90"/>
              <a:gd name="T18" fmla="*/ 951494477 w 186"/>
              <a:gd name="T19" fmla="*/ 305854382 h 90"/>
              <a:gd name="T20" fmla="*/ 951494477 w 186"/>
              <a:gd name="T21" fmla="*/ 0 h 90"/>
              <a:gd name="T22" fmla="*/ 874762073 w 186"/>
              <a:gd name="T23" fmla="*/ 0 h 90"/>
              <a:gd name="T24" fmla="*/ 874762073 w 186"/>
              <a:gd name="T25" fmla="*/ 30585438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71" y="60"/>
                </a:moveTo>
                <a:cubicBezTo>
                  <a:pt x="171" y="68"/>
                  <a:pt x="164" y="75"/>
                  <a:pt x="156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22" y="75"/>
                  <a:pt x="15" y="68"/>
                  <a:pt x="15" y="60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77"/>
                  <a:pt x="13" y="90"/>
                  <a:pt x="30" y="90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73" y="90"/>
                  <a:pt x="186" y="77"/>
                  <a:pt x="186" y="60"/>
                </a:cubicBezTo>
                <a:cubicBezTo>
                  <a:pt x="186" y="0"/>
                  <a:pt x="186" y="0"/>
                  <a:pt x="186" y="0"/>
                </a:cubicBezTo>
                <a:cubicBezTo>
                  <a:pt x="171" y="0"/>
                  <a:pt x="171" y="0"/>
                  <a:pt x="171" y="0"/>
                </a:cubicBezTo>
                <a:lnTo>
                  <a:pt x="17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1" name="Freeform 122"/>
          <p:cNvSpPr>
            <a:spLocks/>
          </p:cNvSpPr>
          <p:nvPr/>
        </p:nvSpPr>
        <p:spPr bwMode="auto">
          <a:xfrm>
            <a:off x="4425951" y="3788834"/>
            <a:ext cx="560916" cy="270933"/>
          </a:xfrm>
          <a:custGeom>
            <a:avLst/>
            <a:gdLst>
              <a:gd name="T0" fmla="*/ 76732404 w 186"/>
              <a:gd name="T1" fmla="*/ 152926062 h 90"/>
              <a:gd name="T2" fmla="*/ 153467070 w 186"/>
              <a:gd name="T3" fmla="*/ 76464160 h 90"/>
              <a:gd name="T4" fmla="*/ 798027407 w 186"/>
              <a:gd name="T5" fmla="*/ 76464160 h 90"/>
              <a:gd name="T6" fmla="*/ 874762073 w 186"/>
              <a:gd name="T7" fmla="*/ 152926062 h 90"/>
              <a:gd name="T8" fmla="*/ 874762073 w 186"/>
              <a:gd name="T9" fmla="*/ 458780444 h 90"/>
              <a:gd name="T10" fmla="*/ 951494477 w 186"/>
              <a:gd name="T11" fmla="*/ 458780444 h 90"/>
              <a:gd name="T12" fmla="*/ 951494477 w 186"/>
              <a:gd name="T13" fmla="*/ 152926062 h 90"/>
              <a:gd name="T14" fmla="*/ 798027407 w 186"/>
              <a:gd name="T15" fmla="*/ 0 h 90"/>
              <a:gd name="T16" fmla="*/ 153467070 w 186"/>
              <a:gd name="T17" fmla="*/ 0 h 90"/>
              <a:gd name="T18" fmla="*/ 0 w 186"/>
              <a:gd name="T19" fmla="*/ 152926062 h 90"/>
              <a:gd name="T20" fmla="*/ 0 w 186"/>
              <a:gd name="T21" fmla="*/ 458780444 h 90"/>
              <a:gd name="T22" fmla="*/ 76732404 w 186"/>
              <a:gd name="T23" fmla="*/ 458780444 h 90"/>
              <a:gd name="T24" fmla="*/ 76732404 w 186"/>
              <a:gd name="T25" fmla="*/ 15292606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5" y="30"/>
                </a:moveTo>
                <a:cubicBezTo>
                  <a:pt x="15" y="22"/>
                  <a:pt x="22" y="15"/>
                  <a:pt x="30" y="15"/>
                </a:cubicBezTo>
                <a:cubicBezTo>
                  <a:pt x="156" y="15"/>
                  <a:pt x="156" y="15"/>
                  <a:pt x="156" y="15"/>
                </a:cubicBezTo>
                <a:cubicBezTo>
                  <a:pt x="164" y="15"/>
                  <a:pt x="171" y="22"/>
                  <a:pt x="171" y="30"/>
                </a:cubicBezTo>
                <a:cubicBezTo>
                  <a:pt x="171" y="90"/>
                  <a:pt x="171" y="90"/>
                  <a:pt x="171" y="90"/>
                </a:cubicBezTo>
                <a:cubicBezTo>
                  <a:pt x="186" y="90"/>
                  <a:pt x="186" y="90"/>
                  <a:pt x="186" y="90"/>
                </a:cubicBezTo>
                <a:cubicBezTo>
                  <a:pt x="186" y="30"/>
                  <a:pt x="186" y="30"/>
                  <a:pt x="186" y="30"/>
                </a:cubicBezTo>
                <a:cubicBezTo>
                  <a:pt x="186" y="13"/>
                  <a:pt x="173" y="0"/>
                  <a:pt x="15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3"/>
                  <a:pt x="0" y="30"/>
                </a:cubicBezTo>
                <a:cubicBezTo>
                  <a:pt x="0" y="90"/>
                  <a:pt x="0" y="90"/>
                  <a:pt x="0" y="90"/>
                </a:cubicBezTo>
                <a:cubicBezTo>
                  <a:pt x="15" y="90"/>
                  <a:pt x="15" y="90"/>
                  <a:pt x="15" y="90"/>
                </a:cubicBezTo>
                <a:lnTo>
                  <a:pt x="15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2" name="Freeform 123"/>
          <p:cNvSpPr>
            <a:spLocks/>
          </p:cNvSpPr>
          <p:nvPr/>
        </p:nvSpPr>
        <p:spPr bwMode="auto">
          <a:xfrm>
            <a:off x="4525434" y="3877733"/>
            <a:ext cx="361951" cy="95251"/>
          </a:xfrm>
          <a:custGeom>
            <a:avLst/>
            <a:gdLst>
              <a:gd name="T0" fmla="*/ 71645872 w 120"/>
              <a:gd name="T1" fmla="*/ 69036761 h 31"/>
              <a:gd name="T2" fmla="*/ 542455464 w 120"/>
              <a:gd name="T3" fmla="*/ 69036761 h 31"/>
              <a:gd name="T4" fmla="*/ 542455464 w 120"/>
              <a:gd name="T5" fmla="*/ 164625414 h 31"/>
              <a:gd name="T6" fmla="*/ 614101336 w 120"/>
              <a:gd name="T7" fmla="*/ 164625414 h 31"/>
              <a:gd name="T8" fmla="*/ 614101336 w 120"/>
              <a:gd name="T9" fmla="*/ 0 h 31"/>
              <a:gd name="T10" fmla="*/ 0 w 120"/>
              <a:gd name="T11" fmla="*/ 0 h 31"/>
              <a:gd name="T12" fmla="*/ 0 w 120"/>
              <a:gd name="T13" fmla="*/ 164625414 h 31"/>
              <a:gd name="T14" fmla="*/ 71645872 w 120"/>
              <a:gd name="T15" fmla="*/ 164625414 h 31"/>
              <a:gd name="T16" fmla="*/ 71645872 w 120"/>
              <a:gd name="T17" fmla="*/ 69036761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0" h="31">
                <a:moveTo>
                  <a:pt x="14" y="13"/>
                </a:moveTo>
                <a:cubicBezTo>
                  <a:pt x="25" y="13"/>
                  <a:pt x="95" y="13"/>
                  <a:pt x="106" y="13"/>
                </a:cubicBezTo>
                <a:cubicBezTo>
                  <a:pt x="106" y="17"/>
                  <a:pt x="106" y="24"/>
                  <a:pt x="106" y="31"/>
                </a:cubicBezTo>
                <a:cubicBezTo>
                  <a:pt x="120" y="31"/>
                  <a:pt x="120" y="31"/>
                  <a:pt x="120" y="31"/>
                </a:cubicBezTo>
                <a:cubicBezTo>
                  <a:pt x="120" y="0"/>
                  <a:pt x="120" y="0"/>
                  <a:pt x="12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1"/>
                  <a:pt x="0" y="31"/>
                  <a:pt x="0" y="31"/>
                </a:cubicBezTo>
                <a:cubicBezTo>
                  <a:pt x="14" y="31"/>
                  <a:pt x="14" y="31"/>
                  <a:pt x="14" y="31"/>
                </a:cubicBezTo>
                <a:cubicBezTo>
                  <a:pt x="14" y="24"/>
                  <a:pt x="14" y="17"/>
                  <a:pt x="14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3" name="Freeform 124"/>
          <p:cNvSpPr>
            <a:spLocks/>
          </p:cNvSpPr>
          <p:nvPr/>
        </p:nvSpPr>
        <p:spPr bwMode="auto">
          <a:xfrm>
            <a:off x="4525434" y="3994151"/>
            <a:ext cx="361951" cy="93133"/>
          </a:xfrm>
          <a:custGeom>
            <a:avLst/>
            <a:gdLst>
              <a:gd name="T0" fmla="*/ 542455464 w 120"/>
              <a:gd name="T1" fmla="*/ 0 h 31"/>
              <a:gd name="T2" fmla="*/ 542455464 w 120"/>
              <a:gd name="T3" fmla="*/ 91386332 h 31"/>
              <a:gd name="T4" fmla="*/ 521987154 w 120"/>
              <a:gd name="T5" fmla="*/ 91386332 h 31"/>
              <a:gd name="T6" fmla="*/ 475928932 w 120"/>
              <a:gd name="T7" fmla="*/ 76154526 h 31"/>
              <a:gd name="T8" fmla="*/ 429870709 w 120"/>
              <a:gd name="T9" fmla="*/ 91386332 h 31"/>
              <a:gd name="T10" fmla="*/ 388931827 w 120"/>
              <a:gd name="T11" fmla="*/ 91386332 h 31"/>
              <a:gd name="T12" fmla="*/ 399165982 w 120"/>
              <a:gd name="T13" fmla="*/ 60924973 h 31"/>
              <a:gd name="T14" fmla="*/ 378695409 w 120"/>
              <a:gd name="T15" fmla="*/ 60924973 h 31"/>
              <a:gd name="T16" fmla="*/ 312168877 w 120"/>
              <a:gd name="T17" fmla="*/ 121847692 h 31"/>
              <a:gd name="T18" fmla="*/ 245640082 w 120"/>
              <a:gd name="T19" fmla="*/ 60924973 h 31"/>
              <a:gd name="T20" fmla="*/ 230288849 w 120"/>
              <a:gd name="T21" fmla="*/ 60924973 h 31"/>
              <a:gd name="T22" fmla="*/ 240523005 w 120"/>
              <a:gd name="T23" fmla="*/ 91386332 h 31"/>
              <a:gd name="T24" fmla="*/ 71645872 w 120"/>
              <a:gd name="T25" fmla="*/ 91386332 h 31"/>
              <a:gd name="T26" fmla="*/ 71645872 w 120"/>
              <a:gd name="T27" fmla="*/ 0 h 31"/>
              <a:gd name="T28" fmla="*/ 0 w 120"/>
              <a:gd name="T29" fmla="*/ 0 h 31"/>
              <a:gd name="T30" fmla="*/ 0 w 120"/>
              <a:gd name="T31" fmla="*/ 111694656 h 31"/>
              <a:gd name="T32" fmla="*/ 0 w 120"/>
              <a:gd name="T33" fmla="*/ 142156016 h 31"/>
              <a:gd name="T34" fmla="*/ 0 w 120"/>
              <a:gd name="T35" fmla="*/ 157387823 h 31"/>
              <a:gd name="T36" fmla="*/ 404283059 w 120"/>
              <a:gd name="T37" fmla="*/ 157387823 h 31"/>
              <a:gd name="T38" fmla="*/ 475928932 w 120"/>
              <a:gd name="T39" fmla="*/ 96462850 h 31"/>
              <a:gd name="T40" fmla="*/ 547574804 w 120"/>
              <a:gd name="T41" fmla="*/ 157387823 h 31"/>
              <a:gd name="T42" fmla="*/ 598747842 w 120"/>
              <a:gd name="T43" fmla="*/ 157387823 h 31"/>
              <a:gd name="T44" fmla="*/ 598747842 w 120"/>
              <a:gd name="T45" fmla="*/ 157387823 h 31"/>
              <a:gd name="T46" fmla="*/ 614101336 w 120"/>
              <a:gd name="T47" fmla="*/ 157387823 h 31"/>
              <a:gd name="T48" fmla="*/ 614101336 w 120"/>
              <a:gd name="T49" fmla="*/ 142156016 h 31"/>
              <a:gd name="T50" fmla="*/ 614101336 w 120"/>
              <a:gd name="T51" fmla="*/ 111694656 h 31"/>
              <a:gd name="T52" fmla="*/ 614101336 w 120"/>
              <a:gd name="T53" fmla="*/ 0 h 31"/>
              <a:gd name="T54" fmla="*/ 542455464 w 120"/>
              <a:gd name="T55" fmla="*/ 0 h 3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0" h="31">
                <a:moveTo>
                  <a:pt x="106" y="0"/>
                </a:moveTo>
                <a:cubicBezTo>
                  <a:pt x="106" y="7"/>
                  <a:pt x="106" y="14"/>
                  <a:pt x="106" y="18"/>
                </a:cubicBezTo>
                <a:cubicBezTo>
                  <a:pt x="105" y="18"/>
                  <a:pt x="104" y="18"/>
                  <a:pt x="102" y="18"/>
                </a:cubicBezTo>
                <a:cubicBezTo>
                  <a:pt x="99" y="16"/>
                  <a:pt x="96" y="15"/>
                  <a:pt x="93" y="15"/>
                </a:cubicBezTo>
                <a:cubicBezTo>
                  <a:pt x="90" y="15"/>
                  <a:pt x="87" y="16"/>
                  <a:pt x="84" y="18"/>
                </a:cubicBezTo>
                <a:cubicBezTo>
                  <a:pt x="82" y="18"/>
                  <a:pt x="79" y="18"/>
                  <a:pt x="76" y="18"/>
                </a:cubicBezTo>
                <a:cubicBezTo>
                  <a:pt x="77" y="16"/>
                  <a:pt x="78" y="14"/>
                  <a:pt x="78" y="12"/>
                </a:cubicBezTo>
                <a:cubicBezTo>
                  <a:pt x="74" y="12"/>
                  <a:pt x="74" y="12"/>
                  <a:pt x="74" y="12"/>
                </a:cubicBezTo>
                <a:cubicBezTo>
                  <a:pt x="74" y="18"/>
                  <a:pt x="68" y="24"/>
                  <a:pt x="61" y="24"/>
                </a:cubicBezTo>
                <a:cubicBezTo>
                  <a:pt x="55" y="24"/>
                  <a:pt x="49" y="18"/>
                  <a:pt x="48" y="12"/>
                </a:cubicBezTo>
                <a:cubicBezTo>
                  <a:pt x="45" y="12"/>
                  <a:pt x="45" y="12"/>
                  <a:pt x="45" y="12"/>
                </a:cubicBezTo>
                <a:cubicBezTo>
                  <a:pt x="45" y="14"/>
                  <a:pt x="46" y="16"/>
                  <a:pt x="47" y="18"/>
                </a:cubicBezTo>
                <a:cubicBezTo>
                  <a:pt x="31" y="18"/>
                  <a:pt x="18" y="18"/>
                  <a:pt x="14" y="18"/>
                </a:cubicBezTo>
                <a:cubicBezTo>
                  <a:pt x="14" y="14"/>
                  <a:pt x="14" y="7"/>
                  <a:pt x="1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31"/>
                  <a:pt x="0" y="31"/>
                  <a:pt x="0" y="31"/>
                </a:cubicBezTo>
                <a:cubicBezTo>
                  <a:pt x="79" y="31"/>
                  <a:pt x="79" y="31"/>
                  <a:pt x="79" y="31"/>
                </a:cubicBezTo>
                <a:cubicBezTo>
                  <a:pt x="80" y="24"/>
                  <a:pt x="86" y="19"/>
                  <a:pt x="93" y="19"/>
                </a:cubicBezTo>
                <a:cubicBezTo>
                  <a:pt x="100" y="19"/>
                  <a:pt x="106" y="24"/>
                  <a:pt x="107" y="31"/>
                </a:cubicBezTo>
                <a:cubicBezTo>
                  <a:pt x="117" y="31"/>
                  <a:pt x="117" y="31"/>
                  <a:pt x="117" y="31"/>
                </a:cubicBezTo>
                <a:cubicBezTo>
                  <a:pt x="117" y="31"/>
                  <a:pt x="117" y="31"/>
                  <a:pt x="117" y="31"/>
                </a:cubicBezTo>
                <a:cubicBezTo>
                  <a:pt x="120" y="31"/>
                  <a:pt x="120" y="31"/>
                  <a:pt x="120" y="31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20" y="22"/>
                  <a:pt x="120" y="22"/>
                  <a:pt x="120" y="22"/>
                </a:cubicBezTo>
                <a:cubicBezTo>
                  <a:pt x="120" y="0"/>
                  <a:pt x="120" y="0"/>
                  <a:pt x="120" y="0"/>
                </a:cubicBezTo>
                <a:lnTo>
                  <a:pt x="10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4" name="Freeform 125"/>
          <p:cNvSpPr>
            <a:spLocks/>
          </p:cNvSpPr>
          <p:nvPr/>
        </p:nvSpPr>
        <p:spPr bwMode="auto">
          <a:xfrm>
            <a:off x="4660901" y="3975100"/>
            <a:ext cx="99484" cy="44451"/>
          </a:xfrm>
          <a:custGeom>
            <a:avLst/>
            <a:gdLst>
              <a:gd name="T0" fmla="*/ 15336363 w 33"/>
              <a:gd name="T1" fmla="*/ 74094816 h 15"/>
              <a:gd name="T2" fmla="*/ 81793936 w 33"/>
              <a:gd name="T3" fmla="*/ 14819852 h 15"/>
              <a:gd name="T4" fmla="*/ 148251509 w 33"/>
              <a:gd name="T5" fmla="*/ 74094816 h 15"/>
              <a:gd name="T6" fmla="*/ 168699993 w 33"/>
              <a:gd name="T7" fmla="*/ 74094816 h 15"/>
              <a:gd name="T8" fmla="*/ 81793936 w 33"/>
              <a:gd name="T9" fmla="*/ 0 h 15"/>
              <a:gd name="T10" fmla="*/ 0 w 33"/>
              <a:gd name="T11" fmla="*/ 74094816 h 15"/>
              <a:gd name="T12" fmla="*/ 15336363 w 33"/>
              <a:gd name="T13" fmla="*/ 74094816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3" h="15">
                <a:moveTo>
                  <a:pt x="3" y="15"/>
                </a:moveTo>
                <a:cubicBezTo>
                  <a:pt x="4" y="9"/>
                  <a:pt x="10" y="3"/>
                  <a:pt x="16" y="3"/>
                </a:cubicBezTo>
                <a:cubicBezTo>
                  <a:pt x="23" y="3"/>
                  <a:pt x="29" y="9"/>
                  <a:pt x="29" y="15"/>
                </a:cubicBezTo>
                <a:cubicBezTo>
                  <a:pt x="33" y="15"/>
                  <a:pt x="33" y="15"/>
                  <a:pt x="33" y="15"/>
                </a:cubicBezTo>
                <a:cubicBezTo>
                  <a:pt x="32" y="7"/>
                  <a:pt x="25" y="0"/>
                  <a:pt x="16" y="0"/>
                </a:cubicBezTo>
                <a:cubicBezTo>
                  <a:pt x="8" y="0"/>
                  <a:pt x="1" y="7"/>
                  <a:pt x="0" y="15"/>
                </a:cubicBezTo>
                <a:lnTo>
                  <a:pt x="3" y="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5" name="Freeform 126"/>
          <p:cNvSpPr>
            <a:spLocks/>
          </p:cNvSpPr>
          <p:nvPr/>
        </p:nvSpPr>
        <p:spPr bwMode="auto">
          <a:xfrm>
            <a:off x="4754033" y="4095752"/>
            <a:ext cx="101600" cy="44449"/>
          </a:xfrm>
          <a:custGeom>
            <a:avLst/>
            <a:gdLst>
              <a:gd name="T0" fmla="*/ 155707976 w 34"/>
              <a:gd name="T1" fmla="*/ 0 h 15"/>
              <a:gd name="T2" fmla="*/ 85388824 w 34"/>
              <a:gd name="T3" fmla="*/ 59273186 h 15"/>
              <a:gd name="T4" fmla="*/ 15069671 w 34"/>
              <a:gd name="T5" fmla="*/ 0 h 15"/>
              <a:gd name="T6" fmla="*/ 0 w 34"/>
              <a:gd name="T7" fmla="*/ 0 h 15"/>
              <a:gd name="T8" fmla="*/ 85388824 w 34"/>
              <a:gd name="T9" fmla="*/ 74092594 h 15"/>
              <a:gd name="T10" fmla="*/ 170777647 w 34"/>
              <a:gd name="T11" fmla="*/ 0 h 15"/>
              <a:gd name="T12" fmla="*/ 155707976 w 34"/>
              <a:gd name="T13" fmla="*/ 0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4" h="15">
                <a:moveTo>
                  <a:pt x="31" y="0"/>
                </a:moveTo>
                <a:cubicBezTo>
                  <a:pt x="30" y="6"/>
                  <a:pt x="24" y="12"/>
                  <a:pt x="17" y="12"/>
                </a:cubicBezTo>
                <a:cubicBezTo>
                  <a:pt x="10" y="12"/>
                  <a:pt x="4" y="6"/>
                  <a:pt x="3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8"/>
                  <a:pt x="8" y="15"/>
                  <a:pt x="17" y="15"/>
                </a:cubicBezTo>
                <a:cubicBezTo>
                  <a:pt x="26" y="15"/>
                  <a:pt x="33" y="8"/>
                  <a:pt x="34" y="0"/>
                </a:cubicBezTo>
                <a:lnTo>
                  <a:pt x="3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6" name="Freeform 127"/>
          <p:cNvSpPr>
            <a:spLocks/>
          </p:cNvSpPr>
          <p:nvPr/>
        </p:nvSpPr>
        <p:spPr bwMode="auto">
          <a:xfrm>
            <a:off x="4726518" y="4182533"/>
            <a:ext cx="52916" cy="61384"/>
          </a:xfrm>
          <a:custGeom>
            <a:avLst/>
            <a:gdLst>
              <a:gd name="T0" fmla="*/ 70852968 w 17"/>
              <a:gd name="T1" fmla="*/ 0 h 20"/>
              <a:gd name="T2" fmla="*/ 43602006 w 17"/>
              <a:gd name="T3" fmla="*/ 42389489 h 20"/>
              <a:gd name="T4" fmla="*/ 21799836 w 17"/>
              <a:gd name="T5" fmla="*/ 0 h 20"/>
              <a:gd name="T6" fmla="*/ 0 w 17"/>
              <a:gd name="T7" fmla="*/ 0 h 20"/>
              <a:gd name="T8" fmla="*/ 38150880 w 17"/>
              <a:gd name="T9" fmla="*/ 63585384 h 20"/>
              <a:gd name="T10" fmla="*/ 10899918 w 17"/>
              <a:gd name="T11" fmla="*/ 63585384 h 20"/>
              <a:gd name="T12" fmla="*/ 10899918 w 17"/>
              <a:gd name="T13" fmla="*/ 79482305 h 20"/>
              <a:gd name="T14" fmla="*/ 38150880 w 17"/>
              <a:gd name="T15" fmla="*/ 79482305 h 20"/>
              <a:gd name="T16" fmla="*/ 38150880 w 17"/>
              <a:gd name="T17" fmla="*/ 105974872 h 20"/>
              <a:gd name="T18" fmla="*/ 54501924 w 17"/>
              <a:gd name="T19" fmla="*/ 105974872 h 20"/>
              <a:gd name="T20" fmla="*/ 54501924 w 17"/>
              <a:gd name="T21" fmla="*/ 79482305 h 20"/>
              <a:gd name="T22" fmla="*/ 81752885 w 17"/>
              <a:gd name="T23" fmla="*/ 79482305 h 20"/>
              <a:gd name="T24" fmla="*/ 81752885 w 17"/>
              <a:gd name="T25" fmla="*/ 63585384 h 20"/>
              <a:gd name="T26" fmla="*/ 54501924 w 17"/>
              <a:gd name="T27" fmla="*/ 63585384 h 20"/>
              <a:gd name="T28" fmla="*/ 92652803 w 17"/>
              <a:gd name="T29" fmla="*/ 0 h 20"/>
              <a:gd name="T30" fmla="*/ 70852968 w 17"/>
              <a:gd name="T31" fmla="*/ 0 h 2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7" h="20">
                <a:moveTo>
                  <a:pt x="13" y="0"/>
                </a:moveTo>
                <a:cubicBezTo>
                  <a:pt x="8" y="8"/>
                  <a:pt x="8" y="8"/>
                  <a:pt x="8" y="8"/>
                </a:cubicBezTo>
                <a:cubicBezTo>
                  <a:pt x="4" y="0"/>
                  <a:pt x="4" y="0"/>
                  <a:pt x="4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1"/>
                  <a:pt x="7" y="12"/>
                  <a:pt x="7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2" y="15"/>
                  <a:pt x="2" y="15"/>
                  <a:pt x="2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7"/>
                  <a:pt x="7" y="20"/>
                  <a:pt x="7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10" y="15"/>
                  <a:pt x="10" y="15"/>
                  <a:pt x="10" y="15"/>
                </a:cubicBezTo>
                <a:cubicBezTo>
                  <a:pt x="15" y="15"/>
                  <a:pt x="15" y="15"/>
                  <a:pt x="15" y="15"/>
                </a:cubicBezTo>
                <a:cubicBezTo>
                  <a:pt x="15" y="12"/>
                  <a:pt x="15" y="12"/>
                  <a:pt x="15" y="12"/>
                </a:cubicBezTo>
                <a:cubicBezTo>
                  <a:pt x="10" y="12"/>
                  <a:pt x="10" y="12"/>
                  <a:pt x="10" y="12"/>
                </a:cubicBezTo>
                <a:cubicBezTo>
                  <a:pt x="17" y="0"/>
                  <a:pt x="17" y="0"/>
                  <a:pt x="17" y="0"/>
                </a:cubicBezTo>
                <a:lnTo>
                  <a:pt x="1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7" name="Freeform 128"/>
          <p:cNvSpPr>
            <a:spLocks/>
          </p:cNvSpPr>
          <p:nvPr/>
        </p:nvSpPr>
        <p:spPr bwMode="auto">
          <a:xfrm>
            <a:off x="4588934" y="4123267"/>
            <a:ext cx="40217" cy="57151"/>
          </a:xfrm>
          <a:custGeom>
            <a:avLst/>
            <a:gdLst>
              <a:gd name="T0" fmla="*/ 69985121 w 13"/>
              <a:gd name="T1" fmla="*/ 25447086 h 19"/>
              <a:gd name="T2" fmla="*/ 43068124 w 13"/>
              <a:gd name="T3" fmla="*/ 0 h 19"/>
              <a:gd name="T4" fmla="*/ 10765871 w 13"/>
              <a:gd name="T5" fmla="*/ 25447086 h 19"/>
              <a:gd name="T6" fmla="*/ 10765871 w 13"/>
              <a:gd name="T7" fmla="*/ 40715338 h 19"/>
              <a:gd name="T8" fmla="*/ 0 w 13"/>
              <a:gd name="T9" fmla="*/ 40715338 h 19"/>
              <a:gd name="T10" fmla="*/ 0 w 13"/>
              <a:gd name="T11" fmla="*/ 61070751 h 19"/>
              <a:gd name="T12" fmla="*/ 10765871 w 13"/>
              <a:gd name="T13" fmla="*/ 61070751 h 19"/>
              <a:gd name="T14" fmla="*/ 10765871 w 13"/>
              <a:gd name="T15" fmla="*/ 96696672 h 19"/>
              <a:gd name="T16" fmla="*/ 32299933 w 13"/>
              <a:gd name="T17" fmla="*/ 96696672 h 19"/>
              <a:gd name="T18" fmla="*/ 32299933 w 13"/>
              <a:gd name="T19" fmla="*/ 61070751 h 19"/>
              <a:gd name="T20" fmla="*/ 43068124 w 13"/>
              <a:gd name="T21" fmla="*/ 61070751 h 19"/>
              <a:gd name="T22" fmla="*/ 43068124 w 13"/>
              <a:gd name="T23" fmla="*/ 40715338 h 19"/>
              <a:gd name="T24" fmla="*/ 32299933 w 13"/>
              <a:gd name="T25" fmla="*/ 40715338 h 19"/>
              <a:gd name="T26" fmla="*/ 32299933 w 13"/>
              <a:gd name="T27" fmla="*/ 25447086 h 19"/>
              <a:gd name="T28" fmla="*/ 43068124 w 13"/>
              <a:gd name="T29" fmla="*/ 15268252 h 19"/>
              <a:gd name="T30" fmla="*/ 53833994 w 13"/>
              <a:gd name="T31" fmla="*/ 25447086 h 19"/>
              <a:gd name="T32" fmla="*/ 69985121 w 13"/>
              <a:gd name="T33" fmla="*/ 25447086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3" h="19">
                <a:moveTo>
                  <a:pt x="13" y="5"/>
                </a:moveTo>
                <a:cubicBezTo>
                  <a:pt x="13" y="2"/>
                  <a:pt x="11" y="0"/>
                  <a:pt x="8" y="0"/>
                </a:cubicBezTo>
                <a:cubicBezTo>
                  <a:pt x="5" y="0"/>
                  <a:pt x="2" y="2"/>
                  <a:pt x="2" y="5"/>
                </a:cubicBezTo>
                <a:cubicBezTo>
                  <a:pt x="2" y="8"/>
                  <a:pt x="2" y="8"/>
                  <a:pt x="2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12"/>
                  <a:pt x="0" y="12"/>
                  <a:pt x="0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2" y="19"/>
                  <a:pt x="2" y="19"/>
                  <a:pt x="2" y="19"/>
                </a:cubicBezTo>
                <a:cubicBezTo>
                  <a:pt x="6" y="19"/>
                  <a:pt x="6" y="19"/>
                  <a:pt x="6" y="19"/>
                </a:cubicBezTo>
                <a:cubicBezTo>
                  <a:pt x="6" y="12"/>
                  <a:pt x="6" y="12"/>
                  <a:pt x="6" y="12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8"/>
                  <a:pt x="8" y="8"/>
                  <a:pt x="8" y="8"/>
                </a:cubicBezTo>
                <a:cubicBezTo>
                  <a:pt x="6" y="8"/>
                  <a:pt x="6" y="8"/>
                  <a:pt x="6" y="8"/>
                </a:cubicBezTo>
                <a:cubicBezTo>
                  <a:pt x="6" y="5"/>
                  <a:pt x="6" y="5"/>
                  <a:pt x="6" y="5"/>
                </a:cubicBezTo>
                <a:cubicBezTo>
                  <a:pt x="6" y="4"/>
                  <a:pt x="6" y="3"/>
                  <a:pt x="8" y="3"/>
                </a:cubicBezTo>
                <a:cubicBezTo>
                  <a:pt x="9" y="3"/>
                  <a:pt x="10" y="4"/>
                  <a:pt x="10" y="5"/>
                </a:cubicBezTo>
                <a:lnTo>
                  <a:pt x="13" y="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8" name="Freeform 129"/>
          <p:cNvSpPr>
            <a:spLocks/>
          </p:cNvSpPr>
          <p:nvPr/>
        </p:nvSpPr>
        <p:spPr bwMode="auto">
          <a:xfrm>
            <a:off x="4616451" y="4146551"/>
            <a:ext cx="23283" cy="33867"/>
          </a:xfrm>
          <a:custGeom>
            <a:avLst/>
            <a:gdLst>
              <a:gd name="T0" fmla="*/ 19059773 w 8"/>
              <a:gd name="T1" fmla="*/ 0 h 11"/>
              <a:gd name="T2" fmla="*/ 0 w 8"/>
              <a:gd name="T3" fmla="*/ 0 h 11"/>
              <a:gd name="T4" fmla="*/ 0 w 8"/>
              <a:gd name="T5" fmla="*/ 58650909 h 11"/>
              <a:gd name="T6" fmla="*/ 19059773 w 8"/>
              <a:gd name="T7" fmla="*/ 58650909 h 11"/>
              <a:gd name="T8" fmla="*/ 19059773 w 8"/>
              <a:gd name="T9" fmla="*/ 31992455 h 11"/>
              <a:gd name="T10" fmla="*/ 38117363 w 8"/>
              <a:gd name="T11" fmla="*/ 15995073 h 11"/>
              <a:gd name="T12" fmla="*/ 38117363 w 8"/>
              <a:gd name="T13" fmla="*/ 0 h 11"/>
              <a:gd name="T14" fmla="*/ 19059773 w 8"/>
              <a:gd name="T15" fmla="*/ 10663382 h 11"/>
              <a:gd name="T16" fmla="*/ 19059773 w 8"/>
              <a:gd name="T17" fmla="*/ 0 h 1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" h="11">
                <a:moveTo>
                  <a:pt x="4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6"/>
                  <a:pt x="4" y="6"/>
                  <a:pt x="4" y="6"/>
                </a:cubicBezTo>
                <a:cubicBezTo>
                  <a:pt x="4" y="4"/>
                  <a:pt x="6" y="4"/>
                  <a:pt x="8" y="3"/>
                </a:cubicBezTo>
                <a:cubicBezTo>
                  <a:pt x="8" y="0"/>
                  <a:pt x="8" y="0"/>
                  <a:pt x="8" y="0"/>
                </a:cubicBezTo>
                <a:cubicBezTo>
                  <a:pt x="6" y="0"/>
                  <a:pt x="5" y="1"/>
                  <a:pt x="4" y="2"/>
                </a:cubicBezTo>
                <a:lnTo>
                  <a:pt x="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19" name="Freeform 130"/>
          <p:cNvSpPr>
            <a:spLocks/>
          </p:cNvSpPr>
          <p:nvPr/>
        </p:nvSpPr>
        <p:spPr bwMode="auto">
          <a:xfrm>
            <a:off x="4703234" y="4212167"/>
            <a:ext cx="99484" cy="46567"/>
          </a:xfrm>
          <a:custGeom>
            <a:avLst/>
            <a:gdLst>
              <a:gd name="T0" fmla="*/ 81793936 w 33"/>
              <a:gd name="T1" fmla="*/ 65053633 h 15"/>
              <a:gd name="T2" fmla="*/ 15336363 w 33"/>
              <a:gd name="T3" fmla="*/ 0 h 15"/>
              <a:gd name="T4" fmla="*/ 0 w 33"/>
              <a:gd name="T5" fmla="*/ 0 h 15"/>
              <a:gd name="T6" fmla="*/ 81793936 w 33"/>
              <a:gd name="T7" fmla="*/ 81317042 h 15"/>
              <a:gd name="T8" fmla="*/ 168699993 w 33"/>
              <a:gd name="T9" fmla="*/ 0 h 15"/>
              <a:gd name="T10" fmla="*/ 148251509 w 33"/>
              <a:gd name="T11" fmla="*/ 0 h 15"/>
              <a:gd name="T12" fmla="*/ 81793936 w 33"/>
              <a:gd name="T13" fmla="*/ 65053633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3" h="15">
                <a:moveTo>
                  <a:pt x="16" y="12"/>
                </a:moveTo>
                <a:cubicBezTo>
                  <a:pt x="9" y="12"/>
                  <a:pt x="4" y="7"/>
                  <a:pt x="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"/>
                  <a:pt x="7" y="15"/>
                  <a:pt x="16" y="15"/>
                </a:cubicBezTo>
                <a:cubicBezTo>
                  <a:pt x="25" y="15"/>
                  <a:pt x="32" y="8"/>
                  <a:pt x="33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7"/>
                  <a:pt x="23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20" name="Freeform 131"/>
          <p:cNvSpPr>
            <a:spLocks/>
          </p:cNvSpPr>
          <p:nvPr/>
        </p:nvSpPr>
        <p:spPr bwMode="auto">
          <a:xfrm>
            <a:off x="4703234" y="4159252"/>
            <a:ext cx="99484" cy="44449"/>
          </a:xfrm>
          <a:custGeom>
            <a:avLst/>
            <a:gdLst>
              <a:gd name="T0" fmla="*/ 81793936 w 33"/>
              <a:gd name="T1" fmla="*/ 14819408 h 15"/>
              <a:gd name="T2" fmla="*/ 148251509 w 33"/>
              <a:gd name="T3" fmla="*/ 74092594 h 15"/>
              <a:gd name="T4" fmla="*/ 168699993 w 33"/>
              <a:gd name="T5" fmla="*/ 74092594 h 15"/>
              <a:gd name="T6" fmla="*/ 81793936 w 33"/>
              <a:gd name="T7" fmla="*/ 0 h 15"/>
              <a:gd name="T8" fmla="*/ 0 w 33"/>
              <a:gd name="T9" fmla="*/ 74092594 h 15"/>
              <a:gd name="T10" fmla="*/ 15336363 w 33"/>
              <a:gd name="T11" fmla="*/ 74092594 h 15"/>
              <a:gd name="T12" fmla="*/ 81793936 w 33"/>
              <a:gd name="T13" fmla="*/ 14819408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3" h="15">
                <a:moveTo>
                  <a:pt x="16" y="3"/>
                </a:moveTo>
                <a:cubicBezTo>
                  <a:pt x="23" y="3"/>
                  <a:pt x="29" y="9"/>
                  <a:pt x="29" y="15"/>
                </a:cubicBezTo>
                <a:cubicBezTo>
                  <a:pt x="33" y="15"/>
                  <a:pt x="33" y="15"/>
                  <a:pt x="33" y="15"/>
                </a:cubicBezTo>
                <a:cubicBezTo>
                  <a:pt x="32" y="7"/>
                  <a:pt x="25" y="0"/>
                  <a:pt x="16" y="0"/>
                </a:cubicBezTo>
                <a:cubicBezTo>
                  <a:pt x="7" y="0"/>
                  <a:pt x="0" y="7"/>
                  <a:pt x="0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4" y="9"/>
                  <a:pt x="9" y="3"/>
                  <a:pt x="16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21" name="Freeform 132"/>
          <p:cNvSpPr>
            <a:spLocks/>
          </p:cNvSpPr>
          <p:nvPr/>
        </p:nvSpPr>
        <p:spPr bwMode="auto">
          <a:xfrm>
            <a:off x="4561417" y="4155017"/>
            <a:ext cx="99483" cy="48683"/>
          </a:xfrm>
          <a:custGeom>
            <a:avLst/>
            <a:gdLst>
              <a:gd name="T0" fmla="*/ 86904892 w 33"/>
              <a:gd name="T1" fmla="*/ 62492570 h 16"/>
              <a:gd name="T2" fmla="*/ 20448210 w 33"/>
              <a:gd name="T3" fmla="*/ 0 h 16"/>
              <a:gd name="T4" fmla="*/ 0 w 33"/>
              <a:gd name="T5" fmla="*/ 0 h 16"/>
              <a:gd name="T6" fmla="*/ 86904892 w 33"/>
              <a:gd name="T7" fmla="*/ 83322666 h 16"/>
              <a:gd name="T8" fmla="*/ 168697732 w 33"/>
              <a:gd name="T9" fmla="*/ 0 h 16"/>
              <a:gd name="T10" fmla="*/ 153361575 w 33"/>
              <a:gd name="T11" fmla="*/ 0 h 16"/>
              <a:gd name="T12" fmla="*/ 86904892 w 33"/>
              <a:gd name="T13" fmla="*/ 62492570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3" h="16">
                <a:moveTo>
                  <a:pt x="17" y="12"/>
                </a:moveTo>
                <a:cubicBezTo>
                  <a:pt x="10" y="12"/>
                  <a:pt x="4" y="7"/>
                  <a:pt x="4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9"/>
                  <a:pt x="8" y="16"/>
                  <a:pt x="17" y="16"/>
                </a:cubicBezTo>
                <a:cubicBezTo>
                  <a:pt x="25" y="16"/>
                  <a:pt x="33" y="9"/>
                  <a:pt x="33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29" y="7"/>
                  <a:pt x="24" y="12"/>
                  <a:pt x="17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22" name="Freeform 133"/>
          <p:cNvSpPr>
            <a:spLocks/>
          </p:cNvSpPr>
          <p:nvPr/>
        </p:nvSpPr>
        <p:spPr bwMode="auto">
          <a:xfrm>
            <a:off x="4561417" y="4104218"/>
            <a:ext cx="99483" cy="44449"/>
          </a:xfrm>
          <a:custGeom>
            <a:avLst/>
            <a:gdLst>
              <a:gd name="T0" fmla="*/ 86904892 w 33"/>
              <a:gd name="T1" fmla="*/ 14819408 h 15"/>
              <a:gd name="T2" fmla="*/ 153361575 w 33"/>
              <a:gd name="T3" fmla="*/ 74092594 h 15"/>
              <a:gd name="T4" fmla="*/ 168697732 w 33"/>
              <a:gd name="T5" fmla="*/ 74092594 h 15"/>
              <a:gd name="T6" fmla="*/ 86904892 w 33"/>
              <a:gd name="T7" fmla="*/ 0 h 15"/>
              <a:gd name="T8" fmla="*/ 0 w 33"/>
              <a:gd name="T9" fmla="*/ 74092594 h 15"/>
              <a:gd name="T10" fmla="*/ 20448210 w 33"/>
              <a:gd name="T11" fmla="*/ 74092594 h 15"/>
              <a:gd name="T12" fmla="*/ 86904892 w 33"/>
              <a:gd name="T13" fmla="*/ 14819408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3" h="15">
                <a:moveTo>
                  <a:pt x="17" y="3"/>
                </a:moveTo>
                <a:cubicBezTo>
                  <a:pt x="24" y="3"/>
                  <a:pt x="29" y="8"/>
                  <a:pt x="30" y="15"/>
                </a:cubicBezTo>
                <a:cubicBezTo>
                  <a:pt x="33" y="15"/>
                  <a:pt x="33" y="15"/>
                  <a:pt x="33" y="15"/>
                </a:cubicBezTo>
                <a:cubicBezTo>
                  <a:pt x="33" y="6"/>
                  <a:pt x="25" y="0"/>
                  <a:pt x="17" y="0"/>
                </a:cubicBezTo>
                <a:cubicBezTo>
                  <a:pt x="8" y="0"/>
                  <a:pt x="1" y="6"/>
                  <a:pt x="0" y="15"/>
                </a:cubicBezTo>
                <a:cubicBezTo>
                  <a:pt x="4" y="15"/>
                  <a:pt x="4" y="15"/>
                  <a:pt x="4" y="15"/>
                </a:cubicBezTo>
                <a:cubicBezTo>
                  <a:pt x="4" y="8"/>
                  <a:pt x="10" y="3"/>
                  <a:pt x="17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23" name="Freeform 134"/>
          <p:cNvSpPr>
            <a:spLocks/>
          </p:cNvSpPr>
          <p:nvPr/>
        </p:nvSpPr>
        <p:spPr bwMode="auto">
          <a:xfrm>
            <a:off x="4783667" y="4059767"/>
            <a:ext cx="42333" cy="57151"/>
          </a:xfrm>
          <a:custGeom>
            <a:avLst/>
            <a:gdLst>
              <a:gd name="T0" fmla="*/ 0 w 14"/>
              <a:gd name="T1" fmla="*/ 40715338 h 19"/>
              <a:gd name="T2" fmla="*/ 0 w 14"/>
              <a:gd name="T3" fmla="*/ 61070751 h 19"/>
              <a:gd name="T4" fmla="*/ 15430500 w 14"/>
              <a:gd name="T5" fmla="*/ 61070751 h 19"/>
              <a:gd name="T6" fmla="*/ 15430500 w 14"/>
              <a:gd name="T7" fmla="*/ 61070751 h 19"/>
              <a:gd name="T8" fmla="*/ 5143500 w 14"/>
              <a:gd name="T9" fmla="*/ 81428420 h 19"/>
              <a:gd name="T10" fmla="*/ 5143500 w 14"/>
              <a:gd name="T11" fmla="*/ 81428420 h 19"/>
              <a:gd name="T12" fmla="*/ 5143500 w 14"/>
              <a:gd name="T13" fmla="*/ 96696672 h 19"/>
              <a:gd name="T14" fmla="*/ 66860964 w 14"/>
              <a:gd name="T15" fmla="*/ 96696672 h 19"/>
              <a:gd name="T16" fmla="*/ 66860964 w 14"/>
              <a:gd name="T17" fmla="*/ 81428420 h 19"/>
              <a:gd name="T18" fmla="*/ 25715232 w 14"/>
              <a:gd name="T19" fmla="*/ 81428420 h 19"/>
              <a:gd name="T20" fmla="*/ 30858732 w 14"/>
              <a:gd name="T21" fmla="*/ 61070751 h 19"/>
              <a:gd name="T22" fmla="*/ 30858732 w 14"/>
              <a:gd name="T23" fmla="*/ 61070751 h 19"/>
              <a:gd name="T24" fmla="*/ 41145732 w 14"/>
              <a:gd name="T25" fmla="*/ 61070751 h 19"/>
              <a:gd name="T26" fmla="*/ 41145732 w 14"/>
              <a:gd name="T27" fmla="*/ 40715338 h 19"/>
              <a:gd name="T28" fmla="*/ 25715232 w 14"/>
              <a:gd name="T29" fmla="*/ 40715338 h 19"/>
              <a:gd name="T30" fmla="*/ 20571732 w 14"/>
              <a:gd name="T31" fmla="*/ 30536504 h 19"/>
              <a:gd name="T32" fmla="*/ 36002232 w 14"/>
              <a:gd name="T33" fmla="*/ 15268252 h 19"/>
              <a:gd name="T34" fmla="*/ 56573964 w 14"/>
              <a:gd name="T35" fmla="*/ 30536504 h 19"/>
              <a:gd name="T36" fmla="*/ 72004464 w 14"/>
              <a:gd name="T37" fmla="*/ 30536504 h 19"/>
              <a:gd name="T38" fmla="*/ 36002232 w 14"/>
              <a:gd name="T39" fmla="*/ 0 h 19"/>
              <a:gd name="T40" fmla="*/ 5143500 w 14"/>
              <a:gd name="T41" fmla="*/ 30536504 h 19"/>
              <a:gd name="T42" fmla="*/ 5143500 w 14"/>
              <a:gd name="T43" fmla="*/ 40715338 h 19"/>
              <a:gd name="T44" fmla="*/ 0 w 14"/>
              <a:gd name="T45" fmla="*/ 40715338 h 1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4" h="19">
                <a:moveTo>
                  <a:pt x="0" y="8"/>
                </a:moveTo>
                <a:cubicBezTo>
                  <a:pt x="0" y="12"/>
                  <a:pt x="0" y="12"/>
                  <a:pt x="0" y="12"/>
                </a:cubicBezTo>
                <a:cubicBezTo>
                  <a:pt x="3" y="12"/>
                  <a:pt x="3" y="12"/>
                  <a:pt x="3" y="12"/>
                </a:cubicBezTo>
                <a:cubicBezTo>
                  <a:pt x="3" y="12"/>
                  <a:pt x="3" y="12"/>
                  <a:pt x="3" y="12"/>
                </a:cubicBezTo>
                <a:cubicBezTo>
                  <a:pt x="3" y="13"/>
                  <a:pt x="2" y="15"/>
                  <a:pt x="1" y="16"/>
                </a:cubicBezTo>
                <a:cubicBezTo>
                  <a:pt x="1" y="16"/>
                  <a:pt x="1" y="16"/>
                  <a:pt x="1" y="16"/>
                </a:cubicBezTo>
                <a:cubicBezTo>
                  <a:pt x="1" y="19"/>
                  <a:pt x="1" y="19"/>
                  <a:pt x="1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6"/>
                  <a:pt x="13" y="16"/>
                  <a:pt x="13" y="16"/>
                </a:cubicBezTo>
                <a:cubicBezTo>
                  <a:pt x="13" y="16"/>
                  <a:pt x="8" y="16"/>
                  <a:pt x="5" y="16"/>
                </a:cubicBezTo>
                <a:cubicBezTo>
                  <a:pt x="5" y="15"/>
                  <a:pt x="6" y="13"/>
                  <a:pt x="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8"/>
                  <a:pt x="8" y="8"/>
                  <a:pt x="8" y="8"/>
                </a:cubicBezTo>
                <a:cubicBezTo>
                  <a:pt x="5" y="8"/>
                  <a:pt x="5" y="8"/>
                  <a:pt x="5" y="8"/>
                </a:cubicBezTo>
                <a:cubicBezTo>
                  <a:pt x="5" y="7"/>
                  <a:pt x="4" y="6"/>
                  <a:pt x="4" y="6"/>
                </a:cubicBezTo>
                <a:cubicBezTo>
                  <a:pt x="4" y="5"/>
                  <a:pt x="5" y="3"/>
                  <a:pt x="7" y="3"/>
                </a:cubicBezTo>
                <a:cubicBezTo>
                  <a:pt x="9" y="3"/>
                  <a:pt x="11" y="5"/>
                  <a:pt x="11" y="6"/>
                </a:cubicBezTo>
                <a:cubicBezTo>
                  <a:pt x="14" y="6"/>
                  <a:pt x="14" y="6"/>
                  <a:pt x="14" y="6"/>
                </a:cubicBezTo>
                <a:cubicBezTo>
                  <a:pt x="14" y="3"/>
                  <a:pt x="11" y="0"/>
                  <a:pt x="7" y="0"/>
                </a:cubicBezTo>
                <a:cubicBezTo>
                  <a:pt x="3" y="0"/>
                  <a:pt x="1" y="3"/>
                  <a:pt x="1" y="6"/>
                </a:cubicBezTo>
                <a:cubicBezTo>
                  <a:pt x="1" y="7"/>
                  <a:pt x="1" y="7"/>
                  <a:pt x="1" y="8"/>
                </a:cubicBezTo>
                <a:lnTo>
                  <a:pt x="0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24" name="Freeform 135"/>
          <p:cNvSpPr>
            <a:spLocks/>
          </p:cNvSpPr>
          <p:nvPr/>
        </p:nvSpPr>
        <p:spPr bwMode="auto">
          <a:xfrm>
            <a:off x="4688418" y="3989918"/>
            <a:ext cx="44449" cy="69849"/>
          </a:xfrm>
          <a:custGeom>
            <a:avLst/>
            <a:gdLst>
              <a:gd name="T0" fmla="*/ 49394322 w 15"/>
              <a:gd name="T1" fmla="*/ 57067665 h 23"/>
              <a:gd name="T2" fmla="*/ 44456001 w 15"/>
              <a:gd name="T3" fmla="*/ 51879074 h 23"/>
              <a:gd name="T4" fmla="*/ 44456001 w 15"/>
              <a:gd name="T5" fmla="*/ 31126989 h 23"/>
              <a:gd name="T6" fmla="*/ 54334865 w 15"/>
              <a:gd name="T7" fmla="*/ 41504170 h 23"/>
              <a:gd name="T8" fmla="*/ 74092594 w 15"/>
              <a:gd name="T9" fmla="*/ 41504170 h 23"/>
              <a:gd name="T10" fmla="*/ 44456001 w 15"/>
              <a:gd name="T11" fmla="*/ 10374904 h 23"/>
              <a:gd name="T12" fmla="*/ 44456001 w 15"/>
              <a:gd name="T13" fmla="*/ 0 h 23"/>
              <a:gd name="T14" fmla="*/ 29636593 w 15"/>
              <a:gd name="T15" fmla="*/ 0 h 23"/>
              <a:gd name="T16" fmla="*/ 29636593 w 15"/>
              <a:gd name="T17" fmla="*/ 46692761 h 23"/>
              <a:gd name="T18" fmla="*/ 29636593 w 15"/>
              <a:gd name="T19" fmla="*/ 46692761 h 23"/>
              <a:gd name="T20" fmla="*/ 14819408 w 15"/>
              <a:gd name="T21" fmla="*/ 41504170 h 23"/>
              <a:gd name="T22" fmla="*/ 19757729 w 15"/>
              <a:gd name="T23" fmla="*/ 31126989 h 23"/>
              <a:gd name="T24" fmla="*/ 19757729 w 15"/>
              <a:gd name="T25" fmla="*/ 15563494 h 23"/>
              <a:gd name="T26" fmla="*/ 0 w 15"/>
              <a:gd name="T27" fmla="*/ 41504170 h 23"/>
              <a:gd name="T28" fmla="*/ 29636593 w 15"/>
              <a:gd name="T29" fmla="*/ 67444846 h 23"/>
              <a:gd name="T30" fmla="*/ 29636593 w 15"/>
              <a:gd name="T31" fmla="*/ 93383244 h 23"/>
              <a:gd name="T32" fmla="*/ 14819408 w 15"/>
              <a:gd name="T33" fmla="*/ 77819750 h 23"/>
              <a:gd name="T34" fmla="*/ 0 w 15"/>
              <a:gd name="T35" fmla="*/ 77819750 h 23"/>
              <a:gd name="T36" fmla="*/ 29636593 w 15"/>
              <a:gd name="T37" fmla="*/ 108949016 h 23"/>
              <a:gd name="T38" fmla="*/ 29636593 w 15"/>
              <a:gd name="T39" fmla="*/ 119323920 h 23"/>
              <a:gd name="T40" fmla="*/ 44456001 w 15"/>
              <a:gd name="T41" fmla="*/ 119323920 h 23"/>
              <a:gd name="T42" fmla="*/ 44456001 w 15"/>
              <a:gd name="T43" fmla="*/ 72631159 h 23"/>
              <a:gd name="T44" fmla="*/ 59273186 w 15"/>
              <a:gd name="T45" fmla="*/ 83008340 h 23"/>
              <a:gd name="T46" fmla="*/ 54334865 w 15"/>
              <a:gd name="T47" fmla="*/ 88196931 h 23"/>
              <a:gd name="T48" fmla="*/ 54334865 w 15"/>
              <a:gd name="T49" fmla="*/ 108949016 h 23"/>
              <a:gd name="T50" fmla="*/ 74092594 w 15"/>
              <a:gd name="T51" fmla="*/ 77819750 h 23"/>
              <a:gd name="T52" fmla="*/ 49394322 w 15"/>
              <a:gd name="T53" fmla="*/ 57067665 h 2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5" h="23">
                <a:moveTo>
                  <a:pt x="10" y="11"/>
                </a:moveTo>
                <a:cubicBezTo>
                  <a:pt x="9" y="10"/>
                  <a:pt x="9" y="10"/>
                  <a:pt x="9" y="10"/>
                </a:cubicBezTo>
                <a:cubicBezTo>
                  <a:pt x="9" y="6"/>
                  <a:pt x="9" y="6"/>
                  <a:pt x="9" y="6"/>
                </a:cubicBezTo>
                <a:cubicBezTo>
                  <a:pt x="11" y="6"/>
                  <a:pt x="11" y="7"/>
                  <a:pt x="11" y="8"/>
                </a:cubicBezTo>
                <a:cubicBezTo>
                  <a:pt x="15" y="8"/>
                  <a:pt x="15" y="8"/>
                  <a:pt x="15" y="8"/>
                </a:cubicBezTo>
                <a:cubicBezTo>
                  <a:pt x="14" y="6"/>
                  <a:pt x="13" y="3"/>
                  <a:pt x="9" y="2"/>
                </a:cubicBezTo>
                <a:cubicBezTo>
                  <a:pt x="9" y="0"/>
                  <a:pt x="9" y="0"/>
                  <a:pt x="9" y="0"/>
                </a:cubicBezTo>
                <a:cubicBezTo>
                  <a:pt x="6" y="0"/>
                  <a:pt x="6" y="0"/>
                  <a:pt x="6" y="0"/>
                </a:cubicBezTo>
                <a:cubicBezTo>
                  <a:pt x="6" y="9"/>
                  <a:pt x="6" y="9"/>
                  <a:pt x="6" y="9"/>
                </a:cubicBezTo>
                <a:cubicBezTo>
                  <a:pt x="6" y="9"/>
                  <a:pt x="6" y="9"/>
                  <a:pt x="6" y="9"/>
                </a:cubicBezTo>
                <a:cubicBezTo>
                  <a:pt x="5" y="9"/>
                  <a:pt x="3" y="9"/>
                  <a:pt x="3" y="8"/>
                </a:cubicBezTo>
                <a:cubicBezTo>
                  <a:pt x="3" y="7"/>
                  <a:pt x="4" y="6"/>
                  <a:pt x="4" y="6"/>
                </a:cubicBezTo>
                <a:cubicBezTo>
                  <a:pt x="4" y="3"/>
                  <a:pt x="4" y="3"/>
                  <a:pt x="4" y="3"/>
                </a:cubicBezTo>
                <a:cubicBezTo>
                  <a:pt x="0" y="4"/>
                  <a:pt x="0" y="6"/>
                  <a:pt x="0" y="8"/>
                </a:cubicBezTo>
                <a:cubicBezTo>
                  <a:pt x="0" y="11"/>
                  <a:pt x="3" y="12"/>
                  <a:pt x="6" y="13"/>
                </a:cubicBezTo>
                <a:cubicBezTo>
                  <a:pt x="6" y="18"/>
                  <a:pt x="6" y="18"/>
                  <a:pt x="6" y="18"/>
                </a:cubicBezTo>
                <a:cubicBezTo>
                  <a:pt x="4" y="17"/>
                  <a:pt x="3" y="16"/>
                  <a:pt x="3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7"/>
                  <a:pt x="2" y="20"/>
                  <a:pt x="6" y="21"/>
                </a:cubicBezTo>
                <a:cubicBezTo>
                  <a:pt x="6" y="23"/>
                  <a:pt x="6" y="23"/>
                  <a:pt x="6" y="23"/>
                </a:cubicBezTo>
                <a:cubicBezTo>
                  <a:pt x="9" y="23"/>
                  <a:pt x="9" y="23"/>
                  <a:pt x="9" y="23"/>
                </a:cubicBezTo>
                <a:cubicBezTo>
                  <a:pt x="9" y="14"/>
                  <a:pt x="9" y="14"/>
                  <a:pt x="9" y="14"/>
                </a:cubicBezTo>
                <a:cubicBezTo>
                  <a:pt x="11" y="14"/>
                  <a:pt x="12" y="15"/>
                  <a:pt x="12" y="16"/>
                </a:cubicBezTo>
                <a:cubicBezTo>
                  <a:pt x="12" y="16"/>
                  <a:pt x="11" y="17"/>
                  <a:pt x="11" y="17"/>
                </a:cubicBezTo>
                <a:cubicBezTo>
                  <a:pt x="11" y="21"/>
                  <a:pt x="11" y="21"/>
                  <a:pt x="11" y="21"/>
                </a:cubicBezTo>
                <a:cubicBezTo>
                  <a:pt x="13" y="20"/>
                  <a:pt x="15" y="19"/>
                  <a:pt x="15" y="15"/>
                </a:cubicBezTo>
                <a:cubicBezTo>
                  <a:pt x="15" y="13"/>
                  <a:pt x="13" y="11"/>
                  <a:pt x="10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25" name="Freeform 136"/>
          <p:cNvSpPr>
            <a:spLocks/>
          </p:cNvSpPr>
          <p:nvPr/>
        </p:nvSpPr>
        <p:spPr bwMode="auto">
          <a:xfrm>
            <a:off x="5655734" y="3977217"/>
            <a:ext cx="55033" cy="91016"/>
          </a:xfrm>
          <a:custGeom>
            <a:avLst/>
            <a:gdLst>
              <a:gd name="T0" fmla="*/ 15773929 w 18"/>
              <a:gd name="T1" fmla="*/ 0 h 30"/>
              <a:gd name="T2" fmla="*/ 0 w 18"/>
              <a:gd name="T3" fmla="*/ 0 h 30"/>
              <a:gd name="T4" fmla="*/ 0 w 18"/>
              <a:gd name="T5" fmla="*/ 155325630 h 30"/>
              <a:gd name="T6" fmla="*/ 15773929 w 18"/>
              <a:gd name="T7" fmla="*/ 155325630 h 30"/>
              <a:gd name="T8" fmla="*/ 94645868 w 18"/>
              <a:gd name="T9" fmla="*/ 77663953 h 30"/>
              <a:gd name="T10" fmla="*/ 15773929 w 18"/>
              <a:gd name="T11" fmla="*/ 0 h 3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8" h="30">
                <a:moveTo>
                  <a:pt x="3" y="0"/>
                </a:moveTo>
                <a:cubicBezTo>
                  <a:pt x="2" y="0"/>
                  <a:pt x="1" y="0"/>
                  <a:pt x="0" y="0"/>
                </a:cubicBezTo>
                <a:cubicBezTo>
                  <a:pt x="0" y="30"/>
                  <a:pt x="0" y="30"/>
                  <a:pt x="0" y="30"/>
                </a:cubicBezTo>
                <a:cubicBezTo>
                  <a:pt x="1" y="30"/>
                  <a:pt x="2" y="30"/>
                  <a:pt x="3" y="30"/>
                </a:cubicBezTo>
                <a:cubicBezTo>
                  <a:pt x="11" y="30"/>
                  <a:pt x="18" y="23"/>
                  <a:pt x="18" y="15"/>
                </a:cubicBezTo>
                <a:cubicBezTo>
                  <a:pt x="18" y="7"/>
                  <a:pt x="11" y="0"/>
                  <a:pt x="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26" name="Freeform 137"/>
          <p:cNvSpPr>
            <a:spLocks/>
          </p:cNvSpPr>
          <p:nvPr/>
        </p:nvSpPr>
        <p:spPr bwMode="auto">
          <a:xfrm>
            <a:off x="5259918" y="3780367"/>
            <a:ext cx="577849" cy="279400"/>
          </a:xfrm>
          <a:custGeom>
            <a:avLst/>
            <a:gdLst>
              <a:gd name="T0" fmla="*/ 275133028 w 192"/>
              <a:gd name="T1" fmla="*/ 289390803 h 93"/>
              <a:gd name="T2" fmla="*/ 687834828 w 192"/>
              <a:gd name="T3" fmla="*/ 289390803 h 93"/>
              <a:gd name="T4" fmla="*/ 810115421 w 192"/>
              <a:gd name="T5" fmla="*/ 411238495 h 93"/>
              <a:gd name="T6" fmla="*/ 789737204 w 192"/>
              <a:gd name="T7" fmla="*/ 472163468 h 93"/>
              <a:gd name="T8" fmla="*/ 978253777 w 192"/>
              <a:gd name="T9" fmla="*/ 472163468 h 93"/>
              <a:gd name="T10" fmla="*/ 489126888 w 192"/>
              <a:gd name="T11" fmla="*/ 0 h 93"/>
              <a:gd name="T12" fmla="*/ 0 w 192"/>
              <a:gd name="T13" fmla="*/ 472163468 h 93"/>
              <a:gd name="T14" fmla="*/ 275133028 w 192"/>
              <a:gd name="T15" fmla="*/ 472163468 h 93"/>
              <a:gd name="T16" fmla="*/ 275133028 w 192"/>
              <a:gd name="T17" fmla="*/ 289390803 h 9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92" h="93">
                <a:moveTo>
                  <a:pt x="54" y="57"/>
                </a:moveTo>
                <a:cubicBezTo>
                  <a:pt x="54" y="57"/>
                  <a:pt x="134" y="57"/>
                  <a:pt x="135" y="57"/>
                </a:cubicBezTo>
                <a:cubicBezTo>
                  <a:pt x="148" y="57"/>
                  <a:pt x="159" y="68"/>
                  <a:pt x="159" y="81"/>
                </a:cubicBezTo>
                <a:cubicBezTo>
                  <a:pt x="159" y="86"/>
                  <a:pt x="157" y="90"/>
                  <a:pt x="155" y="93"/>
                </a:cubicBezTo>
                <a:cubicBezTo>
                  <a:pt x="192" y="93"/>
                  <a:pt x="192" y="93"/>
                  <a:pt x="192" y="93"/>
                </a:cubicBezTo>
                <a:cubicBezTo>
                  <a:pt x="190" y="41"/>
                  <a:pt x="148" y="0"/>
                  <a:pt x="96" y="0"/>
                </a:cubicBezTo>
                <a:cubicBezTo>
                  <a:pt x="44" y="0"/>
                  <a:pt x="2" y="41"/>
                  <a:pt x="0" y="93"/>
                </a:cubicBezTo>
                <a:cubicBezTo>
                  <a:pt x="54" y="93"/>
                  <a:pt x="54" y="93"/>
                  <a:pt x="54" y="93"/>
                </a:cubicBezTo>
                <a:lnTo>
                  <a:pt x="54" y="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27" name="Freeform 138"/>
          <p:cNvSpPr>
            <a:spLocks/>
          </p:cNvSpPr>
          <p:nvPr/>
        </p:nvSpPr>
        <p:spPr bwMode="auto">
          <a:xfrm>
            <a:off x="5259918" y="4076700"/>
            <a:ext cx="577849" cy="281517"/>
          </a:xfrm>
          <a:custGeom>
            <a:avLst/>
            <a:gdLst>
              <a:gd name="T0" fmla="*/ 687834828 w 192"/>
              <a:gd name="T1" fmla="*/ 30926041 h 93"/>
              <a:gd name="T2" fmla="*/ 672548907 w 192"/>
              <a:gd name="T3" fmla="*/ 30926041 h 93"/>
              <a:gd name="T4" fmla="*/ 672548907 w 192"/>
              <a:gd name="T5" fmla="*/ 61852082 h 93"/>
              <a:gd name="T6" fmla="*/ 631787957 w 192"/>
              <a:gd name="T7" fmla="*/ 118548311 h 93"/>
              <a:gd name="T8" fmla="*/ 820306788 w 192"/>
              <a:gd name="T9" fmla="*/ 118548311 h 93"/>
              <a:gd name="T10" fmla="*/ 754070808 w 192"/>
              <a:gd name="T11" fmla="*/ 185553977 h 93"/>
              <a:gd name="T12" fmla="*/ 193613385 w 192"/>
              <a:gd name="T13" fmla="*/ 185553977 h 93"/>
              <a:gd name="T14" fmla="*/ 127377405 w 192"/>
              <a:gd name="T15" fmla="*/ 118548311 h 93"/>
              <a:gd name="T16" fmla="*/ 315893979 w 192"/>
              <a:gd name="T17" fmla="*/ 118548311 h 93"/>
              <a:gd name="T18" fmla="*/ 275133028 w 192"/>
              <a:gd name="T19" fmla="*/ 61852082 h 93"/>
              <a:gd name="T20" fmla="*/ 275133028 w 192"/>
              <a:gd name="T21" fmla="*/ 0 h 93"/>
              <a:gd name="T22" fmla="*/ 0 w 192"/>
              <a:gd name="T23" fmla="*/ 0 h 93"/>
              <a:gd name="T24" fmla="*/ 489126888 w 192"/>
              <a:gd name="T25" fmla="*/ 479346828 h 93"/>
              <a:gd name="T26" fmla="*/ 978253777 w 192"/>
              <a:gd name="T27" fmla="*/ 0 h 93"/>
              <a:gd name="T28" fmla="*/ 769356728 w 192"/>
              <a:gd name="T29" fmla="*/ 0 h 93"/>
              <a:gd name="T30" fmla="*/ 687834828 w 192"/>
              <a:gd name="T31" fmla="*/ 30926041 h 9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92" h="93">
                <a:moveTo>
                  <a:pt x="135" y="6"/>
                </a:moveTo>
                <a:cubicBezTo>
                  <a:pt x="134" y="6"/>
                  <a:pt x="133" y="6"/>
                  <a:pt x="132" y="6"/>
                </a:cubicBezTo>
                <a:cubicBezTo>
                  <a:pt x="132" y="12"/>
                  <a:pt x="132" y="12"/>
                  <a:pt x="132" y="12"/>
                </a:cubicBezTo>
                <a:cubicBezTo>
                  <a:pt x="132" y="17"/>
                  <a:pt x="128" y="21"/>
                  <a:pt x="124" y="23"/>
                </a:cubicBezTo>
                <a:cubicBezTo>
                  <a:pt x="161" y="23"/>
                  <a:pt x="161" y="23"/>
                  <a:pt x="161" y="23"/>
                </a:cubicBezTo>
                <a:cubicBezTo>
                  <a:pt x="161" y="30"/>
                  <a:pt x="156" y="36"/>
                  <a:pt x="148" y="36"/>
                </a:cubicBezTo>
                <a:cubicBezTo>
                  <a:pt x="38" y="36"/>
                  <a:pt x="38" y="36"/>
                  <a:pt x="38" y="36"/>
                </a:cubicBezTo>
                <a:cubicBezTo>
                  <a:pt x="30" y="36"/>
                  <a:pt x="25" y="30"/>
                  <a:pt x="25" y="23"/>
                </a:cubicBezTo>
                <a:cubicBezTo>
                  <a:pt x="62" y="23"/>
                  <a:pt x="62" y="23"/>
                  <a:pt x="62" y="23"/>
                </a:cubicBezTo>
                <a:cubicBezTo>
                  <a:pt x="58" y="21"/>
                  <a:pt x="54" y="17"/>
                  <a:pt x="54" y="12"/>
                </a:cubicBezTo>
                <a:cubicBezTo>
                  <a:pt x="54" y="0"/>
                  <a:pt x="54" y="0"/>
                  <a:pt x="54" y="0"/>
                </a:cubicBezTo>
                <a:cubicBezTo>
                  <a:pt x="0" y="0"/>
                  <a:pt x="0" y="0"/>
                  <a:pt x="0" y="0"/>
                </a:cubicBezTo>
                <a:cubicBezTo>
                  <a:pt x="2" y="52"/>
                  <a:pt x="44" y="93"/>
                  <a:pt x="96" y="93"/>
                </a:cubicBezTo>
                <a:cubicBezTo>
                  <a:pt x="148" y="93"/>
                  <a:pt x="190" y="52"/>
                  <a:pt x="192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46" y="4"/>
                  <a:pt x="141" y="6"/>
                  <a:pt x="135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28" name="Rectangle 139"/>
          <p:cNvSpPr>
            <a:spLocks noChangeArrowheads="1"/>
          </p:cNvSpPr>
          <p:nvPr/>
        </p:nvSpPr>
        <p:spPr bwMode="auto">
          <a:xfrm>
            <a:off x="6248400" y="4140201"/>
            <a:ext cx="129117" cy="973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529" name="Freeform 140"/>
          <p:cNvSpPr>
            <a:spLocks/>
          </p:cNvSpPr>
          <p:nvPr/>
        </p:nvSpPr>
        <p:spPr bwMode="auto">
          <a:xfrm>
            <a:off x="6402918" y="4013201"/>
            <a:ext cx="129116" cy="99484"/>
          </a:xfrm>
          <a:custGeom>
            <a:avLst/>
            <a:gdLst>
              <a:gd name="T0" fmla="*/ 153729531 w 61"/>
              <a:gd name="T1" fmla="*/ 118448931 h 47"/>
              <a:gd name="T2" fmla="*/ 153729531 w 61"/>
              <a:gd name="T3" fmla="*/ 0 h 47"/>
              <a:gd name="T4" fmla="*/ 52923802 w 61"/>
              <a:gd name="T5" fmla="*/ 0 h 47"/>
              <a:gd name="T6" fmla="*/ 85684870 w 61"/>
              <a:gd name="T7" fmla="*/ 37803391 h 47"/>
              <a:gd name="T8" fmla="*/ 60483438 w 61"/>
              <a:gd name="T9" fmla="*/ 57964776 h 47"/>
              <a:gd name="T10" fmla="*/ 12601510 w 61"/>
              <a:gd name="T11" fmla="*/ 0 h 47"/>
              <a:gd name="T12" fmla="*/ 0 w 61"/>
              <a:gd name="T13" fmla="*/ 0 h 47"/>
              <a:gd name="T14" fmla="*/ 0 w 61"/>
              <a:gd name="T15" fmla="*/ 118448931 h 47"/>
              <a:gd name="T16" fmla="*/ 153729531 w 61"/>
              <a:gd name="T17" fmla="*/ 118448931 h 4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1" h="47">
                <a:moveTo>
                  <a:pt x="61" y="47"/>
                </a:moveTo>
                <a:lnTo>
                  <a:pt x="61" y="0"/>
                </a:lnTo>
                <a:lnTo>
                  <a:pt x="21" y="0"/>
                </a:lnTo>
                <a:lnTo>
                  <a:pt x="34" y="15"/>
                </a:lnTo>
                <a:lnTo>
                  <a:pt x="24" y="23"/>
                </a:lnTo>
                <a:lnTo>
                  <a:pt x="5" y="0"/>
                </a:lnTo>
                <a:lnTo>
                  <a:pt x="0" y="0"/>
                </a:lnTo>
                <a:lnTo>
                  <a:pt x="0" y="47"/>
                </a:lnTo>
                <a:lnTo>
                  <a:pt x="61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30" name="Freeform 141"/>
          <p:cNvSpPr>
            <a:spLocks/>
          </p:cNvSpPr>
          <p:nvPr/>
        </p:nvSpPr>
        <p:spPr bwMode="auto">
          <a:xfrm>
            <a:off x="6248400" y="4013201"/>
            <a:ext cx="129117" cy="99484"/>
          </a:xfrm>
          <a:custGeom>
            <a:avLst/>
            <a:gdLst>
              <a:gd name="T0" fmla="*/ 153731119 w 61"/>
              <a:gd name="T1" fmla="*/ 0 h 47"/>
              <a:gd name="T2" fmla="*/ 141129479 w 61"/>
              <a:gd name="T3" fmla="*/ 0 h 47"/>
              <a:gd name="T4" fmla="*/ 93247056 w 61"/>
              <a:gd name="T5" fmla="*/ 57964776 h 47"/>
              <a:gd name="T6" fmla="*/ 68045364 w 61"/>
              <a:gd name="T7" fmla="*/ 37803391 h 47"/>
              <a:gd name="T8" fmla="*/ 100806770 w 61"/>
              <a:gd name="T9" fmla="*/ 0 h 47"/>
              <a:gd name="T10" fmla="*/ 0 w 61"/>
              <a:gd name="T11" fmla="*/ 0 h 47"/>
              <a:gd name="T12" fmla="*/ 0 w 61"/>
              <a:gd name="T13" fmla="*/ 118448931 h 47"/>
              <a:gd name="T14" fmla="*/ 153731119 w 61"/>
              <a:gd name="T15" fmla="*/ 118448931 h 47"/>
              <a:gd name="T16" fmla="*/ 153731119 w 61"/>
              <a:gd name="T17" fmla="*/ 0 h 4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1" h="47">
                <a:moveTo>
                  <a:pt x="61" y="0"/>
                </a:moveTo>
                <a:lnTo>
                  <a:pt x="56" y="0"/>
                </a:lnTo>
                <a:lnTo>
                  <a:pt x="37" y="23"/>
                </a:lnTo>
                <a:lnTo>
                  <a:pt x="27" y="15"/>
                </a:lnTo>
                <a:lnTo>
                  <a:pt x="40" y="0"/>
                </a:lnTo>
                <a:lnTo>
                  <a:pt x="0" y="0"/>
                </a:lnTo>
                <a:lnTo>
                  <a:pt x="0" y="47"/>
                </a:lnTo>
                <a:lnTo>
                  <a:pt x="61" y="47"/>
                </a:lnTo>
                <a:lnTo>
                  <a:pt x="6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31" name="Rectangle 142"/>
          <p:cNvSpPr>
            <a:spLocks noChangeArrowheads="1"/>
          </p:cNvSpPr>
          <p:nvPr/>
        </p:nvSpPr>
        <p:spPr bwMode="auto">
          <a:xfrm>
            <a:off x="6402918" y="4140201"/>
            <a:ext cx="129116" cy="973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532" name="Freeform 143"/>
          <p:cNvSpPr>
            <a:spLocks/>
          </p:cNvSpPr>
          <p:nvPr/>
        </p:nvSpPr>
        <p:spPr bwMode="auto">
          <a:xfrm>
            <a:off x="6263217" y="3896784"/>
            <a:ext cx="254000" cy="107949"/>
          </a:xfrm>
          <a:custGeom>
            <a:avLst/>
            <a:gdLst>
              <a:gd name="T0" fmla="*/ 216013393 w 84"/>
              <a:gd name="T1" fmla="*/ 146676157 h 36"/>
              <a:gd name="T2" fmla="*/ 236585125 w 84"/>
              <a:gd name="T3" fmla="*/ 166907661 h 36"/>
              <a:gd name="T4" fmla="*/ 236585125 w 84"/>
              <a:gd name="T5" fmla="*/ 171965537 h 36"/>
              <a:gd name="T6" fmla="*/ 241728625 w 84"/>
              <a:gd name="T7" fmla="*/ 182081289 h 36"/>
              <a:gd name="T8" fmla="*/ 298304857 w 84"/>
              <a:gd name="T9" fmla="*/ 177023413 h 36"/>
              <a:gd name="T10" fmla="*/ 257159125 w 84"/>
              <a:gd name="T11" fmla="*/ 126444652 h 36"/>
              <a:gd name="T12" fmla="*/ 298304857 w 84"/>
              <a:gd name="T13" fmla="*/ 85983893 h 36"/>
              <a:gd name="T14" fmla="*/ 329163589 w 84"/>
              <a:gd name="T15" fmla="*/ 60694513 h 36"/>
              <a:gd name="T16" fmla="*/ 380594054 w 84"/>
              <a:gd name="T17" fmla="*/ 50578761 h 36"/>
              <a:gd name="T18" fmla="*/ 385737554 w 84"/>
              <a:gd name="T19" fmla="*/ 80926017 h 36"/>
              <a:gd name="T20" fmla="*/ 344591821 w 84"/>
              <a:gd name="T21" fmla="*/ 106213148 h 36"/>
              <a:gd name="T22" fmla="*/ 303448357 w 84"/>
              <a:gd name="T23" fmla="*/ 106213148 h 36"/>
              <a:gd name="T24" fmla="*/ 282874357 w 84"/>
              <a:gd name="T25" fmla="*/ 126444652 h 36"/>
              <a:gd name="T26" fmla="*/ 298304857 w 84"/>
              <a:gd name="T27" fmla="*/ 146676157 h 36"/>
              <a:gd name="T28" fmla="*/ 344591821 w 84"/>
              <a:gd name="T29" fmla="*/ 146676157 h 36"/>
              <a:gd name="T30" fmla="*/ 421739786 w 84"/>
              <a:gd name="T31" fmla="*/ 101155272 h 36"/>
              <a:gd name="T32" fmla="*/ 411455054 w 84"/>
              <a:gd name="T33" fmla="*/ 30347256 h 36"/>
              <a:gd name="T34" fmla="*/ 365165821 w 84"/>
              <a:gd name="T35" fmla="*/ 5057876 h 36"/>
              <a:gd name="T36" fmla="*/ 293161357 w 84"/>
              <a:gd name="T37" fmla="*/ 30347256 h 36"/>
              <a:gd name="T38" fmla="*/ 216013393 w 84"/>
              <a:gd name="T39" fmla="*/ 106213148 h 36"/>
              <a:gd name="T40" fmla="*/ 138865429 w 84"/>
              <a:gd name="T41" fmla="*/ 30347256 h 36"/>
              <a:gd name="T42" fmla="*/ 66860964 w 84"/>
              <a:gd name="T43" fmla="*/ 5057876 h 36"/>
              <a:gd name="T44" fmla="*/ 20571732 w 84"/>
              <a:gd name="T45" fmla="*/ 30347256 h 36"/>
              <a:gd name="T46" fmla="*/ 10287000 w 84"/>
              <a:gd name="T47" fmla="*/ 101155272 h 36"/>
              <a:gd name="T48" fmla="*/ 87434964 w 84"/>
              <a:gd name="T49" fmla="*/ 146676157 h 36"/>
              <a:gd name="T50" fmla="*/ 133721929 w 84"/>
              <a:gd name="T51" fmla="*/ 146676157 h 36"/>
              <a:gd name="T52" fmla="*/ 149152429 w 84"/>
              <a:gd name="T53" fmla="*/ 126444652 h 36"/>
              <a:gd name="T54" fmla="*/ 128578429 w 84"/>
              <a:gd name="T55" fmla="*/ 106213148 h 36"/>
              <a:gd name="T56" fmla="*/ 87434964 w 84"/>
              <a:gd name="T57" fmla="*/ 106213148 h 36"/>
              <a:gd name="T58" fmla="*/ 46289232 w 84"/>
              <a:gd name="T59" fmla="*/ 80926017 h 36"/>
              <a:gd name="T60" fmla="*/ 51432732 w 84"/>
              <a:gd name="T61" fmla="*/ 55636637 h 36"/>
              <a:gd name="T62" fmla="*/ 108006696 w 84"/>
              <a:gd name="T63" fmla="*/ 60694513 h 36"/>
              <a:gd name="T64" fmla="*/ 133721929 w 84"/>
              <a:gd name="T65" fmla="*/ 85983893 h 36"/>
              <a:gd name="T66" fmla="*/ 174867661 w 84"/>
              <a:gd name="T67" fmla="*/ 126444652 h 36"/>
              <a:gd name="T68" fmla="*/ 133721929 w 84"/>
              <a:gd name="T69" fmla="*/ 177023413 h 36"/>
              <a:gd name="T70" fmla="*/ 190298161 w 84"/>
              <a:gd name="T71" fmla="*/ 182081289 h 36"/>
              <a:gd name="T72" fmla="*/ 195441661 w 84"/>
              <a:gd name="T73" fmla="*/ 171965537 h 36"/>
              <a:gd name="T74" fmla="*/ 195441661 w 84"/>
              <a:gd name="T75" fmla="*/ 166907661 h 36"/>
              <a:gd name="T76" fmla="*/ 216013393 w 84"/>
              <a:gd name="T77" fmla="*/ 146676157 h 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84" h="36">
                <a:moveTo>
                  <a:pt x="42" y="29"/>
                </a:moveTo>
                <a:cubicBezTo>
                  <a:pt x="46" y="33"/>
                  <a:pt x="46" y="33"/>
                  <a:pt x="46" y="33"/>
                </a:cubicBezTo>
                <a:cubicBezTo>
                  <a:pt x="46" y="34"/>
                  <a:pt x="46" y="34"/>
                  <a:pt x="46" y="34"/>
                </a:cubicBezTo>
                <a:cubicBezTo>
                  <a:pt x="47" y="36"/>
                  <a:pt x="47" y="36"/>
                  <a:pt x="47" y="36"/>
                </a:cubicBezTo>
                <a:cubicBezTo>
                  <a:pt x="58" y="35"/>
                  <a:pt x="58" y="35"/>
                  <a:pt x="58" y="35"/>
                </a:cubicBezTo>
                <a:cubicBezTo>
                  <a:pt x="50" y="25"/>
                  <a:pt x="50" y="25"/>
                  <a:pt x="50" y="25"/>
                </a:cubicBezTo>
                <a:cubicBezTo>
                  <a:pt x="58" y="17"/>
                  <a:pt x="58" y="17"/>
                  <a:pt x="58" y="17"/>
                </a:cubicBezTo>
                <a:cubicBezTo>
                  <a:pt x="61" y="14"/>
                  <a:pt x="64" y="12"/>
                  <a:pt x="64" y="12"/>
                </a:cubicBezTo>
                <a:cubicBezTo>
                  <a:pt x="67" y="9"/>
                  <a:pt x="71" y="8"/>
                  <a:pt x="74" y="10"/>
                </a:cubicBezTo>
                <a:cubicBezTo>
                  <a:pt x="76" y="13"/>
                  <a:pt x="75" y="15"/>
                  <a:pt x="75" y="16"/>
                </a:cubicBezTo>
                <a:cubicBezTo>
                  <a:pt x="74" y="18"/>
                  <a:pt x="70" y="21"/>
                  <a:pt x="67" y="21"/>
                </a:cubicBezTo>
                <a:cubicBezTo>
                  <a:pt x="67" y="21"/>
                  <a:pt x="63" y="21"/>
                  <a:pt x="59" y="21"/>
                </a:cubicBezTo>
                <a:cubicBezTo>
                  <a:pt x="57" y="23"/>
                  <a:pt x="55" y="25"/>
                  <a:pt x="55" y="25"/>
                </a:cubicBezTo>
                <a:cubicBezTo>
                  <a:pt x="55" y="26"/>
                  <a:pt x="56" y="28"/>
                  <a:pt x="58" y="29"/>
                </a:cubicBezTo>
                <a:cubicBezTo>
                  <a:pt x="67" y="29"/>
                  <a:pt x="67" y="29"/>
                  <a:pt x="67" y="29"/>
                </a:cubicBezTo>
                <a:cubicBezTo>
                  <a:pt x="73" y="29"/>
                  <a:pt x="79" y="25"/>
                  <a:pt x="82" y="20"/>
                </a:cubicBezTo>
                <a:cubicBezTo>
                  <a:pt x="84" y="15"/>
                  <a:pt x="84" y="10"/>
                  <a:pt x="80" y="6"/>
                </a:cubicBezTo>
                <a:cubicBezTo>
                  <a:pt x="78" y="3"/>
                  <a:pt x="75" y="1"/>
                  <a:pt x="71" y="1"/>
                </a:cubicBezTo>
                <a:cubicBezTo>
                  <a:pt x="64" y="0"/>
                  <a:pt x="58" y="5"/>
                  <a:pt x="57" y="6"/>
                </a:cubicBezTo>
                <a:cubicBezTo>
                  <a:pt x="42" y="21"/>
                  <a:pt x="42" y="21"/>
                  <a:pt x="42" y="21"/>
                </a:cubicBezTo>
                <a:cubicBezTo>
                  <a:pt x="27" y="6"/>
                  <a:pt x="27" y="6"/>
                  <a:pt x="27" y="6"/>
                </a:cubicBezTo>
                <a:cubicBezTo>
                  <a:pt x="26" y="5"/>
                  <a:pt x="20" y="0"/>
                  <a:pt x="13" y="1"/>
                </a:cubicBezTo>
                <a:cubicBezTo>
                  <a:pt x="9" y="1"/>
                  <a:pt x="6" y="3"/>
                  <a:pt x="4" y="6"/>
                </a:cubicBezTo>
                <a:cubicBezTo>
                  <a:pt x="0" y="10"/>
                  <a:pt x="0" y="15"/>
                  <a:pt x="2" y="20"/>
                </a:cubicBezTo>
                <a:cubicBezTo>
                  <a:pt x="5" y="25"/>
                  <a:pt x="11" y="29"/>
                  <a:pt x="17" y="29"/>
                </a:cubicBezTo>
                <a:cubicBezTo>
                  <a:pt x="26" y="29"/>
                  <a:pt x="26" y="29"/>
                  <a:pt x="26" y="29"/>
                </a:cubicBezTo>
                <a:cubicBezTo>
                  <a:pt x="28" y="28"/>
                  <a:pt x="29" y="26"/>
                  <a:pt x="29" y="25"/>
                </a:cubicBezTo>
                <a:cubicBezTo>
                  <a:pt x="29" y="25"/>
                  <a:pt x="27" y="23"/>
                  <a:pt x="25" y="21"/>
                </a:cubicBezTo>
                <a:cubicBezTo>
                  <a:pt x="21" y="21"/>
                  <a:pt x="17" y="21"/>
                  <a:pt x="17" y="21"/>
                </a:cubicBezTo>
                <a:cubicBezTo>
                  <a:pt x="14" y="21"/>
                  <a:pt x="10" y="19"/>
                  <a:pt x="9" y="16"/>
                </a:cubicBezTo>
                <a:cubicBezTo>
                  <a:pt x="9" y="14"/>
                  <a:pt x="9" y="12"/>
                  <a:pt x="10" y="11"/>
                </a:cubicBezTo>
                <a:cubicBezTo>
                  <a:pt x="12" y="9"/>
                  <a:pt x="16" y="7"/>
                  <a:pt x="21" y="12"/>
                </a:cubicBezTo>
                <a:cubicBezTo>
                  <a:pt x="21" y="12"/>
                  <a:pt x="23" y="14"/>
                  <a:pt x="26" y="17"/>
                </a:cubicBezTo>
                <a:cubicBezTo>
                  <a:pt x="34" y="25"/>
                  <a:pt x="34" y="25"/>
                  <a:pt x="34" y="25"/>
                </a:cubicBezTo>
                <a:cubicBezTo>
                  <a:pt x="26" y="35"/>
                  <a:pt x="26" y="35"/>
                  <a:pt x="26" y="35"/>
                </a:cubicBezTo>
                <a:cubicBezTo>
                  <a:pt x="37" y="36"/>
                  <a:pt x="37" y="36"/>
                  <a:pt x="37" y="36"/>
                </a:cubicBezTo>
                <a:cubicBezTo>
                  <a:pt x="38" y="34"/>
                  <a:pt x="38" y="34"/>
                  <a:pt x="38" y="34"/>
                </a:cubicBezTo>
                <a:cubicBezTo>
                  <a:pt x="38" y="33"/>
                  <a:pt x="38" y="33"/>
                  <a:pt x="38" y="33"/>
                </a:cubicBezTo>
                <a:lnTo>
                  <a:pt x="42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33" name="Freeform 144"/>
          <p:cNvSpPr>
            <a:spLocks/>
          </p:cNvSpPr>
          <p:nvPr/>
        </p:nvSpPr>
        <p:spPr bwMode="auto">
          <a:xfrm>
            <a:off x="6098117" y="4076701"/>
            <a:ext cx="584200" cy="283633"/>
          </a:xfrm>
          <a:custGeom>
            <a:avLst/>
            <a:gdLst>
              <a:gd name="T0" fmla="*/ 494782017 w 194"/>
              <a:gd name="T1" fmla="*/ 404584846 h 94"/>
              <a:gd name="T2" fmla="*/ 76513638 w 194"/>
              <a:gd name="T3" fmla="*/ 0 h 94"/>
              <a:gd name="T4" fmla="*/ 0 w 194"/>
              <a:gd name="T5" fmla="*/ 0 h 94"/>
              <a:gd name="T6" fmla="*/ 494782017 w 194"/>
              <a:gd name="T7" fmla="*/ 481403464 h 94"/>
              <a:gd name="T8" fmla="*/ 989564034 w 194"/>
              <a:gd name="T9" fmla="*/ 0 h 94"/>
              <a:gd name="T10" fmla="*/ 913050396 w 194"/>
              <a:gd name="T11" fmla="*/ 0 h 94"/>
              <a:gd name="T12" fmla="*/ 494782017 w 194"/>
              <a:gd name="T13" fmla="*/ 404584846 h 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4" h="94">
                <a:moveTo>
                  <a:pt x="97" y="79"/>
                </a:moveTo>
                <a:cubicBezTo>
                  <a:pt x="53" y="79"/>
                  <a:pt x="17" y="44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1" y="52"/>
                  <a:pt x="44" y="94"/>
                  <a:pt x="97" y="94"/>
                </a:cubicBezTo>
                <a:cubicBezTo>
                  <a:pt x="150" y="94"/>
                  <a:pt x="193" y="52"/>
                  <a:pt x="194" y="0"/>
                </a:cubicBezTo>
                <a:cubicBezTo>
                  <a:pt x="179" y="0"/>
                  <a:pt x="179" y="0"/>
                  <a:pt x="179" y="0"/>
                </a:cubicBezTo>
                <a:cubicBezTo>
                  <a:pt x="177" y="44"/>
                  <a:pt x="141" y="79"/>
                  <a:pt x="97" y="7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34" name="Freeform 145"/>
          <p:cNvSpPr>
            <a:spLocks/>
          </p:cNvSpPr>
          <p:nvPr/>
        </p:nvSpPr>
        <p:spPr bwMode="auto">
          <a:xfrm>
            <a:off x="6098117" y="3776134"/>
            <a:ext cx="584200" cy="283633"/>
          </a:xfrm>
          <a:custGeom>
            <a:avLst/>
            <a:gdLst>
              <a:gd name="T0" fmla="*/ 494782017 w 194"/>
              <a:gd name="T1" fmla="*/ 76818618 h 94"/>
              <a:gd name="T2" fmla="*/ 913050396 w 194"/>
              <a:gd name="T3" fmla="*/ 481403464 h 94"/>
              <a:gd name="T4" fmla="*/ 989564034 w 194"/>
              <a:gd name="T5" fmla="*/ 481403464 h 94"/>
              <a:gd name="T6" fmla="*/ 494782017 w 194"/>
              <a:gd name="T7" fmla="*/ 0 h 94"/>
              <a:gd name="T8" fmla="*/ 0 w 194"/>
              <a:gd name="T9" fmla="*/ 481403464 h 94"/>
              <a:gd name="T10" fmla="*/ 76513638 w 194"/>
              <a:gd name="T11" fmla="*/ 481403464 h 94"/>
              <a:gd name="T12" fmla="*/ 494782017 w 194"/>
              <a:gd name="T13" fmla="*/ 76818618 h 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4" h="94">
                <a:moveTo>
                  <a:pt x="97" y="15"/>
                </a:moveTo>
                <a:cubicBezTo>
                  <a:pt x="141" y="15"/>
                  <a:pt x="177" y="50"/>
                  <a:pt x="179" y="94"/>
                </a:cubicBezTo>
                <a:cubicBezTo>
                  <a:pt x="194" y="94"/>
                  <a:pt x="194" y="94"/>
                  <a:pt x="194" y="94"/>
                </a:cubicBezTo>
                <a:cubicBezTo>
                  <a:pt x="193" y="42"/>
                  <a:pt x="150" y="0"/>
                  <a:pt x="97" y="0"/>
                </a:cubicBezTo>
                <a:cubicBezTo>
                  <a:pt x="44" y="0"/>
                  <a:pt x="1" y="42"/>
                  <a:pt x="0" y="94"/>
                </a:cubicBezTo>
                <a:cubicBezTo>
                  <a:pt x="15" y="94"/>
                  <a:pt x="15" y="94"/>
                  <a:pt x="15" y="94"/>
                </a:cubicBezTo>
                <a:cubicBezTo>
                  <a:pt x="17" y="50"/>
                  <a:pt x="53" y="15"/>
                  <a:pt x="97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35" name="Freeform 146"/>
          <p:cNvSpPr>
            <a:spLocks/>
          </p:cNvSpPr>
          <p:nvPr/>
        </p:nvSpPr>
        <p:spPr bwMode="auto">
          <a:xfrm>
            <a:off x="6940551" y="4102100"/>
            <a:ext cx="558800" cy="270933"/>
          </a:xfrm>
          <a:custGeom>
            <a:avLst/>
            <a:gdLst>
              <a:gd name="T0" fmla="*/ 868172410 w 186"/>
              <a:gd name="T1" fmla="*/ 305854382 h 90"/>
              <a:gd name="T2" fmla="*/ 792015631 w 186"/>
              <a:gd name="T3" fmla="*/ 382316284 h 90"/>
              <a:gd name="T4" fmla="*/ 152311305 w 186"/>
              <a:gd name="T5" fmla="*/ 382316284 h 90"/>
              <a:gd name="T6" fmla="*/ 76154526 w 186"/>
              <a:gd name="T7" fmla="*/ 305854382 h 90"/>
              <a:gd name="T8" fmla="*/ 76154526 w 186"/>
              <a:gd name="T9" fmla="*/ 0 h 90"/>
              <a:gd name="T10" fmla="*/ 0 w 186"/>
              <a:gd name="T11" fmla="*/ 0 h 90"/>
              <a:gd name="T12" fmla="*/ 0 w 186"/>
              <a:gd name="T13" fmla="*/ 305854382 h 90"/>
              <a:gd name="T14" fmla="*/ 152311305 w 186"/>
              <a:gd name="T15" fmla="*/ 458780444 h 90"/>
              <a:gd name="T16" fmla="*/ 792015631 w 186"/>
              <a:gd name="T17" fmla="*/ 458780444 h 90"/>
              <a:gd name="T18" fmla="*/ 944326935 w 186"/>
              <a:gd name="T19" fmla="*/ 305854382 h 90"/>
              <a:gd name="T20" fmla="*/ 944326935 w 186"/>
              <a:gd name="T21" fmla="*/ 0 h 90"/>
              <a:gd name="T22" fmla="*/ 868172410 w 186"/>
              <a:gd name="T23" fmla="*/ 0 h 90"/>
              <a:gd name="T24" fmla="*/ 868172410 w 186"/>
              <a:gd name="T25" fmla="*/ 30585438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71" y="60"/>
                </a:moveTo>
                <a:cubicBezTo>
                  <a:pt x="171" y="68"/>
                  <a:pt x="164" y="75"/>
                  <a:pt x="156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22" y="75"/>
                  <a:pt x="15" y="68"/>
                  <a:pt x="15" y="60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77"/>
                  <a:pt x="13" y="90"/>
                  <a:pt x="30" y="90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73" y="90"/>
                  <a:pt x="186" y="77"/>
                  <a:pt x="186" y="60"/>
                </a:cubicBezTo>
                <a:cubicBezTo>
                  <a:pt x="186" y="0"/>
                  <a:pt x="186" y="0"/>
                  <a:pt x="186" y="0"/>
                </a:cubicBezTo>
                <a:cubicBezTo>
                  <a:pt x="171" y="0"/>
                  <a:pt x="171" y="0"/>
                  <a:pt x="171" y="0"/>
                </a:cubicBezTo>
                <a:lnTo>
                  <a:pt x="17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36" name="Freeform 147"/>
          <p:cNvSpPr>
            <a:spLocks/>
          </p:cNvSpPr>
          <p:nvPr/>
        </p:nvSpPr>
        <p:spPr bwMode="auto">
          <a:xfrm>
            <a:off x="6940551" y="3812118"/>
            <a:ext cx="558800" cy="270933"/>
          </a:xfrm>
          <a:custGeom>
            <a:avLst/>
            <a:gdLst>
              <a:gd name="T0" fmla="*/ 76154526 w 186"/>
              <a:gd name="T1" fmla="*/ 152926062 h 90"/>
              <a:gd name="T2" fmla="*/ 152311305 w 186"/>
              <a:gd name="T3" fmla="*/ 76464160 h 90"/>
              <a:gd name="T4" fmla="*/ 792015631 w 186"/>
              <a:gd name="T5" fmla="*/ 76464160 h 90"/>
              <a:gd name="T6" fmla="*/ 868172410 w 186"/>
              <a:gd name="T7" fmla="*/ 152926062 h 90"/>
              <a:gd name="T8" fmla="*/ 868172410 w 186"/>
              <a:gd name="T9" fmla="*/ 458780444 h 90"/>
              <a:gd name="T10" fmla="*/ 944326935 w 186"/>
              <a:gd name="T11" fmla="*/ 458780444 h 90"/>
              <a:gd name="T12" fmla="*/ 944326935 w 186"/>
              <a:gd name="T13" fmla="*/ 152926062 h 90"/>
              <a:gd name="T14" fmla="*/ 792015631 w 186"/>
              <a:gd name="T15" fmla="*/ 0 h 90"/>
              <a:gd name="T16" fmla="*/ 152311305 w 186"/>
              <a:gd name="T17" fmla="*/ 0 h 90"/>
              <a:gd name="T18" fmla="*/ 0 w 186"/>
              <a:gd name="T19" fmla="*/ 152926062 h 90"/>
              <a:gd name="T20" fmla="*/ 0 w 186"/>
              <a:gd name="T21" fmla="*/ 458780444 h 90"/>
              <a:gd name="T22" fmla="*/ 76154526 w 186"/>
              <a:gd name="T23" fmla="*/ 458780444 h 90"/>
              <a:gd name="T24" fmla="*/ 76154526 w 186"/>
              <a:gd name="T25" fmla="*/ 15292606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5" y="30"/>
                </a:moveTo>
                <a:cubicBezTo>
                  <a:pt x="15" y="22"/>
                  <a:pt x="22" y="15"/>
                  <a:pt x="30" y="15"/>
                </a:cubicBezTo>
                <a:cubicBezTo>
                  <a:pt x="156" y="15"/>
                  <a:pt x="156" y="15"/>
                  <a:pt x="156" y="15"/>
                </a:cubicBezTo>
                <a:cubicBezTo>
                  <a:pt x="164" y="15"/>
                  <a:pt x="171" y="22"/>
                  <a:pt x="171" y="30"/>
                </a:cubicBezTo>
                <a:cubicBezTo>
                  <a:pt x="171" y="90"/>
                  <a:pt x="171" y="90"/>
                  <a:pt x="171" y="90"/>
                </a:cubicBezTo>
                <a:cubicBezTo>
                  <a:pt x="186" y="90"/>
                  <a:pt x="186" y="90"/>
                  <a:pt x="186" y="90"/>
                </a:cubicBezTo>
                <a:cubicBezTo>
                  <a:pt x="186" y="30"/>
                  <a:pt x="186" y="30"/>
                  <a:pt x="186" y="30"/>
                </a:cubicBezTo>
                <a:cubicBezTo>
                  <a:pt x="186" y="13"/>
                  <a:pt x="173" y="0"/>
                  <a:pt x="15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3"/>
                  <a:pt x="0" y="30"/>
                </a:cubicBezTo>
                <a:cubicBezTo>
                  <a:pt x="0" y="90"/>
                  <a:pt x="0" y="90"/>
                  <a:pt x="0" y="90"/>
                </a:cubicBezTo>
                <a:cubicBezTo>
                  <a:pt x="15" y="90"/>
                  <a:pt x="15" y="90"/>
                  <a:pt x="15" y="90"/>
                </a:cubicBezTo>
                <a:lnTo>
                  <a:pt x="15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37" name="Freeform 148"/>
          <p:cNvSpPr>
            <a:spLocks/>
          </p:cNvSpPr>
          <p:nvPr/>
        </p:nvSpPr>
        <p:spPr bwMode="auto">
          <a:xfrm>
            <a:off x="7035801" y="3930651"/>
            <a:ext cx="141817" cy="351367"/>
          </a:xfrm>
          <a:custGeom>
            <a:avLst/>
            <a:gdLst>
              <a:gd name="T0" fmla="*/ 0 w 47"/>
              <a:gd name="T1" fmla="*/ 481942178 h 117"/>
              <a:gd name="T2" fmla="*/ 102427569 w 47"/>
              <a:gd name="T3" fmla="*/ 593550646 h 117"/>
              <a:gd name="T4" fmla="*/ 204855138 w 47"/>
              <a:gd name="T5" fmla="*/ 451503914 h 117"/>
              <a:gd name="T6" fmla="*/ 204855138 w 47"/>
              <a:gd name="T7" fmla="*/ 289165757 h 117"/>
              <a:gd name="T8" fmla="*/ 204855138 w 47"/>
              <a:gd name="T9" fmla="*/ 263799787 h 117"/>
              <a:gd name="T10" fmla="*/ 189491342 w 47"/>
              <a:gd name="T11" fmla="*/ 289165757 h 117"/>
              <a:gd name="T12" fmla="*/ 169004018 w 47"/>
              <a:gd name="T13" fmla="*/ 309457182 h 117"/>
              <a:gd name="T14" fmla="*/ 169004018 w 47"/>
              <a:gd name="T15" fmla="*/ 451503914 h 117"/>
              <a:gd name="T16" fmla="*/ 102427569 w 47"/>
              <a:gd name="T17" fmla="*/ 552965544 h 117"/>
              <a:gd name="T18" fmla="*/ 40970122 w 47"/>
              <a:gd name="T19" fmla="*/ 481942178 h 117"/>
              <a:gd name="T20" fmla="*/ 122912630 w 47"/>
              <a:gd name="T21" fmla="*/ 329750860 h 117"/>
              <a:gd name="T22" fmla="*/ 169004018 w 47"/>
              <a:gd name="T23" fmla="*/ 289165757 h 117"/>
              <a:gd name="T24" fmla="*/ 169004018 w 47"/>
              <a:gd name="T25" fmla="*/ 289165757 h 117"/>
              <a:gd name="T26" fmla="*/ 184370077 w 47"/>
              <a:gd name="T27" fmla="*/ 263799787 h 117"/>
              <a:gd name="T28" fmla="*/ 204855138 w 47"/>
              <a:gd name="T29" fmla="*/ 192776421 h 117"/>
              <a:gd name="T30" fmla="*/ 204855138 w 47"/>
              <a:gd name="T31" fmla="*/ 157265864 h 117"/>
              <a:gd name="T32" fmla="*/ 235582730 w 47"/>
              <a:gd name="T33" fmla="*/ 157265864 h 117"/>
              <a:gd name="T34" fmla="*/ 235582730 w 47"/>
              <a:gd name="T35" fmla="*/ 116680762 h 117"/>
              <a:gd name="T36" fmla="*/ 204855138 w 47"/>
              <a:gd name="T37" fmla="*/ 116680762 h 117"/>
              <a:gd name="T38" fmla="*/ 204855138 w 47"/>
              <a:gd name="T39" fmla="*/ 101461630 h 117"/>
              <a:gd name="T40" fmla="*/ 235582730 w 47"/>
              <a:gd name="T41" fmla="*/ 101461630 h 117"/>
              <a:gd name="T42" fmla="*/ 235582730 w 47"/>
              <a:gd name="T43" fmla="*/ 65951073 h 117"/>
              <a:gd name="T44" fmla="*/ 204855138 w 47"/>
              <a:gd name="T45" fmla="*/ 65951073 h 117"/>
              <a:gd name="T46" fmla="*/ 215097669 w 47"/>
              <a:gd name="T47" fmla="*/ 45657396 h 117"/>
              <a:gd name="T48" fmla="*/ 230461464 w 47"/>
              <a:gd name="T49" fmla="*/ 40585102 h 117"/>
              <a:gd name="T50" fmla="*/ 235582730 w 47"/>
              <a:gd name="T51" fmla="*/ 40585102 h 117"/>
              <a:gd name="T52" fmla="*/ 240703995 w 47"/>
              <a:gd name="T53" fmla="*/ 0 h 117"/>
              <a:gd name="T54" fmla="*/ 230461464 w 47"/>
              <a:gd name="T55" fmla="*/ 0 h 117"/>
              <a:gd name="T56" fmla="*/ 189491342 w 47"/>
              <a:gd name="T57" fmla="*/ 15219132 h 117"/>
              <a:gd name="T58" fmla="*/ 169004018 w 47"/>
              <a:gd name="T59" fmla="*/ 76095659 h 117"/>
              <a:gd name="T60" fmla="*/ 169004018 w 47"/>
              <a:gd name="T61" fmla="*/ 197850966 h 117"/>
              <a:gd name="T62" fmla="*/ 138276426 w 47"/>
              <a:gd name="T63" fmla="*/ 263799787 h 117"/>
              <a:gd name="T64" fmla="*/ 117791365 w 47"/>
              <a:gd name="T65" fmla="*/ 289165757 h 117"/>
              <a:gd name="T66" fmla="*/ 97306304 w 47"/>
              <a:gd name="T67" fmla="*/ 304384889 h 117"/>
              <a:gd name="T68" fmla="*/ 0 w 47"/>
              <a:gd name="T69" fmla="*/ 481942178 h 11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47" h="117">
                <a:moveTo>
                  <a:pt x="0" y="95"/>
                </a:moveTo>
                <a:cubicBezTo>
                  <a:pt x="0" y="108"/>
                  <a:pt x="8" y="117"/>
                  <a:pt x="20" y="117"/>
                </a:cubicBezTo>
                <a:cubicBezTo>
                  <a:pt x="27" y="117"/>
                  <a:pt x="40" y="113"/>
                  <a:pt x="40" y="89"/>
                </a:cubicBezTo>
                <a:cubicBezTo>
                  <a:pt x="40" y="89"/>
                  <a:pt x="40" y="73"/>
                  <a:pt x="40" y="57"/>
                </a:cubicBezTo>
                <a:cubicBezTo>
                  <a:pt x="40" y="55"/>
                  <a:pt x="40" y="54"/>
                  <a:pt x="40" y="52"/>
                </a:cubicBezTo>
                <a:cubicBezTo>
                  <a:pt x="39" y="54"/>
                  <a:pt x="38" y="55"/>
                  <a:pt x="37" y="57"/>
                </a:cubicBezTo>
                <a:cubicBezTo>
                  <a:pt x="35" y="59"/>
                  <a:pt x="33" y="61"/>
                  <a:pt x="33" y="61"/>
                </a:cubicBezTo>
                <a:cubicBezTo>
                  <a:pt x="33" y="76"/>
                  <a:pt x="33" y="89"/>
                  <a:pt x="33" y="89"/>
                </a:cubicBezTo>
                <a:cubicBezTo>
                  <a:pt x="33" y="102"/>
                  <a:pt x="28" y="109"/>
                  <a:pt x="20" y="109"/>
                </a:cubicBezTo>
                <a:cubicBezTo>
                  <a:pt x="9" y="109"/>
                  <a:pt x="8" y="99"/>
                  <a:pt x="8" y="95"/>
                </a:cubicBezTo>
                <a:cubicBezTo>
                  <a:pt x="8" y="81"/>
                  <a:pt x="16" y="74"/>
                  <a:pt x="24" y="65"/>
                </a:cubicBezTo>
                <a:cubicBezTo>
                  <a:pt x="27" y="63"/>
                  <a:pt x="30" y="60"/>
                  <a:pt x="33" y="57"/>
                </a:cubicBezTo>
                <a:cubicBezTo>
                  <a:pt x="33" y="57"/>
                  <a:pt x="33" y="57"/>
                  <a:pt x="33" y="57"/>
                </a:cubicBezTo>
                <a:cubicBezTo>
                  <a:pt x="33" y="56"/>
                  <a:pt x="35" y="54"/>
                  <a:pt x="36" y="52"/>
                </a:cubicBezTo>
                <a:cubicBezTo>
                  <a:pt x="38" y="49"/>
                  <a:pt x="40" y="44"/>
                  <a:pt x="40" y="38"/>
                </a:cubicBezTo>
                <a:cubicBezTo>
                  <a:pt x="40" y="35"/>
                  <a:pt x="40" y="33"/>
                  <a:pt x="40" y="31"/>
                </a:cubicBezTo>
                <a:cubicBezTo>
                  <a:pt x="46" y="31"/>
                  <a:pt x="46" y="31"/>
                  <a:pt x="46" y="31"/>
                </a:cubicBezTo>
                <a:cubicBezTo>
                  <a:pt x="46" y="23"/>
                  <a:pt x="46" y="23"/>
                  <a:pt x="46" y="23"/>
                </a:cubicBezTo>
                <a:cubicBezTo>
                  <a:pt x="40" y="23"/>
                  <a:pt x="40" y="23"/>
                  <a:pt x="40" y="23"/>
                </a:cubicBezTo>
                <a:cubicBezTo>
                  <a:pt x="40" y="22"/>
                  <a:pt x="40" y="21"/>
                  <a:pt x="40" y="20"/>
                </a:cubicBezTo>
                <a:cubicBezTo>
                  <a:pt x="46" y="20"/>
                  <a:pt x="46" y="20"/>
                  <a:pt x="46" y="20"/>
                </a:cubicBezTo>
                <a:cubicBezTo>
                  <a:pt x="46" y="13"/>
                  <a:pt x="46" y="13"/>
                  <a:pt x="46" y="13"/>
                </a:cubicBezTo>
                <a:cubicBezTo>
                  <a:pt x="40" y="13"/>
                  <a:pt x="40" y="13"/>
                  <a:pt x="40" y="13"/>
                </a:cubicBezTo>
                <a:cubicBezTo>
                  <a:pt x="40" y="12"/>
                  <a:pt x="41" y="10"/>
                  <a:pt x="42" y="9"/>
                </a:cubicBezTo>
                <a:cubicBezTo>
                  <a:pt x="43" y="8"/>
                  <a:pt x="45" y="8"/>
                  <a:pt x="45" y="8"/>
                </a:cubicBezTo>
                <a:cubicBezTo>
                  <a:pt x="46" y="8"/>
                  <a:pt x="46" y="8"/>
                  <a:pt x="46" y="8"/>
                </a:cubicBezTo>
                <a:cubicBezTo>
                  <a:pt x="47" y="0"/>
                  <a:pt x="47" y="0"/>
                  <a:pt x="47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4" y="0"/>
                  <a:pt x="40" y="0"/>
                  <a:pt x="37" y="3"/>
                </a:cubicBezTo>
                <a:cubicBezTo>
                  <a:pt x="34" y="6"/>
                  <a:pt x="33" y="10"/>
                  <a:pt x="33" y="15"/>
                </a:cubicBezTo>
                <a:cubicBezTo>
                  <a:pt x="33" y="15"/>
                  <a:pt x="33" y="28"/>
                  <a:pt x="33" y="39"/>
                </a:cubicBezTo>
                <a:cubicBezTo>
                  <a:pt x="32" y="44"/>
                  <a:pt x="30" y="48"/>
                  <a:pt x="27" y="52"/>
                </a:cubicBezTo>
                <a:cubicBezTo>
                  <a:pt x="26" y="54"/>
                  <a:pt x="24" y="55"/>
                  <a:pt x="23" y="57"/>
                </a:cubicBezTo>
                <a:cubicBezTo>
                  <a:pt x="21" y="58"/>
                  <a:pt x="20" y="59"/>
                  <a:pt x="19" y="60"/>
                </a:cubicBezTo>
                <a:cubicBezTo>
                  <a:pt x="10" y="69"/>
                  <a:pt x="0" y="78"/>
                  <a:pt x="0" y="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38" name="Freeform 149"/>
          <p:cNvSpPr>
            <a:spLocks/>
          </p:cNvSpPr>
          <p:nvPr/>
        </p:nvSpPr>
        <p:spPr bwMode="auto">
          <a:xfrm>
            <a:off x="7183967" y="4002618"/>
            <a:ext cx="220133" cy="273049"/>
          </a:xfrm>
          <a:custGeom>
            <a:avLst/>
            <a:gdLst>
              <a:gd name="T0" fmla="*/ 332477475 w 73"/>
              <a:gd name="T1" fmla="*/ 0 h 91"/>
              <a:gd name="T2" fmla="*/ 332477475 w 73"/>
              <a:gd name="T3" fmla="*/ 60772230 h 91"/>
              <a:gd name="T4" fmla="*/ 306902807 w 73"/>
              <a:gd name="T5" fmla="*/ 86093805 h 91"/>
              <a:gd name="T6" fmla="*/ 66494590 w 73"/>
              <a:gd name="T7" fmla="*/ 86093805 h 91"/>
              <a:gd name="T8" fmla="*/ 40919922 w 73"/>
              <a:gd name="T9" fmla="*/ 60772230 h 91"/>
              <a:gd name="T10" fmla="*/ 40919922 w 73"/>
              <a:gd name="T11" fmla="*/ 0 h 91"/>
              <a:gd name="T12" fmla="*/ 0 w 73"/>
              <a:gd name="T13" fmla="*/ 0 h 91"/>
              <a:gd name="T14" fmla="*/ 0 w 73"/>
              <a:gd name="T15" fmla="*/ 141802620 h 91"/>
              <a:gd name="T16" fmla="*/ 0 w 73"/>
              <a:gd name="T17" fmla="*/ 167124195 h 91"/>
              <a:gd name="T18" fmla="*/ 0 w 73"/>
              <a:gd name="T19" fmla="*/ 410213115 h 91"/>
              <a:gd name="T20" fmla="*/ 56265175 w 73"/>
              <a:gd name="T21" fmla="*/ 460856265 h 91"/>
              <a:gd name="T22" fmla="*/ 317132222 w 73"/>
              <a:gd name="T23" fmla="*/ 460856265 h 91"/>
              <a:gd name="T24" fmla="*/ 373397397 w 73"/>
              <a:gd name="T25" fmla="*/ 410213115 h 91"/>
              <a:gd name="T26" fmla="*/ 373397397 w 73"/>
              <a:gd name="T27" fmla="*/ 167124195 h 91"/>
              <a:gd name="T28" fmla="*/ 373397397 w 73"/>
              <a:gd name="T29" fmla="*/ 141802620 h 91"/>
              <a:gd name="T30" fmla="*/ 373397397 w 73"/>
              <a:gd name="T31" fmla="*/ 0 h 91"/>
              <a:gd name="T32" fmla="*/ 332477475 w 73"/>
              <a:gd name="T33" fmla="*/ 0 h 9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73" h="91">
                <a:moveTo>
                  <a:pt x="65" y="0"/>
                </a:moveTo>
                <a:cubicBezTo>
                  <a:pt x="65" y="12"/>
                  <a:pt x="65" y="12"/>
                  <a:pt x="65" y="12"/>
                </a:cubicBezTo>
                <a:cubicBezTo>
                  <a:pt x="65" y="14"/>
                  <a:pt x="63" y="17"/>
                  <a:pt x="60" y="17"/>
                </a:cubicBezTo>
                <a:cubicBezTo>
                  <a:pt x="13" y="17"/>
                  <a:pt x="13" y="17"/>
                  <a:pt x="13" y="17"/>
                </a:cubicBezTo>
                <a:cubicBezTo>
                  <a:pt x="10" y="17"/>
                  <a:pt x="8" y="14"/>
                  <a:pt x="8" y="12"/>
                </a:cubicBezTo>
                <a:cubicBezTo>
                  <a:pt x="8" y="0"/>
                  <a:pt x="8" y="0"/>
                  <a:pt x="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81"/>
                  <a:pt x="0" y="81"/>
                  <a:pt x="0" y="81"/>
                </a:cubicBezTo>
                <a:cubicBezTo>
                  <a:pt x="0" y="86"/>
                  <a:pt x="5" y="91"/>
                  <a:pt x="11" y="91"/>
                </a:cubicBezTo>
                <a:cubicBezTo>
                  <a:pt x="62" y="91"/>
                  <a:pt x="62" y="91"/>
                  <a:pt x="62" y="91"/>
                </a:cubicBezTo>
                <a:cubicBezTo>
                  <a:pt x="68" y="91"/>
                  <a:pt x="73" y="86"/>
                  <a:pt x="73" y="81"/>
                </a:cubicBezTo>
                <a:cubicBezTo>
                  <a:pt x="73" y="33"/>
                  <a:pt x="73" y="33"/>
                  <a:pt x="73" y="33"/>
                </a:cubicBezTo>
                <a:cubicBezTo>
                  <a:pt x="73" y="28"/>
                  <a:pt x="73" y="28"/>
                  <a:pt x="73" y="28"/>
                </a:cubicBezTo>
                <a:cubicBezTo>
                  <a:pt x="73" y="0"/>
                  <a:pt x="73" y="0"/>
                  <a:pt x="73" y="0"/>
                </a:cubicBezTo>
                <a:lnTo>
                  <a:pt x="6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39" name="Freeform 150"/>
          <p:cNvSpPr>
            <a:spLocks/>
          </p:cNvSpPr>
          <p:nvPr/>
        </p:nvSpPr>
        <p:spPr bwMode="auto">
          <a:xfrm>
            <a:off x="7183967" y="3903134"/>
            <a:ext cx="220133" cy="91017"/>
          </a:xfrm>
          <a:custGeom>
            <a:avLst/>
            <a:gdLst>
              <a:gd name="T0" fmla="*/ 317132222 w 73"/>
              <a:gd name="T1" fmla="*/ 0 h 30"/>
              <a:gd name="T2" fmla="*/ 56265175 w 73"/>
              <a:gd name="T3" fmla="*/ 0 h 30"/>
              <a:gd name="T4" fmla="*/ 0 w 73"/>
              <a:gd name="T5" fmla="*/ 56954096 h 30"/>
              <a:gd name="T6" fmla="*/ 0 w 73"/>
              <a:gd name="T7" fmla="*/ 155327906 h 30"/>
              <a:gd name="T8" fmla="*/ 40919922 w 73"/>
              <a:gd name="T9" fmla="*/ 155327906 h 30"/>
              <a:gd name="T10" fmla="*/ 40919922 w 73"/>
              <a:gd name="T11" fmla="*/ 93197198 h 30"/>
              <a:gd name="T12" fmla="*/ 66494590 w 73"/>
              <a:gd name="T13" fmla="*/ 67309593 h 30"/>
              <a:gd name="T14" fmla="*/ 306902807 w 73"/>
              <a:gd name="T15" fmla="*/ 67309593 h 30"/>
              <a:gd name="T16" fmla="*/ 332477475 w 73"/>
              <a:gd name="T17" fmla="*/ 93197198 h 30"/>
              <a:gd name="T18" fmla="*/ 332477475 w 73"/>
              <a:gd name="T19" fmla="*/ 155327906 h 30"/>
              <a:gd name="T20" fmla="*/ 373397397 w 73"/>
              <a:gd name="T21" fmla="*/ 155327906 h 30"/>
              <a:gd name="T22" fmla="*/ 373397397 w 73"/>
              <a:gd name="T23" fmla="*/ 56954096 h 30"/>
              <a:gd name="T24" fmla="*/ 317132222 w 73"/>
              <a:gd name="T25" fmla="*/ 0 h 3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73" h="30">
                <a:moveTo>
                  <a:pt x="62" y="0"/>
                </a:moveTo>
                <a:cubicBezTo>
                  <a:pt x="11" y="0"/>
                  <a:pt x="11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30"/>
                  <a:pt x="0" y="30"/>
                  <a:pt x="0" y="30"/>
                </a:cubicBezTo>
                <a:cubicBezTo>
                  <a:pt x="8" y="30"/>
                  <a:pt x="8" y="30"/>
                  <a:pt x="8" y="30"/>
                </a:cubicBezTo>
                <a:cubicBezTo>
                  <a:pt x="8" y="18"/>
                  <a:pt x="8" y="18"/>
                  <a:pt x="8" y="18"/>
                </a:cubicBezTo>
                <a:cubicBezTo>
                  <a:pt x="8" y="15"/>
                  <a:pt x="10" y="13"/>
                  <a:pt x="13" y="13"/>
                </a:cubicBezTo>
                <a:cubicBezTo>
                  <a:pt x="60" y="13"/>
                  <a:pt x="60" y="13"/>
                  <a:pt x="60" y="13"/>
                </a:cubicBezTo>
                <a:cubicBezTo>
                  <a:pt x="63" y="13"/>
                  <a:pt x="65" y="15"/>
                  <a:pt x="65" y="18"/>
                </a:cubicBezTo>
                <a:cubicBezTo>
                  <a:pt x="65" y="30"/>
                  <a:pt x="65" y="30"/>
                  <a:pt x="65" y="30"/>
                </a:cubicBezTo>
                <a:cubicBezTo>
                  <a:pt x="73" y="30"/>
                  <a:pt x="73" y="30"/>
                  <a:pt x="73" y="30"/>
                </a:cubicBezTo>
                <a:cubicBezTo>
                  <a:pt x="73" y="11"/>
                  <a:pt x="73" y="11"/>
                  <a:pt x="73" y="11"/>
                </a:cubicBezTo>
                <a:cubicBezTo>
                  <a:pt x="73" y="5"/>
                  <a:pt x="68" y="0"/>
                  <a:pt x="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0" name="Freeform 151"/>
          <p:cNvSpPr>
            <a:spLocks/>
          </p:cNvSpPr>
          <p:nvPr/>
        </p:nvSpPr>
        <p:spPr bwMode="auto">
          <a:xfrm>
            <a:off x="9635067" y="4038601"/>
            <a:ext cx="158751" cy="148167"/>
          </a:xfrm>
          <a:custGeom>
            <a:avLst/>
            <a:gdLst>
              <a:gd name="T0" fmla="*/ 121118522 w 53"/>
              <a:gd name="T1" fmla="*/ 92576196 h 49"/>
              <a:gd name="T2" fmla="*/ 131211919 w 53"/>
              <a:gd name="T3" fmla="*/ 113150196 h 49"/>
              <a:gd name="T4" fmla="*/ 45419165 w 53"/>
              <a:gd name="T5" fmla="*/ 87434964 h 49"/>
              <a:gd name="T6" fmla="*/ 20186795 w 53"/>
              <a:gd name="T7" fmla="*/ 0 h 49"/>
              <a:gd name="T8" fmla="*/ 0 w 53"/>
              <a:gd name="T9" fmla="*/ 97719696 h 49"/>
              <a:gd name="T10" fmla="*/ 40373589 w 53"/>
              <a:gd name="T11" fmla="*/ 221156893 h 49"/>
              <a:gd name="T12" fmla="*/ 65605959 w 53"/>
              <a:gd name="T13" fmla="*/ 252015625 h 49"/>
              <a:gd name="T14" fmla="*/ 267471660 w 53"/>
              <a:gd name="T15" fmla="*/ 51432732 h 49"/>
              <a:gd name="T16" fmla="*/ 222052495 w 53"/>
              <a:gd name="T17" fmla="*/ 66860964 h 49"/>
              <a:gd name="T18" fmla="*/ 121118522 w 53"/>
              <a:gd name="T19" fmla="*/ 92576196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3" h="49">
                <a:moveTo>
                  <a:pt x="24" y="18"/>
                </a:moveTo>
                <a:cubicBezTo>
                  <a:pt x="26" y="22"/>
                  <a:pt x="26" y="22"/>
                  <a:pt x="26" y="22"/>
                </a:cubicBezTo>
                <a:cubicBezTo>
                  <a:pt x="26" y="22"/>
                  <a:pt x="17" y="23"/>
                  <a:pt x="9" y="17"/>
                </a:cubicBezTo>
                <a:cubicBezTo>
                  <a:pt x="2" y="11"/>
                  <a:pt x="4" y="0"/>
                  <a:pt x="4" y="0"/>
                </a:cubicBezTo>
                <a:cubicBezTo>
                  <a:pt x="4" y="0"/>
                  <a:pt x="0" y="6"/>
                  <a:pt x="0" y="19"/>
                </a:cubicBezTo>
                <a:cubicBezTo>
                  <a:pt x="0" y="27"/>
                  <a:pt x="2" y="36"/>
                  <a:pt x="8" y="43"/>
                </a:cubicBezTo>
                <a:cubicBezTo>
                  <a:pt x="10" y="45"/>
                  <a:pt x="11" y="47"/>
                  <a:pt x="13" y="49"/>
                </a:cubicBezTo>
                <a:cubicBezTo>
                  <a:pt x="53" y="10"/>
                  <a:pt x="53" y="10"/>
                  <a:pt x="53" y="10"/>
                </a:cubicBezTo>
                <a:cubicBezTo>
                  <a:pt x="50" y="11"/>
                  <a:pt x="46" y="12"/>
                  <a:pt x="44" y="13"/>
                </a:cubicBezTo>
                <a:cubicBezTo>
                  <a:pt x="33" y="17"/>
                  <a:pt x="24" y="18"/>
                  <a:pt x="24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1" name="Freeform 152"/>
          <p:cNvSpPr>
            <a:spLocks/>
          </p:cNvSpPr>
          <p:nvPr/>
        </p:nvSpPr>
        <p:spPr bwMode="auto">
          <a:xfrm>
            <a:off x="9730318" y="4108451"/>
            <a:ext cx="247649" cy="150283"/>
          </a:xfrm>
          <a:custGeom>
            <a:avLst/>
            <a:gdLst>
              <a:gd name="T0" fmla="*/ 241140988 w 82"/>
              <a:gd name="T1" fmla="*/ 254082153 h 50"/>
              <a:gd name="T2" fmla="*/ 210356213 w 82"/>
              <a:gd name="T3" fmla="*/ 91470296 h 50"/>
              <a:gd name="T4" fmla="*/ 220617050 w 82"/>
              <a:gd name="T5" fmla="*/ 86386985 h 50"/>
              <a:gd name="T6" fmla="*/ 225747468 w 82"/>
              <a:gd name="T7" fmla="*/ 96551353 h 50"/>
              <a:gd name="T8" fmla="*/ 266793080 w 82"/>
              <a:gd name="T9" fmla="*/ 249001096 h 50"/>
              <a:gd name="T10" fmla="*/ 420712426 w 82"/>
              <a:gd name="T11" fmla="*/ 172776225 h 50"/>
              <a:gd name="T12" fmla="*/ 364275559 w 82"/>
              <a:gd name="T13" fmla="*/ 152449743 h 50"/>
              <a:gd name="T14" fmla="*/ 420712426 w 82"/>
              <a:gd name="T15" fmla="*/ 116877836 h 50"/>
              <a:gd name="T16" fmla="*/ 205225794 w 82"/>
              <a:gd name="T17" fmla="*/ 0 h 50"/>
              <a:gd name="T18" fmla="*/ 0 w 82"/>
              <a:gd name="T19" fmla="*/ 203264821 h 50"/>
              <a:gd name="T20" fmla="*/ 241140988 w 82"/>
              <a:gd name="T21" fmla="*/ 254082153 h 5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82" h="50">
                <a:moveTo>
                  <a:pt x="47" y="50"/>
                </a:moveTo>
                <a:cubicBezTo>
                  <a:pt x="32" y="36"/>
                  <a:pt x="41" y="18"/>
                  <a:pt x="41" y="18"/>
                </a:cubicBezTo>
                <a:cubicBezTo>
                  <a:pt x="41" y="17"/>
                  <a:pt x="42" y="17"/>
                  <a:pt x="43" y="17"/>
                </a:cubicBezTo>
                <a:cubicBezTo>
                  <a:pt x="44" y="18"/>
                  <a:pt x="44" y="19"/>
                  <a:pt x="44" y="19"/>
                </a:cubicBezTo>
                <a:cubicBezTo>
                  <a:pt x="43" y="20"/>
                  <a:pt x="35" y="37"/>
                  <a:pt x="52" y="49"/>
                </a:cubicBezTo>
                <a:cubicBezTo>
                  <a:pt x="73" y="47"/>
                  <a:pt x="82" y="34"/>
                  <a:pt x="82" y="34"/>
                </a:cubicBezTo>
                <a:cubicBezTo>
                  <a:pt x="71" y="30"/>
                  <a:pt x="71" y="30"/>
                  <a:pt x="71" y="30"/>
                </a:cubicBezTo>
                <a:cubicBezTo>
                  <a:pt x="82" y="23"/>
                  <a:pt x="82" y="23"/>
                  <a:pt x="82" y="23"/>
                </a:cubicBezTo>
                <a:cubicBezTo>
                  <a:pt x="68" y="7"/>
                  <a:pt x="50" y="2"/>
                  <a:pt x="40" y="0"/>
                </a:cubicBezTo>
                <a:cubicBezTo>
                  <a:pt x="0" y="40"/>
                  <a:pt x="0" y="40"/>
                  <a:pt x="0" y="40"/>
                </a:cubicBezTo>
                <a:cubicBezTo>
                  <a:pt x="17" y="49"/>
                  <a:pt x="34" y="50"/>
                  <a:pt x="47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2" name="Freeform 153"/>
          <p:cNvSpPr>
            <a:spLocks/>
          </p:cNvSpPr>
          <p:nvPr/>
        </p:nvSpPr>
        <p:spPr bwMode="auto">
          <a:xfrm>
            <a:off x="9643534" y="3953933"/>
            <a:ext cx="122767" cy="112184"/>
          </a:xfrm>
          <a:custGeom>
            <a:avLst/>
            <a:gdLst>
              <a:gd name="T0" fmla="*/ 105908707 w 41"/>
              <a:gd name="T1" fmla="*/ 124105824 h 37"/>
              <a:gd name="T2" fmla="*/ 196690166 w 41"/>
              <a:gd name="T3" fmla="*/ 139619052 h 37"/>
              <a:gd name="T4" fmla="*/ 166428931 w 41"/>
              <a:gd name="T5" fmla="*/ 77566140 h 37"/>
              <a:gd name="T6" fmla="*/ 206775747 w 41"/>
              <a:gd name="T7" fmla="*/ 0 h 37"/>
              <a:gd name="T8" fmla="*/ 40346816 w 41"/>
              <a:gd name="T9" fmla="*/ 82737216 h 37"/>
              <a:gd name="T10" fmla="*/ 20173408 w 41"/>
              <a:gd name="T11" fmla="*/ 191329812 h 37"/>
              <a:gd name="T12" fmla="*/ 105908707 w 41"/>
              <a:gd name="T13" fmla="*/ 124105824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37">
                <a:moveTo>
                  <a:pt x="21" y="24"/>
                </a:moveTo>
                <a:cubicBezTo>
                  <a:pt x="30" y="23"/>
                  <a:pt x="39" y="27"/>
                  <a:pt x="39" y="27"/>
                </a:cubicBezTo>
                <a:cubicBezTo>
                  <a:pt x="33" y="15"/>
                  <a:pt x="33" y="15"/>
                  <a:pt x="33" y="15"/>
                </a:cubicBezTo>
                <a:cubicBezTo>
                  <a:pt x="41" y="0"/>
                  <a:pt x="41" y="0"/>
                  <a:pt x="41" y="0"/>
                </a:cubicBezTo>
                <a:cubicBezTo>
                  <a:pt x="41" y="0"/>
                  <a:pt x="19" y="1"/>
                  <a:pt x="8" y="16"/>
                </a:cubicBezTo>
                <a:cubicBezTo>
                  <a:pt x="0" y="26"/>
                  <a:pt x="4" y="37"/>
                  <a:pt x="4" y="37"/>
                </a:cubicBezTo>
                <a:cubicBezTo>
                  <a:pt x="7" y="29"/>
                  <a:pt x="14" y="25"/>
                  <a:pt x="21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3" name="Freeform 154"/>
          <p:cNvSpPr>
            <a:spLocks/>
          </p:cNvSpPr>
          <p:nvPr/>
        </p:nvSpPr>
        <p:spPr bwMode="auto">
          <a:xfrm>
            <a:off x="9977967" y="3932767"/>
            <a:ext cx="50800" cy="213784"/>
          </a:xfrm>
          <a:custGeom>
            <a:avLst/>
            <a:gdLst>
              <a:gd name="T0" fmla="*/ 45206771 w 17"/>
              <a:gd name="T1" fmla="*/ 336590111 h 71"/>
              <a:gd name="T2" fmla="*/ 20092147 w 17"/>
              <a:gd name="T3" fmla="*/ 300891194 h 71"/>
              <a:gd name="T4" fmla="*/ 35159576 w 17"/>
              <a:gd name="T5" fmla="*/ 300891194 h 71"/>
              <a:gd name="T6" fmla="*/ 0 w 17"/>
              <a:gd name="T7" fmla="*/ 239691760 h 71"/>
              <a:gd name="T8" fmla="*/ 0 w 17"/>
              <a:gd name="T9" fmla="*/ 311089594 h 71"/>
              <a:gd name="T10" fmla="*/ 15069671 w 17"/>
              <a:gd name="T11" fmla="*/ 351887711 h 71"/>
              <a:gd name="T12" fmla="*/ 45206771 w 17"/>
              <a:gd name="T13" fmla="*/ 362088370 h 71"/>
              <a:gd name="T14" fmla="*/ 85388824 w 17"/>
              <a:gd name="T15" fmla="*/ 311089594 h 71"/>
              <a:gd name="T16" fmla="*/ 85388824 w 17"/>
              <a:gd name="T17" fmla="*/ 0 h 71"/>
              <a:gd name="T18" fmla="*/ 60274200 w 17"/>
              <a:gd name="T19" fmla="*/ 20399059 h 71"/>
              <a:gd name="T20" fmla="*/ 60274200 w 17"/>
              <a:gd name="T21" fmla="*/ 311089594 h 71"/>
              <a:gd name="T22" fmla="*/ 45206771 w 17"/>
              <a:gd name="T23" fmla="*/ 336590111 h 7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7" h="71">
                <a:moveTo>
                  <a:pt x="9" y="66"/>
                </a:moveTo>
                <a:cubicBezTo>
                  <a:pt x="4" y="67"/>
                  <a:pt x="4" y="59"/>
                  <a:pt x="4" y="59"/>
                </a:cubicBezTo>
                <a:cubicBezTo>
                  <a:pt x="7" y="59"/>
                  <a:pt x="7" y="59"/>
                  <a:pt x="7" y="59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62"/>
                  <a:pt x="0" y="66"/>
                  <a:pt x="3" y="69"/>
                </a:cubicBezTo>
                <a:cubicBezTo>
                  <a:pt x="4" y="70"/>
                  <a:pt x="7" y="71"/>
                  <a:pt x="9" y="71"/>
                </a:cubicBezTo>
                <a:cubicBezTo>
                  <a:pt x="11" y="71"/>
                  <a:pt x="17" y="70"/>
                  <a:pt x="17" y="61"/>
                </a:cubicBezTo>
                <a:cubicBezTo>
                  <a:pt x="17" y="0"/>
                  <a:pt x="17" y="0"/>
                  <a:pt x="17" y="0"/>
                </a:cubicBezTo>
                <a:cubicBezTo>
                  <a:pt x="12" y="4"/>
                  <a:pt x="12" y="4"/>
                  <a:pt x="12" y="4"/>
                </a:cubicBezTo>
                <a:cubicBezTo>
                  <a:pt x="12" y="61"/>
                  <a:pt x="12" y="61"/>
                  <a:pt x="12" y="61"/>
                </a:cubicBezTo>
                <a:cubicBezTo>
                  <a:pt x="12" y="65"/>
                  <a:pt x="10" y="66"/>
                  <a:pt x="9" y="6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4" name="Freeform 155"/>
          <p:cNvSpPr>
            <a:spLocks/>
          </p:cNvSpPr>
          <p:nvPr/>
        </p:nvSpPr>
        <p:spPr bwMode="auto">
          <a:xfrm>
            <a:off x="9554634" y="3780367"/>
            <a:ext cx="575733" cy="577851"/>
          </a:xfrm>
          <a:custGeom>
            <a:avLst/>
            <a:gdLst>
              <a:gd name="T0" fmla="*/ 799133609 w 192"/>
              <a:gd name="T1" fmla="*/ 117186309 h 192"/>
              <a:gd name="T2" fmla="*/ 171966599 w 192"/>
              <a:gd name="T3" fmla="*/ 754072548 h 192"/>
              <a:gd name="T4" fmla="*/ 156792877 w 192"/>
              <a:gd name="T5" fmla="*/ 733692026 h 192"/>
              <a:gd name="T6" fmla="*/ 75866360 w 192"/>
              <a:gd name="T7" fmla="*/ 489128017 h 192"/>
              <a:gd name="T8" fmla="*/ 485550104 w 192"/>
              <a:gd name="T9" fmla="*/ 76425265 h 192"/>
              <a:gd name="T10" fmla="*/ 728325156 w 192"/>
              <a:gd name="T11" fmla="*/ 157947354 h 192"/>
              <a:gd name="T12" fmla="*/ 733383064 w 192"/>
              <a:gd name="T13" fmla="*/ 157947354 h 192"/>
              <a:gd name="T14" fmla="*/ 783962136 w 192"/>
              <a:gd name="T15" fmla="*/ 106997177 h 192"/>
              <a:gd name="T16" fmla="*/ 485550104 w 192"/>
              <a:gd name="T17" fmla="*/ 0 h 192"/>
              <a:gd name="T18" fmla="*/ 0 w 192"/>
              <a:gd name="T19" fmla="*/ 489128017 h 192"/>
              <a:gd name="T20" fmla="*/ 171966599 w 192"/>
              <a:gd name="T21" fmla="*/ 861069725 h 192"/>
              <a:gd name="T22" fmla="*/ 611995538 w 192"/>
              <a:gd name="T23" fmla="*/ 412702752 h 192"/>
              <a:gd name="T24" fmla="*/ 611995538 w 192"/>
              <a:gd name="T25" fmla="*/ 412702752 h 192"/>
              <a:gd name="T26" fmla="*/ 799133609 w 192"/>
              <a:gd name="T27" fmla="*/ 224183486 h 192"/>
              <a:gd name="T28" fmla="*/ 814307331 w 192"/>
              <a:gd name="T29" fmla="*/ 244564009 h 192"/>
              <a:gd name="T30" fmla="*/ 895233848 w 192"/>
              <a:gd name="T31" fmla="*/ 489128017 h 192"/>
              <a:gd name="T32" fmla="*/ 485550104 w 192"/>
              <a:gd name="T33" fmla="*/ 901830769 h 192"/>
              <a:gd name="T34" fmla="*/ 242775052 w 192"/>
              <a:gd name="T35" fmla="*/ 820308680 h 192"/>
              <a:gd name="T36" fmla="*/ 237717145 w 192"/>
              <a:gd name="T37" fmla="*/ 820308680 h 192"/>
              <a:gd name="T38" fmla="*/ 187138072 w 192"/>
              <a:gd name="T39" fmla="*/ 871258857 h 192"/>
              <a:gd name="T40" fmla="*/ 485550104 w 192"/>
              <a:gd name="T41" fmla="*/ 978256034 h 192"/>
              <a:gd name="T42" fmla="*/ 971100208 w 192"/>
              <a:gd name="T43" fmla="*/ 489128017 h 192"/>
              <a:gd name="T44" fmla="*/ 799133609 w 192"/>
              <a:gd name="T45" fmla="*/ 117186309 h 192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92" h="192">
                <a:moveTo>
                  <a:pt x="158" y="23"/>
                </a:moveTo>
                <a:cubicBezTo>
                  <a:pt x="34" y="148"/>
                  <a:pt x="34" y="148"/>
                  <a:pt x="34" y="148"/>
                </a:cubicBezTo>
                <a:cubicBezTo>
                  <a:pt x="33" y="146"/>
                  <a:pt x="32" y="145"/>
                  <a:pt x="31" y="144"/>
                </a:cubicBezTo>
                <a:cubicBezTo>
                  <a:pt x="21" y="131"/>
                  <a:pt x="15" y="114"/>
                  <a:pt x="15" y="96"/>
                </a:cubicBezTo>
                <a:cubicBezTo>
                  <a:pt x="15" y="51"/>
                  <a:pt x="51" y="15"/>
                  <a:pt x="96" y="15"/>
                </a:cubicBezTo>
                <a:cubicBezTo>
                  <a:pt x="114" y="15"/>
                  <a:pt x="131" y="21"/>
                  <a:pt x="144" y="31"/>
                </a:cubicBezTo>
                <a:cubicBezTo>
                  <a:pt x="144" y="31"/>
                  <a:pt x="144" y="31"/>
                  <a:pt x="145" y="31"/>
                </a:cubicBezTo>
                <a:cubicBezTo>
                  <a:pt x="155" y="21"/>
                  <a:pt x="155" y="21"/>
                  <a:pt x="155" y="21"/>
                </a:cubicBezTo>
                <a:cubicBezTo>
                  <a:pt x="139" y="8"/>
                  <a:pt x="118" y="0"/>
                  <a:pt x="96" y="0"/>
                </a:cubicBezTo>
                <a:cubicBezTo>
                  <a:pt x="43" y="0"/>
                  <a:pt x="0" y="43"/>
                  <a:pt x="0" y="96"/>
                </a:cubicBezTo>
                <a:cubicBezTo>
                  <a:pt x="0" y="125"/>
                  <a:pt x="13" y="151"/>
                  <a:pt x="34" y="169"/>
                </a:cubicBezTo>
                <a:cubicBezTo>
                  <a:pt x="121" y="81"/>
                  <a:pt x="121" y="81"/>
                  <a:pt x="121" y="81"/>
                </a:cubicBezTo>
                <a:cubicBezTo>
                  <a:pt x="121" y="81"/>
                  <a:pt x="121" y="81"/>
                  <a:pt x="121" y="81"/>
                </a:cubicBezTo>
                <a:cubicBezTo>
                  <a:pt x="158" y="44"/>
                  <a:pt x="158" y="44"/>
                  <a:pt x="158" y="44"/>
                </a:cubicBezTo>
                <a:cubicBezTo>
                  <a:pt x="159" y="46"/>
                  <a:pt x="160" y="47"/>
                  <a:pt x="161" y="48"/>
                </a:cubicBezTo>
                <a:cubicBezTo>
                  <a:pt x="171" y="61"/>
                  <a:pt x="177" y="78"/>
                  <a:pt x="177" y="96"/>
                </a:cubicBezTo>
                <a:cubicBezTo>
                  <a:pt x="177" y="141"/>
                  <a:pt x="141" y="177"/>
                  <a:pt x="96" y="177"/>
                </a:cubicBezTo>
                <a:cubicBezTo>
                  <a:pt x="78" y="177"/>
                  <a:pt x="61" y="171"/>
                  <a:pt x="48" y="161"/>
                </a:cubicBezTo>
                <a:cubicBezTo>
                  <a:pt x="48" y="161"/>
                  <a:pt x="47" y="161"/>
                  <a:pt x="47" y="161"/>
                </a:cubicBezTo>
                <a:cubicBezTo>
                  <a:pt x="37" y="171"/>
                  <a:pt x="37" y="171"/>
                  <a:pt x="37" y="171"/>
                </a:cubicBezTo>
                <a:cubicBezTo>
                  <a:pt x="53" y="184"/>
                  <a:pt x="74" y="192"/>
                  <a:pt x="96" y="192"/>
                </a:cubicBezTo>
                <a:cubicBezTo>
                  <a:pt x="149" y="192"/>
                  <a:pt x="192" y="149"/>
                  <a:pt x="192" y="96"/>
                </a:cubicBezTo>
                <a:cubicBezTo>
                  <a:pt x="192" y="67"/>
                  <a:pt x="179" y="41"/>
                  <a:pt x="158" y="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5" name="Freeform 156"/>
          <p:cNvSpPr>
            <a:spLocks/>
          </p:cNvSpPr>
          <p:nvPr/>
        </p:nvSpPr>
        <p:spPr bwMode="auto">
          <a:xfrm>
            <a:off x="10456334" y="3951818"/>
            <a:ext cx="65617" cy="78316"/>
          </a:xfrm>
          <a:custGeom>
            <a:avLst/>
            <a:gdLst>
              <a:gd name="T0" fmla="*/ 0 w 22"/>
              <a:gd name="T1" fmla="*/ 132695919 h 26"/>
              <a:gd name="T2" fmla="*/ 90070975 w 22"/>
              <a:gd name="T3" fmla="*/ 132695919 h 26"/>
              <a:gd name="T4" fmla="*/ 110087244 w 22"/>
              <a:gd name="T5" fmla="*/ 61244618 h 26"/>
              <a:gd name="T6" fmla="*/ 45036606 w 22"/>
              <a:gd name="T7" fmla="*/ 0 h 26"/>
              <a:gd name="T8" fmla="*/ 0 w 22"/>
              <a:gd name="T9" fmla="*/ 132695919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2" h="26">
                <a:moveTo>
                  <a:pt x="0" y="26"/>
                </a:moveTo>
                <a:cubicBezTo>
                  <a:pt x="18" y="26"/>
                  <a:pt x="18" y="26"/>
                  <a:pt x="18" y="26"/>
                </a:cubicBezTo>
                <a:cubicBezTo>
                  <a:pt x="18" y="24"/>
                  <a:pt x="18" y="17"/>
                  <a:pt x="22" y="12"/>
                </a:cubicBezTo>
                <a:cubicBezTo>
                  <a:pt x="9" y="0"/>
                  <a:pt x="9" y="0"/>
                  <a:pt x="9" y="0"/>
                </a:cubicBezTo>
                <a:cubicBezTo>
                  <a:pt x="3" y="6"/>
                  <a:pt x="0" y="15"/>
                  <a:pt x="0" y="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6" name="Freeform 157"/>
          <p:cNvSpPr>
            <a:spLocks/>
          </p:cNvSpPr>
          <p:nvPr/>
        </p:nvSpPr>
        <p:spPr bwMode="auto">
          <a:xfrm>
            <a:off x="10449985" y="4155017"/>
            <a:ext cx="86783" cy="99483"/>
          </a:xfrm>
          <a:custGeom>
            <a:avLst/>
            <a:gdLst>
              <a:gd name="T0" fmla="*/ 95709311 w 29"/>
              <a:gd name="T1" fmla="*/ 0 h 33"/>
              <a:gd name="T2" fmla="*/ 95709311 w 29"/>
              <a:gd name="T3" fmla="*/ 0 h 33"/>
              <a:gd name="T4" fmla="*/ 0 w 29"/>
              <a:gd name="T5" fmla="*/ 0 h 33"/>
              <a:gd name="T6" fmla="*/ 75559274 w 29"/>
              <a:gd name="T7" fmla="*/ 168697732 h 33"/>
              <a:gd name="T8" fmla="*/ 146082161 w 29"/>
              <a:gd name="T9" fmla="*/ 97128997 h 33"/>
              <a:gd name="T10" fmla="*/ 95709311 w 29"/>
              <a:gd name="T11" fmla="*/ 0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9" h="33">
                <a:moveTo>
                  <a:pt x="19" y="0"/>
                </a:moveTo>
                <a:cubicBezTo>
                  <a:pt x="19" y="0"/>
                  <a:pt x="19" y="0"/>
                  <a:pt x="19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9"/>
                  <a:pt x="7" y="28"/>
                  <a:pt x="15" y="33"/>
                </a:cubicBezTo>
                <a:cubicBezTo>
                  <a:pt x="29" y="19"/>
                  <a:pt x="29" y="19"/>
                  <a:pt x="29" y="19"/>
                </a:cubicBezTo>
                <a:cubicBezTo>
                  <a:pt x="20" y="16"/>
                  <a:pt x="19" y="5"/>
                  <a:pt x="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7" name="Freeform 158"/>
          <p:cNvSpPr>
            <a:spLocks/>
          </p:cNvSpPr>
          <p:nvPr/>
        </p:nvSpPr>
        <p:spPr bwMode="auto">
          <a:xfrm>
            <a:off x="10543118" y="4155018"/>
            <a:ext cx="112183" cy="114300"/>
          </a:xfrm>
          <a:custGeom>
            <a:avLst/>
            <a:gdLst>
              <a:gd name="T0" fmla="*/ 20684058 w 37"/>
              <a:gd name="T1" fmla="*/ 193388832 h 38"/>
              <a:gd name="T2" fmla="*/ 191327538 w 37"/>
              <a:gd name="T3" fmla="*/ 5089358 h 38"/>
              <a:gd name="T4" fmla="*/ 191327538 w 37"/>
              <a:gd name="T5" fmla="*/ 0 h 38"/>
              <a:gd name="T6" fmla="*/ 0 w 37"/>
              <a:gd name="T7" fmla="*/ 193388832 h 38"/>
              <a:gd name="T8" fmla="*/ 20684058 w 37"/>
              <a:gd name="T9" fmla="*/ 193388832 h 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7" h="38">
                <a:moveTo>
                  <a:pt x="4" y="38"/>
                </a:moveTo>
                <a:cubicBezTo>
                  <a:pt x="24" y="38"/>
                  <a:pt x="37" y="23"/>
                  <a:pt x="37" y="1"/>
                </a:cubicBezTo>
                <a:cubicBezTo>
                  <a:pt x="37" y="1"/>
                  <a:pt x="37" y="1"/>
                  <a:pt x="37" y="0"/>
                </a:cubicBezTo>
                <a:cubicBezTo>
                  <a:pt x="0" y="38"/>
                  <a:pt x="0" y="38"/>
                  <a:pt x="0" y="38"/>
                </a:cubicBezTo>
                <a:cubicBezTo>
                  <a:pt x="2" y="38"/>
                  <a:pt x="3" y="38"/>
                  <a:pt x="4" y="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8" name="Freeform 159"/>
          <p:cNvSpPr>
            <a:spLocks/>
          </p:cNvSpPr>
          <p:nvPr/>
        </p:nvSpPr>
        <p:spPr bwMode="auto">
          <a:xfrm>
            <a:off x="10528301" y="4047067"/>
            <a:ext cx="114300" cy="107951"/>
          </a:xfrm>
          <a:custGeom>
            <a:avLst/>
            <a:gdLst>
              <a:gd name="T0" fmla="*/ 86516828 w 38"/>
              <a:gd name="T1" fmla="*/ 0 h 36"/>
              <a:gd name="T2" fmla="*/ 15268074 w 38"/>
              <a:gd name="T3" fmla="*/ 25289693 h 36"/>
              <a:gd name="T4" fmla="*/ 0 w 38"/>
              <a:gd name="T5" fmla="*/ 25289693 h 36"/>
              <a:gd name="T6" fmla="*/ 0 w 38"/>
              <a:gd name="T7" fmla="*/ 106214460 h 36"/>
              <a:gd name="T8" fmla="*/ 111961362 w 38"/>
              <a:gd name="T9" fmla="*/ 182083538 h 36"/>
              <a:gd name="T10" fmla="*/ 193388832 w 38"/>
              <a:gd name="T11" fmla="*/ 106214460 h 36"/>
              <a:gd name="T12" fmla="*/ 86516828 w 38"/>
              <a:gd name="T13" fmla="*/ 0 h 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8" h="36">
                <a:moveTo>
                  <a:pt x="17" y="0"/>
                </a:moveTo>
                <a:cubicBezTo>
                  <a:pt x="14" y="5"/>
                  <a:pt x="7" y="5"/>
                  <a:pt x="3" y="5"/>
                </a:cubicBezTo>
                <a:cubicBezTo>
                  <a:pt x="0" y="5"/>
                  <a:pt x="0" y="5"/>
                  <a:pt x="0" y="5"/>
                </a:cubicBezTo>
                <a:cubicBezTo>
                  <a:pt x="0" y="21"/>
                  <a:pt x="0" y="21"/>
                  <a:pt x="0" y="21"/>
                </a:cubicBezTo>
                <a:cubicBezTo>
                  <a:pt x="9" y="21"/>
                  <a:pt x="22" y="22"/>
                  <a:pt x="22" y="36"/>
                </a:cubicBezTo>
                <a:cubicBezTo>
                  <a:pt x="38" y="21"/>
                  <a:pt x="38" y="21"/>
                  <a:pt x="38" y="21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49" name="Freeform 160"/>
          <p:cNvSpPr>
            <a:spLocks/>
          </p:cNvSpPr>
          <p:nvPr/>
        </p:nvSpPr>
        <p:spPr bwMode="auto">
          <a:xfrm>
            <a:off x="10519834" y="3920067"/>
            <a:ext cx="124884" cy="127000"/>
          </a:xfrm>
          <a:custGeom>
            <a:avLst/>
            <a:gdLst>
              <a:gd name="T0" fmla="*/ 208875180 w 42"/>
              <a:gd name="T1" fmla="*/ 159439429 h 42"/>
              <a:gd name="T2" fmla="*/ 59678942 w 42"/>
              <a:gd name="T3" fmla="*/ 0 h 42"/>
              <a:gd name="T4" fmla="*/ 0 w 42"/>
              <a:gd name="T5" fmla="*/ 10287000 h 42"/>
              <a:gd name="T6" fmla="*/ 198929062 w 42"/>
              <a:gd name="T7" fmla="*/ 216013393 h 42"/>
              <a:gd name="T8" fmla="*/ 208875180 w 42"/>
              <a:gd name="T9" fmla="*/ 159439429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2" h="42">
                <a:moveTo>
                  <a:pt x="42" y="31"/>
                </a:moveTo>
                <a:cubicBezTo>
                  <a:pt x="42" y="8"/>
                  <a:pt x="25" y="0"/>
                  <a:pt x="12" y="0"/>
                </a:cubicBezTo>
                <a:cubicBezTo>
                  <a:pt x="8" y="0"/>
                  <a:pt x="4" y="1"/>
                  <a:pt x="0" y="2"/>
                </a:cubicBezTo>
                <a:cubicBezTo>
                  <a:pt x="40" y="42"/>
                  <a:pt x="40" y="42"/>
                  <a:pt x="40" y="42"/>
                </a:cubicBezTo>
                <a:cubicBezTo>
                  <a:pt x="42" y="39"/>
                  <a:pt x="42" y="35"/>
                  <a:pt x="42" y="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0" name="Freeform 161"/>
          <p:cNvSpPr>
            <a:spLocks/>
          </p:cNvSpPr>
          <p:nvPr/>
        </p:nvSpPr>
        <p:spPr bwMode="auto">
          <a:xfrm>
            <a:off x="10805585" y="3953933"/>
            <a:ext cx="86783" cy="298451"/>
          </a:xfrm>
          <a:custGeom>
            <a:avLst/>
            <a:gdLst>
              <a:gd name="T0" fmla="*/ 45336462 w 29"/>
              <a:gd name="T1" fmla="*/ 240268614 h 99"/>
              <a:gd name="T2" fmla="*/ 0 w 29"/>
              <a:gd name="T3" fmla="*/ 439638181 h 99"/>
              <a:gd name="T4" fmla="*/ 65484255 w 29"/>
              <a:gd name="T5" fmla="*/ 506095457 h 99"/>
              <a:gd name="T6" fmla="*/ 146082161 w 29"/>
              <a:gd name="T7" fmla="*/ 240268614 h 99"/>
              <a:gd name="T8" fmla="*/ 90670680 w 29"/>
              <a:gd name="T9" fmla="*/ 0 h 99"/>
              <a:gd name="T10" fmla="*/ 25186425 w 29"/>
              <a:gd name="T11" fmla="*/ 66457276 h 99"/>
              <a:gd name="T12" fmla="*/ 45336462 w 29"/>
              <a:gd name="T13" fmla="*/ 240268614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9" h="99">
                <a:moveTo>
                  <a:pt x="9" y="47"/>
                </a:moveTo>
                <a:cubicBezTo>
                  <a:pt x="9" y="70"/>
                  <a:pt x="7" y="82"/>
                  <a:pt x="0" y="86"/>
                </a:cubicBezTo>
                <a:cubicBezTo>
                  <a:pt x="13" y="99"/>
                  <a:pt x="13" y="99"/>
                  <a:pt x="13" y="99"/>
                </a:cubicBezTo>
                <a:cubicBezTo>
                  <a:pt x="24" y="91"/>
                  <a:pt x="29" y="74"/>
                  <a:pt x="29" y="47"/>
                </a:cubicBezTo>
                <a:cubicBezTo>
                  <a:pt x="29" y="25"/>
                  <a:pt x="25" y="9"/>
                  <a:pt x="18" y="0"/>
                </a:cubicBezTo>
                <a:cubicBezTo>
                  <a:pt x="5" y="13"/>
                  <a:pt x="5" y="13"/>
                  <a:pt x="5" y="13"/>
                </a:cubicBezTo>
                <a:cubicBezTo>
                  <a:pt x="8" y="19"/>
                  <a:pt x="9" y="30"/>
                  <a:pt x="9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1" name="Freeform 162"/>
          <p:cNvSpPr>
            <a:spLocks/>
          </p:cNvSpPr>
          <p:nvPr/>
        </p:nvSpPr>
        <p:spPr bwMode="auto">
          <a:xfrm>
            <a:off x="10691284" y="4159251"/>
            <a:ext cx="110067" cy="110067"/>
          </a:xfrm>
          <a:custGeom>
            <a:avLst/>
            <a:gdLst>
              <a:gd name="T0" fmla="*/ 164265576 w 37"/>
              <a:gd name="T1" fmla="*/ 184175743 h 37"/>
              <a:gd name="T2" fmla="*/ 184175743 w 37"/>
              <a:gd name="T3" fmla="*/ 179198201 h 37"/>
              <a:gd name="T4" fmla="*/ 0 w 37"/>
              <a:gd name="T5" fmla="*/ 0 h 37"/>
              <a:gd name="T6" fmla="*/ 164265576 w 37"/>
              <a:gd name="T7" fmla="*/ 184175743 h 3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37" h="37">
                <a:moveTo>
                  <a:pt x="33" y="37"/>
                </a:moveTo>
                <a:cubicBezTo>
                  <a:pt x="34" y="37"/>
                  <a:pt x="35" y="37"/>
                  <a:pt x="37" y="36"/>
                </a:cubicBezTo>
                <a:cubicBezTo>
                  <a:pt x="0" y="0"/>
                  <a:pt x="0" y="0"/>
                  <a:pt x="0" y="0"/>
                </a:cubicBezTo>
                <a:cubicBezTo>
                  <a:pt x="3" y="25"/>
                  <a:pt x="14" y="37"/>
                  <a:pt x="33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2" name="Freeform 163"/>
          <p:cNvSpPr>
            <a:spLocks/>
          </p:cNvSpPr>
          <p:nvPr/>
        </p:nvSpPr>
        <p:spPr bwMode="auto">
          <a:xfrm>
            <a:off x="10701867" y="4066118"/>
            <a:ext cx="46567" cy="88900"/>
          </a:xfrm>
          <a:custGeom>
            <a:avLst/>
            <a:gdLst>
              <a:gd name="T0" fmla="*/ 81317042 w 15"/>
              <a:gd name="T1" fmla="*/ 0 h 30"/>
              <a:gd name="T2" fmla="*/ 0 w 15"/>
              <a:gd name="T3" fmla="*/ 74093705 h 30"/>
              <a:gd name="T4" fmla="*/ 81317042 w 15"/>
              <a:gd name="T5" fmla="*/ 148185188 h 30"/>
              <a:gd name="T6" fmla="*/ 75896682 w 15"/>
              <a:gd name="T7" fmla="*/ 49395063 h 30"/>
              <a:gd name="T8" fmla="*/ 81317042 w 15"/>
              <a:gd name="T9" fmla="*/ 0 h 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" h="30">
                <a:moveTo>
                  <a:pt x="15" y="0"/>
                </a:moveTo>
                <a:cubicBezTo>
                  <a:pt x="0" y="15"/>
                  <a:pt x="0" y="15"/>
                  <a:pt x="0" y="15"/>
                </a:cubicBezTo>
                <a:cubicBezTo>
                  <a:pt x="15" y="30"/>
                  <a:pt x="15" y="30"/>
                  <a:pt x="15" y="30"/>
                </a:cubicBezTo>
                <a:cubicBezTo>
                  <a:pt x="15" y="24"/>
                  <a:pt x="14" y="18"/>
                  <a:pt x="14" y="10"/>
                </a:cubicBezTo>
                <a:cubicBezTo>
                  <a:pt x="14" y="6"/>
                  <a:pt x="15" y="3"/>
                  <a:pt x="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3" name="Freeform 164"/>
          <p:cNvSpPr>
            <a:spLocks/>
          </p:cNvSpPr>
          <p:nvPr/>
        </p:nvSpPr>
        <p:spPr bwMode="auto">
          <a:xfrm>
            <a:off x="10687051" y="3920067"/>
            <a:ext cx="135467" cy="146051"/>
          </a:xfrm>
          <a:custGeom>
            <a:avLst/>
            <a:gdLst>
              <a:gd name="T0" fmla="*/ 229390222 w 45"/>
              <a:gd name="T1" fmla="*/ 10415238 h 48"/>
              <a:gd name="T2" fmla="*/ 173316053 w 45"/>
              <a:gd name="T3" fmla="*/ 0 h 48"/>
              <a:gd name="T4" fmla="*/ 0 w 45"/>
              <a:gd name="T5" fmla="*/ 249970280 h 48"/>
              <a:gd name="T6" fmla="*/ 229390222 w 45"/>
              <a:gd name="T7" fmla="*/ 10415238 h 4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5" h="48">
                <a:moveTo>
                  <a:pt x="45" y="2"/>
                </a:moveTo>
                <a:cubicBezTo>
                  <a:pt x="42" y="1"/>
                  <a:pt x="38" y="0"/>
                  <a:pt x="34" y="0"/>
                </a:cubicBezTo>
                <a:cubicBezTo>
                  <a:pt x="13" y="0"/>
                  <a:pt x="2" y="15"/>
                  <a:pt x="0" y="48"/>
                </a:cubicBezTo>
                <a:lnTo>
                  <a:pt x="45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4" name="Freeform 165"/>
          <p:cNvSpPr>
            <a:spLocks/>
          </p:cNvSpPr>
          <p:nvPr/>
        </p:nvSpPr>
        <p:spPr bwMode="auto">
          <a:xfrm>
            <a:off x="10390718" y="3826933"/>
            <a:ext cx="565149" cy="567267"/>
          </a:xfrm>
          <a:custGeom>
            <a:avLst/>
            <a:gdLst>
              <a:gd name="T0" fmla="*/ 672881719 w 267"/>
              <a:gd name="T1" fmla="*/ 652721263 h 268"/>
              <a:gd name="T2" fmla="*/ 352821459 w 267"/>
              <a:gd name="T3" fmla="*/ 337700938 h 268"/>
              <a:gd name="T4" fmla="*/ 672881719 w 267"/>
              <a:gd name="T5" fmla="*/ 17641888 h 268"/>
              <a:gd name="T6" fmla="*/ 672881719 w 267"/>
              <a:gd name="T7" fmla="*/ 17641888 h 268"/>
              <a:gd name="T8" fmla="*/ 660280159 w 267"/>
              <a:gd name="T9" fmla="*/ 7561263 h 268"/>
              <a:gd name="T10" fmla="*/ 655239852 w 267"/>
              <a:gd name="T11" fmla="*/ 0 h 268"/>
              <a:gd name="T12" fmla="*/ 335181180 w 267"/>
              <a:gd name="T13" fmla="*/ 320060638 h 268"/>
              <a:gd name="T14" fmla="*/ 17641867 w 267"/>
              <a:gd name="T15" fmla="*/ 0 h 268"/>
              <a:gd name="T16" fmla="*/ 10080613 w 267"/>
              <a:gd name="T17" fmla="*/ 7561263 h 268"/>
              <a:gd name="T18" fmla="*/ 0 w 267"/>
              <a:gd name="T19" fmla="*/ 17641888 h 268"/>
              <a:gd name="T20" fmla="*/ 0 w 267"/>
              <a:gd name="T21" fmla="*/ 17641888 h 268"/>
              <a:gd name="T22" fmla="*/ 317539313 w 267"/>
              <a:gd name="T23" fmla="*/ 337700938 h 268"/>
              <a:gd name="T24" fmla="*/ 0 w 267"/>
              <a:gd name="T25" fmla="*/ 652721263 h 268"/>
              <a:gd name="T26" fmla="*/ 0 w 267"/>
              <a:gd name="T27" fmla="*/ 652721263 h 268"/>
              <a:gd name="T28" fmla="*/ 10080613 w 267"/>
              <a:gd name="T29" fmla="*/ 662801888 h 268"/>
              <a:gd name="T30" fmla="*/ 17641867 w 267"/>
              <a:gd name="T31" fmla="*/ 675401875 h 268"/>
              <a:gd name="T32" fmla="*/ 335181180 w 267"/>
              <a:gd name="T33" fmla="*/ 355342825 h 268"/>
              <a:gd name="T34" fmla="*/ 655239852 w 267"/>
              <a:gd name="T35" fmla="*/ 675401875 h 268"/>
              <a:gd name="T36" fmla="*/ 660280159 w 267"/>
              <a:gd name="T37" fmla="*/ 662801888 h 268"/>
              <a:gd name="T38" fmla="*/ 672881719 w 267"/>
              <a:gd name="T39" fmla="*/ 652721263 h 268"/>
              <a:gd name="T40" fmla="*/ 672881719 w 267"/>
              <a:gd name="T41" fmla="*/ 652721263 h 26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67" h="268">
                <a:moveTo>
                  <a:pt x="267" y="259"/>
                </a:moveTo>
                <a:lnTo>
                  <a:pt x="140" y="134"/>
                </a:lnTo>
                <a:lnTo>
                  <a:pt x="267" y="7"/>
                </a:lnTo>
                <a:lnTo>
                  <a:pt x="262" y="3"/>
                </a:lnTo>
                <a:lnTo>
                  <a:pt x="260" y="0"/>
                </a:lnTo>
                <a:lnTo>
                  <a:pt x="133" y="127"/>
                </a:lnTo>
                <a:lnTo>
                  <a:pt x="7" y="0"/>
                </a:lnTo>
                <a:lnTo>
                  <a:pt x="4" y="3"/>
                </a:lnTo>
                <a:lnTo>
                  <a:pt x="0" y="7"/>
                </a:lnTo>
                <a:lnTo>
                  <a:pt x="126" y="134"/>
                </a:lnTo>
                <a:lnTo>
                  <a:pt x="0" y="259"/>
                </a:lnTo>
                <a:lnTo>
                  <a:pt x="4" y="263"/>
                </a:lnTo>
                <a:lnTo>
                  <a:pt x="7" y="268"/>
                </a:lnTo>
                <a:lnTo>
                  <a:pt x="133" y="141"/>
                </a:lnTo>
                <a:lnTo>
                  <a:pt x="260" y="268"/>
                </a:lnTo>
                <a:lnTo>
                  <a:pt x="262" y="263"/>
                </a:lnTo>
                <a:lnTo>
                  <a:pt x="267" y="2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5" name="Freeform 166"/>
          <p:cNvSpPr>
            <a:spLocks/>
          </p:cNvSpPr>
          <p:nvPr/>
        </p:nvSpPr>
        <p:spPr bwMode="auto">
          <a:xfrm>
            <a:off x="10593917" y="3746501"/>
            <a:ext cx="25400" cy="48684"/>
          </a:xfrm>
          <a:custGeom>
            <a:avLst/>
            <a:gdLst>
              <a:gd name="T0" fmla="*/ 11341894 w 8"/>
              <a:gd name="T1" fmla="*/ 15623000 h 16"/>
              <a:gd name="T2" fmla="*/ 28351163 w 8"/>
              <a:gd name="T3" fmla="*/ 41663615 h 16"/>
              <a:gd name="T4" fmla="*/ 11341894 w 8"/>
              <a:gd name="T5" fmla="*/ 67701948 h 16"/>
              <a:gd name="T6" fmla="*/ 0 w 8"/>
              <a:gd name="T7" fmla="*/ 67701948 h 16"/>
              <a:gd name="T8" fmla="*/ 0 w 8"/>
              <a:gd name="T9" fmla="*/ 83324948 h 16"/>
              <a:gd name="T10" fmla="*/ 11341894 w 8"/>
              <a:gd name="T11" fmla="*/ 83324948 h 16"/>
              <a:gd name="T12" fmla="*/ 45362813 w 8"/>
              <a:gd name="T13" fmla="*/ 36453666 h 16"/>
              <a:gd name="T14" fmla="*/ 11341894 w 8"/>
              <a:gd name="T15" fmla="*/ 0 h 16"/>
              <a:gd name="T16" fmla="*/ 0 w 8"/>
              <a:gd name="T17" fmla="*/ 0 h 16"/>
              <a:gd name="T18" fmla="*/ 0 w 8"/>
              <a:gd name="T19" fmla="*/ 15623000 h 16"/>
              <a:gd name="T20" fmla="*/ 11341894 w 8"/>
              <a:gd name="T21" fmla="*/ 15623000 h 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8" h="16">
                <a:moveTo>
                  <a:pt x="2" y="3"/>
                </a:moveTo>
                <a:cubicBezTo>
                  <a:pt x="3" y="3"/>
                  <a:pt x="5" y="3"/>
                  <a:pt x="5" y="8"/>
                </a:cubicBezTo>
                <a:cubicBezTo>
                  <a:pt x="5" y="10"/>
                  <a:pt x="4" y="13"/>
                  <a:pt x="2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6"/>
                  <a:pt x="0" y="16"/>
                  <a:pt x="0" y="16"/>
                </a:cubicBezTo>
                <a:cubicBezTo>
                  <a:pt x="2" y="16"/>
                  <a:pt x="2" y="16"/>
                  <a:pt x="2" y="16"/>
                </a:cubicBezTo>
                <a:cubicBezTo>
                  <a:pt x="7" y="16"/>
                  <a:pt x="8" y="11"/>
                  <a:pt x="8" y="7"/>
                </a:cubicBezTo>
                <a:cubicBezTo>
                  <a:pt x="8" y="4"/>
                  <a:pt x="7" y="0"/>
                  <a:pt x="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3"/>
                </a:cubicBezTo>
                <a:lnTo>
                  <a:pt x="2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6" name="Freeform 167"/>
          <p:cNvSpPr>
            <a:spLocks/>
          </p:cNvSpPr>
          <p:nvPr/>
        </p:nvSpPr>
        <p:spPr bwMode="auto">
          <a:xfrm>
            <a:off x="10581218" y="3746501"/>
            <a:ext cx="10583" cy="48684"/>
          </a:xfrm>
          <a:custGeom>
            <a:avLst/>
            <a:gdLst>
              <a:gd name="T0" fmla="*/ 12600781 w 5"/>
              <a:gd name="T1" fmla="*/ 45363434 h 23"/>
              <a:gd name="T2" fmla="*/ 12600781 w 5"/>
              <a:gd name="T3" fmla="*/ 45363434 h 23"/>
              <a:gd name="T4" fmla="*/ 12600781 w 5"/>
              <a:gd name="T5" fmla="*/ 10080763 h 23"/>
              <a:gd name="T6" fmla="*/ 12600781 w 5"/>
              <a:gd name="T7" fmla="*/ 10080763 h 23"/>
              <a:gd name="T8" fmla="*/ 12600781 w 5"/>
              <a:gd name="T9" fmla="*/ 0 h 23"/>
              <a:gd name="T10" fmla="*/ 0 w 5"/>
              <a:gd name="T11" fmla="*/ 0 h 23"/>
              <a:gd name="T12" fmla="*/ 0 w 5"/>
              <a:gd name="T13" fmla="*/ 57965181 h 23"/>
              <a:gd name="T14" fmla="*/ 12600781 w 5"/>
              <a:gd name="T15" fmla="*/ 57965181 h 23"/>
              <a:gd name="T16" fmla="*/ 12600781 w 5"/>
              <a:gd name="T17" fmla="*/ 45363434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23">
                <a:moveTo>
                  <a:pt x="5" y="18"/>
                </a:moveTo>
                <a:lnTo>
                  <a:pt x="5" y="18"/>
                </a:lnTo>
                <a:lnTo>
                  <a:pt x="5" y="4"/>
                </a:lnTo>
                <a:lnTo>
                  <a:pt x="5" y="0"/>
                </a:lnTo>
                <a:lnTo>
                  <a:pt x="0" y="0"/>
                </a:lnTo>
                <a:lnTo>
                  <a:pt x="0" y="23"/>
                </a:lnTo>
                <a:lnTo>
                  <a:pt x="5" y="23"/>
                </a:lnTo>
                <a:lnTo>
                  <a:pt x="5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7" name="Freeform 168"/>
          <p:cNvSpPr>
            <a:spLocks/>
          </p:cNvSpPr>
          <p:nvPr/>
        </p:nvSpPr>
        <p:spPr bwMode="auto">
          <a:xfrm>
            <a:off x="10642600" y="3742267"/>
            <a:ext cx="16933" cy="52917"/>
          </a:xfrm>
          <a:custGeom>
            <a:avLst/>
            <a:gdLst>
              <a:gd name="T0" fmla="*/ 13440833 w 6"/>
              <a:gd name="T1" fmla="*/ 49052033 h 17"/>
              <a:gd name="T2" fmla="*/ 0 w 6"/>
              <a:gd name="T3" fmla="*/ 76303682 h 17"/>
              <a:gd name="T4" fmla="*/ 0 w 6"/>
              <a:gd name="T5" fmla="*/ 92655138 h 17"/>
              <a:gd name="T6" fmla="*/ 26881667 w 6"/>
              <a:gd name="T7" fmla="*/ 49052033 h 17"/>
              <a:gd name="T8" fmla="*/ 0 w 6"/>
              <a:gd name="T9" fmla="*/ 0 h 17"/>
              <a:gd name="T10" fmla="*/ 0 w 6"/>
              <a:gd name="T11" fmla="*/ 16351456 h 17"/>
              <a:gd name="T12" fmla="*/ 13440833 w 6"/>
              <a:gd name="T13" fmla="*/ 49052033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" h="17">
                <a:moveTo>
                  <a:pt x="3" y="9"/>
                </a:moveTo>
                <a:cubicBezTo>
                  <a:pt x="3" y="13"/>
                  <a:pt x="2" y="14"/>
                  <a:pt x="0" y="14"/>
                </a:cubicBezTo>
                <a:cubicBezTo>
                  <a:pt x="0" y="17"/>
                  <a:pt x="0" y="17"/>
                  <a:pt x="0" y="17"/>
                </a:cubicBezTo>
                <a:cubicBezTo>
                  <a:pt x="2" y="17"/>
                  <a:pt x="6" y="15"/>
                  <a:pt x="6" y="9"/>
                </a:cubicBezTo>
                <a:cubicBezTo>
                  <a:pt x="6" y="2"/>
                  <a:pt x="2" y="1"/>
                  <a:pt x="0" y="0"/>
                </a:cubicBezTo>
                <a:cubicBezTo>
                  <a:pt x="0" y="3"/>
                  <a:pt x="0" y="3"/>
                  <a:pt x="0" y="3"/>
                </a:cubicBezTo>
                <a:cubicBezTo>
                  <a:pt x="2" y="3"/>
                  <a:pt x="3" y="5"/>
                  <a:pt x="3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8" name="Freeform 169"/>
          <p:cNvSpPr>
            <a:spLocks/>
          </p:cNvSpPr>
          <p:nvPr/>
        </p:nvSpPr>
        <p:spPr bwMode="auto">
          <a:xfrm>
            <a:off x="10621434" y="3742267"/>
            <a:ext cx="16933" cy="52917"/>
          </a:xfrm>
          <a:custGeom>
            <a:avLst/>
            <a:gdLst>
              <a:gd name="T0" fmla="*/ 13440833 w 6"/>
              <a:gd name="T1" fmla="*/ 49052033 h 17"/>
              <a:gd name="T2" fmla="*/ 26881667 w 6"/>
              <a:gd name="T3" fmla="*/ 16351456 h 17"/>
              <a:gd name="T4" fmla="*/ 26881667 w 6"/>
              <a:gd name="T5" fmla="*/ 0 h 17"/>
              <a:gd name="T6" fmla="*/ 0 w 6"/>
              <a:gd name="T7" fmla="*/ 49052033 h 17"/>
              <a:gd name="T8" fmla="*/ 26881667 w 6"/>
              <a:gd name="T9" fmla="*/ 92655138 h 17"/>
              <a:gd name="T10" fmla="*/ 26881667 w 6"/>
              <a:gd name="T11" fmla="*/ 76303682 h 17"/>
              <a:gd name="T12" fmla="*/ 13440833 w 6"/>
              <a:gd name="T13" fmla="*/ 49052033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" h="17">
                <a:moveTo>
                  <a:pt x="3" y="9"/>
                </a:moveTo>
                <a:cubicBezTo>
                  <a:pt x="3" y="5"/>
                  <a:pt x="5" y="3"/>
                  <a:pt x="6" y="3"/>
                </a:cubicBezTo>
                <a:cubicBezTo>
                  <a:pt x="6" y="0"/>
                  <a:pt x="6" y="0"/>
                  <a:pt x="6" y="0"/>
                </a:cubicBezTo>
                <a:cubicBezTo>
                  <a:pt x="4" y="1"/>
                  <a:pt x="0" y="2"/>
                  <a:pt x="0" y="9"/>
                </a:cubicBezTo>
                <a:cubicBezTo>
                  <a:pt x="0" y="15"/>
                  <a:pt x="4" y="17"/>
                  <a:pt x="6" y="17"/>
                </a:cubicBezTo>
                <a:cubicBezTo>
                  <a:pt x="6" y="14"/>
                  <a:pt x="6" y="14"/>
                  <a:pt x="6" y="14"/>
                </a:cubicBezTo>
                <a:cubicBezTo>
                  <a:pt x="5" y="14"/>
                  <a:pt x="3" y="13"/>
                  <a:pt x="3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59" name="Freeform 170"/>
          <p:cNvSpPr>
            <a:spLocks/>
          </p:cNvSpPr>
          <p:nvPr/>
        </p:nvSpPr>
        <p:spPr bwMode="auto">
          <a:xfrm>
            <a:off x="10665884" y="3746501"/>
            <a:ext cx="33867" cy="48684"/>
          </a:xfrm>
          <a:custGeom>
            <a:avLst/>
            <a:gdLst>
              <a:gd name="T0" fmla="*/ 40322500 w 16"/>
              <a:gd name="T1" fmla="*/ 0 h 23"/>
              <a:gd name="T2" fmla="*/ 32762825 w 16"/>
              <a:gd name="T3" fmla="*/ 0 h 23"/>
              <a:gd name="T4" fmla="*/ 32762825 w 16"/>
              <a:gd name="T5" fmla="*/ 40323052 h 23"/>
              <a:gd name="T6" fmla="*/ 32762825 w 16"/>
              <a:gd name="T7" fmla="*/ 40323052 h 23"/>
              <a:gd name="T8" fmla="*/ 12601575 w 16"/>
              <a:gd name="T9" fmla="*/ 0 h 23"/>
              <a:gd name="T10" fmla="*/ 0 w 16"/>
              <a:gd name="T11" fmla="*/ 0 h 23"/>
              <a:gd name="T12" fmla="*/ 0 w 16"/>
              <a:gd name="T13" fmla="*/ 57965181 h 23"/>
              <a:gd name="T14" fmla="*/ 12601575 w 16"/>
              <a:gd name="T15" fmla="*/ 57965181 h 23"/>
              <a:gd name="T16" fmla="*/ 12601575 w 16"/>
              <a:gd name="T17" fmla="*/ 15121145 h 23"/>
              <a:gd name="T18" fmla="*/ 12601575 w 16"/>
              <a:gd name="T19" fmla="*/ 15121145 h 23"/>
              <a:gd name="T20" fmla="*/ 32762825 w 16"/>
              <a:gd name="T21" fmla="*/ 57965181 h 23"/>
              <a:gd name="T22" fmla="*/ 40322500 w 16"/>
              <a:gd name="T23" fmla="*/ 57965181 h 23"/>
              <a:gd name="T24" fmla="*/ 40322500 w 16"/>
              <a:gd name="T25" fmla="*/ 0 h 2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6" h="23">
                <a:moveTo>
                  <a:pt x="16" y="0"/>
                </a:moveTo>
                <a:lnTo>
                  <a:pt x="13" y="0"/>
                </a:lnTo>
                <a:lnTo>
                  <a:pt x="13" y="16"/>
                </a:lnTo>
                <a:lnTo>
                  <a:pt x="5" y="0"/>
                </a:lnTo>
                <a:lnTo>
                  <a:pt x="0" y="0"/>
                </a:lnTo>
                <a:lnTo>
                  <a:pt x="0" y="23"/>
                </a:lnTo>
                <a:lnTo>
                  <a:pt x="5" y="23"/>
                </a:lnTo>
                <a:lnTo>
                  <a:pt x="5" y="6"/>
                </a:lnTo>
                <a:lnTo>
                  <a:pt x="13" y="23"/>
                </a:lnTo>
                <a:lnTo>
                  <a:pt x="16" y="23"/>
                </a:lnTo>
                <a:lnTo>
                  <a:pt x="1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0" name="Freeform 171"/>
          <p:cNvSpPr>
            <a:spLocks/>
          </p:cNvSpPr>
          <p:nvPr/>
        </p:nvSpPr>
        <p:spPr bwMode="auto">
          <a:xfrm>
            <a:off x="10708217" y="3746500"/>
            <a:ext cx="8467" cy="16933"/>
          </a:xfrm>
          <a:custGeom>
            <a:avLst/>
            <a:gdLst>
              <a:gd name="T0" fmla="*/ 0 w 3"/>
              <a:gd name="T1" fmla="*/ 22400683 h 6"/>
              <a:gd name="T2" fmla="*/ 0 w 3"/>
              <a:gd name="T3" fmla="*/ 26881667 h 6"/>
              <a:gd name="T4" fmla="*/ 13440833 w 3"/>
              <a:gd name="T5" fmla="*/ 8959850 h 6"/>
              <a:gd name="T6" fmla="*/ 13440833 w 3"/>
              <a:gd name="T7" fmla="*/ 0 h 6"/>
              <a:gd name="T8" fmla="*/ 0 w 3"/>
              <a:gd name="T9" fmla="*/ 0 h 6"/>
              <a:gd name="T10" fmla="*/ 0 w 3"/>
              <a:gd name="T11" fmla="*/ 13440833 h 6"/>
              <a:gd name="T12" fmla="*/ 8959850 w 3"/>
              <a:gd name="T13" fmla="*/ 13440833 h 6"/>
              <a:gd name="T14" fmla="*/ 0 w 3"/>
              <a:gd name="T15" fmla="*/ 22400683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" h="6">
                <a:moveTo>
                  <a:pt x="0" y="5"/>
                </a:moveTo>
                <a:cubicBezTo>
                  <a:pt x="0" y="6"/>
                  <a:pt x="0" y="6"/>
                  <a:pt x="0" y="6"/>
                </a:cubicBezTo>
                <a:cubicBezTo>
                  <a:pt x="1" y="6"/>
                  <a:pt x="3" y="5"/>
                  <a:pt x="3" y="2"/>
                </a:cubicBezTo>
                <a:cubicBezTo>
                  <a:pt x="3" y="0"/>
                  <a:pt x="3" y="0"/>
                  <a:pt x="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3"/>
                </a:cubicBezTo>
                <a:cubicBezTo>
                  <a:pt x="2" y="3"/>
                  <a:pt x="2" y="3"/>
                  <a:pt x="2" y="3"/>
                </a:cubicBezTo>
                <a:cubicBezTo>
                  <a:pt x="1" y="3"/>
                  <a:pt x="1" y="4"/>
                  <a:pt x="0" y="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1" name="Freeform 172"/>
          <p:cNvSpPr>
            <a:spLocks/>
          </p:cNvSpPr>
          <p:nvPr/>
        </p:nvSpPr>
        <p:spPr bwMode="auto">
          <a:xfrm>
            <a:off x="10729384" y="3746501"/>
            <a:ext cx="33867" cy="48684"/>
          </a:xfrm>
          <a:custGeom>
            <a:avLst/>
            <a:gdLst>
              <a:gd name="T0" fmla="*/ 15120938 w 16"/>
              <a:gd name="T1" fmla="*/ 57965181 h 23"/>
              <a:gd name="T2" fmla="*/ 25201563 w 16"/>
              <a:gd name="T3" fmla="*/ 57965181 h 23"/>
              <a:gd name="T4" fmla="*/ 25201563 w 16"/>
              <a:gd name="T5" fmla="*/ 10080763 h 23"/>
              <a:gd name="T6" fmla="*/ 40322500 w 16"/>
              <a:gd name="T7" fmla="*/ 10080763 h 23"/>
              <a:gd name="T8" fmla="*/ 40322500 w 16"/>
              <a:gd name="T9" fmla="*/ 0 h 23"/>
              <a:gd name="T10" fmla="*/ 0 w 16"/>
              <a:gd name="T11" fmla="*/ 0 h 23"/>
              <a:gd name="T12" fmla="*/ 0 w 16"/>
              <a:gd name="T13" fmla="*/ 10080763 h 23"/>
              <a:gd name="T14" fmla="*/ 15120938 w 16"/>
              <a:gd name="T15" fmla="*/ 10080763 h 23"/>
              <a:gd name="T16" fmla="*/ 15120938 w 16"/>
              <a:gd name="T17" fmla="*/ 57965181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6" h="23">
                <a:moveTo>
                  <a:pt x="6" y="23"/>
                </a:moveTo>
                <a:lnTo>
                  <a:pt x="10" y="23"/>
                </a:lnTo>
                <a:lnTo>
                  <a:pt x="10" y="4"/>
                </a:lnTo>
                <a:lnTo>
                  <a:pt x="16" y="4"/>
                </a:lnTo>
                <a:lnTo>
                  <a:pt x="16" y="0"/>
                </a:lnTo>
                <a:lnTo>
                  <a:pt x="0" y="0"/>
                </a:lnTo>
                <a:lnTo>
                  <a:pt x="0" y="4"/>
                </a:lnTo>
                <a:lnTo>
                  <a:pt x="6" y="4"/>
                </a:lnTo>
                <a:lnTo>
                  <a:pt x="6" y="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2" name="Freeform 173"/>
          <p:cNvSpPr>
            <a:spLocks/>
          </p:cNvSpPr>
          <p:nvPr/>
        </p:nvSpPr>
        <p:spPr bwMode="auto">
          <a:xfrm>
            <a:off x="10492318" y="3824817"/>
            <a:ext cx="31749" cy="48683"/>
          </a:xfrm>
          <a:custGeom>
            <a:avLst/>
            <a:gdLst>
              <a:gd name="T0" fmla="*/ 0 w 15"/>
              <a:gd name="T1" fmla="*/ 10080487 h 23"/>
              <a:gd name="T2" fmla="*/ 15120620 w 15"/>
              <a:gd name="T3" fmla="*/ 10080487 h 23"/>
              <a:gd name="T4" fmla="*/ 15120620 w 15"/>
              <a:gd name="T5" fmla="*/ 57963594 h 23"/>
              <a:gd name="T6" fmla="*/ 25201033 w 15"/>
              <a:gd name="T7" fmla="*/ 57963594 h 23"/>
              <a:gd name="T8" fmla="*/ 25201033 w 15"/>
              <a:gd name="T9" fmla="*/ 10080487 h 23"/>
              <a:gd name="T10" fmla="*/ 37802344 w 15"/>
              <a:gd name="T11" fmla="*/ 10080487 h 23"/>
              <a:gd name="T12" fmla="*/ 37802344 w 15"/>
              <a:gd name="T13" fmla="*/ 0 h 23"/>
              <a:gd name="T14" fmla="*/ 0 w 15"/>
              <a:gd name="T15" fmla="*/ 0 h 23"/>
              <a:gd name="T16" fmla="*/ 0 w 15"/>
              <a:gd name="T17" fmla="*/ 10080487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" h="23">
                <a:moveTo>
                  <a:pt x="0" y="4"/>
                </a:moveTo>
                <a:lnTo>
                  <a:pt x="6" y="4"/>
                </a:lnTo>
                <a:lnTo>
                  <a:pt x="6" y="23"/>
                </a:lnTo>
                <a:lnTo>
                  <a:pt x="10" y="23"/>
                </a:lnTo>
                <a:lnTo>
                  <a:pt x="10" y="4"/>
                </a:lnTo>
                <a:lnTo>
                  <a:pt x="15" y="4"/>
                </a:lnTo>
                <a:lnTo>
                  <a:pt x="15" y="0"/>
                </a:lnTo>
                <a:lnTo>
                  <a:pt x="0" y="0"/>
                </a:lnTo>
                <a:lnTo>
                  <a:pt x="0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3" name="Freeform 174"/>
          <p:cNvSpPr>
            <a:spLocks/>
          </p:cNvSpPr>
          <p:nvPr/>
        </p:nvSpPr>
        <p:spPr bwMode="auto">
          <a:xfrm>
            <a:off x="10530417" y="3824817"/>
            <a:ext cx="33867" cy="48683"/>
          </a:xfrm>
          <a:custGeom>
            <a:avLst/>
            <a:gdLst>
              <a:gd name="T0" fmla="*/ 53319218 w 11"/>
              <a:gd name="T1" fmla="*/ 62492570 h 16"/>
              <a:gd name="T2" fmla="*/ 47987527 w 11"/>
              <a:gd name="T3" fmla="*/ 46869998 h 16"/>
              <a:gd name="T4" fmla="*/ 58650909 w 11"/>
              <a:gd name="T5" fmla="*/ 26037620 h 16"/>
              <a:gd name="T6" fmla="*/ 31992455 w 11"/>
              <a:gd name="T7" fmla="*/ 0 h 16"/>
              <a:gd name="T8" fmla="*/ 0 w 11"/>
              <a:gd name="T9" fmla="*/ 0 h 16"/>
              <a:gd name="T10" fmla="*/ 0 w 11"/>
              <a:gd name="T11" fmla="*/ 83322666 h 16"/>
              <a:gd name="T12" fmla="*/ 10663382 w 11"/>
              <a:gd name="T13" fmla="*/ 83322666 h 16"/>
              <a:gd name="T14" fmla="*/ 10663382 w 11"/>
              <a:gd name="T15" fmla="*/ 52077522 h 16"/>
              <a:gd name="T16" fmla="*/ 10663382 w 11"/>
              <a:gd name="T17" fmla="*/ 52077522 h 16"/>
              <a:gd name="T18" fmla="*/ 10663382 w 11"/>
              <a:gd name="T19" fmla="*/ 36452668 h 16"/>
              <a:gd name="T20" fmla="*/ 10663382 w 11"/>
              <a:gd name="T21" fmla="*/ 36452668 h 16"/>
              <a:gd name="T22" fmla="*/ 10663382 w 11"/>
              <a:gd name="T23" fmla="*/ 15622572 h 16"/>
              <a:gd name="T24" fmla="*/ 31992455 w 11"/>
              <a:gd name="T25" fmla="*/ 15622572 h 16"/>
              <a:gd name="T26" fmla="*/ 42655836 w 11"/>
              <a:gd name="T27" fmla="*/ 26037620 h 16"/>
              <a:gd name="T28" fmla="*/ 31992455 w 11"/>
              <a:gd name="T29" fmla="*/ 36452668 h 16"/>
              <a:gd name="T30" fmla="*/ 15995073 w 11"/>
              <a:gd name="T31" fmla="*/ 36452668 h 16"/>
              <a:gd name="T32" fmla="*/ 15995073 w 11"/>
              <a:gd name="T33" fmla="*/ 52077522 h 16"/>
              <a:gd name="T34" fmla="*/ 26658455 w 11"/>
              <a:gd name="T35" fmla="*/ 52077522 h 16"/>
              <a:gd name="T36" fmla="*/ 37324145 w 11"/>
              <a:gd name="T37" fmla="*/ 67700094 h 16"/>
              <a:gd name="T38" fmla="*/ 42655836 w 11"/>
              <a:gd name="T39" fmla="*/ 83322666 h 16"/>
              <a:gd name="T40" fmla="*/ 58650909 w 11"/>
              <a:gd name="T41" fmla="*/ 83322666 h 16"/>
              <a:gd name="T42" fmla="*/ 58650909 w 11"/>
              <a:gd name="T43" fmla="*/ 83322666 h 16"/>
              <a:gd name="T44" fmla="*/ 53319218 w 11"/>
              <a:gd name="T45" fmla="*/ 62492570 h 1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1" h="16">
                <a:moveTo>
                  <a:pt x="10" y="12"/>
                </a:moveTo>
                <a:cubicBezTo>
                  <a:pt x="10" y="10"/>
                  <a:pt x="10" y="9"/>
                  <a:pt x="9" y="9"/>
                </a:cubicBezTo>
                <a:cubicBezTo>
                  <a:pt x="10" y="8"/>
                  <a:pt x="11" y="6"/>
                  <a:pt x="11" y="5"/>
                </a:cubicBezTo>
                <a:cubicBezTo>
                  <a:pt x="11" y="3"/>
                  <a:pt x="10" y="0"/>
                  <a:pt x="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"/>
                  <a:pt x="0" y="16"/>
                  <a:pt x="0" y="16"/>
                </a:cubicBezTo>
                <a:cubicBezTo>
                  <a:pt x="2" y="16"/>
                  <a:pt x="2" y="16"/>
                  <a:pt x="2" y="16"/>
                </a:cubicBezTo>
                <a:cubicBezTo>
                  <a:pt x="2" y="10"/>
                  <a:pt x="2" y="10"/>
                  <a:pt x="2" y="10"/>
                </a:cubicBezTo>
                <a:cubicBezTo>
                  <a:pt x="2" y="10"/>
                  <a:pt x="2" y="10"/>
                  <a:pt x="2" y="10"/>
                </a:cubicBezTo>
                <a:cubicBezTo>
                  <a:pt x="2" y="7"/>
                  <a:pt x="2" y="7"/>
                  <a:pt x="2" y="7"/>
                </a:cubicBezTo>
                <a:cubicBezTo>
                  <a:pt x="2" y="7"/>
                  <a:pt x="2" y="7"/>
                  <a:pt x="2" y="7"/>
                </a:cubicBezTo>
                <a:cubicBezTo>
                  <a:pt x="2" y="3"/>
                  <a:pt x="2" y="3"/>
                  <a:pt x="2" y="3"/>
                </a:cubicBezTo>
                <a:cubicBezTo>
                  <a:pt x="6" y="3"/>
                  <a:pt x="6" y="3"/>
                  <a:pt x="6" y="3"/>
                </a:cubicBezTo>
                <a:cubicBezTo>
                  <a:pt x="7" y="3"/>
                  <a:pt x="8" y="4"/>
                  <a:pt x="8" y="5"/>
                </a:cubicBezTo>
                <a:cubicBezTo>
                  <a:pt x="8" y="7"/>
                  <a:pt x="7" y="7"/>
                  <a:pt x="6" y="7"/>
                </a:cubicBezTo>
                <a:cubicBezTo>
                  <a:pt x="3" y="7"/>
                  <a:pt x="3" y="7"/>
                  <a:pt x="3" y="7"/>
                </a:cubicBezTo>
                <a:cubicBezTo>
                  <a:pt x="3" y="10"/>
                  <a:pt x="3" y="10"/>
                  <a:pt x="3" y="10"/>
                </a:cubicBezTo>
                <a:cubicBezTo>
                  <a:pt x="5" y="10"/>
                  <a:pt x="5" y="10"/>
                  <a:pt x="5" y="10"/>
                </a:cubicBezTo>
                <a:cubicBezTo>
                  <a:pt x="7" y="10"/>
                  <a:pt x="7" y="11"/>
                  <a:pt x="7" y="13"/>
                </a:cubicBezTo>
                <a:cubicBezTo>
                  <a:pt x="7" y="14"/>
                  <a:pt x="8" y="15"/>
                  <a:pt x="8" y="16"/>
                </a:cubicBezTo>
                <a:cubicBezTo>
                  <a:pt x="11" y="16"/>
                  <a:pt x="11" y="16"/>
                  <a:pt x="11" y="16"/>
                </a:cubicBezTo>
                <a:cubicBezTo>
                  <a:pt x="11" y="16"/>
                  <a:pt x="11" y="16"/>
                  <a:pt x="11" y="16"/>
                </a:cubicBezTo>
                <a:cubicBezTo>
                  <a:pt x="10" y="15"/>
                  <a:pt x="10" y="15"/>
                  <a:pt x="10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4" name="Freeform 175"/>
          <p:cNvSpPr>
            <a:spLocks/>
          </p:cNvSpPr>
          <p:nvPr/>
        </p:nvSpPr>
        <p:spPr bwMode="auto">
          <a:xfrm>
            <a:off x="10570634" y="3824817"/>
            <a:ext cx="31751" cy="48683"/>
          </a:xfrm>
          <a:custGeom>
            <a:avLst/>
            <a:gdLst>
              <a:gd name="T0" fmla="*/ 37492486 w 11"/>
              <a:gd name="T1" fmla="*/ 57285046 h 16"/>
              <a:gd name="T2" fmla="*/ 23431992 w 11"/>
              <a:gd name="T3" fmla="*/ 72907618 h 16"/>
              <a:gd name="T4" fmla="*/ 14058329 w 11"/>
              <a:gd name="T5" fmla="*/ 57285046 h 16"/>
              <a:gd name="T6" fmla="*/ 14058329 w 11"/>
              <a:gd name="T7" fmla="*/ 0 h 16"/>
              <a:gd name="T8" fmla="*/ 0 w 11"/>
              <a:gd name="T9" fmla="*/ 0 h 16"/>
              <a:gd name="T10" fmla="*/ 0 w 11"/>
              <a:gd name="T11" fmla="*/ 57285046 h 16"/>
              <a:gd name="T12" fmla="*/ 4686831 w 11"/>
              <a:gd name="T13" fmla="*/ 78115142 h 16"/>
              <a:gd name="T14" fmla="*/ 23431992 w 11"/>
              <a:gd name="T15" fmla="*/ 83322666 h 16"/>
              <a:gd name="T16" fmla="*/ 51550815 w 11"/>
              <a:gd name="T17" fmla="*/ 57285046 h 16"/>
              <a:gd name="T18" fmla="*/ 51550815 w 11"/>
              <a:gd name="T19" fmla="*/ 0 h 16"/>
              <a:gd name="T20" fmla="*/ 37492486 w 11"/>
              <a:gd name="T21" fmla="*/ 0 h 16"/>
              <a:gd name="T22" fmla="*/ 37492486 w 11"/>
              <a:gd name="T23" fmla="*/ 57285046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1" h="16">
                <a:moveTo>
                  <a:pt x="8" y="11"/>
                </a:moveTo>
                <a:cubicBezTo>
                  <a:pt x="8" y="13"/>
                  <a:pt x="7" y="14"/>
                  <a:pt x="5" y="14"/>
                </a:cubicBezTo>
                <a:cubicBezTo>
                  <a:pt x="4" y="14"/>
                  <a:pt x="3" y="13"/>
                  <a:pt x="3" y="11"/>
                </a:cubicBezTo>
                <a:cubicBezTo>
                  <a:pt x="3" y="0"/>
                  <a:pt x="3" y="0"/>
                  <a:pt x="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2"/>
                  <a:pt x="0" y="14"/>
                  <a:pt x="1" y="15"/>
                </a:cubicBezTo>
                <a:cubicBezTo>
                  <a:pt x="2" y="16"/>
                  <a:pt x="4" y="16"/>
                  <a:pt x="5" y="16"/>
                </a:cubicBezTo>
                <a:cubicBezTo>
                  <a:pt x="9" y="16"/>
                  <a:pt x="11" y="15"/>
                  <a:pt x="11" y="11"/>
                </a:cubicBez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8" y="0"/>
                  <a:pt x="8" y="0"/>
                </a:cubicBezTo>
                <a:lnTo>
                  <a:pt x="8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5" name="Freeform 176"/>
          <p:cNvSpPr>
            <a:spLocks/>
          </p:cNvSpPr>
          <p:nvPr/>
        </p:nvSpPr>
        <p:spPr bwMode="auto">
          <a:xfrm>
            <a:off x="10608733" y="3824817"/>
            <a:ext cx="33867" cy="48683"/>
          </a:xfrm>
          <a:custGeom>
            <a:avLst/>
            <a:gdLst>
              <a:gd name="T0" fmla="*/ 42655836 w 11"/>
              <a:gd name="T1" fmla="*/ 36452668 h 16"/>
              <a:gd name="T2" fmla="*/ 21326764 w 11"/>
              <a:gd name="T3" fmla="*/ 31245144 h 16"/>
              <a:gd name="T4" fmla="*/ 15995073 w 11"/>
              <a:gd name="T5" fmla="*/ 26037620 h 16"/>
              <a:gd name="T6" fmla="*/ 26658455 w 11"/>
              <a:gd name="T7" fmla="*/ 15622572 h 16"/>
              <a:gd name="T8" fmla="*/ 42655836 w 11"/>
              <a:gd name="T9" fmla="*/ 26037620 h 16"/>
              <a:gd name="T10" fmla="*/ 58650909 w 11"/>
              <a:gd name="T11" fmla="*/ 26037620 h 16"/>
              <a:gd name="T12" fmla="*/ 26658455 w 11"/>
              <a:gd name="T13" fmla="*/ 0 h 16"/>
              <a:gd name="T14" fmla="*/ 0 w 11"/>
              <a:gd name="T15" fmla="*/ 26037620 h 16"/>
              <a:gd name="T16" fmla="*/ 26658455 w 11"/>
              <a:gd name="T17" fmla="*/ 46869998 h 16"/>
              <a:gd name="T18" fmla="*/ 31992455 w 11"/>
              <a:gd name="T19" fmla="*/ 52077522 h 16"/>
              <a:gd name="T20" fmla="*/ 42655836 w 11"/>
              <a:gd name="T21" fmla="*/ 62492570 h 16"/>
              <a:gd name="T22" fmla="*/ 31992455 w 11"/>
              <a:gd name="T23" fmla="*/ 72907618 h 16"/>
              <a:gd name="T24" fmla="*/ 15995073 w 11"/>
              <a:gd name="T25" fmla="*/ 57285046 h 16"/>
              <a:gd name="T26" fmla="*/ 0 w 11"/>
              <a:gd name="T27" fmla="*/ 57285046 h 16"/>
              <a:gd name="T28" fmla="*/ 31992455 w 11"/>
              <a:gd name="T29" fmla="*/ 83322666 h 16"/>
              <a:gd name="T30" fmla="*/ 58650909 w 11"/>
              <a:gd name="T31" fmla="*/ 57285046 h 16"/>
              <a:gd name="T32" fmla="*/ 42655836 w 11"/>
              <a:gd name="T33" fmla="*/ 36452668 h 1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1" h="16">
                <a:moveTo>
                  <a:pt x="8" y="7"/>
                </a:moveTo>
                <a:cubicBezTo>
                  <a:pt x="4" y="6"/>
                  <a:pt x="4" y="6"/>
                  <a:pt x="4" y="6"/>
                </a:cubicBezTo>
                <a:cubicBezTo>
                  <a:pt x="4" y="6"/>
                  <a:pt x="3" y="6"/>
                  <a:pt x="3" y="5"/>
                </a:cubicBezTo>
                <a:cubicBezTo>
                  <a:pt x="3" y="3"/>
                  <a:pt x="4" y="3"/>
                  <a:pt x="5" y="3"/>
                </a:cubicBezTo>
                <a:cubicBezTo>
                  <a:pt x="8" y="3"/>
                  <a:pt x="8" y="4"/>
                  <a:pt x="8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11" y="3"/>
                  <a:pt x="10" y="0"/>
                  <a:pt x="5" y="0"/>
                </a:cubicBezTo>
                <a:cubicBezTo>
                  <a:pt x="1" y="0"/>
                  <a:pt x="0" y="3"/>
                  <a:pt x="0" y="5"/>
                </a:cubicBezTo>
                <a:cubicBezTo>
                  <a:pt x="0" y="8"/>
                  <a:pt x="2" y="9"/>
                  <a:pt x="5" y="9"/>
                </a:cubicBezTo>
                <a:cubicBezTo>
                  <a:pt x="6" y="10"/>
                  <a:pt x="6" y="10"/>
                  <a:pt x="6" y="10"/>
                </a:cubicBezTo>
                <a:cubicBezTo>
                  <a:pt x="7" y="10"/>
                  <a:pt x="8" y="10"/>
                  <a:pt x="8" y="12"/>
                </a:cubicBezTo>
                <a:cubicBezTo>
                  <a:pt x="8" y="13"/>
                  <a:pt x="7" y="14"/>
                  <a:pt x="6" y="14"/>
                </a:cubicBezTo>
                <a:cubicBezTo>
                  <a:pt x="3" y="14"/>
                  <a:pt x="3" y="12"/>
                  <a:pt x="3" y="11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3"/>
                  <a:pt x="1" y="16"/>
                  <a:pt x="6" y="16"/>
                </a:cubicBezTo>
                <a:cubicBezTo>
                  <a:pt x="7" y="16"/>
                  <a:pt x="11" y="16"/>
                  <a:pt x="11" y="11"/>
                </a:cubicBezTo>
                <a:cubicBezTo>
                  <a:pt x="11" y="8"/>
                  <a:pt x="9" y="8"/>
                  <a:pt x="8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6" name="Freeform 177"/>
          <p:cNvSpPr>
            <a:spLocks/>
          </p:cNvSpPr>
          <p:nvPr/>
        </p:nvSpPr>
        <p:spPr bwMode="auto">
          <a:xfrm>
            <a:off x="10644717" y="3824817"/>
            <a:ext cx="33867" cy="48683"/>
          </a:xfrm>
          <a:custGeom>
            <a:avLst/>
            <a:gdLst>
              <a:gd name="T0" fmla="*/ 0 w 16"/>
              <a:gd name="T1" fmla="*/ 10080487 h 23"/>
              <a:gd name="T2" fmla="*/ 15120938 w 16"/>
              <a:gd name="T3" fmla="*/ 10080487 h 23"/>
              <a:gd name="T4" fmla="*/ 15120938 w 16"/>
              <a:gd name="T5" fmla="*/ 57963594 h 23"/>
              <a:gd name="T6" fmla="*/ 25201563 w 16"/>
              <a:gd name="T7" fmla="*/ 57963594 h 23"/>
              <a:gd name="T8" fmla="*/ 25201563 w 16"/>
              <a:gd name="T9" fmla="*/ 10080487 h 23"/>
              <a:gd name="T10" fmla="*/ 40322500 w 16"/>
              <a:gd name="T11" fmla="*/ 10080487 h 23"/>
              <a:gd name="T12" fmla="*/ 40322500 w 16"/>
              <a:gd name="T13" fmla="*/ 0 h 23"/>
              <a:gd name="T14" fmla="*/ 0 w 16"/>
              <a:gd name="T15" fmla="*/ 0 h 23"/>
              <a:gd name="T16" fmla="*/ 0 w 16"/>
              <a:gd name="T17" fmla="*/ 10080487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6" h="23">
                <a:moveTo>
                  <a:pt x="0" y="4"/>
                </a:moveTo>
                <a:lnTo>
                  <a:pt x="6" y="4"/>
                </a:lnTo>
                <a:lnTo>
                  <a:pt x="6" y="23"/>
                </a:lnTo>
                <a:lnTo>
                  <a:pt x="10" y="23"/>
                </a:lnTo>
                <a:lnTo>
                  <a:pt x="10" y="4"/>
                </a:lnTo>
                <a:lnTo>
                  <a:pt x="16" y="4"/>
                </a:lnTo>
                <a:lnTo>
                  <a:pt x="16" y="0"/>
                </a:lnTo>
                <a:lnTo>
                  <a:pt x="0" y="0"/>
                </a:lnTo>
                <a:lnTo>
                  <a:pt x="0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7" name="Freeform 178"/>
          <p:cNvSpPr>
            <a:spLocks/>
          </p:cNvSpPr>
          <p:nvPr/>
        </p:nvSpPr>
        <p:spPr bwMode="auto">
          <a:xfrm>
            <a:off x="10720918" y="3824817"/>
            <a:ext cx="16933" cy="48683"/>
          </a:xfrm>
          <a:custGeom>
            <a:avLst/>
            <a:gdLst>
              <a:gd name="T0" fmla="*/ 0 w 6"/>
              <a:gd name="T1" fmla="*/ 0 h 16"/>
              <a:gd name="T2" fmla="*/ 0 w 6"/>
              <a:gd name="T3" fmla="*/ 15622572 h 16"/>
              <a:gd name="T4" fmla="*/ 13440833 w 6"/>
              <a:gd name="T5" fmla="*/ 41662474 h 16"/>
              <a:gd name="T6" fmla="*/ 0 w 6"/>
              <a:gd name="T7" fmla="*/ 72907618 h 16"/>
              <a:gd name="T8" fmla="*/ 0 w 6"/>
              <a:gd name="T9" fmla="*/ 83322666 h 16"/>
              <a:gd name="T10" fmla="*/ 26881667 w 6"/>
              <a:gd name="T11" fmla="*/ 41662474 h 16"/>
              <a:gd name="T12" fmla="*/ 0 w 6"/>
              <a:gd name="T13" fmla="*/ 0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" h="16">
                <a:moveTo>
                  <a:pt x="0" y="0"/>
                </a:moveTo>
                <a:cubicBezTo>
                  <a:pt x="0" y="3"/>
                  <a:pt x="0" y="3"/>
                  <a:pt x="0" y="3"/>
                </a:cubicBezTo>
                <a:cubicBezTo>
                  <a:pt x="1" y="3"/>
                  <a:pt x="3" y="4"/>
                  <a:pt x="3" y="8"/>
                </a:cubicBezTo>
                <a:cubicBezTo>
                  <a:pt x="3" y="12"/>
                  <a:pt x="1" y="13"/>
                  <a:pt x="0" y="14"/>
                </a:cubicBezTo>
                <a:cubicBezTo>
                  <a:pt x="0" y="16"/>
                  <a:pt x="0" y="16"/>
                  <a:pt x="0" y="16"/>
                </a:cubicBezTo>
                <a:cubicBezTo>
                  <a:pt x="2" y="16"/>
                  <a:pt x="6" y="15"/>
                  <a:pt x="6" y="8"/>
                </a:cubicBezTo>
                <a:cubicBezTo>
                  <a:pt x="6" y="1"/>
                  <a:pt x="2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8" name="Freeform 179"/>
          <p:cNvSpPr>
            <a:spLocks/>
          </p:cNvSpPr>
          <p:nvPr/>
        </p:nvSpPr>
        <p:spPr bwMode="auto">
          <a:xfrm>
            <a:off x="10699751" y="3824817"/>
            <a:ext cx="16933" cy="48683"/>
          </a:xfrm>
          <a:custGeom>
            <a:avLst/>
            <a:gdLst>
              <a:gd name="T0" fmla="*/ 8959850 w 6"/>
              <a:gd name="T1" fmla="*/ 41662474 h 16"/>
              <a:gd name="T2" fmla="*/ 26881667 w 6"/>
              <a:gd name="T3" fmla="*/ 15622572 h 16"/>
              <a:gd name="T4" fmla="*/ 26881667 w 6"/>
              <a:gd name="T5" fmla="*/ 0 h 16"/>
              <a:gd name="T6" fmla="*/ 0 w 6"/>
              <a:gd name="T7" fmla="*/ 41662474 h 16"/>
              <a:gd name="T8" fmla="*/ 26881667 w 6"/>
              <a:gd name="T9" fmla="*/ 83322666 h 16"/>
              <a:gd name="T10" fmla="*/ 26881667 w 6"/>
              <a:gd name="T11" fmla="*/ 72907618 h 16"/>
              <a:gd name="T12" fmla="*/ 8959850 w 6"/>
              <a:gd name="T13" fmla="*/ 41662474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" h="16">
                <a:moveTo>
                  <a:pt x="2" y="8"/>
                </a:moveTo>
                <a:cubicBezTo>
                  <a:pt x="2" y="4"/>
                  <a:pt x="4" y="3"/>
                  <a:pt x="6" y="3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1"/>
                  <a:pt x="0" y="8"/>
                </a:cubicBezTo>
                <a:cubicBezTo>
                  <a:pt x="0" y="15"/>
                  <a:pt x="3" y="16"/>
                  <a:pt x="6" y="16"/>
                </a:cubicBezTo>
                <a:cubicBezTo>
                  <a:pt x="6" y="14"/>
                  <a:pt x="6" y="14"/>
                  <a:pt x="6" y="14"/>
                </a:cubicBezTo>
                <a:cubicBezTo>
                  <a:pt x="4" y="13"/>
                  <a:pt x="2" y="12"/>
                  <a:pt x="2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69" name="Freeform 180"/>
          <p:cNvSpPr>
            <a:spLocks/>
          </p:cNvSpPr>
          <p:nvPr/>
        </p:nvSpPr>
        <p:spPr bwMode="auto">
          <a:xfrm>
            <a:off x="10742085" y="3824817"/>
            <a:ext cx="35983" cy="48683"/>
          </a:xfrm>
          <a:custGeom>
            <a:avLst/>
            <a:gdLst>
              <a:gd name="T0" fmla="*/ 20160876 w 17"/>
              <a:gd name="T1" fmla="*/ 42842863 h 23"/>
              <a:gd name="T2" fmla="*/ 20160876 w 17"/>
              <a:gd name="T3" fmla="*/ 42842863 h 23"/>
              <a:gd name="T4" fmla="*/ 10080438 w 17"/>
              <a:gd name="T5" fmla="*/ 0 h 23"/>
              <a:gd name="T6" fmla="*/ 0 w 17"/>
              <a:gd name="T7" fmla="*/ 0 h 23"/>
              <a:gd name="T8" fmla="*/ 12601342 w 17"/>
              <a:gd name="T9" fmla="*/ 57963594 h 23"/>
              <a:gd name="T10" fmla="*/ 25201096 w 17"/>
              <a:gd name="T11" fmla="*/ 57963594 h 23"/>
              <a:gd name="T12" fmla="*/ 42842656 w 17"/>
              <a:gd name="T13" fmla="*/ 0 h 23"/>
              <a:gd name="T14" fmla="*/ 32762218 w 17"/>
              <a:gd name="T15" fmla="*/ 0 h 23"/>
              <a:gd name="T16" fmla="*/ 20160876 w 17"/>
              <a:gd name="T17" fmla="*/ 42842863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23">
                <a:moveTo>
                  <a:pt x="8" y="17"/>
                </a:moveTo>
                <a:lnTo>
                  <a:pt x="8" y="17"/>
                </a:lnTo>
                <a:lnTo>
                  <a:pt x="4" y="0"/>
                </a:lnTo>
                <a:lnTo>
                  <a:pt x="0" y="0"/>
                </a:lnTo>
                <a:lnTo>
                  <a:pt x="5" y="23"/>
                </a:lnTo>
                <a:lnTo>
                  <a:pt x="10" y="23"/>
                </a:lnTo>
                <a:lnTo>
                  <a:pt x="17" y="0"/>
                </a:lnTo>
                <a:lnTo>
                  <a:pt x="13" y="0"/>
                </a:lnTo>
                <a:lnTo>
                  <a:pt x="8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0" name="Freeform 181"/>
          <p:cNvSpPr>
            <a:spLocks/>
          </p:cNvSpPr>
          <p:nvPr/>
        </p:nvSpPr>
        <p:spPr bwMode="auto">
          <a:xfrm>
            <a:off x="10780184" y="3824817"/>
            <a:ext cx="33867" cy="48683"/>
          </a:xfrm>
          <a:custGeom>
            <a:avLst/>
            <a:gdLst>
              <a:gd name="T0" fmla="*/ 12601575 w 16"/>
              <a:gd name="T1" fmla="*/ 32762376 h 23"/>
              <a:gd name="T2" fmla="*/ 35282188 w 16"/>
              <a:gd name="T3" fmla="*/ 32762376 h 23"/>
              <a:gd name="T4" fmla="*/ 35282188 w 16"/>
              <a:gd name="T5" fmla="*/ 20160974 h 23"/>
              <a:gd name="T6" fmla="*/ 12601575 w 16"/>
              <a:gd name="T7" fmla="*/ 20160974 h 23"/>
              <a:gd name="T8" fmla="*/ 12601575 w 16"/>
              <a:gd name="T9" fmla="*/ 10080487 h 23"/>
              <a:gd name="T10" fmla="*/ 35282188 w 16"/>
              <a:gd name="T11" fmla="*/ 10080487 h 23"/>
              <a:gd name="T12" fmla="*/ 35282188 w 16"/>
              <a:gd name="T13" fmla="*/ 0 h 23"/>
              <a:gd name="T14" fmla="*/ 0 w 16"/>
              <a:gd name="T15" fmla="*/ 0 h 23"/>
              <a:gd name="T16" fmla="*/ 0 w 16"/>
              <a:gd name="T17" fmla="*/ 57963594 h 23"/>
              <a:gd name="T18" fmla="*/ 40322500 w 16"/>
              <a:gd name="T19" fmla="*/ 57963594 h 23"/>
              <a:gd name="T20" fmla="*/ 40322500 w 16"/>
              <a:gd name="T21" fmla="*/ 45362191 h 23"/>
              <a:gd name="T22" fmla="*/ 12601575 w 16"/>
              <a:gd name="T23" fmla="*/ 45362191 h 23"/>
              <a:gd name="T24" fmla="*/ 12601575 w 16"/>
              <a:gd name="T25" fmla="*/ 32762376 h 2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6" h="23">
                <a:moveTo>
                  <a:pt x="5" y="13"/>
                </a:moveTo>
                <a:lnTo>
                  <a:pt x="14" y="13"/>
                </a:lnTo>
                <a:lnTo>
                  <a:pt x="14" y="8"/>
                </a:lnTo>
                <a:lnTo>
                  <a:pt x="5" y="8"/>
                </a:lnTo>
                <a:lnTo>
                  <a:pt x="5" y="4"/>
                </a:lnTo>
                <a:lnTo>
                  <a:pt x="14" y="4"/>
                </a:lnTo>
                <a:lnTo>
                  <a:pt x="14" y="0"/>
                </a:lnTo>
                <a:lnTo>
                  <a:pt x="0" y="0"/>
                </a:lnTo>
                <a:lnTo>
                  <a:pt x="0" y="23"/>
                </a:lnTo>
                <a:lnTo>
                  <a:pt x="16" y="23"/>
                </a:lnTo>
                <a:lnTo>
                  <a:pt x="16" y="18"/>
                </a:lnTo>
                <a:lnTo>
                  <a:pt x="5" y="18"/>
                </a:lnTo>
                <a:lnTo>
                  <a:pt x="5" y="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1" name="Freeform 182"/>
          <p:cNvSpPr>
            <a:spLocks/>
          </p:cNvSpPr>
          <p:nvPr/>
        </p:nvSpPr>
        <p:spPr bwMode="auto">
          <a:xfrm>
            <a:off x="10820401" y="3824817"/>
            <a:ext cx="31751" cy="48683"/>
          </a:xfrm>
          <a:custGeom>
            <a:avLst/>
            <a:gdLst>
              <a:gd name="T0" fmla="*/ 51550815 w 11"/>
              <a:gd name="T1" fmla="*/ 62492570 h 16"/>
              <a:gd name="T2" fmla="*/ 42177153 w 11"/>
              <a:gd name="T3" fmla="*/ 46869998 h 16"/>
              <a:gd name="T4" fmla="*/ 51550815 w 11"/>
              <a:gd name="T5" fmla="*/ 26037620 h 16"/>
              <a:gd name="T6" fmla="*/ 32805655 w 11"/>
              <a:gd name="T7" fmla="*/ 0 h 16"/>
              <a:gd name="T8" fmla="*/ 0 w 11"/>
              <a:gd name="T9" fmla="*/ 0 h 16"/>
              <a:gd name="T10" fmla="*/ 0 w 11"/>
              <a:gd name="T11" fmla="*/ 83322666 h 16"/>
              <a:gd name="T12" fmla="*/ 14058329 w 11"/>
              <a:gd name="T13" fmla="*/ 83322666 h 16"/>
              <a:gd name="T14" fmla="*/ 14058329 w 11"/>
              <a:gd name="T15" fmla="*/ 52077522 h 16"/>
              <a:gd name="T16" fmla="*/ 14058329 w 11"/>
              <a:gd name="T17" fmla="*/ 52077522 h 16"/>
              <a:gd name="T18" fmla="*/ 14058329 w 11"/>
              <a:gd name="T19" fmla="*/ 36452668 h 16"/>
              <a:gd name="T20" fmla="*/ 14058329 w 11"/>
              <a:gd name="T21" fmla="*/ 36452668 h 16"/>
              <a:gd name="T22" fmla="*/ 14058329 w 11"/>
              <a:gd name="T23" fmla="*/ 15622572 h 16"/>
              <a:gd name="T24" fmla="*/ 28118823 w 11"/>
              <a:gd name="T25" fmla="*/ 15622572 h 16"/>
              <a:gd name="T26" fmla="*/ 37492486 w 11"/>
              <a:gd name="T27" fmla="*/ 26037620 h 16"/>
              <a:gd name="T28" fmla="*/ 28118823 w 11"/>
              <a:gd name="T29" fmla="*/ 36452668 h 16"/>
              <a:gd name="T30" fmla="*/ 18745161 w 11"/>
              <a:gd name="T31" fmla="*/ 36452668 h 16"/>
              <a:gd name="T32" fmla="*/ 18745161 w 11"/>
              <a:gd name="T33" fmla="*/ 52077522 h 16"/>
              <a:gd name="T34" fmla="*/ 28118823 w 11"/>
              <a:gd name="T35" fmla="*/ 52077522 h 16"/>
              <a:gd name="T36" fmla="*/ 37492486 w 11"/>
              <a:gd name="T37" fmla="*/ 67700094 h 16"/>
              <a:gd name="T38" fmla="*/ 37492486 w 11"/>
              <a:gd name="T39" fmla="*/ 83322666 h 16"/>
              <a:gd name="T40" fmla="*/ 51550815 w 11"/>
              <a:gd name="T41" fmla="*/ 83322666 h 16"/>
              <a:gd name="T42" fmla="*/ 51550815 w 11"/>
              <a:gd name="T43" fmla="*/ 83322666 h 16"/>
              <a:gd name="T44" fmla="*/ 51550815 w 11"/>
              <a:gd name="T45" fmla="*/ 62492570 h 1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1" h="16">
                <a:moveTo>
                  <a:pt x="11" y="12"/>
                </a:moveTo>
                <a:cubicBezTo>
                  <a:pt x="11" y="10"/>
                  <a:pt x="10" y="9"/>
                  <a:pt x="9" y="9"/>
                </a:cubicBezTo>
                <a:cubicBezTo>
                  <a:pt x="10" y="8"/>
                  <a:pt x="11" y="6"/>
                  <a:pt x="11" y="5"/>
                </a:cubicBezTo>
                <a:cubicBezTo>
                  <a:pt x="11" y="3"/>
                  <a:pt x="10" y="0"/>
                  <a:pt x="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"/>
                  <a:pt x="0" y="16"/>
                  <a:pt x="0" y="16"/>
                </a:cubicBezTo>
                <a:cubicBezTo>
                  <a:pt x="3" y="16"/>
                  <a:pt x="3" y="16"/>
                  <a:pt x="3" y="16"/>
                </a:cubicBezTo>
                <a:cubicBezTo>
                  <a:pt x="3" y="10"/>
                  <a:pt x="3" y="10"/>
                  <a:pt x="3" y="10"/>
                </a:cubicBezTo>
                <a:cubicBezTo>
                  <a:pt x="3" y="10"/>
                  <a:pt x="3" y="10"/>
                  <a:pt x="3" y="10"/>
                </a:cubicBezTo>
                <a:cubicBezTo>
                  <a:pt x="3" y="7"/>
                  <a:pt x="3" y="7"/>
                  <a:pt x="3" y="7"/>
                </a:cubicBezTo>
                <a:cubicBezTo>
                  <a:pt x="3" y="7"/>
                  <a:pt x="3" y="7"/>
                  <a:pt x="3" y="7"/>
                </a:cubicBezTo>
                <a:cubicBezTo>
                  <a:pt x="3" y="3"/>
                  <a:pt x="3" y="3"/>
                  <a:pt x="3" y="3"/>
                </a:cubicBezTo>
                <a:cubicBezTo>
                  <a:pt x="6" y="3"/>
                  <a:pt x="6" y="3"/>
                  <a:pt x="6" y="3"/>
                </a:cubicBezTo>
                <a:cubicBezTo>
                  <a:pt x="8" y="3"/>
                  <a:pt x="8" y="4"/>
                  <a:pt x="8" y="5"/>
                </a:cubicBezTo>
                <a:cubicBezTo>
                  <a:pt x="8" y="7"/>
                  <a:pt x="7" y="7"/>
                  <a:pt x="6" y="7"/>
                </a:cubicBezTo>
                <a:cubicBezTo>
                  <a:pt x="4" y="7"/>
                  <a:pt x="4" y="7"/>
                  <a:pt x="4" y="7"/>
                </a:cubicBezTo>
                <a:cubicBezTo>
                  <a:pt x="4" y="10"/>
                  <a:pt x="4" y="10"/>
                  <a:pt x="4" y="10"/>
                </a:cubicBezTo>
                <a:cubicBezTo>
                  <a:pt x="6" y="10"/>
                  <a:pt x="6" y="10"/>
                  <a:pt x="6" y="10"/>
                </a:cubicBezTo>
                <a:cubicBezTo>
                  <a:pt x="8" y="10"/>
                  <a:pt x="8" y="11"/>
                  <a:pt x="8" y="13"/>
                </a:cubicBezTo>
                <a:cubicBezTo>
                  <a:pt x="8" y="14"/>
                  <a:pt x="8" y="15"/>
                  <a:pt x="8" y="16"/>
                </a:cubicBezTo>
                <a:cubicBezTo>
                  <a:pt x="11" y="16"/>
                  <a:pt x="11" y="16"/>
                  <a:pt x="11" y="16"/>
                </a:cubicBezTo>
                <a:cubicBezTo>
                  <a:pt x="11" y="16"/>
                  <a:pt x="11" y="16"/>
                  <a:pt x="11" y="16"/>
                </a:cubicBezTo>
                <a:cubicBezTo>
                  <a:pt x="11" y="15"/>
                  <a:pt x="11" y="15"/>
                  <a:pt x="11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2" name="Freeform 183"/>
          <p:cNvSpPr>
            <a:spLocks/>
          </p:cNvSpPr>
          <p:nvPr/>
        </p:nvSpPr>
        <p:spPr bwMode="auto">
          <a:xfrm>
            <a:off x="1016000" y="4667252"/>
            <a:ext cx="620184" cy="527049"/>
          </a:xfrm>
          <a:custGeom>
            <a:avLst/>
            <a:gdLst>
              <a:gd name="T0" fmla="*/ 805537730 w 206"/>
              <a:gd name="T1" fmla="*/ 806134755 h 175"/>
              <a:gd name="T2" fmla="*/ 244721295 w 206"/>
              <a:gd name="T3" fmla="*/ 806134755 h 175"/>
              <a:gd name="T4" fmla="*/ 91769921 w 206"/>
              <a:gd name="T5" fmla="*/ 0 h 175"/>
              <a:gd name="T6" fmla="*/ 0 w 206"/>
              <a:gd name="T7" fmla="*/ 0 h 175"/>
              <a:gd name="T8" fmla="*/ 173342933 w 206"/>
              <a:gd name="T9" fmla="*/ 892869758 h 175"/>
              <a:gd name="T10" fmla="*/ 876916091 w 206"/>
              <a:gd name="T11" fmla="*/ 892869758 h 175"/>
              <a:gd name="T12" fmla="*/ 1050259024 w 206"/>
              <a:gd name="T13" fmla="*/ 0 h 175"/>
              <a:gd name="T14" fmla="*/ 958489103 w 206"/>
              <a:gd name="T15" fmla="*/ 0 h 175"/>
              <a:gd name="T16" fmla="*/ 805537730 w 206"/>
              <a:gd name="T17" fmla="*/ 806134755 h 17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6" h="175">
                <a:moveTo>
                  <a:pt x="158" y="158"/>
                </a:moveTo>
                <a:cubicBezTo>
                  <a:pt x="146" y="158"/>
                  <a:pt x="60" y="158"/>
                  <a:pt x="48" y="158"/>
                </a:cubicBezTo>
                <a:cubicBezTo>
                  <a:pt x="46" y="146"/>
                  <a:pt x="23" y="28"/>
                  <a:pt x="18" y="0"/>
                </a:cubicBezTo>
                <a:cubicBezTo>
                  <a:pt x="0" y="0"/>
                  <a:pt x="0" y="0"/>
                  <a:pt x="0" y="0"/>
                </a:cubicBezTo>
                <a:cubicBezTo>
                  <a:pt x="34" y="175"/>
                  <a:pt x="34" y="175"/>
                  <a:pt x="34" y="175"/>
                </a:cubicBezTo>
                <a:cubicBezTo>
                  <a:pt x="172" y="175"/>
                  <a:pt x="172" y="175"/>
                  <a:pt x="172" y="175"/>
                </a:cubicBezTo>
                <a:cubicBezTo>
                  <a:pt x="206" y="0"/>
                  <a:pt x="206" y="0"/>
                  <a:pt x="206" y="0"/>
                </a:cubicBezTo>
                <a:cubicBezTo>
                  <a:pt x="188" y="0"/>
                  <a:pt x="188" y="0"/>
                  <a:pt x="188" y="0"/>
                </a:cubicBezTo>
                <a:cubicBezTo>
                  <a:pt x="183" y="28"/>
                  <a:pt x="160" y="146"/>
                  <a:pt x="158" y="15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3" name="Freeform 184"/>
          <p:cNvSpPr>
            <a:spLocks/>
          </p:cNvSpPr>
          <p:nvPr/>
        </p:nvSpPr>
        <p:spPr bwMode="auto">
          <a:xfrm>
            <a:off x="1348318" y="4709584"/>
            <a:ext cx="103716" cy="243416"/>
          </a:xfrm>
          <a:custGeom>
            <a:avLst/>
            <a:gdLst>
              <a:gd name="T0" fmla="*/ 14819535 w 35"/>
              <a:gd name="T1" fmla="*/ 279394237 h 81"/>
              <a:gd name="T2" fmla="*/ 14819535 w 35"/>
              <a:gd name="T3" fmla="*/ 411469956 h 81"/>
              <a:gd name="T4" fmla="*/ 74093229 w 35"/>
              <a:gd name="T5" fmla="*/ 294632529 h 81"/>
              <a:gd name="T6" fmla="*/ 128426337 w 35"/>
              <a:gd name="T7" fmla="*/ 60957677 h 81"/>
              <a:gd name="T8" fmla="*/ 167942133 w 35"/>
              <a:gd name="T9" fmla="*/ 45719385 h 81"/>
              <a:gd name="T10" fmla="*/ 172882719 w 35"/>
              <a:gd name="T11" fmla="*/ 30478839 h 81"/>
              <a:gd name="T12" fmla="*/ 44456382 w 35"/>
              <a:gd name="T13" fmla="*/ 0 h 81"/>
              <a:gd name="T14" fmla="*/ 39515796 w 35"/>
              <a:gd name="T15" fmla="*/ 15240546 h 81"/>
              <a:gd name="T16" fmla="*/ 69152643 w 35"/>
              <a:gd name="T17" fmla="*/ 45719385 h 81"/>
              <a:gd name="T18" fmla="*/ 14819535 w 35"/>
              <a:gd name="T19" fmla="*/ 279394237 h 8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5" h="81">
                <a:moveTo>
                  <a:pt x="3" y="55"/>
                </a:moveTo>
                <a:cubicBezTo>
                  <a:pt x="3" y="55"/>
                  <a:pt x="0" y="72"/>
                  <a:pt x="3" y="81"/>
                </a:cubicBezTo>
                <a:cubicBezTo>
                  <a:pt x="11" y="75"/>
                  <a:pt x="15" y="58"/>
                  <a:pt x="15" y="58"/>
                </a:cubicBezTo>
                <a:cubicBezTo>
                  <a:pt x="26" y="12"/>
                  <a:pt x="26" y="12"/>
                  <a:pt x="26" y="12"/>
                </a:cubicBezTo>
                <a:cubicBezTo>
                  <a:pt x="34" y="9"/>
                  <a:pt x="34" y="9"/>
                  <a:pt x="34" y="9"/>
                </a:cubicBezTo>
                <a:cubicBezTo>
                  <a:pt x="35" y="6"/>
                  <a:pt x="35" y="6"/>
                  <a:pt x="35" y="6"/>
                </a:cubicBezTo>
                <a:cubicBezTo>
                  <a:pt x="9" y="0"/>
                  <a:pt x="9" y="0"/>
                  <a:pt x="9" y="0"/>
                </a:cubicBezTo>
                <a:cubicBezTo>
                  <a:pt x="8" y="3"/>
                  <a:pt x="8" y="3"/>
                  <a:pt x="8" y="3"/>
                </a:cubicBezTo>
                <a:cubicBezTo>
                  <a:pt x="14" y="9"/>
                  <a:pt x="14" y="9"/>
                  <a:pt x="14" y="9"/>
                </a:cubicBezTo>
                <a:lnTo>
                  <a:pt x="3" y="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4" name="Freeform 185"/>
          <p:cNvSpPr>
            <a:spLocks/>
          </p:cNvSpPr>
          <p:nvPr/>
        </p:nvSpPr>
        <p:spPr bwMode="auto">
          <a:xfrm>
            <a:off x="1405467" y="4775200"/>
            <a:ext cx="107951" cy="78317"/>
          </a:xfrm>
          <a:custGeom>
            <a:avLst/>
            <a:gdLst>
              <a:gd name="T0" fmla="*/ 120968247 w 51"/>
              <a:gd name="T1" fmla="*/ 55443909 h 37"/>
              <a:gd name="T2" fmla="*/ 128529556 w 51"/>
              <a:gd name="T3" fmla="*/ 25201777 h 37"/>
              <a:gd name="T4" fmla="*/ 47884058 w 51"/>
              <a:gd name="T5" fmla="*/ 32763104 h 37"/>
              <a:gd name="T6" fmla="*/ 22682340 w 51"/>
              <a:gd name="T7" fmla="*/ 0 h 37"/>
              <a:gd name="T8" fmla="*/ 0 w 51"/>
              <a:gd name="T9" fmla="*/ 93247369 h 37"/>
              <a:gd name="T10" fmla="*/ 120968247 w 51"/>
              <a:gd name="T11" fmla="*/ 55443909 h 3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1" h="37">
                <a:moveTo>
                  <a:pt x="48" y="22"/>
                </a:moveTo>
                <a:lnTo>
                  <a:pt x="51" y="10"/>
                </a:lnTo>
                <a:lnTo>
                  <a:pt x="19" y="13"/>
                </a:lnTo>
                <a:lnTo>
                  <a:pt x="9" y="0"/>
                </a:lnTo>
                <a:lnTo>
                  <a:pt x="0" y="37"/>
                </a:lnTo>
                <a:lnTo>
                  <a:pt x="48" y="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5" name="Freeform 186"/>
          <p:cNvSpPr>
            <a:spLocks/>
          </p:cNvSpPr>
          <p:nvPr/>
        </p:nvSpPr>
        <p:spPr bwMode="auto">
          <a:xfrm>
            <a:off x="1284818" y="4743451"/>
            <a:ext cx="93133" cy="101600"/>
          </a:xfrm>
          <a:custGeom>
            <a:avLst/>
            <a:gdLst>
              <a:gd name="T0" fmla="*/ 88206263 w 44"/>
              <a:gd name="T1" fmla="*/ 120967500 h 48"/>
              <a:gd name="T2" fmla="*/ 110886875 w 44"/>
              <a:gd name="T3" fmla="*/ 25201563 h 48"/>
              <a:gd name="T4" fmla="*/ 75604688 w 44"/>
              <a:gd name="T5" fmla="*/ 42843450 h 48"/>
              <a:gd name="T6" fmla="*/ 7561263 w 44"/>
              <a:gd name="T7" fmla="*/ 0 h 48"/>
              <a:gd name="T8" fmla="*/ 0 w 44"/>
              <a:gd name="T9" fmla="*/ 30241875 h 48"/>
              <a:gd name="T10" fmla="*/ 88206263 w 44"/>
              <a:gd name="T11" fmla="*/ 120967500 h 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4" h="48">
                <a:moveTo>
                  <a:pt x="35" y="48"/>
                </a:moveTo>
                <a:lnTo>
                  <a:pt x="44" y="10"/>
                </a:lnTo>
                <a:lnTo>
                  <a:pt x="30" y="17"/>
                </a:lnTo>
                <a:lnTo>
                  <a:pt x="3" y="0"/>
                </a:lnTo>
                <a:lnTo>
                  <a:pt x="0" y="12"/>
                </a:lnTo>
                <a:lnTo>
                  <a:pt x="35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6" name="Freeform 187"/>
          <p:cNvSpPr>
            <a:spLocks/>
          </p:cNvSpPr>
          <p:nvPr/>
        </p:nvSpPr>
        <p:spPr bwMode="auto">
          <a:xfrm>
            <a:off x="1217085" y="4974167"/>
            <a:ext cx="52916" cy="25400"/>
          </a:xfrm>
          <a:custGeom>
            <a:avLst/>
            <a:gdLst>
              <a:gd name="T0" fmla="*/ 5451126 w 17"/>
              <a:gd name="T1" fmla="*/ 0 h 8"/>
              <a:gd name="T2" fmla="*/ 0 w 17"/>
              <a:gd name="T3" fmla="*/ 17011650 h 8"/>
              <a:gd name="T4" fmla="*/ 81752885 w 17"/>
              <a:gd name="T5" fmla="*/ 45362813 h 8"/>
              <a:gd name="T6" fmla="*/ 92652803 w 17"/>
              <a:gd name="T7" fmla="*/ 28351163 h 8"/>
              <a:gd name="T8" fmla="*/ 5451126 w 17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" h="8">
                <a:moveTo>
                  <a:pt x="1" y="0"/>
                </a:moveTo>
                <a:cubicBezTo>
                  <a:pt x="0" y="3"/>
                  <a:pt x="0" y="3"/>
                  <a:pt x="0" y="3"/>
                </a:cubicBezTo>
                <a:cubicBezTo>
                  <a:pt x="15" y="8"/>
                  <a:pt x="15" y="8"/>
                  <a:pt x="15" y="8"/>
                </a:cubicBezTo>
                <a:cubicBezTo>
                  <a:pt x="16" y="7"/>
                  <a:pt x="16" y="6"/>
                  <a:pt x="17" y="5"/>
                </a:cubicBezTo>
                <a:lnTo>
                  <a:pt x="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7" name="Freeform 188"/>
          <p:cNvSpPr>
            <a:spLocks/>
          </p:cNvSpPr>
          <p:nvPr/>
        </p:nvSpPr>
        <p:spPr bwMode="auto">
          <a:xfrm>
            <a:off x="1149351" y="4982634"/>
            <a:ext cx="285749" cy="139700"/>
          </a:xfrm>
          <a:custGeom>
            <a:avLst/>
            <a:gdLst>
              <a:gd name="T0" fmla="*/ 452936004 w 95"/>
              <a:gd name="T1" fmla="*/ 145263704 h 46"/>
              <a:gd name="T2" fmla="*/ 340974904 w 95"/>
              <a:gd name="T3" fmla="*/ 108947778 h 46"/>
              <a:gd name="T4" fmla="*/ 325706866 w 95"/>
              <a:gd name="T5" fmla="*/ 36315926 h 46"/>
              <a:gd name="T6" fmla="*/ 218835111 w 95"/>
              <a:gd name="T7" fmla="*/ 0 h 46"/>
              <a:gd name="T8" fmla="*/ 178120343 w 95"/>
              <a:gd name="T9" fmla="*/ 57068209 h 46"/>
              <a:gd name="T10" fmla="*/ 0 w 95"/>
              <a:gd name="T11" fmla="*/ 0 h 46"/>
              <a:gd name="T12" fmla="*/ 50891204 w 95"/>
              <a:gd name="T13" fmla="*/ 124511421 h 46"/>
              <a:gd name="T14" fmla="*/ 402044800 w 95"/>
              <a:gd name="T15" fmla="*/ 238647840 h 46"/>
              <a:gd name="T16" fmla="*/ 483472081 w 95"/>
              <a:gd name="T17" fmla="*/ 191956911 h 46"/>
              <a:gd name="T18" fmla="*/ 452936004 w 95"/>
              <a:gd name="T19" fmla="*/ 145263704 h 4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95" h="46">
                <a:moveTo>
                  <a:pt x="89" y="28"/>
                </a:moveTo>
                <a:cubicBezTo>
                  <a:pt x="89" y="28"/>
                  <a:pt x="67" y="21"/>
                  <a:pt x="67" y="21"/>
                </a:cubicBezTo>
                <a:cubicBezTo>
                  <a:pt x="67" y="21"/>
                  <a:pt x="64" y="8"/>
                  <a:pt x="64" y="7"/>
                </a:cubicBezTo>
                <a:cubicBezTo>
                  <a:pt x="63" y="7"/>
                  <a:pt x="44" y="1"/>
                  <a:pt x="43" y="0"/>
                </a:cubicBezTo>
                <a:cubicBezTo>
                  <a:pt x="43" y="1"/>
                  <a:pt x="35" y="11"/>
                  <a:pt x="35" y="11"/>
                </a:cubicBezTo>
                <a:cubicBezTo>
                  <a:pt x="35" y="11"/>
                  <a:pt x="3" y="1"/>
                  <a:pt x="0" y="0"/>
                </a:cubicBezTo>
                <a:cubicBezTo>
                  <a:pt x="1" y="3"/>
                  <a:pt x="10" y="23"/>
                  <a:pt x="10" y="24"/>
                </a:cubicBezTo>
                <a:cubicBezTo>
                  <a:pt x="11" y="24"/>
                  <a:pt x="78" y="45"/>
                  <a:pt x="79" y="46"/>
                </a:cubicBezTo>
                <a:cubicBezTo>
                  <a:pt x="80" y="45"/>
                  <a:pt x="94" y="38"/>
                  <a:pt x="95" y="37"/>
                </a:cubicBezTo>
                <a:cubicBezTo>
                  <a:pt x="95" y="36"/>
                  <a:pt x="90" y="29"/>
                  <a:pt x="89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8" name="Freeform 189"/>
          <p:cNvSpPr>
            <a:spLocks/>
          </p:cNvSpPr>
          <p:nvPr/>
        </p:nvSpPr>
        <p:spPr bwMode="auto">
          <a:xfrm>
            <a:off x="1115485" y="4603751"/>
            <a:ext cx="137583" cy="342900"/>
          </a:xfrm>
          <a:custGeom>
            <a:avLst/>
            <a:gdLst>
              <a:gd name="T0" fmla="*/ 100805762 w 65"/>
              <a:gd name="T1" fmla="*/ 408265313 h 162"/>
              <a:gd name="T2" fmla="*/ 163810156 w 65"/>
              <a:gd name="T3" fmla="*/ 403225000 h 162"/>
              <a:gd name="T4" fmla="*/ 136087778 w 65"/>
              <a:gd name="T5" fmla="*/ 272176875 h 162"/>
              <a:gd name="T6" fmla="*/ 153729580 w 65"/>
              <a:gd name="T7" fmla="*/ 241935000 h 162"/>
              <a:gd name="T8" fmla="*/ 35282017 w 65"/>
              <a:gd name="T9" fmla="*/ 25201563 h 162"/>
              <a:gd name="T10" fmla="*/ 25201440 w 65"/>
              <a:gd name="T11" fmla="*/ 32762825 h 162"/>
              <a:gd name="T12" fmla="*/ 17641802 w 65"/>
              <a:gd name="T13" fmla="*/ 15120938 h 162"/>
              <a:gd name="T14" fmla="*/ 25201440 w 65"/>
              <a:gd name="T15" fmla="*/ 12601575 h 162"/>
              <a:gd name="T16" fmla="*/ 22682090 w 65"/>
              <a:gd name="T17" fmla="*/ 5040313 h 162"/>
              <a:gd name="T18" fmla="*/ 15120864 w 65"/>
              <a:gd name="T19" fmla="*/ 7561263 h 162"/>
              <a:gd name="T20" fmla="*/ 10080576 w 65"/>
              <a:gd name="T21" fmla="*/ 0 h 162"/>
              <a:gd name="T22" fmla="*/ 0 w 65"/>
              <a:gd name="T23" fmla="*/ 7561263 h 162"/>
              <a:gd name="T24" fmla="*/ 15120864 w 65"/>
              <a:gd name="T25" fmla="*/ 35282188 h 162"/>
              <a:gd name="T26" fmla="*/ 7561226 w 65"/>
              <a:gd name="T27" fmla="*/ 42843450 h 162"/>
              <a:gd name="T28" fmla="*/ 73084971 w 65"/>
              <a:gd name="T29" fmla="*/ 158770638 h 162"/>
              <a:gd name="T30" fmla="*/ 17641802 w 65"/>
              <a:gd name="T31" fmla="*/ 183972200 h 162"/>
              <a:gd name="T32" fmla="*/ 32762666 w 65"/>
              <a:gd name="T33" fmla="*/ 209173763 h 162"/>
              <a:gd name="T34" fmla="*/ 85684897 w 65"/>
              <a:gd name="T35" fmla="*/ 183972200 h 162"/>
              <a:gd name="T36" fmla="*/ 90725185 w 65"/>
              <a:gd name="T37" fmla="*/ 191531875 h 162"/>
              <a:gd name="T38" fmla="*/ 52923819 w 65"/>
              <a:gd name="T39" fmla="*/ 226814063 h 162"/>
              <a:gd name="T40" fmla="*/ 65523745 w 65"/>
              <a:gd name="T41" fmla="*/ 246975313 h 162"/>
              <a:gd name="T42" fmla="*/ 100805762 w 65"/>
              <a:gd name="T43" fmla="*/ 211693125 h 162"/>
              <a:gd name="T44" fmla="*/ 108366987 w 65"/>
              <a:gd name="T45" fmla="*/ 226814063 h 162"/>
              <a:gd name="T46" fmla="*/ 100805762 w 65"/>
              <a:gd name="T47" fmla="*/ 408265313 h 16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5" h="162">
                <a:moveTo>
                  <a:pt x="40" y="162"/>
                </a:moveTo>
                <a:lnTo>
                  <a:pt x="65" y="160"/>
                </a:lnTo>
                <a:lnTo>
                  <a:pt x="54" y="108"/>
                </a:lnTo>
                <a:lnTo>
                  <a:pt x="61" y="96"/>
                </a:lnTo>
                <a:lnTo>
                  <a:pt x="14" y="10"/>
                </a:lnTo>
                <a:lnTo>
                  <a:pt x="10" y="13"/>
                </a:lnTo>
                <a:lnTo>
                  <a:pt x="7" y="6"/>
                </a:lnTo>
                <a:lnTo>
                  <a:pt x="10" y="5"/>
                </a:lnTo>
                <a:lnTo>
                  <a:pt x="9" y="2"/>
                </a:lnTo>
                <a:lnTo>
                  <a:pt x="6" y="3"/>
                </a:lnTo>
                <a:lnTo>
                  <a:pt x="4" y="0"/>
                </a:lnTo>
                <a:lnTo>
                  <a:pt x="0" y="3"/>
                </a:lnTo>
                <a:lnTo>
                  <a:pt x="6" y="14"/>
                </a:lnTo>
                <a:lnTo>
                  <a:pt x="3" y="17"/>
                </a:lnTo>
                <a:lnTo>
                  <a:pt x="29" y="63"/>
                </a:lnTo>
                <a:lnTo>
                  <a:pt x="7" y="73"/>
                </a:lnTo>
                <a:lnTo>
                  <a:pt x="13" y="83"/>
                </a:lnTo>
                <a:lnTo>
                  <a:pt x="34" y="73"/>
                </a:lnTo>
                <a:lnTo>
                  <a:pt x="36" y="76"/>
                </a:lnTo>
                <a:lnTo>
                  <a:pt x="21" y="90"/>
                </a:lnTo>
                <a:lnTo>
                  <a:pt x="26" y="98"/>
                </a:lnTo>
                <a:lnTo>
                  <a:pt x="40" y="84"/>
                </a:lnTo>
                <a:lnTo>
                  <a:pt x="43" y="90"/>
                </a:lnTo>
                <a:lnTo>
                  <a:pt x="40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79" name="Freeform 190"/>
          <p:cNvSpPr>
            <a:spLocks/>
          </p:cNvSpPr>
          <p:nvPr/>
        </p:nvSpPr>
        <p:spPr bwMode="auto">
          <a:xfrm>
            <a:off x="1195918" y="4711700"/>
            <a:ext cx="52916" cy="76200"/>
          </a:xfrm>
          <a:custGeom>
            <a:avLst/>
            <a:gdLst>
              <a:gd name="T0" fmla="*/ 27250962 w 17"/>
              <a:gd name="T1" fmla="*/ 20903184 h 25"/>
              <a:gd name="T2" fmla="*/ 70852968 w 17"/>
              <a:gd name="T3" fmla="*/ 94064328 h 25"/>
              <a:gd name="T4" fmla="*/ 65401841 w 17"/>
              <a:gd name="T5" fmla="*/ 109741716 h 25"/>
              <a:gd name="T6" fmla="*/ 76301759 w 17"/>
              <a:gd name="T7" fmla="*/ 130644900 h 25"/>
              <a:gd name="T8" fmla="*/ 92652803 w 17"/>
              <a:gd name="T9" fmla="*/ 94064328 h 25"/>
              <a:gd name="T10" fmla="*/ 38150880 w 17"/>
              <a:gd name="T11" fmla="*/ 5225796 h 25"/>
              <a:gd name="T12" fmla="*/ 0 w 17"/>
              <a:gd name="T13" fmla="*/ 0 h 25"/>
              <a:gd name="T14" fmla="*/ 10899918 w 17"/>
              <a:gd name="T15" fmla="*/ 20903184 h 25"/>
              <a:gd name="T16" fmla="*/ 27250962 w 17"/>
              <a:gd name="T17" fmla="*/ 20903184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25">
                <a:moveTo>
                  <a:pt x="5" y="4"/>
                </a:moveTo>
                <a:cubicBezTo>
                  <a:pt x="6" y="5"/>
                  <a:pt x="12" y="17"/>
                  <a:pt x="13" y="18"/>
                </a:cubicBezTo>
                <a:cubicBezTo>
                  <a:pt x="13" y="19"/>
                  <a:pt x="12" y="20"/>
                  <a:pt x="12" y="21"/>
                </a:cubicBezTo>
                <a:cubicBezTo>
                  <a:pt x="14" y="25"/>
                  <a:pt x="14" y="25"/>
                  <a:pt x="14" y="25"/>
                </a:cubicBezTo>
                <a:cubicBezTo>
                  <a:pt x="17" y="18"/>
                  <a:pt x="17" y="18"/>
                  <a:pt x="17" y="18"/>
                </a:cubicBezTo>
                <a:cubicBezTo>
                  <a:pt x="7" y="1"/>
                  <a:pt x="7" y="1"/>
                  <a:pt x="7" y="1"/>
                </a:cubicBezTo>
                <a:cubicBezTo>
                  <a:pt x="0" y="0"/>
                  <a:pt x="0" y="0"/>
                  <a:pt x="0" y="0"/>
                </a:cubicBezTo>
                <a:cubicBezTo>
                  <a:pt x="2" y="4"/>
                  <a:pt x="2" y="4"/>
                  <a:pt x="2" y="4"/>
                </a:cubicBezTo>
                <a:cubicBezTo>
                  <a:pt x="4" y="4"/>
                  <a:pt x="5" y="4"/>
                  <a:pt x="5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0" name="Freeform 191"/>
          <p:cNvSpPr>
            <a:spLocks/>
          </p:cNvSpPr>
          <p:nvPr/>
        </p:nvSpPr>
        <p:spPr bwMode="auto">
          <a:xfrm>
            <a:off x="1367368" y="4864100"/>
            <a:ext cx="156633" cy="186267"/>
          </a:xfrm>
          <a:custGeom>
            <a:avLst/>
            <a:gdLst>
              <a:gd name="T0" fmla="*/ 188836544 w 52"/>
              <a:gd name="T1" fmla="*/ 20308324 h 62"/>
              <a:gd name="T2" fmla="*/ 188836544 w 52"/>
              <a:gd name="T3" fmla="*/ 45693166 h 62"/>
              <a:gd name="T4" fmla="*/ 142903819 w 52"/>
              <a:gd name="T5" fmla="*/ 81233297 h 62"/>
              <a:gd name="T6" fmla="*/ 30622570 w 52"/>
              <a:gd name="T7" fmla="*/ 233542348 h 62"/>
              <a:gd name="T8" fmla="*/ 30622570 w 52"/>
              <a:gd name="T9" fmla="*/ 294467321 h 62"/>
              <a:gd name="T10" fmla="*/ 91865450 w 52"/>
              <a:gd name="T11" fmla="*/ 279235515 h 62"/>
              <a:gd name="T12" fmla="*/ 204146700 w 52"/>
              <a:gd name="T13" fmla="*/ 121847692 h 62"/>
              <a:gd name="T14" fmla="*/ 224562499 w 52"/>
              <a:gd name="T15" fmla="*/ 71078008 h 62"/>
              <a:gd name="T16" fmla="*/ 250081684 w 52"/>
              <a:gd name="T17" fmla="*/ 60924973 h 62"/>
              <a:gd name="T18" fmla="*/ 265391839 w 52"/>
              <a:gd name="T19" fmla="*/ 40616648 h 62"/>
              <a:gd name="T20" fmla="*/ 204146700 w 52"/>
              <a:gd name="T21" fmla="*/ 0 h 62"/>
              <a:gd name="T22" fmla="*/ 188836544 w 52"/>
              <a:gd name="T23" fmla="*/ 20308324 h 6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2" h="62">
                <a:moveTo>
                  <a:pt x="37" y="4"/>
                </a:moveTo>
                <a:cubicBezTo>
                  <a:pt x="37" y="9"/>
                  <a:pt x="37" y="9"/>
                  <a:pt x="37" y="9"/>
                </a:cubicBezTo>
                <a:cubicBezTo>
                  <a:pt x="35" y="10"/>
                  <a:pt x="31" y="12"/>
                  <a:pt x="28" y="16"/>
                </a:cubicBezTo>
                <a:cubicBezTo>
                  <a:pt x="24" y="21"/>
                  <a:pt x="6" y="46"/>
                  <a:pt x="6" y="46"/>
                </a:cubicBezTo>
                <a:cubicBezTo>
                  <a:pt x="6" y="46"/>
                  <a:pt x="0" y="54"/>
                  <a:pt x="6" y="58"/>
                </a:cubicBezTo>
                <a:cubicBezTo>
                  <a:pt x="12" y="62"/>
                  <a:pt x="18" y="55"/>
                  <a:pt x="18" y="55"/>
                </a:cubicBezTo>
                <a:cubicBezTo>
                  <a:pt x="18" y="55"/>
                  <a:pt x="36" y="29"/>
                  <a:pt x="40" y="24"/>
                </a:cubicBezTo>
                <a:cubicBezTo>
                  <a:pt x="43" y="20"/>
                  <a:pt x="44" y="16"/>
                  <a:pt x="44" y="14"/>
                </a:cubicBezTo>
                <a:cubicBezTo>
                  <a:pt x="49" y="12"/>
                  <a:pt x="49" y="12"/>
                  <a:pt x="49" y="12"/>
                </a:cubicBezTo>
                <a:cubicBezTo>
                  <a:pt x="52" y="8"/>
                  <a:pt x="52" y="8"/>
                  <a:pt x="52" y="8"/>
                </a:cubicBezTo>
                <a:cubicBezTo>
                  <a:pt x="40" y="0"/>
                  <a:pt x="40" y="0"/>
                  <a:pt x="40" y="0"/>
                </a:cubicBezTo>
                <a:lnTo>
                  <a:pt x="37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1" name="Freeform 192"/>
          <p:cNvSpPr>
            <a:spLocks/>
          </p:cNvSpPr>
          <p:nvPr/>
        </p:nvSpPr>
        <p:spPr bwMode="auto">
          <a:xfrm>
            <a:off x="1871133" y="4658784"/>
            <a:ext cx="618067" cy="558800"/>
          </a:xfrm>
          <a:custGeom>
            <a:avLst/>
            <a:gdLst>
              <a:gd name="T0" fmla="*/ 1032973920 w 206"/>
              <a:gd name="T1" fmla="*/ 142156016 h 186"/>
              <a:gd name="T2" fmla="*/ 855747054 w 206"/>
              <a:gd name="T3" fmla="*/ 66001490 h 186"/>
              <a:gd name="T4" fmla="*/ 835492619 w 206"/>
              <a:gd name="T5" fmla="*/ 55846202 h 186"/>
              <a:gd name="T6" fmla="*/ 739283492 w 206"/>
              <a:gd name="T7" fmla="*/ 10153035 h 186"/>
              <a:gd name="T8" fmla="*/ 673457141 w 206"/>
              <a:gd name="T9" fmla="*/ 0 h 186"/>
              <a:gd name="T10" fmla="*/ 668394095 w 206"/>
              <a:gd name="T11" fmla="*/ 25384842 h 186"/>
              <a:gd name="T12" fmla="*/ 729157399 w 206"/>
              <a:gd name="T13" fmla="*/ 40616648 h 186"/>
              <a:gd name="T14" fmla="*/ 820301230 w 206"/>
              <a:gd name="T15" fmla="*/ 81233297 h 186"/>
              <a:gd name="T16" fmla="*/ 845620961 w 206"/>
              <a:gd name="T17" fmla="*/ 91386332 h 186"/>
              <a:gd name="T18" fmla="*/ 1007654189 w 206"/>
              <a:gd name="T19" fmla="*/ 167540858 h 186"/>
              <a:gd name="T20" fmla="*/ 946890885 w 206"/>
              <a:gd name="T21" fmla="*/ 370621847 h 186"/>
              <a:gd name="T22" fmla="*/ 830429573 w 206"/>
              <a:gd name="T23" fmla="*/ 324928681 h 186"/>
              <a:gd name="T24" fmla="*/ 805112092 w 206"/>
              <a:gd name="T25" fmla="*/ 314775645 h 186"/>
              <a:gd name="T26" fmla="*/ 805112092 w 206"/>
              <a:gd name="T27" fmla="*/ 340160487 h 186"/>
              <a:gd name="T28" fmla="*/ 810175138 w 206"/>
              <a:gd name="T29" fmla="*/ 411238495 h 186"/>
              <a:gd name="T30" fmla="*/ 658268003 w 206"/>
              <a:gd name="T31" fmla="*/ 903710287 h 186"/>
              <a:gd name="T32" fmla="*/ 450660610 w 206"/>
              <a:gd name="T33" fmla="*/ 837708797 h 186"/>
              <a:gd name="T34" fmla="*/ 374705917 w 206"/>
              <a:gd name="T35" fmla="*/ 842785315 h 186"/>
              <a:gd name="T36" fmla="*/ 70889396 w 206"/>
              <a:gd name="T37" fmla="*/ 771707306 h 186"/>
              <a:gd name="T38" fmla="*/ 253179309 w 206"/>
              <a:gd name="T39" fmla="*/ 335083969 h 186"/>
              <a:gd name="T40" fmla="*/ 258242355 w 206"/>
              <a:gd name="T41" fmla="*/ 299543839 h 186"/>
              <a:gd name="T42" fmla="*/ 232924874 w 206"/>
              <a:gd name="T43" fmla="*/ 324928681 h 186"/>
              <a:gd name="T44" fmla="*/ 121526608 w 206"/>
              <a:gd name="T45" fmla="*/ 380777135 h 186"/>
              <a:gd name="T46" fmla="*/ 35445823 w 206"/>
              <a:gd name="T47" fmla="*/ 213234024 h 186"/>
              <a:gd name="T48" fmla="*/ 156972432 w 206"/>
              <a:gd name="T49" fmla="*/ 142156016 h 186"/>
              <a:gd name="T50" fmla="*/ 369642871 w 206"/>
              <a:gd name="T51" fmla="*/ 30461360 h 186"/>
              <a:gd name="T52" fmla="*/ 364577575 w 206"/>
              <a:gd name="T53" fmla="*/ 0 h 186"/>
              <a:gd name="T54" fmla="*/ 136717997 w 206"/>
              <a:gd name="T55" fmla="*/ 116771174 h 186"/>
              <a:gd name="T56" fmla="*/ 10126092 w 206"/>
              <a:gd name="T57" fmla="*/ 192927953 h 186"/>
              <a:gd name="T58" fmla="*/ 0 w 206"/>
              <a:gd name="T59" fmla="*/ 198004471 h 186"/>
              <a:gd name="T60" fmla="*/ 106335220 w 206"/>
              <a:gd name="T61" fmla="*/ 416317266 h 186"/>
              <a:gd name="T62" fmla="*/ 116463562 w 206"/>
              <a:gd name="T63" fmla="*/ 411238495 h 186"/>
              <a:gd name="T64" fmla="*/ 222798782 w 206"/>
              <a:gd name="T65" fmla="*/ 365545329 h 186"/>
              <a:gd name="T66" fmla="*/ 40508869 w 206"/>
              <a:gd name="T67" fmla="*/ 761554271 h 186"/>
              <a:gd name="T68" fmla="*/ 30380527 w 206"/>
              <a:gd name="T69" fmla="*/ 771707306 h 186"/>
              <a:gd name="T70" fmla="*/ 40508869 w 206"/>
              <a:gd name="T71" fmla="*/ 781862595 h 186"/>
              <a:gd name="T72" fmla="*/ 379768963 w 206"/>
              <a:gd name="T73" fmla="*/ 868172410 h 186"/>
              <a:gd name="T74" fmla="*/ 450660610 w 206"/>
              <a:gd name="T75" fmla="*/ 868172410 h 186"/>
              <a:gd name="T76" fmla="*/ 653202707 w 206"/>
              <a:gd name="T77" fmla="*/ 934173900 h 186"/>
              <a:gd name="T78" fmla="*/ 663331049 w 206"/>
              <a:gd name="T79" fmla="*/ 944326935 h 186"/>
              <a:gd name="T80" fmla="*/ 668394095 w 206"/>
              <a:gd name="T81" fmla="*/ 934173900 h 186"/>
              <a:gd name="T82" fmla="*/ 835492619 w 206"/>
              <a:gd name="T83" fmla="*/ 416317266 h 186"/>
              <a:gd name="T84" fmla="*/ 835492619 w 206"/>
              <a:gd name="T85" fmla="*/ 365545329 h 186"/>
              <a:gd name="T86" fmla="*/ 951956181 w 206"/>
              <a:gd name="T87" fmla="*/ 401085460 h 186"/>
              <a:gd name="T88" fmla="*/ 967145319 w 206"/>
              <a:gd name="T89" fmla="*/ 401085460 h 186"/>
              <a:gd name="T90" fmla="*/ 1043100012 w 206"/>
              <a:gd name="T91" fmla="*/ 147234787 h 186"/>
              <a:gd name="T92" fmla="*/ 1032973920 w 206"/>
              <a:gd name="T93" fmla="*/ 142156016 h 18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06" h="186">
                <a:moveTo>
                  <a:pt x="204" y="28"/>
                </a:moveTo>
                <a:cubicBezTo>
                  <a:pt x="203" y="28"/>
                  <a:pt x="191" y="25"/>
                  <a:pt x="169" y="13"/>
                </a:cubicBezTo>
                <a:cubicBezTo>
                  <a:pt x="165" y="11"/>
                  <a:pt x="165" y="11"/>
                  <a:pt x="165" y="11"/>
                </a:cubicBezTo>
                <a:cubicBezTo>
                  <a:pt x="157" y="7"/>
                  <a:pt x="152" y="4"/>
                  <a:pt x="146" y="2"/>
                </a:cubicBezTo>
                <a:cubicBezTo>
                  <a:pt x="141" y="1"/>
                  <a:pt x="136" y="0"/>
                  <a:pt x="133" y="0"/>
                </a:cubicBezTo>
                <a:cubicBezTo>
                  <a:pt x="132" y="1"/>
                  <a:pt x="132" y="3"/>
                  <a:pt x="132" y="5"/>
                </a:cubicBezTo>
                <a:cubicBezTo>
                  <a:pt x="135" y="6"/>
                  <a:pt x="140" y="6"/>
                  <a:pt x="144" y="8"/>
                </a:cubicBezTo>
                <a:cubicBezTo>
                  <a:pt x="149" y="9"/>
                  <a:pt x="155" y="12"/>
                  <a:pt x="162" y="16"/>
                </a:cubicBezTo>
                <a:cubicBezTo>
                  <a:pt x="167" y="18"/>
                  <a:pt x="167" y="18"/>
                  <a:pt x="167" y="18"/>
                </a:cubicBezTo>
                <a:cubicBezTo>
                  <a:pt x="183" y="27"/>
                  <a:pt x="194" y="31"/>
                  <a:pt x="199" y="33"/>
                </a:cubicBezTo>
                <a:cubicBezTo>
                  <a:pt x="198" y="37"/>
                  <a:pt x="188" y="69"/>
                  <a:pt x="187" y="73"/>
                </a:cubicBezTo>
                <a:cubicBezTo>
                  <a:pt x="182" y="72"/>
                  <a:pt x="171" y="69"/>
                  <a:pt x="164" y="64"/>
                </a:cubicBezTo>
                <a:cubicBezTo>
                  <a:pt x="159" y="62"/>
                  <a:pt x="159" y="62"/>
                  <a:pt x="159" y="62"/>
                </a:cubicBezTo>
                <a:cubicBezTo>
                  <a:pt x="159" y="67"/>
                  <a:pt x="159" y="67"/>
                  <a:pt x="159" y="67"/>
                </a:cubicBezTo>
                <a:cubicBezTo>
                  <a:pt x="159" y="67"/>
                  <a:pt x="160" y="73"/>
                  <a:pt x="160" y="81"/>
                </a:cubicBezTo>
                <a:cubicBezTo>
                  <a:pt x="160" y="104"/>
                  <a:pt x="156" y="153"/>
                  <a:pt x="130" y="178"/>
                </a:cubicBezTo>
                <a:cubicBezTo>
                  <a:pt x="125" y="174"/>
                  <a:pt x="109" y="165"/>
                  <a:pt x="89" y="165"/>
                </a:cubicBezTo>
                <a:cubicBezTo>
                  <a:pt x="85" y="165"/>
                  <a:pt x="80" y="165"/>
                  <a:pt x="74" y="166"/>
                </a:cubicBezTo>
                <a:cubicBezTo>
                  <a:pt x="55" y="167"/>
                  <a:pt x="33" y="169"/>
                  <a:pt x="14" y="152"/>
                </a:cubicBezTo>
                <a:cubicBezTo>
                  <a:pt x="22" y="143"/>
                  <a:pt x="49" y="109"/>
                  <a:pt x="50" y="66"/>
                </a:cubicBezTo>
                <a:cubicBezTo>
                  <a:pt x="51" y="59"/>
                  <a:pt x="51" y="59"/>
                  <a:pt x="51" y="59"/>
                </a:cubicBezTo>
                <a:cubicBezTo>
                  <a:pt x="46" y="64"/>
                  <a:pt x="46" y="64"/>
                  <a:pt x="46" y="64"/>
                </a:cubicBezTo>
                <a:cubicBezTo>
                  <a:pt x="46" y="64"/>
                  <a:pt x="38" y="71"/>
                  <a:pt x="24" y="75"/>
                </a:cubicBezTo>
                <a:cubicBezTo>
                  <a:pt x="22" y="72"/>
                  <a:pt x="10" y="47"/>
                  <a:pt x="7" y="42"/>
                </a:cubicBezTo>
                <a:cubicBezTo>
                  <a:pt x="12" y="40"/>
                  <a:pt x="23" y="35"/>
                  <a:pt x="31" y="28"/>
                </a:cubicBezTo>
                <a:cubicBezTo>
                  <a:pt x="53" y="10"/>
                  <a:pt x="63" y="8"/>
                  <a:pt x="73" y="6"/>
                </a:cubicBezTo>
                <a:cubicBezTo>
                  <a:pt x="73" y="4"/>
                  <a:pt x="72" y="2"/>
                  <a:pt x="72" y="0"/>
                </a:cubicBezTo>
                <a:cubicBezTo>
                  <a:pt x="61" y="2"/>
                  <a:pt x="50" y="5"/>
                  <a:pt x="27" y="23"/>
                </a:cubicBezTo>
                <a:cubicBezTo>
                  <a:pt x="17" y="32"/>
                  <a:pt x="3" y="38"/>
                  <a:pt x="2" y="38"/>
                </a:cubicBezTo>
                <a:cubicBezTo>
                  <a:pt x="0" y="39"/>
                  <a:pt x="0" y="39"/>
                  <a:pt x="0" y="39"/>
                </a:cubicBezTo>
                <a:cubicBezTo>
                  <a:pt x="21" y="82"/>
                  <a:pt x="21" y="82"/>
                  <a:pt x="21" y="82"/>
                </a:cubicBezTo>
                <a:cubicBezTo>
                  <a:pt x="23" y="81"/>
                  <a:pt x="23" y="81"/>
                  <a:pt x="23" y="81"/>
                </a:cubicBezTo>
                <a:cubicBezTo>
                  <a:pt x="33" y="79"/>
                  <a:pt x="40" y="75"/>
                  <a:pt x="44" y="72"/>
                </a:cubicBezTo>
                <a:cubicBezTo>
                  <a:pt x="40" y="116"/>
                  <a:pt x="8" y="150"/>
                  <a:pt x="8" y="150"/>
                </a:cubicBezTo>
                <a:cubicBezTo>
                  <a:pt x="6" y="152"/>
                  <a:pt x="6" y="152"/>
                  <a:pt x="6" y="152"/>
                </a:cubicBezTo>
                <a:cubicBezTo>
                  <a:pt x="8" y="154"/>
                  <a:pt x="8" y="154"/>
                  <a:pt x="8" y="154"/>
                </a:cubicBezTo>
                <a:cubicBezTo>
                  <a:pt x="29" y="175"/>
                  <a:pt x="54" y="173"/>
                  <a:pt x="75" y="171"/>
                </a:cubicBezTo>
                <a:cubicBezTo>
                  <a:pt x="80" y="171"/>
                  <a:pt x="85" y="171"/>
                  <a:pt x="89" y="171"/>
                </a:cubicBezTo>
                <a:cubicBezTo>
                  <a:pt x="111" y="171"/>
                  <a:pt x="129" y="184"/>
                  <a:pt x="129" y="184"/>
                </a:cubicBezTo>
                <a:cubicBezTo>
                  <a:pt x="131" y="186"/>
                  <a:pt x="131" y="186"/>
                  <a:pt x="131" y="186"/>
                </a:cubicBezTo>
                <a:cubicBezTo>
                  <a:pt x="132" y="184"/>
                  <a:pt x="132" y="184"/>
                  <a:pt x="132" y="184"/>
                </a:cubicBezTo>
                <a:cubicBezTo>
                  <a:pt x="162" y="158"/>
                  <a:pt x="165" y="107"/>
                  <a:pt x="165" y="82"/>
                </a:cubicBezTo>
                <a:cubicBezTo>
                  <a:pt x="165" y="78"/>
                  <a:pt x="165" y="74"/>
                  <a:pt x="165" y="72"/>
                </a:cubicBezTo>
                <a:cubicBezTo>
                  <a:pt x="176" y="77"/>
                  <a:pt x="188" y="79"/>
                  <a:pt x="188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206" y="29"/>
                  <a:pt x="206" y="29"/>
                  <a:pt x="206" y="29"/>
                </a:cubicBezTo>
                <a:lnTo>
                  <a:pt x="204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2" name="Freeform 193"/>
          <p:cNvSpPr>
            <a:spLocks/>
          </p:cNvSpPr>
          <p:nvPr/>
        </p:nvSpPr>
        <p:spPr bwMode="auto">
          <a:xfrm>
            <a:off x="2099734" y="4652434"/>
            <a:ext cx="156633" cy="80433"/>
          </a:xfrm>
          <a:custGeom>
            <a:avLst/>
            <a:gdLst>
              <a:gd name="T0" fmla="*/ 137800434 w 52"/>
              <a:gd name="T1" fmla="*/ 134781690 h 27"/>
              <a:gd name="T2" fmla="*/ 260288454 w 52"/>
              <a:gd name="T3" fmla="*/ 39935150 h 27"/>
              <a:gd name="T4" fmla="*/ 265391839 w 52"/>
              <a:gd name="T5" fmla="*/ 4991335 h 27"/>
              <a:gd name="T6" fmla="*/ 250081684 w 52"/>
              <a:gd name="T7" fmla="*/ 4991335 h 27"/>
              <a:gd name="T8" fmla="*/ 239872654 w 52"/>
              <a:gd name="T9" fmla="*/ 4991335 h 27"/>
              <a:gd name="T10" fmla="*/ 234769269 w 52"/>
              <a:gd name="T11" fmla="*/ 14976240 h 27"/>
              <a:gd name="T12" fmla="*/ 137800434 w 52"/>
              <a:gd name="T13" fmla="*/ 104829210 h 27"/>
              <a:gd name="T14" fmla="*/ 30622570 w 52"/>
              <a:gd name="T15" fmla="*/ 14976240 h 27"/>
              <a:gd name="T16" fmla="*/ 30622570 w 52"/>
              <a:gd name="T17" fmla="*/ 0 h 27"/>
              <a:gd name="T18" fmla="*/ 15310155 w 52"/>
              <a:gd name="T19" fmla="*/ 4991335 h 27"/>
              <a:gd name="T20" fmla="*/ 0 w 52"/>
              <a:gd name="T21" fmla="*/ 4991335 h 27"/>
              <a:gd name="T22" fmla="*/ 15310155 w 52"/>
              <a:gd name="T23" fmla="*/ 54911390 h 27"/>
              <a:gd name="T24" fmla="*/ 137800434 w 52"/>
              <a:gd name="T25" fmla="*/ 134781690 h 2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2" h="27">
                <a:moveTo>
                  <a:pt x="27" y="27"/>
                </a:moveTo>
                <a:cubicBezTo>
                  <a:pt x="41" y="27"/>
                  <a:pt x="49" y="16"/>
                  <a:pt x="51" y="8"/>
                </a:cubicBezTo>
                <a:cubicBezTo>
                  <a:pt x="52" y="6"/>
                  <a:pt x="52" y="3"/>
                  <a:pt x="52" y="1"/>
                </a:cubicBezTo>
                <a:cubicBezTo>
                  <a:pt x="51" y="1"/>
                  <a:pt x="49" y="1"/>
                  <a:pt x="49" y="1"/>
                </a:cubicBezTo>
                <a:cubicBezTo>
                  <a:pt x="47" y="1"/>
                  <a:pt x="47" y="1"/>
                  <a:pt x="47" y="1"/>
                </a:cubicBezTo>
                <a:cubicBezTo>
                  <a:pt x="46" y="3"/>
                  <a:pt x="46" y="3"/>
                  <a:pt x="46" y="3"/>
                </a:cubicBezTo>
                <a:cubicBezTo>
                  <a:pt x="46" y="4"/>
                  <a:pt x="43" y="21"/>
                  <a:pt x="27" y="21"/>
                </a:cubicBezTo>
                <a:cubicBezTo>
                  <a:pt x="10" y="21"/>
                  <a:pt x="6" y="4"/>
                  <a:pt x="6" y="3"/>
                </a:cubicBezTo>
                <a:cubicBezTo>
                  <a:pt x="6" y="0"/>
                  <a:pt x="6" y="0"/>
                  <a:pt x="6" y="0"/>
                </a:cubicBezTo>
                <a:cubicBezTo>
                  <a:pt x="3" y="1"/>
                  <a:pt x="3" y="1"/>
                  <a:pt x="3" y="1"/>
                </a:cubicBezTo>
                <a:cubicBezTo>
                  <a:pt x="0" y="1"/>
                  <a:pt x="0" y="1"/>
                  <a:pt x="0" y="1"/>
                </a:cubicBezTo>
                <a:cubicBezTo>
                  <a:pt x="1" y="4"/>
                  <a:pt x="2" y="8"/>
                  <a:pt x="3" y="11"/>
                </a:cubicBezTo>
                <a:cubicBezTo>
                  <a:pt x="6" y="19"/>
                  <a:pt x="14" y="27"/>
                  <a:pt x="27" y="2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3" name="Freeform 194"/>
          <p:cNvSpPr>
            <a:spLocks/>
          </p:cNvSpPr>
          <p:nvPr/>
        </p:nvSpPr>
        <p:spPr bwMode="auto">
          <a:xfrm>
            <a:off x="2048934" y="4889501"/>
            <a:ext cx="29633" cy="31751"/>
          </a:xfrm>
          <a:custGeom>
            <a:avLst/>
            <a:gdLst>
              <a:gd name="T0" fmla="*/ 24698643 w 10"/>
              <a:gd name="T1" fmla="*/ 0 h 10"/>
              <a:gd name="T2" fmla="*/ 0 w 10"/>
              <a:gd name="T3" fmla="*/ 0 h 10"/>
              <a:gd name="T4" fmla="*/ 49395063 w 10"/>
              <a:gd name="T5" fmla="*/ 56705897 h 10"/>
              <a:gd name="T6" fmla="*/ 49395063 w 10"/>
              <a:gd name="T7" fmla="*/ 28354139 h 10"/>
              <a:gd name="T8" fmla="*/ 24698643 w 10"/>
              <a:gd name="T9" fmla="*/ 0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" h="10">
                <a:moveTo>
                  <a:pt x="5" y="0"/>
                </a:moveTo>
                <a:cubicBezTo>
                  <a:pt x="0" y="0"/>
                  <a:pt x="0" y="0"/>
                  <a:pt x="0" y="0"/>
                </a:cubicBezTo>
                <a:cubicBezTo>
                  <a:pt x="0" y="4"/>
                  <a:pt x="1" y="9"/>
                  <a:pt x="10" y="10"/>
                </a:cubicBezTo>
                <a:cubicBezTo>
                  <a:pt x="10" y="5"/>
                  <a:pt x="10" y="5"/>
                  <a:pt x="10" y="5"/>
                </a:cubicBezTo>
                <a:cubicBezTo>
                  <a:pt x="6" y="5"/>
                  <a:pt x="5" y="2"/>
                  <a:pt x="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4" name="Freeform 195"/>
          <p:cNvSpPr>
            <a:spLocks/>
          </p:cNvSpPr>
          <p:nvPr/>
        </p:nvSpPr>
        <p:spPr bwMode="auto">
          <a:xfrm>
            <a:off x="2048934" y="4832351"/>
            <a:ext cx="29633" cy="52916"/>
          </a:xfrm>
          <a:custGeom>
            <a:avLst/>
            <a:gdLst>
              <a:gd name="T0" fmla="*/ 39516050 w 10"/>
              <a:gd name="T1" fmla="*/ 59950715 h 17"/>
              <a:gd name="T2" fmla="*/ 24698643 w 10"/>
              <a:gd name="T3" fmla="*/ 43602006 h 17"/>
              <a:gd name="T4" fmla="*/ 49395063 w 10"/>
              <a:gd name="T5" fmla="*/ 21799836 h 17"/>
              <a:gd name="T6" fmla="*/ 49395063 w 10"/>
              <a:gd name="T7" fmla="*/ 0 h 17"/>
              <a:gd name="T8" fmla="*/ 0 w 10"/>
              <a:gd name="T9" fmla="*/ 43602006 h 17"/>
              <a:gd name="T10" fmla="*/ 39516050 w 10"/>
              <a:gd name="T11" fmla="*/ 87201677 h 17"/>
              <a:gd name="T12" fmla="*/ 49395063 w 10"/>
              <a:gd name="T13" fmla="*/ 92652803 h 17"/>
              <a:gd name="T14" fmla="*/ 49395063 w 10"/>
              <a:gd name="T15" fmla="*/ 59950715 h 17"/>
              <a:gd name="T16" fmla="*/ 39516050 w 10"/>
              <a:gd name="T17" fmla="*/ 59950715 h 1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" h="17">
                <a:moveTo>
                  <a:pt x="8" y="11"/>
                </a:moveTo>
                <a:cubicBezTo>
                  <a:pt x="7" y="10"/>
                  <a:pt x="5" y="10"/>
                  <a:pt x="5" y="8"/>
                </a:cubicBezTo>
                <a:cubicBezTo>
                  <a:pt x="5" y="5"/>
                  <a:pt x="8" y="4"/>
                  <a:pt x="10" y="4"/>
                </a:cubicBezTo>
                <a:cubicBezTo>
                  <a:pt x="10" y="0"/>
                  <a:pt x="10" y="0"/>
                  <a:pt x="10" y="0"/>
                </a:cubicBezTo>
                <a:cubicBezTo>
                  <a:pt x="2" y="0"/>
                  <a:pt x="0" y="5"/>
                  <a:pt x="0" y="8"/>
                </a:cubicBezTo>
                <a:cubicBezTo>
                  <a:pt x="0" y="14"/>
                  <a:pt x="4" y="15"/>
                  <a:pt x="8" y="16"/>
                </a:cubicBezTo>
                <a:cubicBezTo>
                  <a:pt x="10" y="17"/>
                  <a:pt x="10" y="17"/>
                  <a:pt x="10" y="17"/>
                </a:cubicBezTo>
                <a:cubicBezTo>
                  <a:pt x="10" y="11"/>
                  <a:pt x="10" y="11"/>
                  <a:pt x="10" y="11"/>
                </a:cubicBezTo>
                <a:lnTo>
                  <a:pt x="8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5" name="Freeform 196"/>
          <p:cNvSpPr>
            <a:spLocks/>
          </p:cNvSpPr>
          <p:nvPr/>
        </p:nvSpPr>
        <p:spPr bwMode="auto">
          <a:xfrm>
            <a:off x="2080685" y="4832351"/>
            <a:ext cx="27516" cy="27516"/>
          </a:xfrm>
          <a:custGeom>
            <a:avLst/>
            <a:gdLst>
              <a:gd name="T0" fmla="*/ 21031396 w 9"/>
              <a:gd name="T1" fmla="*/ 47322934 h 9"/>
              <a:gd name="T2" fmla="*/ 47322934 w 9"/>
              <a:gd name="T3" fmla="*/ 47322934 h 9"/>
              <a:gd name="T4" fmla="*/ 0 w 9"/>
              <a:gd name="T5" fmla="*/ 0 h 9"/>
              <a:gd name="T6" fmla="*/ 0 w 9"/>
              <a:gd name="T7" fmla="*/ 21031396 h 9"/>
              <a:gd name="T8" fmla="*/ 21031396 w 9"/>
              <a:gd name="T9" fmla="*/ 47322934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" h="9">
                <a:moveTo>
                  <a:pt x="4" y="9"/>
                </a:moveTo>
                <a:cubicBezTo>
                  <a:pt x="9" y="9"/>
                  <a:pt x="9" y="9"/>
                  <a:pt x="9" y="9"/>
                </a:cubicBezTo>
                <a:cubicBezTo>
                  <a:pt x="9" y="5"/>
                  <a:pt x="7" y="0"/>
                  <a:pt x="0" y="0"/>
                </a:cubicBezTo>
                <a:cubicBezTo>
                  <a:pt x="0" y="4"/>
                  <a:pt x="0" y="4"/>
                  <a:pt x="0" y="4"/>
                </a:cubicBezTo>
                <a:cubicBezTo>
                  <a:pt x="3" y="5"/>
                  <a:pt x="4" y="7"/>
                  <a:pt x="4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6" name="Freeform 197"/>
          <p:cNvSpPr>
            <a:spLocks/>
          </p:cNvSpPr>
          <p:nvPr/>
        </p:nvSpPr>
        <p:spPr bwMode="auto">
          <a:xfrm>
            <a:off x="2080685" y="4866218"/>
            <a:ext cx="29633" cy="55033"/>
          </a:xfrm>
          <a:custGeom>
            <a:avLst/>
            <a:gdLst>
              <a:gd name="T0" fmla="*/ 14819630 w 10"/>
              <a:gd name="T1" fmla="*/ 5257976 h 18"/>
              <a:gd name="T2" fmla="*/ 0 w 10"/>
              <a:gd name="T3" fmla="*/ 0 h 18"/>
              <a:gd name="T4" fmla="*/ 0 w 10"/>
              <a:gd name="T5" fmla="*/ 31547858 h 18"/>
              <a:gd name="T6" fmla="*/ 0 w 10"/>
              <a:gd name="T7" fmla="*/ 31547858 h 18"/>
              <a:gd name="T8" fmla="*/ 24698643 w 10"/>
              <a:gd name="T9" fmla="*/ 47324081 h 18"/>
              <a:gd name="T10" fmla="*/ 0 w 10"/>
              <a:gd name="T11" fmla="*/ 68355986 h 18"/>
              <a:gd name="T12" fmla="*/ 0 w 10"/>
              <a:gd name="T13" fmla="*/ 94645868 h 18"/>
              <a:gd name="T14" fmla="*/ 49395063 w 10"/>
              <a:gd name="T15" fmla="*/ 47324081 h 18"/>
              <a:gd name="T16" fmla="*/ 14819630 w 10"/>
              <a:gd name="T17" fmla="*/ 5257976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0" h="18">
                <a:moveTo>
                  <a:pt x="3" y="1"/>
                </a:moveTo>
                <a:cubicBezTo>
                  <a:pt x="0" y="0"/>
                  <a:pt x="0" y="0"/>
                  <a:pt x="0" y="0"/>
                </a:cubicBezTo>
                <a:cubicBezTo>
                  <a:pt x="0" y="6"/>
                  <a:pt x="0" y="6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3" y="7"/>
                  <a:pt x="5" y="7"/>
                  <a:pt x="5" y="9"/>
                </a:cubicBezTo>
                <a:cubicBezTo>
                  <a:pt x="5" y="12"/>
                  <a:pt x="2" y="13"/>
                  <a:pt x="0" y="13"/>
                </a:cubicBezTo>
                <a:cubicBezTo>
                  <a:pt x="0" y="18"/>
                  <a:pt x="0" y="18"/>
                  <a:pt x="0" y="18"/>
                </a:cubicBezTo>
                <a:cubicBezTo>
                  <a:pt x="2" y="18"/>
                  <a:pt x="10" y="17"/>
                  <a:pt x="10" y="9"/>
                </a:cubicBezTo>
                <a:cubicBezTo>
                  <a:pt x="10" y="4"/>
                  <a:pt x="6" y="2"/>
                  <a:pt x="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7" name="Freeform 198"/>
          <p:cNvSpPr>
            <a:spLocks/>
          </p:cNvSpPr>
          <p:nvPr/>
        </p:nvSpPr>
        <p:spPr bwMode="auto">
          <a:xfrm>
            <a:off x="2146300" y="4832351"/>
            <a:ext cx="42333" cy="84667"/>
          </a:xfrm>
          <a:custGeom>
            <a:avLst/>
            <a:gdLst>
              <a:gd name="T0" fmla="*/ 20161250 w 20"/>
              <a:gd name="T1" fmla="*/ 0 h 40"/>
              <a:gd name="T2" fmla="*/ 0 w 20"/>
              <a:gd name="T3" fmla="*/ 0 h 40"/>
              <a:gd name="T4" fmla="*/ 30241875 w 20"/>
              <a:gd name="T5" fmla="*/ 100806250 h 40"/>
              <a:gd name="T6" fmla="*/ 50403125 w 20"/>
              <a:gd name="T7" fmla="*/ 100806250 h 40"/>
              <a:gd name="T8" fmla="*/ 20161250 w 20"/>
              <a:gd name="T9" fmla="*/ 0 h 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40">
                <a:moveTo>
                  <a:pt x="8" y="0"/>
                </a:moveTo>
                <a:lnTo>
                  <a:pt x="0" y="0"/>
                </a:lnTo>
                <a:lnTo>
                  <a:pt x="12" y="40"/>
                </a:lnTo>
                <a:lnTo>
                  <a:pt x="20" y="40"/>
                </a:lnTo>
                <a:lnTo>
                  <a:pt x="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8" name="Freeform 199"/>
          <p:cNvSpPr>
            <a:spLocks/>
          </p:cNvSpPr>
          <p:nvPr/>
        </p:nvSpPr>
        <p:spPr bwMode="auto">
          <a:xfrm>
            <a:off x="2116667" y="4836585"/>
            <a:ext cx="46567" cy="80433"/>
          </a:xfrm>
          <a:custGeom>
            <a:avLst/>
            <a:gdLst>
              <a:gd name="T0" fmla="*/ 30241875 w 22"/>
              <a:gd name="T1" fmla="*/ 60483750 h 38"/>
              <a:gd name="T2" fmla="*/ 40322500 w 22"/>
              <a:gd name="T3" fmla="*/ 27722513 h 38"/>
              <a:gd name="T4" fmla="*/ 32762825 w 22"/>
              <a:gd name="T5" fmla="*/ 0 h 38"/>
              <a:gd name="T6" fmla="*/ 0 w 22"/>
              <a:gd name="T7" fmla="*/ 95765938 h 38"/>
              <a:gd name="T8" fmla="*/ 17641888 w 22"/>
              <a:gd name="T9" fmla="*/ 95765938 h 38"/>
              <a:gd name="T10" fmla="*/ 25201563 w 22"/>
              <a:gd name="T11" fmla="*/ 75604688 h 38"/>
              <a:gd name="T12" fmla="*/ 55443438 w 22"/>
              <a:gd name="T13" fmla="*/ 75604688 h 38"/>
              <a:gd name="T14" fmla="*/ 50403125 w 22"/>
              <a:gd name="T15" fmla="*/ 60483750 h 38"/>
              <a:gd name="T16" fmla="*/ 30241875 w 22"/>
              <a:gd name="T17" fmla="*/ 60483750 h 3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2" h="38">
                <a:moveTo>
                  <a:pt x="12" y="24"/>
                </a:moveTo>
                <a:lnTo>
                  <a:pt x="16" y="11"/>
                </a:lnTo>
                <a:lnTo>
                  <a:pt x="13" y="0"/>
                </a:lnTo>
                <a:lnTo>
                  <a:pt x="0" y="38"/>
                </a:lnTo>
                <a:lnTo>
                  <a:pt x="7" y="38"/>
                </a:lnTo>
                <a:lnTo>
                  <a:pt x="10" y="30"/>
                </a:lnTo>
                <a:lnTo>
                  <a:pt x="22" y="30"/>
                </a:lnTo>
                <a:lnTo>
                  <a:pt x="20" y="24"/>
                </a:lnTo>
                <a:lnTo>
                  <a:pt x="12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89" name="Freeform 200"/>
          <p:cNvSpPr>
            <a:spLocks/>
          </p:cNvSpPr>
          <p:nvPr/>
        </p:nvSpPr>
        <p:spPr bwMode="auto">
          <a:xfrm>
            <a:off x="2199218" y="4832351"/>
            <a:ext cx="52916" cy="84667"/>
          </a:xfrm>
          <a:custGeom>
            <a:avLst/>
            <a:gdLst>
              <a:gd name="T0" fmla="*/ 17641665 w 25"/>
              <a:gd name="T1" fmla="*/ 0 h 40"/>
              <a:gd name="T2" fmla="*/ 0 w 25"/>
              <a:gd name="T3" fmla="*/ 0 h 40"/>
              <a:gd name="T4" fmla="*/ 0 w 25"/>
              <a:gd name="T5" fmla="*/ 100806250 h 40"/>
              <a:gd name="T6" fmla="*/ 63003906 w 25"/>
              <a:gd name="T7" fmla="*/ 100806250 h 40"/>
              <a:gd name="T8" fmla="*/ 63003906 w 25"/>
              <a:gd name="T9" fmla="*/ 83165950 h 40"/>
              <a:gd name="T10" fmla="*/ 17641665 w 25"/>
              <a:gd name="T11" fmla="*/ 83165950 h 40"/>
              <a:gd name="T12" fmla="*/ 17641665 w 25"/>
              <a:gd name="T13" fmla="*/ 0 h 4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5" h="40">
                <a:moveTo>
                  <a:pt x="7" y="0"/>
                </a:moveTo>
                <a:lnTo>
                  <a:pt x="0" y="0"/>
                </a:lnTo>
                <a:lnTo>
                  <a:pt x="0" y="40"/>
                </a:lnTo>
                <a:lnTo>
                  <a:pt x="25" y="40"/>
                </a:lnTo>
                <a:lnTo>
                  <a:pt x="25" y="33"/>
                </a:lnTo>
                <a:lnTo>
                  <a:pt x="7" y="33"/>
                </a:lnTo>
                <a:lnTo>
                  <a:pt x="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90" name="Rectangle 201"/>
          <p:cNvSpPr>
            <a:spLocks noChangeArrowheads="1"/>
          </p:cNvSpPr>
          <p:nvPr/>
        </p:nvSpPr>
        <p:spPr bwMode="auto">
          <a:xfrm>
            <a:off x="2281767" y="4832351"/>
            <a:ext cx="35984" cy="148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591" name="Rectangle 202"/>
          <p:cNvSpPr>
            <a:spLocks noChangeArrowheads="1"/>
          </p:cNvSpPr>
          <p:nvPr/>
        </p:nvSpPr>
        <p:spPr bwMode="auto">
          <a:xfrm>
            <a:off x="2281768" y="4902201"/>
            <a:ext cx="40217" cy="148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592" name="Rectangle 203"/>
          <p:cNvSpPr>
            <a:spLocks noChangeArrowheads="1"/>
          </p:cNvSpPr>
          <p:nvPr/>
        </p:nvSpPr>
        <p:spPr bwMode="auto">
          <a:xfrm>
            <a:off x="2264834" y="4832351"/>
            <a:ext cx="14817" cy="846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593" name="Rectangle 204"/>
          <p:cNvSpPr>
            <a:spLocks noChangeArrowheads="1"/>
          </p:cNvSpPr>
          <p:nvPr/>
        </p:nvSpPr>
        <p:spPr bwMode="auto">
          <a:xfrm>
            <a:off x="2281767" y="4866217"/>
            <a:ext cx="33867" cy="148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594" name="Freeform 206"/>
          <p:cNvSpPr>
            <a:spLocks/>
          </p:cNvSpPr>
          <p:nvPr/>
        </p:nvSpPr>
        <p:spPr bwMode="auto">
          <a:xfrm>
            <a:off x="2997201" y="4931834"/>
            <a:ext cx="57151" cy="57151"/>
          </a:xfrm>
          <a:custGeom>
            <a:avLst/>
            <a:gdLst>
              <a:gd name="T0" fmla="*/ 81428420 w 19"/>
              <a:gd name="T1" fmla="*/ 96696672 h 19"/>
              <a:gd name="T2" fmla="*/ 96696672 w 19"/>
              <a:gd name="T3" fmla="*/ 96696672 h 19"/>
              <a:gd name="T4" fmla="*/ 0 w 19"/>
              <a:gd name="T5" fmla="*/ 0 h 19"/>
              <a:gd name="T6" fmla="*/ 0 w 19"/>
              <a:gd name="T7" fmla="*/ 15268252 h 19"/>
              <a:gd name="T8" fmla="*/ 81428420 w 19"/>
              <a:gd name="T9" fmla="*/ 96696672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" h="19">
                <a:moveTo>
                  <a:pt x="16" y="19"/>
                </a:moveTo>
                <a:cubicBezTo>
                  <a:pt x="17" y="19"/>
                  <a:pt x="18" y="19"/>
                  <a:pt x="19" y="19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2"/>
                  <a:pt x="0" y="3"/>
                </a:cubicBezTo>
                <a:cubicBezTo>
                  <a:pt x="0" y="12"/>
                  <a:pt x="7" y="19"/>
                  <a:pt x="16" y="1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95" name="Freeform 207"/>
          <p:cNvSpPr>
            <a:spLocks/>
          </p:cNvSpPr>
          <p:nvPr/>
        </p:nvSpPr>
        <p:spPr bwMode="auto">
          <a:xfrm>
            <a:off x="2893485" y="4842934"/>
            <a:ext cx="215900" cy="201084"/>
          </a:xfrm>
          <a:custGeom>
            <a:avLst/>
            <a:gdLst>
              <a:gd name="T0" fmla="*/ 0 w 72"/>
              <a:gd name="T1" fmla="*/ 339471059 h 67"/>
              <a:gd name="T2" fmla="*/ 364162578 w 72"/>
              <a:gd name="T3" fmla="*/ 339471059 h 67"/>
              <a:gd name="T4" fmla="*/ 303469940 w 72"/>
              <a:gd name="T5" fmla="*/ 278670911 h 67"/>
              <a:gd name="T6" fmla="*/ 257948774 w 72"/>
              <a:gd name="T7" fmla="*/ 283737777 h 67"/>
              <a:gd name="T8" fmla="*/ 141619155 w 72"/>
              <a:gd name="T9" fmla="*/ 167202096 h 67"/>
              <a:gd name="T10" fmla="*/ 151734970 w 72"/>
              <a:gd name="T11" fmla="*/ 126669414 h 67"/>
              <a:gd name="T12" fmla="*/ 25289536 w 72"/>
              <a:gd name="T13" fmla="*/ 0 h 67"/>
              <a:gd name="T14" fmla="*/ 0 w 72"/>
              <a:gd name="T15" fmla="*/ 0 h 67"/>
              <a:gd name="T16" fmla="*/ 0 w 72"/>
              <a:gd name="T17" fmla="*/ 339471059 h 6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2" h="67">
                <a:moveTo>
                  <a:pt x="0" y="67"/>
                </a:moveTo>
                <a:cubicBezTo>
                  <a:pt x="72" y="67"/>
                  <a:pt x="72" y="67"/>
                  <a:pt x="72" y="67"/>
                </a:cubicBezTo>
                <a:cubicBezTo>
                  <a:pt x="60" y="55"/>
                  <a:pt x="60" y="55"/>
                  <a:pt x="60" y="55"/>
                </a:cubicBezTo>
                <a:cubicBezTo>
                  <a:pt x="57" y="56"/>
                  <a:pt x="54" y="56"/>
                  <a:pt x="51" y="56"/>
                </a:cubicBezTo>
                <a:cubicBezTo>
                  <a:pt x="38" y="56"/>
                  <a:pt x="28" y="46"/>
                  <a:pt x="28" y="33"/>
                </a:cubicBezTo>
                <a:cubicBezTo>
                  <a:pt x="28" y="30"/>
                  <a:pt x="29" y="27"/>
                  <a:pt x="30" y="25"/>
                </a:cubicBezTo>
                <a:cubicBezTo>
                  <a:pt x="5" y="0"/>
                  <a:pt x="5" y="0"/>
                  <a:pt x="5" y="0"/>
                </a:cubicBezTo>
                <a:cubicBezTo>
                  <a:pt x="0" y="0"/>
                  <a:pt x="0" y="0"/>
                  <a:pt x="0" y="0"/>
                </a:cubicBezTo>
                <a:lnTo>
                  <a:pt x="0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96" name="Freeform 208"/>
          <p:cNvSpPr>
            <a:spLocks/>
          </p:cNvSpPr>
          <p:nvPr/>
        </p:nvSpPr>
        <p:spPr bwMode="auto">
          <a:xfrm>
            <a:off x="2995085" y="4790018"/>
            <a:ext cx="205316" cy="230716"/>
          </a:xfrm>
          <a:custGeom>
            <a:avLst/>
            <a:gdLst>
              <a:gd name="T0" fmla="*/ 179483171 w 68"/>
              <a:gd name="T1" fmla="*/ 88125923 h 76"/>
              <a:gd name="T2" fmla="*/ 169224919 w 68"/>
              <a:gd name="T3" fmla="*/ 0 h 76"/>
              <a:gd name="T4" fmla="*/ 5129126 w 68"/>
              <a:gd name="T5" fmla="*/ 0 h 76"/>
              <a:gd name="T6" fmla="*/ 0 w 68"/>
              <a:gd name="T7" fmla="*/ 41471960 h 76"/>
              <a:gd name="T8" fmla="*/ 97433010 w 68"/>
              <a:gd name="T9" fmla="*/ 139964165 h 76"/>
              <a:gd name="T10" fmla="*/ 205122007 w 68"/>
              <a:gd name="T11" fmla="*/ 248824929 h 76"/>
              <a:gd name="T12" fmla="*/ 348708091 w 68"/>
              <a:gd name="T13" fmla="*/ 393973374 h 76"/>
              <a:gd name="T14" fmla="*/ 348708091 w 68"/>
              <a:gd name="T15" fmla="*/ 88125923 h 76"/>
              <a:gd name="T16" fmla="*/ 179483171 w 68"/>
              <a:gd name="T17" fmla="*/ 88125923 h 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8" h="76">
                <a:moveTo>
                  <a:pt x="35" y="17"/>
                </a:moveTo>
                <a:cubicBezTo>
                  <a:pt x="33" y="0"/>
                  <a:pt x="33" y="0"/>
                  <a:pt x="33" y="0"/>
                </a:cubicBezTo>
                <a:cubicBezTo>
                  <a:pt x="1" y="0"/>
                  <a:pt x="1" y="0"/>
                  <a:pt x="1" y="0"/>
                </a:cubicBezTo>
                <a:cubicBezTo>
                  <a:pt x="0" y="8"/>
                  <a:pt x="0" y="8"/>
                  <a:pt x="0" y="8"/>
                </a:cubicBezTo>
                <a:cubicBezTo>
                  <a:pt x="19" y="27"/>
                  <a:pt x="19" y="27"/>
                  <a:pt x="19" y="27"/>
                </a:cubicBezTo>
                <a:cubicBezTo>
                  <a:pt x="30" y="28"/>
                  <a:pt x="39" y="37"/>
                  <a:pt x="40" y="48"/>
                </a:cubicBezTo>
                <a:cubicBezTo>
                  <a:pt x="68" y="76"/>
                  <a:pt x="68" y="76"/>
                  <a:pt x="68" y="76"/>
                </a:cubicBezTo>
                <a:cubicBezTo>
                  <a:pt x="68" y="17"/>
                  <a:pt x="68" y="17"/>
                  <a:pt x="68" y="17"/>
                </a:cubicBezTo>
                <a:lnTo>
                  <a:pt x="35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97" name="Freeform 209"/>
          <p:cNvSpPr>
            <a:spLocks/>
          </p:cNvSpPr>
          <p:nvPr/>
        </p:nvSpPr>
        <p:spPr bwMode="auto">
          <a:xfrm>
            <a:off x="2758018" y="4633385"/>
            <a:ext cx="577849" cy="579967"/>
          </a:xfrm>
          <a:custGeom>
            <a:avLst/>
            <a:gdLst>
              <a:gd name="T0" fmla="*/ 489126888 w 192"/>
              <a:gd name="T1" fmla="*/ 0 h 192"/>
              <a:gd name="T2" fmla="*/ 112091485 w 192"/>
              <a:gd name="T3" fmla="*/ 174504267 h 192"/>
              <a:gd name="T4" fmla="*/ 748976253 w 192"/>
              <a:gd name="T5" fmla="*/ 810929330 h 192"/>
              <a:gd name="T6" fmla="*/ 723501224 w 192"/>
              <a:gd name="T7" fmla="*/ 826327898 h 192"/>
              <a:gd name="T8" fmla="*/ 489126888 w 192"/>
              <a:gd name="T9" fmla="*/ 903313942 h 192"/>
              <a:gd name="T10" fmla="*/ 81521900 w 192"/>
              <a:gd name="T11" fmla="*/ 492717931 h 192"/>
              <a:gd name="T12" fmla="*/ 157946989 w 192"/>
              <a:gd name="T13" fmla="*/ 256623923 h 192"/>
              <a:gd name="T14" fmla="*/ 96805564 w 192"/>
              <a:gd name="T15" fmla="*/ 195034181 h 192"/>
              <a:gd name="T16" fmla="*/ 0 w 192"/>
              <a:gd name="T17" fmla="*/ 492717931 h 192"/>
              <a:gd name="T18" fmla="*/ 489126888 w 192"/>
              <a:gd name="T19" fmla="*/ 985433597 h 192"/>
              <a:gd name="T20" fmla="*/ 861067738 w 192"/>
              <a:gd name="T21" fmla="*/ 810929330 h 192"/>
              <a:gd name="T22" fmla="*/ 229277524 w 192"/>
              <a:gd name="T23" fmla="*/ 174504267 h 192"/>
              <a:gd name="T24" fmla="*/ 254752553 w 192"/>
              <a:gd name="T25" fmla="*/ 159105699 h 192"/>
              <a:gd name="T26" fmla="*/ 489126888 w 192"/>
              <a:gd name="T27" fmla="*/ 82119655 h 192"/>
              <a:gd name="T28" fmla="*/ 896731876 w 192"/>
              <a:gd name="T29" fmla="*/ 492717931 h 192"/>
              <a:gd name="T30" fmla="*/ 820306788 w 192"/>
              <a:gd name="T31" fmla="*/ 728809674 h 192"/>
              <a:gd name="T32" fmla="*/ 820306788 w 192"/>
              <a:gd name="T33" fmla="*/ 728809674 h 192"/>
              <a:gd name="T34" fmla="*/ 881448213 w 192"/>
              <a:gd name="T35" fmla="*/ 790399416 h 192"/>
              <a:gd name="T36" fmla="*/ 978253777 w 192"/>
              <a:gd name="T37" fmla="*/ 492717931 h 192"/>
              <a:gd name="T38" fmla="*/ 489126888 w 192"/>
              <a:gd name="T39" fmla="*/ 0 h 19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92" h="192">
                <a:moveTo>
                  <a:pt x="96" y="0"/>
                </a:moveTo>
                <a:cubicBezTo>
                  <a:pt x="67" y="0"/>
                  <a:pt x="40" y="13"/>
                  <a:pt x="22" y="34"/>
                </a:cubicBezTo>
                <a:cubicBezTo>
                  <a:pt x="147" y="158"/>
                  <a:pt x="147" y="158"/>
                  <a:pt x="147" y="158"/>
                </a:cubicBezTo>
                <a:cubicBezTo>
                  <a:pt x="145" y="159"/>
                  <a:pt x="144" y="160"/>
                  <a:pt x="142" y="161"/>
                </a:cubicBezTo>
                <a:cubicBezTo>
                  <a:pt x="129" y="171"/>
                  <a:pt x="113" y="176"/>
                  <a:pt x="96" y="176"/>
                </a:cubicBezTo>
                <a:cubicBezTo>
                  <a:pt x="52" y="176"/>
                  <a:pt x="16" y="140"/>
                  <a:pt x="16" y="96"/>
                </a:cubicBezTo>
                <a:cubicBezTo>
                  <a:pt x="16" y="79"/>
                  <a:pt x="21" y="63"/>
                  <a:pt x="31" y="50"/>
                </a:cubicBezTo>
                <a:cubicBezTo>
                  <a:pt x="19" y="38"/>
                  <a:pt x="19" y="38"/>
                  <a:pt x="19" y="38"/>
                </a:cubicBezTo>
                <a:cubicBezTo>
                  <a:pt x="7" y="54"/>
                  <a:pt x="0" y="74"/>
                  <a:pt x="0" y="96"/>
                </a:cubicBezTo>
                <a:cubicBezTo>
                  <a:pt x="0" y="149"/>
                  <a:pt x="43" y="192"/>
                  <a:pt x="96" y="192"/>
                </a:cubicBezTo>
                <a:cubicBezTo>
                  <a:pt x="125" y="192"/>
                  <a:pt x="152" y="179"/>
                  <a:pt x="169" y="158"/>
                </a:cubicBezTo>
                <a:cubicBezTo>
                  <a:pt x="45" y="34"/>
                  <a:pt x="45" y="34"/>
                  <a:pt x="45" y="34"/>
                </a:cubicBezTo>
                <a:cubicBezTo>
                  <a:pt x="47" y="33"/>
                  <a:pt x="48" y="32"/>
                  <a:pt x="50" y="31"/>
                </a:cubicBezTo>
                <a:cubicBezTo>
                  <a:pt x="63" y="21"/>
                  <a:pt x="79" y="16"/>
                  <a:pt x="96" y="16"/>
                </a:cubicBezTo>
                <a:cubicBezTo>
                  <a:pt x="140" y="16"/>
                  <a:pt x="176" y="52"/>
                  <a:pt x="176" y="96"/>
                </a:cubicBezTo>
                <a:cubicBezTo>
                  <a:pt x="176" y="113"/>
                  <a:pt x="171" y="129"/>
                  <a:pt x="161" y="142"/>
                </a:cubicBezTo>
                <a:cubicBezTo>
                  <a:pt x="161" y="142"/>
                  <a:pt x="161" y="142"/>
                  <a:pt x="161" y="142"/>
                </a:cubicBezTo>
                <a:cubicBezTo>
                  <a:pt x="173" y="154"/>
                  <a:pt x="173" y="154"/>
                  <a:pt x="173" y="154"/>
                </a:cubicBezTo>
                <a:cubicBezTo>
                  <a:pt x="185" y="138"/>
                  <a:pt x="192" y="118"/>
                  <a:pt x="192" y="96"/>
                </a:cubicBezTo>
                <a:cubicBezTo>
                  <a:pt x="192" y="43"/>
                  <a:pt x="149" y="0"/>
                  <a:pt x="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98" name="Freeform 210"/>
          <p:cNvSpPr>
            <a:spLocks/>
          </p:cNvSpPr>
          <p:nvPr/>
        </p:nvSpPr>
        <p:spPr bwMode="auto">
          <a:xfrm>
            <a:off x="3793067" y="4758268"/>
            <a:ext cx="251884" cy="207433"/>
          </a:xfrm>
          <a:custGeom>
            <a:avLst/>
            <a:gdLst>
              <a:gd name="T0" fmla="*/ 424858590 w 84"/>
              <a:gd name="T1" fmla="*/ 193181311 h 69"/>
              <a:gd name="T2" fmla="*/ 232659853 w 84"/>
              <a:gd name="T3" fmla="*/ 0 h 69"/>
              <a:gd name="T4" fmla="*/ 0 w 84"/>
              <a:gd name="T5" fmla="*/ 0 h 69"/>
              <a:gd name="T6" fmla="*/ 116329927 w 84"/>
              <a:gd name="T7" fmla="*/ 116924759 h 69"/>
              <a:gd name="T8" fmla="*/ 232659853 w 84"/>
              <a:gd name="T9" fmla="*/ 116924759 h 69"/>
              <a:gd name="T10" fmla="*/ 308528663 w 84"/>
              <a:gd name="T11" fmla="*/ 193181311 h 69"/>
              <a:gd name="T12" fmla="*/ 263007377 w 84"/>
              <a:gd name="T13" fmla="*/ 264353491 h 69"/>
              <a:gd name="T14" fmla="*/ 348992029 w 84"/>
              <a:gd name="T15" fmla="*/ 350776531 h 69"/>
              <a:gd name="T16" fmla="*/ 424858590 w 84"/>
              <a:gd name="T17" fmla="*/ 193181311 h 6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4" h="69">
                <a:moveTo>
                  <a:pt x="84" y="38"/>
                </a:moveTo>
                <a:cubicBezTo>
                  <a:pt x="84" y="17"/>
                  <a:pt x="67" y="0"/>
                  <a:pt x="46" y="0"/>
                </a:cubicBezTo>
                <a:cubicBezTo>
                  <a:pt x="0" y="0"/>
                  <a:pt x="0" y="0"/>
                  <a:pt x="0" y="0"/>
                </a:cubicBezTo>
                <a:cubicBezTo>
                  <a:pt x="23" y="23"/>
                  <a:pt x="23" y="23"/>
                  <a:pt x="23" y="23"/>
                </a:cubicBezTo>
                <a:cubicBezTo>
                  <a:pt x="33" y="23"/>
                  <a:pt x="46" y="23"/>
                  <a:pt x="46" y="23"/>
                </a:cubicBezTo>
                <a:cubicBezTo>
                  <a:pt x="54" y="23"/>
                  <a:pt x="61" y="30"/>
                  <a:pt x="61" y="38"/>
                </a:cubicBezTo>
                <a:cubicBezTo>
                  <a:pt x="61" y="44"/>
                  <a:pt x="57" y="50"/>
                  <a:pt x="52" y="52"/>
                </a:cubicBezTo>
                <a:cubicBezTo>
                  <a:pt x="69" y="69"/>
                  <a:pt x="69" y="69"/>
                  <a:pt x="69" y="69"/>
                </a:cubicBezTo>
                <a:cubicBezTo>
                  <a:pt x="78" y="62"/>
                  <a:pt x="84" y="51"/>
                  <a:pt x="84" y="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599" name="Freeform 211"/>
          <p:cNvSpPr>
            <a:spLocks/>
          </p:cNvSpPr>
          <p:nvPr/>
        </p:nvSpPr>
        <p:spPr bwMode="auto">
          <a:xfrm>
            <a:off x="3793067" y="4868334"/>
            <a:ext cx="114300" cy="241300"/>
          </a:xfrm>
          <a:custGeom>
            <a:avLst/>
            <a:gdLst>
              <a:gd name="T0" fmla="*/ 193388832 w 38"/>
              <a:gd name="T1" fmla="*/ 199581492 h 80"/>
              <a:gd name="T2" fmla="*/ 0 w 38"/>
              <a:gd name="T3" fmla="*/ 0 h 80"/>
              <a:gd name="T4" fmla="*/ 0 w 38"/>
              <a:gd name="T5" fmla="*/ 409399383 h 80"/>
              <a:gd name="T6" fmla="*/ 117050720 w 38"/>
              <a:gd name="T7" fmla="*/ 409399383 h 80"/>
              <a:gd name="T8" fmla="*/ 117050720 w 38"/>
              <a:gd name="T9" fmla="*/ 199581492 h 80"/>
              <a:gd name="T10" fmla="*/ 193388832 w 38"/>
              <a:gd name="T11" fmla="*/ 199581492 h 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8" h="80">
                <a:moveTo>
                  <a:pt x="38" y="39"/>
                </a:moveTo>
                <a:cubicBezTo>
                  <a:pt x="0" y="0"/>
                  <a:pt x="0" y="0"/>
                  <a:pt x="0" y="0"/>
                </a:cubicBezTo>
                <a:cubicBezTo>
                  <a:pt x="0" y="80"/>
                  <a:pt x="0" y="80"/>
                  <a:pt x="0" y="80"/>
                </a:cubicBezTo>
                <a:cubicBezTo>
                  <a:pt x="23" y="80"/>
                  <a:pt x="23" y="80"/>
                  <a:pt x="23" y="80"/>
                </a:cubicBezTo>
                <a:cubicBezTo>
                  <a:pt x="23" y="80"/>
                  <a:pt x="23" y="60"/>
                  <a:pt x="23" y="39"/>
                </a:cubicBezTo>
                <a:lnTo>
                  <a:pt x="38" y="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0" name="Freeform 212"/>
          <p:cNvSpPr>
            <a:spLocks/>
          </p:cNvSpPr>
          <p:nvPr/>
        </p:nvSpPr>
        <p:spPr bwMode="auto">
          <a:xfrm>
            <a:off x="3611033" y="4633385"/>
            <a:ext cx="577851" cy="579967"/>
          </a:xfrm>
          <a:custGeom>
            <a:avLst/>
            <a:gdLst>
              <a:gd name="T0" fmla="*/ 229278053 w 192"/>
              <a:gd name="T1" fmla="*/ 174504267 h 192"/>
              <a:gd name="T2" fmla="*/ 254753141 w 192"/>
              <a:gd name="T3" fmla="*/ 159105699 h 192"/>
              <a:gd name="T4" fmla="*/ 489128017 w 192"/>
              <a:gd name="T5" fmla="*/ 82119655 h 192"/>
              <a:gd name="T6" fmla="*/ 896733945 w 192"/>
              <a:gd name="T7" fmla="*/ 492717931 h 192"/>
              <a:gd name="T8" fmla="*/ 820308680 w 192"/>
              <a:gd name="T9" fmla="*/ 728809674 h 192"/>
              <a:gd name="T10" fmla="*/ 820308680 w 192"/>
              <a:gd name="T11" fmla="*/ 733943286 h 192"/>
              <a:gd name="T12" fmla="*/ 881450247 w 192"/>
              <a:gd name="T13" fmla="*/ 790399416 h 192"/>
              <a:gd name="T14" fmla="*/ 978256034 w 192"/>
              <a:gd name="T15" fmla="*/ 492717931 h 192"/>
              <a:gd name="T16" fmla="*/ 489128017 w 192"/>
              <a:gd name="T17" fmla="*/ 0 h 192"/>
              <a:gd name="T18" fmla="*/ 117186309 w 192"/>
              <a:gd name="T19" fmla="*/ 174504267 h 192"/>
              <a:gd name="T20" fmla="*/ 748977981 w 192"/>
              <a:gd name="T21" fmla="*/ 810929330 h 192"/>
              <a:gd name="T22" fmla="*/ 723502893 w 192"/>
              <a:gd name="T23" fmla="*/ 826327898 h 192"/>
              <a:gd name="T24" fmla="*/ 489128017 w 192"/>
              <a:gd name="T25" fmla="*/ 903313942 h 192"/>
              <a:gd name="T26" fmla="*/ 81522089 w 192"/>
              <a:gd name="T27" fmla="*/ 492717931 h 192"/>
              <a:gd name="T28" fmla="*/ 157947354 w 192"/>
              <a:gd name="T29" fmla="*/ 256623923 h 192"/>
              <a:gd name="T30" fmla="*/ 157947354 w 192"/>
              <a:gd name="T31" fmla="*/ 251490311 h 192"/>
              <a:gd name="T32" fmla="*/ 96805787 w 192"/>
              <a:gd name="T33" fmla="*/ 195034181 h 192"/>
              <a:gd name="T34" fmla="*/ 0 w 192"/>
              <a:gd name="T35" fmla="*/ 492717931 h 192"/>
              <a:gd name="T36" fmla="*/ 489128017 w 192"/>
              <a:gd name="T37" fmla="*/ 985433597 h 192"/>
              <a:gd name="T38" fmla="*/ 861069725 w 192"/>
              <a:gd name="T39" fmla="*/ 810929330 h 192"/>
              <a:gd name="T40" fmla="*/ 229278053 w 192"/>
              <a:gd name="T41" fmla="*/ 174504267 h 19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192" h="192">
                <a:moveTo>
                  <a:pt x="45" y="34"/>
                </a:moveTo>
                <a:cubicBezTo>
                  <a:pt x="47" y="33"/>
                  <a:pt x="48" y="32"/>
                  <a:pt x="50" y="31"/>
                </a:cubicBezTo>
                <a:cubicBezTo>
                  <a:pt x="63" y="21"/>
                  <a:pt x="79" y="16"/>
                  <a:pt x="96" y="16"/>
                </a:cubicBezTo>
                <a:cubicBezTo>
                  <a:pt x="140" y="16"/>
                  <a:pt x="176" y="52"/>
                  <a:pt x="176" y="96"/>
                </a:cubicBezTo>
                <a:cubicBezTo>
                  <a:pt x="176" y="113"/>
                  <a:pt x="171" y="129"/>
                  <a:pt x="161" y="142"/>
                </a:cubicBezTo>
                <a:cubicBezTo>
                  <a:pt x="161" y="142"/>
                  <a:pt x="161" y="143"/>
                  <a:pt x="161" y="143"/>
                </a:cubicBezTo>
                <a:cubicBezTo>
                  <a:pt x="173" y="154"/>
                  <a:pt x="173" y="154"/>
                  <a:pt x="173" y="154"/>
                </a:cubicBezTo>
                <a:cubicBezTo>
                  <a:pt x="185" y="138"/>
                  <a:pt x="192" y="118"/>
                  <a:pt x="192" y="96"/>
                </a:cubicBezTo>
                <a:cubicBezTo>
                  <a:pt x="192" y="43"/>
                  <a:pt x="149" y="0"/>
                  <a:pt x="96" y="0"/>
                </a:cubicBezTo>
                <a:cubicBezTo>
                  <a:pt x="67" y="0"/>
                  <a:pt x="40" y="13"/>
                  <a:pt x="23" y="34"/>
                </a:cubicBezTo>
                <a:cubicBezTo>
                  <a:pt x="147" y="158"/>
                  <a:pt x="147" y="158"/>
                  <a:pt x="147" y="158"/>
                </a:cubicBezTo>
                <a:cubicBezTo>
                  <a:pt x="145" y="159"/>
                  <a:pt x="144" y="160"/>
                  <a:pt x="142" y="161"/>
                </a:cubicBezTo>
                <a:cubicBezTo>
                  <a:pt x="129" y="171"/>
                  <a:pt x="113" y="176"/>
                  <a:pt x="96" y="176"/>
                </a:cubicBezTo>
                <a:cubicBezTo>
                  <a:pt x="52" y="176"/>
                  <a:pt x="16" y="140"/>
                  <a:pt x="16" y="96"/>
                </a:cubicBezTo>
                <a:cubicBezTo>
                  <a:pt x="16" y="79"/>
                  <a:pt x="21" y="63"/>
                  <a:pt x="31" y="50"/>
                </a:cubicBezTo>
                <a:cubicBezTo>
                  <a:pt x="31" y="50"/>
                  <a:pt x="31" y="49"/>
                  <a:pt x="31" y="49"/>
                </a:cubicBezTo>
                <a:cubicBezTo>
                  <a:pt x="19" y="38"/>
                  <a:pt x="19" y="38"/>
                  <a:pt x="19" y="38"/>
                </a:cubicBezTo>
                <a:cubicBezTo>
                  <a:pt x="7" y="54"/>
                  <a:pt x="0" y="74"/>
                  <a:pt x="0" y="96"/>
                </a:cubicBezTo>
                <a:cubicBezTo>
                  <a:pt x="0" y="149"/>
                  <a:pt x="43" y="192"/>
                  <a:pt x="96" y="192"/>
                </a:cubicBezTo>
                <a:cubicBezTo>
                  <a:pt x="125" y="192"/>
                  <a:pt x="152" y="179"/>
                  <a:pt x="169" y="158"/>
                </a:cubicBezTo>
                <a:lnTo>
                  <a:pt x="45" y="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1" name="Freeform 213"/>
          <p:cNvSpPr>
            <a:spLocks/>
          </p:cNvSpPr>
          <p:nvPr/>
        </p:nvSpPr>
        <p:spPr bwMode="auto">
          <a:xfrm>
            <a:off x="4817534" y="4842934"/>
            <a:ext cx="116417" cy="150284"/>
          </a:xfrm>
          <a:custGeom>
            <a:avLst/>
            <a:gdLst>
              <a:gd name="T0" fmla="*/ 110887510 w 55"/>
              <a:gd name="T1" fmla="*/ 103327658 h 71"/>
              <a:gd name="T2" fmla="*/ 133569840 w 55"/>
              <a:gd name="T3" fmla="*/ 103327658 h 71"/>
              <a:gd name="T4" fmla="*/ 95766486 w 55"/>
              <a:gd name="T5" fmla="*/ 60484018 h 71"/>
              <a:gd name="T6" fmla="*/ 118448816 w 55"/>
              <a:gd name="T7" fmla="*/ 60484018 h 71"/>
              <a:gd name="T8" fmla="*/ 70564779 w 55"/>
              <a:gd name="T9" fmla="*/ 0 h 71"/>
              <a:gd name="T10" fmla="*/ 22682330 w 55"/>
              <a:gd name="T11" fmla="*/ 60484018 h 71"/>
              <a:gd name="T12" fmla="*/ 42843695 w 55"/>
              <a:gd name="T13" fmla="*/ 60484018 h 71"/>
              <a:gd name="T14" fmla="*/ 7561306 w 55"/>
              <a:gd name="T15" fmla="*/ 103327658 h 71"/>
              <a:gd name="T16" fmla="*/ 27722671 w 55"/>
              <a:gd name="T17" fmla="*/ 103327658 h 71"/>
              <a:gd name="T18" fmla="*/ 0 w 55"/>
              <a:gd name="T19" fmla="*/ 138610002 h 71"/>
              <a:gd name="T20" fmla="*/ 57964719 w 55"/>
              <a:gd name="T21" fmla="*/ 138610002 h 71"/>
              <a:gd name="T22" fmla="*/ 57964719 w 55"/>
              <a:gd name="T23" fmla="*/ 178932681 h 71"/>
              <a:gd name="T24" fmla="*/ 90726145 w 55"/>
              <a:gd name="T25" fmla="*/ 178932681 h 71"/>
              <a:gd name="T26" fmla="*/ 90726145 w 55"/>
              <a:gd name="T27" fmla="*/ 138610002 h 71"/>
              <a:gd name="T28" fmla="*/ 138610181 w 55"/>
              <a:gd name="T29" fmla="*/ 138610002 h 71"/>
              <a:gd name="T30" fmla="*/ 110887510 w 55"/>
              <a:gd name="T31" fmla="*/ 103327658 h 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5" h="71">
                <a:moveTo>
                  <a:pt x="44" y="41"/>
                </a:moveTo>
                <a:lnTo>
                  <a:pt x="53" y="41"/>
                </a:lnTo>
                <a:lnTo>
                  <a:pt x="38" y="24"/>
                </a:lnTo>
                <a:lnTo>
                  <a:pt x="47" y="24"/>
                </a:lnTo>
                <a:lnTo>
                  <a:pt x="28" y="0"/>
                </a:lnTo>
                <a:lnTo>
                  <a:pt x="9" y="24"/>
                </a:lnTo>
                <a:lnTo>
                  <a:pt x="17" y="24"/>
                </a:lnTo>
                <a:lnTo>
                  <a:pt x="3" y="41"/>
                </a:lnTo>
                <a:lnTo>
                  <a:pt x="11" y="41"/>
                </a:lnTo>
                <a:lnTo>
                  <a:pt x="0" y="55"/>
                </a:lnTo>
                <a:lnTo>
                  <a:pt x="23" y="55"/>
                </a:lnTo>
                <a:lnTo>
                  <a:pt x="23" y="71"/>
                </a:lnTo>
                <a:lnTo>
                  <a:pt x="36" y="71"/>
                </a:lnTo>
                <a:lnTo>
                  <a:pt x="36" y="55"/>
                </a:lnTo>
                <a:lnTo>
                  <a:pt x="55" y="55"/>
                </a:lnTo>
                <a:lnTo>
                  <a:pt x="44" y="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2" name="Freeform 214"/>
          <p:cNvSpPr>
            <a:spLocks/>
          </p:cNvSpPr>
          <p:nvPr/>
        </p:nvSpPr>
        <p:spPr bwMode="auto">
          <a:xfrm>
            <a:off x="4730751" y="4766734"/>
            <a:ext cx="99483" cy="129117"/>
          </a:xfrm>
          <a:custGeom>
            <a:avLst/>
            <a:gdLst>
              <a:gd name="T0" fmla="*/ 118447344 w 47"/>
              <a:gd name="T1" fmla="*/ 118448749 h 61"/>
              <a:gd name="T2" fmla="*/ 93245950 w 47"/>
              <a:gd name="T3" fmla="*/ 90726093 h 61"/>
              <a:gd name="T4" fmla="*/ 110886132 w 47"/>
              <a:gd name="T5" fmla="*/ 90726093 h 61"/>
              <a:gd name="T6" fmla="*/ 80644460 w 47"/>
              <a:gd name="T7" fmla="*/ 52924348 h 61"/>
              <a:gd name="T8" fmla="*/ 100805574 w 47"/>
              <a:gd name="T9" fmla="*/ 52924348 h 61"/>
              <a:gd name="T10" fmla="*/ 57963999 w 47"/>
              <a:gd name="T11" fmla="*/ 0 h 61"/>
              <a:gd name="T12" fmla="*/ 17641769 w 47"/>
              <a:gd name="T13" fmla="*/ 52924348 h 61"/>
              <a:gd name="T14" fmla="*/ 35281951 w 47"/>
              <a:gd name="T15" fmla="*/ 52924348 h 61"/>
              <a:gd name="T16" fmla="*/ 7561212 w 47"/>
              <a:gd name="T17" fmla="*/ 90726093 h 61"/>
              <a:gd name="T18" fmla="*/ 25201394 w 47"/>
              <a:gd name="T19" fmla="*/ 90726093 h 61"/>
              <a:gd name="T20" fmla="*/ 0 w 47"/>
              <a:gd name="T21" fmla="*/ 118448749 h 61"/>
              <a:gd name="T22" fmla="*/ 45362509 w 47"/>
              <a:gd name="T23" fmla="*/ 118448749 h 61"/>
              <a:gd name="T24" fmla="*/ 45362509 w 47"/>
              <a:gd name="T25" fmla="*/ 153731119 h 61"/>
              <a:gd name="T26" fmla="*/ 75604181 w 47"/>
              <a:gd name="T27" fmla="*/ 153731119 h 61"/>
              <a:gd name="T28" fmla="*/ 75604181 w 47"/>
              <a:gd name="T29" fmla="*/ 118448749 h 61"/>
              <a:gd name="T30" fmla="*/ 118447344 w 47"/>
              <a:gd name="T31" fmla="*/ 118448749 h 6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47" h="61">
                <a:moveTo>
                  <a:pt x="47" y="47"/>
                </a:moveTo>
                <a:lnTo>
                  <a:pt x="37" y="36"/>
                </a:lnTo>
                <a:lnTo>
                  <a:pt x="44" y="36"/>
                </a:lnTo>
                <a:lnTo>
                  <a:pt x="32" y="21"/>
                </a:lnTo>
                <a:lnTo>
                  <a:pt x="40" y="21"/>
                </a:lnTo>
                <a:lnTo>
                  <a:pt x="23" y="0"/>
                </a:lnTo>
                <a:lnTo>
                  <a:pt x="7" y="21"/>
                </a:lnTo>
                <a:lnTo>
                  <a:pt x="14" y="21"/>
                </a:lnTo>
                <a:lnTo>
                  <a:pt x="3" y="36"/>
                </a:lnTo>
                <a:lnTo>
                  <a:pt x="10" y="36"/>
                </a:lnTo>
                <a:lnTo>
                  <a:pt x="0" y="47"/>
                </a:lnTo>
                <a:lnTo>
                  <a:pt x="18" y="47"/>
                </a:lnTo>
                <a:lnTo>
                  <a:pt x="18" y="61"/>
                </a:lnTo>
                <a:lnTo>
                  <a:pt x="30" y="61"/>
                </a:lnTo>
                <a:lnTo>
                  <a:pt x="30" y="47"/>
                </a:lnTo>
                <a:lnTo>
                  <a:pt x="47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3" name="Freeform 215"/>
          <p:cNvSpPr>
            <a:spLocks/>
          </p:cNvSpPr>
          <p:nvPr/>
        </p:nvSpPr>
        <p:spPr bwMode="auto">
          <a:xfrm>
            <a:off x="4660901" y="4718051"/>
            <a:ext cx="71967" cy="91016"/>
          </a:xfrm>
          <a:custGeom>
            <a:avLst/>
            <a:gdLst>
              <a:gd name="T0" fmla="*/ 85685313 w 34"/>
              <a:gd name="T1" fmla="*/ 85684685 h 43"/>
              <a:gd name="T2" fmla="*/ 68045013 w 34"/>
              <a:gd name="T3" fmla="*/ 65523583 h 43"/>
              <a:gd name="T4" fmla="*/ 83165950 w 34"/>
              <a:gd name="T5" fmla="*/ 65523583 h 43"/>
              <a:gd name="T6" fmla="*/ 60483750 w 34"/>
              <a:gd name="T7" fmla="*/ 37802861 h 43"/>
              <a:gd name="T8" fmla="*/ 73085325 w 34"/>
              <a:gd name="T9" fmla="*/ 37802861 h 43"/>
              <a:gd name="T10" fmla="*/ 42843450 w 34"/>
              <a:gd name="T11" fmla="*/ 0 h 43"/>
              <a:gd name="T12" fmla="*/ 15120938 w 34"/>
              <a:gd name="T13" fmla="*/ 37802861 h 43"/>
              <a:gd name="T14" fmla="*/ 25201563 w 34"/>
              <a:gd name="T15" fmla="*/ 37802861 h 43"/>
              <a:gd name="T16" fmla="*/ 5040313 w 34"/>
              <a:gd name="T17" fmla="*/ 65523583 h 43"/>
              <a:gd name="T18" fmla="*/ 17641888 w 34"/>
              <a:gd name="T19" fmla="*/ 65523583 h 43"/>
              <a:gd name="T20" fmla="*/ 0 w 34"/>
              <a:gd name="T21" fmla="*/ 85684685 h 43"/>
              <a:gd name="T22" fmla="*/ 35282188 w 34"/>
              <a:gd name="T23" fmla="*/ 85684685 h 43"/>
              <a:gd name="T24" fmla="*/ 35282188 w 34"/>
              <a:gd name="T25" fmla="*/ 108366719 h 43"/>
              <a:gd name="T26" fmla="*/ 52924075 w 34"/>
              <a:gd name="T27" fmla="*/ 108366719 h 43"/>
              <a:gd name="T28" fmla="*/ 52924075 w 34"/>
              <a:gd name="T29" fmla="*/ 85684685 h 43"/>
              <a:gd name="T30" fmla="*/ 85685313 w 34"/>
              <a:gd name="T31" fmla="*/ 8568468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4" h="43">
                <a:moveTo>
                  <a:pt x="34" y="34"/>
                </a:moveTo>
                <a:lnTo>
                  <a:pt x="27" y="26"/>
                </a:lnTo>
                <a:lnTo>
                  <a:pt x="33" y="26"/>
                </a:lnTo>
                <a:lnTo>
                  <a:pt x="24" y="15"/>
                </a:lnTo>
                <a:lnTo>
                  <a:pt x="29" y="15"/>
                </a:lnTo>
                <a:lnTo>
                  <a:pt x="17" y="0"/>
                </a:lnTo>
                <a:lnTo>
                  <a:pt x="6" y="15"/>
                </a:lnTo>
                <a:lnTo>
                  <a:pt x="10" y="15"/>
                </a:lnTo>
                <a:lnTo>
                  <a:pt x="2" y="26"/>
                </a:lnTo>
                <a:lnTo>
                  <a:pt x="7" y="26"/>
                </a:lnTo>
                <a:lnTo>
                  <a:pt x="0" y="34"/>
                </a:lnTo>
                <a:lnTo>
                  <a:pt x="14" y="34"/>
                </a:lnTo>
                <a:lnTo>
                  <a:pt x="14" y="43"/>
                </a:lnTo>
                <a:lnTo>
                  <a:pt x="21" y="43"/>
                </a:lnTo>
                <a:lnTo>
                  <a:pt x="21" y="34"/>
                </a:lnTo>
                <a:lnTo>
                  <a:pt x="34" y="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4" name="Freeform 216"/>
          <p:cNvSpPr>
            <a:spLocks/>
          </p:cNvSpPr>
          <p:nvPr/>
        </p:nvSpPr>
        <p:spPr bwMode="auto">
          <a:xfrm>
            <a:off x="4603752" y="4925484"/>
            <a:ext cx="207433" cy="209549"/>
          </a:xfrm>
          <a:custGeom>
            <a:avLst/>
            <a:gdLst>
              <a:gd name="T0" fmla="*/ 350776531 w 69"/>
              <a:gd name="T1" fmla="*/ 326844573 h 69"/>
              <a:gd name="T2" fmla="*/ 30501719 w 69"/>
              <a:gd name="T3" fmla="*/ 0 h 69"/>
              <a:gd name="T4" fmla="*/ 0 w 69"/>
              <a:gd name="T5" fmla="*/ 31127187 h 69"/>
              <a:gd name="T6" fmla="*/ 320274812 w 69"/>
              <a:gd name="T7" fmla="*/ 357971760 h 69"/>
              <a:gd name="T8" fmla="*/ 350776531 w 69"/>
              <a:gd name="T9" fmla="*/ 326844573 h 6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9" h="69">
                <a:moveTo>
                  <a:pt x="69" y="63"/>
                </a:moveTo>
                <a:cubicBezTo>
                  <a:pt x="68" y="61"/>
                  <a:pt x="19" y="13"/>
                  <a:pt x="6" y="0"/>
                </a:cubicBezTo>
                <a:cubicBezTo>
                  <a:pt x="5" y="1"/>
                  <a:pt x="3" y="3"/>
                  <a:pt x="0" y="6"/>
                </a:cubicBezTo>
                <a:cubicBezTo>
                  <a:pt x="14" y="19"/>
                  <a:pt x="62" y="67"/>
                  <a:pt x="63" y="69"/>
                </a:cubicBezTo>
                <a:cubicBezTo>
                  <a:pt x="65" y="67"/>
                  <a:pt x="68" y="64"/>
                  <a:pt x="69" y="6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5" name="Freeform 217"/>
          <p:cNvSpPr>
            <a:spLocks/>
          </p:cNvSpPr>
          <p:nvPr/>
        </p:nvSpPr>
        <p:spPr bwMode="auto">
          <a:xfrm>
            <a:off x="4510618" y="4878918"/>
            <a:ext cx="105833" cy="129116"/>
          </a:xfrm>
          <a:custGeom>
            <a:avLst/>
            <a:gdLst>
              <a:gd name="T0" fmla="*/ 180011161 w 35"/>
              <a:gd name="T1" fmla="*/ 71004041 h 43"/>
              <a:gd name="T2" fmla="*/ 108006696 w 35"/>
              <a:gd name="T3" fmla="*/ 0 h 43"/>
              <a:gd name="T4" fmla="*/ 0 w 35"/>
              <a:gd name="T5" fmla="*/ 106504936 h 43"/>
              <a:gd name="T6" fmla="*/ 108006696 w 35"/>
              <a:gd name="T7" fmla="*/ 218081428 h 43"/>
              <a:gd name="T8" fmla="*/ 180011161 w 35"/>
              <a:gd name="T9" fmla="*/ 71004041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5" h="43">
                <a:moveTo>
                  <a:pt x="35" y="14"/>
                </a:moveTo>
                <a:cubicBezTo>
                  <a:pt x="33" y="12"/>
                  <a:pt x="23" y="1"/>
                  <a:pt x="21" y="0"/>
                </a:cubicBezTo>
                <a:cubicBezTo>
                  <a:pt x="19" y="1"/>
                  <a:pt x="1" y="20"/>
                  <a:pt x="0" y="21"/>
                </a:cubicBezTo>
                <a:cubicBezTo>
                  <a:pt x="4" y="36"/>
                  <a:pt x="17" y="42"/>
                  <a:pt x="21" y="43"/>
                </a:cubicBezTo>
                <a:cubicBezTo>
                  <a:pt x="23" y="26"/>
                  <a:pt x="32" y="17"/>
                  <a:pt x="35" y="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6" name="Freeform 218"/>
          <p:cNvSpPr>
            <a:spLocks/>
          </p:cNvSpPr>
          <p:nvPr/>
        </p:nvSpPr>
        <p:spPr bwMode="auto">
          <a:xfrm>
            <a:off x="4430185" y="4646085"/>
            <a:ext cx="577849" cy="577849"/>
          </a:xfrm>
          <a:custGeom>
            <a:avLst/>
            <a:gdLst>
              <a:gd name="T0" fmla="*/ 229277524 w 192"/>
              <a:gd name="T1" fmla="*/ 173232910 h 192"/>
              <a:gd name="T2" fmla="*/ 249657999 w 192"/>
              <a:gd name="T3" fmla="*/ 157946989 h 192"/>
              <a:gd name="T4" fmla="*/ 489126888 w 192"/>
              <a:gd name="T5" fmla="*/ 81521900 h 192"/>
              <a:gd name="T6" fmla="*/ 896731876 w 192"/>
              <a:gd name="T7" fmla="*/ 489126888 h 192"/>
              <a:gd name="T8" fmla="*/ 820306788 w 192"/>
              <a:gd name="T9" fmla="*/ 723501224 h 192"/>
              <a:gd name="T10" fmla="*/ 881448213 w 192"/>
              <a:gd name="T11" fmla="*/ 784640392 h 192"/>
              <a:gd name="T12" fmla="*/ 978253777 w 192"/>
              <a:gd name="T13" fmla="*/ 489126888 h 192"/>
              <a:gd name="T14" fmla="*/ 489126888 w 192"/>
              <a:gd name="T15" fmla="*/ 0 h 192"/>
              <a:gd name="T16" fmla="*/ 117186039 w 192"/>
              <a:gd name="T17" fmla="*/ 173232910 h 192"/>
              <a:gd name="T18" fmla="*/ 748976253 w 192"/>
              <a:gd name="T19" fmla="*/ 805020867 h 192"/>
              <a:gd name="T20" fmla="*/ 728595778 w 192"/>
              <a:gd name="T21" fmla="*/ 820306788 h 192"/>
              <a:gd name="T22" fmla="*/ 489126888 w 192"/>
              <a:gd name="T23" fmla="*/ 896731876 h 192"/>
              <a:gd name="T24" fmla="*/ 81521900 w 192"/>
              <a:gd name="T25" fmla="*/ 489126888 h 192"/>
              <a:gd name="T26" fmla="*/ 157946989 w 192"/>
              <a:gd name="T27" fmla="*/ 254752553 h 192"/>
              <a:gd name="T28" fmla="*/ 96805564 w 192"/>
              <a:gd name="T29" fmla="*/ 193613385 h 192"/>
              <a:gd name="T30" fmla="*/ 0 w 192"/>
              <a:gd name="T31" fmla="*/ 489126888 h 192"/>
              <a:gd name="T32" fmla="*/ 489126888 w 192"/>
              <a:gd name="T33" fmla="*/ 978253777 h 192"/>
              <a:gd name="T34" fmla="*/ 861067738 w 192"/>
              <a:gd name="T35" fmla="*/ 805020867 h 192"/>
              <a:gd name="T36" fmla="*/ 229277524 w 192"/>
              <a:gd name="T37" fmla="*/ 173232910 h 19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92" h="192">
                <a:moveTo>
                  <a:pt x="45" y="34"/>
                </a:moveTo>
                <a:cubicBezTo>
                  <a:pt x="47" y="33"/>
                  <a:pt x="48" y="32"/>
                  <a:pt x="49" y="31"/>
                </a:cubicBezTo>
                <a:cubicBezTo>
                  <a:pt x="62" y="22"/>
                  <a:pt x="78" y="16"/>
                  <a:pt x="96" y="16"/>
                </a:cubicBezTo>
                <a:cubicBezTo>
                  <a:pt x="140" y="16"/>
                  <a:pt x="176" y="52"/>
                  <a:pt x="176" y="96"/>
                </a:cubicBezTo>
                <a:cubicBezTo>
                  <a:pt x="176" y="113"/>
                  <a:pt x="170" y="129"/>
                  <a:pt x="161" y="142"/>
                </a:cubicBezTo>
                <a:cubicBezTo>
                  <a:pt x="173" y="154"/>
                  <a:pt x="173" y="154"/>
                  <a:pt x="173" y="154"/>
                </a:cubicBezTo>
                <a:cubicBezTo>
                  <a:pt x="185" y="138"/>
                  <a:pt x="192" y="118"/>
                  <a:pt x="192" y="96"/>
                </a:cubicBezTo>
                <a:cubicBezTo>
                  <a:pt x="192" y="43"/>
                  <a:pt x="149" y="0"/>
                  <a:pt x="96" y="0"/>
                </a:cubicBezTo>
                <a:cubicBezTo>
                  <a:pt x="67" y="0"/>
                  <a:pt x="40" y="13"/>
                  <a:pt x="23" y="34"/>
                </a:cubicBezTo>
                <a:cubicBezTo>
                  <a:pt x="147" y="158"/>
                  <a:pt x="147" y="158"/>
                  <a:pt x="147" y="158"/>
                </a:cubicBezTo>
                <a:cubicBezTo>
                  <a:pt x="145" y="159"/>
                  <a:pt x="144" y="160"/>
                  <a:pt x="143" y="161"/>
                </a:cubicBezTo>
                <a:cubicBezTo>
                  <a:pt x="130" y="170"/>
                  <a:pt x="114" y="176"/>
                  <a:pt x="96" y="176"/>
                </a:cubicBezTo>
                <a:cubicBezTo>
                  <a:pt x="52" y="176"/>
                  <a:pt x="16" y="140"/>
                  <a:pt x="16" y="96"/>
                </a:cubicBezTo>
                <a:cubicBezTo>
                  <a:pt x="16" y="79"/>
                  <a:pt x="22" y="63"/>
                  <a:pt x="31" y="50"/>
                </a:cubicBezTo>
                <a:cubicBezTo>
                  <a:pt x="19" y="38"/>
                  <a:pt x="19" y="38"/>
                  <a:pt x="19" y="38"/>
                </a:cubicBezTo>
                <a:cubicBezTo>
                  <a:pt x="7" y="54"/>
                  <a:pt x="0" y="74"/>
                  <a:pt x="0" y="96"/>
                </a:cubicBezTo>
                <a:cubicBezTo>
                  <a:pt x="0" y="149"/>
                  <a:pt x="43" y="192"/>
                  <a:pt x="96" y="192"/>
                </a:cubicBezTo>
                <a:cubicBezTo>
                  <a:pt x="125" y="192"/>
                  <a:pt x="152" y="179"/>
                  <a:pt x="169" y="158"/>
                </a:cubicBezTo>
                <a:lnTo>
                  <a:pt x="45" y="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7" name="Freeform 219"/>
          <p:cNvSpPr>
            <a:spLocks/>
          </p:cNvSpPr>
          <p:nvPr/>
        </p:nvSpPr>
        <p:spPr bwMode="auto">
          <a:xfrm>
            <a:off x="5634567" y="4993217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8" name="Freeform 220"/>
          <p:cNvSpPr>
            <a:spLocks/>
          </p:cNvSpPr>
          <p:nvPr/>
        </p:nvSpPr>
        <p:spPr bwMode="auto">
          <a:xfrm>
            <a:off x="5461000" y="4993217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09" name="Freeform 221"/>
          <p:cNvSpPr>
            <a:spLocks/>
          </p:cNvSpPr>
          <p:nvPr/>
        </p:nvSpPr>
        <p:spPr bwMode="auto">
          <a:xfrm>
            <a:off x="5310718" y="4696885"/>
            <a:ext cx="474133" cy="476249"/>
          </a:xfrm>
          <a:custGeom>
            <a:avLst/>
            <a:gdLst>
              <a:gd name="T0" fmla="*/ 693953400 w 158"/>
              <a:gd name="T1" fmla="*/ 0 h 158"/>
              <a:gd name="T2" fmla="*/ 106371663 w 158"/>
              <a:gd name="T3" fmla="*/ 0 h 158"/>
              <a:gd name="T4" fmla="*/ 0 w 158"/>
              <a:gd name="T5" fmla="*/ 107323390 h 158"/>
              <a:gd name="T6" fmla="*/ 0 w 158"/>
              <a:gd name="T7" fmla="*/ 700163383 h 158"/>
              <a:gd name="T8" fmla="*/ 106371663 w 158"/>
              <a:gd name="T9" fmla="*/ 807486773 h 158"/>
              <a:gd name="T10" fmla="*/ 131698035 w 158"/>
              <a:gd name="T11" fmla="*/ 807486773 h 158"/>
              <a:gd name="T12" fmla="*/ 131698035 w 158"/>
              <a:gd name="T13" fmla="*/ 802375382 h 158"/>
              <a:gd name="T14" fmla="*/ 116504013 w 158"/>
              <a:gd name="T15" fmla="*/ 526398690 h 158"/>
              <a:gd name="T16" fmla="*/ 101307739 w 158"/>
              <a:gd name="T17" fmla="*/ 306640518 h 158"/>
              <a:gd name="T18" fmla="*/ 121567937 w 158"/>
              <a:gd name="T19" fmla="*/ 173762433 h 158"/>
              <a:gd name="T20" fmla="*/ 141830385 w 158"/>
              <a:gd name="T21" fmla="*/ 204426259 h 158"/>
              <a:gd name="T22" fmla="*/ 162090582 w 158"/>
              <a:gd name="T23" fmla="*/ 178873824 h 158"/>
              <a:gd name="T24" fmla="*/ 177286856 w 158"/>
              <a:gd name="T25" fmla="*/ 209537650 h 158"/>
              <a:gd name="T26" fmla="*/ 207679403 w 158"/>
              <a:gd name="T27" fmla="*/ 183985215 h 158"/>
              <a:gd name="T28" fmla="*/ 202613228 w 158"/>
              <a:gd name="T29" fmla="*/ 199317128 h 158"/>
              <a:gd name="T30" fmla="*/ 253268223 w 158"/>
              <a:gd name="T31" fmla="*/ 485514342 h 158"/>
              <a:gd name="T32" fmla="*/ 253268223 w 158"/>
              <a:gd name="T33" fmla="*/ 470182429 h 158"/>
              <a:gd name="T34" fmla="*/ 268464496 w 158"/>
              <a:gd name="T35" fmla="*/ 388411474 h 158"/>
              <a:gd name="T36" fmla="*/ 268464496 w 158"/>
              <a:gd name="T37" fmla="*/ 388411474 h 158"/>
              <a:gd name="T38" fmla="*/ 238071949 w 158"/>
              <a:gd name="T39" fmla="*/ 347524866 h 158"/>
              <a:gd name="T40" fmla="*/ 278594595 w 158"/>
              <a:gd name="T41" fmla="*/ 306640518 h 158"/>
              <a:gd name="T42" fmla="*/ 324183415 w 158"/>
              <a:gd name="T43" fmla="*/ 342415735 h 158"/>
              <a:gd name="T44" fmla="*/ 400162532 w 158"/>
              <a:gd name="T45" fmla="*/ 332192953 h 158"/>
              <a:gd name="T46" fmla="*/ 476141648 w 158"/>
              <a:gd name="T47" fmla="*/ 342415735 h 158"/>
              <a:gd name="T48" fmla="*/ 521730468 w 158"/>
              <a:gd name="T49" fmla="*/ 306640518 h 158"/>
              <a:gd name="T50" fmla="*/ 562253114 w 158"/>
              <a:gd name="T51" fmla="*/ 347524866 h 158"/>
              <a:gd name="T52" fmla="*/ 531860567 w 158"/>
              <a:gd name="T53" fmla="*/ 388411474 h 158"/>
              <a:gd name="T54" fmla="*/ 531860567 w 158"/>
              <a:gd name="T55" fmla="*/ 388411474 h 158"/>
              <a:gd name="T56" fmla="*/ 547056841 w 158"/>
              <a:gd name="T57" fmla="*/ 470182429 h 158"/>
              <a:gd name="T58" fmla="*/ 547056841 w 158"/>
              <a:gd name="T59" fmla="*/ 485514342 h 158"/>
              <a:gd name="T60" fmla="*/ 597711835 w 158"/>
              <a:gd name="T61" fmla="*/ 199317128 h 158"/>
              <a:gd name="T62" fmla="*/ 592645661 w 158"/>
              <a:gd name="T63" fmla="*/ 183985215 h 158"/>
              <a:gd name="T64" fmla="*/ 623038208 w 158"/>
              <a:gd name="T65" fmla="*/ 209537650 h 158"/>
              <a:gd name="T66" fmla="*/ 638234481 w 158"/>
              <a:gd name="T67" fmla="*/ 178873824 h 158"/>
              <a:gd name="T68" fmla="*/ 658494678 w 158"/>
              <a:gd name="T69" fmla="*/ 204426259 h 158"/>
              <a:gd name="T70" fmla="*/ 678757127 w 158"/>
              <a:gd name="T71" fmla="*/ 173762433 h 158"/>
              <a:gd name="T72" fmla="*/ 699017324 w 158"/>
              <a:gd name="T73" fmla="*/ 306640518 h 158"/>
              <a:gd name="T74" fmla="*/ 683821051 w 158"/>
              <a:gd name="T75" fmla="*/ 526398690 h 158"/>
              <a:gd name="T76" fmla="*/ 668627028 w 158"/>
              <a:gd name="T77" fmla="*/ 802375382 h 158"/>
              <a:gd name="T78" fmla="*/ 668627028 w 158"/>
              <a:gd name="T79" fmla="*/ 807486773 h 158"/>
              <a:gd name="T80" fmla="*/ 693953400 w 158"/>
              <a:gd name="T81" fmla="*/ 807486773 h 158"/>
              <a:gd name="T82" fmla="*/ 800325063 w 158"/>
              <a:gd name="T83" fmla="*/ 700163383 h 158"/>
              <a:gd name="T84" fmla="*/ 800325063 w 158"/>
              <a:gd name="T85" fmla="*/ 107323390 h 158"/>
              <a:gd name="T86" fmla="*/ 693953400 w 158"/>
              <a:gd name="T87" fmla="*/ 0 h 15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" h="158">
                <a:moveTo>
                  <a:pt x="137" y="0"/>
                </a:moveTo>
                <a:cubicBezTo>
                  <a:pt x="21" y="0"/>
                  <a:pt x="21" y="0"/>
                  <a:pt x="21" y="0"/>
                </a:cubicBezTo>
                <a:cubicBezTo>
                  <a:pt x="9" y="0"/>
                  <a:pt x="0" y="9"/>
                  <a:pt x="0" y="21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49"/>
                  <a:pt x="9" y="158"/>
                  <a:pt x="21" y="158"/>
                </a:cubicBezTo>
                <a:cubicBezTo>
                  <a:pt x="26" y="158"/>
                  <a:pt x="26" y="158"/>
                  <a:pt x="26" y="158"/>
                </a:cubicBezTo>
                <a:cubicBezTo>
                  <a:pt x="26" y="157"/>
                  <a:pt x="26" y="157"/>
                  <a:pt x="26" y="157"/>
                </a:cubicBezTo>
                <a:cubicBezTo>
                  <a:pt x="26" y="157"/>
                  <a:pt x="27" y="137"/>
                  <a:pt x="23" y="103"/>
                </a:cubicBezTo>
                <a:cubicBezTo>
                  <a:pt x="22" y="92"/>
                  <a:pt x="19" y="69"/>
                  <a:pt x="20" y="60"/>
                </a:cubicBezTo>
                <a:cubicBezTo>
                  <a:pt x="20" y="43"/>
                  <a:pt x="24" y="34"/>
                  <a:pt x="24" y="34"/>
                </a:cubicBezTo>
                <a:cubicBezTo>
                  <a:pt x="28" y="40"/>
                  <a:pt x="28" y="40"/>
                  <a:pt x="28" y="40"/>
                </a:cubicBezTo>
                <a:cubicBezTo>
                  <a:pt x="32" y="35"/>
                  <a:pt x="32" y="35"/>
                  <a:pt x="32" y="35"/>
                </a:cubicBezTo>
                <a:cubicBezTo>
                  <a:pt x="35" y="41"/>
                  <a:pt x="35" y="41"/>
                  <a:pt x="35" y="41"/>
                </a:cubicBezTo>
                <a:cubicBezTo>
                  <a:pt x="41" y="36"/>
                  <a:pt x="41" y="36"/>
                  <a:pt x="41" y="36"/>
                </a:cubicBezTo>
                <a:cubicBezTo>
                  <a:pt x="40" y="39"/>
                  <a:pt x="40" y="39"/>
                  <a:pt x="40" y="39"/>
                </a:cubicBezTo>
                <a:cubicBezTo>
                  <a:pt x="39" y="71"/>
                  <a:pt x="46" y="89"/>
                  <a:pt x="50" y="95"/>
                </a:cubicBezTo>
                <a:cubicBezTo>
                  <a:pt x="50" y="94"/>
                  <a:pt x="50" y="93"/>
                  <a:pt x="50" y="92"/>
                </a:cubicBezTo>
                <a:cubicBezTo>
                  <a:pt x="50" y="83"/>
                  <a:pt x="53" y="76"/>
                  <a:pt x="53" y="76"/>
                </a:cubicBezTo>
                <a:cubicBezTo>
                  <a:pt x="53" y="76"/>
                  <a:pt x="53" y="76"/>
                  <a:pt x="53" y="76"/>
                </a:cubicBezTo>
                <a:cubicBezTo>
                  <a:pt x="50" y="75"/>
                  <a:pt x="47" y="72"/>
                  <a:pt x="47" y="68"/>
                </a:cubicBezTo>
                <a:cubicBezTo>
                  <a:pt x="47" y="64"/>
                  <a:pt x="51" y="60"/>
                  <a:pt x="55" y="60"/>
                </a:cubicBezTo>
                <a:cubicBezTo>
                  <a:pt x="60" y="60"/>
                  <a:pt x="63" y="63"/>
                  <a:pt x="64" y="67"/>
                </a:cubicBezTo>
                <a:cubicBezTo>
                  <a:pt x="66" y="66"/>
                  <a:pt x="71" y="65"/>
                  <a:pt x="79" y="65"/>
                </a:cubicBezTo>
                <a:cubicBezTo>
                  <a:pt x="87" y="65"/>
                  <a:pt x="92" y="66"/>
                  <a:pt x="94" y="67"/>
                </a:cubicBezTo>
                <a:cubicBezTo>
                  <a:pt x="95" y="63"/>
                  <a:pt x="98" y="60"/>
                  <a:pt x="103" y="60"/>
                </a:cubicBezTo>
                <a:cubicBezTo>
                  <a:pt x="107" y="60"/>
                  <a:pt x="111" y="64"/>
                  <a:pt x="111" y="68"/>
                </a:cubicBezTo>
                <a:cubicBezTo>
                  <a:pt x="111" y="72"/>
                  <a:pt x="108" y="75"/>
                  <a:pt x="105" y="76"/>
                </a:cubicBezTo>
                <a:cubicBezTo>
                  <a:pt x="105" y="76"/>
                  <a:pt x="105" y="76"/>
                  <a:pt x="105" y="76"/>
                </a:cubicBezTo>
                <a:cubicBezTo>
                  <a:pt x="105" y="76"/>
                  <a:pt x="108" y="83"/>
                  <a:pt x="108" y="92"/>
                </a:cubicBezTo>
                <a:cubicBezTo>
                  <a:pt x="108" y="93"/>
                  <a:pt x="108" y="94"/>
                  <a:pt x="108" y="95"/>
                </a:cubicBezTo>
                <a:cubicBezTo>
                  <a:pt x="112" y="89"/>
                  <a:pt x="119" y="71"/>
                  <a:pt x="118" y="39"/>
                </a:cubicBezTo>
                <a:cubicBezTo>
                  <a:pt x="117" y="36"/>
                  <a:pt x="117" y="36"/>
                  <a:pt x="117" y="36"/>
                </a:cubicBezTo>
                <a:cubicBezTo>
                  <a:pt x="123" y="41"/>
                  <a:pt x="123" y="41"/>
                  <a:pt x="123" y="41"/>
                </a:cubicBezTo>
                <a:cubicBezTo>
                  <a:pt x="126" y="35"/>
                  <a:pt x="126" y="35"/>
                  <a:pt x="126" y="35"/>
                </a:cubicBezTo>
                <a:cubicBezTo>
                  <a:pt x="130" y="40"/>
                  <a:pt x="130" y="40"/>
                  <a:pt x="130" y="40"/>
                </a:cubicBezTo>
                <a:cubicBezTo>
                  <a:pt x="134" y="34"/>
                  <a:pt x="134" y="34"/>
                  <a:pt x="134" y="34"/>
                </a:cubicBezTo>
                <a:cubicBezTo>
                  <a:pt x="134" y="34"/>
                  <a:pt x="138" y="43"/>
                  <a:pt x="138" y="60"/>
                </a:cubicBezTo>
                <a:cubicBezTo>
                  <a:pt x="139" y="69"/>
                  <a:pt x="136" y="92"/>
                  <a:pt x="135" y="103"/>
                </a:cubicBezTo>
                <a:cubicBezTo>
                  <a:pt x="131" y="137"/>
                  <a:pt x="132" y="157"/>
                  <a:pt x="132" y="157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7" y="158"/>
                  <a:pt x="137" y="158"/>
                  <a:pt x="137" y="158"/>
                </a:cubicBezTo>
                <a:cubicBezTo>
                  <a:pt x="149" y="158"/>
                  <a:pt x="158" y="149"/>
                  <a:pt x="158" y="137"/>
                </a:cubicBezTo>
                <a:cubicBezTo>
                  <a:pt x="158" y="21"/>
                  <a:pt x="158" y="21"/>
                  <a:pt x="158" y="21"/>
                </a:cubicBezTo>
                <a:cubicBezTo>
                  <a:pt x="158" y="9"/>
                  <a:pt x="149" y="0"/>
                  <a:pt x="1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0" name="Freeform 222"/>
          <p:cNvSpPr>
            <a:spLocks/>
          </p:cNvSpPr>
          <p:nvPr/>
        </p:nvSpPr>
        <p:spPr bwMode="auto">
          <a:xfrm>
            <a:off x="5568951" y="4910667"/>
            <a:ext cx="33867" cy="27517"/>
          </a:xfrm>
          <a:custGeom>
            <a:avLst/>
            <a:gdLst>
              <a:gd name="T0" fmla="*/ 42655836 w 11"/>
              <a:gd name="T1" fmla="*/ 42067123 h 9"/>
              <a:gd name="T2" fmla="*/ 47987527 w 11"/>
              <a:gd name="T3" fmla="*/ 0 h 9"/>
              <a:gd name="T4" fmla="*/ 0 w 11"/>
              <a:gd name="T5" fmla="*/ 31550916 h 9"/>
              <a:gd name="T6" fmla="*/ 42655836 w 11"/>
              <a:gd name="T7" fmla="*/ 42067123 h 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" h="9">
                <a:moveTo>
                  <a:pt x="8" y="8"/>
                </a:moveTo>
                <a:cubicBezTo>
                  <a:pt x="10" y="6"/>
                  <a:pt x="11" y="3"/>
                  <a:pt x="9" y="0"/>
                </a:cubicBezTo>
                <a:cubicBezTo>
                  <a:pt x="0" y="6"/>
                  <a:pt x="0" y="6"/>
                  <a:pt x="0" y="6"/>
                </a:cubicBezTo>
                <a:cubicBezTo>
                  <a:pt x="2" y="9"/>
                  <a:pt x="5" y="9"/>
                  <a:pt x="8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1" name="Freeform 223"/>
          <p:cNvSpPr>
            <a:spLocks/>
          </p:cNvSpPr>
          <p:nvPr/>
        </p:nvSpPr>
        <p:spPr bwMode="auto">
          <a:xfrm>
            <a:off x="5494867" y="4910667"/>
            <a:ext cx="31751" cy="27517"/>
          </a:xfrm>
          <a:custGeom>
            <a:avLst/>
            <a:gdLst>
              <a:gd name="T0" fmla="*/ 9373663 w 11"/>
              <a:gd name="T1" fmla="*/ 0 h 9"/>
              <a:gd name="T2" fmla="*/ 14058329 w 11"/>
              <a:gd name="T3" fmla="*/ 42067123 h 9"/>
              <a:gd name="T4" fmla="*/ 51550815 w 11"/>
              <a:gd name="T5" fmla="*/ 31550916 h 9"/>
              <a:gd name="T6" fmla="*/ 9373663 w 11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" h="9">
                <a:moveTo>
                  <a:pt x="2" y="0"/>
                </a:moveTo>
                <a:cubicBezTo>
                  <a:pt x="0" y="3"/>
                  <a:pt x="1" y="6"/>
                  <a:pt x="3" y="8"/>
                </a:cubicBezTo>
                <a:cubicBezTo>
                  <a:pt x="6" y="9"/>
                  <a:pt x="9" y="9"/>
                  <a:pt x="11" y="6"/>
                </a:cubicBezTo>
                <a:lnTo>
                  <a:pt x="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2" name="Freeform 224"/>
          <p:cNvSpPr>
            <a:spLocks/>
          </p:cNvSpPr>
          <p:nvPr/>
        </p:nvSpPr>
        <p:spPr bwMode="auto">
          <a:xfrm>
            <a:off x="5511801" y="4974167"/>
            <a:ext cx="71967" cy="50800"/>
          </a:xfrm>
          <a:custGeom>
            <a:avLst/>
            <a:gdLst>
              <a:gd name="T0" fmla="*/ 0 w 24"/>
              <a:gd name="T1" fmla="*/ 25114624 h 17"/>
              <a:gd name="T2" fmla="*/ 20231629 w 24"/>
              <a:gd name="T3" fmla="*/ 85388824 h 17"/>
              <a:gd name="T4" fmla="*/ 35405351 w 24"/>
              <a:gd name="T5" fmla="*/ 65296676 h 17"/>
              <a:gd name="T6" fmla="*/ 45521166 w 24"/>
              <a:gd name="T7" fmla="*/ 85388824 h 17"/>
              <a:gd name="T8" fmla="*/ 60694888 w 24"/>
              <a:gd name="T9" fmla="*/ 65296676 h 17"/>
              <a:gd name="T10" fmla="*/ 75866360 w 24"/>
              <a:gd name="T11" fmla="*/ 85388824 h 17"/>
              <a:gd name="T12" fmla="*/ 85982175 w 24"/>
              <a:gd name="T13" fmla="*/ 65296676 h 17"/>
              <a:gd name="T14" fmla="*/ 101155897 w 24"/>
              <a:gd name="T15" fmla="*/ 85388824 h 17"/>
              <a:gd name="T16" fmla="*/ 121387526 w 24"/>
              <a:gd name="T17" fmla="*/ 25114624 h 17"/>
              <a:gd name="T18" fmla="*/ 101155897 w 24"/>
              <a:gd name="T19" fmla="*/ 0 h 17"/>
              <a:gd name="T20" fmla="*/ 85982175 w 24"/>
              <a:gd name="T21" fmla="*/ 15069671 h 17"/>
              <a:gd name="T22" fmla="*/ 75866360 w 24"/>
              <a:gd name="T23" fmla="*/ 0 h 17"/>
              <a:gd name="T24" fmla="*/ 60694888 w 24"/>
              <a:gd name="T25" fmla="*/ 15069671 h 17"/>
              <a:gd name="T26" fmla="*/ 45521166 w 24"/>
              <a:gd name="T27" fmla="*/ 0 h 17"/>
              <a:gd name="T28" fmla="*/ 35405351 w 24"/>
              <a:gd name="T29" fmla="*/ 15069671 h 17"/>
              <a:gd name="T30" fmla="*/ 20231629 w 24"/>
              <a:gd name="T31" fmla="*/ 0 h 17"/>
              <a:gd name="T32" fmla="*/ 0 w 24"/>
              <a:gd name="T33" fmla="*/ 25114624 h 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4" h="17">
                <a:moveTo>
                  <a:pt x="0" y="5"/>
                </a:moveTo>
                <a:cubicBezTo>
                  <a:pt x="0" y="8"/>
                  <a:pt x="2" y="12"/>
                  <a:pt x="4" y="17"/>
                </a:cubicBezTo>
                <a:cubicBezTo>
                  <a:pt x="7" y="13"/>
                  <a:pt x="7" y="13"/>
                  <a:pt x="7" y="13"/>
                </a:cubicBezTo>
                <a:cubicBezTo>
                  <a:pt x="9" y="17"/>
                  <a:pt x="9" y="17"/>
                  <a:pt x="9" y="17"/>
                </a:cubicBezTo>
                <a:cubicBezTo>
                  <a:pt x="12" y="13"/>
                  <a:pt x="12" y="13"/>
                  <a:pt x="12" y="13"/>
                </a:cubicBezTo>
                <a:cubicBezTo>
                  <a:pt x="15" y="17"/>
                  <a:pt x="15" y="17"/>
                  <a:pt x="15" y="17"/>
                </a:cubicBezTo>
                <a:cubicBezTo>
                  <a:pt x="17" y="13"/>
                  <a:pt x="17" y="13"/>
                  <a:pt x="17" y="13"/>
                </a:cubicBezTo>
                <a:cubicBezTo>
                  <a:pt x="20" y="17"/>
                  <a:pt x="20" y="17"/>
                  <a:pt x="20" y="17"/>
                </a:cubicBezTo>
                <a:cubicBezTo>
                  <a:pt x="22" y="12"/>
                  <a:pt x="24" y="8"/>
                  <a:pt x="24" y="5"/>
                </a:cubicBezTo>
                <a:cubicBezTo>
                  <a:pt x="24" y="0"/>
                  <a:pt x="20" y="0"/>
                  <a:pt x="20" y="0"/>
                </a:cubicBezTo>
                <a:cubicBezTo>
                  <a:pt x="17" y="3"/>
                  <a:pt x="17" y="3"/>
                  <a:pt x="17" y="3"/>
                </a:cubicBezTo>
                <a:cubicBezTo>
                  <a:pt x="15" y="0"/>
                  <a:pt x="15" y="0"/>
                  <a:pt x="15" y="0"/>
                </a:cubicBezTo>
                <a:cubicBezTo>
                  <a:pt x="12" y="3"/>
                  <a:pt x="12" y="3"/>
                  <a:pt x="12" y="3"/>
                </a:cubicBezTo>
                <a:cubicBezTo>
                  <a:pt x="9" y="0"/>
                  <a:pt x="9" y="0"/>
                  <a:pt x="9" y="0"/>
                </a:cubicBezTo>
                <a:cubicBezTo>
                  <a:pt x="7" y="3"/>
                  <a:pt x="7" y="3"/>
                  <a:pt x="7" y="3"/>
                </a:cubicBezTo>
                <a:cubicBezTo>
                  <a:pt x="4" y="0"/>
                  <a:pt x="4" y="0"/>
                  <a:pt x="4" y="0"/>
                </a:cubicBezTo>
                <a:cubicBezTo>
                  <a:pt x="4" y="0"/>
                  <a:pt x="0" y="0"/>
                  <a:pt x="0" y="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3" name="Freeform 225"/>
          <p:cNvSpPr>
            <a:spLocks/>
          </p:cNvSpPr>
          <p:nvPr/>
        </p:nvSpPr>
        <p:spPr bwMode="auto">
          <a:xfrm>
            <a:off x="5547784" y="4944533"/>
            <a:ext cx="0" cy="0"/>
          </a:xfrm>
          <a:custGeom>
            <a:avLst/>
            <a:gdLst>
              <a:gd name="T0" fmla="*/ 0 60000 65536"/>
              <a:gd name="T1" fmla="*/ 0 60000 65536"/>
              <a:gd name="T2" fmla="*/ 0 60000 65536"/>
              <a:gd name="T3" fmla="*/ 0 60000 65536"/>
            </a:gdLst>
            <a:ahLst/>
            <a:cxnLst>
              <a:cxn ang="T0">
                <a:pos x="0" y="0"/>
              </a:cxn>
              <a:cxn ang="T1">
                <a:pos x="0" y="0"/>
              </a:cxn>
              <a:cxn ang="T2">
                <a:pos x="0" y="0"/>
              </a:cxn>
              <a:cxn ang="T3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4" name="Freeform 226"/>
          <p:cNvSpPr>
            <a:spLocks noEditPoints="1"/>
          </p:cNvSpPr>
          <p:nvPr/>
        </p:nvSpPr>
        <p:spPr bwMode="auto">
          <a:xfrm>
            <a:off x="5532968" y="4936067"/>
            <a:ext cx="29633" cy="21167"/>
          </a:xfrm>
          <a:custGeom>
            <a:avLst/>
            <a:gdLst>
              <a:gd name="T0" fmla="*/ 19758025 w 10"/>
              <a:gd name="T1" fmla="*/ 36002232 h 7"/>
              <a:gd name="T2" fmla="*/ 24698643 w 10"/>
              <a:gd name="T3" fmla="*/ 36002232 h 7"/>
              <a:gd name="T4" fmla="*/ 29637038 w 10"/>
              <a:gd name="T5" fmla="*/ 36002232 h 7"/>
              <a:gd name="T6" fmla="*/ 49395063 w 10"/>
              <a:gd name="T7" fmla="*/ 15430500 h 7"/>
              <a:gd name="T8" fmla="*/ 49395063 w 10"/>
              <a:gd name="T9" fmla="*/ 5143500 h 7"/>
              <a:gd name="T10" fmla="*/ 39516050 w 10"/>
              <a:gd name="T11" fmla="*/ 0 h 7"/>
              <a:gd name="T12" fmla="*/ 9879013 w 10"/>
              <a:gd name="T13" fmla="*/ 0 h 7"/>
              <a:gd name="T14" fmla="*/ 0 w 10"/>
              <a:gd name="T15" fmla="*/ 5143500 h 7"/>
              <a:gd name="T16" fmla="*/ 0 w 10"/>
              <a:gd name="T17" fmla="*/ 15430500 h 7"/>
              <a:gd name="T18" fmla="*/ 19758025 w 10"/>
              <a:gd name="T19" fmla="*/ 36002232 h 7"/>
              <a:gd name="T20" fmla="*/ 24698643 w 10"/>
              <a:gd name="T21" fmla="*/ 15430500 h 7"/>
              <a:gd name="T22" fmla="*/ 24698643 w 10"/>
              <a:gd name="T23" fmla="*/ 15430500 h 7"/>
              <a:gd name="T24" fmla="*/ 24698643 w 10"/>
              <a:gd name="T25" fmla="*/ 15430500 h 7"/>
              <a:gd name="T26" fmla="*/ 24698643 w 10"/>
              <a:gd name="T27" fmla="*/ 15430500 h 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0" h="7">
                <a:moveTo>
                  <a:pt x="4" y="7"/>
                </a:moveTo>
                <a:cubicBezTo>
                  <a:pt x="4" y="7"/>
                  <a:pt x="5" y="7"/>
                  <a:pt x="5" y="7"/>
                </a:cubicBezTo>
                <a:cubicBezTo>
                  <a:pt x="5" y="7"/>
                  <a:pt x="6" y="7"/>
                  <a:pt x="6" y="7"/>
                </a:cubicBezTo>
                <a:cubicBezTo>
                  <a:pt x="10" y="3"/>
                  <a:pt x="10" y="3"/>
                  <a:pt x="10" y="3"/>
                </a:cubicBezTo>
                <a:cubicBezTo>
                  <a:pt x="10" y="2"/>
                  <a:pt x="10" y="2"/>
                  <a:pt x="10" y="1"/>
                </a:cubicBezTo>
                <a:cubicBezTo>
                  <a:pt x="10" y="1"/>
                  <a:pt x="9" y="0"/>
                  <a:pt x="8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1"/>
                </a:cubicBezTo>
                <a:cubicBezTo>
                  <a:pt x="0" y="2"/>
                  <a:pt x="0" y="2"/>
                  <a:pt x="0" y="3"/>
                </a:cubicBezTo>
                <a:lnTo>
                  <a:pt x="4" y="7"/>
                </a:lnTo>
                <a:close/>
                <a:moveTo>
                  <a:pt x="5" y="3"/>
                </a:moveTo>
                <a:cubicBezTo>
                  <a:pt x="5" y="3"/>
                  <a:pt x="5" y="3"/>
                  <a:pt x="5" y="3"/>
                </a:cubicBezTo>
                <a:cubicBezTo>
                  <a:pt x="5" y="3"/>
                  <a:pt x="5" y="3"/>
                  <a:pt x="5" y="3"/>
                </a:cubicBezTo>
                <a:cubicBezTo>
                  <a:pt x="5" y="3"/>
                  <a:pt x="5" y="3"/>
                  <a:pt x="5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5" name="Freeform 227"/>
          <p:cNvSpPr>
            <a:spLocks/>
          </p:cNvSpPr>
          <p:nvPr/>
        </p:nvSpPr>
        <p:spPr bwMode="auto">
          <a:xfrm>
            <a:off x="6112934" y="4766734"/>
            <a:ext cx="118533" cy="306917"/>
          </a:xfrm>
          <a:custGeom>
            <a:avLst/>
            <a:gdLst>
              <a:gd name="T0" fmla="*/ 98286888 w 56"/>
              <a:gd name="T1" fmla="*/ 0 h 145"/>
              <a:gd name="T2" fmla="*/ 40322500 w 56"/>
              <a:gd name="T3" fmla="*/ 0 h 145"/>
              <a:gd name="T4" fmla="*/ 40322500 w 56"/>
              <a:gd name="T5" fmla="*/ 221774232 h 145"/>
              <a:gd name="T6" fmla="*/ 0 w 56"/>
              <a:gd name="T7" fmla="*/ 221774232 h 145"/>
              <a:gd name="T8" fmla="*/ 68045013 w 56"/>
              <a:gd name="T9" fmla="*/ 365424244 h 145"/>
              <a:gd name="T10" fmla="*/ 141128750 w 56"/>
              <a:gd name="T11" fmla="*/ 221774232 h 145"/>
              <a:gd name="T12" fmla="*/ 98286888 w 56"/>
              <a:gd name="T13" fmla="*/ 221774232 h 145"/>
              <a:gd name="T14" fmla="*/ 98286888 w 56"/>
              <a:gd name="T15" fmla="*/ 0 h 14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6" h="145">
                <a:moveTo>
                  <a:pt x="39" y="0"/>
                </a:moveTo>
                <a:lnTo>
                  <a:pt x="16" y="0"/>
                </a:lnTo>
                <a:lnTo>
                  <a:pt x="16" y="88"/>
                </a:lnTo>
                <a:lnTo>
                  <a:pt x="0" y="88"/>
                </a:lnTo>
                <a:lnTo>
                  <a:pt x="27" y="145"/>
                </a:lnTo>
                <a:lnTo>
                  <a:pt x="56" y="88"/>
                </a:lnTo>
                <a:lnTo>
                  <a:pt x="39" y="88"/>
                </a:lnTo>
                <a:lnTo>
                  <a:pt x="3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6" name="Freeform 228"/>
          <p:cNvSpPr>
            <a:spLocks/>
          </p:cNvSpPr>
          <p:nvPr/>
        </p:nvSpPr>
        <p:spPr bwMode="auto">
          <a:xfrm>
            <a:off x="6242052" y="4766733"/>
            <a:ext cx="171449" cy="313267"/>
          </a:xfrm>
          <a:custGeom>
            <a:avLst/>
            <a:gdLst>
              <a:gd name="T0" fmla="*/ 152675631 w 57"/>
              <a:gd name="T1" fmla="*/ 428709199 h 104"/>
              <a:gd name="T2" fmla="*/ 106873844 w 57"/>
              <a:gd name="T3" fmla="*/ 260288454 h 104"/>
              <a:gd name="T4" fmla="*/ 147586293 w 57"/>
              <a:gd name="T5" fmla="*/ 102074479 h 104"/>
              <a:gd name="T6" fmla="*/ 188298742 w 57"/>
              <a:gd name="T7" fmla="*/ 188836544 h 104"/>
              <a:gd name="T8" fmla="*/ 290083248 w 57"/>
              <a:gd name="T9" fmla="*/ 188836544 h 104"/>
              <a:gd name="T10" fmla="*/ 290083248 w 57"/>
              <a:gd name="T11" fmla="*/ 168420745 h 104"/>
              <a:gd name="T12" fmla="*/ 147586293 w 57"/>
              <a:gd name="T13" fmla="*/ 0 h 104"/>
              <a:gd name="T14" fmla="*/ 0 w 57"/>
              <a:gd name="T15" fmla="*/ 260288454 h 104"/>
              <a:gd name="T16" fmla="*/ 142496955 w 57"/>
              <a:gd name="T17" fmla="*/ 530783678 h 104"/>
              <a:gd name="T18" fmla="*/ 290083248 w 57"/>
              <a:gd name="T19" fmla="*/ 336843749 h 104"/>
              <a:gd name="T20" fmla="*/ 290083248 w 57"/>
              <a:gd name="T21" fmla="*/ 321531334 h 104"/>
              <a:gd name="T22" fmla="*/ 193388080 w 57"/>
              <a:gd name="T23" fmla="*/ 321531334 h 104"/>
              <a:gd name="T24" fmla="*/ 152675631 w 57"/>
              <a:gd name="T25" fmla="*/ 428709199 h 10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7" h="104">
                <a:moveTo>
                  <a:pt x="30" y="84"/>
                </a:moveTo>
                <a:cubicBezTo>
                  <a:pt x="22" y="84"/>
                  <a:pt x="21" y="78"/>
                  <a:pt x="21" y="51"/>
                </a:cubicBezTo>
                <a:cubicBezTo>
                  <a:pt x="21" y="29"/>
                  <a:pt x="21" y="20"/>
                  <a:pt x="29" y="20"/>
                </a:cubicBezTo>
                <a:cubicBezTo>
                  <a:pt x="36" y="20"/>
                  <a:pt x="38" y="25"/>
                  <a:pt x="37" y="37"/>
                </a:cubicBezTo>
                <a:cubicBezTo>
                  <a:pt x="57" y="37"/>
                  <a:pt x="57" y="37"/>
                  <a:pt x="57" y="37"/>
                </a:cubicBezTo>
                <a:cubicBezTo>
                  <a:pt x="57" y="33"/>
                  <a:pt x="57" y="33"/>
                  <a:pt x="57" y="33"/>
                </a:cubicBezTo>
                <a:cubicBezTo>
                  <a:pt x="57" y="9"/>
                  <a:pt x="47" y="0"/>
                  <a:pt x="29" y="0"/>
                </a:cubicBezTo>
                <a:cubicBezTo>
                  <a:pt x="1" y="0"/>
                  <a:pt x="0" y="26"/>
                  <a:pt x="0" y="51"/>
                </a:cubicBezTo>
                <a:cubicBezTo>
                  <a:pt x="0" y="81"/>
                  <a:pt x="2" y="104"/>
                  <a:pt x="28" y="104"/>
                </a:cubicBezTo>
                <a:cubicBezTo>
                  <a:pt x="52" y="104"/>
                  <a:pt x="57" y="88"/>
                  <a:pt x="57" y="66"/>
                </a:cubicBezTo>
                <a:cubicBezTo>
                  <a:pt x="57" y="63"/>
                  <a:pt x="57" y="63"/>
                  <a:pt x="57" y="63"/>
                </a:cubicBezTo>
                <a:cubicBezTo>
                  <a:pt x="38" y="63"/>
                  <a:pt x="38" y="63"/>
                  <a:pt x="38" y="63"/>
                </a:cubicBezTo>
                <a:cubicBezTo>
                  <a:pt x="38" y="75"/>
                  <a:pt x="37" y="84"/>
                  <a:pt x="30" y="8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7" name="Freeform 229"/>
          <p:cNvSpPr>
            <a:spLocks/>
          </p:cNvSpPr>
          <p:nvPr/>
        </p:nvSpPr>
        <p:spPr bwMode="auto">
          <a:xfrm>
            <a:off x="6525684" y="4766733"/>
            <a:ext cx="84667" cy="313267"/>
          </a:xfrm>
          <a:custGeom>
            <a:avLst/>
            <a:gdLst>
              <a:gd name="T0" fmla="*/ 0 w 28"/>
              <a:gd name="T1" fmla="*/ 0 h 104"/>
              <a:gd name="T2" fmla="*/ 0 w 28"/>
              <a:gd name="T3" fmla="*/ 102074479 h 104"/>
              <a:gd name="T4" fmla="*/ 36002232 w 28"/>
              <a:gd name="T5" fmla="*/ 265391839 h 104"/>
              <a:gd name="T6" fmla="*/ 0 w 28"/>
              <a:gd name="T7" fmla="*/ 428709199 h 104"/>
              <a:gd name="T8" fmla="*/ 0 w 28"/>
              <a:gd name="T9" fmla="*/ 530783678 h 104"/>
              <a:gd name="T10" fmla="*/ 144008929 w 28"/>
              <a:gd name="T11" fmla="*/ 265391839 h 104"/>
              <a:gd name="T12" fmla="*/ 0 w 28"/>
              <a:gd name="T13" fmla="*/ 0 h 10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8" h="104">
                <a:moveTo>
                  <a:pt x="0" y="0"/>
                </a:moveTo>
                <a:cubicBezTo>
                  <a:pt x="0" y="20"/>
                  <a:pt x="0" y="20"/>
                  <a:pt x="0" y="20"/>
                </a:cubicBezTo>
                <a:cubicBezTo>
                  <a:pt x="7" y="22"/>
                  <a:pt x="7" y="29"/>
                  <a:pt x="7" y="52"/>
                </a:cubicBezTo>
                <a:cubicBezTo>
                  <a:pt x="7" y="74"/>
                  <a:pt x="7" y="82"/>
                  <a:pt x="0" y="84"/>
                </a:cubicBezTo>
                <a:cubicBezTo>
                  <a:pt x="0" y="104"/>
                  <a:pt x="0" y="104"/>
                  <a:pt x="0" y="104"/>
                </a:cubicBezTo>
                <a:cubicBezTo>
                  <a:pt x="27" y="102"/>
                  <a:pt x="28" y="79"/>
                  <a:pt x="28" y="52"/>
                </a:cubicBezTo>
                <a:cubicBezTo>
                  <a:pt x="28" y="25"/>
                  <a:pt x="27" y="2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8" name="Freeform 230"/>
          <p:cNvSpPr>
            <a:spLocks/>
          </p:cNvSpPr>
          <p:nvPr/>
        </p:nvSpPr>
        <p:spPr bwMode="auto">
          <a:xfrm>
            <a:off x="6432552" y="4766733"/>
            <a:ext cx="80433" cy="313267"/>
          </a:xfrm>
          <a:custGeom>
            <a:avLst/>
            <a:gdLst>
              <a:gd name="T0" fmla="*/ 99837875 w 27"/>
              <a:gd name="T1" fmla="*/ 265391839 h 104"/>
              <a:gd name="T2" fmla="*/ 134781690 w 27"/>
              <a:gd name="T3" fmla="*/ 102074479 h 104"/>
              <a:gd name="T4" fmla="*/ 134781690 w 27"/>
              <a:gd name="T5" fmla="*/ 0 h 104"/>
              <a:gd name="T6" fmla="*/ 0 w 27"/>
              <a:gd name="T7" fmla="*/ 265391839 h 104"/>
              <a:gd name="T8" fmla="*/ 134781690 w 27"/>
              <a:gd name="T9" fmla="*/ 530783678 h 104"/>
              <a:gd name="T10" fmla="*/ 134781690 w 27"/>
              <a:gd name="T11" fmla="*/ 428709199 h 104"/>
              <a:gd name="T12" fmla="*/ 99837875 w 27"/>
              <a:gd name="T13" fmla="*/ 265391839 h 10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04">
                <a:moveTo>
                  <a:pt x="20" y="52"/>
                </a:moveTo>
                <a:cubicBezTo>
                  <a:pt x="20" y="30"/>
                  <a:pt x="21" y="22"/>
                  <a:pt x="27" y="20"/>
                </a:cubicBezTo>
                <a:cubicBezTo>
                  <a:pt x="27" y="0"/>
                  <a:pt x="27" y="0"/>
                  <a:pt x="27" y="0"/>
                </a:cubicBezTo>
                <a:cubicBezTo>
                  <a:pt x="3" y="1"/>
                  <a:pt x="0" y="21"/>
                  <a:pt x="0" y="52"/>
                </a:cubicBezTo>
                <a:cubicBezTo>
                  <a:pt x="0" y="83"/>
                  <a:pt x="3" y="103"/>
                  <a:pt x="27" y="104"/>
                </a:cubicBezTo>
                <a:cubicBezTo>
                  <a:pt x="27" y="84"/>
                  <a:pt x="27" y="84"/>
                  <a:pt x="27" y="84"/>
                </a:cubicBezTo>
                <a:cubicBezTo>
                  <a:pt x="21" y="82"/>
                  <a:pt x="20" y="74"/>
                  <a:pt x="20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19" name="Freeform 231"/>
          <p:cNvSpPr>
            <a:spLocks/>
          </p:cNvSpPr>
          <p:nvPr/>
        </p:nvSpPr>
        <p:spPr bwMode="auto">
          <a:xfrm>
            <a:off x="6616700" y="4982633"/>
            <a:ext cx="50800" cy="95251"/>
          </a:xfrm>
          <a:custGeom>
            <a:avLst/>
            <a:gdLst>
              <a:gd name="T0" fmla="*/ 35159576 w 17"/>
              <a:gd name="T1" fmla="*/ 138073523 h 31"/>
              <a:gd name="T2" fmla="*/ 65296676 w 17"/>
              <a:gd name="T3" fmla="*/ 100900414 h 31"/>
              <a:gd name="T4" fmla="*/ 85388824 w 17"/>
              <a:gd name="T5" fmla="*/ 42484870 h 31"/>
              <a:gd name="T6" fmla="*/ 40182053 w 17"/>
              <a:gd name="T7" fmla="*/ 0 h 31"/>
              <a:gd name="T8" fmla="*/ 0 w 17"/>
              <a:gd name="T9" fmla="*/ 47794326 h 31"/>
              <a:gd name="T10" fmla="*/ 0 w 17"/>
              <a:gd name="T11" fmla="*/ 53106087 h 31"/>
              <a:gd name="T12" fmla="*/ 30137100 w 17"/>
              <a:gd name="T13" fmla="*/ 53106087 h 31"/>
              <a:gd name="T14" fmla="*/ 40182053 w 17"/>
              <a:gd name="T15" fmla="*/ 21242435 h 31"/>
              <a:gd name="T16" fmla="*/ 50229247 w 17"/>
              <a:gd name="T17" fmla="*/ 47794326 h 31"/>
              <a:gd name="T18" fmla="*/ 30137100 w 17"/>
              <a:gd name="T19" fmla="*/ 90279196 h 31"/>
              <a:gd name="T20" fmla="*/ 0 w 17"/>
              <a:gd name="T21" fmla="*/ 164625414 h 31"/>
              <a:gd name="T22" fmla="*/ 85388824 w 17"/>
              <a:gd name="T23" fmla="*/ 164625414 h 31"/>
              <a:gd name="T24" fmla="*/ 85388824 w 17"/>
              <a:gd name="T25" fmla="*/ 138073523 h 31"/>
              <a:gd name="T26" fmla="*/ 35159576 w 17"/>
              <a:gd name="T27" fmla="*/ 138073523 h 3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7" h="31">
                <a:moveTo>
                  <a:pt x="7" y="26"/>
                </a:moveTo>
                <a:cubicBezTo>
                  <a:pt x="8" y="24"/>
                  <a:pt x="10" y="22"/>
                  <a:pt x="13" y="19"/>
                </a:cubicBezTo>
                <a:cubicBezTo>
                  <a:pt x="16" y="15"/>
                  <a:pt x="17" y="13"/>
                  <a:pt x="17" y="8"/>
                </a:cubicBezTo>
                <a:cubicBezTo>
                  <a:pt x="17" y="3"/>
                  <a:pt x="15" y="0"/>
                  <a:pt x="8" y="0"/>
                </a:cubicBezTo>
                <a:cubicBezTo>
                  <a:pt x="3" y="0"/>
                  <a:pt x="0" y="3"/>
                  <a:pt x="0" y="9"/>
                </a:cubicBezTo>
                <a:cubicBezTo>
                  <a:pt x="0" y="10"/>
                  <a:pt x="0" y="10"/>
                  <a:pt x="0" y="10"/>
                </a:cubicBezTo>
                <a:cubicBezTo>
                  <a:pt x="6" y="10"/>
                  <a:pt x="6" y="10"/>
                  <a:pt x="6" y="10"/>
                </a:cubicBezTo>
                <a:cubicBezTo>
                  <a:pt x="6" y="8"/>
                  <a:pt x="6" y="4"/>
                  <a:pt x="8" y="4"/>
                </a:cubicBezTo>
                <a:cubicBezTo>
                  <a:pt x="10" y="4"/>
                  <a:pt x="10" y="6"/>
                  <a:pt x="10" y="9"/>
                </a:cubicBezTo>
                <a:cubicBezTo>
                  <a:pt x="10" y="11"/>
                  <a:pt x="10" y="12"/>
                  <a:pt x="6" y="17"/>
                </a:cubicBezTo>
                <a:cubicBezTo>
                  <a:pt x="3" y="19"/>
                  <a:pt x="0" y="24"/>
                  <a:pt x="0" y="31"/>
                </a:cubicBezTo>
                <a:cubicBezTo>
                  <a:pt x="17" y="31"/>
                  <a:pt x="17" y="31"/>
                  <a:pt x="17" y="31"/>
                </a:cubicBezTo>
                <a:cubicBezTo>
                  <a:pt x="17" y="26"/>
                  <a:pt x="17" y="26"/>
                  <a:pt x="17" y="26"/>
                </a:cubicBezTo>
                <a:lnTo>
                  <a:pt x="7" y="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0" name="Freeform 232"/>
          <p:cNvSpPr>
            <a:spLocks/>
          </p:cNvSpPr>
          <p:nvPr/>
        </p:nvSpPr>
        <p:spPr bwMode="auto">
          <a:xfrm>
            <a:off x="6985001" y="4701118"/>
            <a:ext cx="469900" cy="469900"/>
          </a:xfrm>
          <a:custGeom>
            <a:avLst/>
            <a:gdLst>
              <a:gd name="T0" fmla="*/ 367466318 w 156"/>
              <a:gd name="T1" fmla="*/ 464435153 h 156"/>
              <a:gd name="T2" fmla="*/ 367466318 w 156"/>
              <a:gd name="T3" fmla="*/ 729826992 h 156"/>
              <a:gd name="T4" fmla="*/ 173526389 w 156"/>
              <a:gd name="T5" fmla="*/ 637961542 h 156"/>
              <a:gd name="T6" fmla="*/ 117384635 w 156"/>
              <a:gd name="T7" fmla="*/ 678790882 h 156"/>
              <a:gd name="T8" fmla="*/ 398088888 w 156"/>
              <a:gd name="T9" fmla="*/ 796175517 h 156"/>
              <a:gd name="T10" fmla="*/ 678790882 w 156"/>
              <a:gd name="T11" fmla="*/ 678790882 h 156"/>
              <a:gd name="T12" fmla="*/ 627754772 w 156"/>
              <a:gd name="T13" fmla="*/ 637961542 h 156"/>
              <a:gd name="T14" fmla="*/ 428709199 w 156"/>
              <a:gd name="T15" fmla="*/ 729826992 h 156"/>
              <a:gd name="T16" fmla="*/ 428709199 w 156"/>
              <a:gd name="T17" fmla="*/ 464435153 h 156"/>
              <a:gd name="T18" fmla="*/ 694101038 w 156"/>
              <a:gd name="T19" fmla="*/ 663480727 h 156"/>
              <a:gd name="T20" fmla="*/ 796175517 w 156"/>
              <a:gd name="T21" fmla="*/ 398088888 h 156"/>
              <a:gd name="T22" fmla="*/ 454228383 w 156"/>
              <a:gd name="T23" fmla="*/ 5103385 h 156"/>
              <a:gd name="T24" fmla="*/ 454228383 w 156"/>
              <a:gd name="T25" fmla="*/ 71451910 h 156"/>
              <a:gd name="T26" fmla="*/ 729826992 w 156"/>
              <a:gd name="T27" fmla="*/ 398088888 h 156"/>
              <a:gd name="T28" fmla="*/ 678790882 w 156"/>
              <a:gd name="T29" fmla="*/ 571613018 h 156"/>
              <a:gd name="T30" fmla="*/ 428709199 w 156"/>
              <a:gd name="T31" fmla="*/ 377673088 h 156"/>
              <a:gd name="T32" fmla="*/ 428709199 w 156"/>
              <a:gd name="T33" fmla="*/ 0 h 156"/>
              <a:gd name="T34" fmla="*/ 398088888 w 156"/>
              <a:gd name="T35" fmla="*/ 0 h 156"/>
              <a:gd name="T36" fmla="*/ 362362933 w 156"/>
              <a:gd name="T37" fmla="*/ 5103385 h 156"/>
              <a:gd name="T38" fmla="*/ 367466318 w 156"/>
              <a:gd name="T39" fmla="*/ 377673088 h 156"/>
              <a:gd name="T40" fmla="*/ 117384635 w 156"/>
              <a:gd name="T41" fmla="*/ 571613018 h 156"/>
              <a:gd name="T42" fmla="*/ 66348525 w 156"/>
              <a:gd name="T43" fmla="*/ 398088888 h 156"/>
              <a:gd name="T44" fmla="*/ 341947134 w 156"/>
              <a:gd name="T45" fmla="*/ 71451910 h 156"/>
              <a:gd name="T46" fmla="*/ 341947134 w 156"/>
              <a:gd name="T47" fmla="*/ 5103385 h 156"/>
              <a:gd name="T48" fmla="*/ 0 w 156"/>
              <a:gd name="T49" fmla="*/ 398088888 h 156"/>
              <a:gd name="T50" fmla="*/ 102074479 w 156"/>
              <a:gd name="T51" fmla="*/ 663480727 h 156"/>
              <a:gd name="T52" fmla="*/ 367466318 w 156"/>
              <a:gd name="T53" fmla="*/ 464435153 h 15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56" h="156">
                <a:moveTo>
                  <a:pt x="72" y="91"/>
                </a:moveTo>
                <a:cubicBezTo>
                  <a:pt x="72" y="143"/>
                  <a:pt x="72" y="143"/>
                  <a:pt x="72" y="143"/>
                </a:cubicBezTo>
                <a:cubicBezTo>
                  <a:pt x="57" y="141"/>
                  <a:pt x="44" y="135"/>
                  <a:pt x="34" y="125"/>
                </a:cubicBezTo>
                <a:cubicBezTo>
                  <a:pt x="23" y="133"/>
                  <a:pt x="23" y="133"/>
                  <a:pt x="23" y="133"/>
                </a:cubicBezTo>
                <a:cubicBezTo>
                  <a:pt x="37" y="147"/>
                  <a:pt x="57" y="156"/>
                  <a:pt x="78" y="156"/>
                </a:cubicBezTo>
                <a:cubicBezTo>
                  <a:pt x="99" y="156"/>
                  <a:pt x="119" y="147"/>
                  <a:pt x="133" y="133"/>
                </a:cubicBezTo>
                <a:cubicBezTo>
                  <a:pt x="123" y="125"/>
                  <a:pt x="123" y="125"/>
                  <a:pt x="123" y="125"/>
                </a:cubicBezTo>
                <a:cubicBezTo>
                  <a:pt x="112" y="135"/>
                  <a:pt x="99" y="141"/>
                  <a:pt x="84" y="143"/>
                </a:cubicBezTo>
                <a:cubicBezTo>
                  <a:pt x="84" y="91"/>
                  <a:pt x="84" y="91"/>
                  <a:pt x="84" y="91"/>
                </a:cubicBezTo>
                <a:cubicBezTo>
                  <a:pt x="136" y="130"/>
                  <a:pt x="136" y="130"/>
                  <a:pt x="136" y="130"/>
                </a:cubicBezTo>
                <a:cubicBezTo>
                  <a:pt x="148" y="116"/>
                  <a:pt x="156" y="98"/>
                  <a:pt x="156" y="78"/>
                </a:cubicBezTo>
                <a:cubicBezTo>
                  <a:pt x="156" y="39"/>
                  <a:pt x="127" y="6"/>
                  <a:pt x="89" y="1"/>
                </a:cubicBezTo>
                <a:cubicBezTo>
                  <a:pt x="89" y="14"/>
                  <a:pt x="89" y="14"/>
                  <a:pt x="89" y="14"/>
                </a:cubicBezTo>
                <a:cubicBezTo>
                  <a:pt x="119" y="19"/>
                  <a:pt x="143" y="46"/>
                  <a:pt x="143" y="78"/>
                </a:cubicBezTo>
                <a:cubicBezTo>
                  <a:pt x="143" y="90"/>
                  <a:pt x="139" y="102"/>
                  <a:pt x="133" y="112"/>
                </a:cubicBezTo>
                <a:cubicBezTo>
                  <a:pt x="84" y="74"/>
                  <a:pt x="84" y="74"/>
                  <a:pt x="84" y="74"/>
                </a:cubicBezTo>
                <a:cubicBezTo>
                  <a:pt x="84" y="0"/>
                  <a:pt x="84" y="0"/>
                  <a:pt x="84" y="0"/>
                </a:cubicBezTo>
                <a:cubicBezTo>
                  <a:pt x="82" y="0"/>
                  <a:pt x="80" y="0"/>
                  <a:pt x="78" y="0"/>
                </a:cubicBezTo>
                <a:cubicBezTo>
                  <a:pt x="76" y="0"/>
                  <a:pt x="74" y="0"/>
                  <a:pt x="71" y="1"/>
                </a:cubicBezTo>
                <a:cubicBezTo>
                  <a:pt x="72" y="74"/>
                  <a:pt x="72" y="74"/>
                  <a:pt x="72" y="74"/>
                </a:cubicBezTo>
                <a:cubicBezTo>
                  <a:pt x="23" y="112"/>
                  <a:pt x="23" y="112"/>
                  <a:pt x="23" y="112"/>
                </a:cubicBezTo>
                <a:cubicBezTo>
                  <a:pt x="17" y="102"/>
                  <a:pt x="13" y="90"/>
                  <a:pt x="13" y="78"/>
                </a:cubicBezTo>
                <a:cubicBezTo>
                  <a:pt x="13" y="46"/>
                  <a:pt x="37" y="19"/>
                  <a:pt x="67" y="14"/>
                </a:cubicBezTo>
                <a:cubicBezTo>
                  <a:pt x="67" y="1"/>
                  <a:pt x="67" y="1"/>
                  <a:pt x="67" y="1"/>
                </a:cubicBezTo>
                <a:cubicBezTo>
                  <a:pt x="29" y="6"/>
                  <a:pt x="0" y="39"/>
                  <a:pt x="0" y="78"/>
                </a:cubicBezTo>
                <a:cubicBezTo>
                  <a:pt x="0" y="98"/>
                  <a:pt x="8" y="116"/>
                  <a:pt x="20" y="130"/>
                </a:cubicBezTo>
                <a:lnTo>
                  <a:pt x="72" y="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1" name="Freeform 233"/>
          <p:cNvSpPr>
            <a:spLocks/>
          </p:cNvSpPr>
          <p:nvPr/>
        </p:nvSpPr>
        <p:spPr bwMode="auto">
          <a:xfrm>
            <a:off x="7960785" y="4938185"/>
            <a:ext cx="273049" cy="207433"/>
          </a:xfrm>
          <a:custGeom>
            <a:avLst/>
            <a:gdLst>
              <a:gd name="T0" fmla="*/ 460856265 w 91"/>
              <a:gd name="T1" fmla="*/ 0 h 69"/>
              <a:gd name="T2" fmla="*/ 445663771 w 91"/>
              <a:gd name="T3" fmla="*/ 81338668 h 69"/>
              <a:gd name="T4" fmla="*/ 415276530 w 91"/>
              <a:gd name="T5" fmla="*/ 122009130 h 69"/>
              <a:gd name="T6" fmla="*/ 369696795 w 91"/>
              <a:gd name="T7" fmla="*/ 127093501 h 69"/>
              <a:gd name="T8" fmla="*/ 359569965 w 91"/>
              <a:gd name="T9" fmla="*/ 127093501 h 69"/>
              <a:gd name="T10" fmla="*/ 359569965 w 91"/>
              <a:gd name="T11" fmla="*/ 127093501 h 69"/>
              <a:gd name="T12" fmla="*/ 344375220 w 91"/>
              <a:gd name="T13" fmla="*/ 116924759 h 69"/>
              <a:gd name="T14" fmla="*/ 298797735 w 91"/>
              <a:gd name="T15" fmla="*/ 157595220 h 69"/>
              <a:gd name="T16" fmla="*/ 298797735 w 91"/>
              <a:gd name="T17" fmla="*/ 162679592 h 69"/>
              <a:gd name="T18" fmla="*/ 293732070 w 91"/>
              <a:gd name="T19" fmla="*/ 162679592 h 69"/>
              <a:gd name="T20" fmla="*/ 293732070 w 91"/>
              <a:gd name="T21" fmla="*/ 162679592 h 69"/>
              <a:gd name="T22" fmla="*/ 288668655 w 91"/>
              <a:gd name="T23" fmla="*/ 162679592 h 69"/>
              <a:gd name="T24" fmla="*/ 288668655 w 91"/>
              <a:gd name="T25" fmla="*/ 162679592 h 69"/>
              <a:gd name="T26" fmla="*/ 283602990 w 91"/>
              <a:gd name="T27" fmla="*/ 162679592 h 69"/>
              <a:gd name="T28" fmla="*/ 278539575 w 91"/>
              <a:gd name="T29" fmla="*/ 162679592 h 69"/>
              <a:gd name="T30" fmla="*/ 106351965 w 91"/>
              <a:gd name="T31" fmla="*/ 162679592 h 69"/>
              <a:gd name="T32" fmla="*/ 106351965 w 91"/>
              <a:gd name="T33" fmla="*/ 167761708 h 69"/>
              <a:gd name="T34" fmla="*/ 106351965 w 91"/>
              <a:gd name="T35" fmla="*/ 167761708 h 69"/>
              <a:gd name="T36" fmla="*/ 106351965 w 91"/>
              <a:gd name="T37" fmla="*/ 172846080 h 69"/>
              <a:gd name="T38" fmla="*/ 101286300 w 91"/>
              <a:gd name="T39" fmla="*/ 172846080 h 69"/>
              <a:gd name="T40" fmla="*/ 101286300 w 91"/>
              <a:gd name="T41" fmla="*/ 177930451 h 69"/>
              <a:gd name="T42" fmla="*/ 101286300 w 91"/>
              <a:gd name="T43" fmla="*/ 177930451 h 69"/>
              <a:gd name="T44" fmla="*/ 96222885 w 91"/>
              <a:gd name="T45" fmla="*/ 183014822 h 69"/>
              <a:gd name="T46" fmla="*/ 96222885 w 91"/>
              <a:gd name="T47" fmla="*/ 183014822 h 69"/>
              <a:gd name="T48" fmla="*/ 91159470 w 91"/>
              <a:gd name="T49" fmla="*/ 188096939 h 69"/>
              <a:gd name="T50" fmla="*/ 91159470 w 91"/>
              <a:gd name="T51" fmla="*/ 193181311 h 69"/>
              <a:gd name="T52" fmla="*/ 86093805 w 91"/>
              <a:gd name="T53" fmla="*/ 193181311 h 69"/>
              <a:gd name="T54" fmla="*/ 86093805 w 91"/>
              <a:gd name="T55" fmla="*/ 198265682 h 69"/>
              <a:gd name="T56" fmla="*/ 81030390 w 91"/>
              <a:gd name="T57" fmla="*/ 198265682 h 69"/>
              <a:gd name="T58" fmla="*/ 75964725 w 91"/>
              <a:gd name="T59" fmla="*/ 203347799 h 69"/>
              <a:gd name="T60" fmla="*/ 75964725 w 91"/>
              <a:gd name="T61" fmla="*/ 203347799 h 69"/>
              <a:gd name="T62" fmla="*/ 70901310 w 91"/>
              <a:gd name="T63" fmla="*/ 208432170 h 69"/>
              <a:gd name="T64" fmla="*/ 65835645 w 91"/>
              <a:gd name="T65" fmla="*/ 208432170 h 69"/>
              <a:gd name="T66" fmla="*/ 65835645 w 91"/>
              <a:gd name="T67" fmla="*/ 213516541 h 69"/>
              <a:gd name="T68" fmla="*/ 60772230 w 91"/>
              <a:gd name="T69" fmla="*/ 218600913 h 69"/>
              <a:gd name="T70" fmla="*/ 55708815 w 91"/>
              <a:gd name="T71" fmla="*/ 218600913 h 69"/>
              <a:gd name="T72" fmla="*/ 50643150 w 91"/>
              <a:gd name="T73" fmla="*/ 223683029 h 69"/>
              <a:gd name="T74" fmla="*/ 45579735 w 91"/>
              <a:gd name="T75" fmla="*/ 223683029 h 69"/>
              <a:gd name="T76" fmla="*/ 40514070 w 91"/>
              <a:gd name="T77" fmla="*/ 223683029 h 69"/>
              <a:gd name="T78" fmla="*/ 35450655 w 91"/>
              <a:gd name="T79" fmla="*/ 228767401 h 69"/>
              <a:gd name="T80" fmla="*/ 25321575 w 91"/>
              <a:gd name="T81" fmla="*/ 228767401 h 69"/>
              <a:gd name="T82" fmla="*/ 25321575 w 91"/>
              <a:gd name="T83" fmla="*/ 233851772 h 69"/>
              <a:gd name="T84" fmla="*/ 10129080 w 91"/>
              <a:gd name="T85" fmla="*/ 233851772 h 69"/>
              <a:gd name="T86" fmla="*/ 10129080 w 91"/>
              <a:gd name="T87" fmla="*/ 233851772 h 69"/>
              <a:gd name="T88" fmla="*/ 0 w 91"/>
              <a:gd name="T89" fmla="*/ 238933889 h 69"/>
              <a:gd name="T90" fmla="*/ 86093805 w 91"/>
              <a:gd name="T91" fmla="*/ 350776531 h 69"/>
              <a:gd name="T92" fmla="*/ 374762460 w 91"/>
              <a:gd name="T93" fmla="*/ 350776531 h 69"/>
              <a:gd name="T94" fmla="*/ 460856265 w 91"/>
              <a:gd name="T95" fmla="*/ 228767401 h 69"/>
              <a:gd name="T96" fmla="*/ 460856265 w 91"/>
              <a:gd name="T97" fmla="*/ 0 h 6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91" h="69">
                <a:moveTo>
                  <a:pt x="91" y="0"/>
                </a:moveTo>
                <a:cubicBezTo>
                  <a:pt x="88" y="16"/>
                  <a:pt x="88" y="16"/>
                  <a:pt x="88" y="16"/>
                </a:cubicBezTo>
                <a:cubicBezTo>
                  <a:pt x="87" y="19"/>
                  <a:pt x="85" y="22"/>
                  <a:pt x="82" y="24"/>
                </a:cubicBezTo>
                <a:cubicBezTo>
                  <a:pt x="79" y="26"/>
                  <a:pt x="76" y="26"/>
                  <a:pt x="73" y="25"/>
                </a:cubicBezTo>
                <a:cubicBezTo>
                  <a:pt x="72" y="25"/>
                  <a:pt x="72" y="25"/>
                  <a:pt x="71" y="25"/>
                </a:cubicBezTo>
                <a:cubicBezTo>
                  <a:pt x="71" y="25"/>
                  <a:pt x="71" y="25"/>
                  <a:pt x="71" y="25"/>
                </a:cubicBezTo>
                <a:cubicBezTo>
                  <a:pt x="70" y="25"/>
                  <a:pt x="69" y="24"/>
                  <a:pt x="68" y="23"/>
                </a:cubicBezTo>
                <a:cubicBezTo>
                  <a:pt x="66" y="27"/>
                  <a:pt x="63" y="30"/>
                  <a:pt x="59" y="31"/>
                </a:cubicBezTo>
                <a:cubicBezTo>
                  <a:pt x="59" y="31"/>
                  <a:pt x="59" y="31"/>
                  <a:pt x="59" y="32"/>
                </a:cubicBezTo>
                <a:cubicBezTo>
                  <a:pt x="59" y="32"/>
                  <a:pt x="59" y="32"/>
                  <a:pt x="58" y="32"/>
                </a:cubicBezTo>
                <a:cubicBezTo>
                  <a:pt x="58" y="32"/>
                  <a:pt x="58" y="32"/>
                  <a:pt x="58" y="32"/>
                </a:cubicBezTo>
                <a:cubicBezTo>
                  <a:pt x="58" y="32"/>
                  <a:pt x="57" y="32"/>
                  <a:pt x="57" y="32"/>
                </a:cubicBezTo>
                <a:cubicBezTo>
                  <a:pt x="57" y="32"/>
                  <a:pt x="57" y="32"/>
                  <a:pt x="57" y="32"/>
                </a:cubicBezTo>
                <a:cubicBezTo>
                  <a:pt x="56" y="32"/>
                  <a:pt x="56" y="32"/>
                  <a:pt x="56" y="32"/>
                </a:cubicBezTo>
                <a:cubicBezTo>
                  <a:pt x="56" y="32"/>
                  <a:pt x="55" y="32"/>
                  <a:pt x="55" y="32"/>
                </a:cubicBezTo>
                <a:cubicBezTo>
                  <a:pt x="55" y="32"/>
                  <a:pt x="24" y="32"/>
                  <a:pt x="21" y="32"/>
                </a:cubicBezTo>
                <a:cubicBezTo>
                  <a:pt x="21" y="32"/>
                  <a:pt x="21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1" y="33"/>
                  <a:pt x="21" y="34"/>
                  <a:pt x="21" y="34"/>
                </a:cubicBezTo>
                <a:cubicBezTo>
                  <a:pt x="20" y="34"/>
                  <a:pt x="20" y="34"/>
                  <a:pt x="20" y="34"/>
                </a:cubicBezTo>
                <a:cubicBezTo>
                  <a:pt x="20" y="34"/>
                  <a:pt x="20" y="35"/>
                  <a:pt x="20" y="35"/>
                </a:cubicBezTo>
                <a:cubicBezTo>
                  <a:pt x="20" y="35"/>
                  <a:pt x="20" y="35"/>
                  <a:pt x="20" y="35"/>
                </a:cubicBezTo>
                <a:cubicBezTo>
                  <a:pt x="19" y="35"/>
                  <a:pt x="19" y="36"/>
                  <a:pt x="19" y="36"/>
                </a:cubicBezTo>
                <a:cubicBezTo>
                  <a:pt x="19" y="36"/>
                  <a:pt x="19" y="36"/>
                  <a:pt x="19" y="36"/>
                </a:cubicBezTo>
                <a:cubicBezTo>
                  <a:pt x="19" y="37"/>
                  <a:pt x="18" y="37"/>
                  <a:pt x="18" y="37"/>
                </a:cubicBezTo>
                <a:cubicBezTo>
                  <a:pt x="18" y="37"/>
                  <a:pt x="18" y="37"/>
                  <a:pt x="18" y="38"/>
                </a:cubicBezTo>
                <a:cubicBezTo>
                  <a:pt x="18" y="38"/>
                  <a:pt x="17" y="38"/>
                  <a:pt x="17" y="38"/>
                </a:cubicBezTo>
                <a:cubicBezTo>
                  <a:pt x="17" y="38"/>
                  <a:pt x="17" y="38"/>
                  <a:pt x="17" y="39"/>
                </a:cubicBezTo>
                <a:cubicBezTo>
                  <a:pt x="16" y="39"/>
                  <a:pt x="16" y="39"/>
                  <a:pt x="16" y="39"/>
                </a:cubicBezTo>
                <a:cubicBezTo>
                  <a:pt x="16" y="39"/>
                  <a:pt x="16" y="40"/>
                  <a:pt x="15" y="40"/>
                </a:cubicBezTo>
                <a:cubicBezTo>
                  <a:pt x="15" y="40"/>
                  <a:pt x="15" y="40"/>
                  <a:pt x="15" y="40"/>
                </a:cubicBezTo>
                <a:cubicBezTo>
                  <a:pt x="14" y="41"/>
                  <a:pt x="14" y="41"/>
                  <a:pt x="14" y="41"/>
                </a:cubicBezTo>
                <a:cubicBezTo>
                  <a:pt x="14" y="41"/>
                  <a:pt x="14" y="41"/>
                  <a:pt x="13" y="41"/>
                </a:cubicBezTo>
                <a:cubicBezTo>
                  <a:pt x="13" y="42"/>
                  <a:pt x="13" y="42"/>
                  <a:pt x="13" y="42"/>
                </a:cubicBezTo>
                <a:cubicBezTo>
                  <a:pt x="12" y="42"/>
                  <a:pt x="12" y="42"/>
                  <a:pt x="12" y="43"/>
                </a:cubicBezTo>
                <a:cubicBezTo>
                  <a:pt x="11" y="43"/>
                  <a:pt x="11" y="43"/>
                  <a:pt x="11" y="43"/>
                </a:cubicBezTo>
                <a:cubicBezTo>
                  <a:pt x="10" y="43"/>
                  <a:pt x="10" y="43"/>
                  <a:pt x="10" y="44"/>
                </a:cubicBezTo>
                <a:cubicBezTo>
                  <a:pt x="10" y="44"/>
                  <a:pt x="9" y="44"/>
                  <a:pt x="9" y="44"/>
                </a:cubicBezTo>
                <a:cubicBezTo>
                  <a:pt x="9" y="44"/>
                  <a:pt x="8" y="44"/>
                  <a:pt x="8" y="44"/>
                </a:cubicBezTo>
                <a:cubicBezTo>
                  <a:pt x="7" y="45"/>
                  <a:pt x="7" y="45"/>
                  <a:pt x="7" y="45"/>
                </a:cubicBezTo>
                <a:cubicBezTo>
                  <a:pt x="6" y="45"/>
                  <a:pt x="6" y="45"/>
                  <a:pt x="5" y="45"/>
                </a:cubicBezTo>
                <a:cubicBezTo>
                  <a:pt x="5" y="45"/>
                  <a:pt x="5" y="46"/>
                  <a:pt x="5" y="46"/>
                </a:cubicBezTo>
                <a:cubicBezTo>
                  <a:pt x="4" y="46"/>
                  <a:pt x="3" y="46"/>
                  <a:pt x="2" y="46"/>
                </a:cubicBezTo>
                <a:cubicBezTo>
                  <a:pt x="2" y="46"/>
                  <a:pt x="2" y="46"/>
                  <a:pt x="2" y="46"/>
                </a:cubicBezTo>
                <a:cubicBezTo>
                  <a:pt x="1" y="47"/>
                  <a:pt x="0" y="47"/>
                  <a:pt x="0" y="47"/>
                </a:cubicBezTo>
                <a:cubicBezTo>
                  <a:pt x="3" y="51"/>
                  <a:pt x="16" y="68"/>
                  <a:pt x="17" y="69"/>
                </a:cubicBezTo>
                <a:cubicBezTo>
                  <a:pt x="19" y="69"/>
                  <a:pt x="72" y="69"/>
                  <a:pt x="74" y="69"/>
                </a:cubicBezTo>
                <a:cubicBezTo>
                  <a:pt x="75" y="67"/>
                  <a:pt x="90" y="46"/>
                  <a:pt x="91" y="45"/>
                </a:cubicBezTo>
                <a:cubicBezTo>
                  <a:pt x="91" y="45"/>
                  <a:pt x="91" y="19"/>
                  <a:pt x="9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2" name="Freeform 234"/>
          <p:cNvSpPr>
            <a:spLocks/>
          </p:cNvSpPr>
          <p:nvPr/>
        </p:nvSpPr>
        <p:spPr bwMode="auto">
          <a:xfrm>
            <a:off x="8161868" y="4823885"/>
            <a:ext cx="80433" cy="179916"/>
          </a:xfrm>
          <a:custGeom>
            <a:avLst/>
            <a:gdLst>
              <a:gd name="T0" fmla="*/ 99837875 w 27"/>
              <a:gd name="T1" fmla="*/ 5057889 h 60"/>
              <a:gd name="T2" fmla="*/ 44926485 w 27"/>
              <a:gd name="T3" fmla="*/ 35405220 h 60"/>
              <a:gd name="T4" fmla="*/ 0 w 27"/>
              <a:gd name="T5" fmla="*/ 237716264 h 60"/>
              <a:gd name="T6" fmla="*/ 0 w 27"/>
              <a:gd name="T7" fmla="*/ 237716264 h 60"/>
              <a:gd name="T8" fmla="*/ 0 w 27"/>
              <a:gd name="T9" fmla="*/ 237716264 h 60"/>
              <a:gd name="T10" fmla="*/ 0 w 27"/>
              <a:gd name="T11" fmla="*/ 247832041 h 60"/>
              <a:gd name="T12" fmla="*/ 9984905 w 27"/>
              <a:gd name="T13" fmla="*/ 273121484 h 60"/>
              <a:gd name="T14" fmla="*/ 9984905 w 27"/>
              <a:gd name="T15" fmla="*/ 273121484 h 60"/>
              <a:gd name="T16" fmla="*/ 9984905 w 27"/>
              <a:gd name="T17" fmla="*/ 283237261 h 60"/>
              <a:gd name="T18" fmla="*/ 9984905 w 27"/>
              <a:gd name="T19" fmla="*/ 283237261 h 60"/>
              <a:gd name="T20" fmla="*/ 9984905 w 27"/>
              <a:gd name="T21" fmla="*/ 288295149 h 60"/>
              <a:gd name="T22" fmla="*/ 34943815 w 27"/>
              <a:gd name="T23" fmla="*/ 303468815 h 60"/>
              <a:gd name="T24" fmla="*/ 64894060 w 27"/>
              <a:gd name="T25" fmla="*/ 298410927 h 60"/>
              <a:gd name="T26" fmla="*/ 69887630 w 27"/>
              <a:gd name="T27" fmla="*/ 293353038 h 60"/>
              <a:gd name="T28" fmla="*/ 84861635 w 27"/>
              <a:gd name="T29" fmla="*/ 268063595 h 60"/>
              <a:gd name="T30" fmla="*/ 129790355 w 27"/>
              <a:gd name="T31" fmla="*/ 60694663 h 60"/>
              <a:gd name="T32" fmla="*/ 99837875 w 27"/>
              <a:gd name="T33" fmla="*/ 5057889 h 6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7" h="60">
                <a:moveTo>
                  <a:pt x="20" y="1"/>
                </a:moveTo>
                <a:cubicBezTo>
                  <a:pt x="15" y="0"/>
                  <a:pt x="11" y="2"/>
                  <a:pt x="9" y="7"/>
                </a:cubicBezTo>
                <a:cubicBezTo>
                  <a:pt x="9" y="11"/>
                  <a:pt x="0" y="47"/>
                  <a:pt x="0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8"/>
                  <a:pt x="0" y="49"/>
                  <a:pt x="0" y="49"/>
                </a:cubicBezTo>
                <a:cubicBezTo>
                  <a:pt x="1" y="51"/>
                  <a:pt x="1" y="52"/>
                  <a:pt x="2" y="54"/>
                </a:cubicBezTo>
                <a:cubicBezTo>
                  <a:pt x="2" y="54"/>
                  <a:pt x="2" y="54"/>
                  <a:pt x="2" y="54"/>
                </a:cubicBezTo>
                <a:cubicBezTo>
                  <a:pt x="2" y="55"/>
                  <a:pt x="2" y="56"/>
                  <a:pt x="2" y="56"/>
                </a:cubicBezTo>
                <a:cubicBezTo>
                  <a:pt x="2" y="56"/>
                  <a:pt x="2" y="56"/>
                  <a:pt x="2" y="56"/>
                </a:cubicBezTo>
                <a:cubicBezTo>
                  <a:pt x="2" y="57"/>
                  <a:pt x="2" y="57"/>
                  <a:pt x="2" y="57"/>
                </a:cubicBezTo>
                <a:cubicBezTo>
                  <a:pt x="3" y="58"/>
                  <a:pt x="5" y="59"/>
                  <a:pt x="7" y="60"/>
                </a:cubicBezTo>
                <a:cubicBezTo>
                  <a:pt x="9" y="60"/>
                  <a:pt x="11" y="60"/>
                  <a:pt x="13" y="59"/>
                </a:cubicBezTo>
                <a:cubicBezTo>
                  <a:pt x="14" y="59"/>
                  <a:pt x="14" y="58"/>
                  <a:pt x="14" y="58"/>
                </a:cubicBezTo>
                <a:cubicBezTo>
                  <a:pt x="16" y="57"/>
                  <a:pt x="17" y="55"/>
                  <a:pt x="17" y="53"/>
                </a:cubicBezTo>
                <a:cubicBezTo>
                  <a:pt x="26" y="12"/>
                  <a:pt x="26" y="12"/>
                  <a:pt x="26" y="12"/>
                </a:cubicBezTo>
                <a:cubicBezTo>
                  <a:pt x="27" y="7"/>
                  <a:pt x="24" y="2"/>
                  <a:pt x="20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3" name="Freeform 235"/>
          <p:cNvSpPr>
            <a:spLocks/>
          </p:cNvSpPr>
          <p:nvPr/>
        </p:nvSpPr>
        <p:spPr bwMode="auto">
          <a:xfrm>
            <a:off x="8098368" y="4802718"/>
            <a:ext cx="80433" cy="158749"/>
          </a:xfrm>
          <a:custGeom>
            <a:avLst/>
            <a:gdLst>
              <a:gd name="T0" fmla="*/ 49920055 w 27"/>
              <a:gd name="T1" fmla="*/ 35325471 h 53"/>
              <a:gd name="T2" fmla="*/ 44926485 w 27"/>
              <a:gd name="T3" fmla="*/ 40373250 h 53"/>
              <a:gd name="T4" fmla="*/ 4991335 w 27"/>
              <a:gd name="T5" fmla="*/ 232143943 h 53"/>
              <a:gd name="T6" fmla="*/ 0 w 27"/>
              <a:gd name="T7" fmla="*/ 247282788 h 53"/>
              <a:gd name="T8" fmla="*/ 44926485 w 27"/>
              <a:gd name="T9" fmla="*/ 247282788 h 53"/>
              <a:gd name="T10" fmla="*/ 49920055 w 27"/>
              <a:gd name="T11" fmla="*/ 247282788 h 53"/>
              <a:gd name="T12" fmla="*/ 54911390 w 27"/>
              <a:gd name="T13" fmla="*/ 247282788 h 53"/>
              <a:gd name="T14" fmla="*/ 59902725 w 27"/>
              <a:gd name="T15" fmla="*/ 252330568 h 53"/>
              <a:gd name="T16" fmla="*/ 59902725 w 27"/>
              <a:gd name="T17" fmla="*/ 252330568 h 53"/>
              <a:gd name="T18" fmla="*/ 64894060 w 27"/>
              <a:gd name="T19" fmla="*/ 252330568 h 53"/>
              <a:gd name="T20" fmla="*/ 89855205 w 27"/>
              <a:gd name="T21" fmla="*/ 267469413 h 53"/>
              <a:gd name="T22" fmla="*/ 134781690 w 27"/>
              <a:gd name="T23" fmla="*/ 55512096 h 53"/>
              <a:gd name="T24" fmla="*/ 134781690 w 27"/>
              <a:gd name="T25" fmla="*/ 45418783 h 53"/>
              <a:gd name="T26" fmla="*/ 99837875 w 27"/>
              <a:gd name="T27" fmla="*/ 5045533 h 53"/>
              <a:gd name="T28" fmla="*/ 74878965 w 27"/>
              <a:gd name="T29" fmla="*/ 5045533 h 53"/>
              <a:gd name="T30" fmla="*/ 49920055 w 27"/>
              <a:gd name="T31" fmla="*/ 35325471 h 5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27" h="53">
                <a:moveTo>
                  <a:pt x="10" y="7"/>
                </a:moveTo>
                <a:cubicBezTo>
                  <a:pt x="10" y="7"/>
                  <a:pt x="10" y="8"/>
                  <a:pt x="9" y="8"/>
                </a:cubicBezTo>
                <a:cubicBezTo>
                  <a:pt x="1" y="46"/>
                  <a:pt x="1" y="46"/>
                  <a:pt x="1" y="46"/>
                </a:cubicBezTo>
                <a:cubicBezTo>
                  <a:pt x="1" y="48"/>
                  <a:pt x="0" y="49"/>
                  <a:pt x="0" y="49"/>
                </a:cubicBezTo>
                <a:cubicBezTo>
                  <a:pt x="1" y="49"/>
                  <a:pt x="9" y="49"/>
                  <a:pt x="9" y="49"/>
                </a:cubicBezTo>
                <a:cubicBezTo>
                  <a:pt x="9" y="49"/>
                  <a:pt x="10" y="49"/>
                  <a:pt x="10" y="49"/>
                </a:cubicBezTo>
                <a:cubicBezTo>
                  <a:pt x="11" y="49"/>
                  <a:pt x="11" y="49"/>
                  <a:pt x="11" y="49"/>
                </a:cubicBezTo>
                <a:cubicBezTo>
                  <a:pt x="11" y="49"/>
                  <a:pt x="12" y="49"/>
                  <a:pt x="12" y="50"/>
                </a:cubicBezTo>
                <a:cubicBezTo>
                  <a:pt x="12" y="50"/>
                  <a:pt x="12" y="50"/>
                  <a:pt x="12" y="50"/>
                </a:cubicBezTo>
                <a:cubicBezTo>
                  <a:pt x="13" y="50"/>
                  <a:pt x="13" y="50"/>
                  <a:pt x="13" y="50"/>
                </a:cubicBezTo>
                <a:cubicBezTo>
                  <a:pt x="15" y="50"/>
                  <a:pt x="16" y="51"/>
                  <a:pt x="18" y="53"/>
                </a:cubicBezTo>
                <a:cubicBezTo>
                  <a:pt x="18" y="50"/>
                  <a:pt x="27" y="11"/>
                  <a:pt x="27" y="11"/>
                </a:cubicBezTo>
                <a:cubicBezTo>
                  <a:pt x="27" y="11"/>
                  <a:pt x="27" y="10"/>
                  <a:pt x="27" y="9"/>
                </a:cubicBezTo>
                <a:cubicBezTo>
                  <a:pt x="27" y="5"/>
                  <a:pt x="24" y="1"/>
                  <a:pt x="20" y="1"/>
                </a:cubicBezTo>
                <a:cubicBezTo>
                  <a:pt x="18" y="0"/>
                  <a:pt x="17" y="0"/>
                  <a:pt x="15" y="1"/>
                </a:cubicBezTo>
                <a:cubicBezTo>
                  <a:pt x="12" y="2"/>
                  <a:pt x="10" y="5"/>
                  <a:pt x="10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4" name="Freeform 236"/>
          <p:cNvSpPr>
            <a:spLocks/>
          </p:cNvSpPr>
          <p:nvPr/>
        </p:nvSpPr>
        <p:spPr bwMode="auto">
          <a:xfrm>
            <a:off x="7933267" y="4696884"/>
            <a:ext cx="215900" cy="254000"/>
          </a:xfrm>
          <a:custGeom>
            <a:avLst/>
            <a:gdLst>
              <a:gd name="T0" fmla="*/ 263006681 w 72"/>
              <a:gd name="T1" fmla="*/ 432026786 h 84"/>
              <a:gd name="T2" fmla="*/ 308525598 w 72"/>
              <a:gd name="T3" fmla="*/ 216013393 h 84"/>
              <a:gd name="T4" fmla="*/ 343930949 w 72"/>
              <a:gd name="T5" fmla="*/ 169724161 h 84"/>
              <a:gd name="T6" fmla="*/ 364162578 w 72"/>
              <a:gd name="T7" fmla="*/ 92576196 h 84"/>
              <a:gd name="T8" fmla="*/ 364162578 w 72"/>
              <a:gd name="T9" fmla="*/ 77147964 h 84"/>
              <a:gd name="T10" fmla="*/ 313583505 w 72"/>
              <a:gd name="T11" fmla="*/ 10287000 h 84"/>
              <a:gd name="T12" fmla="*/ 263006681 w 72"/>
              <a:gd name="T13" fmla="*/ 15430500 h 84"/>
              <a:gd name="T14" fmla="*/ 232659238 w 72"/>
              <a:gd name="T15" fmla="*/ 56573964 h 84"/>
              <a:gd name="T16" fmla="*/ 182082414 w 72"/>
              <a:gd name="T17" fmla="*/ 236585125 h 84"/>
              <a:gd name="T18" fmla="*/ 131503341 w 72"/>
              <a:gd name="T19" fmla="*/ 56573964 h 84"/>
              <a:gd name="T20" fmla="*/ 45521166 w 72"/>
              <a:gd name="T21" fmla="*/ 10287000 h 84"/>
              <a:gd name="T22" fmla="*/ 0 w 72"/>
              <a:gd name="T23" fmla="*/ 77147964 h 84"/>
              <a:gd name="T24" fmla="*/ 0 w 72"/>
              <a:gd name="T25" fmla="*/ 92576196 h 84"/>
              <a:gd name="T26" fmla="*/ 75866360 w 72"/>
              <a:gd name="T27" fmla="*/ 375452821 h 84"/>
              <a:gd name="T28" fmla="*/ 35405351 w 72"/>
              <a:gd name="T29" fmla="*/ 432026786 h 84"/>
              <a:gd name="T30" fmla="*/ 263006681 w 72"/>
              <a:gd name="T31" fmla="*/ 432026786 h 8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2" h="84">
                <a:moveTo>
                  <a:pt x="52" y="84"/>
                </a:moveTo>
                <a:cubicBezTo>
                  <a:pt x="52" y="82"/>
                  <a:pt x="61" y="42"/>
                  <a:pt x="61" y="42"/>
                </a:cubicBezTo>
                <a:cubicBezTo>
                  <a:pt x="62" y="38"/>
                  <a:pt x="64" y="35"/>
                  <a:pt x="68" y="33"/>
                </a:cubicBezTo>
                <a:cubicBezTo>
                  <a:pt x="68" y="32"/>
                  <a:pt x="72" y="18"/>
                  <a:pt x="72" y="18"/>
                </a:cubicBezTo>
                <a:cubicBezTo>
                  <a:pt x="72" y="17"/>
                  <a:pt x="72" y="16"/>
                  <a:pt x="72" y="15"/>
                </a:cubicBezTo>
                <a:cubicBezTo>
                  <a:pt x="72" y="9"/>
                  <a:pt x="68" y="3"/>
                  <a:pt x="62" y="2"/>
                </a:cubicBezTo>
                <a:cubicBezTo>
                  <a:pt x="59" y="1"/>
                  <a:pt x="55" y="1"/>
                  <a:pt x="52" y="3"/>
                </a:cubicBezTo>
                <a:cubicBezTo>
                  <a:pt x="49" y="5"/>
                  <a:pt x="47" y="8"/>
                  <a:pt x="46" y="11"/>
                </a:cubicBezTo>
                <a:cubicBezTo>
                  <a:pt x="36" y="46"/>
                  <a:pt x="36" y="46"/>
                  <a:pt x="36" y="46"/>
                </a:cubicBezTo>
                <a:cubicBezTo>
                  <a:pt x="26" y="11"/>
                  <a:pt x="26" y="11"/>
                  <a:pt x="26" y="11"/>
                </a:cubicBezTo>
                <a:cubicBezTo>
                  <a:pt x="24" y="4"/>
                  <a:pt x="17" y="0"/>
                  <a:pt x="9" y="2"/>
                </a:cubicBezTo>
                <a:cubicBezTo>
                  <a:pt x="3" y="3"/>
                  <a:pt x="0" y="9"/>
                  <a:pt x="0" y="15"/>
                </a:cubicBezTo>
                <a:cubicBezTo>
                  <a:pt x="0" y="16"/>
                  <a:pt x="0" y="17"/>
                  <a:pt x="0" y="18"/>
                </a:cubicBezTo>
                <a:cubicBezTo>
                  <a:pt x="15" y="73"/>
                  <a:pt x="15" y="73"/>
                  <a:pt x="15" y="73"/>
                </a:cubicBezTo>
                <a:cubicBezTo>
                  <a:pt x="7" y="84"/>
                  <a:pt x="7" y="84"/>
                  <a:pt x="7" y="84"/>
                </a:cubicBezTo>
                <a:cubicBezTo>
                  <a:pt x="7" y="84"/>
                  <a:pt x="50" y="84"/>
                  <a:pt x="52" y="8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5" name="Freeform 237"/>
          <p:cNvSpPr>
            <a:spLocks/>
          </p:cNvSpPr>
          <p:nvPr/>
        </p:nvSpPr>
        <p:spPr bwMode="auto">
          <a:xfrm>
            <a:off x="7954434" y="4961468"/>
            <a:ext cx="201084" cy="105833"/>
          </a:xfrm>
          <a:custGeom>
            <a:avLst/>
            <a:gdLst>
              <a:gd name="T0" fmla="*/ 106401948 w 67"/>
              <a:gd name="T1" fmla="*/ 113150196 h 35"/>
              <a:gd name="T2" fmla="*/ 106401948 w 67"/>
              <a:gd name="T3" fmla="*/ 108006696 h 35"/>
              <a:gd name="T4" fmla="*/ 288804644 w 67"/>
              <a:gd name="T5" fmla="*/ 108006696 h 35"/>
              <a:gd name="T6" fmla="*/ 304002993 w 67"/>
              <a:gd name="T7" fmla="*/ 102863196 h 35"/>
              <a:gd name="T8" fmla="*/ 339471059 w 67"/>
              <a:gd name="T9" fmla="*/ 56573964 h 35"/>
              <a:gd name="T10" fmla="*/ 339471059 w 67"/>
              <a:gd name="T11" fmla="*/ 51432732 h 35"/>
              <a:gd name="T12" fmla="*/ 329337326 w 67"/>
              <a:gd name="T13" fmla="*/ 20571732 h 35"/>
              <a:gd name="T14" fmla="*/ 329337326 w 67"/>
              <a:gd name="T15" fmla="*/ 20571732 h 35"/>
              <a:gd name="T16" fmla="*/ 288804644 w 67"/>
              <a:gd name="T17" fmla="*/ 0 h 35"/>
              <a:gd name="T18" fmla="*/ 243202845 w 67"/>
              <a:gd name="T19" fmla="*/ 0 h 35"/>
              <a:gd name="T20" fmla="*/ 222935378 w 67"/>
              <a:gd name="T21" fmla="*/ 0 h 35"/>
              <a:gd name="T22" fmla="*/ 0 w 67"/>
              <a:gd name="T23" fmla="*/ 0 h 35"/>
              <a:gd name="T24" fmla="*/ 0 w 67"/>
              <a:gd name="T25" fmla="*/ 180011161 h 35"/>
              <a:gd name="T26" fmla="*/ 106401948 w 67"/>
              <a:gd name="T27" fmla="*/ 113150196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67" h="35">
                <a:moveTo>
                  <a:pt x="21" y="22"/>
                </a:moveTo>
                <a:cubicBezTo>
                  <a:pt x="21" y="21"/>
                  <a:pt x="21" y="21"/>
                  <a:pt x="21" y="21"/>
                </a:cubicBezTo>
                <a:cubicBezTo>
                  <a:pt x="57" y="21"/>
                  <a:pt x="57" y="21"/>
                  <a:pt x="57" y="21"/>
                </a:cubicBezTo>
                <a:cubicBezTo>
                  <a:pt x="58" y="21"/>
                  <a:pt x="59" y="20"/>
                  <a:pt x="60" y="20"/>
                </a:cubicBezTo>
                <a:cubicBezTo>
                  <a:pt x="64" y="19"/>
                  <a:pt x="67" y="16"/>
                  <a:pt x="67" y="11"/>
                </a:cubicBezTo>
                <a:cubicBezTo>
                  <a:pt x="67" y="10"/>
                  <a:pt x="67" y="10"/>
                  <a:pt x="67" y="10"/>
                </a:cubicBezTo>
                <a:cubicBezTo>
                  <a:pt x="67" y="8"/>
                  <a:pt x="67" y="6"/>
                  <a:pt x="65" y="4"/>
                </a:cubicBezTo>
                <a:cubicBezTo>
                  <a:pt x="65" y="4"/>
                  <a:pt x="65" y="4"/>
                  <a:pt x="65" y="4"/>
                </a:cubicBezTo>
                <a:cubicBezTo>
                  <a:pt x="63" y="2"/>
                  <a:pt x="60" y="0"/>
                  <a:pt x="57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2"/>
                  <a:pt x="0" y="35"/>
                </a:cubicBezTo>
                <a:cubicBezTo>
                  <a:pt x="15" y="33"/>
                  <a:pt x="19" y="24"/>
                  <a:pt x="21" y="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6" name="Freeform 238"/>
          <p:cNvSpPr>
            <a:spLocks/>
          </p:cNvSpPr>
          <p:nvPr/>
        </p:nvSpPr>
        <p:spPr bwMode="auto">
          <a:xfrm>
            <a:off x="8722784" y="4728633"/>
            <a:ext cx="218016" cy="203200"/>
          </a:xfrm>
          <a:custGeom>
            <a:avLst/>
            <a:gdLst>
              <a:gd name="T0" fmla="*/ 5157441 w 72"/>
              <a:gd name="T1" fmla="*/ 50229247 h 68"/>
              <a:gd name="T2" fmla="*/ 30944646 w 72"/>
              <a:gd name="T3" fmla="*/ 60274200 h 68"/>
              <a:gd name="T4" fmla="*/ 46416969 w 72"/>
              <a:gd name="T5" fmla="*/ 70319153 h 68"/>
              <a:gd name="T6" fmla="*/ 51574410 w 72"/>
              <a:gd name="T7" fmla="*/ 95433776 h 68"/>
              <a:gd name="T8" fmla="*/ 51574410 w 72"/>
              <a:gd name="T9" fmla="*/ 155707976 h 68"/>
              <a:gd name="T10" fmla="*/ 51574410 w 72"/>
              <a:gd name="T11" fmla="*/ 221006894 h 68"/>
              <a:gd name="T12" fmla="*/ 51574410 w 72"/>
              <a:gd name="T13" fmla="*/ 276258618 h 68"/>
              <a:gd name="T14" fmla="*/ 30944646 w 72"/>
              <a:gd name="T15" fmla="*/ 296348524 h 68"/>
              <a:gd name="T16" fmla="*/ 10314882 w 72"/>
              <a:gd name="T17" fmla="*/ 306395718 h 68"/>
              <a:gd name="T18" fmla="*/ 5157441 w 72"/>
              <a:gd name="T19" fmla="*/ 316440671 h 68"/>
              <a:gd name="T20" fmla="*/ 15472323 w 72"/>
              <a:gd name="T21" fmla="*/ 331510341 h 68"/>
              <a:gd name="T22" fmla="*/ 46416969 w 72"/>
              <a:gd name="T23" fmla="*/ 336532818 h 68"/>
              <a:gd name="T24" fmla="*/ 252716880 w 72"/>
              <a:gd name="T25" fmla="*/ 336532818 h 68"/>
              <a:gd name="T26" fmla="*/ 314606172 w 72"/>
              <a:gd name="T27" fmla="*/ 341555294 h 68"/>
              <a:gd name="T28" fmla="*/ 330078495 w 72"/>
              <a:gd name="T29" fmla="*/ 341555294 h 68"/>
              <a:gd name="T30" fmla="*/ 345550818 w 72"/>
              <a:gd name="T31" fmla="*/ 326485624 h 68"/>
              <a:gd name="T32" fmla="*/ 371338023 w 72"/>
              <a:gd name="T33" fmla="*/ 261188947 h 68"/>
              <a:gd name="T34" fmla="*/ 361023141 w 72"/>
              <a:gd name="T35" fmla="*/ 231051847 h 68"/>
              <a:gd name="T36" fmla="*/ 335235936 w 72"/>
              <a:gd name="T37" fmla="*/ 221006894 h 68"/>
              <a:gd name="T38" fmla="*/ 319763613 w 72"/>
              <a:gd name="T39" fmla="*/ 236074324 h 68"/>
              <a:gd name="T40" fmla="*/ 288818967 w 72"/>
              <a:gd name="T41" fmla="*/ 271236141 h 68"/>
              <a:gd name="T42" fmla="*/ 237244557 w 72"/>
              <a:gd name="T43" fmla="*/ 286303571 h 68"/>
              <a:gd name="T44" fmla="*/ 195985029 w 72"/>
              <a:gd name="T45" fmla="*/ 271236141 h 68"/>
              <a:gd name="T46" fmla="*/ 190827588 w 72"/>
              <a:gd name="T47" fmla="*/ 221006894 h 68"/>
              <a:gd name="T48" fmla="*/ 190827588 w 72"/>
              <a:gd name="T49" fmla="*/ 110503447 h 68"/>
              <a:gd name="T50" fmla="*/ 190827588 w 72"/>
              <a:gd name="T51" fmla="*/ 70319153 h 68"/>
              <a:gd name="T52" fmla="*/ 206299911 w 72"/>
              <a:gd name="T53" fmla="*/ 55251724 h 68"/>
              <a:gd name="T54" fmla="*/ 232087116 w 72"/>
              <a:gd name="T55" fmla="*/ 45206771 h 68"/>
              <a:gd name="T56" fmla="*/ 237244557 w 72"/>
              <a:gd name="T57" fmla="*/ 30137100 h 68"/>
              <a:gd name="T58" fmla="*/ 201142470 w 72"/>
              <a:gd name="T59" fmla="*/ 5022476 h 68"/>
              <a:gd name="T60" fmla="*/ 113463702 w 72"/>
              <a:gd name="T61" fmla="*/ 0 h 68"/>
              <a:gd name="T62" fmla="*/ 30944646 w 72"/>
              <a:gd name="T63" fmla="*/ 10044953 h 68"/>
              <a:gd name="T64" fmla="*/ 0 w 72"/>
              <a:gd name="T65" fmla="*/ 35159576 h 68"/>
              <a:gd name="T66" fmla="*/ 5157441 w 72"/>
              <a:gd name="T67" fmla="*/ 50229247 h 6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72" h="68">
                <a:moveTo>
                  <a:pt x="1" y="10"/>
                </a:moveTo>
                <a:cubicBezTo>
                  <a:pt x="2" y="10"/>
                  <a:pt x="4" y="11"/>
                  <a:pt x="6" y="12"/>
                </a:cubicBezTo>
                <a:cubicBezTo>
                  <a:pt x="8" y="12"/>
                  <a:pt x="9" y="13"/>
                  <a:pt x="9" y="14"/>
                </a:cubicBezTo>
                <a:cubicBezTo>
                  <a:pt x="10" y="15"/>
                  <a:pt x="10" y="16"/>
                  <a:pt x="10" y="19"/>
                </a:cubicBezTo>
                <a:cubicBezTo>
                  <a:pt x="10" y="22"/>
                  <a:pt x="10" y="26"/>
                  <a:pt x="10" y="31"/>
                </a:cubicBezTo>
                <a:cubicBezTo>
                  <a:pt x="10" y="37"/>
                  <a:pt x="10" y="41"/>
                  <a:pt x="10" y="44"/>
                </a:cubicBezTo>
                <a:cubicBezTo>
                  <a:pt x="10" y="50"/>
                  <a:pt x="10" y="54"/>
                  <a:pt x="10" y="55"/>
                </a:cubicBezTo>
                <a:cubicBezTo>
                  <a:pt x="9" y="57"/>
                  <a:pt x="8" y="58"/>
                  <a:pt x="6" y="59"/>
                </a:cubicBezTo>
                <a:cubicBezTo>
                  <a:pt x="4" y="60"/>
                  <a:pt x="2" y="61"/>
                  <a:pt x="2" y="61"/>
                </a:cubicBezTo>
                <a:cubicBezTo>
                  <a:pt x="1" y="61"/>
                  <a:pt x="1" y="62"/>
                  <a:pt x="1" y="63"/>
                </a:cubicBezTo>
                <a:cubicBezTo>
                  <a:pt x="1" y="64"/>
                  <a:pt x="2" y="66"/>
                  <a:pt x="3" y="66"/>
                </a:cubicBezTo>
                <a:cubicBezTo>
                  <a:pt x="5" y="67"/>
                  <a:pt x="6" y="67"/>
                  <a:pt x="9" y="67"/>
                </a:cubicBezTo>
                <a:cubicBezTo>
                  <a:pt x="49" y="67"/>
                  <a:pt x="49" y="67"/>
                  <a:pt x="49" y="67"/>
                </a:cubicBezTo>
                <a:cubicBezTo>
                  <a:pt x="61" y="68"/>
                  <a:pt x="61" y="68"/>
                  <a:pt x="61" y="68"/>
                </a:cubicBezTo>
                <a:cubicBezTo>
                  <a:pt x="62" y="68"/>
                  <a:pt x="63" y="68"/>
                  <a:pt x="64" y="68"/>
                </a:cubicBezTo>
                <a:cubicBezTo>
                  <a:pt x="65" y="67"/>
                  <a:pt x="66" y="66"/>
                  <a:pt x="67" y="65"/>
                </a:cubicBezTo>
                <a:cubicBezTo>
                  <a:pt x="70" y="60"/>
                  <a:pt x="72" y="56"/>
                  <a:pt x="72" y="52"/>
                </a:cubicBezTo>
                <a:cubicBezTo>
                  <a:pt x="72" y="49"/>
                  <a:pt x="72" y="47"/>
                  <a:pt x="70" y="46"/>
                </a:cubicBezTo>
                <a:cubicBezTo>
                  <a:pt x="69" y="44"/>
                  <a:pt x="67" y="44"/>
                  <a:pt x="65" y="44"/>
                </a:cubicBezTo>
                <a:cubicBezTo>
                  <a:pt x="63" y="44"/>
                  <a:pt x="62" y="45"/>
                  <a:pt x="62" y="47"/>
                </a:cubicBezTo>
                <a:cubicBezTo>
                  <a:pt x="61" y="50"/>
                  <a:pt x="59" y="53"/>
                  <a:pt x="56" y="54"/>
                </a:cubicBezTo>
                <a:cubicBezTo>
                  <a:pt x="54" y="56"/>
                  <a:pt x="50" y="57"/>
                  <a:pt x="46" y="57"/>
                </a:cubicBezTo>
                <a:cubicBezTo>
                  <a:pt x="42" y="57"/>
                  <a:pt x="40" y="56"/>
                  <a:pt x="38" y="54"/>
                </a:cubicBezTo>
                <a:cubicBezTo>
                  <a:pt x="37" y="53"/>
                  <a:pt x="37" y="49"/>
                  <a:pt x="37" y="44"/>
                </a:cubicBezTo>
                <a:cubicBezTo>
                  <a:pt x="37" y="22"/>
                  <a:pt x="37" y="22"/>
                  <a:pt x="37" y="22"/>
                </a:cubicBezTo>
                <a:cubicBezTo>
                  <a:pt x="37" y="18"/>
                  <a:pt x="37" y="15"/>
                  <a:pt x="37" y="14"/>
                </a:cubicBezTo>
                <a:cubicBezTo>
                  <a:pt x="38" y="12"/>
                  <a:pt x="39" y="11"/>
                  <a:pt x="40" y="11"/>
                </a:cubicBezTo>
                <a:cubicBezTo>
                  <a:pt x="42" y="10"/>
                  <a:pt x="44" y="9"/>
                  <a:pt x="45" y="9"/>
                </a:cubicBezTo>
                <a:cubicBezTo>
                  <a:pt x="45" y="8"/>
                  <a:pt x="46" y="7"/>
                  <a:pt x="46" y="6"/>
                </a:cubicBezTo>
                <a:cubicBezTo>
                  <a:pt x="46" y="4"/>
                  <a:pt x="43" y="2"/>
                  <a:pt x="39" y="1"/>
                </a:cubicBezTo>
                <a:cubicBezTo>
                  <a:pt x="35" y="0"/>
                  <a:pt x="29" y="0"/>
                  <a:pt x="22" y="0"/>
                </a:cubicBezTo>
                <a:cubicBezTo>
                  <a:pt x="16" y="0"/>
                  <a:pt x="10" y="1"/>
                  <a:pt x="6" y="2"/>
                </a:cubicBezTo>
                <a:cubicBezTo>
                  <a:pt x="2" y="3"/>
                  <a:pt x="0" y="5"/>
                  <a:pt x="0" y="7"/>
                </a:cubicBezTo>
                <a:cubicBezTo>
                  <a:pt x="0" y="8"/>
                  <a:pt x="0" y="9"/>
                  <a:pt x="1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7" name="Freeform 239"/>
          <p:cNvSpPr>
            <a:spLocks/>
          </p:cNvSpPr>
          <p:nvPr/>
        </p:nvSpPr>
        <p:spPr bwMode="auto">
          <a:xfrm>
            <a:off x="8951385" y="4732867"/>
            <a:ext cx="146049" cy="198967"/>
          </a:xfrm>
          <a:custGeom>
            <a:avLst/>
            <a:gdLst>
              <a:gd name="T0" fmla="*/ 109361284 w 48"/>
              <a:gd name="T1" fmla="*/ 322059204 h 66"/>
              <a:gd name="T2" fmla="*/ 197892283 w 48"/>
              <a:gd name="T3" fmla="*/ 337395464 h 66"/>
              <a:gd name="T4" fmla="*/ 249967998 w 48"/>
              <a:gd name="T5" fmla="*/ 332283377 h 66"/>
              <a:gd name="T6" fmla="*/ 223930140 w 48"/>
              <a:gd name="T7" fmla="*/ 265826250 h 66"/>
              <a:gd name="T8" fmla="*/ 218722569 w 48"/>
              <a:gd name="T9" fmla="*/ 265826250 h 66"/>
              <a:gd name="T10" fmla="*/ 197892283 w 48"/>
              <a:gd name="T11" fmla="*/ 260714163 h 66"/>
              <a:gd name="T12" fmla="*/ 177059714 w 48"/>
              <a:gd name="T13" fmla="*/ 240265816 h 66"/>
              <a:gd name="T14" fmla="*/ 145814285 w 48"/>
              <a:gd name="T15" fmla="*/ 173808688 h 66"/>
              <a:gd name="T16" fmla="*/ 130191571 w 48"/>
              <a:gd name="T17" fmla="*/ 112465908 h 66"/>
              <a:gd name="T18" fmla="*/ 140606714 w 48"/>
              <a:gd name="T19" fmla="*/ 76681301 h 66"/>
              <a:gd name="T20" fmla="*/ 145814285 w 48"/>
              <a:gd name="T21" fmla="*/ 71569214 h 66"/>
              <a:gd name="T22" fmla="*/ 119776427 w 48"/>
              <a:gd name="T23" fmla="*/ 0 h 66"/>
              <a:gd name="T24" fmla="*/ 36453001 w 48"/>
              <a:gd name="T25" fmla="*/ 61345041 h 66"/>
              <a:gd name="T26" fmla="*/ 0 w 48"/>
              <a:gd name="T27" fmla="*/ 163586776 h 66"/>
              <a:gd name="T28" fmla="*/ 31245429 w 48"/>
              <a:gd name="T29" fmla="*/ 255602076 h 66"/>
              <a:gd name="T30" fmla="*/ 109361284 w 48"/>
              <a:gd name="T31" fmla="*/ 322059204 h 6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48" h="66">
                <a:moveTo>
                  <a:pt x="21" y="63"/>
                </a:moveTo>
                <a:cubicBezTo>
                  <a:pt x="26" y="65"/>
                  <a:pt x="32" y="66"/>
                  <a:pt x="38" y="66"/>
                </a:cubicBezTo>
                <a:cubicBezTo>
                  <a:pt x="41" y="66"/>
                  <a:pt x="45" y="66"/>
                  <a:pt x="48" y="65"/>
                </a:cubicBezTo>
                <a:cubicBezTo>
                  <a:pt x="43" y="52"/>
                  <a:pt x="43" y="52"/>
                  <a:pt x="43" y="52"/>
                </a:cubicBezTo>
                <a:cubicBezTo>
                  <a:pt x="43" y="52"/>
                  <a:pt x="43" y="52"/>
                  <a:pt x="42" y="52"/>
                </a:cubicBezTo>
                <a:cubicBezTo>
                  <a:pt x="41" y="52"/>
                  <a:pt x="39" y="52"/>
                  <a:pt x="38" y="51"/>
                </a:cubicBezTo>
                <a:cubicBezTo>
                  <a:pt x="36" y="50"/>
                  <a:pt x="35" y="49"/>
                  <a:pt x="34" y="47"/>
                </a:cubicBezTo>
                <a:cubicBezTo>
                  <a:pt x="31" y="43"/>
                  <a:pt x="29" y="39"/>
                  <a:pt x="28" y="34"/>
                </a:cubicBezTo>
                <a:cubicBezTo>
                  <a:pt x="26" y="30"/>
                  <a:pt x="25" y="25"/>
                  <a:pt x="25" y="22"/>
                </a:cubicBezTo>
                <a:cubicBezTo>
                  <a:pt x="25" y="19"/>
                  <a:pt x="26" y="17"/>
                  <a:pt x="27" y="15"/>
                </a:cubicBezTo>
                <a:cubicBezTo>
                  <a:pt x="28" y="15"/>
                  <a:pt x="28" y="14"/>
                  <a:pt x="28" y="14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3"/>
                  <a:pt x="11" y="7"/>
                  <a:pt x="7" y="12"/>
                </a:cubicBezTo>
                <a:cubicBezTo>
                  <a:pt x="3" y="18"/>
                  <a:pt x="0" y="24"/>
                  <a:pt x="0" y="32"/>
                </a:cubicBezTo>
                <a:cubicBezTo>
                  <a:pt x="0" y="39"/>
                  <a:pt x="2" y="45"/>
                  <a:pt x="6" y="50"/>
                </a:cubicBezTo>
                <a:cubicBezTo>
                  <a:pt x="9" y="56"/>
                  <a:pt x="14" y="60"/>
                  <a:pt x="21" y="6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8" name="Freeform 240"/>
          <p:cNvSpPr>
            <a:spLocks/>
          </p:cNvSpPr>
          <p:nvPr/>
        </p:nvSpPr>
        <p:spPr bwMode="auto">
          <a:xfrm>
            <a:off x="9040285" y="4728634"/>
            <a:ext cx="139700" cy="194733"/>
          </a:xfrm>
          <a:custGeom>
            <a:avLst/>
            <a:gdLst>
              <a:gd name="T0" fmla="*/ 24847280 w 47"/>
              <a:gd name="T1" fmla="*/ 70681459 h 65"/>
              <a:gd name="T2" fmla="*/ 49696789 w 47"/>
              <a:gd name="T3" fmla="*/ 75730295 h 65"/>
              <a:gd name="T4" fmla="*/ 74544069 w 47"/>
              <a:gd name="T5" fmla="*/ 100972229 h 65"/>
              <a:gd name="T6" fmla="*/ 99391348 w 47"/>
              <a:gd name="T7" fmla="*/ 161558263 h 65"/>
              <a:gd name="T8" fmla="*/ 109331598 w 47"/>
              <a:gd name="T9" fmla="*/ 222142050 h 65"/>
              <a:gd name="T10" fmla="*/ 94422338 w 47"/>
              <a:gd name="T11" fmla="*/ 257481656 h 65"/>
              <a:gd name="T12" fmla="*/ 94422338 w 47"/>
              <a:gd name="T13" fmla="*/ 257481656 h 65"/>
              <a:gd name="T14" fmla="*/ 124238628 w 47"/>
              <a:gd name="T15" fmla="*/ 328163115 h 65"/>
              <a:gd name="T16" fmla="*/ 198782697 w 47"/>
              <a:gd name="T17" fmla="*/ 277677001 h 65"/>
              <a:gd name="T18" fmla="*/ 233570226 w 47"/>
              <a:gd name="T19" fmla="*/ 176702525 h 65"/>
              <a:gd name="T20" fmla="*/ 213691956 w 47"/>
              <a:gd name="T21" fmla="*/ 100972229 h 65"/>
              <a:gd name="T22" fmla="*/ 163995168 w 47"/>
              <a:gd name="T23" fmla="*/ 35339606 h 65"/>
              <a:gd name="T24" fmla="*/ 49696789 w 47"/>
              <a:gd name="T25" fmla="*/ 0 h 65"/>
              <a:gd name="T26" fmla="*/ 0 w 47"/>
              <a:gd name="T27" fmla="*/ 5048836 h 65"/>
              <a:gd name="T28" fmla="*/ 24847280 w 47"/>
              <a:gd name="T29" fmla="*/ 70681459 h 65"/>
              <a:gd name="T30" fmla="*/ 24847280 w 47"/>
              <a:gd name="T31" fmla="*/ 70681459 h 6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47" h="65">
                <a:moveTo>
                  <a:pt x="5" y="14"/>
                </a:moveTo>
                <a:cubicBezTo>
                  <a:pt x="7" y="14"/>
                  <a:pt x="9" y="14"/>
                  <a:pt x="10" y="15"/>
                </a:cubicBezTo>
                <a:cubicBezTo>
                  <a:pt x="12" y="17"/>
                  <a:pt x="13" y="18"/>
                  <a:pt x="15" y="20"/>
                </a:cubicBezTo>
                <a:cubicBezTo>
                  <a:pt x="17" y="23"/>
                  <a:pt x="19" y="27"/>
                  <a:pt x="20" y="32"/>
                </a:cubicBezTo>
                <a:cubicBezTo>
                  <a:pt x="21" y="36"/>
                  <a:pt x="22" y="40"/>
                  <a:pt x="22" y="44"/>
                </a:cubicBezTo>
                <a:cubicBezTo>
                  <a:pt x="22" y="47"/>
                  <a:pt x="21" y="50"/>
                  <a:pt x="19" y="51"/>
                </a:cubicBezTo>
                <a:cubicBezTo>
                  <a:pt x="19" y="51"/>
                  <a:pt x="19" y="51"/>
                  <a:pt x="19" y="51"/>
                </a:cubicBezTo>
                <a:cubicBezTo>
                  <a:pt x="25" y="65"/>
                  <a:pt x="25" y="65"/>
                  <a:pt x="25" y="65"/>
                </a:cubicBezTo>
                <a:cubicBezTo>
                  <a:pt x="31" y="63"/>
                  <a:pt x="36" y="60"/>
                  <a:pt x="40" y="55"/>
                </a:cubicBezTo>
                <a:cubicBezTo>
                  <a:pt x="45" y="49"/>
                  <a:pt x="47" y="43"/>
                  <a:pt x="47" y="35"/>
                </a:cubicBezTo>
                <a:cubicBezTo>
                  <a:pt x="47" y="30"/>
                  <a:pt x="46" y="25"/>
                  <a:pt x="43" y="20"/>
                </a:cubicBezTo>
                <a:cubicBezTo>
                  <a:pt x="41" y="14"/>
                  <a:pt x="37" y="10"/>
                  <a:pt x="33" y="7"/>
                </a:cubicBezTo>
                <a:cubicBezTo>
                  <a:pt x="26" y="2"/>
                  <a:pt x="19" y="0"/>
                  <a:pt x="10" y="0"/>
                </a:cubicBezTo>
                <a:cubicBezTo>
                  <a:pt x="6" y="0"/>
                  <a:pt x="3" y="0"/>
                  <a:pt x="0" y="1"/>
                </a:cubicBezTo>
                <a:cubicBezTo>
                  <a:pt x="5" y="14"/>
                  <a:pt x="5" y="14"/>
                  <a:pt x="5" y="14"/>
                </a:cubicBezTo>
                <a:cubicBezTo>
                  <a:pt x="5" y="14"/>
                  <a:pt x="5" y="14"/>
                  <a:pt x="5" y="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29" name="Freeform 241"/>
          <p:cNvSpPr>
            <a:spLocks/>
          </p:cNvSpPr>
          <p:nvPr/>
        </p:nvSpPr>
        <p:spPr bwMode="auto">
          <a:xfrm>
            <a:off x="8722785" y="4961467"/>
            <a:ext cx="241300" cy="205317"/>
          </a:xfrm>
          <a:custGeom>
            <a:avLst/>
            <a:gdLst>
              <a:gd name="T0" fmla="*/ 388928848 w 80"/>
              <a:gd name="T1" fmla="*/ 5129159 h 68"/>
              <a:gd name="T2" fmla="*/ 337753643 w 80"/>
              <a:gd name="T3" fmla="*/ 0 h 68"/>
              <a:gd name="T4" fmla="*/ 255873766 w 80"/>
              <a:gd name="T5" fmla="*/ 30768161 h 68"/>
              <a:gd name="T6" fmla="*/ 271227233 w 80"/>
              <a:gd name="T7" fmla="*/ 46153374 h 68"/>
              <a:gd name="T8" fmla="*/ 281461369 w 80"/>
              <a:gd name="T9" fmla="*/ 61536322 h 68"/>
              <a:gd name="T10" fmla="*/ 276344301 w 80"/>
              <a:gd name="T11" fmla="*/ 71792376 h 68"/>
              <a:gd name="T12" fmla="*/ 255873766 w 80"/>
              <a:gd name="T13" fmla="*/ 123074909 h 68"/>
              <a:gd name="T14" fmla="*/ 240522562 w 80"/>
              <a:gd name="T15" fmla="*/ 153843070 h 68"/>
              <a:gd name="T16" fmla="*/ 225169095 w 80"/>
              <a:gd name="T17" fmla="*/ 164099124 h 68"/>
              <a:gd name="T18" fmla="*/ 209817891 w 80"/>
              <a:gd name="T19" fmla="*/ 148713911 h 68"/>
              <a:gd name="T20" fmla="*/ 179113220 w 80"/>
              <a:gd name="T21" fmla="*/ 76921535 h 68"/>
              <a:gd name="T22" fmla="*/ 173993889 w 80"/>
              <a:gd name="T23" fmla="*/ 61536322 h 68"/>
              <a:gd name="T24" fmla="*/ 184230288 w 80"/>
              <a:gd name="T25" fmla="*/ 51280269 h 68"/>
              <a:gd name="T26" fmla="*/ 194464424 w 80"/>
              <a:gd name="T27" fmla="*/ 30768161 h 68"/>
              <a:gd name="T28" fmla="*/ 173993889 w 80"/>
              <a:gd name="T29" fmla="*/ 10256054 h 68"/>
              <a:gd name="T30" fmla="*/ 97233343 w 80"/>
              <a:gd name="T31" fmla="*/ 0 h 68"/>
              <a:gd name="T32" fmla="*/ 25587603 w 80"/>
              <a:gd name="T33" fmla="*/ 10256054 h 68"/>
              <a:gd name="T34" fmla="*/ 0 w 80"/>
              <a:gd name="T35" fmla="*/ 41024215 h 68"/>
              <a:gd name="T36" fmla="*/ 10234136 w 80"/>
              <a:gd name="T37" fmla="*/ 56409428 h 68"/>
              <a:gd name="T38" fmla="*/ 30704671 w 80"/>
              <a:gd name="T39" fmla="*/ 66665481 h 68"/>
              <a:gd name="T40" fmla="*/ 46058138 w 80"/>
              <a:gd name="T41" fmla="*/ 92306748 h 68"/>
              <a:gd name="T42" fmla="*/ 148406287 w 80"/>
              <a:gd name="T43" fmla="*/ 317942194 h 68"/>
              <a:gd name="T44" fmla="*/ 158642685 w 80"/>
              <a:gd name="T45" fmla="*/ 333325142 h 68"/>
              <a:gd name="T46" fmla="*/ 168876821 w 80"/>
              <a:gd name="T47" fmla="*/ 343581196 h 68"/>
              <a:gd name="T48" fmla="*/ 189347356 w 80"/>
              <a:gd name="T49" fmla="*/ 348710355 h 68"/>
              <a:gd name="T50" fmla="*/ 214934959 w 80"/>
              <a:gd name="T51" fmla="*/ 343581196 h 68"/>
              <a:gd name="T52" fmla="*/ 235405493 w 80"/>
              <a:gd name="T53" fmla="*/ 312813035 h 68"/>
              <a:gd name="T54" fmla="*/ 347990041 w 80"/>
              <a:gd name="T55" fmla="*/ 82048430 h 68"/>
              <a:gd name="T56" fmla="*/ 368460576 w 80"/>
              <a:gd name="T57" fmla="*/ 56409428 h 68"/>
              <a:gd name="T58" fmla="*/ 383811780 w 80"/>
              <a:gd name="T59" fmla="*/ 51280269 h 68"/>
              <a:gd name="T60" fmla="*/ 409399383 w 80"/>
              <a:gd name="T61" fmla="*/ 30768161 h 68"/>
              <a:gd name="T62" fmla="*/ 388928848 w 80"/>
              <a:gd name="T63" fmla="*/ 5129159 h 6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80" h="68">
                <a:moveTo>
                  <a:pt x="76" y="1"/>
                </a:moveTo>
                <a:cubicBezTo>
                  <a:pt x="74" y="0"/>
                  <a:pt x="71" y="0"/>
                  <a:pt x="66" y="0"/>
                </a:cubicBezTo>
                <a:cubicBezTo>
                  <a:pt x="55" y="0"/>
                  <a:pt x="50" y="2"/>
                  <a:pt x="50" y="6"/>
                </a:cubicBezTo>
                <a:cubicBezTo>
                  <a:pt x="50" y="7"/>
                  <a:pt x="51" y="8"/>
                  <a:pt x="53" y="9"/>
                </a:cubicBezTo>
                <a:cubicBezTo>
                  <a:pt x="54" y="10"/>
                  <a:pt x="55" y="11"/>
                  <a:pt x="55" y="12"/>
                </a:cubicBezTo>
                <a:cubicBezTo>
                  <a:pt x="55" y="12"/>
                  <a:pt x="55" y="13"/>
                  <a:pt x="54" y="14"/>
                </a:cubicBezTo>
                <a:cubicBezTo>
                  <a:pt x="54" y="15"/>
                  <a:pt x="52" y="19"/>
                  <a:pt x="50" y="24"/>
                </a:cubicBezTo>
                <a:cubicBezTo>
                  <a:pt x="49" y="27"/>
                  <a:pt x="47" y="29"/>
                  <a:pt x="47" y="30"/>
                </a:cubicBezTo>
                <a:cubicBezTo>
                  <a:pt x="46" y="32"/>
                  <a:pt x="45" y="32"/>
                  <a:pt x="44" y="32"/>
                </a:cubicBezTo>
                <a:cubicBezTo>
                  <a:pt x="43" y="32"/>
                  <a:pt x="42" y="31"/>
                  <a:pt x="41" y="29"/>
                </a:cubicBezTo>
                <a:cubicBezTo>
                  <a:pt x="35" y="15"/>
                  <a:pt x="35" y="15"/>
                  <a:pt x="35" y="15"/>
                </a:cubicBezTo>
                <a:cubicBezTo>
                  <a:pt x="34" y="14"/>
                  <a:pt x="34" y="13"/>
                  <a:pt x="34" y="12"/>
                </a:cubicBezTo>
                <a:cubicBezTo>
                  <a:pt x="34" y="12"/>
                  <a:pt x="35" y="11"/>
                  <a:pt x="36" y="10"/>
                </a:cubicBezTo>
                <a:cubicBezTo>
                  <a:pt x="37" y="9"/>
                  <a:pt x="38" y="8"/>
                  <a:pt x="38" y="6"/>
                </a:cubicBezTo>
                <a:cubicBezTo>
                  <a:pt x="38" y="4"/>
                  <a:pt x="37" y="3"/>
                  <a:pt x="34" y="2"/>
                </a:cubicBezTo>
                <a:cubicBezTo>
                  <a:pt x="31" y="1"/>
                  <a:pt x="26" y="0"/>
                  <a:pt x="19" y="0"/>
                </a:cubicBezTo>
                <a:cubicBezTo>
                  <a:pt x="13" y="0"/>
                  <a:pt x="8" y="1"/>
                  <a:pt x="5" y="2"/>
                </a:cubicBezTo>
                <a:cubicBezTo>
                  <a:pt x="1" y="3"/>
                  <a:pt x="0" y="5"/>
                  <a:pt x="0" y="8"/>
                </a:cubicBezTo>
                <a:cubicBezTo>
                  <a:pt x="0" y="10"/>
                  <a:pt x="1" y="11"/>
                  <a:pt x="2" y="11"/>
                </a:cubicBezTo>
                <a:cubicBezTo>
                  <a:pt x="4" y="12"/>
                  <a:pt x="5" y="12"/>
                  <a:pt x="6" y="13"/>
                </a:cubicBezTo>
                <a:cubicBezTo>
                  <a:pt x="7" y="14"/>
                  <a:pt x="8" y="16"/>
                  <a:pt x="9" y="18"/>
                </a:cubicBezTo>
                <a:cubicBezTo>
                  <a:pt x="29" y="62"/>
                  <a:pt x="29" y="62"/>
                  <a:pt x="29" y="62"/>
                </a:cubicBezTo>
                <a:cubicBezTo>
                  <a:pt x="30" y="63"/>
                  <a:pt x="30" y="65"/>
                  <a:pt x="31" y="65"/>
                </a:cubicBezTo>
                <a:cubicBezTo>
                  <a:pt x="32" y="66"/>
                  <a:pt x="32" y="67"/>
                  <a:pt x="33" y="67"/>
                </a:cubicBezTo>
                <a:cubicBezTo>
                  <a:pt x="34" y="68"/>
                  <a:pt x="36" y="68"/>
                  <a:pt x="37" y="68"/>
                </a:cubicBezTo>
                <a:cubicBezTo>
                  <a:pt x="39" y="68"/>
                  <a:pt x="41" y="68"/>
                  <a:pt x="42" y="67"/>
                </a:cubicBezTo>
                <a:cubicBezTo>
                  <a:pt x="43" y="66"/>
                  <a:pt x="44" y="64"/>
                  <a:pt x="46" y="61"/>
                </a:cubicBezTo>
                <a:cubicBezTo>
                  <a:pt x="68" y="16"/>
                  <a:pt x="68" y="16"/>
                  <a:pt x="68" y="16"/>
                </a:cubicBezTo>
                <a:cubicBezTo>
                  <a:pt x="69" y="13"/>
                  <a:pt x="71" y="11"/>
                  <a:pt x="72" y="11"/>
                </a:cubicBezTo>
                <a:cubicBezTo>
                  <a:pt x="72" y="10"/>
                  <a:pt x="74" y="10"/>
                  <a:pt x="75" y="10"/>
                </a:cubicBezTo>
                <a:cubicBezTo>
                  <a:pt x="78" y="9"/>
                  <a:pt x="80" y="8"/>
                  <a:pt x="80" y="6"/>
                </a:cubicBezTo>
                <a:cubicBezTo>
                  <a:pt x="80" y="4"/>
                  <a:pt x="79" y="2"/>
                  <a:pt x="76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0" name="Freeform 242"/>
          <p:cNvSpPr>
            <a:spLocks/>
          </p:cNvSpPr>
          <p:nvPr/>
        </p:nvSpPr>
        <p:spPr bwMode="auto">
          <a:xfrm>
            <a:off x="8972551" y="4959352"/>
            <a:ext cx="198967" cy="207433"/>
          </a:xfrm>
          <a:custGeom>
            <a:avLst/>
            <a:gdLst>
              <a:gd name="T0" fmla="*/ 301610857 w 66"/>
              <a:gd name="T1" fmla="*/ 233851772 h 69"/>
              <a:gd name="T2" fmla="*/ 255602076 w 66"/>
              <a:gd name="T3" fmla="*/ 289770838 h 69"/>
              <a:gd name="T4" fmla="*/ 168698863 w 66"/>
              <a:gd name="T5" fmla="*/ 294855210 h 69"/>
              <a:gd name="T6" fmla="*/ 153362602 w 66"/>
              <a:gd name="T7" fmla="*/ 259269120 h 69"/>
              <a:gd name="T8" fmla="*/ 153362602 w 66"/>
              <a:gd name="T9" fmla="*/ 203347799 h 69"/>
              <a:gd name="T10" fmla="*/ 199369122 w 66"/>
              <a:gd name="T11" fmla="*/ 223683029 h 69"/>
              <a:gd name="T12" fmla="*/ 219817469 w 66"/>
              <a:gd name="T13" fmla="*/ 249102632 h 69"/>
              <a:gd name="T14" fmla="*/ 250489989 w 66"/>
              <a:gd name="T15" fmla="*/ 167761708 h 69"/>
              <a:gd name="T16" fmla="*/ 240265816 w 66"/>
              <a:gd name="T17" fmla="*/ 106758271 h 69"/>
              <a:gd name="T18" fmla="*/ 209593295 w 66"/>
              <a:gd name="T19" fmla="*/ 101673899 h 69"/>
              <a:gd name="T20" fmla="*/ 199369122 w 66"/>
              <a:gd name="T21" fmla="*/ 132175618 h 69"/>
              <a:gd name="T22" fmla="*/ 178920775 w 66"/>
              <a:gd name="T23" fmla="*/ 152510849 h 69"/>
              <a:gd name="T24" fmla="*/ 148250516 w 66"/>
              <a:gd name="T25" fmla="*/ 127093501 h 69"/>
              <a:gd name="T26" fmla="*/ 148250516 w 66"/>
              <a:gd name="T27" fmla="*/ 66087809 h 69"/>
              <a:gd name="T28" fmla="*/ 240265816 w 66"/>
              <a:gd name="T29" fmla="*/ 61005692 h 69"/>
              <a:gd name="T30" fmla="*/ 281162510 w 66"/>
              <a:gd name="T31" fmla="*/ 101673899 h 69"/>
              <a:gd name="T32" fmla="*/ 311835030 w 66"/>
              <a:gd name="T33" fmla="*/ 91507411 h 69"/>
              <a:gd name="T34" fmla="*/ 301610857 w 66"/>
              <a:gd name="T35" fmla="*/ 15250859 h 69"/>
              <a:gd name="T36" fmla="*/ 270938336 w 66"/>
              <a:gd name="T37" fmla="*/ 0 h 69"/>
              <a:gd name="T38" fmla="*/ 178920775 w 66"/>
              <a:gd name="T39" fmla="*/ 10166488 h 69"/>
              <a:gd name="T40" fmla="*/ 15336260 w 66"/>
              <a:gd name="T41" fmla="*/ 15250859 h 69"/>
              <a:gd name="T42" fmla="*/ 0 w 66"/>
              <a:gd name="T43" fmla="*/ 35586090 h 69"/>
              <a:gd name="T44" fmla="*/ 25560434 w 66"/>
              <a:gd name="T45" fmla="*/ 55921321 h 69"/>
              <a:gd name="T46" fmla="*/ 40896694 w 66"/>
              <a:gd name="T47" fmla="*/ 183014822 h 69"/>
              <a:gd name="T48" fmla="*/ 30672520 w 66"/>
              <a:gd name="T49" fmla="*/ 299939581 h 69"/>
              <a:gd name="T50" fmla="*/ 5112087 w 66"/>
              <a:gd name="T51" fmla="*/ 315190441 h 69"/>
              <a:gd name="T52" fmla="*/ 10224173 w 66"/>
              <a:gd name="T53" fmla="*/ 340610043 h 69"/>
              <a:gd name="T54" fmla="*/ 235153729 w 66"/>
              <a:gd name="T55" fmla="*/ 345692159 h 69"/>
              <a:gd name="T56" fmla="*/ 291386683 w 66"/>
              <a:gd name="T57" fmla="*/ 350776531 h 69"/>
              <a:gd name="T58" fmla="*/ 311835030 w 66"/>
              <a:gd name="T59" fmla="*/ 335525671 h 69"/>
              <a:gd name="T60" fmla="*/ 337395464 w 66"/>
              <a:gd name="T61" fmla="*/ 259269120 h 69"/>
              <a:gd name="T62" fmla="*/ 311835030 w 66"/>
              <a:gd name="T63" fmla="*/ 228767401 h 6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66" h="69">
                <a:moveTo>
                  <a:pt x="61" y="45"/>
                </a:moveTo>
                <a:cubicBezTo>
                  <a:pt x="60" y="45"/>
                  <a:pt x="59" y="45"/>
                  <a:pt x="59" y="46"/>
                </a:cubicBezTo>
                <a:cubicBezTo>
                  <a:pt x="58" y="47"/>
                  <a:pt x="57" y="48"/>
                  <a:pt x="56" y="50"/>
                </a:cubicBezTo>
                <a:cubicBezTo>
                  <a:pt x="55" y="53"/>
                  <a:pt x="53" y="55"/>
                  <a:pt x="50" y="57"/>
                </a:cubicBezTo>
                <a:cubicBezTo>
                  <a:pt x="48" y="58"/>
                  <a:pt x="44" y="58"/>
                  <a:pt x="39" y="58"/>
                </a:cubicBezTo>
                <a:cubicBezTo>
                  <a:pt x="36" y="58"/>
                  <a:pt x="34" y="58"/>
                  <a:pt x="33" y="58"/>
                </a:cubicBezTo>
                <a:cubicBezTo>
                  <a:pt x="31" y="58"/>
                  <a:pt x="30" y="57"/>
                  <a:pt x="30" y="56"/>
                </a:cubicBezTo>
                <a:cubicBezTo>
                  <a:pt x="30" y="55"/>
                  <a:pt x="30" y="54"/>
                  <a:pt x="30" y="51"/>
                </a:cubicBezTo>
                <a:cubicBezTo>
                  <a:pt x="29" y="49"/>
                  <a:pt x="29" y="47"/>
                  <a:pt x="29" y="45"/>
                </a:cubicBezTo>
                <a:cubicBezTo>
                  <a:pt x="29" y="43"/>
                  <a:pt x="29" y="41"/>
                  <a:pt x="30" y="40"/>
                </a:cubicBezTo>
                <a:cubicBezTo>
                  <a:pt x="31" y="39"/>
                  <a:pt x="32" y="39"/>
                  <a:pt x="33" y="39"/>
                </a:cubicBezTo>
                <a:cubicBezTo>
                  <a:pt x="37" y="39"/>
                  <a:pt x="39" y="41"/>
                  <a:pt x="39" y="44"/>
                </a:cubicBezTo>
                <a:cubicBezTo>
                  <a:pt x="40" y="46"/>
                  <a:pt x="40" y="47"/>
                  <a:pt x="40" y="48"/>
                </a:cubicBezTo>
                <a:cubicBezTo>
                  <a:pt x="41" y="48"/>
                  <a:pt x="42" y="49"/>
                  <a:pt x="43" y="49"/>
                </a:cubicBezTo>
                <a:cubicBezTo>
                  <a:pt x="44" y="49"/>
                  <a:pt x="46" y="48"/>
                  <a:pt x="47" y="46"/>
                </a:cubicBezTo>
                <a:cubicBezTo>
                  <a:pt x="48" y="43"/>
                  <a:pt x="49" y="39"/>
                  <a:pt x="49" y="33"/>
                </a:cubicBezTo>
                <a:cubicBezTo>
                  <a:pt x="49" y="31"/>
                  <a:pt x="49" y="28"/>
                  <a:pt x="48" y="26"/>
                </a:cubicBezTo>
                <a:cubicBezTo>
                  <a:pt x="48" y="24"/>
                  <a:pt x="47" y="22"/>
                  <a:pt x="47" y="21"/>
                </a:cubicBezTo>
                <a:cubicBezTo>
                  <a:pt x="46" y="20"/>
                  <a:pt x="44" y="19"/>
                  <a:pt x="43" y="19"/>
                </a:cubicBezTo>
                <a:cubicBezTo>
                  <a:pt x="42" y="19"/>
                  <a:pt x="41" y="19"/>
                  <a:pt x="41" y="20"/>
                </a:cubicBezTo>
                <a:cubicBezTo>
                  <a:pt x="40" y="21"/>
                  <a:pt x="40" y="21"/>
                  <a:pt x="39" y="22"/>
                </a:cubicBezTo>
                <a:cubicBezTo>
                  <a:pt x="39" y="23"/>
                  <a:pt x="39" y="24"/>
                  <a:pt x="39" y="26"/>
                </a:cubicBezTo>
                <a:cubicBezTo>
                  <a:pt x="39" y="27"/>
                  <a:pt x="38" y="28"/>
                  <a:pt x="38" y="29"/>
                </a:cubicBezTo>
                <a:cubicBezTo>
                  <a:pt x="37" y="29"/>
                  <a:pt x="36" y="30"/>
                  <a:pt x="35" y="30"/>
                </a:cubicBezTo>
                <a:cubicBezTo>
                  <a:pt x="32" y="30"/>
                  <a:pt x="30" y="29"/>
                  <a:pt x="30" y="29"/>
                </a:cubicBezTo>
                <a:cubicBezTo>
                  <a:pt x="29" y="28"/>
                  <a:pt x="29" y="27"/>
                  <a:pt x="29" y="25"/>
                </a:cubicBezTo>
                <a:cubicBezTo>
                  <a:pt x="29" y="20"/>
                  <a:pt x="29" y="17"/>
                  <a:pt x="29" y="16"/>
                </a:cubicBezTo>
                <a:cubicBezTo>
                  <a:pt x="29" y="15"/>
                  <a:pt x="29" y="14"/>
                  <a:pt x="29" y="13"/>
                </a:cubicBezTo>
                <a:cubicBezTo>
                  <a:pt x="30" y="12"/>
                  <a:pt x="33" y="11"/>
                  <a:pt x="36" y="11"/>
                </a:cubicBezTo>
                <a:cubicBezTo>
                  <a:pt x="41" y="11"/>
                  <a:pt x="45" y="12"/>
                  <a:pt x="47" y="12"/>
                </a:cubicBezTo>
                <a:cubicBezTo>
                  <a:pt x="49" y="13"/>
                  <a:pt x="51" y="15"/>
                  <a:pt x="52" y="17"/>
                </a:cubicBezTo>
                <a:cubicBezTo>
                  <a:pt x="53" y="18"/>
                  <a:pt x="54" y="19"/>
                  <a:pt x="55" y="20"/>
                </a:cubicBezTo>
                <a:cubicBezTo>
                  <a:pt x="55" y="20"/>
                  <a:pt x="56" y="20"/>
                  <a:pt x="57" y="20"/>
                </a:cubicBezTo>
                <a:cubicBezTo>
                  <a:pt x="59" y="20"/>
                  <a:pt x="60" y="20"/>
                  <a:pt x="61" y="18"/>
                </a:cubicBezTo>
                <a:cubicBezTo>
                  <a:pt x="62" y="17"/>
                  <a:pt x="62" y="16"/>
                  <a:pt x="62" y="14"/>
                </a:cubicBezTo>
                <a:cubicBezTo>
                  <a:pt x="62" y="9"/>
                  <a:pt x="61" y="6"/>
                  <a:pt x="59" y="3"/>
                </a:cubicBezTo>
                <a:cubicBezTo>
                  <a:pt x="58" y="1"/>
                  <a:pt x="56" y="0"/>
                  <a:pt x="55" y="0"/>
                </a:cubicBezTo>
                <a:cubicBezTo>
                  <a:pt x="54" y="0"/>
                  <a:pt x="54" y="0"/>
                  <a:pt x="53" y="0"/>
                </a:cubicBezTo>
                <a:cubicBezTo>
                  <a:pt x="51" y="1"/>
                  <a:pt x="48" y="2"/>
                  <a:pt x="46" y="2"/>
                </a:cubicBezTo>
                <a:cubicBezTo>
                  <a:pt x="44" y="2"/>
                  <a:pt x="40" y="2"/>
                  <a:pt x="35" y="2"/>
                </a:cubicBezTo>
                <a:cubicBezTo>
                  <a:pt x="10" y="2"/>
                  <a:pt x="10" y="2"/>
                  <a:pt x="10" y="2"/>
                </a:cubicBezTo>
                <a:cubicBezTo>
                  <a:pt x="7" y="2"/>
                  <a:pt x="4" y="2"/>
                  <a:pt x="3" y="3"/>
                </a:cubicBezTo>
                <a:cubicBezTo>
                  <a:pt x="2" y="3"/>
                  <a:pt x="1" y="3"/>
                  <a:pt x="1" y="4"/>
                </a:cubicBezTo>
                <a:cubicBezTo>
                  <a:pt x="0" y="5"/>
                  <a:pt x="0" y="6"/>
                  <a:pt x="0" y="7"/>
                </a:cubicBezTo>
                <a:cubicBezTo>
                  <a:pt x="0" y="9"/>
                  <a:pt x="1" y="10"/>
                  <a:pt x="3" y="11"/>
                </a:cubicBezTo>
                <a:cubicBezTo>
                  <a:pt x="4" y="11"/>
                  <a:pt x="5" y="11"/>
                  <a:pt x="5" y="11"/>
                </a:cubicBezTo>
                <a:cubicBezTo>
                  <a:pt x="5" y="12"/>
                  <a:pt x="6" y="12"/>
                  <a:pt x="6" y="13"/>
                </a:cubicBezTo>
                <a:cubicBezTo>
                  <a:pt x="8" y="16"/>
                  <a:pt x="8" y="24"/>
                  <a:pt x="8" y="36"/>
                </a:cubicBezTo>
                <a:cubicBezTo>
                  <a:pt x="8" y="45"/>
                  <a:pt x="8" y="51"/>
                  <a:pt x="7" y="56"/>
                </a:cubicBezTo>
                <a:cubicBezTo>
                  <a:pt x="6" y="57"/>
                  <a:pt x="6" y="58"/>
                  <a:pt x="6" y="59"/>
                </a:cubicBezTo>
                <a:cubicBezTo>
                  <a:pt x="5" y="59"/>
                  <a:pt x="4" y="60"/>
                  <a:pt x="3" y="60"/>
                </a:cubicBezTo>
                <a:cubicBezTo>
                  <a:pt x="2" y="61"/>
                  <a:pt x="1" y="61"/>
                  <a:pt x="1" y="62"/>
                </a:cubicBezTo>
                <a:cubicBezTo>
                  <a:pt x="0" y="62"/>
                  <a:pt x="0" y="63"/>
                  <a:pt x="0" y="64"/>
                </a:cubicBezTo>
                <a:cubicBezTo>
                  <a:pt x="0" y="65"/>
                  <a:pt x="1" y="66"/>
                  <a:pt x="2" y="67"/>
                </a:cubicBezTo>
                <a:cubicBezTo>
                  <a:pt x="2" y="68"/>
                  <a:pt x="4" y="68"/>
                  <a:pt x="5" y="68"/>
                </a:cubicBezTo>
                <a:cubicBezTo>
                  <a:pt x="46" y="68"/>
                  <a:pt x="46" y="68"/>
                  <a:pt x="46" y="68"/>
                </a:cubicBezTo>
                <a:cubicBezTo>
                  <a:pt x="50" y="68"/>
                  <a:pt x="53" y="68"/>
                  <a:pt x="55" y="69"/>
                </a:cubicBezTo>
                <a:cubicBezTo>
                  <a:pt x="56" y="69"/>
                  <a:pt x="57" y="69"/>
                  <a:pt x="57" y="69"/>
                </a:cubicBezTo>
                <a:cubicBezTo>
                  <a:pt x="58" y="69"/>
                  <a:pt x="59" y="69"/>
                  <a:pt x="59" y="68"/>
                </a:cubicBezTo>
                <a:cubicBezTo>
                  <a:pt x="60" y="68"/>
                  <a:pt x="60" y="67"/>
                  <a:pt x="61" y="66"/>
                </a:cubicBezTo>
                <a:cubicBezTo>
                  <a:pt x="62" y="64"/>
                  <a:pt x="64" y="61"/>
                  <a:pt x="65" y="59"/>
                </a:cubicBezTo>
                <a:cubicBezTo>
                  <a:pt x="66" y="56"/>
                  <a:pt x="66" y="53"/>
                  <a:pt x="66" y="51"/>
                </a:cubicBezTo>
                <a:cubicBezTo>
                  <a:pt x="66" y="50"/>
                  <a:pt x="66" y="48"/>
                  <a:pt x="65" y="47"/>
                </a:cubicBezTo>
                <a:cubicBezTo>
                  <a:pt x="64" y="46"/>
                  <a:pt x="63" y="45"/>
                  <a:pt x="61" y="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1" name="Freeform 243"/>
          <p:cNvSpPr>
            <a:spLocks/>
          </p:cNvSpPr>
          <p:nvPr/>
        </p:nvSpPr>
        <p:spPr bwMode="auto">
          <a:xfrm>
            <a:off x="9954684" y="4978401"/>
            <a:ext cx="14816" cy="31751"/>
          </a:xfrm>
          <a:custGeom>
            <a:avLst/>
            <a:gdLst>
              <a:gd name="T0" fmla="*/ 5040086 w 7"/>
              <a:gd name="T1" fmla="*/ 5040418 h 15"/>
              <a:gd name="T2" fmla="*/ 5040086 w 7"/>
              <a:gd name="T3" fmla="*/ 2521003 h 15"/>
              <a:gd name="T4" fmla="*/ 5040086 w 7"/>
              <a:gd name="T5" fmla="*/ 0 h 15"/>
              <a:gd name="T6" fmla="*/ 2520837 w 7"/>
              <a:gd name="T7" fmla="*/ 0 h 15"/>
              <a:gd name="T8" fmla="*/ 0 w 7"/>
              <a:gd name="T9" fmla="*/ 0 h 15"/>
              <a:gd name="T10" fmla="*/ 0 w 7"/>
              <a:gd name="T11" fmla="*/ 17642258 h 15"/>
              <a:gd name="T12" fmla="*/ 0 w 7"/>
              <a:gd name="T13" fmla="*/ 37803931 h 15"/>
              <a:gd name="T14" fmla="*/ 2520837 w 7"/>
              <a:gd name="T15" fmla="*/ 37803931 h 15"/>
              <a:gd name="T16" fmla="*/ 5040086 w 7"/>
              <a:gd name="T17" fmla="*/ 37803931 h 15"/>
              <a:gd name="T18" fmla="*/ 5040086 w 7"/>
              <a:gd name="T19" fmla="*/ 35282928 h 15"/>
              <a:gd name="T20" fmla="*/ 5040086 w 7"/>
              <a:gd name="T21" fmla="*/ 30242510 h 15"/>
              <a:gd name="T22" fmla="*/ 10080171 w 7"/>
              <a:gd name="T23" fmla="*/ 30242510 h 15"/>
              <a:gd name="T24" fmla="*/ 17641094 w 7"/>
              <a:gd name="T25" fmla="*/ 30242510 h 15"/>
              <a:gd name="T26" fmla="*/ 17641094 w 7"/>
              <a:gd name="T27" fmla="*/ 17642258 h 15"/>
              <a:gd name="T28" fmla="*/ 17641094 w 7"/>
              <a:gd name="T29" fmla="*/ 5040418 h 15"/>
              <a:gd name="T30" fmla="*/ 10080171 w 7"/>
              <a:gd name="T31" fmla="*/ 5040418 h 15"/>
              <a:gd name="T32" fmla="*/ 5040086 w 7"/>
              <a:gd name="T33" fmla="*/ 5040418 h 1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7" h="15">
                <a:moveTo>
                  <a:pt x="2" y="2"/>
                </a:moveTo>
                <a:lnTo>
                  <a:pt x="2" y="1"/>
                </a:lnTo>
                <a:lnTo>
                  <a:pt x="2" y="0"/>
                </a:lnTo>
                <a:lnTo>
                  <a:pt x="1" y="0"/>
                </a:lnTo>
                <a:lnTo>
                  <a:pt x="0" y="0"/>
                </a:lnTo>
                <a:lnTo>
                  <a:pt x="0" y="7"/>
                </a:lnTo>
                <a:lnTo>
                  <a:pt x="0" y="15"/>
                </a:lnTo>
                <a:lnTo>
                  <a:pt x="1" y="15"/>
                </a:lnTo>
                <a:lnTo>
                  <a:pt x="2" y="15"/>
                </a:lnTo>
                <a:lnTo>
                  <a:pt x="2" y="14"/>
                </a:lnTo>
                <a:lnTo>
                  <a:pt x="2" y="12"/>
                </a:lnTo>
                <a:lnTo>
                  <a:pt x="4" y="12"/>
                </a:lnTo>
                <a:lnTo>
                  <a:pt x="7" y="12"/>
                </a:lnTo>
                <a:lnTo>
                  <a:pt x="7" y="7"/>
                </a:lnTo>
                <a:lnTo>
                  <a:pt x="7" y="2"/>
                </a:lnTo>
                <a:lnTo>
                  <a:pt x="4" y="2"/>
                </a:lnTo>
                <a:lnTo>
                  <a:pt x="2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2" name="Freeform 244"/>
          <p:cNvSpPr>
            <a:spLocks/>
          </p:cNvSpPr>
          <p:nvPr/>
        </p:nvSpPr>
        <p:spPr bwMode="auto">
          <a:xfrm>
            <a:off x="9677400" y="4982634"/>
            <a:ext cx="35984" cy="74084"/>
          </a:xfrm>
          <a:custGeom>
            <a:avLst/>
            <a:gdLst>
              <a:gd name="T0" fmla="*/ 10116002 w 12"/>
              <a:gd name="T1" fmla="*/ 10719029 h 24"/>
              <a:gd name="T2" fmla="*/ 10116002 w 12"/>
              <a:gd name="T3" fmla="*/ 26799887 h 24"/>
              <a:gd name="T4" fmla="*/ 5058001 w 12"/>
              <a:gd name="T5" fmla="*/ 26799887 h 24"/>
              <a:gd name="T6" fmla="*/ 0 w 12"/>
              <a:gd name="T7" fmla="*/ 26799887 h 24"/>
              <a:gd name="T8" fmla="*/ 0 w 12"/>
              <a:gd name="T9" fmla="*/ 64318803 h 24"/>
              <a:gd name="T10" fmla="*/ 0 w 12"/>
              <a:gd name="T11" fmla="*/ 107197233 h 24"/>
              <a:gd name="T12" fmla="*/ 5058001 w 12"/>
              <a:gd name="T13" fmla="*/ 107197233 h 24"/>
              <a:gd name="T14" fmla="*/ 10116002 w 12"/>
              <a:gd name="T15" fmla="*/ 107197233 h 24"/>
              <a:gd name="T16" fmla="*/ 10116002 w 12"/>
              <a:gd name="T17" fmla="*/ 117916262 h 24"/>
              <a:gd name="T18" fmla="*/ 10116002 w 12"/>
              <a:gd name="T19" fmla="*/ 128635290 h 24"/>
              <a:gd name="T20" fmla="*/ 30348006 w 12"/>
              <a:gd name="T21" fmla="*/ 128635290 h 24"/>
              <a:gd name="T22" fmla="*/ 50580010 w 12"/>
              <a:gd name="T23" fmla="*/ 128635290 h 24"/>
              <a:gd name="T24" fmla="*/ 50580010 w 12"/>
              <a:gd name="T25" fmla="*/ 117916262 h 24"/>
              <a:gd name="T26" fmla="*/ 50580010 w 12"/>
              <a:gd name="T27" fmla="*/ 107197233 h 24"/>
              <a:gd name="T28" fmla="*/ 55638011 w 12"/>
              <a:gd name="T29" fmla="*/ 107197233 h 24"/>
              <a:gd name="T30" fmla="*/ 60696012 w 12"/>
              <a:gd name="T31" fmla="*/ 107197233 h 24"/>
              <a:gd name="T32" fmla="*/ 60696012 w 12"/>
              <a:gd name="T33" fmla="*/ 64318803 h 24"/>
              <a:gd name="T34" fmla="*/ 60696012 w 12"/>
              <a:gd name="T35" fmla="*/ 26799887 h 24"/>
              <a:gd name="T36" fmla="*/ 55638011 w 12"/>
              <a:gd name="T37" fmla="*/ 26799887 h 24"/>
              <a:gd name="T38" fmla="*/ 50580010 w 12"/>
              <a:gd name="T39" fmla="*/ 26799887 h 24"/>
              <a:gd name="T40" fmla="*/ 50580010 w 12"/>
              <a:gd name="T41" fmla="*/ 0 h 24"/>
              <a:gd name="T42" fmla="*/ 30348006 w 12"/>
              <a:gd name="T43" fmla="*/ 0 h 24"/>
              <a:gd name="T44" fmla="*/ 10116002 w 12"/>
              <a:gd name="T45" fmla="*/ 0 h 24"/>
              <a:gd name="T46" fmla="*/ 10116002 w 12"/>
              <a:gd name="T47" fmla="*/ 10719029 h 2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2" h="24">
                <a:moveTo>
                  <a:pt x="2" y="2"/>
                </a:moveTo>
                <a:cubicBezTo>
                  <a:pt x="2" y="5"/>
                  <a:pt x="2" y="5"/>
                  <a:pt x="2" y="5"/>
                </a:cubicBezTo>
                <a:cubicBezTo>
                  <a:pt x="1" y="5"/>
                  <a:pt x="1" y="5"/>
                  <a:pt x="1" y="5"/>
                </a:cubicBezTo>
                <a:cubicBezTo>
                  <a:pt x="0" y="5"/>
                  <a:pt x="0" y="5"/>
                  <a:pt x="0" y="5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20"/>
                  <a:pt x="0" y="20"/>
                  <a:pt x="0" y="20"/>
                </a:cubicBezTo>
                <a:cubicBezTo>
                  <a:pt x="1" y="20"/>
                  <a:pt x="1" y="20"/>
                  <a:pt x="1" y="20"/>
                </a:cubicBezTo>
                <a:cubicBezTo>
                  <a:pt x="2" y="20"/>
                  <a:pt x="2" y="20"/>
                  <a:pt x="2" y="20"/>
                </a:cubicBezTo>
                <a:cubicBezTo>
                  <a:pt x="2" y="22"/>
                  <a:pt x="2" y="22"/>
                  <a:pt x="2" y="22"/>
                </a:cubicBezTo>
                <a:cubicBezTo>
                  <a:pt x="2" y="24"/>
                  <a:pt x="2" y="24"/>
                  <a:pt x="2" y="24"/>
                </a:cubicBezTo>
                <a:cubicBezTo>
                  <a:pt x="6" y="24"/>
                  <a:pt x="6" y="24"/>
                  <a:pt x="6" y="24"/>
                </a:cubicBezTo>
                <a:cubicBezTo>
                  <a:pt x="10" y="24"/>
                  <a:pt x="10" y="24"/>
                  <a:pt x="10" y="24"/>
                </a:cubicBezTo>
                <a:cubicBezTo>
                  <a:pt x="10" y="22"/>
                  <a:pt x="10" y="22"/>
                  <a:pt x="10" y="22"/>
                </a:cubicBezTo>
                <a:cubicBezTo>
                  <a:pt x="10" y="20"/>
                  <a:pt x="10" y="20"/>
                  <a:pt x="10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2" y="20"/>
                  <a:pt x="12" y="20"/>
                  <a:pt x="12" y="20"/>
                </a:cubicBezTo>
                <a:cubicBezTo>
                  <a:pt x="12" y="12"/>
                  <a:pt x="12" y="12"/>
                  <a:pt x="12" y="12"/>
                </a:cubicBezTo>
                <a:cubicBezTo>
                  <a:pt x="12" y="5"/>
                  <a:pt x="12" y="5"/>
                  <a:pt x="12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0"/>
                  <a:pt x="8" y="0"/>
                  <a:pt x="6" y="0"/>
                </a:cubicBezTo>
                <a:cubicBezTo>
                  <a:pt x="2" y="0"/>
                  <a:pt x="2" y="0"/>
                  <a:pt x="2" y="0"/>
                </a:cubicBezTo>
                <a:lnTo>
                  <a:pt x="2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3" name="Freeform 245"/>
          <p:cNvSpPr>
            <a:spLocks/>
          </p:cNvSpPr>
          <p:nvPr/>
        </p:nvSpPr>
        <p:spPr bwMode="auto">
          <a:xfrm>
            <a:off x="9599084" y="5001685"/>
            <a:ext cx="48683" cy="29633"/>
          </a:xfrm>
          <a:custGeom>
            <a:avLst/>
            <a:gdLst>
              <a:gd name="T0" fmla="*/ 57963594 w 23"/>
              <a:gd name="T1" fmla="*/ 22682200 h 14"/>
              <a:gd name="T2" fmla="*/ 57963594 w 23"/>
              <a:gd name="T3" fmla="*/ 0 h 14"/>
              <a:gd name="T4" fmla="*/ 0 w 23"/>
              <a:gd name="T5" fmla="*/ 0 h 14"/>
              <a:gd name="T6" fmla="*/ 0 w 23"/>
              <a:gd name="T7" fmla="*/ 35282188 h 14"/>
              <a:gd name="T8" fmla="*/ 57963594 w 23"/>
              <a:gd name="T9" fmla="*/ 35282188 h 14"/>
              <a:gd name="T10" fmla="*/ 57963594 w 23"/>
              <a:gd name="T11" fmla="*/ 22682200 h 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3" h="14">
                <a:moveTo>
                  <a:pt x="23" y="9"/>
                </a:moveTo>
                <a:lnTo>
                  <a:pt x="23" y="0"/>
                </a:lnTo>
                <a:lnTo>
                  <a:pt x="0" y="0"/>
                </a:lnTo>
                <a:lnTo>
                  <a:pt x="0" y="14"/>
                </a:lnTo>
                <a:lnTo>
                  <a:pt x="23" y="14"/>
                </a:lnTo>
                <a:lnTo>
                  <a:pt x="23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4" name="Freeform 246"/>
          <p:cNvSpPr>
            <a:spLocks/>
          </p:cNvSpPr>
          <p:nvPr/>
        </p:nvSpPr>
        <p:spPr bwMode="auto">
          <a:xfrm>
            <a:off x="9599085" y="4978401"/>
            <a:ext cx="52916" cy="21167"/>
          </a:xfrm>
          <a:custGeom>
            <a:avLst/>
            <a:gdLst>
              <a:gd name="T0" fmla="*/ 60482988 w 25"/>
              <a:gd name="T1" fmla="*/ 25201563 h 10"/>
              <a:gd name="T2" fmla="*/ 63003906 w 25"/>
              <a:gd name="T3" fmla="*/ 25201563 h 10"/>
              <a:gd name="T4" fmla="*/ 63003906 w 25"/>
              <a:gd name="T5" fmla="*/ 25201563 h 10"/>
              <a:gd name="T6" fmla="*/ 63003906 w 25"/>
              <a:gd name="T7" fmla="*/ 0 h 10"/>
              <a:gd name="T8" fmla="*/ 0 w 25"/>
              <a:gd name="T9" fmla="*/ 0 h 10"/>
              <a:gd name="T10" fmla="*/ 0 w 25"/>
              <a:gd name="T11" fmla="*/ 25201563 h 10"/>
              <a:gd name="T12" fmla="*/ 57963657 w 25"/>
              <a:gd name="T13" fmla="*/ 25201563 h 10"/>
              <a:gd name="T14" fmla="*/ 60482988 w 25"/>
              <a:gd name="T15" fmla="*/ 25201563 h 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5" h="10">
                <a:moveTo>
                  <a:pt x="24" y="10"/>
                </a:moveTo>
                <a:lnTo>
                  <a:pt x="25" y="10"/>
                </a:lnTo>
                <a:lnTo>
                  <a:pt x="25" y="0"/>
                </a:lnTo>
                <a:lnTo>
                  <a:pt x="0" y="0"/>
                </a:lnTo>
                <a:lnTo>
                  <a:pt x="0" y="10"/>
                </a:lnTo>
                <a:lnTo>
                  <a:pt x="23" y="10"/>
                </a:lnTo>
                <a:lnTo>
                  <a:pt x="24" y="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5" name="Freeform 247"/>
          <p:cNvSpPr>
            <a:spLocks/>
          </p:cNvSpPr>
          <p:nvPr/>
        </p:nvSpPr>
        <p:spPr bwMode="auto">
          <a:xfrm>
            <a:off x="9599085" y="4815418"/>
            <a:ext cx="52916" cy="44449"/>
          </a:xfrm>
          <a:custGeom>
            <a:avLst/>
            <a:gdLst>
              <a:gd name="T0" fmla="*/ 57963657 w 25"/>
              <a:gd name="T1" fmla="*/ 42842807 h 21"/>
              <a:gd name="T2" fmla="*/ 57963657 w 25"/>
              <a:gd name="T3" fmla="*/ 12601386 h 21"/>
              <a:gd name="T4" fmla="*/ 63003906 w 25"/>
              <a:gd name="T5" fmla="*/ 12601386 h 21"/>
              <a:gd name="T6" fmla="*/ 63003906 w 25"/>
              <a:gd name="T7" fmla="*/ 0 h 21"/>
              <a:gd name="T8" fmla="*/ 0 w 25"/>
              <a:gd name="T9" fmla="*/ 0 h 21"/>
              <a:gd name="T10" fmla="*/ 0 w 25"/>
              <a:gd name="T11" fmla="*/ 52923281 h 21"/>
              <a:gd name="T12" fmla="*/ 57963657 w 25"/>
              <a:gd name="T13" fmla="*/ 52923281 h 21"/>
              <a:gd name="T14" fmla="*/ 57963657 w 25"/>
              <a:gd name="T15" fmla="*/ 42842807 h 2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5" h="21">
                <a:moveTo>
                  <a:pt x="23" y="17"/>
                </a:moveTo>
                <a:lnTo>
                  <a:pt x="23" y="5"/>
                </a:lnTo>
                <a:lnTo>
                  <a:pt x="25" y="5"/>
                </a:lnTo>
                <a:lnTo>
                  <a:pt x="25" y="0"/>
                </a:lnTo>
                <a:lnTo>
                  <a:pt x="0" y="0"/>
                </a:lnTo>
                <a:lnTo>
                  <a:pt x="0" y="21"/>
                </a:lnTo>
                <a:lnTo>
                  <a:pt x="23" y="21"/>
                </a:lnTo>
                <a:lnTo>
                  <a:pt x="23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6" name="Freeform 248"/>
          <p:cNvSpPr>
            <a:spLocks/>
          </p:cNvSpPr>
          <p:nvPr/>
        </p:nvSpPr>
        <p:spPr bwMode="auto">
          <a:xfrm>
            <a:off x="9599084" y="4703234"/>
            <a:ext cx="463549" cy="463551"/>
          </a:xfrm>
          <a:custGeom>
            <a:avLst/>
            <a:gdLst>
              <a:gd name="T0" fmla="*/ 626872964 w 154"/>
              <a:gd name="T1" fmla="*/ 575908275 h 154"/>
              <a:gd name="T2" fmla="*/ 601389791 w 154"/>
              <a:gd name="T3" fmla="*/ 601391521 h 154"/>
              <a:gd name="T4" fmla="*/ 530037810 w 154"/>
              <a:gd name="T5" fmla="*/ 448496558 h 154"/>
              <a:gd name="T6" fmla="*/ 530037810 w 154"/>
              <a:gd name="T7" fmla="*/ 519846487 h 154"/>
              <a:gd name="T8" fmla="*/ 504556894 w 154"/>
              <a:gd name="T9" fmla="*/ 611584368 h 154"/>
              <a:gd name="T10" fmla="*/ 392433641 w 154"/>
              <a:gd name="T11" fmla="*/ 565715428 h 154"/>
              <a:gd name="T12" fmla="*/ 361852931 w 154"/>
              <a:gd name="T13" fmla="*/ 642165167 h 154"/>
              <a:gd name="T14" fmla="*/ 290500949 w 154"/>
              <a:gd name="T15" fmla="*/ 586101122 h 154"/>
              <a:gd name="T16" fmla="*/ 265020034 w 154"/>
              <a:gd name="T17" fmla="*/ 494365498 h 154"/>
              <a:gd name="T18" fmla="*/ 305791304 w 154"/>
              <a:gd name="T19" fmla="*/ 433206158 h 154"/>
              <a:gd name="T20" fmla="*/ 321081660 w 154"/>
              <a:gd name="T21" fmla="*/ 530039334 h 154"/>
              <a:gd name="T22" fmla="*/ 351660113 w 154"/>
              <a:gd name="T23" fmla="*/ 530039334 h 154"/>
              <a:gd name="T24" fmla="*/ 392433641 w 154"/>
              <a:gd name="T25" fmla="*/ 433206158 h 154"/>
              <a:gd name="T26" fmla="*/ 402626459 w 154"/>
              <a:gd name="T27" fmla="*/ 519846487 h 154"/>
              <a:gd name="T28" fmla="*/ 433204912 w 154"/>
              <a:gd name="T29" fmla="*/ 433206158 h 154"/>
              <a:gd name="T30" fmla="*/ 637065782 w 154"/>
              <a:gd name="T31" fmla="*/ 433206158 h 154"/>
              <a:gd name="T32" fmla="*/ 667644235 w 154"/>
              <a:gd name="T33" fmla="*/ 463784700 h 154"/>
              <a:gd name="T34" fmla="*/ 657451417 w 154"/>
              <a:gd name="T35" fmla="*/ 530039334 h 154"/>
              <a:gd name="T36" fmla="*/ 667644235 w 154"/>
              <a:gd name="T37" fmla="*/ 575908275 h 154"/>
              <a:gd name="T38" fmla="*/ 784865025 w 154"/>
              <a:gd name="T39" fmla="*/ 351661125 h 154"/>
              <a:gd name="T40" fmla="*/ 540232885 w 154"/>
              <a:gd name="T41" fmla="*/ 351661125 h 154"/>
              <a:gd name="T42" fmla="*/ 519844992 w 154"/>
              <a:gd name="T43" fmla="*/ 295599337 h 154"/>
              <a:gd name="T44" fmla="*/ 479073721 w 154"/>
              <a:gd name="T45" fmla="*/ 341468277 h 154"/>
              <a:gd name="T46" fmla="*/ 453590548 w 154"/>
              <a:gd name="T47" fmla="*/ 265020796 h 154"/>
              <a:gd name="T48" fmla="*/ 382238566 w 154"/>
              <a:gd name="T49" fmla="*/ 351661125 h 154"/>
              <a:gd name="T50" fmla="*/ 280308131 w 154"/>
              <a:gd name="T51" fmla="*/ 305792184 h 154"/>
              <a:gd name="T52" fmla="*/ 249729678 w 154"/>
              <a:gd name="T53" fmla="*/ 310889736 h 154"/>
              <a:gd name="T54" fmla="*/ 270115314 w 154"/>
              <a:gd name="T55" fmla="*/ 173282915 h 154"/>
              <a:gd name="T56" fmla="*/ 336369758 w 154"/>
              <a:gd name="T57" fmla="*/ 157992516 h 154"/>
              <a:gd name="T58" fmla="*/ 458688085 w 154"/>
              <a:gd name="T59" fmla="*/ 188571057 h 154"/>
              <a:gd name="T60" fmla="*/ 479073721 w 154"/>
              <a:gd name="T61" fmla="*/ 254827949 h 154"/>
              <a:gd name="T62" fmla="*/ 514749712 w 154"/>
              <a:gd name="T63" fmla="*/ 188571057 h 154"/>
              <a:gd name="T64" fmla="*/ 570811338 w 154"/>
              <a:gd name="T65" fmla="*/ 254827949 h 154"/>
              <a:gd name="T66" fmla="*/ 693127408 w 154"/>
              <a:gd name="T67" fmla="*/ 142702116 h 154"/>
              <a:gd name="T68" fmla="*/ 667644235 w 154"/>
              <a:gd name="T69" fmla="*/ 229344702 h 154"/>
              <a:gd name="T70" fmla="*/ 647258600 w 154"/>
              <a:gd name="T71" fmla="*/ 321082583 h 154"/>
              <a:gd name="T72" fmla="*/ 101930435 w 154"/>
              <a:gd name="T73" fmla="*/ 0 h 154"/>
              <a:gd name="T74" fmla="*/ 117220790 w 154"/>
              <a:gd name="T75" fmla="*/ 163090068 h 154"/>
              <a:gd name="T76" fmla="*/ 157992061 w 154"/>
              <a:gd name="T77" fmla="*/ 142702116 h 154"/>
              <a:gd name="T78" fmla="*/ 198765590 w 154"/>
              <a:gd name="T79" fmla="*/ 163090068 h 154"/>
              <a:gd name="T80" fmla="*/ 188570514 w 154"/>
              <a:gd name="T81" fmla="*/ 193668609 h 154"/>
              <a:gd name="T82" fmla="*/ 127413608 w 154"/>
              <a:gd name="T83" fmla="*/ 249730396 h 154"/>
              <a:gd name="T84" fmla="*/ 152896781 w 154"/>
              <a:gd name="T85" fmla="*/ 239537549 h 154"/>
              <a:gd name="T86" fmla="*/ 198765590 w 154"/>
              <a:gd name="T87" fmla="*/ 331275430 h 154"/>
              <a:gd name="T88" fmla="*/ 142701706 w 154"/>
              <a:gd name="T89" fmla="*/ 351661125 h 154"/>
              <a:gd name="T90" fmla="*/ 107027972 w 154"/>
              <a:gd name="T91" fmla="*/ 321082583 h 154"/>
              <a:gd name="T92" fmla="*/ 163089599 w 154"/>
              <a:gd name="T93" fmla="*/ 433206158 h 154"/>
              <a:gd name="T94" fmla="*/ 208958407 w 154"/>
              <a:gd name="T95" fmla="*/ 453591853 h 154"/>
              <a:gd name="T96" fmla="*/ 229344043 w 154"/>
              <a:gd name="T97" fmla="*/ 479075099 h 154"/>
              <a:gd name="T98" fmla="*/ 229344043 w 154"/>
              <a:gd name="T99" fmla="*/ 575908275 h 154"/>
              <a:gd name="T100" fmla="*/ 214053687 w 154"/>
              <a:gd name="T101" fmla="*/ 621777215 h 154"/>
              <a:gd name="T102" fmla="*/ 163089599 w 154"/>
              <a:gd name="T103" fmla="*/ 642165167 h 154"/>
              <a:gd name="T104" fmla="*/ 122316070 w 154"/>
              <a:gd name="T105" fmla="*/ 621777215 h 154"/>
              <a:gd name="T106" fmla="*/ 91737617 w 154"/>
              <a:gd name="T107" fmla="*/ 575908275 h 154"/>
              <a:gd name="T108" fmla="*/ 637065782 w 154"/>
              <a:gd name="T109" fmla="*/ 642165167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54" h="154">
                <a:moveTo>
                  <a:pt x="125" y="126"/>
                </a:moveTo>
                <a:cubicBezTo>
                  <a:pt x="125" y="123"/>
                  <a:pt x="125" y="123"/>
                  <a:pt x="125" y="123"/>
                </a:cubicBezTo>
                <a:cubicBezTo>
                  <a:pt x="125" y="120"/>
                  <a:pt x="125" y="120"/>
                  <a:pt x="125" y="120"/>
                </a:cubicBezTo>
                <a:cubicBezTo>
                  <a:pt x="124" y="120"/>
                  <a:pt x="124" y="120"/>
                  <a:pt x="124" y="120"/>
                </a:cubicBezTo>
                <a:cubicBezTo>
                  <a:pt x="123" y="120"/>
                  <a:pt x="123" y="120"/>
                  <a:pt x="123" y="120"/>
                </a:cubicBezTo>
                <a:cubicBezTo>
                  <a:pt x="123" y="116"/>
                  <a:pt x="123" y="116"/>
                  <a:pt x="123" y="116"/>
                </a:cubicBezTo>
                <a:cubicBezTo>
                  <a:pt x="123" y="113"/>
                  <a:pt x="123" y="113"/>
                  <a:pt x="123" y="113"/>
                </a:cubicBezTo>
                <a:cubicBezTo>
                  <a:pt x="121" y="113"/>
                  <a:pt x="121" y="113"/>
                  <a:pt x="121" y="113"/>
                </a:cubicBezTo>
                <a:cubicBezTo>
                  <a:pt x="120" y="113"/>
                  <a:pt x="120" y="113"/>
                  <a:pt x="120" y="113"/>
                </a:cubicBezTo>
                <a:cubicBezTo>
                  <a:pt x="120" y="111"/>
                  <a:pt x="120" y="111"/>
                  <a:pt x="120" y="111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19" y="109"/>
                  <a:pt x="119" y="109"/>
                  <a:pt x="119" y="109"/>
                </a:cubicBezTo>
                <a:cubicBezTo>
                  <a:pt x="118" y="109"/>
                  <a:pt x="118" y="109"/>
                  <a:pt x="118" y="109"/>
                </a:cubicBezTo>
                <a:cubicBezTo>
                  <a:pt x="118" y="118"/>
                  <a:pt x="118" y="118"/>
                  <a:pt x="118" y="118"/>
                </a:cubicBezTo>
                <a:cubicBezTo>
                  <a:pt x="118" y="126"/>
                  <a:pt x="118" y="126"/>
                  <a:pt x="118" y="126"/>
                </a:cubicBezTo>
                <a:cubicBezTo>
                  <a:pt x="113" y="126"/>
                  <a:pt x="113" y="126"/>
                  <a:pt x="113" y="126"/>
                </a:cubicBezTo>
                <a:cubicBezTo>
                  <a:pt x="108" y="126"/>
                  <a:pt x="108" y="126"/>
                  <a:pt x="108" y="126"/>
                </a:cubicBezTo>
                <a:cubicBezTo>
                  <a:pt x="108" y="105"/>
                  <a:pt x="108" y="105"/>
                  <a:pt x="108" y="105"/>
                </a:cubicBezTo>
                <a:cubicBezTo>
                  <a:pt x="108" y="87"/>
                  <a:pt x="108" y="87"/>
                  <a:pt x="108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04" y="88"/>
                  <a:pt x="104" y="88"/>
                  <a:pt x="104" y="88"/>
                </a:cubicBezTo>
                <a:cubicBezTo>
                  <a:pt x="104" y="91"/>
                  <a:pt x="104" y="91"/>
                  <a:pt x="104" y="91"/>
                </a:cubicBezTo>
                <a:cubicBezTo>
                  <a:pt x="99" y="91"/>
                  <a:pt x="99" y="91"/>
                  <a:pt x="99" y="91"/>
                </a:cubicBezTo>
                <a:cubicBezTo>
                  <a:pt x="95" y="91"/>
                  <a:pt x="95" y="91"/>
                  <a:pt x="95" y="91"/>
                </a:cubicBezTo>
                <a:cubicBezTo>
                  <a:pt x="95" y="96"/>
                  <a:pt x="95" y="96"/>
                  <a:pt x="95" y="96"/>
                </a:cubicBezTo>
                <a:cubicBezTo>
                  <a:pt x="95" y="102"/>
                  <a:pt x="95" y="102"/>
                  <a:pt x="95" y="102"/>
                </a:cubicBezTo>
                <a:cubicBezTo>
                  <a:pt x="99" y="102"/>
                  <a:pt x="99" y="102"/>
                  <a:pt x="99" y="102"/>
                </a:cubicBezTo>
                <a:cubicBezTo>
                  <a:pt x="104" y="102"/>
                  <a:pt x="104" y="102"/>
                  <a:pt x="104" y="102"/>
                </a:cubicBezTo>
                <a:cubicBezTo>
                  <a:pt x="104" y="105"/>
                  <a:pt x="104" y="105"/>
                  <a:pt x="104" y="105"/>
                </a:cubicBezTo>
                <a:cubicBezTo>
                  <a:pt x="104" y="109"/>
                  <a:pt x="104" y="109"/>
                  <a:pt x="104" y="109"/>
                </a:cubicBezTo>
                <a:cubicBezTo>
                  <a:pt x="99" y="109"/>
                  <a:pt x="99" y="109"/>
                  <a:pt x="99" y="109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5" y="114"/>
                  <a:pt x="95" y="114"/>
                  <a:pt x="95" y="114"/>
                </a:cubicBezTo>
                <a:cubicBezTo>
                  <a:pt x="95" y="120"/>
                  <a:pt x="95" y="120"/>
                  <a:pt x="95" y="120"/>
                </a:cubicBezTo>
                <a:cubicBezTo>
                  <a:pt x="99" y="120"/>
                  <a:pt x="99" y="120"/>
                  <a:pt x="99" y="120"/>
                </a:cubicBezTo>
                <a:cubicBezTo>
                  <a:pt x="104" y="120"/>
                  <a:pt x="104" y="120"/>
                  <a:pt x="104" y="120"/>
                </a:cubicBezTo>
                <a:cubicBezTo>
                  <a:pt x="104" y="123"/>
                  <a:pt x="104" y="123"/>
                  <a:pt x="104" y="123"/>
                </a:cubicBezTo>
                <a:cubicBezTo>
                  <a:pt x="104" y="126"/>
                  <a:pt x="104" y="126"/>
                  <a:pt x="104" y="126"/>
                </a:cubicBezTo>
                <a:cubicBezTo>
                  <a:pt x="95" y="126"/>
                  <a:pt x="95" y="126"/>
                  <a:pt x="95" y="126"/>
                </a:cubicBezTo>
                <a:cubicBezTo>
                  <a:pt x="85" y="126"/>
                  <a:pt x="85" y="126"/>
                  <a:pt x="85" y="126"/>
                </a:cubicBezTo>
                <a:cubicBezTo>
                  <a:pt x="85" y="111"/>
                  <a:pt x="85" y="111"/>
                  <a:pt x="85" y="111"/>
                </a:cubicBezTo>
                <a:cubicBezTo>
                  <a:pt x="77" y="111"/>
                  <a:pt x="77" y="111"/>
                  <a:pt x="77" y="111"/>
                </a:cubicBezTo>
                <a:cubicBezTo>
                  <a:pt x="75" y="111"/>
                  <a:pt x="75" y="111"/>
                  <a:pt x="75" y="111"/>
                </a:cubicBezTo>
                <a:cubicBezTo>
                  <a:pt x="74" y="111"/>
                  <a:pt x="74" y="111"/>
                  <a:pt x="74" y="111"/>
                </a:cubicBezTo>
                <a:cubicBezTo>
                  <a:pt x="74" y="115"/>
                  <a:pt x="74" y="115"/>
                  <a:pt x="74" y="115"/>
                </a:cubicBezTo>
                <a:cubicBezTo>
                  <a:pt x="74" y="120"/>
                  <a:pt x="74" y="120"/>
                  <a:pt x="74" y="120"/>
                </a:cubicBezTo>
                <a:cubicBezTo>
                  <a:pt x="73" y="120"/>
                  <a:pt x="73" y="120"/>
                  <a:pt x="73" y="120"/>
                </a:cubicBezTo>
                <a:cubicBezTo>
                  <a:pt x="71" y="120"/>
                  <a:pt x="71" y="120"/>
                  <a:pt x="71" y="120"/>
                </a:cubicBezTo>
                <a:cubicBezTo>
                  <a:pt x="71" y="126"/>
                  <a:pt x="71" y="126"/>
                  <a:pt x="71" y="126"/>
                </a:cubicBezTo>
                <a:cubicBezTo>
                  <a:pt x="66" y="126"/>
                  <a:pt x="66" y="126"/>
                  <a:pt x="66" y="126"/>
                </a:cubicBezTo>
                <a:cubicBezTo>
                  <a:pt x="60" y="126"/>
                  <a:pt x="60" y="126"/>
                  <a:pt x="60" y="126"/>
                </a:cubicBezTo>
                <a:cubicBezTo>
                  <a:pt x="60" y="123"/>
                  <a:pt x="60" y="123"/>
                  <a:pt x="60" y="123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59" y="120"/>
                  <a:pt x="59" y="120"/>
                  <a:pt x="59" y="120"/>
                </a:cubicBezTo>
                <a:cubicBezTo>
                  <a:pt x="57" y="120"/>
                  <a:pt x="57" y="120"/>
                  <a:pt x="57" y="120"/>
                </a:cubicBezTo>
                <a:cubicBezTo>
                  <a:pt x="57" y="115"/>
                  <a:pt x="57" y="115"/>
                  <a:pt x="57" y="115"/>
                </a:cubicBezTo>
                <a:cubicBezTo>
                  <a:pt x="57" y="111"/>
                  <a:pt x="57" y="111"/>
                  <a:pt x="57" y="111"/>
                </a:cubicBezTo>
                <a:cubicBezTo>
                  <a:pt x="56" y="111"/>
                  <a:pt x="56" y="111"/>
                  <a:pt x="56" y="111"/>
                </a:cubicBezTo>
                <a:cubicBezTo>
                  <a:pt x="55" y="111"/>
                  <a:pt x="55" y="111"/>
                  <a:pt x="55" y="111"/>
                </a:cubicBezTo>
                <a:cubicBezTo>
                  <a:pt x="55" y="102"/>
                  <a:pt x="55" y="102"/>
                  <a:pt x="55" y="102"/>
                </a:cubicBezTo>
                <a:cubicBezTo>
                  <a:pt x="53" y="102"/>
                  <a:pt x="53" y="102"/>
                  <a:pt x="53" y="102"/>
                </a:cubicBezTo>
                <a:cubicBezTo>
                  <a:pt x="52" y="102"/>
                  <a:pt x="52" y="102"/>
                  <a:pt x="52" y="102"/>
                </a:cubicBezTo>
                <a:cubicBezTo>
                  <a:pt x="52" y="97"/>
                  <a:pt x="52" y="97"/>
                  <a:pt x="52" y="97"/>
                </a:cubicBezTo>
                <a:cubicBezTo>
                  <a:pt x="52" y="93"/>
                  <a:pt x="52" y="93"/>
                  <a:pt x="52" y="93"/>
                </a:cubicBezTo>
                <a:cubicBezTo>
                  <a:pt x="51" y="93"/>
                  <a:pt x="51" y="93"/>
                  <a:pt x="51" y="93"/>
                </a:cubicBezTo>
                <a:cubicBezTo>
                  <a:pt x="50" y="93"/>
                  <a:pt x="50" y="93"/>
                  <a:pt x="50" y="93"/>
                </a:cubicBezTo>
                <a:cubicBezTo>
                  <a:pt x="50" y="89"/>
                  <a:pt x="50" y="89"/>
                  <a:pt x="50" y="89"/>
                </a:cubicBezTo>
                <a:cubicBezTo>
                  <a:pt x="50" y="85"/>
                  <a:pt x="50" y="85"/>
                  <a:pt x="50" y="85"/>
                </a:cubicBezTo>
                <a:cubicBezTo>
                  <a:pt x="55" y="85"/>
                  <a:pt x="55" y="85"/>
                  <a:pt x="55" y="85"/>
                </a:cubicBezTo>
                <a:cubicBezTo>
                  <a:pt x="60" y="85"/>
                  <a:pt x="60" y="85"/>
                  <a:pt x="60" y="85"/>
                </a:cubicBezTo>
                <a:cubicBezTo>
                  <a:pt x="60" y="89"/>
                  <a:pt x="60" y="89"/>
                  <a:pt x="60" y="89"/>
                </a:cubicBezTo>
                <a:cubicBezTo>
                  <a:pt x="60" y="93"/>
                  <a:pt x="60" y="93"/>
                  <a:pt x="60" y="93"/>
                </a:cubicBezTo>
                <a:cubicBezTo>
                  <a:pt x="61" y="93"/>
                  <a:pt x="61" y="93"/>
                  <a:pt x="61" y="93"/>
                </a:cubicBezTo>
                <a:cubicBezTo>
                  <a:pt x="62" y="93"/>
                  <a:pt x="62" y="93"/>
                  <a:pt x="62" y="93"/>
                </a:cubicBezTo>
                <a:cubicBezTo>
                  <a:pt x="62" y="99"/>
                  <a:pt x="62" y="99"/>
                  <a:pt x="62" y="99"/>
                </a:cubicBezTo>
                <a:cubicBezTo>
                  <a:pt x="62" y="104"/>
                  <a:pt x="62" y="104"/>
                  <a:pt x="62" y="104"/>
                </a:cubicBezTo>
                <a:cubicBezTo>
                  <a:pt x="63" y="104"/>
                  <a:pt x="63" y="104"/>
                  <a:pt x="63" y="104"/>
                </a:cubicBezTo>
                <a:cubicBezTo>
                  <a:pt x="64" y="104"/>
                  <a:pt x="64" y="104"/>
                  <a:pt x="64" y="104"/>
                </a:cubicBezTo>
                <a:cubicBezTo>
                  <a:pt x="64" y="110"/>
                  <a:pt x="64" y="110"/>
                  <a:pt x="64" y="110"/>
                </a:cubicBezTo>
                <a:cubicBezTo>
                  <a:pt x="64" y="115"/>
                  <a:pt x="64" y="115"/>
                  <a:pt x="64" y="115"/>
                </a:cubicBezTo>
                <a:cubicBezTo>
                  <a:pt x="66" y="115"/>
                  <a:pt x="66" y="115"/>
                  <a:pt x="66" y="115"/>
                </a:cubicBezTo>
                <a:cubicBezTo>
                  <a:pt x="67" y="115"/>
                  <a:pt x="67" y="115"/>
                  <a:pt x="67" y="115"/>
                </a:cubicBezTo>
                <a:cubicBezTo>
                  <a:pt x="67" y="104"/>
                  <a:pt x="67" y="104"/>
                  <a:pt x="67" y="104"/>
                </a:cubicBezTo>
                <a:cubicBezTo>
                  <a:pt x="67" y="104"/>
                  <a:pt x="67" y="104"/>
                  <a:pt x="69" y="104"/>
                </a:cubicBezTo>
                <a:cubicBezTo>
                  <a:pt x="70" y="104"/>
                  <a:pt x="70" y="104"/>
                  <a:pt x="70" y="104"/>
                </a:cubicBezTo>
                <a:cubicBezTo>
                  <a:pt x="70" y="99"/>
                  <a:pt x="70" y="99"/>
                  <a:pt x="70" y="99"/>
                </a:cubicBezTo>
                <a:cubicBezTo>
                  <a:pt x="70" y="93"/>
                  <a:pt x="70" y="93"/>
                  <a:pt x="70" y="93"/>
                </a:cubicBezTo>
                <a:cubicBezTo>
                  <a:pt x="70" y="93"/>
                  <a:pt x="70" y="93"/>
                  <a:pt x="70" y="93"/>
                </a:cubicBezTo>
                <a:cubicBezTo>
                  <a:pt x="72" y="93"/>
                  <a:pt x="72" y="93"/>
                  <a:pt x="72" y="93"/>
                </a:cubicBezTo>
                <a:cubicBezTo>
                  <a:pt x="72" y="85"/>
                  <a:pt x="72" y="85"/>
                  <a:pt x="72" y="85"/>
                </a:cubicBezTo>
                <a:cubicBezTo>
                  <a:pt x="77" y="85"/>
                  <a:pt x="77" y="85"/>
                  <a:pt x="77" y="85"/>
                </a:cubicBezTo>
                <a:cubicBezTo>
                  <a:pt x="81" y="85"/>
                  <a:pt x="81" y="85"/>
                  <a:pt x="81" y="85"/>
                </a:cubicBezTo>
                <a:cubicBezTo>
                  <a:pt x="81" y="89"/>
                  <a:pt x="81" y="89"/>
                  <a:pt x="81" y="89"/>
                </a:cubicBezTo>
                <a:cubicBezTo>
                  <a:pt x="81" y="93"/>
                  <a:pt x="81" y="93"/>
                  <a:pt x="81" y="93"/>
                </a:cubicBezTo>
                <a:cubicBezTo>
                  <a:pt x="80" y="93"/>
                  <a:pt x="80" y="93"/>
                  <a:pt x="80" y="93"/>
                </a:cubicBezTo>
                <a:cubicBezTo>
                  <a:pt x="79" y="93"/>
                  <a:pt x="79" y="93"/>
                  <a:pt x="79" y="93"/>
                </a:cubicBezTo>
                <a:cubicBezTo>
                  <a:pt x="79" y="97"/>
                  <a:pt x="79" y="97"/>
                  <a:pt x="79" y="97"/>
                </a:cubicBezTo>
                <a:cubicBezTo>
                  <a:pt x="79" y="102"/>
                  <a:pt x="79" y="102"/>
                  <a:pt x="79" y="102"/>
                </a:cubicBezTo>
                <a:cubicBezTo>
                  <a:pt x="78" y="102"/>
                  <a:pt x="78" y="102"/>
                  <a:pt x="78" y="102"/>
                </a:cubicBezTo>
                <a:cubicBezTo>
                  <a:pt x="77" y="102"/>
                  <a:pt x="77" y="102"/>
                  <a:pt x="77" y="102"/>
                </a:cubicBezTo>
                <a:cubicBezTo>
                  <a:pt x="77" y="106"/>
                  <a:pt x="77" y="106"/>
                  <a:pt x="77" y="106"/>
                </a:cubicBezTo>
                <a:cubicBezTo>
                  <a:pt x="77" y="108"/>
                  <a:pt x="77" y="108"/>
                  <a:pt x="77" y="108"/>
                </a:cubicBezTo>
                <a:cubicBezTo>
                  <a:pt x="85" y="108"/>
                  <a:pt x="85" y="108"/>
                  <a:pt x="85" y="108"/>
                </a:cubicBezTo>
                <a:cubicBezTo>
                  <a:pt x="85" y="105"/>
                  <a:pt x="85" y="105"/>
                  <a:pt x="85" y="105"/>
                </a:cubicBezTo>
                <a:cubicBezTo>
                  <a:pt x="85" y="85"/>
                  <a:pt x="85" y="85"/>
                  <a:pt x="85" y="85"/>
                </a:cubicBezTo>
                <a:cubicBezTo>
                  <a:pt x="95" y="85"/>
                  <a:pt x="95" y="85"/>
                  <a:pt x="95" y="85"/>
                </a:cubicBezTo>
                <a:cubicBezTo>
                  <a:pt x="102" y="85"/>
                  <a:pt x="102" y="85"/>
                  <a:pt x="102" y="85"/>
                </a:cubicBezTo>
                <a:cubicBezTo>
                  <a:pt x="104" y="85"/>
                  <a:pt x="104" y="85"/>
                  <a:pt x="104" y="85"/>
                </a:cubicBezTo>
                <a:cubicBezTo>
                  <a:pt x="108" y="85"/>
                  <a:pt x="108" y="85"/>
                  <a:pt x="108" y="85"/>
                </a:cubicBezTo>
                <a:cubicBezTo>
                  <a:pt x="111" y="85"/>
                  <a:pt x="111" y="85"/>
                  <a:pt x="111" y="85"/>
                </a:cubicBezTo>
                <a:cubicBezTo>
                  <a:pt x="116" y="85"/>
                  <a:pt x="116" y="85"/>
                  <a:pt x="116" y="85"/>
                </a:cubicBezTo>
                <a:cubicBezTo>
                  <a:pt x="125" y="85"/>
                  <a:pt x="125" y="85"/>
                  <a:pt x="125" y="85"/>
                </a:cubicBezTo>
                <a:cubicBezTo>
                  <a:pt x="125" y="86"/>
                  <a:pt x="125" y="86"/>
                  <a:pt x="125" y="86"/>
                </a:cubicBezTo>
                <a:cubicBezTo>
                  <a:pt x="125" y="87"/>
                  <a:pt x="125" y="87"/>
                  <a:pt x="125" y="87"/>
                </a:cubicBezTo>
                <a:cubicBezTo>
                  <a:pt x="127" y="87"/>
                  <a:pt x="127" y="87"/>
                  <a:pt x="127" y="87"/>
                </a:cubicBezTo>
                <a:cubicBezTo>
                  <a:pt x="130" y="87"/>
                  <a:pt x="130" y="87"/>
                  <a:pt x="130" y="87"/>
                </a:cubicBezTo>
                <a:cubicBezTo>
                  <a:pt x="130" y="89"/>
                  <a:pt x="130" y="89"/>
                  <a:pt x="130" y="89"/>
                </a:cubicBezTo>
                <a:cubicBezTo>
                  <a:pt x="130" y="91"/>
                  <a:pt x="130" y="91"/>
                  <a:pt x="130" y="91"/>
                </a:cubicBezTo>
                <a:cubicBezTo>
                  <a:pt x="131" y="91"/>
                  <a:pt x="131" y="91"/>
                  <a:pt x="131" y="91"/>
                </a:cubicBezTo>
                <a:cubicBezTo>
                  <a:pt x="132" y="91"/>
                  <a:pt x="132" y="91"/>
                  <a:pt x="132" y="91"/>
                </a:cubicBezTo>
                <a:cubicBezTo>
                  <a:pt x="132" y="102"/>
                  <a:pt x="132" y="102"/>
                  <a:pt x="132" y="102"/>
                </a:cubicBezTo>
                <a:cubicBezTo>
                  <a:pt x="131" y="102"/>
                  <a:pt x="131" y="102"/>
                  <a:pt x="131" y="102"/>
                </a:cubicBezTo>
                <a:cubicBezTo>
                  <a:pt x="130" y="102"/>
                  <a:pt x="130" y="102"/>
                  <a:pt x="130" y="102"/>
                </a:cubicBezTo>
                <a:cubicBezTo>
                  <a:pt x="130" y="103"/>
                  <a:pt x="130" y="103"/>
                  <a:pt x="130" y="103"/>
                </a:cubicBezTo>
                <a:cubicBezTo>
                  <a:pt x="130" y="104"/>
                  <a:pt x="130" y="104"/>
                  <a:pt x="130" y="104"/>
                </a:cubicBezTo>
                <a:cubicBezTo>
                  <a:pt x="129" y="104"/>
                  <a:pt x="129" y="104"/>
                  <a:pt x="129" y="104"/>
                </a:cubicBezTo>
                <a:cubicBezTo>
                  <a:pt x="127" y="104"/>
                  <a:pt x="127" y="104"/>
                  <a:pt x="127" y="104"/>
                </a:cubicBezTo>
                <a:cubicBezTo>
                  <a:pt x="127" y="107"/>
                  <a:pt x="127" y="107"/>
                  <a:pt x="127" y="107"/>
                </a:cubicBezTo>
                <a:cubicBezTo>
                  <a:pt x="127" y="107"/>
                  <a:pt x="128" y="107"/>
                  <a:pt x="129" y="107"/>
                </a:cubicBezTo>
                <a:cubicBezTo>
                  <a:pt x="130" y="107"/>
                  <a:pt x="130" y="107"/>
                  <a:pt x="130" y="107"/>
                </a:cubicBezTo>
                <a:cubicBezTo>
                  <a:pt x="130" y="110"/>
                  <a:pt x="130" y="110"/>
                  <a:pt x="130" y="110"/>
                </a:cubicBezTo>
                <a:cubicBezTo>
                  <a:pt x="130" y="113"/>
                  <a:pt x="130" y="113"/>
                  <a:pt x="130" y="113"/>
                </a:cubicBezTo>
                <a:cubicBezTo>
                  <a:pt x="131" y="113"/>
                  <a:pt x="131" y="113"/>
                  <a:pt x="131" y="113"/>
                </a:cubicBezTo>
                <a:cubicBezTo>
                  <a:pt x="132" y="113"/>
                  <a:pt x="132" y="113"/>
                  <a:pt x="132" y="113"/>
                </a:cubicBezTo>
                <a:cubicBezTo>
                  <a:pt x="132" y="116"/>
                  <a:pt x="132" y="116"/>
                  <a:pt x="132" y="116"/>
                </a:cubicBezTo>
                <a:cubicBezTo>
                  <a:pt x="132" y="120"/>
                  <a:pt x="132" y="120"/>
                  <a:pt x="132" y="120"/>
                </a:cubicBezTo>
                <a:cubicBezTo>
                  <a:pt x="132" y="120"/>
                  <a:pt x="132" y="120"/>
                  <a:pt x="132" y="120"/>
                </a:cubicBezTo>
                <a:cubicBezTo>
                  <a:pt x="132" y="120"/>
                  <a:pt x="132" y="120"/>
                  <a:pt x="132" y="120"/>
                </a:cubicBezTo>
                <a:cubicBezTo>
                  <a:pt x="154" y="120"/>
                  <a:pt x="154" y="120"/>
                  <a:pt x="154" y="120"/>
                </a:cubicBezTo>
                <a:cubicBezTo>
                  <a:pt x="154" y="69"/>
                  <a:pt x="154" y="69"/>
                  <a:pt x="154" y="69"/>
                </a:cubicBezTo>
                <a:cubicBezTo>
                  <a:pt x="118" y="69"/>
                  <a:pt x="118" y="69"/>
                  <a:pt x="118" y="69"/>
                </a:cubicBezTo>
                <a:cubicBezTo>
                  <a:pt x="118" y="52"/>
                  <a:pt x="118" y="52"/>
                  <a:pt x="118" y="52"/>
                </a:cubicBezTo>
                <a:cubicBezTo>
                  <a:pt x="114" y="52"/>
                  <a:pt x="114" y="52"/>
                  <a:pt x="114" y="52"/>
                </a:cubicBezTo>
                <a:cubicBezTo>
                  <a:pt x="114" y="60"/>
                  <a:pt x="114" y="60"/>
                  <a:pt x="114" y="60"/>
                </a:cubicBezTo>
                <a:cubicBezTo>
                  <a:pt x="114" y="69"/>
                  <a:pt x="114" y="69"/>
                  <a:pt x="114" y="69"/>
                </a:cubicBezTo>
                <a:cubicBezTo>
                  <a:pt x="110" y="69"/>
                  <a:pt x="110" y="69"/>
                  <a:pt x="110" y="69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6" y="61"/>
                  <a:pt x="106" y="61"/>
                  <a:pt x="106" y="61"/>
                </a:cubicBezTo>
                <a:cubicBezTo>
                  <a:pt x="106" y="52"/>
                  <a:pt x="106" y="52"/>
                  <a:pt x="106" y="52"/>
                </a:cubicBezTo>
                <a:cubicBezTo>
                  <a:pt x="104" y="52"/>
                  <a:pt x="104" y="52"/>
                  <a:pt x="104" y="52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103" y="58"/>
                  <a:pt x="103" y="58"/>
                  <a:pt x="103" y="58"/>
                </a:cubicBezTo>
                <a:cubicBezTo>
                  <a:pt x="102" y="58"/>
                  <a:pt x="102" y="58"/>
                  <a:pt x="102" y="58"/>
                </a:cubicBezTo>
                <a:cubicBezTo>
                  <a:pt x="101" y="58"/>
                  <a:pt x="101" y="58"/>
                  <a:pt x="101" y="58"/>
                </a:cubicBezTo>
                <a:cubicBezTo>
                  <a:pt x="101" y="65"/>
                  <a:pt x="101" y="65"/>
                  <a:pt x="101" y="65"/>
                </a:cubicBezTo>
                <a:cubicBezTo>
                  <a:pt x="99" y="65"/>
                  <a:pt x="99" y="65"/>
                  <a:pt x="99" y="65"/>
                </a:cubicBezTo>
                <a:cubicBezTo>
                  <a:pt x="99" y="69"/>
                  <a:pt x="99" y="69"/>
                  <a:pt x="99" y="69"/>
                </a:cubicBezTo>
                <a:cubicBezTo>
                  <a:pt x="97" y="69"/>
                  <a:pt x="97" y="69"/>
                  <a:pt x="97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94" y="67"/>
                  <a:pt x="94" y="67"/>
                  <a:pt x="94" y="67"/>
                </a:cubicBezTo>
                <a:cubicBezTo>
                  <a:pt x="94" y="65"/>
                  <a:pt x="94" y="65"/>
                  <a:pt x="94" y="65"/>
                </a:cubicBezTo>
                <a:cubicBezTo>
                  <a:pt x="92" y="65"/>
                  <a:pt x="92" y="65"/>
                  <a:pt x="92" y="65"/>
                </a:cubicBezTo>
                <a:cubicBezTo>
                  <a:pt x="92" y="58"/>
                  <a:pt x="92" y="58"/>
                  <a:pt x="92" y="58"/>
                </a:cubicBezTo>
                <a:cubicBezTo>
                  <a:pt x="90" y="58"/>
                  <a:pt x="90" y="58"/>
                  <a:pt x="90" y="58"/>
                </a:cubicBezTo>
                <a:cubicBezTo>
                  <a:pt x="90" y="55"/>
                  <a:pt x="90" y="55"/>
                  <a:pt x="90" y="55"/>
                </a:cubicBezTo>
                <a:cubicBezTo>
                  <a:pt x="90" y="52"/>
                  <a:pt x="90" y="52"/>
                  <a:pt x="90" y="52"/>
                </a:cubicBezTo>
                <a:cubicBezTo>
                  <a:pt x="89" y="52"/>
                  <a:pt x="89" y="52"/>
                  <a:pt x="89" y="52"/>
                </a:cubicBezTo>
                <a:cubicBezTo>
                  <a:pt x="88" y="52"/>
                  <a:pt x="88" y="52"/>
                  <a:pt x="88" y="52"/>
                </a:cubicBezTo>
                <a:cubicBezTo>
                  <a:pt x="88" y="61"/>
                  <a:pt x="88" y="61"/>
                  <a:pt x="88" y="61"/>
                </a:cubicBezTo>
                <a:cubicBezTo>
                  <a:pt x="88" y="69"/>
                  <a:pt x="88" y="69"/>
                  <a:pt x="88" y="69"/>
                </a:cubicBezTo>
                <a:cubicBezTo>
                  <a:pt x="84" y="69"/>
                  <a:pt x="84" y="69"/>
                  <a:pt x="84" y="69"/>
                </a:cubicBezTo>
                <a:cubicBezTo>
                  <a:pt x="83" y="69"/>
                  <a:pt x="83" y="69"/>
                  <a:pt x="83" y="69"/>
                </a:cubicBezTo>
                <a:cubicBezTo>
                  <a:pt x="79" y="69"/>
                  <a:pt x="79" y="69"/>
                  <a:pt x="79" y="69"/>
                </a:cubicBezTo>
                <a:cubicBezTo>
                  <a:pt x="75" y="69"/>
                  <a:pt x="75" y="69"/>
                  <a:pt x="75" y="69"/>
                </a:cubicBezTo>
                <a:cubicBezTo>
                  <a:pt x="71" y="69"/>
                  <a:pt x="71" y="69"/>
                  <a:pt x="71" y="69"/>
                </a:cubicBezTo>
                <a:cubicBezTo>
                  <a:pt x="67" y="69"/>
                  <a:pt x="67" y="69"/>
                  <a:pt x="67" y="69"/>
                </a:cubicBezTo>
                <a:cubicBezTo>
                  <a:pt x="66" y="69"/>
                  <a:pt x="66" y="69"/>
                  <a:pt x="66" y="69"/>
                </a:cubicBezTo>
                <a:cubicBezTo>
                  <a:pt x="66" y="65"/>
                  <a:pt x="66" y="65"/>
                  <a:pt x="66" y="65"/>
                </a:cubicBezTo>
                <a:cubicBezTo>
                  <a:pt x="66" y="60"/>
                  <a:pt x="66" y="60"/>
                  <a:pt x="66" y="60"/>
                </a:cubicBezTo>
                <a:cubicBezTo>
                  <a:pt x="61" y="60"/>
                  <a:pt x="61" y="60"/>
                  <a:pt x="61" y="60"/>
                </a:cubicBezTo>
                <a:cubicBezTo>
                  <a:pt x="55" y="60"/>
                  <a:pt x="55" y="60"/>
                  <a:pt x="55" y="60"/>
                </a:cubicBezTo>
                <a:cubicBezTo>
                  <a:pt x="55" y="65"/>
                  <a:pt x="55" y="65"/>
                  <a:pt x="55" y="65"/>
                </a:cubicBezTo>
                <a:cubicBezTo>
                  <a:pt x="55" y="69"/>
                  <a:pt x="55" y="69"/>
                  <a:pt x="55" y="69"/>
                </a:cubicBezTo>
                <a:cubicBezTo>
                  <a:pt x="51" y="69"/>
                  <a:pt x="51" y="69"/>
                  <a:pt x="51" y="69"/>
                </a:cubicBezTo>
                <a:cubicBezTo>
                  <a:pt x="46" y="69"/>
                  <a:pt x="46" y="69"/>
                  <a:pt x="46" y="69"/>
                </a:cubicBezTo>
                <a:cubicBezTo>
                  <a:pt x="46" y="65"/>
                  <a:pt x="46" y="65"/>
                  <a:pt x="46" y="65"/>
                </a:cubicBezTo>
                <a:cubicBezTo>
                  <a:pt x="46" y="61"/>
                  <a:pt x="46" y="61"/>
                  <a:pt x="46" y="61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52"/>
                  <a:pt x="49" y="52"/>
                  <a:pt x="49" y="52"/>
                </a:cubicBezTo>
                <a:cubicBezTo>
                  <a:pt x="51" y="52"/>
                  <a:pt x="51" y="52"/>
                  <a:pt x="51" y="52"/>
                </a:cubicBezTo>
                <a:cubicBezTo>
                  <a:pt x="51" y="43"/>
                  <a:pt x="51" y="43"/>
                  <a:pt x="51" y="43"/>
                </a:cubicBezTo>
                <a:cubicBezTo>
                  <a:pt x="52" y="43"/>
                  <a:pt x="52" y="43"/>
                  <a:pt x="52" y="43"/>
                </a:cubicBezTo>
                <a:cubicBezTo>
                  <a:pt x="53" y="43"/>
                  <a:pt x="53" y="43"/>
                  <a:pt x="53" y="43"/>
                </a:cubicBezTo>
                <a:cubicBezTo>
                  <a:pt x="53" y="39"/>
                  <a:pt x="53" y="39"/>
                  <a:pt x="53" y="39"/>
                </a:cubicBezTo>
                <a:cubicBezTo>
                  <a:pt x="53" y="34"/>
                  <a:pt x="53" y="34"/>
                  <a:pt x="53" y="34"/>
                </a:cubicBezTo>
                <a:cubicBezTo>
                  <a:pt x="54" y="34"/>
                  <a:pt x="54" y="34"/>
                  <a:pt x="54" y="34"/>
                </a:cubicBezTo>
                <a:cubicBezTo>
                  <a:pt x="55" y="34"/>
                  <a:pt x="55" y="34"/>
                  <a:pt x="55" y="34"/>
                </a:cubicBezTo>
                <a:cubicBezTo>
                  <a:pt x="55" y="31"/>
                  <a:pt x="55" y="31"/>
                  <a:pt x="55" y="31"/>
                </a:cubicBezTo>
                <a:cubicBezTo>
                  <a:pt x="55" y="28"/>
                  <a:pt x="55" y="28"/>
                  <a:pt x="55" y="28"/>
                </a:cubicBezTo>
                <a:cubicBezTo>
                  <a:pt x="61" y="28"/>
                  <a:pt x="61" y="28"/>
                  <a:pt x="61" y="28"/>
                </a:cubicBezTo>
                <a:cubicBezTo>
                  <a:pt x="66" y="28"/>
                  <a:pt x="66" y="28"/>
                  <a:pt x="66" y="28"/>
                </a:cubicBezTo>
                <a:cubicBezTo>
                  <a:pt x="66" y="31"/>
                  <a:pt x="66" y="31"/>
                  <a:pt x="66" y="31"/>
                </a:cubicBezTo>
                <a:cubicBezTo>
                  <a:pt x="66" y="34"/>
                  <a:pt x="66" y="34"/>
                  <a:pt x="66" y="34"/>
                </a:cubicBezTo>
                <a:cubicBezTo>
                  <a:pt x="68" y="34"/>
                  <a:pt x="68" y="34"/>
                  <a:pt x="68" y="34"/>
                </a:cubicBezTo>
                <a:cubicBezTo>
                  <a:pt x="81" y="34"/>
                  <a:pt x="81" y="34"/>
                  <a:pt x="81" y="34"/>
                </a:cubicBezTo>
                <a:cubicBezTo>
                  <a:pt x="81" y="28"/>
                  <a:pt x="81" y="28"/>
                  <a:pt x="81" y="28"/>
                </a:cubicBezTo>
                <a:cubicBezTo>
                  <a:pt x="81" y="28"/>
                  <a:pt x="84" y="28"/>
                  <a:pt x="86" y="28"/>
                </a:cubicBezTo>
                <a:cubicBezTo>
                  <a:pt x="90" y="28"/>
                  <a:pt x="90" y="28"/>
                  <a:pt x="90" y="28"/>
                </a:cubicBezTo>
                <a:cubicBezTo>
                  <a:pt x="90" y="37"/>
                  <a:pt x="90" y="37"/>
                  <a:pt x="90" y="37"/>
                </a:cubicBezTo>
                <a:cubicBezTo>
                  <a:pt x="90" y="37"/>
                  <a:pt x="90" y="37"/>
                  <a:pt x="91" y="37"/>
                </a:cubicBezTo>
                <a:cubicBezTo>
                  <a:pt x="92" y="37"/>
                  <a:pt x="92" y="37"/>
                  <a:pt x="92" y="37"/>
                </a:cubicBezTo>
                <a:cubicBezTo>
                  <a:pt x="92" y="40"/>
                  <a:pt x="92" y="40"/>
                  <a:pt x="92" y="40"/>
                </a:cubicBezTo>
                <a:cubicBezTo>
                  <a:pt x="92" y="43"/>
                  <a:pt x="92" y="43"/>
                  <a:pt x="92" y="43"/>
                </a:cubicBezTo>
                <a:cubicBezTo>
                  <a:pt x="93" y="43"/>
                  <a:pt x="93" y="43"/>
                  <a:pt x="93" y="43"/>
                </a:cubicBezTo>
                <a:cubicBezTo>
                  <a:pt x="94" y="43"/>
                  <a:pt x="94" y="43"/>
                  <a:pt x="94" y="43"/>
                </a:cubicBezTo>
                <a:cubicBezTo>
                  <a:pt x="94" y="50"/>
                  <a:pt x="94" y="50"/>
                  <a:pt x="94" y="50"/>
                </a:cubicBezTo>
                <a:cubicBezTo>
                  <a:pt x="94" y="50"/>
                  <a:pt x="94" y="50"/>
                  <a:pt x="97" y="50"/>
                </a:cubicBezTo>
                <a:cubicBezTo>
                  <a:pt x="98" y="50"/>
                  <a:pt x="99" y="50"/>
                  <a:pt x="99" y="50"/>
                </a:cubicBezTo>
                <a:cubicBezTo>
                  <a:pt x="99" y="43"/>
                  <a:pt x="99" y="43"/>
                  <a:pt x="99" y="43"/>
                </a:cubicBezTo>
                <a:cubicBezTo>
                  <a:pt x="100" y="43"/>
                  <a:pt x="100" y="43"/>
                  <a:pt x="100" y="43"/>
                </a:cubicBezTo>
                <a:cubicBezTo>
                  <a:pt x="101" y="43"/>
                  <a:pt x="101" y="43"/>
                  <a:pt x="101" y="43"/>
                </a:cubicBezTo>
                <a:cubicBezTo>
                  <a:pt x="101" y="40"/>
                  <a:pt x="101" y="40"/>
                  <a:pt x="101" y="40"/>
                </a:cubicBezTo>
                <a:cubicBezTo>
                  <a:pt x="101" y="37"/>
                  <a:pt x="101" y="37"/>
                  <a:pt x="101" y="37"/>
                </a:cubicBezTo>
                <a:cubicBezTo>
                  <a:pt x="102" y="37"/>
                  <a:pt x="102" y="37"/>
                  <a:pt x="102" y="37"/>
                </a:cubicBezTo>
                <a:cubicBezTo>
                  <a:pt x="103" y="37"/>
                  <a:pt x="103" y="37"/>
                  <a:pt x="103" y="37"/>
                </a:cubicBezTo>
                <a:cubicBezTo>
                  <a:pt x="103" y="32"/>
                  <a:pt x="103" y="32"/>
                  <a:pt x="103" y="32"/>
                </a:cubicBezTo>
                <a:cubicBezTo>
                  <a:pt x="103" y="28"/>
                  <a:pt x="103" y="28"/>
                  <a:pt x="103" y="28"/>
                </a:cubicBezTo>
                <a:cubicBezTo>
                  <a:pt x="108" y="28"/>
                  <a:pt x="108" y="28"/>
                  <a:pt x="108" y="28"/>
                </a:cubicBezTo>
                <a:cubicBezTo>
                  <a:pt x="112" y="28"/>
                  <a:pt x="112" y="28"/>
                  <a:pt x="112" y="28"/>
                </a:cubicBezTo>
                <a:cubicBezTo>
                  <a:pt x="112" y="50"/>
                  <a:pt x="112" y="50"/>
                  <a:pt x="112" y="50"/>
                </a:cubicBezTo>
                <a:cubicBezTo>
                  <a:pt x="112" y="50"/>
                  <a:pt x="113" y="50"/>
                  <a:pt x="113" y="50"/>
                </a:cubicBezTo>
                <a:cubicBezTo>
                  <a:pt x="114" y="50"/>
                  <a:pt x="114" y="50"/>
                  <a:pt x="114" y="50"/>
                </a:cubicBezTo>
                <a:cubicBezTo>
                  <a:pt x="118" y="50"/>
                  <a:pt x="118" y="50"/>
                  <a:pt x="118" y="50"/>
                </a:cubicBezTo>
                <a:cubicBezTo>
                  <a:pt x="118" y="49"/>
                  <a:pt x="118" y="49"/>
                  <a:pt x="118" y="49"/>
                </a:cubicBezTo>
                <a:cubicBezTo>
                  <a:pt x="118" y="32"/>
                  <a:pt x="118" y="28"/>
                  <a:pt x="119" y="28"/>
                </a:cubicBezTo>
                <a:cubicBezTo>
                  <a:pt x="119" y="28"/>
                  <a:pt x="123" y="28"/>
                  <a:pt x="127" y="28"/>
                </a:cubicBezTo>
                <a:cubicBezTo>
                  <a:pt x="136" y="28"/>
                  <a:pt x="136" y="28"/>
                  <a:pt x="136" y="28"/>
                </a:cubicBezTo>
                <a:cubicBezTo>
                  <a:pt x="136" y="31"/>
                  <a:pt x="136" y="31"/>
                  <a:pt x="136" y="31"/>
                </a:cubicBezTo>
                <a:cubicBezTo>
                  <a:pt x="136" y="34"/>
                  <a:pt x="136" y="34"/>
                  <a:pt x="136" y="34"/>
                </a:cubicBezTo>
                <a:cubicBezTo>
                  <a:pt x="132" y="34"/>
                  <a:pt x="132" y="34"/>
                  <a:pt x="132" y="34"/>
                </a:cubicBezTo>
                <a:cubicBezTo>
                  <a:pt x="127" y="34"/>
                  <a:pt x="127" y="34"/>
                  <a:pt x="127" y="34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27" y="45"/>
                  <a:pt x="127" y="45"/>
                  <a:pt x="127" y="45"/>
                </a:cubicBezTo>
                <a:cubicBezTo>
                  <a:pt x="131" y="45"/>
                  <a:pt x="131" y="45"/>
                  <a:pt x="131" y="45"/>
                </a:cubicBezTo>
                <a:cubicBezTo>
                  <a:pt x="136" y="45"/>
                  <a:pt x="136" y="45"/>
                  <a:pt x="136" y="45"/>
                </a:cubicBezTo>
                <a:cubicBezTo>
                  <a:pt x="136" y="49"/>
                  <a:pt x="136" y="49"/>
                  <a:pt x="136" y="49"/>
                </a:cubicBezTo>
                <a:cubicBezTo>
                  <a:pt x="136" y="52"/>
                  <a:pt x="136" y="52"/>
                  <a:pt x="136" y="52"/>
                </a:cubicBezTo>
                <a:cubicBezTo>
                  <a:pt x="131" y="52"/>
                  <a:pt x="131" y="52"/>
                  <a:pt x="131" y="52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7"/>
                  <a:pt x="127" y="57"/>
                  <a:pt x="127" y="57"/>
                </a:cubicBezTo>
                <a:cubicBezTo>
                  <a:pt x="127" y="63"/>
                  <a:pt x="127" y="63"/>
                  <a:pt x="127" y="63"/>
                </a:cubicBezTo>
                <a:cubicBezTo>
                  <a:pt x="131" y="63"/>
                  <a:pt x="131" y="63"/>
                  <a:pt x="131" y="63"/>
                </a:cubicBezTo>
                <a:cubicBezTo>
                  <a:pt x="136" y="63"/>
                  <a:pt x="136" y="63"/>
                  <a:pt x="136" y="63"/>
                </a:cubicBezTo>
                <a:cubicBezTo>
                  <a:pt x="136" y="66"/>
                  <a:pt x="136" y="66"/>
                  <a:pt x="136" y="66"/>
                </a:cubicBezTo>
                <a:cubicBezTo>
                  <a:pt x="154" y="66"/>
                  <a:pt x="154" y="66"/>
                  <a:pt x="154" y="66"/>
                </a:cubicBezTo>
                <a:cubicBezTo>
                  <a:pt x="154" y="20"/>
                  <a:pt x="154" y="20"/>
                  <a:pt x="154" y="20"/>
                </a:cubicBezTo>
                <a:cubicBezTo>
                  <a:pt x="154" y="9"/>
                  <a:pt x="145" y="0"/>
                  <a:pt x="134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4"/>
                  <a:pt x="0" y="34"/>
                  <a:pt x="0" y="34"/>
                </a:cubicBezTo>
                <a:cubicBezTo>
                  <a:pt x="21" y="34"/>
                  <a:pt x="21" y="34"/>
                  <a:pt x="21" y="34"/>
                </a:cubicBezTo>
                <a:cubicBezTo>
                  <a:pt x="21" y="33"/>
                  <a:pt x="21" y="33"/>
                  <a:pt x="21" y="33"/>
                </a:cubicBezTo>
                <a:cubicBezTo>
                  <a:pt x="21" y="32"/>
                  <a:pt x="21" y="32"/>
                  <a:pt x="21" y="32"/>
                </a:cubicBezTo>
                <a:cubicBezTo>
                  <a:pt x="22" y="32"/>
                  <a:pt x="22" y="32"/>
                  <a:pt x="22" y="32"/>
                </a:cubicBezTo>
                <a:cubicBezTo>
                  <a:pt x="23" y="32"/>
                  <a:pt x="23" y="32"/>
                  <a:pt x="23" y="32"/>
                </a:cubicBezTo>
                <a:cubicBezTo>
                  <a:pt x="23" y="31"/>
                  <a:pt x="23" y="31"/>
                  <a:pt x="23" y="31"/>
                </a:cubicBezTo>
                <a:cubicBezTo>
                  <a:pt x="23" y="30"/>
                  <a:pt x="23" y="30"/>
                  <a:pt x="23" y="30"/>
                </a:cubicBezTo>
                <a:cubicBezTo>
                  <a:pt x="25" y="30"/>
                  <a:pt x="25" y="30"/>
                  <a:pt x="25" y="30"/>
                </a:cubicBezTo>
                <a:cubicBezTo>
                  <a:pt x="28" y="30"/>
                  <a:pt x="28" y="30"/>
                  <a:pt x="28" y="30"/>
                </a:cubicBezTo>
                <a:cubicBezTo>
                  <a:pt x="28" y="29"/>
                  <a:pt x="28" y="29"/>
                  <a:pt x="28" y="29"/>
                </a:cubicBezTo>
                <a:cubicBezTo>
                  <a:pt x="28" y="28"/>
                  <a:pt x="28" y="28"/>
                  <a:pt x="28" y="28"/>
                </a:cubicBezTo>
                <a:cubicBezTo>
                  <a:pt x="31" y="28"/>
                  <a:pt x="31" y="28"/>
                  <a:pt x="31" y="28"/>
                </a:cubicBezTo>
                <a:cubicBezTo>
                  <a:pt x="34" y="28"/>
                  <a:pt x="34" y="28"/>
                  <a:pt x="34" y="28"/>
                </a:cubicBezTo>
                <a:cubicBezTo>
                  <a:pt x="34" y="29"/>
                  <a:pt x="34" y="29"/>
                  <a:pt x="34" y="29"/>
                </a:cubicBezTo>
                <a:cubicBezTo>
                  <a:pt x="34" y="30"/>
                  <a:pt x="34" y="30"/>
                  <a:pt x="34" y="30"/>
                </a:cubicBezTo>
                <a:cubicBezTo>
                  <a:pt x="36" y="30"/>
                  <a:pt x="36" y="30"/>
                  <a:pt x="36" y="30"/>
                </a:cubicBezTo>
                <a:cubicBezTo>
                  <a:pt x="39" y="30"/>
                  <a:pt x="39" y="30"/>
                  <a:pt x="39" y="30"/>
                </a:cubicBezTo>
                <a:cubicBezTo>
                  <a:pt x="39" y="31"/>
                  <a:pt x="39" y="31"/>
                  <a:pt x="39" y="31"/>
                </a:cubicBezTo>
                <a:cubicBezTo>
                  <a:pt x="39" y="32"/>
                  <a:pt x="39" y="32"/>
                  <a:pt x="39" y="32"/>
                </a:cubicBezTo>
                <a:cubicBezTo>
                  <a:pt x="40" y="32"/>
                  <a:pt x="40" y="32"/>
                  <a:pt x="40" y="32"/>
                </a:cubicBezTo>
                <a:cubicBezTo>
                  <a:pt x="41" y="32"/>
                  <a:pt x="41" y="32"/>
                  <a:pt x="41" y="32"/>
                </a:cubicBezTo>
                <a:cubicBezTo>
                  <a:pt x="41" y="34"/>
                  <a:pt x="41" y="34"/>
                  <a:pt x="41" y="34"/>
                </a:cubicBezTo>
                <a:cubicBezTo>
                  <a:pt x="41" y="36"/>
                  <a:pt x="41" y="36"/>
                  <a:pt x="41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8"/>
                  <a:pt x="39" y="38"/>
                  <a:pt x="39" y="38"/>
                </a:cubicBezTo>
                <a:cubicBezTo>
                  <a:pt x="37" y="38"/>
                  <a:pt x="37" y="38"/>
                  <a:pt x="37" y="38"/>
                </a:cubicBezTo>
                <a:cubicBezTo>
                  <a:pt x="35" y="38"/>
                  <a:pt x="35" y="38"/>
                  <a:pt x="35" y="38"/>
                </a:cubicBezTo>
                <a:cubicBezTo>
                  <a:pt x="35" y="36"/>
                  <a:pt x="35" y="36"/>
                  <a:pt x="35" y="36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41"/>
                  <a:pt x="27" y="41"/>
                  <a:pt x="27" y="41"/>
                </a:cubicBezTo>
                <a:cubicBezTo>
                  <a:pt x="26" y="41"/>
                  <a:pt x="26" y="41"/>
                  <a:pt x="26" y="41"/>
                </a:cubicBezTo>
                <a:cubicBezTo>
                  <a:pt x="25" y="41"/>
                  <a:pt x="25" y="41"/>
                  <a:pt x="25" y="41"/>
                </a:cubicBezTo>
                <a:cubicBezTo>
                  <a:pt x="25" y="49"/>
                  <a:pt x="25" y="49"/>
                  <a:pt x="25" y="49"/>
                </a:cubicBezTo>
                <a:cubicBezTo>
                  <a:pt x="25" y="56"/>
                  <a:pt x="25" y="56"/>
                  <a:pt x="25" y="56"/>
                </a:cubicBezTo>
                <a:cubicBezTo>
                  <a:pt x="27" y="56"/>
                  <a:pt x="27" y="56"/>
                  <a:pt x="27" y="56"/>
                </a:cubicBezTo>
                <a:cubicBezTo>
                  <a:pt x="27" y="61"/>
                  <a:pt x="27" y="61"/>
                  <a:pt x="27" y="61"/>
                </a:cubicBezTo>
                <a:cubicBezTo>
                  <a:pt x="35" y="61"/>
                  <a:pt x="35" y="61"/>
                  <a:pt x="35" y="61"/>
                </a:cubicBezTo>
                <a:cubicBezTo>
                  <a:pt x="35" y="54"/>
                  <a:pt x="35" y="54"/>
                  <a:pt x="35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47"/>
                  <a:pt x="30" y="47"/>
                  <a:pt x="30" y="47"/>
                </a:cubicBezTo>
                <a:cubicBezTo>
                  <a:pt x="43" y="47"/>
                  <a:pt x="43" y="47"/>
                  <a:pt x="43" y="47"/>
                </a:cubicBezTo>
                <a:cubicBezTo>
                  <a:pt x="43" y="54"/>
                  <a:pt x="43" y="54"/>
                  <a:pt x="43" y="54"/>
                </a:cubicBezTo>
                <a:cubicBezTo>
                  <a:pt x="43" y="60"/>
                  <a:pt x="43" y="60"/>
                  <a:pt x="43" y="60"/>
                </a:cubicBezTo>
                <a:cubicBezTo>
                  <a:pt x="42" y="60"/>
                  <a:pt x="42" y="60"/>
                  <a:pt x="42" y="60"/>
                </a:cubicBezTo>
                <a:cubicBezTo>
                  <a:pt x="41" y="60"/>
                  <a:pt x="41" y="60"/>
                  <a:pt x="41" y="60"/>
                </a:cubicBezTo>
                <a:cubicBezTo>
                  <a:pt x="41" y="65"/>
                  <a:pt x="41" y="65"/>
                  <a:pt x="41" y="65"/>
                </a:cubicBezTo>
                <a:cubicBezTo>
                  <a:pt x="39" y="65"/>
                  <a:pt x="39" y="65"/>
                  <a:pt x="39" y="65"/>
                </a:cubicBezTo>
                <a:cubicBezTo>
                  <a:pt x="39" y="67"/>
                  <a:pt x="39" y="67"/>
                  <a:pt x="39" y="67"/>
                </a:cubicBezTo>
                <a:cubicBezTo>
                  <a:pt x="36" y="67"/>
                  <a:pt x="36" y="67"/>
                  <a:pt x="36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34" y="68"/>
                  <a:pt x="34" y="68"/>
                  <a:pt x="34" y="68"/>
                </a:cubicBezTo>
                <a:cubicBezTo>
                  <a:pt x="34" y="69"/>
                  <a:pt x="34" y="69"/>
                  <a:pt x="34" y="69"/>
                </a:cubicBezTo>
                <a:cubicBezTo>
                  <a:pt x="31" y="69"/>
                  <a:pt x="31" y="69"/>
                  <a:pt x="31" y="69"/>
                </a:cubicBezTo>
                <a:cubicBezTo>
                  <a:pt x="28" y="69"/>
                  <a:pt x="28" y="69"/>
                  <a:pt x="28" y="69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7"/>
                  <a:pt x="28" y="67"/>
                  <a:pt x="28" y="67"/>
                </a:cubicBezTo>
                <a:cubicBezTo>
                  <a:pt x="25" y="67"/>
                  <a:pt x="25" y="67"/>
                  <a:pt x="25" y="67"/>
                </a:cubicBezTo>
                <a:cubicBezTo>
                  <a:pt x="23" y="67"/>
                  <a:pt x="23" y="67"/>
                  <a:pt x="23" y="67"/>
                </a:cubicBezTo>
                <a:cubicBezTo>
                  <a:pt x="23" y="65"/>
                  <a:pt x="23" y="65"/>
                  <a:pt x="23" y="65"/>
                </a:cubicBezTo>
                <a:cubicBezTo>
                  <a:pt x="21" y="65"/>
                  <a:pt x="21" y="65"/>
                  <a:pt x="21" y="65"/>
                </a:cubicBezTo>
                <a:cubicBezTo>
                  <a:pt x="21" y="63"/>
                  <a:pt x="21" y="63"/>
                  <a:pt x="21" y="63"/>
                </a:cubicBezTo>
                <a:cubicBezTo>
                  <a:pt x="18" y="63"/>
                  <a:pt x="18" y="63"/>
                  <a:pt x="18" y="63"/>
                </a:cubicBezTo>
                <a:cubicBezTo>
                  <a:pt x="18" y="56"/>
                  <a:pt x="18" y="56"/>
                  <a:pt x="1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85"/>
                  <a:pt x="0" y="85"/>
                  <a:pt x="0" y="85"/>
                </a:cubicBezTo>
                <a:cubicBezTo>
                  <a:pt x="28" y="85"/>
                  <a:pt x="28" y="85"/>
                  <a:pt x="28" y="85"/>
                </a:cubicBezTo>
                <a:cubicBezTo>
                  <a:pt x="29" y="85"/>
                  <a:pt x="29" y="85"/>
                  <a:pt x="29" y="85"/>
                </a:cubicBezTo>
                <a:cubicBezTo>
                  <a:pt x="32" y="85"/>
                  <a:pt x="32" y="85"/>
                  <a:pt x="32" y="85"/>
                </a:cubicBezTo>
                <a:cubicBezTo>
                  <a:pt x="35" y="85"/>
                  <a:pt x="35" y="85"/>
                  <a:pt x="35" y="85"/>
                </a:cubicBezTo>
                <a:cubicBezTo>
                  <a:pt x="35" y="86"/>
                  <a:pt x="35" y="86"/>
                  <a:pt x="35" y="86"/>
                </a:cubicBezTo>
                <a:cubicBezTo>
                  <a:pt x="35" y="87"/>
                  <a:pt x="35" y="87"/>
                  <a:pt x="35" y="87"/>
                </a:cubicBezTo>
                <a:cubicBezTo>
                  <a:pt x="38" y="87"/>
                  <a:pt x="38" y="87"/>
                  <a:pt x="38" y="87"/>
                </a:cubicBezTo>
                <a:cubicBezTo>
                  <a:pt x="41" y="87"/>
                  <a:pt x="41" y="87"/>
                  <a:pt x="41" y="87"/>
                </a:cubicBezTo>
                <a:cubicBezTo>
                  <a:pt x="41" y="88"/>
                  <a:pt x="41" y="88"/>
                  <a:pt x="41" y="88"/>
                </a:cubicBezTo>
                <a:cubicBezTo>
                  <a:pt x="41" y="89"/>
                  <a:pt x="41" y="89"/>
                  <a:pt x="41" y="89"/>
                </a:cubicBezTo>
                <a:cubicBezTo>
                  <a:pt x="42" y="89"/>
                  <a:pt x="42" y="89"/>
                  <a:pt x="42" y="89"/>
                </a:cubicBezTo>
                <a:cubicBezTo>
                  <a:pt x="43" y="89"/>
                  <a:pt x="43" y="89"/>
                  <a:pt x="43" y="89"/>
                </a:cubicBezTo>
                <a:cubicBezTo>
                  <a:pt x="43" y="90"/>
                  <a:pt x="43" y="90"/>
                  <a:pt x="43" y="90"/>
                </a:cubicBezTo>
                <a:cubicBezTo>
                  <a:pt x="43" y="91"/>
                  <a:pt x="43" y="91"/>
                  <a:pt x="43" y="91"/>
                </a:cubicBezTo>
                <a:cubicBezTo>
                  <a:pt x="44" y="91"/>
                  <a:pt x="44" y="91"/>
                  <a:pt x="44" y="91"/>
                </a:cubicBezTo>
                <a:cubicBezTo>
                  <a:pt x="45" y="91"/>
                  <a:pt x="45" y="91"/>
                  <a:pt x="45" y="91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98"/>
                  <a:pt x="45" y="98"/>
                  <a:pt x="45" y="98"/>
                </a:cubicBezTo>
                <a:cubicBezTo>
                  <a:pt x="46" y="98"/>
                  <a:pt x="46" y="98"/>
                  <a:pt x="46" y="98"/>
                </a:cubicBezTo>
                <a:cubicBezTo>
                  <a:pt x="47" y="98"/>
                  <a:pt x="47" y="98"/>
                  <a:pt x="47" y="98"/>
                </a:cubicBezTo>
                <a:cubicBezTo>
                  <a:pt x="47" y="105"/>
                  <a:pt x="47" y="105"/>
                  <a:pt x="47" y="105"/>
                </a:cubicBezTo>
                <a:cubicBezTo>
                  <a:pt x="47" y="113"/>
                  <a:pt x="47" y="113"/>
                  <a:pt x="47" y="113"/>
                </a:cubicBezTo>
                <a:cubicBezTo>
                  <a:pt x="46" y="113"/>
                  <a:pt x="46" y="113"/>
                  <a:pt x="46" y="113"/>
                </a:cubicBezTo>
                <a:cubicBezTo>
                  <a:pt x="45" y="113"/>
                  <a:pt x="45" y="113"/>
                  <a:pt x="45" y="113"/>
                </a:cubicBezTo>
                <a:cubicBezTo>
                  <a:pt x="45" y="116"/>
                  <a:pt x="45" y="116"/>
                  <a:pt x="45" y="116"/>
                </a:cubicBezTo>
                <a:cubicBezTo>
                  <a:pt x="45" y="120"/>
                  <a:pt x="45" y="120"/>
                  <a:pt x="45" y="120"/>
                </a:cubicBezTo>
                <a:cubicBezTo>
                  <a:pt x="44" y="120"/>
                  <a:pt x="44" y="120"/>
                  <a:pt x="44" y="120"/>
                </a:cubicBezTo>
                <a:cubicBezTo>
                  <a:pt x="43" y="120"/>
                  <a:pt x="43" y="120"/>
                  <a:pt x="43" y="120"/>
                </a:cubicBezTo>
                <a:cubicBezTo>
                  <a:pt x="43" y="121"/>
                  <a:pt x="43" y="121"/>
                  <a:pt x="43" y="121"/>
                </a:cubicBezTo>
                <a:cubicBezTo>
                  <a:pt x="43" y="122"/>
                  <a:pt x="43" y="122"/>
                  <a:pt x="43" y="122"/>
                </a:cubicBezTo>
                <a:cubicBezTo>
                  <a:pt x="42" y="122"/>
                  <a:pt x="42" y="122"/>
                  <a:pt x="42" y="122"/>
                </a:cubicBezTo>
                <a:cubicBezTo>
                  <a:pt x="41" y="122"/>
                  <a:pt x="41" y="122"/>
                  <a:pt x="41" y="122"/>
                </a:cubicBezTo>
                <a:cubicBezTo>
                  <a:pt x="41" y="124"/>
                  <a:pt x="41" y="124"/>
                  <a:pt x="41" y="124"/>
                </a:cubicBezTo>
                <a:cubicBezTo>
                  <a:pt x="41" y="124"/>
                  <a:pt x="39" y="124"/>
                  <a:pt x="38" y="124"/>
                </a:cubicBezTo>
                <a:cubicBezTo>
                  <a:pt x="35" y="124"/>
                  <a:pt x="35" y="124"/>
                  <a:pt x="35" y="124"/>
                </a:cubicBezTo>
                <a:cubicBezTo>
                  <a:pt x="35" y="125"/>
                  <a:pt x="35" y="125"/>
                  <a:pt x="35" y="125"/>
                </a:cubicBezTo>
                <a:cubicBezTo>
                  <a:pt x="35" y="126"/>
                  <a:pt x="35" y="126"/>
                  <a:pt x="35" y="126"/>
                </a:cubicBezTo>
                <a:cubicBezTo>
                  <a:pt x="32" y="126"/>
                  <a:pt x="32" y="126"/>
                  <a:pt x="32" y="126"/>
                </a:cubicBezTo>
                <a:cubicBezTo>
                  <a:pt x="28" y="126"/>
                  <a:pt x="28" y="126"/>
                  <a:pt x="28" y="126"/>
                </a:cubicBezTo>
                <a:cubicBezTo>
                  <a:pt x="28" y="125"/>
                  <a:pt x="28" y="125"/>
                  <a:pt x="28" y="125"/>
                </a:cubicBezTo>
                <a:cubicBezTo>
                  <a:pt x="28" y="124"/>
                  <a:pt x="28" y="124"/>
                  <a:pt x="28" y="124"/>
                </a:cubicBezTo>
                <a:cubicBezTo>
                  <a:pt x="26" y="124"/>
                  <a:pt x="26" y="124"/>
                  <a:pt x="26" y="124"/>
                </a:cubicBezTo>
                <a:cubicBezTo>
                  <a:pt x="24" y="124"/>
                  <a:pt x="24" y="124"/>
                  <a:pt x="24" y="124"/>
                </a:cubicBezTo>
                <a:cubicBezTo>
                  <a:pt x="24" y="123"/>
                  <a:pt x="24" y="123"/>
                  <a:pt x="24" y="123"/>
                </a:cubicBezTo>
                <a:cubicBezTo>
                  <a:pt x="24" y="122"/>
                  <a:pt x="24" y="122"/>
                  <a:pt x="24" y="122"/>
                </a:cubicBezTo>
                <a:cubicBezTo>
                  <a:pt x="22" y="122"/>
                  <a:pt x="22" y="122"/>
                  <a:pt x="22" y="122"/>
                </a:cubicBezTo>
                <a:cubicBezTo>
                  <a:pt x="21" y="122"/>
                  <a:pt x="21" y="122"/>
                  <a:pt x="21" y="122"/>
                </a:cubicBezTo>
                <a:cubicBezTo>
                  <a:pt x="21" y="120"/>
                  <a:pt x="21" y="120"/>
                  <a:pt x="21" y="120"/>
                </a:cubicBezTo>
                <a:cubicBezTo>
                  <a:pt x="21" y="120"/>
                  <a:pt x="21" y="120"/>
                  <a:pt x="20" y="120"/>
                </a:cubicBezTo>
                <a:cubicBezTo>
                  <a:pt x="18" y="120"/>
                  <a:pt x="18" y="120"/>
                  <a:pt x="18" y="120"/>
                </a:cubicBezTo>
                <a:cubicBezTo>
                  <a:pt x="18" y="116"/>
                  <a:pt x="18" y="116"/>
                  <a:pt x="18" y="116"/>
                </a:cubicBezTo>
                <a:cubicBezTo>
                  <a:pt x="18" y="113"/>
                  <a:pt x="18" y="113"/>
                  <a:pt x="18" y="113"/>
                </a:cubicBezTo>
                <a:cubicBezTo>
                  <a:pt x="0" y="113"/>
                  <a:pt x="0" y="113"/>
                  <a:pt x="0" y="113"/>
                </a:cubicBezTo>
                <a:cubicBezTo>
                  <a:pt x="0" y="134"/>
                  <a:pt x="0" y="134"/>
                  <a:pt x="0" y="134"/>
                </a:cubicBezTo>
                <a:cubicBezTo>
                  <a:pt x="0" y="145"/>
                  <a:pt x="9" y="154"/>
                  <a:pt x="20" y="154"/>
                </a:cubicBezTo>
                <a:cubicBezTo>
                  <a:pt x="134" y="154"/>
                  <a:pt x="134" y="154"/>
                  <a:pt x="134" y="154"/>
                </a:cubicBezTo>
                <a:cubicBezTo>
                  <a:pt x="145" y="154"/>
                  <a:pt x="154" y="145"/>
                  <a:pt x="154" y="134"/>
                </a:cubicBezTo>
                <a:cubicBezTo>
                  <a:pt x="154" y="126"/>
                  <a:pt x="154" y="126"/>
                  <a:pt x="154" y="126"/>
                </a:cubicBezTo>
                <a:lnTo>
                  <a:pt x="125" y="1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7" name="Freeform 249"/>
          <p:cNvSpPr>
            <a:spLocks/>
          </p:cNvSpPr>
          <p:nvPr/>
        </p:nvSpPr>
        <p:spPr bwMode="auto">
          <a:xfrm>
            <a:off x="9804401" y="4809067"/>
            <a:ext cx="38100" cy="93133"/>
          </a:xfrm>
          <a:custGeom>
            <a:avLst/>
            <a:gdLst>
              <a:gd name="T0" fmla="*/ 53147302 w 13"/>
              <a:gd name="T1" fmla="*/ 76154526 h 31"/>
              <a:gd name="T2" fmla="*/ 62810048 w 13"/>
              <a:gd name="T3" fmla="*/ 76154526 h 31"/>
              <a:gd name="T4" fmla="*/ 62810048 w 13"/>
              <a:gd name="T5" fmla="*/ 0 h 31"/>
              <a:gd name="T6" fmla="*/ 0 w 13"/>
              <a:gd name="T7" fmla="*/ 0 h 31"/>
              <a:gd name="T8" fmla="*/ 0 w 13"/>
              <a:gd name="T9" fmla="*/ 40616648 h 31"/>
              <a:gd name="T10" fmla="*/ 9662746 w 13"/>
              <a:gd name="T11" fmla="*/ 40616648 h 31"/>
              <a:gd name="T12" fmla="*/ 14494119 w 13"/>
              <a:gd name="T13" fmla="*/ 40616648 h 31"/>
              <a:gd name="T14" fmla="*/ 14494119 w 13"/>
              <a:gd name="T15" fmla="*/ 66001490 h 31"/>
              <a:gd name="T16" fmla="*/ 14494119 w 13"/>
              <a:gd name="T17" fmla="*/ 86309815 h 31"/>
              <a:gd name="T18" fmla="*/ 19325492 w 13"/>
              <a:gd name="T19" fmla="*/ 86309815 h 31"/>
              <a:gd name="T20" fmla="*/ 24156865 w 13"/>
              <a:gd name="T21" fmla="*/ 86309815 h 31"/>
              <a:gd name="T22" fmla="*/ 24156865 w 13"/>
              <a:gd name="T23" fmla="*/ 106618139 h 31"/>
              <a:gd name="T24" fmla="*/ 24156865 w 13"/>
              <a:gd name="T25" fmla="*/ 132002981 h 31"/>
              <a:gd name="T26" fmla="*/ 28988238 w 13"/>
              <a:gd name="T27" fmla="*/ 132002981 h 31"/>
              <a:gd name="T28" fmla="*/ 33821810 w 13"/>
              <a:gd name="T29" fmla="*/ 132002981 h 31"/>
              <a:gd name="T30" fmla="*/ 33821810 w 13"/>
              <a:gd name="T31" fmla="*/ 157387823 h 31"/>
              <a:gd name="T32" fmla="*/ 53147302 w 13"/>
              <a:gd name="T33" fmla="*/ 157387823 h 31"/>
              <a:gd name="T34" fmla="*/ 53147302 w 13"/>
              <a:gd name="T35" fmla="*/ 126926463 h 31"/>
              <a:gd name="T36" fmla="*/ 53147302 w 13"/>
              <a:gd name="T37" fmla="*/ 76154526 h 3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3" h="31">
                <a:moveTo>
                  <a:pt x="11" y="15"/>
                </a:moveTo>
                <a:cubicBezTo>
                  <a:pt x="13" y="15"/>
                  <a:pt x="13" y="15"/>
                  <a:pt x="13" y="15"/>
                </a:cubicBezTo>
                <a:cubicBezTo>
                  <a:pt x="13" y="0"/>
                  <a:pt x="13" y="0"/>
                  <a:pt x="1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"/>
                  <a:pt x="0" y="8"/>
                  <a:pt x="0" y="8"/>
                </a:cubicBezTo>
                <a:cubicBezTo>
                  <a:pt x="2" y="8"/>
                  <a:pt x="2" y="8"/>
                  <a:pt x="2" y="8"/>
                </a:cubicBezTo>
                <a:cubicBezTo>
                  <a:pt x="3" y="8"/>
                  <a:pt x="3" y="8"/>
                  <a:pt x="3" y="8"/>
                </a:cubicBezTo>
                <a:cubicBezTo>
                  <a:pt x="3" y="13"/>
                  <a:pt x="3" y="13"/>
                  <a:pt x="3" y="13"/>
                </a:cubicBezTo>
                <a:cubicBezTo>
                  <a:pt x="3" y="17"/>
                  <a:pt x="3" y="17"/>
                  <a:pt x="3" y="17"/>
                </a:cubicBezTo>
                <a:cubicBezTo>
                  <a:pt x="4" y="17"/>
                  <a:pt x="4" y="17"/>
                  <a:pt x="4" y="17"/>
                </a:cubicBezTo>
                <a:cubicBezTo>
                  <a:pt x="5" y="17"/>
                  <a:pt x="5" y="17"/>
                  <a:pt x="5" y="17"/>
                </a:cubicBezTo>
                <a:cubicBezTo>
                  <a:pt x="5" y="21"/>
                  <a:pt x="5" y="21"/>
                  <a:pt x="5" y="21"/>
                </a:cubicBezTo>
                <a:cubicBezTo>
                  <a:pt x="5" y="26"/>
                  <a:pt x="5" y="26"/>
                  <a:pt x="5" y="26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6"/>
                  <a:pt x="7" y="26"/>
                  <a:pt x="7" y="26"/>
                </a:cubicBezTo>
                <a:cubicBezTo>
                  <a:pt x="7" y="31"/>
                  <a:pt x="7" y="31"/>
                  <a:pt x="7" y="31"/>
                </a:cubicBezTo>
                <a:cubicBezTo>
                  <a:pt x="11" y="31"/>
                  <a:pt x="11" y="31"/>
                  <a:pt x="11" y="31"/>
                </a:cubicBezTo>
                <a:cubicBezTo>
                  <a:pt x="11" y="25"/>
                  <a:pt x="11" y="25"/>
                  <a:pt x="11" y="25"/>
                </a:cubicBezTo>
                <a:lnTo>
                  <a:pt x="11" y="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8" name="Freeform 250"/>
          <p:cNvSpPr>
            <a:spLocks/>
          </p:cNvSpPr>
          <p:nvPr/>
        </p:nvSpPr>
        <p:spPr bwMode="auto">
          <a:xfrm>
            <a:off x="9770534" y="4817534"/>
            <a:ext cx="21167" cy="48684"/>
          </a:xfrm>
          <a:custGeom>
            <a:avLst/>
            <a:gdLst>
              <a:gd name="T0" fmla="*/ 17641888 w 10"/>
              <a:gd name="T1" fmla="*/ 32763274 h 23"/>
              <a:gd name="T2" fmla="*/ 17641888 w 10"/>
              <a:gd name="T3" fmla="*/ 0 h 23"/>
              <a:gd name="T4" fmla="*/ 10080625 w 10"/>
              <a:gd name="T5" fmla="*/ 0 h 23"/>
              <a:gd name="T6" fmla="*/ 10080625 w 10"/>
              <a:gd name="T7" fmla="*/ 17642129 h 23"/>
              <a:gd name="T8" fmla="*/ 10080625 w 10"/>
              <a:gd name="T9" fmla="*/ 32763274 h 23"/>
              <a:gd name="T10" fmla="*/ 2520950 w 10"/>
              <a:gd name="T11" fmla="*/ 32763274 h 23"/>
              <a:gd name="T12" fmla="*/ 0 w 10"/>
              <a:gd name="T13" fmla="*/ 32763274 h 23"/>
              <a:gd name="T14" fmla="*/ 0 w 10"/>
              <a:gd name="T15" fmla="*/ 47884418 h 23"/>
              <a:gd name="T16" fmla="*/ 0 w 10"/>
              <a:gd name="T17" fmla="*/ 57965181 h 23"/>
              <a:gd name="T18" fmla="*/ 25201563 w 10"/>
              <a:gd name="T19" fmla="*/ 57965181 h 23"/>
              <a:gd name="T20" fmla="*/ 25201563 w 10"/>
              <a:gd name="T21" fmla="*/ 32763274 h 23"/>
              <a:gd name="T22" fmla="*/ 17641888 w 10"/>
              <a:gd name="T23" fmla="*/ 32763274 h 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0" h="23">
                <a:moveTo>
                  <a:pt x="7" y="13"/>
                </a:moveTo>
                <a:lnTo>
                  <a:pt x="7" y="0"/>
                </a:lnTo>
                <a:lnTo>
                  <a:pt x="4" y="0"/>
                </a:lnTo>
                <a:lnTo>
                  <a:pt x="4" y="7"/>
                </a:lnTo>
                <a:lnTo>
                  <a:pt x="4" y="13"/>
                </a:lnTo>
                <a:lnTo>
                  <a:pt x="1" y="13"/>
                </a:lnTo>
                <a:lnTo>
                  <a:pt x="0" y="13"/>
                </a:lnTo>
                <a:lnTo>
                  <a:pt x="0" y="19"/>
                </a:lnTo>
                <a:lnTo>
                  <a:pt x="0" y="23"/>
                </a:lnTo>
                <a:lnTo>
                  <a:pt x="10" y="23"/>
                </a:lnTo>
                <a:lnTo>
                  <a:pt x="10" y="13"/>
                </a:lnTo>
                <a:lnTo>
                  <a:pt x="7" y="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39" name="Freeform 251"/>
          <p:cNvSpPr>
            <a:spLocks/>
          </p:cNvSpPr>
          <p:nvPr/>
        </p:nvSpPr>
        <p:spPr bwMode="auto">
          <a:xfrm>
            <a:off x="10485968" y="4842934"/>
            <a:ext cx="258233" cy="302684"/>
          </a:xfrm>
          <a:custGeom>
            <a:avLst/>
            <a:gdLst>
              <a:gd name="T0" fmla="*/ 253583632 w 86"/>
              <a:gd name="T1" fmla="*/ 45467782 h 101"/>
              <a:gd name="T2" fmla="*/ 258655215 w 86"/>
              <a:gd name="T3" fmla="*/ 25259130 h 101"/>
              <a:gd name="T4" fmla="*/ 228225719 w 86"/>
              <a:gd name="T5" fmla="*/ 0 h 101"/>
              <a:gd name="T6" fmla="*/ 172436059 w 86"/>
              <a:gd name="T7" fmla="*/ 30311855 h 101"/>
              <a:gd name="T8" fmla="*/ 111577068 w 86"/>
              <a:gd name="T9" fmla="*/ 0 h 101"/>
              <a:gd name="T10" fmla="*/ 55787408 w 86"/>
              <a:gd name="T11" fmla="*/ 30311855 h 101"/>
              <a:gd name="T12" fmla="*/ 10143165 w 86"/>
              <a:gd name="T13" fmla="*/ 15155927 h 101"/>
              <a:gd name="T14" fmla="*/ 10143165 w 86"/>
              <a:gd name="T15" fmla="*/ 101038766 h 101"/>
              <a:gd name="T16" fmla="*/ 65930573 w 86"/>
              <a:gd name="T17" fmla="*/ 242492589 h 101"/>
              <a:gd name="T18" fmla="*/ 15214748 w 86"/>
              <a:gd name="T19" fmla="*/ 510246556 h 101"/>
              <a:gd name="T20" fmla="*/ 426019691 w 86"/>
              <a:gd name="T21" fmla="*/ 510246556 h 101"/>
              <a:gd name="T22" fmla="*/ 380375448 w 86"/>
              <a:gd name="T23" fmla="*/ 242492589 h 101"/>
              <a:gd name="T24" fmla="*/ 436162856 w 86"/>
              <a:gd name="T25" fmla="*/ 131350621 h 101"/>
              <a:gd name="T26" fmla="*/ 339800535 w 86"/>
              <a:gd name="T27" fmla="*/ 131350621 h 101"/>
              <a:gd name="T28" fmla="*/ 253583632 w 86"/>
              <a:gd name="T29" fmla="*/ 45467782 h 10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86" h="101">
                <a:moveTo>
                  <a:pt x="50" y="9"/>
                </a:moveTo>
                <a:cubicBezTo>
                  <a:pt x="50" y="8"/>
                  <a:pt x="51" y="6"/>
                  <a:pt x="51" y="5"/>
                </a:cubicBezTo>
                <a:cubicBezTo>
                  <a:pt x="49" y="4"/>
                  <a:pt x="47" y="2"/>
                  <a:pt x="45" y="0"/>
                </a:cubicBezTo>
                <a:cubicBezTo>
                  <a:pt x="43" y="4"/>
                  <a:pt x="39" y="6"/>
                  <a:pt x="34" y="6"/>
                </a:cubicBezTo>
                <a:cubicBezTo>
                  <a:pt x="29" y="6"/>
                  <a:pt x="25" y="4"/>
                  <a:pt x="22" y="0"/>
                </a:cubicBezTo>
                <a:cubicBezTo>
                  <a:pt x="20" y="4"/>
                  <a:pt x="16" y="6"/>
                  <a:pt x="11" y="6"/>
                </a:cubicBezTo>
                <a:cubicBezTo>
                  <a:pt x="8" y="6"/>
                  <a:pt x="4" y="5"/>
                  <a:pt x="2" y="3"/>
                </a:cubicBezTo>
                <a:cubicBezTo>
                  <a:pt x="2" y="20"/>
                  <a:pt x="2" y="20"/>
                  <a:pt x="2" y="20"/>
                </a:cubicBezTo>
                <a:cubicBezTo>
                  <a:pt x="2" y="20"/>
                  <a:pt x="0" y="38"/>
                  <a:pt x="13" y="48"/>
                </a:cubicBezTo>
                <a:cubicBezTo>
                  <a:pt x="3" y="101"/>
                  <a:pt x="3" y="101"/>
                  <a:pt x="3" y="101"/>
                </a:cubicBezTo>
                <a:cubicBezTo>
                  <a:pt x="84" y="101"/>
                  <a:pt x="84" y="101"/>
                  <a:pt x="84" y="101"/>
                </a:cubicBezTo>
                <a:cubicBezTo>
                  <a:pt x="75" y="48"/>
                  <a:pt x="75" y="48"/>
                  <a:pt x="75" y="48"/>
                </a:cubicBezTo>
                <a:cubicBezTo>
                  <a:pt x="83" y="42"/>
                  <a:pt x="85" y="32"/>
                  <a:pt x="86" y="26"/>
                </a:cubicBezTo>
                <a:cubicBezTo>
                  <a:pt x="67" y="26"/>
                  <a:pt x="67" y="26"/>
                  <a:pt x="67" y="26"/>
                </a:cubicBezTo>
                <a:cubicBezTo>
                  <a:pt x="58" y="26"/>
                  <a:pt x="50" y="18"/>
                  <a:pt x="50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40" name="Freeform 252"/>
          <p:cNvSpPr>
            <a:spLocks/>
          </p:cNvSpPr>
          <p:nvPr/>
        </p:nvSpPr>
        <p:spPr bwMode="auto">
          <a:xfrm>
            <a:off x="10695518" y="4701117"/>
            <a:ext cx="57149" cy="116416"/>
          </a:xfrm>
          <a:custGeom>
            <a:avLst/>
            <a:gdLst>
              <a:gd name="T0" fmla="*/ 0 w 19"/>
              <a:gd name="T1" fmla="*/ 195473658 h 39"/>
              <a:gd name="T2" fmla="*/ 81426521 w 19"/>
              <a:gd name="T3" fmla="*/ 195473658 h 39"/>
              <a:gd name="T4" fmla="*/ 96694416 w 19"/>
              <a:gd name="T5" fmla="*/ 195473658 h 39"/>
              <a:gd name="T6" fmla="*/ 96694416 w 19"/>
              <a:gd name="T7" fmla="*/ 50121566 h 39"/>
              <a:gd name="T8" fmla="*/ 45803687 w 19"/>
              <a:gd name="T9" fmla="*/ 0 h 39"/>
              <a:gd name="T10" fmla="*/ 0 w 19"/>
              <a:gd name="T11" fmla="*/ 50121566 h 39"/>
              <a:gd name="T12" fmla="*/ 0 w 19"/>
              <a:gd name="T13" fmla="*/ 195473658 h 3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9" h="39">
                <a:moveTo>
                  <a:pt x="0" y="39"/>
                </a:moveTo>
                <a:cubicBezTo>
                  <a:pt x="16" y="39"/>
                  <a:pt x="16" y="39"/>
                  <a:pt x="16" y="39"/>
                </a:cubicBezTo>
                <a:cubicBezTo>
                  <a:pt x="17" y="39"/>
                  <a:pt x="18" y="39"/>
                  <a:pt x="19" y="39"/>
                </a:cubicBezTo>
                <a:cubicBezTo>
                  <a:pt x="19" y="10"/>
                  <a:pt x="19" y="10"/>
                  <a:pt x="19" y="10"/>
                </a:cubicBez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lnTo>
                  <a:pt x="0" y="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41" name="Freeform 253"/>
          <p:cNvSpPr>
            <a:spLocks/>
          </p:cNvSpPr>
          <p:nvPr/>
        </p:nvSpPr>
        <p:spPr bwMode="auto">
          <a:xfrm>
            <a:off x="10629901" y="4701118"/>
            <a:ext cx="55033" cy="143933"/>
          </a:xfrm>
          <a:custGeom>
            <a:avLst/>
            <a:gdLst>
              <a:gd name="T0" fmla="*/ 21031906 w 18"/>
              <a:gd name="T1" fmla="*/ 242775052 h 48"/>
              <a:gd name="T2" fmla="*/ 94645868 w 18"/>
              <a:gd name="T3" fmla="*/ 197253886 h 48"/>
              <a:gd name="T4" fmla="*/ 94645868 w 18"/>
              <a:gd name="T5" fmla="*/ 50579073 h 48"/>
              <a:gd name="T6" fmla="*/ 47324081 w 18"/>
              <a:gd name="T7" fmla="*/ 0 h 48"/>
              <a:gd name="T8" fmla="*/ 0 w 18"/>
              <a:gd name="T9" fmla="*/ 50579073 h 48"/>
              <a:gd name="T10" fmla="*/ 0 w 18"/>
              <a:gd name="T11" fmla="*/ 202311794 h 48"/>
              <a:gd name="T12" fmla="*/ 21031906 w 18"/>
              <a:gd name="T13" fmla="*/ 242775052 h 4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" h="48">
                <a:moveTo>
                  <a:pt x="4" y="48"/>
                </a:moveTo>
                <a:cubicBezTo>
                  <a:pt x="7" y="43"/>
                  <a:pt x="12" y="39"/>
                  <a:pt x="18" y="39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4"/>
                  <a:pt x="14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3"/>
                  <a:pt x="2" y="46"/>
                  <a:pt x="4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42" name="Freeform 254"/>
          <p:cNvSpPr>
            <a:spLocks/>
          </p:cNvSpPr>
          <p:nvPr/>
        </p:nvSpPr>
        <p:spPr bwMode="auto">
          <a:xfrm>
            <a:off x="10562167" y="4701118"/>
            <a:ext cx="52917" cy="146049"/>
          </a:xfrm>
          <a:custGeom>
            <a:avLst/>
            <a:gdLst>
              <a:gd name="T0" fmla="*/ 87507630 w 18"/>
              <a:gd name="T1" fmla="*/ 199891612 h 49"/>
              <a:gd name="T2" fmla="*/ 87507630 w 18"/>
              <a:gd name="T3" fmla="*/ 49973462 h 49"/>
              <a:gd name="T4" fmla="*/ 43753815 w 18"/>
              <a:gd name="T5" fmla="*/ 0 h 49"/>
              <a:gd name="T6" fmla="*/ 0 w 18"/>
              <a:gd name="T7" fmla="*/ 49973462 h 49"/>
              <a:gd name="T8" fmla="*/ 0 w 18"/>
              <a:gd name="T9" fmla="*/ 94948460 h 49"/>
              <a:gd name="T10" fmla="*/ 0 w 18"/>
              <a:gd name="T11" fmla="*/ 199891612 h 49"/>
              <a:gd name="T12" fmla="*/ 43753815 w 18"/>
              <a:gd name="T13" fmla="*/ 244866610 h 49"/>
              <a:gd name="T14" fmla="*/ 87507630 w 18"/>
              <a:gd name="T15" fmla="*/ 199891612 h 4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8" h="49">
                <a:moveTo>
                  <a:pt x="18" y="40"/>
                </a:moveTo>
                <a:cubicBezTo>
                  <a:pt x="18" y="10"/>
                  <a:pt x="18" y="10"/>
                  <a:pt x="18" y="10"/>
                </a:cubicBezTo>
                <a:cubicBezTo>
                  <a:pt x="18" y="4"/>
                  <a:pt x="14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5"/>
                  <a:pt x="4" y="49"/>
                  <a:pt x="9" y="49"/>
                </a:cubicBezTo>
                <a:cubicBezTo>
                  <a:pt x="14" y="49"/>
                  <a:pt x="18" y="45"/>
                  <a:pt x="18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43" name="Freeform 255"/>
          <p:cNvSpPr>
            <a:spLocks/>
          </p:cNvSpPr>
          <p:nvPr/>
        </p:nvSpPr>
        <p:spPr bwMode="auto">
          <a:xfrm>
            <a:off x="10492318" y="4730751"/>
            <a:ext cx="52916" cy="116416"/>
          </a:xfrm>
          <a:custGeom>
            <a:avLst/>
            <a:gdLst>
              <a:gd name="T0" fmla="*/ 87505425 w 18"/>
              <a:gd name="T1" fmla="*/ 150364697 h 39"/>
              <a:gd name="T2" fmla="*/ 87505425 w 18"/>
              <a:gd name="T3" fmla="*/ 45108961 h 39"/>
              <a:gd name="T4" fmla="*/ 43752713 w 18"/>
              <a:gd name="T5" fmla="*/ 0 h 39"/>
              <a:gd name="T6" fmla="*/ 0 w 18"/>
              <a:gd name="T7" fmla="*/ 45108961 h 39"/>
              <a:gd name="T8" fmla="*/ 0 w 18"/>
              <a:gd name="T9" fmla="*/ 150364697 h 39"/>
              <a:gd name="T10" fmla="*/ 43752713 w 18"/>
              <a:gd name="T11" fmla="*/ 195473658 h 39"/>
              <a:gd name="T12" fmla="*/ 87505425 w 18"/>
              <a:gd name="T13" fmla="*/ 150364697 h 3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" h="39">
                <a:moveTo>
                  <a:pt x="18" y="30"/>
                </a:moveTo>
                <a:cubicBezTo>
                  <a:pt x="18" y="9"/>
                  <a:pt x="18" y="9"/>
                  <a:pt x="18" y="9"/>
                </a:cubicBezTo>
                <a:cubicBezTo>
                  <a:pt x="18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4" y="39"/>
                  <a:pt x="18" y="35"/>
                  <a:pt x="18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44" name="Rectangle 256"/>
          <p:cNvSpPr>
            <a:spLocks noChangeArrowheads="1"/>
          </p:cNvSpPr>
          <p:nvPr/>
        </p:nvSpPr>
        <p:spPr bwMode="auto">
          <a:xfrm>
            <a:off x="10378018" y="4802718"/>
            <a:ext cx="95249" cy="1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645" name="Freeform 257"/>
          <p:cNvSpPr>
            <a:spLocks/>
          </p:cNvSpPr>
          <p:nvPr/>
        </p:nvSpPr>
        <p:spPr bwMode="auto">
          <a:xfrm>
            <a:off x="10759018" y="4802718"/>
            <a:ext cx="105833" cy="12700"/>
          </a:xfrm>
          <a:custGeom>
            <a:avLst/>
            <a:gdLst>
              <a:gd name="T0" fmla="*/ 0 w 50"/>
              <a:gd name="T1" fmla="*/ 15120938 h 6"/>
              <a:gd name="T2" fmla="*/ 7561263 w 50"/>
              <a:gd name="T3" fmla="*/ 15120938 h 6"/>
              <a:gd name="T4" fmla="*/ 126007813 w 50"/>
              <a:gd name="T5" fmla="*/ 15120938 h 6"/>
              <a:gd name="T6" fmla="*/ 126007813 w 50"/>
              <a:gd name="T7" fmla="*/ 0 h 6"/>
              <a:gd name="T8" fmla="*/ 7561263 w 50"/>
              <a:gd name="T9" fmla="*/ 0 h 6"/>
              <a:gd name="T10" fmla="*/ 0 w 50"/>
              <a:gd name="T11" fmla="*/ 0 h 6"/>
              <a:gd name="T12" fmla="*/ 0 w 50"/>
              <a:gd name="T13" fmla="*/ 15120938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0" h="6">
                <a:moveTo>
                  <a:pt x="0" y="6"/>
                </a:moveTo>
                <a:lnTo>
                  <a:pt x="3" y="6"/>
                </a:lnTo>
                <a:lnTo>
                  <a:pt x="50" y="6"/>
                </a:lnTo>
                <a:lnTo>
                  <a:pt x="50" y="0"/>
                </a:ln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46" name="Freeform 258"/>
          <p:cNvSpPr>
            <a:spLocks/>
          </p:cNvSpPr>
          <p:nvPr/>
        </p:nvSpPr>
        <p:spPr bwMode="auto">
          <a:xfrm>
            <a:off x="10877551" y="4737100"/>
            <a:ext cx="67733" cy="69851"/>
          </a:xfrm>
          <a:custGeom>
            <a:avLst/>
            <a:gdLst>
              <a:gd name="T0" fmla="*/ 82932104 w 23"/>
              <a:gd name="T1" fmla="*/ 88198615 h 23"/>
              <a:gd name="T2" fmla="*/ 107322730 w 23"/>
              <a:gd name="T3" fmla="*/ 0 h 23"/>
              <a:gd name="T4" fmla="*/ 29269635 w 23"/>
              <a:gd name="T5" fmla="*/ 31127583 h 23"/>
              <a:gd name="T6" fmla="*/ 4879009 w 23"/>
              <a:gd name="T7" fmla="*/ 119326198 h 23"/>
              <a:gd name="T8" fmla="*/ 82932104 w 23"/>
              <a:gd name="T9" fmla="*/ 88198615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3" h="23">
                <a:moveTo>
                  <a:pt x="17" y="17"/>
                </a:moveTo>
                <a:cubicBezTo>
                  <a:pt x="23" y="10"/>
                  <a:pt x="22" y="0"/>
                  <a:pt x="22" y="0"/>
                </a:cubicBezTo>
                <a:cubicBezTo>
                  <a:pt x="22" y="0"/>
                  <a:pt x="12" y="0"/>
                  <a:pt x="6" y="6"/>
                </a:cubicBezTo>
                <a:cubicBezTo>
                  <a:pt x="0" y="12"/>
                  <a:pt x="1" y="23"/>
                  <a:pt x="1" y="23"/>
                </a:cubicBezTo>
                <a:cubicBezTo>
                  <a:pt x="1" y="23"/>
                  <a:pt x="11" y="23"/>
                  <a:pt x="17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47" name="Freeform 259"/>
          <p:cNvSpPr>
            <a:spLocks/>
          </p:cNvSpPr>
          <p:nvPr/>
        </p:nvSpPr>
        <p:spPr bwMode="auto">
          <a:xfrm>
            <a:off x="10877551" y="4811184"/>
            <a:ext cx="67733" cy="74083"/>
          </a:xfrm>
          <a:custGeom>
            <a:avLst/>
            <a:gdLst>
              <a:gd name="T0" fmla="*/ 4879009 w 23"/>
              <a:gd name="T1" fmla="*/ 5359418 h 24"/>
              <a:gd name="T2" fmla="*/ 29269635 w 23"/>
              <a:gd name="T3" fmla="*/ 91114735 h 24"/>
              <a:gd name="T4" fmla="*/ 107322730 w 23"/>
              <a:gd name="T5" fmla="*/ 123273557 h 24"/>
              <a:gd name="T6" fmla="*/ 82932104 w 23"/>
              <a:gd name="T7" fmla="*/ 37518241 h 24"/>
              <a:gd name="T8" fmla="*/ 4879009 w 23"/>
              <a:gd name="T9" fmla="*/ 5359418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3" h="24">
                <a:moveTo>
                  <a:pt x="1" y="1"/>
                </a:moveTo>
                <a:cubicBezTo>
                  <a:pt x="1" y="1"/>
                  <a:pt x="0" y="11"/>
                  <a:pt x="6" y="17"/>
                </a:cubicBezTo>
                <a:cubicBezTo>
                  <a:pt x="12" y="24"/>
                  <a:pt x="22" y="23"/>
                  <a:pt x="22" y="23"/>
                </a:cubicBezTo>
                <a:cubicBezTo>
                  <a:pt x="22" y="23"/>
                  <a:pt x="23" y="13"/>
                  <a:pt x="17" y="7"/>
                </a:cubicBezTo>
                <a:cubicBezTo>
                  <a:pt x="11" y="0"/>
                  <a:pt x="1" y="1"/>
                  <a:pt x="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48" name="Freeform 260"/>
          <p:cNvSpPr>
            <a:spLocks/>
          </p:cNvSpPr>
          <p:nvPr/>
        </p:nvSpPr>
        <p:spPr bwMode="auto">
          <a:xfrm>
            <a:off x="10807700" y="4724400"/>
            <a:ext cx="69851" cy="69851"/>
          </a:xfrm>
          <a:custGeom>
            <a:avLst/>
            <a:gdLst>
              <a:gd name="T0" fmla="*/ 93385027 w 23"/>
              <a:gd name="T1" fmla="*/ 88198615 h 23"/>
              <a:gd name="T2" fmla="*/ 119326198 w 23"/>
              <a:gd name="T3" fmla="*/ 0 h 23"/>
              <a:gd name="T4" fmla="*/ 31127583 w 23"/>
              <a:gd name="T5" fmla="*/ 36316273 h 23"/>
              <a:gd name="T6" fmla="*/ 5188690 w 23"/>
              <a:gd name="T7" fmla="*/ 119326198 h 23"/>
              <a:gd name="T8" fmla="*/ 93385027 w 23"/>
              <a:gd name="T9" fmla="*/ 88198615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3" h="23">
                <a:moveTo>
                  <a:pt x="18" y="17"/>
                </a:moveTo>
                <a:cubicBezTo>
                  <a:pt x="23" y="11"/>
                  <a:pt x="23" y="0"/>
                  <a:pt x="23" y="0"/>
                </a:cubicBezTo>
                <a:cubicBezTo>
                  <a:pt x="23" y="0"/>
                  <a:pt x="12" y="0"/>
                  <a:pt x="6" y="7"/>
                </a:cubicBezTo>
                <a:cubicBezTo>
                  <a:pt x="0" y="13"/>
                  <a:pt x="1" y="23"/>
                  <a:pt x="1" y="23"/>
                </a:cubicBezTo>
                <a:cubicBezTo>
                  <a:pt x="1" y="23"/>
                  <a:pt x="12" y="23"/>
                  <a:pt x="18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49" name="Freeform 261"/>
          <p:cNvSpPr>
            <a:spLocks/>
          </p:cNvSpPr>
          <p:nvPr/>
        </p:nvSpPr>
        <p:spPr bwMode="auto">
          <a:xfrm>
            <a:off x="10807700" y="4823885"/>
            <a:ext cx="69851" cy="69849"/>
          </a:xfrm>
          <a:custGeom>
            <a:avLst/>
            <a:gdLst>
              <a:gd name="T0" fmla="*/ 5188690 w 23"/>
              <a:gd name="T1" fmla="*/ 0 h 23"/>
              <a:gd name="T2" fmla="*/ 31127583 w 23"/>
              <a:gd name="T3" fmla="*/ 88196931 h 23"/>
              <a:gd name="T4" fmla="*/ 119326198 w 23"/>
              <a:gd name="T5" fmla="*/ 119323920 h 23"/>
              <a:gd name="T6" fmla="*/ 93385027 w 23"/>
              <a:gd name="T7" fmla="*/ 31126989 h 23"/>
              <a:gd name="T8" fmla="*/ 5188690 w 23"/>
              <a:gd name="T9" fmla="*/ 0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3" h="23">
                <a:moveTo>
                  <a:pt x="1" y="0"/>
                </a:moveTo>
                <a:cubicBezTo>
                  <a:pt x="1" y="0"/>
                  <a:pt x="0" y="10"/>
                  <a:pt x="6" y="17"/>
                </a:cubicBezTo>
                <a:cubicBezTo>
                  <a:pt x="12" y="23"/>
                  <a:pt x="23" y="23"/>
                  <a:pt x="23" y="23"/>
                </a:cubicBezTo>
                <a:cubicBezTo>
                  <a:pt x="23" y="23"/>
                  <a:pt x="23" y="12"/>
                  <a:pt x="18" y="6"/>
                </a:cubicBezTo>
                <a:cubicBezTo>
                  <a:pt x="12" y="0"/>
                  <a:pt x="1" y="0"/>
                  <a:pt x="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50" name="Freeform 262"/>
          <p:cNvSpPr>
            <a:spLocks/>
          </p:cNvSpPr>
          <p:nvPr/>
        </p:nvSpPr>
        <p:spPr bwMode="auto">
          <a:xfrm>
            <a:off x="10651067" y="4830234"/>
            <a:ext cx="133351" cy="74084"/>
          </a:xfrm>
          <a:custGeom>
            <a:avLst/>
            <a:gdLst>
              <a:gd name="T0" fmla="*/ 160166273 w 44"/>
              <a:gd name="T1" fmla="*/ 0 h 25"/>
              <a:gd name="T2" fmla="*/ 61998968 w 44"/>
              <a:gd name="T3" fmla="*/ 0 h 25"/>
              <a:gd name="T4" fmla="*/ 0 w 44"/>
              <a:gd name="T5" fmla="*/ 64215270 h 25"/>
              <a:gd name="T6" fmla="*/ 61998968 w 44"/>
              <a:gd name="T7" fmla="*/ 123489879 h 25"/>
              <a:gd name="T8" fmla="*/ 160166273 w 44"/>
              <a:gd name="T9" fmla="*/ 123489879 h 25"/>
              <a:gd name="T10" fmla="*/ 227331822 w 44"/>
              <a:gd name="T11" fmla="*/ 64215270 h 25"/>
              <a:gd name="T12" fmla="*/ 160166273 w 44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4" h="25">
                <a:moveTo>
                  <a:pt x="31" y="0"/>
                </a:move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6"/>
                  <a:pt x="0" y="13"/>
                </a:cubicBezTo>
                <a:cubicBezTo>
                  <a:pt x="0" y="20"/>
                  <a:pt x="5" y="25"/>
                  <a:pt x="12" y="25"/>
                </a:cubicBezTo>
                <a:cubicBezTo>
                  <a:pt x="31" y="25"/>
                  <a:pt x="31" y="25"/>
                  <a:pt x="31" y="25"/>
                </a:cubicBezTo>
                <a:cubicBezTo>
                  <a:pt x="38" y="25"/>
                  <a:pt x="44" y="20"/>
                  <a:pt x="44" y="13"/>
                </a:cubicBezTo>
                <a:cubicBezTo>
                  <a:pt x="44" y="6"/>
                  <a:pt x="38" y="0"/>
                  <a:pt x="3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51" name="Freeform 263"/>
          <p:cNvSpPr>
            <a:spLocks/>
          </p:cNvSpPr>
          <p:nvPr/>
        </p:nvSpPr>
        <p:spPr bwMode="auto">
          <a:xfrm>
            <a:off x="1212851" y="5598585"/>
            <a:ext cx="152400" cy="171449"/>
          </a:xfrm>
          <a:custGeom>
            <a:avLst/>
            <a:gdLst>
              <a:gd name="T0" fmla="*/ 256166471 w 51"/>
              <a:gd name="T1" fmla="*/ 147586293 h 57"/>
              <a:gd name="T2" fmla="*/ 256166471 w 51"/>
              <a:gd name="T3" fmla="*/ 55980463 h 57"/>
              <a:gd name="T4" fmla="*/ 170777647 w 51"/>
              <a:gd name="T5" fmla="*/ 55980463 h 57"/>
              <a:gd name="T6" fmla="*/ 170777647 w 51"/>
              <a:gd name="T7" fmla="*/ 40712449 h 57"/>
              <a:gd name="T8" fmla="*/ 130595594 w 51"/>
              <a:gd name="T9" fmla="*/ 0 h 57"/>
              <a:gd name="T10" fmla="*/ 90411300 w 51"/>
              <a:gd name="T11" fmla="*/ 40712449 h 57"/>
              <a:gd name="T12" fmla="*/ 90411300 w 51"/>
              <a:gd name="T13" fmla="*/ 55980463 h 57"/>
              <a:gd name="T14" fmla="*/ 0 w 51"/>
              <a:gd name="T15" fmla="*/ 55980463 h 57"/>
              <a:gd name="T16" fmla="*/ 0 w 51"/>
              <a:gd name="T17" fmla="*/ 137407617 h 57"/>
              <a:gd name="T18" fmla="*/ 200914747 w 51"/>
              <a:gd name="T19" fmla="*/ 290083248 h 57"/>
              <a:gd name="T20" fmla="*/ 180822600 w 51"/>
              <a:gd name="T21" fmla="*/ 203566756 h 57"/>
              <a:gd name="T22" fmla="*/ 256166471 w 51"/>
              <a:gd name="T23" fmla="*/ 147586293 h 5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1" h="57">
                <a:moveTo>
                  <a:pt x="51" y="29"/>
                </a:moveTo>
                <a:cubicBezTo>
                  <a:pt x="51" y="11"/>
                  <a:pt x="51" y="11"/>
                  <a:pt x="5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4" y="8"/>
                  <a:pt x="34" y="8"/>
                  <a:pt x="34" y="8"/>
                </a:cubicBezTo>
                <a:cubicBezTo>
                  <a:pt x="34" y="4"/>
                  <a:pt x="30" y="0"/>
                  <a:pt x="26" y="0"/>
                </a:cubicBezTo>
                <a:cubicBezTo>
                  <a:pt x="21" y="0"/>
                  <a:pt x="18" y="4"/>
                  <a:pt x="18" y="8"/>
                </a:cubicBezTo>
                <a:cubicBezTo>
                  <a:pt x="18" y="11"/>
                  <a:pt x="18" y="11"/>
                  <a:pt x="18" y="11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27"/>
                  <a:pt x="0" y="27"/>
                  <a:pt x="0" y="27"/>
                </a:cubicBezTo>
                <a:cubicBezTo>
                  <a:pt x="40" y="57"/>
                  <a:pt x="40" y="57"/>
                  <a:pt x="40" y="57"/>
                </a:cubicBezTo>
                <a:cubicBezTo>
                  <a:pt x="38" y="47"/>
                  <a:pt x="36" y="40"/>
                  <a:pt x="36" y="40"/>
                </a:cubicBezTo>
                <a:lnTo>
                  <a:pt x="51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52" name="Freeform 264"/>
          <p:cNvSpPr>
            <a:spLocks/>
          </p:cNvSpPr>
          <p:nvPr/>
        </p:nvSpPr>
        <p:spPr bwMode="auto">
          <a:xfrm>
            <a:off x="1238251" y="5806017"/>
            <a:ext cx="99483" cy="186267"/>
          </a:xfrm>
          <a:custGeom>
            <a:avLst/>
            <a:gdLst>
              <a:gd name="T0" fmla="*/ 0 w 33"/>
              <a:gd name="T1" fmla="*/ 71078008 h 62"/>
              <a:gd name="T2" fmla="*/ 86904892 w 33"/>
              <a:gd name="T3" fmla="*/ 314775645 h 62"/>
              <a:gd name="T4" fmla="*/ 168697732 w 33"/>
              <a:gd name="T5" fmla="*/ 116771174 h 62"/>
              <a:gd name="T6" fmla="*/ 5112052 w 33"/>
              <a:gd name="T7" fmla="*/ 0 h 62"/>
              <a:gd name="T8" fmla="*/ 0 w 33"/>
              <a:gd name="T9" fmla="*/ 71078008 h 6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2">
                <a:moveTo>
                  <a:pt x="0" y="14"/>
                </a:moveTo>
                <a:cubicBezTo>
                  <a:pt x="2" y="50"/>
                  <a:pt x="17" y="62"/>
                  <a:pt x="17" y="62"/>
                </a:cubicBezTo>
                <a:cubicBezTo>
                  <a:pt x="17" y="62"/>
                  <a:pt x="29" y="52"/>
                  <a:pt x="33" y="23"/>
                </a:cubicBezTo>
                <a:cubicBezTo>
                  <a:pt x="1" y="0"/>
                  <a:pt x="1" y="0"/>
                  <a:pt x="1" y="0"/>
                </a:cubicBezTo>
                <a:cubicBezTo>
                  <a:pt x="0" y="4"/>
                  <a:pt x="0" y="9"/>
                  <a:pt x="0" y="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53" name="Freeform 265"/>
          <p:cNvSpPr>
            <a:spLocks/>
          </p:cNvSpPr>
          <p:nvPr/>
        </p:nvSpPr>
        <p:spPr bwMode="auto">
          <a:xfrm>
            <a:off x="1020234" y="5520267"/>
            <a:ext cx="539751" cy="541867"/>
          </a:xfrm>
          <a:custGeom>
            <a:avLst/>
            <a:gdLst>
              <a:gd name="T0" fmla="*/ 192198466 w 180"/>
              <a:gd name="T1" fmla="*/ 209000231 h 180"/>
              <a:gd name="T2" fmla="*/ 212427871 w 180"/>
              <a:gd name="T3" fmla="*/ 183512178 h 180"/>
              <a:gd name="T4" fmla="*/ 455205472 w 180"/>
              <a:gd name="T5" fmla="*/ 91756089 h 180"/>
              <a:gd name="T6" fmla="*/ 819368500 w 180"/>
              <a:gd name="T7" fmla="*/ 458780444 h 180"/>
              <a:gd name="T8" fmla="*/ 783963105 w 180"/>
              <a:gd name="T9" fmla="*/ 611706507 h 180"/>
              <a:gd name="T10" fmla="*/ 859829559 w 180"/>
              <a:gd name="T11" fmla="*/ 667780676 h 180"/>
              <a:gd name="T12" fmla="*/ 910408694 w 180"/>
              <a:gd name="T13" fmla="*/ 458780444 h 180"/>
              <a:gd name="T14" fmla="*/ 455205472 w 180"/>
              <a:gd name="T15" fmla="*/ 0 h 180"/>
              <a:gd name="T16" fmla="*/ 70808541 w 180"/>
              <a:gd name="T17" fmla="*/ 219194098 h 180"/>
              <a:gd name="T18" fmla="*/ 723268142 w 180"/>
              <a:gd name="T19" fmla="*/ 708560658 h 180"/>
              <a:gd name="T20" fmla="*/ 703038737 w 180"/>
              <a:gd name="T21" fmla="*/ 728950649 h 180"/>
              <a:gd name="T22" fmla="*/ 455205472 w 180"/>
              <a:gd name="T23" fmla="*/ 825804800 h 180"/>
              <a:gd name="T24" fmla="*/ 91040195 w 180"/>
              <a:gd name="T25" fmla="*/ 458780444 h 180"/>
              <a:gd name="T26" fmla="*/ 126445590 w 180"/>
              <a:gd name="T27" fmla="*/ 300756320 h 180"/>
              <a:gd name="T28" fmla="*/ 126445590 w 180"/>
              <a:gd name="T29" fmla="*/ 300756320 h 180"/>
              <a:gd name="T30" fmla="*/ 55637049 w 180"/>
              <a:gd name="T31" fmla="*/ 244682151 h 180"/>
              <a:gd name="T32" fmla="*/ 0 w 180"/>
              <a:gd name="T33" fmla="*/ 458780444 h 180"/>
              <a:gd name="T34" fmla="*/ 455205472 w 180"/>
              <a:gd name="T35" fmla="*/ 917560889 h 180"/>
              <a:gd name="T36" fmla="*/ 844658067 w 180"/>
              <a:gd name="T37" fmla="*/ 693268729 h 180"/>
              <a:gd name="T38" fmla="*/ 192198466 w 180"/>
              <a:gd name="T39" fmla="*/ 209000231 h 18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80" h="180">
                <a:moveTo>
                  <a:pt x="38" y="41"/>
                </a:moveTo>
                <a:cubicBezTo>
                  <a:pt x="39" y="39"/>
                  <a:pt x="41" y="38"/>
                  <a:pt x="42" y="36"/>
                </a:cubicBezTo>
                <a:cubicBezTo>
                  <a:pt x="55" y="25"/>
                  <a:pt x="72" y="18"/>
                  <a:pt x="90" y="18"/>
                </a:cubicBezTo>
                <a:cubicBezTo>
                  <a:pt x="130" y="18"/>
                  <a:pt x="162" y="50"/>
                  <a:pt x="162" y="90"/>
                </a:cubicBezTo>
                <a:cubicBezTo>
                  <a:pt x="162" y="101"/>
                  <a:pt x="159" y="111"/>
                  <a:pt x="155" y="120"/>
                </a:cubicBezTo>
                <a:cubicBezTo>
                  <a:pt x="170" y="131"/>
                  <a:pt x="170" y="131"/>
                  <a:pt x="170" y="131"/>
                </a:cubicBezTo>
                <a:cubicBezTo>
                  <a:pt x="176" y="119"/>
                  <a:pt x="180" y="105"/>
                  <a:pt x="180" y="90"/>
                </a:cubicBezTo>
                <a:cubicBezTo>
                  <a:pt x="180" y="41"/>
                  <a:pt x="139" y="0"/>
                  <a:pt x="90" y="0"/>
                </a:cubicBezTo>
                <a:cubicBezTo>
                  <a:pt x="58" y="0"/>
                  <a:pt x="30" y="17"/>
                  <a:pt x="14" y="43"/>
                </a:cubicBezTo>
                <a:cubicBezTo>
                  <a:pt x="143" y="139"/>
                  <a:pt x="143" y="139"/>
                  <a:pt x="143" y="139"/>
                </a:cubicBezTo>
                <a:cubicBezTo>
                  <a:pt x="141" y="140"/>
                  <a:pt x="140" y="142"/>
                  <a:pt x="139" y="143"/>
                </a:cubicBezTo>
                <a:cubicBezTo>
                  <a:pt x="126" y="155"/>
                  <a:pt x="109" y="162"/>
                  <a:pt x="90" y="162"/>
                </a:cubicBezTo>
                <a:cubicBezTo>
                  <a:pt x="50" y="162"/>
                  <a:pt x="18" y="130"/>
                  <a:pt x="18" y="90"/>
                </a:cubicBezTo>
                <a:cubicBezTo>
                  <a:pt x="18" y="79"/>
                  <a:pt x="21" y="68"/>
                  <a:pt x="25" y="59"/>
                </a:cubicBezTo>
                <a:cubicBezTo>
                  <a:pt x="25" y="59"/>
                  <a:pt x="25" y="59"/>
                  <a:pt x="25" y="59"/>
                </a:cubicBezTo>
                <a:cubicBezTo>
                  <a:pt x="11" y="48"/>
                  <a:pt x="11" y="48"/>
                  <a:pt x="11" y="48"/>
                </a:cubicBezTo>
                <a:cubicBezTo>
                  <a:pt x="4" y="60"/>
                  <a:pt x="0" y="75"/>
                  <a:pt x="0" y="90"/>
                </a:cubicBezTo>
                <a:cubicBezTo>
                  <a:pt x="0" y="139"/>
                  <a:pt x="41" y="180"/>
                  <a:pt x="90" y="180"/>
                </a:cubicBezTo>
                <a:cubicBezTo>
                  <a:pt x="123" y="180"/>
                  <a:pt x="151" y="162"/>
                  <a:pt x="167" y="136"/>
                </a:cubicBezTo>
                <a:lnTo>
                  <a:pt x="38" y="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54" name="Freeform 266"/>
          <p:cNvSpPr>
            <a:spLocks/>
          </p:cNvSpPr>
          <p:nvPr/>
        </p:nvSpPr>
        <p:spPr bwMode="auto">
          <a:xfrm>
            <a:off x="2032000" y="5537201"/>
            <a:ext cx="270933" cy="218017"/>
          </a:xfrm>
          <a:custGeom>
            <a:avLst/>
            <a:gdLst>
              <a:gd name="T0" fmla="*/ 219194098 w 90"/>
              <a:gd name="T1" fmla="*/ 51574725 h 72"/>
              <a:gd name="T2" fmla="*/ 229390222 w 90"/>
              <a:gd name="T3" fmla="*/ 46417253 h 72"/>
              <a:gd name="T4" fmla="*/ 239586347 w 90"/>
              <a:gd name="T5" fmla="*/ 51574725 h 72"/>
              <a:gd name="T6" fmla="*/ 423098524 w 90"/>
              <a:gd name="T7" fmla="*/ 371340294 h 72"/>
              <a:gd name="T8" fmla="*/ 458780444 w 90"/>
              <a:gd name="T9" fmla="*/ 350710404 h 72"/>
              <a:gd name="T10" fmla="*/ 275268267 w 90"/>
              <a:gd name="T11" fmla="*/ 30944835 h 72"/>
              <a:gd name="T12" fmla="*/ 229390222 w 90"/>
              <a:gd name="T13" fmla="*/ 0 h 72"/>
              <a:gd name="T14" fmla="*/ 183512178 w 90"/>
              <a:gd name="T15" fmla="*/ 30944835 h 72"/>
              <a:gd name="T16" fmla="*/ 0 w 90"/>
              <a:gd name="T17" fmla="*/ 350710404 h 72"/>
              <a:gd name="T18" fmla="*/ 35681920 w 90"/>
              <a:gd name="T19" fmla="*/ 371340294 h 72"/>
              <a:gd name="T20" fmla="*/ 219194098 w 90"/>
              <a:gd name="T21" fmla="*/ 51574725 h 7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90" h="72">
                <a:moveTo>
                  <a:pt x="43" y="10"/>
                </a:moveTo>
                <a:cubicBezTo>
                  <a:pt x="44" y="9"/>
                  <a:pt x="44" y="9"/>
                  <a:pt x="45" y="9"/>
                </a:cubicBezTo>
                <a:cubicBezTo>
                  <a:pt x="46" y="9"/>
                  <a:pt x="47" y="9"/>
                  <a:pt x="47" y="10"/>
                </a:cubicBezTo>
                <a:cubicBezTo>
                  <a:pt x="83" y="72"/>
                  <a:pt x="83" y="72"/>
                  <a:pt x="83" y="72"/>
                </a:cubicBezTo>
                <a:cubicBezTo>
                  <a:pt x="90" y="68"/>
                  <a:pt x="90" y="68"/>
                  <a:pt x="90" y="68"/>
                </a:cubicBezTo>
                <a:cubicBezTo>
                  <a:pt x="54" y="6"/>
                  <a:pt x="54" y="6"/>
                  <a:pt x="54" y="6"/>
                </a:cubicBezTo>
                <a:cubicBezTo>
                  <a:pt x="52" y="2"/>
                  <a:pt x="49" y="0"/>
                  <a:pt x="45" y="0"/>
                </a:cubicBezTo>
                <a:cubicBezTo>
                  <a:pt x="41" y="0"/>
                  <a:pt x="38" y="2"/>
                  <a:pt x="36" y="6"/>
                </a:cubicBezTo>
                <a:cubicBezTo>
                  <a:pt x="0" y="68"/>
                  <a:pt x="0" y="68"/>
                  <a:pt x="0" y="68"/>
                </a:cubicBezTo>
                <a:cubicBezTo>
                  <a:pt x="7" y="72"/>
                  <a:pt x="7" y="72"/>
                  <a:pt x="7" y="72"/>
                </a:cubicBezTo>
                <a:cubicBezTo>
                  <a:pt x="25" y="41"/>
                  <a:pt x="43" y="10"/>
                  <a:pt x="43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55" name="Freeform 267"/>
          <p:cNvSpPr>
            <a:spLocks/>
          </p:cNvSpPr>
          <p:nvPr/>
        </p:nvSpPr>
        <p:spPr bwMode="auto">
          <a:xfrm>
            <a:off x="2173817" y="5755218"/>
            <a:ext cx="254000" cy="239183"/>
          </a:xfrm>
          <a:custGeom>
            <a:avLst/>
            <a:gdLst>
              <a:gd name="T0" fmla="*/ 421739786 w 84"/>
              <a:gd name="T1" fmla="*/ 321797855 h 80"/>
              <a:gd name="T2" fmla="*/ 231443893 w 84"/>
              <a:gd name="T3" fmla="*/ 0 h 80"/>
              <a:gd name="T4" fmla="*/ 195441661 w 84"/>
              <a:gd name="T5" fmla="*/ 20111525 h 80"/>
              <a:gd name="T6" fmla="*/ 385737554 w 84"/>
              <a:gd name="T7" fmla="*/ 341911622 h 80"/>
              <a:gd name="T8" fmla="*/ 385737554 w 84"/>
              <a:gd name="T9" fmla="*/ 351968506 h 80"/>
              <a:gd name="T10" fmla="*/ 375452821 w 84"/>
              <a:gd name="T11" fmla="*/ 356995826 h 80"/>
              <a:gd name="T12" fmla="*/ 0 w 84"/>
              <a:gd name="T13" fmla="*/ 356995826 h 80"/>
              <a:gd name="T14" fmla="*/ 0 w 84"/>
              <a:gd name="T15" fmla="*/ 402248439 h 80"/>
              <a:gd name="T16" fmla="*/ 375452821 w 84"/>
              <a:gd name="T17" fmla="*/ 402248439 h 80"/>
              <a:gd name="T18" fmla="*/ 421739786 w 84"/>
              <a:gd name="T19" fmla="*/ 372080031 h 80"/>
              <a:gd name="T20" fmla="*/ 421739786 w 84"/>
              <a:gd name="T21" fmla="*/ 321797855 h 8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84" h="80">
                <a:moveTo>
                  <a:pt x="82" y="64"/>
                </a:moveTo>
                <a:cubicBezTo>
                  <a:pt x="45" y="0"/>
                  <a:pt x="45" y="0"/>
                  <a:pt x="45" y="0"/>
                </a:cubicBezTo>
                <a:cubicBezTo>
                  <a:pt x="38" y="4"/>
                  <a:pt x="38" y="4"/>
                  <a:pt x="38" y="4"/>
                </a:cubicBezTo>
                <a:cubicBezTo>
                  <a:pt x="75" y="68"/>
                  <a:pt x="75" y="68"/>
                  <a:pt x="75" y="68"/>
                </a:cubicBezTo>
                <a:cubicBezTo>
                  <a:pt x="76" y="69"/>
                  <a:pt x="76" y="70"/>
                  <a:pt x="75" y="70"/>
                </a:cubicBezTo>
                <a:cubicBezTo>
                  <a:pt x="75" y="71"/>
                  <a:pt x="74" y="71"/>
                  <a:pt x="73" y="71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80"/>
                  <a:pt x="0" y="80"/>
                  <a:pt x="0" y="80"/>
                </a:cubicBezTo>
                <a:cubicBezTo>
                  <a:pt x="73" y="80"/>
                  <a:pt x="73" y="80"/>
                  <a:pt x="73" y="80"/>
                </a:cubicBezTo>
                <a:cubicBezTo>
                  <a:pt x="77" y="80"/>
                  <a:pt x="80" y="78"/>
                  <a:pt x="82" y="74"/>
                </a:cubicBezTo>
                <a:cubicBezTo>
                  <a:pt x="84" y="71"/>
                  <a:pt x="84" y="67"/>
                  <a:pt x="82" y="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56" name="Freeform 268"/>
          <p:cNvSpPr>
            <a:spLocks/>
          </p:cNvSpPr>
          <p:nvPr/>
        </p:nvSpPr>
        <p:spPr bwMode="auto">
          <a:xfrm>
            <a:off x="1909233" y="5755218"/>
            <a:ext cx="254000" cy="239183"/>
          </a:xfrm>
          <a:custGeom>
            <a:avLst/>
            <a:gdLst>
              <a:gd name="T0" fmla="*/ 56573964 w 84"/>
              <a:gd name="T1" fmla="*/ 356995826 h 80"/>
              <a:gd name="T2" fmla="*/ 46289232 w 84"/>
              <a:gd name="T3" fmla="*/ 351968506 h 80"/>
              <a:gd name="T4" fmla="*/ 46289232 w 84"/>
              <a:gd name="T5" fmla="*/ 346938943 h 80"/>
              <a:gd name="T6" fmla="*/ 46289232 w 84"/>
              <a:gd name="T7" fmla="*/ 341911622 h 80"/>
              <a:gd name="T8" fmla="*/ 236585125 w 84"/>
              <a:gd name="T9" fmla="*/ 20111525 h 80"/>
              <a:gd name="T10" fmla="*/ 200582893 w 84"/>
              <a:gd name="T11" fmla="*/ 0 h 80"/>
              <a:gd name="T12" fmla="*/ 10287000 w 84"/>
              <a:gd name="T13" fmla="*/ 321797855 h 80"/>
              <a:gd name="T14" fmla="*/ 10287000 w 84"/>
              <a:gd name="T15" fmla="*/ 372080031 h 80"/>
              <a:gd name="T16" fmla="*/ 56573964 w 84"/>
              <a:gd name="T17" fmla="*/ 402248439 h 80"/>
              <a:gd name="T18" fmla="*/ 432026786 w 84"/>
              <a:gd name="T19" fmla="*/ 402248439 h 80"/>
              <a:gd name="T20" fmla="*/ 432026786 w 84"/>
              <a:gd name="T21" fmla="*/ 356995826 h 80"/>
              <a:gd name="T22" fmla="*/ 56573964 w 84"/>
              <a:gd name="T23" fmla="*/ 356995826 h 8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84" h="80">
                <a:moveTo>
                  <a:pt x="11" y="71"/>
                </a:moveTo>
                <a:cubicBezTo>
                  <a:pt x="10" y="71"/>
                  <a:pt x="9" y="71"/>
                  <a:pt x="9" y="70"/>
                </a:cubicBezTo>
                <a:cubicBezTo>
                  <a:pt x="9" y="70"/>
                  <a:pt x="9" y="70"/>
                  <a:pt x="9" y="69"/>
                </a:cubicBezTo>
                <a:cubicBezTo>
                  <a:pt x="9" y="69"/>
                  <a:pt x="9" y="68"/>
                  <a:pt x="9" y="68"/>
                </a:cubicBezTo>
                <a:cubicBezTo>
                  <a:pt x="9" y="68"/>
                  <a:pt x="27" y="36"/>
                  <a:pt x="46" y="4"/>
                </a:cubicBezTo>
                <a:cubicBezTo>
                  <a:pt x="39" y="0"/>
                  <a:pt x="39" y="0"/>
                  <a:pt x="39" y="0"/>
                </a:cubicBezTo>
                <a:cubicBezTo>
                  <a:pt x="2" y="64"/>
                  <a:pt x="2" y="64"/>
                  <a:pt x="2" y="64"/>
                </a:cubicBezTo>
                <a:cubicBezTo>
                  <a:pt x="0" y="67"/>
                  <a:pt x="0" y="71"/>
                  <a:pt x="2" y="74"/>
                </a:cubicBezTo>
                <a:cubicBezTo>
                  <a:pt x="4" y="78"/>
                  <a:pt x="7" y="80"/>
                  <a:pt x="11" y="80"/>
                </a:cubicBezTo>
                <a:cubicBezTo>
                  <a:pt x="84" y="80"/>
                  <a:pt x="84" y="80"/>
                  <a:pt x="84" y="80"/>
                </a:cubicBezTo>
                <a:cubicBezTo>
                  <a:pt x="84" y="71"/>
                  <a:pt x="84" y="71"/>
                  <a:pt x="84" y="71"/>
                </a:cubicBezTo>
                <a:lnTo>
                  <a:pt x="11" y="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57" name="Freeform 269"/>
          <p:cNvSpPr>
            <a:spLocks/>
          </p:cNvSpPr>
          <p:nvPr/>
        </p:nvSpPr>
        <p:spPr bwMode="auto">
          <a:xfrm>
            <a:off x="2144184" y="5659967"/>
            <a:ext cx="48683" cy="203200"/>
          </a:xfrm>
          <a:custGeom>
            <a:avLst/>
            <a:gdLst>
              <a:gd name="T0" fmla="*/ 0 w 16"/>
              <a:gd name="T1" fmla="*/ 41391385 h 67"/>
              <a:gd name="T2" fmla="*/ 0 w 16"/>
              <a:gd name="T3" fmla="*/ 310436525 h 67"/>
              <a:gd name="T4" fmla="*/ 41662474 w 16"/>
              <a:gd name="T5" fmla="*/ 346653134 h 67"/>
              <a:gd name="T6" fmla="*/ 83322666 w 16"/>
              <a:gd name="T7" fmla="*/ 310436525 h 67"/>
              <a:gd name="T8" fmla="*/ 83322666 w 16"/>
              <a:gd name="T9" fmla="*/ 41391385 h 67"/>
              <a:gd name="T10" fmla="*/ 41662474 w 16"/>
              <a:gd name="T11" fmla="*/ 0 h 67"/>
              <a:gd name="T12" fmla="*/ 0 w 16"/>
              <a:gd name="T13" fmla="*/ 41391385 h 6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6" h="67">
                <a:moveTo>
                  <a:pt x="0" y="8"/>
                </a:moveTo>
                <a:cubicBezTo>
                  <a:pt x="0" y="60"/>
                  <a:pt x="0" y="60"/>
                  <a:pt x="0" y="60"/>
                </a:cubicBezTo>
                <a:cubicBezTo>
                  <a:pt x="0" y="64"/>
                  <a:pt x="4" y="67"/>
                  <a:pt x="8" y="67"/>
                </a:cubicBezTo>
                <a:cubicBezTo>
                  <a:pt x="12" y="67"/>
                  <a:pt x="16" y="64"/>
                  <a:pt x="16" y="60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3"/>
                  <a:pt x="12" y="0"/>
                  <a:pt x="8" y="0"/>
                </a:cubicBezTo>
                <a:cubicBezTo>
                  <a:pt x="4" y="0"/>
                  <a:pt x="0" y="3"/>
                  <a:pt x="0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58" name="Oval 270"/>
          <p:cNvSpPr>
            <a:spLocks noChangeArrowheads="1"/>
          </p:cNvSpPr>
          <p:nvPr/>
        </p:nvSpPr>
        <p:spPr bwMode="auto">
          <a:xfrm>
            <a:off x="2142067" y="5886451"/>
            <a:ext cx="52917" cy="508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659" name="Freeform 271"/>
          <p:cNvSpPr>
            <a:spLocks/>
          </p:cNvSpPr>
          <p:nvPr/>
        </p:nvSpPr>
        <p:spPr bwMode="auto">
          <a:xfrm>
            <a:off x="2844801" y="5721351"/>
            <a:ext cx="148167" cy="135467"/>
          </a:xfrm>
          <a:custGeom>
            <a:avLst/>
            <a:gdLst>
              <a:gd name="T0" fmla="*/ 210869893 w 49"/>
              <a:gd name="T1" fmla="*/ 81559964 h 45"/>
              <a:gd name="T2" fmla="*/ 216013393 w 49"/>
              <a:gd name="T3" fmla="*/ 81559964 h 45"/>
              <a:gd name="T4" fmla="*/ 226300393 w 49"/>
              <a:gd name="T5" fmla="*/ 76464160 h 45"/>
              <a:gd name="T6" fmla="*/ 216013393 w 49"/>
              <a:gd name="T7" fmla="*/ 71366098 h 45"/>
              <a:gd name="T8" fmla="*/ 216013393 w 49"/>
              <a:gd name="T9" fmla="*/ 71366098 h 45"/>
              <a:gd name="T10" fmla="*/ 190298161 w 49"/>
              <a:gd name="T11" fmla="*/ 25488053 h 45"/>
              <a:gd name="T12" fmla="*/ 128578429 w 49"/>
              <a:gd name="T13" fmla="*/ 0 h 45"/>
              <a:gd name="T14" fmla="*/ 51432732 w 49"/>
              <a:gd name="T15" fmla="*/ 81559964 h 45"/>
              <a:gd name="T16" fmla="*/ 36002232 w 49"/>
              <a:gd name="T17" fmla="*/ 107048018 h 45"/>
              <a:gd name="T18" fmla="*/ 66860964 w 49"/>
              <a:gd name="T19" fmla="*/ 158024124 h 45"/>
              <a:gd name="T20" fmla="*/ 72004464 w 49"/>
              <a:gd name="T21" fmla="*/ 178414116 h 45"/>
              <a:gd name="T22" fmla="*/ 10287000 w 49"/>
              <a:gd name="T23" fmla="*/ 178414116 h 45"/>
              <a:gd name="T24" fmla="*/ 0 w 49"/>
              <a:gd name="T25" fmla="*/ 183512178 h 45"/>
              <a:gd name="T26" fmla="*/ 10287000 w 49"/>
              <a:gd name="T27" fmla="*/ 193708302 h 45"/>
              <a:gd name="T28" fmla="*/ 82291464 w 49"/>
              <a:gd name="T29" fmla="*/ 193708302 h 45"/>
              <a:gd name="T30" fmla="*/ 87434964 w 49"/>
              <a:gd name="T31" fmla="*/ 188610240 h 45"/>
              <a:gd name="T32" fmla="*/ 87434964 w 49"/>
              <a:gd name="T33" fmla="*/ 183512178 h 45"/>
              <a:gd name="T34" fmla="*/ 77147964 w 49"/>
              <a:gd name="T35" fmla="*/ 147830258 h 45"/>
              <a:gd name="T36" fmla="*/ 77147964 w 49"/>
              <a:gd name="T37" fmla="*/ 147830258 h 45"/>
              <a:gd name="T38" fmla="*/ 51432732 w 49"/>
              <a:gd name="T39" fmla="*/ 107048018 h 45"/>
              <a:gd name="T40" fmla="*/ 61717464 w 49"/>
              <a:gd name="T41" fmla="*/ 91756089 h 45"/>
              <a:gd name="T42" fmla="*/ 66860964 w 49"/>
              <a:gd name="T43" fmla="*/ 86658027 h 45"/>
              <a:gd name="T44" fmla="*/ 128578429 w 49"/>
              <a:gd name="T45" fmla="*/ 15291929 h 45"/>
              <a:gd name="T46" fmla="*/ 180011161 w 49"/>
              <a:gd name="T47" fmla="*/ 35681920 h 45"/>
              <a:gd name="T48" fmla="*/ 200582893 w 49"/>
              <a:gd name="T49" fmla="*/ 71366098 h 45"/>
              <a:gd name="T50" fmla="*/ 97719696 w 49"/>
              <a:gd name="T51" fmla="*/ 71366098 h 45"/>
              <a:gd name="T52" fmla="*/ 92576196 w 49"/>
              <a:gd name="T53" fmla="*/ 76464160 h 45"/>
              <a:gd name="T54" fmla="*/ 97719696 w 49"/>
              <a:gd name="T55" fmla="*/ 81559964 h 45"/>
              <a:gd name="T56" fmla="*/ 195441661 w 49"/>
              <a:gd name="T57" fmla="*/ 81559964 h 45"/>
              <a:gd name="T58" fmla="*/ 169724161 w 49"/>
              <a:gd name="T59" fmla="*/ 188610240 h 45"/>
              <a:gd name="T60" fmla="*/ 128578429 w 49"/>
              <a:gd name="T61" fmla="*/ 209000231 h 45"/>
              <a:gd name="T62" fmla="*/ 118293696 w 49"/>
              <a:gd name="T63" fmla="*/ 214098293 h 45"/>
              <a:gd name="T64" fmla="*/ 123437196 w 49"/>
              <a:gd name="T65" fmla="*/ 224292160 h 45"/>
              <a:gd name="T66" fmla="*/ 180011161 w 49"/>
              <a:gd name="T67" fmla="*/ 193708302 h 45"/>
              <a:gd name="T68" fmla="*/ 185154661 w 49"/>
              <a:gd name="T69" fmla="*/ 193708302 h 45"/>
              <a:gd name="T70" fmla="*/ 252015625 w 49"/>
              <a:gd name="T71" fmla="*/ 193708302 h 45"/>
              <a:gd name="T72" fmla="*/ 246872125 w 49"/>
              <a:gd name="T73" fmla="*/ 178414116 h 45"/>
              <a:gd name="T74" fmla="*/ 185154661 w 49"/>
              <a:gd name="T75" fmla="*/ 178414116 h 45"/>
              <a:gd name="T76" fmla="*/ 210869893 w 49"/>
              <a:gd name="T77" fmla="*/ 81559964 h 4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49" h="45">
                <a:moveTo>
                  <a:pt x="41" y="16"/>
                </a:moveTo>
                <a:cubicBezTo>
                  <a:pt x="42" y="16"/>
                  <a:pt x="42" y="16"/>
                  <a:pt x="42" y="16"/>
                </a:cubicBezTo>
                <a:cubicBezTo>
                  <a:pt x="43" y="16"/>
                  <a:pt x="44" y="16"/>
                  <a:pt x="44" y="15"/>
                </a:cubicBezTo>
                <a:cubicBezTo>
                  <a:pt x="44" y="14"/>
                  <a:pt x="43" y="14"/>
                  <a:pt x="42" y="14"/>
                </a:cubicBezTo>
                <a:cubicBezTo>
                  <a:pt x="42" y="14"/>
                  <a:pt x="42" y="14"/>
                  <a:pt x="42" y="14"/>
                </a:cubicBezTo>
                <a:cubicBezTo>
                  <a:pt x="41" y="12"/>
                  <a:pt x="40" y="8"/>
                  <a:pt x="37" y="5"/>
                </a:cubicBezTo>
                <a:cubicBezTo>
                  <a:pt x="34" y="2"/>
                  <a:pt x="30" y="0"/>
                  <a:pt x="25" y="0"/>
                </a:cubicBezTo>
                <a:cubicBezTo>
                  <a:pt x="16" y="0"/>
                  <a:pt x="11" y="5"/>
                  <a:pt x="10" y="16"/>
                </a:cubicBezTo>
                <a:cubicBezTo>
                  <a:pt x="9" y="16"/>
                  <a:pt x="7" y="18"/>
                  <a:pt x="7" y="21"/>
                </a:cubicBezTo>
                <a:cubicBezTo>
                  <a:pt x="7" y="25"/>
                  <a:pt x="9" y="28"/>
                  <a:pt x="13" y="31"/>
                </a:cubicBezTo>
                <a:cubicBezTo>
                  <a:pt x="13" y="31"/>
                  <a:pt x="13" y="33"/>
                  <a:pt x="14" y="35"/>
                </a:cubicBezTo>
                <a:cubicBezTo>
                  <a:pt x="11" y="35"/>
                  <a:pt x="2" y="35"/>
                  <a:pt x="2" y="35"/>
                </a:cubicBezTo>
                <a:cubicBezTo>
                  <a:pt x="1" y="35"/>
                  <a:pt x="0" y="36"/>
                  <a:pt x="0" y="36"/>
                </a:cubicBezTo>
                <a:cubicBezTo>
                  <a:pt x="0" y="37"/>
                  <a:pt x="1" y="38"/>
                  <a:pt x="2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8"/>
                  <a:pt x="17" y="38"/>
                  <a:pt x="17" y="37"/>
                </a:cubicBezTo>
                <a:cubicBezTo>
                  <a:pt x="17" y="37"/>
                  <a:pt x="17" y="36"/>
                  <a:pt x="17" y="36"/>
                </a:cubicBezTo>
                <a:cubicBezTo>
                  <a:pt x="15" y="29"/>
                  <a:pt x="15" y="29"/>
                  <a:pt x="15" y="29"/>
                </a:cubicBezTo>
                <a:cubicBezTo>
                  <a:pt x="15" y="29"/>
                  <a:pt x="15" y="29"/>
                  <a:pt x="15" y="29"/>
                </a:cubicBezTo>
                <a:cubicBezTo>
                  <a:pt x="12" y="26"/>
                  <a:pt x="10" y="24"/>
                  <a:pt x="10" y="21"/>
                </a:cubicBezTo>
                <a:cubicBezTo>
                  <a:pt x="10" y="19"/>
                  <a:pt x="11" y="18"/>
                  <a:pt x="12" y="18"/>
                </a:cubicBezTo>
                <a:cubicBezTo>
                  <a:pt x="12" y="18"/>
                  <a:pt x="13" y="17"/>
                  <a:pt x="13" y="17"/>
                </a:cubicBezTo>
                <a:cubicBezTo>
                  <a:pt x="13" y="7"/>
                  <a:pt x="17" y="3"/>
                  <a:pt x="25" y="3"/>
                </a:cubicBezTo>
                <a:cubicBezTo>
                  <a:pt x="30" y="3"/>
                  <a:pt x="33" y="4"/>
                  <a:pt x="35" y="7"/>
                </a:cubicBezTo>
                <a:cubicBezTo>
                  <a:pt x="37" y="9"/>
                  <a:pt x="38" y="12"/>
                  <a:pt x="39" y="14"/>
                </a:cubicBezTo>
                <a:cubicBezTo>
                  <a:pt x="19" y="14"/>
                  <a:pt x="19" y="14"/>
                  <a:pt x="19" y="14"/>
                </a:cubicBezTo>
                <a:cubicBezTo>
                  <a:pt x="18" y="14"/>
                  <a:pt x="18" y="14"/>
                  <a:pt x="18" y="15"/>
                </a:cubicBezTo>
                <a:cubicBezTo>
                  <a:pt x="18" y="16"/>
                  <a:pt x="18" y="16"/>
                  <a:pt x="19" y="16"/>
                </a:cubicBezTo>
                <a:cubicBezTo>
                  <a:pt x="38" y="16"/>
                  <a:pt x="38" y="16"/>
                  <a:pt x="38" y="16"/>
                </a:cubicBezTo>
                <a:cubicBezTo>
                  <a:pt x="36" y="24"/>
                  <a:pt x="33" y="36"/>
                  <a:pt x="33" y="37"/>
                </a:cubicBezTo>
                <a:cubicBezTo>
                  <a:pt x="32" y="40"/>
                  <a:pt x="30" y="43"/>
                  <a:pt x="25" y="41"/>
                </a:cubicBezTo>
                <a:cubicBezTo>
                  <a:pt x="24" y="41"/>
                  <a:pt x="23" y="41"/>
                  <a:pt x="23" y="42"/>
                </a:cubicBezTo>
                <a:cubicBezTo>
                  <a:pt x="23" y="43"/>
                  <a:pt x="23" y="44"/>
                  <a:pt x="24" y="44"/>
                </a:cubicBezTo>
                <a:cubicBezTo>
                  <a:pt x="27" y="45"/>
                  <a:pt x="33" y="45"/>
                  <a:pt x="35" y="38"/>
                </a:cubicBezTo>
                <a:cubicBezTo>
                  <a:pt x="35" y="38"/>
                  <a:pt x="36" y="38"/>
                  <a:pt x="36" y="38"/>
                </a:cubicBezTo>
                <a:cubicBezTo>
                  <a:pt x="49" y="38"/>
                  <a:pt x="49" y="38"/>
                  <a:pt x="49" y="38"/>
                </a:cubicBezTo>
                <a:cubicBezTo>
                  <a:pt x="49" y="37"/>
                  <a:pt x="48" y="36"/>
                  <a:pt x="48" y="35"/>
                </a:cubicBezTo>
                <a:cubicBezTo>
                  <a:pt x="36" y="35"/>
                  <a:pt x="36" y="35"/>
                  <a:pt x="36" y="35"/>
                </a:cubicBezTo>
                <a:cubicBezTo>
                  <a:pt x="38" y="30"/>
                  <a:pt x="40" y="20"/>
                  <a:pt x="41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0" name="Freeform 272"/>
          <p:cNvSpPr>
            <a:spLocks/>
          </p:cNvSpPr>
          <p:nvPr/>
        </p:nvSpPr>
        <p:spPr bwMode="auto">
          <a:xfrm>
            <a:off x="2921000" y="5873751"/>
            <a:ext cx="95251" cy="63500"/>
          </a:xfrm>
          <a:custGeom>
            <a:avLst/>
            <a:gdLst>
              <a:gd name="T0" fmla="*/ 89708269 w 32"/>
              <a:gd name="T1" fmla="*/ 0 h 21"/>
              <a:gd name="T2" fmla="*/ 0 w 32"/>
              <a:gd name="T3" fmla="*/ 92576196 h 21"/>
              <a:gd name="T4" fmla="*/ 0 w 32"/>
              <a:gd name="T5" fmla="*/ 102863196 h 21"/>
              <a:gd name="T6" fmla="*/ 9967833 w 32"/>
              <a:gd name="T7" fmla="*/ 102863196 h 21"/>
              <a:gd name="T8" fmla="*/ 94691069 w 32"/>
              <a:gd name="T9" fmla="*/ 15430500 h 21"/>
              <a:gd name="T10" fmla="*/ 159480870 w 32"/>
              <a:gd name="T11" fmla="*/ 30858732 h 21"/>
              <a:gd name="T12" fmla="*/ 159480870 w 32"/>
              <a:gd name="T13" fmla="*/ 25715232 h 21"/>
              <a:gd name="T14" fmla="*/ 154498070 w 32"/>
              <a:gd name="T15" fmla="*/ 25715232 h 21"/>
              <a:gd name="T16" fmla="*/ 149513037 w 32"/>
              <a:gd name="T17" fmla="*/ 15430500 h 21"/>
              <a:gd name="T18" fmla="*/ 94691069 w 32"/>
              <a:gd name="T19" fmla="*/ 0 h 21"/>
              <a:gd name="T20" fmla="*/ 89708269 w 32"/>
              <a:gd name="T21" fmla="*/ 0 h 2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2" h="21">
                <a:moveTo>
                  <a:pt x="18" y="0"/>
                </a:moveTo>
                <a:cubicBezTo>
                  <a:pt x="0" y="18"/>
                  <a:pt x="0" y="18"/>
                  <a:pt x="0" y="18"/>
                </a:cubicBezTo>
                <a:cubicBezTo>
                  <a:pt x="0" y="19"/>
                  <a:pt x="0" y="20"/>
                  <a:pt x="0" y="20"/>
                </a:cubicBezTo>
                <a:cubicBezTo>
                  <a:pt x="1" y="21"/>
                  <a:pt x="2" y="21"/>
                  <a:pt x="2" y="20"/>
                </a:cubicBezTo>
                <a:cubicBezTo>
                  <a:pt x="2" y="20"/>
                  <a:pt x="18" y="4"/>
                  <a:pt x="19" y="3"/>
                </a:cubicBezTo>
                <a:cubicBezTo>
                  <a:pt x="20" y="3"/>
                  <a:pt x="26" y="5"/>
                  <a:pt x="32" y="6"/>
                </a:cubicBezTo>
                <a:cubicBezTo>
                  <a:pt x="32" y="6"/>
                  <a:pt x="32" y="6"/>
                  <a:pt x="32" y="5"/>
                </a:cubicBezTo>
                <a:cubicBezTo>
                  <a:pt x="31" y="5"/>
                  <a:pt x="31" y="5"/>
                  <a:pt x="31" y="5"/>
                </a:cubicBezTo>
                <a:cubicBezTo>
                  <a:pt x="31" y="4"/>
                  <a:pt x="31" y="4"/>
                  <a:pt x="30" y="3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8" y="0"/>
                  <a:pt x="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1" name="Freeform 273"/>
          <p:cNvSpPr>
            <a:spLocks/>
          </p:cNvSpPr>
          <p:nvPr/>
        </p:nvSpPr>
        <p:spPr bwMode="auto">
          <a:xfrm>
            <a:off x="2914651" y="5791201"/>
            <a:ext cx="25400" cy="46567"/>
          </a:xfrm>
          <a:custGeom>
            <a:avLst/>
            <a:gdLst>
              <a:gd name="T0" fmla="*/ 17921817 w 9"/>
              <a:gd name="T1" fmla="*/ 76234727 h 16"/>
              <a:gd name="T2" fmla="*/ 40322500 w 9"/>
              <a:gd name="T3" fmla="*/ 47646431 h 16"/>
              <a:gd name="T4" fmla="*/ 26881667 w 9"/>
              <a:gd name="T5" fmla="*/ 47646431 h 16"/>
              <a:gd name="T6" fmla="*/ 17921817 w 9"/>
              <a:gd name="T7" fmla="*/ 61941670 h 16"/>
              <a:gd name="T8" fmla="*/ 13440833 w 9"/>
              <a:gd name="T9" fmla="*/ 38118455 h 16"/>
              <a:gd name="T10" fmla="*/ 17921817 w 9"/>
              <a:gd name="T11" fmla="*/ 14293056 h 16"/>
              <a:gd name="T12" fmla="*/ 22400683 w 9"/>
              <a:gd name="T13" fmla="*/ 9530159 h 16"/>
              <a:gd name="T14" fmla="*/ 22400683 w 9"/>
              <a:gd name="T15" fmla="*/ 9530159 h 16"/>
              <a:gd name="T16" fmla="*/ 26881667 w 9"/>
              <a:gd name="T17" fmla="*/ 14293056 h 16"/>
              <a:gd name="T18" fmla="*/ 26881667 w 9"/>
              <a:gd name="T19" fmla="*/ 28588295 h 16"/>
              <a:gd name="T20" fmla="*/ 26881667 w 9"/>
              <a:gd name="T21" fmla="*/ 28588295 h 16"/>
              <a:gd name="T22" fmla="*/ 26881667 w 9"/>
              <a:gd name="T23" fmla="*/ 33353375 h 16"/>
              <a:gd name="T24" fmla="*/ 40322500 w 9"/>
              <a:gd name="T25" fmla="*/ 33353375 h 16"/>
              <a:gd name="T26" fmla="*/ 40322500 w 9"/>
              <a:gd name="T27" fmla="*/ 28588295 h 16"/>
              <a:gd name="T28" fmla="*/ 40322500 w 9"/>
              <a:gd name="T29" fmla="*/ 28588295 h 16"/>
              <a:gd name="T30" fmla="*/ 40322500 w 9"/>
              <a:gd name="T31" fmla="*/ 23823216 h 16"/>
              <a:gd name="T32" fmla="*/ 35841517 w 9"/>
              <a:gd name="T33" fmla="*/ 4765080 h 16"/>
              <a:gd name="T34" fmla="*/ 22400683 w 9"/>
              <a:gd name="T35" fmla="*/ 0 h 16"/>
              <a:gd name="T36" fmla="*/ 22400683 w 9"/>
              <a:gd name="T37" fmla="*/ 0 h 16"/>
              <a:gd name="T38" fmla="*/ 22400683 w 9"/>
              <a:gd name="T39" fmla="*/ 0 h 16"/>
              <a:gd name="T40" fmla="*/ 8959850 w 9"/>
              <a:gd name="T41" fmla="*/ 4765080 h 16"/>
              <a:gd name="T42" fmla="*/ 0 w 9"/>
              <a:gd name="T43" fmla="*/ 38118455 h 16"/>
              <a:gd name="T44" fmla="*/ 17921817 w 9"/>
              <a:gd name="T45" fmla="*/ 76234727 h 1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" h="16">
                <a:moveTo>
                  <a:pt x="4" y="16"/>
                </a:moveTo>
                <a:cubicBezTo>
                  <a:pt x="7" y="16"/>
                  <a:pt x="8" y="13"/>
                  <a:pt x="9" y="10"/>
                </a:cubicBezTo>
                <a:cubicBezTo>
                  <a:pt x="6" y="10"/>
                  <a:pt x="6" y="10"/>
                  <a:pt x="6" y="10"/>
                </a:cubicBezTo>
                <a:cubicBezTo>
                  <a:pt x="6" y="12"/>
                  <a:pt x="5" y="13"/>
                  <a:pt x="4" y="13"/>
                </a:cubicBezTo>
                <a:cubicBezTo>
                  <a:pt x="3" y="13"/>
                  <a:pt x="3" y="13"/>
                  <a:pt x="3" y="8"/>
                </a:cubicBezTo>
                <a:cubicBezTo>
                  <a:pt x="3" y="7"/>
                  <a:pt x="3" y="4"/>
                  <a:pt x="4" y="3"/>
                </a:cubicBezTo>
                <a:cubicBezTo>
                  <a:pt x="4" y="3"/>
                  <a:pt x="4" y="2"/>
                  <a:pt x="5" y="2"/>
                </a:cubicBezTo>
                <a:cubicBezTo>
                  <a:pt x="5" y="2"/>
                  <a:pt x="5" y="2"/>
                  <a:pt x="5" y="2"/>
                </a:cubicBezTo>
                <a:cubicBezTo>
                  <a:pt x="5" y="2"/>
                  <a:pt x="6" y="2"/>
                  <a:pt x="6" y="3"/>
                </a:cubicBezTo>
                <a:cubicBezTo>
                  <a:pt x="6" y="3"/>
                  <a:pt x="7" y="4"/>
                  <a:pt x="6" y="6"/>
                </a:cubicBezTo>
                <a:cubicBezTo>
                  <a:pt x="6" y="6"/>
                  <a:pt x="6" y="6"/>
                  <a:pt x="6" y="6"/>
                </a:cubicBezTo>
                <a:cubicBezTo>
                  <a:pt x="6" y="6"/>
                  <a:pt x="6" y="6"/>
                  <a:pt x="6" y="7"/>
                </a:cubicBezTo>
                <a:cubicBezTo>
                  <a:pt x="9" y="7"/>
                  <a:pt x="9" y="7"/>
                  <a:pt x="9" y="7"/>
                </a:cubicBezTo>
                <a:cubicBezTo>
                  <a:pt x="9" y="7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5"/>
                  <a:pt x="9" y="5"/>
                </a:cubicBezTo>
                <a:cubicBezTo>
                  <a:pt x="9" y="3"/>
                  <a:pt x="9" y="2"/>
                  <a:pt x="8" y="1"/>
                </a:cubicBezTo>
                <a:cubicBezTo>
                  <a:pt x="7" y="0"/>
                  <a:pt x="5" y="0"/>
                  <a:pt x="5" y="0"/>
                </a:cubicBezTo>
                <a:cubicBezTo>
                  <a:pt x="5" y="0"/>
                  <a:pt x="5" y="0"/>
                  <a:pt x="5" y="0"/>
                </a:cubicBezTo>
                <a:cubicBezTo>
                  <a:pt x="5" y="0"/>
                  <a:pt x="5" y="0"/>
                  <a:pt x="5" y="0"/>
                </a:cubicBezTo>
                <a:cubicBezTo>
                  <a:pt x="4" y="0"/>
                  <a:pt x="3" y="0"/>
                  <a:pt x="2" y="1"/>
                </a:cubicBezTo>
                <a:cubicBezTo>
                  <a:pt x="0" y="2"/>
                  <a:pt x="0" y="5"/>
                  <a:pt x="0" y="8"/>
                </a:cubicBezTo>
                <a:cubicBezTo>
                  <a:pt x="0" y="11"/>
                  <a:pt x="0" y="16"/>
                  <a:pt x="4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2" name="Freeform 274"/>
          <p:cNvSpPr>
            <a:spLocks/>
          </p:cNvSpPr>
          <p:nvPr/>
        </p:nvSpPr>
        <p:spPr bwMode="auto">
          <a:xfrm>
            <a:off x="2785533" y="5615518"/>
            <a:ext cx="457200" cy="425449"/>
          </a:xfrm>
          <a:custGeom>
            <a:avLst/>
            <a:gdLst>
              <a:gd name="T0" fmla="*/ 636147178 w 152"/>
              <a:gd name="T1" fmla="*/ 435311611 h 141"/>
              <a:gd name="T2" fmla="*/ 605613286 w 152"/>
              <a:gd name="T3" fmla="*/ 486523943 h 141"/>
              <a:gd name="T4" fmla="*/ 681949143 w 152"/>
              <a:gd name="T5" fmla="*/ 558223471 h 141"/>
              <a:gd name="T6" fmla="*/ 442758345 w 152"/>
              <a:gd name="T7" fmla="*/ 645284435 h 141"/>
              <a:gd name="T8" fmla="*/ 76338113 w 152"/>
              <a:gd name="T9" fmla="*/ 276551119 h 141"/>
              <a:gd name="T10" fmla="*/ 147586867 w 152"/>
              <a:gd name="T11" fmla="*/ 56333565 h 141"/>
              <a:gd name="T12" fmla="*/ 96693288 w 152"/>
              <a:gd name="T13" fmla="*/ 0 h 141"/>
              <a:gd name="T14" fmla="*/ 0 w 152"/>
              <a:gd name="T15" fmla="*/ 276551119 h 141"/>
              <a:gd name="T16" fmla="*/ 442758345 w 152"/>
              <a:gd name="T17" fmla="*/ 722105196 h 141"/>
              <a:gd name="T18" fmla="*/ 773555329 w 152"/>
              <a:gd name="T19" fmla="*/ 568465937 h 141"/>
              <a:gd name="T20" fmla="*/ 636147178 w 152"/>
              <a:gd name="T21" fmla="*/ 435311611 h 14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2" h="141">
                <a:moveTo>
                  <a:pt x="125" y="85"/>
                </a:moveTo>
                <a:cubicBezTo>
                  <a:pt x="123" y="89"/>
                  <a:pt x="121" y="93"/>
                  <a:pt x="119" y="95"/>
                </a:cubicBezTo>
                <a:cubicBezTo>
                  <a:pt x="134" y="109"/>
                  <a:pt x="134" y="109"/>
                  <a:pt x="134" y="109"/>
                </a:cubicBezTo>
                <a:cubicBezTo>
                  <a:pt x="121" y="120"/>
                  <a:pt x="105" y="126"/>
                  <a:pt x="87" y="126"/>
                </a:cubicBezTo>
                <a:cubicBezTo>
                  <a:pt x="47" y="126"/>
                  <a:pt x="15" y="94"/>
                  <a:pt x="15" y="54"/>
                </a:cubicBezTo>
                <a:cubicBezTo>
                  <a:pt x="15" y="38"/>
                  <a:pt x="20" y="23"/>
                  <a:pt x="29" y="11"/>
                </a:cubicBezTo>
                <a:cubicBezTo>
                  <a:pt x="19" y="0"/>
                  <a:pt x="19" y="0"/>
                  <a:pt x="19" y="0"/>
                </a:cubicBezTo>
                <a:cubicBezTo>
                  <a:pt x="7" y="15"/>
                  <a:pt x="0" y="34"/>
                  <a:pt x="0" y="54"/>
                </a:cubicBezTo>
                <a:cubicBezTo>
                  <a:pt x="0" y="102"/>
                  <a:pt x="39" y="141"/>
                  <a:pt x="87" y="141"/>
                </a:cubicBezTo>
                <a:cubicBezTo>
                  <a:pt x="113" y="141"/>
                  <a:pt x="136" y="129"/>
                  <a:pt x="152" y="111"/>
                </a:cubicBezTo>
                <a:lnTo>
                  <a:pt x="125" y="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3" name="Freeform 275"/>
          <p:cNvSpPr>
            <a:spLocks/>
          </p:cNvSpPr>
          <p:nvPr/>
        </p:nvSpPr>
        <p:spPr bwMode="auto">
          <a:xfrm>
            <a:off x="2846918" y="5516033"/>
            <a:ext cx="461433" cy="425451"/>
          </a:xfrm>
          <a:custGeom>
            <a:avLst/>
            <a:gdLst>
              <a:gd name="T0" fmla="*/ 332559980 w 153"/>
              <a:gd name="T1" fmla="*/ 486525468 h 141"/>
              <a:gd name="T2" fmla="*/ 342792942 w 153"/>
              <a:gd name="T3" fmla="*/ 409706729 h 141"/>
              <a:gd name="T4" fmla="*/ 97210884 w 153"/>
              <a:gd name="T5" fmla="*/ 163882239 h 141"/>
              <a:gd name="T6" fmla="*/ 337676461 w 153"/>
              <a:gd name="T7" fmla="*/ 76821002 h 141"/>
              <a:gd name="T8" fmla="*/ 706051810 w 153"/>
              <a:gd name="T9" fmla="*/ 445555474 h 141"/>
              <a:gd name="T10" fmla="*/ 634423333 w 153"/>
              <a:gd name="T11" fmla="*/ 670894967 h 141"/>
              <a:gd name="T12" fmla="*/ 685585885 w 153"/>
              <a:gd name="T13" fmla="*/ 722107459 h 141"/>
              <a:gd name="T14" fmla="*/ 782796769 w 153"/>
              <a:gd name="T15" fmla="*/ 445555474 h 141"/>
              <a:gd name="T16" fmla="*/ 337676461 w 153"/>
              <a:gd name="T17" fmla="*/ 0 h 141"/>
              <a:gd name="T18" fmla="*/ 0 w 153"/>
              <a:gd name="T19" fmla="*/ 153639740 h 141"/>
              <a:gd name="T20" fmla="*/ 332559980 w 153"/>
              <a:gd name="T21" fmla="*/ 486525468 h 14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53" h="141">
                <a:moveTo>
                  <a:pt x="65" y="95"/>
                </a:moveTo>
                <a:cubicBezTo>
                  <a:pt x="66" y="91"/>
                  <a:pt x="66" y="86"/>
                  <a:pt x="67" y="80"/>
                </a:cubicBezTo>
                <a:cubicBezTo>
                  <a:pt x="19" y="32"/>
                  <a:pt x="19" y="32"/>
                  <a:pt x="19" y="32"/>
                </a:cubicBezTo>
                <a:cubicBezTo>
                  <a:pt x="31" y="21"/>
                  <a:pt x="48" y="15"/>
                  <a:pt x="66" y="15"/>
                </a:cubicBezTo>
                <a:cubicBezTo>
                  <a:pt x="106" y="15"/>
                  <a:pt x="138" y="47"/>
                  <a:pt x="138" y="87"/>
                </a:cubicBezTo>
                <a:cubicBezTo>
                  <a:pt x="138" y="103"/>
                  <a:pt x="133" y="119"/>
                  <a:pt x="124" y="131"/>
                </a:cubicBezTo>
                <a:cubicBezTo>
                  <a:pt x="134" y="141"/>
                  <a:pt x="134" y="141"/>
                  <a:pt x="134" y="141"/>
                </a:cubicBezTo>
                <a:cubicBezTo>
                  <a:pt x="146" y="126"/>
                  <a:pt x="153" y="107"/>
                  <a:pt x="153" y="87"/>
                </a:cubicBezTo>
                <a:cubicBezTo>
                  <a:pt x="153" y="39"/>
                  <a:pt x="114" y="0"/>
                  <a:pt x="66" y="0"/>
                </a:cubicBezTo>
                <a:cubicBezTo>
                  <a:pt x="40" y="0"/>
                  <a:pt x="16" y="12"/>
                  <a:pt x="0" y="30"/>
                </a:cubicBezTo>
                <a:lnTo>
                  <a:pt x="65" y="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4" name="Freeform 276"/>
          <p:cNvSpPr>
            <a:spLocks/>
          </p:cNvSpPr>
          <p:nvPr/>
        </p:nvSpPr>
        <p:spPr bwMode="auto">
          <a:xfrm>
            <a:off x="2980267" y="5659968"/>
            <a:ext cx="237067" cy="268817"/>
          </a:xfrm>
          <a:custGeom>
            <a:avLst/>
            <a:gdLst>
              <a:gd name="T0" fmla="*/ 390032433 w 79"/>
              <a:gd name="T1" fmla="*/ 143686640 h 89"/>
              <a:gd name="T2" fmla="*/ 359639886 w 79"/>
              <a:gd name="T3" fmla="*/ 159081718 h 89"/>
              <a:gd name="T4" fmla="*/ 303920967 w 79"/>
              <a:gd name="T5" fmla="*/ 236054843 h 89"/>
              <a:gd name="T6" fmla="*/ 288724694 w 79"/>
              <a:gd name="T7" fmla="*/ 246318984 h 89"/>
              <a:gd name="T8" fmla="*/ 293790868 w 79"/>
              <a:gd name="T9" fmla="*/ 220662031 h 89"/>
              <a:gd name="T10" fmla="*/ 334313514 w 79"/>
              <a:gd name="T11" fmla="*/ 76975390 h 89"/>
              <a:gd name="T12" fmla="*/ 324183415 w 79"/>
              <a:gd name="T13" fmla="*/ 46185234 h 89"/>
              <a:gd name="T14" fmla="*/ 298854792 w 79"/>
              <a:gd name="T15" fmla="*/ 71842187 h 89"/>
              <a:gd name="T16" fmla="*/ 248202048 w 79"/>
              <a:gd name="T17" fmla="*/ 205266952 h 89"/>
              <a:gd name="T18" fmla="*/ 238071949 w 79"/>
              <a:gd name="T19" fmla="*/ 225792968 h 89"/>
              <a:gd name="T20" fmla="*/ 233005775 w 79"/>
              <a:gd name="T21" fmla="*/ 200133750 h 89"/>
              <a:gd name="T22" fmla="*/ 263398322 w 79"/>
              <a:gd name="T23" fmla="*/ 46185234 h 89"/>
              <a:gd name="T24" fmla="*/ 253268223 w 79"/>
              <a:gd name="T25" fmla="*/ 5130938 h 89"/>
              <a:gd name="T26" fmla="*/ 222875676 w 79"/>
              <a:gd name="T27" fmla="*/ 35921094 h 89"/>
              <a:gd name="T28" fmla="*/ 187416954 w 79"/>
              <a:gd name="T29" fmla="*/ 195002812 h 89"/>
              <a:gd name="T30" fmla="*/ 172222932 w 79"/>
              <a:gd name="T31" fmla="*/ 215528828 h 89"/>
              <a:gd name="T32" fmla="*/ 167156757 w 79"/>
              <a:gd name="T33" fmla="*/ 195002812 h 89"/>
              <a:gd name="T34" fmla="*/ 187416954 w 79"/>
              <a:gd name="T35" fmla="*/ 51316172 h 89"/>
              <a:gd name="T36" fmla="*/ 172222932 w 79"/>
              <a:gd name="T37" fmla="*/ 25659219 h 89"/>
              <a:gd name="T38" fmla="*/ 151960484 w 79"/>
              <a:gd name="T39" fmla="*/ 51316172 h 89"/>
              <a:gd name="T40" fmla="*/ 116504013 w 79"/>
              <a:gd name="T41" fmla="*/ 277109140 h 89"/>
              <a:gd name="T42" fmla="*/ 101307739 w 79"/>
              <a:gd name="T43" fmla="*/ 297635156 h 89"/>
              <a:gd name="T44" fmla="*/ 75979116 w 79"/>
              <a:gd name="T45" fmla="*/ 256583124 h 89"/>
              <a:gd name="T46" fmla="*/ 30392547 w 79"/>
              <a:gd name="T47" fmla="*/ 205266952 h 89"/>
              <a:gd name="T48" fmla="*/ 15196273 w 79"/>
              <a:gd name="T49" fmla="*/ 246318984 h 89"/>
              <a:gd name="T50" fmla="*/ 70915192 w 79"/>
              <a:gd name="T51" fmla="*/ 384874686 h 89"/>
              <a:gd name="T52" fmla="*/ 146894309 w 79"/>
              <a:gd name="T53" fmla="*/ 451585936 h 89"/>
              <a:gd name="T54" fmla="*/ 263398322 w 79"/>
              <a:gd name="T55" fmla="*/ 405400702 h 89"/>
              <a:gd name="T56" fmla="*/ 390032433 w 79"/>
              <a:gd name="T57" fmla="*/ 169343593 h 89"/>
              <a:gd name="T58" fmla="*/ 390032433 w 79"/>
              <a:gd name="T59" fmla="*/ 143686640 h 89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79" h="89">
                <a:moveTo>
                  <a:pt x="77" y="28"/>
                </a:moveTo>
                <a:cubicBezTo>
                  <a:pt x="75" y="27"/>
                  <a:pt x="73" y="28"/>
                  <a:pt x="71" y="31"/>
                </a:cubicBezTo>
                <a:cubicBezTo>
                  <a:pt x="69" y="34"/>
                  <a:pt x="60" y="46"/>
                  <a:pt x="60" y="46"/>
                </a:cubicBezTo>
                <a:cubicBezTo>
                  <a:pt x="60" y="46"/>
                  <a:pt x="59" y="49"/>
                  <a:pt x="57" y="48"/>
                </a:cubicBezTo>
                <a:cubicBezTo>
                  <a:pt x="56" y="47"/>
                  <a:pt x="58" y="43"/>
                  <a:pt x="58" y="43"/>
                </a:cubicBezTo>
                <a:cubicBezTo>
                  <a:pt x="66" y="15"/>
                  <a:pt x="66" y="15"/>
                  <a:pt x="66" y="15"/>
                </a:cubicBezTo>
                <a:cubicBezTo>
                  <a:pt x="66" y="15"/>
                  <a:pt x="67" y="10"/>
                  <a:pt x="64" y="9"/>
                </a:cubicBezTo>
                <a:cubicBezTo>
                  <a:pt x="60" y="9"/>
                  <a:pt x="59" y="12"/>
                  <a:pt x="59" y="14"/>
                </a:cubicBezTo>
                <a:cubicBezTo>
                  <a:pt x="58" y="16"/>
                  <a:pt x="49" y="40"/>
                  <a:pt x="49" y="40"/>
                </a:cubicBezTo>
                <a:cubicBezTo>
                  <a:pt x="49" y="40"/>
                  <a:pt x="49" y="44"/>
                  <a:pt x="47" y="44"/>
                </a:cubicBezTo>
                <a:cubicBezTo>
                  <a:pt x="45" y="43"/>
                  <a:pt x="45" y="42"/>
                  <a:pt x="46" y="39"/>
                </a:cubicBezTo>
                <a:cubicBezTo>
                  <a:pt x="46" y="35"/>
                  <a:pt x="52" y="9"/>
                  <a:pt x="52" y="9"/>
                </a:cubicBezTo>
                <a:cubicBezTo>
                  <a:pt x="52" y="9"/>
                  <a:pt x="55" y="2"/>
                  <a:pt x="50" y="1"/>
                </a:cubicBezTo>
                <a:cubicBezTo>
                  <a:pt x="45" y="0"/>
                  <a:pt x="44" y="7"/>
                  <a:pt x="44" y="7"/>
                </a:cubicBezTo>
                <a:cubicBezTo>
                  <a:pt x="37" y="38"/>
                  <a:pt x="37" y="38"/>
                  <a:pt x="37" y="38"/>
                </a:cubicBezTo>
                <a:cubicBezTo>
                  <a:pt x="37" y="38"/>
                  <a:pt x="36" y="43"/>
                  <a:pt x="34" y="42"/>
                </a:cubicBezTo>
                <a:cubicBezTo>
                  <a:pt x="33" y="42"/>
                  <a:pt x="33" y="41"/>
                  <a:pt x="33" y="38"/>
                </a:cubicBezTo>
                <a:cubicBezTo>
                  <a:pt x="34" y="34"/>
                  <a:pt x="37" y="10"/>
                  <a:pt x="37" y="10"/>
                </a:cubicBezTo>
                <a:cubicBezTo>
                  <a:pt x="37" y="10"/>
                  <a:pt x="38" y="5"/>
                  <a:pt x="34" y="5"/>
                </a:cubicBezTo>
                <a:cubicBezTo>
                  <a:pt x="30" y="4"/>
                  <a:pt x="30" y="10"/>
                  <a:pt x="30" y="10"/>
                </a:cubicBezTo>
                <a:cubicBezTo>
                  <a:pt x="23" y="54"/>
                  <a:pt x="23" y="54"/>
                  <a:pt x="23" y="54"/>
                </a:cubicBezTo>
                <a:cubicBezTo>
                  <a:pt x="23" y="54"/>
                  <a:pt x="22" y="58"/>
                  <a:pt x="20" y="58"/>
                </a:cubicBezTo>
                <a:cubicBezTo>
                  <a:pt x="18" y="58"/>
                  <a:pt x="17" y="54"/>
                  <a:pt x="15" y="50"/>
                </a:cubicBezTo>
                <a:cubicBezTo>
                  <a:pt x="13" y="45"/>
                  <a:pt x="11" y="38"/>
                  <a:pt x="6" y="40"/>
                </a:cubicBezTo>
                <a:cubicBezTo>
                  <a:pt x="0" y="41"/>
                  <a:pt x="3" y="48"/>
                  <a:pt x="3" y="48"/>
                </a:cubicBezTo>
                <a:cubicBezTo>
                  <a:pt x="3" y="48"/>
                  <a:pt x="13" y="72"/>
                  <a:pt x="14" y="75"/>
                </a:cubicBezTo>
                <a:cubicBezTo>
                  <a:pt x="15" y="77"/>
                  <a:pt x="18" y="86"/>
                  <a:pt x="29" y="88"/>
                </a:cubicBezTo>
                <a:cubicBezTo>
                  <a:pt x="41" y="89"/>
                  <a:pt x="47" y="88"/>
                  <a:pt x="52" y="79"/>
                </a:cubicBezTo>
                <a:cubicBezTo>
                  <a:pt x="57" y="69"/>
                  <a:pt x="77" y="33"/>
                  <a:pt x="77" y="33"/>
                </a:cubicBezTo>
                <a:cubicBezTo>
                  <a:pt x="77" y="33"/>
                  <a:pt x="79" y="30"/>
                  <a:pt x="77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5" name="Freeform 277"/>
          <p:cNvSpPr>
            <a:spLocks noEditPoints="1"/>
          </p:cNvSpPr>
          <p:nvPr/>
        </p:nvSpPr>
        <p:spPr bwMode="auto">
          <a:xfrm>
            <a:off x="3725333" y="5558367"/>
            <a:ext cx="315384" cy="84667"/>
          </a:xfrm>
          <a:custGeom>
            <a:avLst/>
            <a:gdLst>
              <a:gd name="T0" fmla="*/ 502411217 w 105"/>
              <a:gd name="T1" fmla="*/ 15430500 h 28"/>
              <a:gd name="T2" fmla="*/ 492260358 w 105"/>
              <a:gd name="T3" fmla="*/ 0 h 28"/>
              <a:gd name="T4" fmla="*/ 477036322 w 105"/>
              <a:gd name="T5" fmla="*/ 5143500 h 28"/>
              <a:gd name="T6" fmla="*/ 274041663 w 105"/>
              <a:gd name="T7" fmla="*/ 72004464 h 28"/>
              <a:gd name="T8" fmla="*/ 274041663 w 105"/>
              <a:gd name="T9" fmla="*/ 66860964 h 28"/>
              <a:gd name="T10" fmla="*/ 274041663 w 105"/>
              <a:gd name="T11" fmla="*/ 61717464 h 28"/>
              <a:gd name="T12" fmla="*/ 263893057 w 105"/>
              <a:gd name="T13" fmla="*/ 51432732 h 28"/>
              <a:gd name="T14" fmla="*/ 10148607 w 105"/>
              <a:gd name="T15" fmla="*/ 97719696 h 28"/>
              <a:gd name="T16" fmla="*/ 5075430 w 105"/>
              <a:gd name="T17" fmla="*/ 113150196 h 28"/>
              <a:gd name="T18" fmla="*/ 25374896 w 105"/>
              <a:gd name="T19" fmla="*/ 123437196 h 28"/>
              <a:gd name="T20" fmla="*/ 238518161 w 105"/>
              <a:gd name="T21" fmla="*/ 77147964 h 28"/>
              <a:gd name="T22" fmla="*/ 238518161 w 105"/>
              <a:gd name="T23" fmla="*/ 77147964 h 28"/>
              <a:gd name="T24" fmla="*/ 233442731 w 105"/>
              <a:gd name="T25" fmla="*/ 87434964 h 28"/>
              <a:gd name="T26" fmla="*/ 233442731 w 105"/>
              <a:gd name="T27" fmla="*/ 92576196 h 28"/>
              <a:gd name="T28" fmla="*/ 248666768 w 105"/>
              <a:gd name="T29" fmla="*/ 102863196 h 28"/>
              <a:gd name="T30" fmla="*/ 477036322 w 105"/>
              <a:gd name="T31" fmla="*/ 46289232 h 28"/>
              <a:gd name="T32" fmla="*/ 502411217 w 105"/>
              <a:gd name="T33" fmla="*/ 138865429 h 28"/>
              <a:gd name="T34" fmla="*/ 522710683 w 105"/>
              <a:gd name="T35" fmla="*/ 144008929 h 28"/>
              <a:gd name="T36" fmla="*/ 527783860 w 105"/>
              <a:gd name="T37" fmla="*/ 123437196 h 28"/>
              <a:gd name="T38" fmla="*/ 502411217 w 105"/>
              <a:gd name="T39" fmla="*/ 15430500 h 28"/>
              <a:gd name="T40" fmla="*/ 477036322 w 105"/>
              <a:gd name="T41" fmla="*/ 10287000 h 28"/>
              <a:gd name="T42" fmla="*/ 477036322 w 105"/>
              <a:gd name="T43" fmla="*/ 10287000 h 28"/>
              <a:gd name="T44" fmla="*/ 477036322 w 105"/>
              <a:gd name="T45" fmla="*/ 10287000 h 28"/>
              <a:gd name="T46" fmla="*/ 477036322 w 105"/>
              <a:gd name="T47" fmla="*/ 10287000 h 2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5" h="28">
                <a:moveTo>
                  <a:pt x="99" y="3"/>
                </a:moveTo>
                <a:cubicBezTo>
                  <a:pt x="99" y="1"/>
                  <a:pt x="99" y="0"/>
                  <a:pt x="97" y="0"/>
                </a:cubicBezTo>
                <a:cubicBezTo>
                  <a:pt x="96" y="0"/>
                  <a:pt x="95" y="0"/>
                  <a:pt x="94" y="1"/>
                </a:cubicBezTo>
                <a:cubicBezTo>
                  <a:pt x="94" y="1"/>
                  <a:pt x="85" y="13"/>
                  <a:pt x="54" y="14"/>
                </a:cubicBezTo>
                <a:cubicBezTo>
                  <a:pt x="54" y="14"/>
                  <a:pt x="54" y="13"/>
                  <a:pt x="54" y="13"/>
                </a:cubicBezTo>
                <a:cubicBezTo>
                  <a:pt x="54" y="13"/>
                  <a:pt x="54" y="12"/>
                  <a:pt x="54" y="12"/>
                </a:cubicBezTo>
                <a:cubicBezTo>
                  <a:pt x="54" y="11"/>
                  <a:pt x="53" y="10"/>
                  <a:pt x="52" y="10"/>
                </a:cubicBezTo>
                <a:cubicBezTo>
                  <a:pt x="51" y="10"/>
                  <a:pt x="27" y="7"/>
                  <a:pt x="2" y="19"/>
                </a:cubicBezTo>
                <a:cubicBezTo>
                  <a:pt x="1" y="20"/>
                  <a:pt x="0" y="21"/>
                  <a:pt x="1" y="22"/>
                </a:cubicBezTo>
                <a:cubicBezTo>
                  <a:pt x="2" y="24"/>
                  <a:pt x="3" y="24"/>
                  <a:pt x="5" y="24"/>
                </a:cubicBezTo>
                <a:cubicBezTo>
                  <a:pt x="21" y="16"/>
                  <a:pt x="39" y="15"/>
                  <a:pt x="47" y="15"/>
                </a:cubicBezTo>
                <a:cubicBezTo>
                  <a:pt x="47" y="15"/>
                  <a:pt x="47" y="15"/>
                  <a:pt x="47" y="15"/>
                </a:cubicBezTo>
                <a:cubicBezTo>
                  <a:pt x="46" y="16"/>
                  <a:pt x="46" y="16"/>
                  <a:pt x="46" y="17"/>
                </a:cubicBezTo>
                <a:cubicBezTo>
                  <a:pt x="46" y="17"/>
                  <a:pt x="46" y="18"/>
                  <a:pt x="46" y="18"/>
                </a:cubicBezTo>
                <a:cubicBezTo>
                  <a:pt x="47" y="19"/>
                  <a:pt x="48" y="20"/>
                  <a:pt x="49" y="20"/>
                </a:cubicBezTo>
                <a:cubicBezTo>
                  <a:pt x="74" y="20"/>
                  <a:pt x="88" y="13"/>
                  <a:pt x="94" y="9"/>
                </a:cubicBezTo>
                <a:cubicBezTo>
                  <a:pt x="95" y="18"/>
                  <a:pt x="99" y="25"/>
                  <a:pt x="99" y="27"/>
                </a:cubicBezTo>
                <a:cubicBezTo>
                  <a:pt x="101" y="27"/>
                  <a:pt x="102" y="27"/>
                  <a:pt x="103" y="28"/>
                </a:cubicBezTo>
                <a:cubicBezTo>
                  <a:pt x="104" y="27"/>
                  <a:pt x="105" y="25"/>
                  <a:pt x="104" y="24"/>
                </a:cubicBezTo>
                <a:cubicBezTo>
                  <a:pt x="104" y="24"/>
                  <a:pt x="98" y="14"/>
                  <a:pt x="99" y="3"/>
                </a:cubicBezTo>
                <a:close/>
                <a:moveTo>
                  <a:pt x="94" y="2"/>
                </a:moveTo>
                <a:cubicBezTo>
                  <a:pt x="94" y="2"/>
                  <a:pt x="94" y="2"/>
                  <a:pt x="94" y="2"/>
                </a:cubicBezTo>
                <a:cubicBezTo>
                  <a:pt x="94" y="2"/>
                  <a:pt x="94" y="2"/>
                  <a:pt x="94" y="2"/>
                </a:cubicBezTo>
                <a:cubicBezTo>
                  <a:pt x="94" y="2"/>
                  <a:pt x="94" y="2"/>
                  <a:pt x="94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6" name="Freeform 278"/>
          <p:cNvSpPr>
            <a:spLocks/>
          </p:cNvSpPr>
          <p:nvPr/>
        </p:nvSpPr>
        <p:spPr bwMode="auto">
          <a:xfrm>
            <a:off x="3674534" y="5441951"/>
            <a:ext cx="427567" cy="402167"/>
          </a:xfrm>
          <a:custGeom>
            <a:avLst/>
            <a:gdLst>
              <a:gd name="T0" fmla="*/ 703773228 w 142"/>
              <a:gd name="T1" fmla="*/ 425601879 h 134"/>
              <a:gd name="T2" fmla="*/ 652774611 w 142"/>
              <a:gd name="T3" fmla="*/ 415468179 h 134"/>
              <a:gd name="T4" fmla="*/ 683374233 w 142"/>
              <a:gd name="T5" fmla="*/ 273600886 h 134"/>
              <a:gd name="T6" fmla="*/ 678275049 w 142"/>
              <a:gd name="T7" fmla="*/ 222934639 h 134"/>
              <a:gd name="T8" fmla="*/ 586478443 w 142"/>
              <a:gd name="T9" fmla="*/ 111468445 h 134"/>
              <a:gd name="T10" fmla="*/ 321286992 w 142"/>
              <a:gd name="T11" fmla="*/ 30401099 h 134"/>
              <a:gd name="T12" fmla="*/ 30599621 w 142"/>
              <a:gd name="T13" fmla="*/ 304001985 h 134"/>
              <a:gd name="T14" fmla="*/ 71397611 w 142"/>
              <a:gd name="T15" fmla="*/ 415468179 h 134"/>
              <a:gd name="T16" fmla="*/ 71397611 w 142"/>
              <a:gd name="T17" fmla="*/ 415468179 h 134"/>
              <a:gd name="T18" fmla="*/ 20398995 w 142"/>
              <a:gd name="T19" fmla="*/ 425601879 h 134"/>
              <a:gd name="T20" fmla="*/ 0 w 142"/>
              <a:gd name="T21" fmla="*/ 491468675 h 134"/>
              <a:gd name="T22" fmla="*/ 86697422 w 142"/>
              <a:gd name="T23" fmla="*/ 678937617 h 134"/>
              <a:gd name="T24" fmla="*/ 81595980 w 142"/>
              <a:gd name="T25" fmla="*/ 648536518 h 134"/>
              <a:gd name="T26" fmla="*/ 81595980 w 142"/>
              <a:gd name="T27" fmla="*/ 638405069 h 134"/>
              <a:gd name="T28" fmla="*/ 30599621 w 142"/>
              <a:gd name="T29" fmla="*/ 491468675 h 134"/>
              <a:gd name="T30" fmla="*/ 35698806 w 142"/>
              <a:gd name="T31" fmla="*/ 445869278 h 134"/>
              <a:gd name="T32" fmla="*/ 76496795 w 142"/>
              <a:gd name="T33" fmla="*/ 450936128 h 134"/>
              <a:gd name="T34" fmla="*/ 81595980 w 142"/>
              <a:gd name="T35" fmla="*/ 456002978 h 134"/>
              <a:gd name="T36" fmla="*/ 81595980 w 142"/>
              <a:gd name="T37" fmla="*/ 385069331 h 134"/>
              <a:gd name="T38" fmla="*/ 61196985 w 142"/>
              <a:gd name="T39" fmla="*/ 298935135 h 134"/>
              <a:gd name="T40" fmla="*/ 321286992 w 142"/>
              <a:gd name="T41" fmla="*/ 55733097 h 134"/>
              <a:gd name="T42" fmla="*/ 566077189 w 142"/>
              <a:gd name="T43" fmla="*/ 131733593 h 134"/>
              <a:gd name="T44" fmla="*/ 581377000 w 142"/>
              <a:gd name="T45" fmla="*/ 136800443 h 134"/>
              <a:gd name="T46" fmla="*/ 652774611 w 142"/>
              <a:gd name="T47" fmla="*/ 228001489 h 134"/>
              <a:gd name="T48" fmla="*/ 642576243 w 142"/>
              <a:gd name="T49" fmla="*/ 374935632 h 134"/>
              <a:gd name="T50" fmla="*/ 642576243 w 142"/>
              <a:gd name="T51" fmla="*/ 456002978 h 134"/>
              <a:gd name="T52" fmla="*/ 647675427 w 142"/>
              <a:gd name="T53" fmla="*/ 450936128 h 134"/>
              <a:gd name="T54" fmla="*/ 688473417 w 142"/>
              <a:gd name="T55" fmla="*/ 445869278 h 134"/>
              <a:gd name="T56" fmla="*/ 693572601 w 142"/>
              <a:gd name="T57" fmla="*/ 491468675 h 134"/>
              <a:gd name="T58" fmla="*/ 642576243 w 142"/>
              <a:gd name="T59" fmla="*/ 638405069 h 134"/>
              <a:gd name="T60" fmla="*/ 642576243 w 142"/>
              <a:gd name="T61" fmla="*/ 648536518 h 134"/>
              <a:gd name="T62" fmla="*/ 637474801 w 142"/>
              <a:gd name="T63" fmla="*/ 678937617 h 134"/>
              <a:gd name="T64" fmla="*/ 724172223 w 142"/>
              <a:gd name="T65" fmla="*/ 491468675 h 134"/>
              <a:gd name="T66" fmla="*/ 703773228 w 142"/>
              <a:gd name="T67" fmla="*/ 425601879 h 13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42" h="134">
                <a:moveTo>
                  <a:pt x="138" y="84"/>
                </a:moveTo>
                <a:cubicBezTo>
                  <a:pt x="135" y="81"/>
                  <a:pt x="131" y="81"/>
                  <a:pt x="128" y="82"/>
                </a:cubicBezTo>
                <a:cubicBezTo>
                  <a:pt x="129" y="80"/>
                  <a:pt x="134" y="68"/>
                  <a:pt x="134" y="54"/>
                </a:cubicBezTo>
                <a:cubicBezTo>
                  <a:pt x="134" y="51"/>
                  <a:pt x="134" y="48"/>
                  <a:pt x="133" y="44"/>
                </a:cubicBezTo>
                <a:cubicBezTo>
                  <a:pt x="130" y="30"/>
                  <a:pt x="124" y="23"/>
                  <a:pt x="115" y="22"/>
                </a:cubicBezTo>
                <a:cubicBezTo>
                  <a:pt x="112" y="17"/>
                  <a:pt x="97" y="0"/>
                  <a:pt x="63" y="6"/>
                </a:cubicBezTo>
                <a:cubicBezTo>
                  <a:pt x="21" y="13"/>
                  <a:pt x="2" y="32"/>
                  <a:pt x="6" y="60"/>
                </a:cubicBezTo>
                <a:cubicBezTo>
                  <a:pt x="6" y="61"/>
                  <a:pt x="8" y="74"/>
                  <a:pt x="14" y="82"/>
                </a:cubicBezTo>
                <a:cubicBezTo>
                  <a:pt x="14" y="82"/>
                  <a:pt x="14" y="82"/>
                  <a:pt x="14" y="82"/>
                </a:cubicBezTo>
                <a:cubicBezTo>
                  <a:pt x="11" y="81"/>
                  <a:pt x="7" y="81"/>
                  <a:pt x="4" y="84"/>
                </a:cubicBezTo>
                <a:cubicBezTo>
                  <a:pt x="1" y="87"/>
                  <a:pt x="0" y="93"/>
                  <a:pt x="0" y="97"/>
                </a:cubicBezTo>
                <a:cubicBezTo>
                  <a:pt x="1" y="108"/>
                  <a:pt x="6" y="124"/>
                  <a:pt x="17" y="134"/>
                </a:cubicBezTo>
                <a:cubicBezTo>
                  <a:pt x="16" y="132"/>
                  <a:pt x="16" y="129"/>
                  <a:pt x="16" y="128"/>
                </a:cubicBezTo>
                <a:cubicBezTo>
                  <a:pt x="16" y="127"/>
                  <a:pt x="16" y="126"/>
                  <a:pt x="16" y="126"/>
                </a:cubicBezTo>
                <a:cubicBezTo>
                  <a:pt x="9" y="117"/>
                  <a:pt x="6" y="105"/>
                  <a:pt x="6" y="97"/>
                </a:cubicBezTo>
                <a:cubicBezTo>
                  <a:pt x="6" y="92"/>
                  <a:pt x="6" y="89"/>
                  <a:pt x="7" y="88"/>
                </a:cubicBezTo>
                <a:cubicBezTo>
                  <a:pt x="11" y="85"/>
                  <a:pt x="14" y="88"/>
                  <a:pt x="15" y="89"/>
                </a:cubicBezTo>
                <a:cubicBezTo>
                  <a:pt x="15" y="89"/>
                  <a:pt x="16" y="90"/>
                  <a:pt x="16" y="90"/>
                </a:cubicBezTo>
                <a:cubicBezTo>
                  <a:pt x="16" y="84"/>
                  <a:pt x="16" y="79"/>
                  <a:pt x="16" y="76"/>
                </a:cubicBezTo>
                <a:cubicBezTo>
                  <a:pt x="13" y="69"/>
                  <a:pt x="12" y="60"/>
                  <a:pt x="12" y="59"/>
                </a:cubicBezTo>
                <a:cubicBezTo>
                  <a:pt x="8" y="34"/>
                  <a:pt x="25" y="18"/>
                  <a:pt x="63" y="11"/>
                </a:cubicBezTo>
                <a:cubicBezTo>
                  <a:pt x="99" y="5"/>
                  <a:pt x="111" y="25"/>
                  <a:pt x="111" y="26"/>
                </a:cubicBezTo>
                <a:cubicBezTo>
                  <a:pt x="112" y="27"/>
                  <a:pt x="113" y="27"/>
                  <a:pt x="114" y="27"/>
                </a:cubicBezTo>
                <a:cubicBezTo>
                  <a:pt x="116" y="27"/>
                  <a:pt x="124" y="27"/>
                  <a:pt x="128" y="45"/>
                </a:cubicBezTo>
                <a:cubicBezTo>
                  <a:pt x="130" y="56"/>
                  <a:pt x="128" y="67"/>
                  <a:pt x="126" y="74"/>
                </a:cubicBezTo>
                <a:cubicBezTo>
                  <a:pt x="126" y="77"/>
                  <a:pt x="126" y="83"/>
                  <a:pt x="126" y="90"/>
                </a:cubicBezTo>
                <a:cubicBezTo>
                  <a:pt x="126" y="90"/>
                  <a:pt x="127" y="89"/>
                  <a:pt x="127" y="89"/>
                </a:cubicBezTo>
                <a:cubicBezTo>
                  <a:pt x="128" y="88"/>
                  <a:pt x="131" y="85"/>
                  <a:pt x="135" y="88"/>
                </a:cubicBezTo>
                <a:cubicBezTo>
                  <a:pt x="136" y="89"/>
                  <a:pt x="136" y="92"/>
                  <a:pt x="136" y="97"/>
                </a:cubicBezTo>
                <a:cubicBezTo>
                  <a:pt x="136" y="105"/>
                  <a:pt x="133" y="117"/>
                  <a:pt x="126" y="126"/>
                </a:cubicBezTo>
                <a:cubicBezTo>
                  <a:pt x="126" y="126"/>
                  <a:pt x="126" y="127"/>
                  <a:pt x="126" y="128"/>
                </a:cubicBezTo>
                <a:cubicBezTo>
                  <a:pt x="126" y="129"/>
                  <a:pt x="126" y="132"/>
                  <a:pt x="125" y="134"/>
                </a:cubicBezTo>
                <a:cubicBezTo>
                  <a:pt x="136" y="124"/>
                  <a:pt x="141" y="108"/>
                  <a:pt x="142" y="97"/>
                </a:cubicBezTo>
                <a:cubicBezTo>
                  <a:pt x="142" y="93"/>
                  <a:pt x="141" y="87"/>
                  <a:pt x="138" y="8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7" name="Freeform 279"/>
          <p:cNvSpPr>
            <a:spLocks/>
          </p:cNvSpPr>
          <p:nvPr/>
        </p:nvSpPr>
        <p:spPr bwMode="auto">
          <a:xfrm>
            <a:off x="3740151" y="5643033"/>
            <a:ext cx="296333" cy="298451"/>
          </a:xfrm>
          <a:custGeom>
            <a:avLst/>
            <a:gdLst>
              <a:gd name="T0" fmla="*/ 504031250 w 98"/>
              <a:gd name="T1" fmla="*/ 301611531 h 99"/>
              <a:gd name="T2" fmla="*/ 504031250 w 98"/>
              <a:gd name="T3" fmla="*/ 189147632 h 99"/>
              <a:gd name="T4" fmla="*/ 478316018 w 98"/>
              <a:gd name="T5" fmla="*/ 189147632 h 99"/>
              <a:gd name="T6" fmla="*/ 457742018 w 98"/>
              <a:gd name="T7" fmla="*/ 189147632 h 99"/>
              <a:gd name="T8" fmla="*/ 380594054 w 98"/>
              <a:gd name="T9" fmla="*/ 270938942 h 99"/>
              <a:gd name="T10" fmla="*/ 298304857 w 98"/>
              <a:gd name="T11" fmla="*/ 173811337 h 99"/>
              <a:gd name="T12" fmla="*/ 380594054 w 98"/>
              <a:gd name="T13" fmla="*/ 76681472 h 99"/>
              <a:gd name="T14" fmla="*/ 457742018 w 98"/>
              <a:gd name="T15" fmla="*/ 163587141 h 99"/>
              <a:gd name="T16" fmla="*/ 478316018 w 98"/>
              <a:gd name="T17" fmla="*/ 163587141 h 99"/>
              <a:gd name="T18" fmla="*/ 504031250 w 98"/>
              <a:gd name="T19" fmla="*/ 163587141 h 99"/>
              <a:gd name="T20" fmla="*/ 504031250 w 98"/>
              <a:gd name="T21" fmla="*/ 25560491 h 99"/>
              <a:gd name="T22" fmla="*/ 252015625 w 98"/>
              <a:gd name="T23" fmla="*/ 0 h 99"/>
              <a:gd name="T24" fmla="*/ 0 w 98"/>
              <a:gd name="T25" fmla="*/ 25560491 h 99"/>
              <a:gd name="T26" fmla="*/ 0 w 98"/>
              <a:gd name="T27" fmla="*/ 163587141 h 99"/>
              <a:gd name="T28" fmla="*/ 25715232 w 98"/>
              <a:gd name="T29" fmla="*/ 163587141 h 99"/>
              <a:gd name="T30" fmla="*/ 46289232 w 98"/>
              <a:gd name="T31" fmla="*/ 163587141 h 99"/>
              <a:gd name="T32" fmla="*/ 123437196 w 98"/>
              <a:gd name="T33" fmla="*/ 76681472 h 99"/>
              <a:gd name="T34" fmla="*/ 205726393 w 98"/>
              <a:gd name="T35" fmla="*/ 173811337 h 99"/>
              <a:gd name="T36" fmla="*/ 123437196 w 98"/>
              <a:gd name="T37" fmla="*/ 270938942 h 99"/>
              <a:gd name="T38" fmla="*/ 46289232 w 98"/>
              <a:gd name="T39" fmla="*/ 189147632 h 99"/>
              <a:gd name="T40" fmla="*/ 25715232 w 98"/>
              <a:gd name="T41" fmla="*/ 189147632 h 99"/>
              <a:gd name="T42" fmla="*/ 0 w 98"/>
              <a:gd name="T43" fmla="*/ 189147632 h 99"/>
              <a:gd name="T44" fmla="*/ 0 w 98"/>
              <a:gd name="T45" fmla="*/ 301611531 h 99"/>
              <a:gd name="T46" fmla="*/ 0 w 98"/>
              <a:gd name="T47" fmla="*/ 301611531 h 99"/>
              <a:gd name="T48" fmla="*/ 0 w 98"/>
              <a:gd name="T49" fmla="*/ 316947825 h 99"/>
              <a:gd name="T50" fmla="*/ 108006696 w 98"/>
              <a:gd name="T51" fmla="*/ 506095457 h 99"/>
              <a:gd name="T52" fmla="*/ 113150196 w 98"/>
              <a:gd name="T53" fmla="*/ 506095457 h 99"/>
              <a:gd name="T54" fmla="*/ 252015625 w 98"/>
              <a:gd name="T55" fmla="*/ 475422868 h 99"/>
              <a:gd name="T56" fmla="*/ 390881054 w 98"/>
              <a:gd name="T57" fmla="*/ 506095457 h 99"/>
              <a:gd name="T58" fmla="*/ 396024554 w 98"/>
              <a:gd name="T59" fmla="*/ 506095457 h 99"/>
              <a:gd name="T60" fmla="*/ 504031250 w 98"/>
              <a:gd name="T61" fmla="*/ 316947825 h 99"/>
              <a:gd name="T62" fmla="*/ 504031250 w 98"/>
              <a:gd name="T63" fmla="*/ 301611531 h 99"/>
              <a:gd name="T64" fmla="*/ 504031250 w 98"/>
              <a:gd name="T65" fmla="*/ 301611531 h 9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98" h="99">
                <a:moveTo>
                  <a:pt x="98" y="59"/>
                </a:moveTo>
                <a:cubicBezTo>
                  <a:pt x="98" y="59"/>
                  <a:pt x="98" y="48"/>
                  <a:pt x="98" y="37"/>
                </a:cubicBezTo>
                <a:cubicBezTo>
                  <a:pt x="93" y="37"/>
                  <a:pt x="93" y="37"/>
                  <a:pt x="93" y="37"/>
                </a:cubicBezTo>
                <a:cubicBezTo>
                  <a:pt x="89" y="37"/>
                  <a:pt x="89" y="37"/>
                  <a:pt x="89" y="37"/>
                </a:cubicBezTo>
                <a:cubicBezTo>
                  <a:pt x="88" y="46"/>
                  <a:pt x="82" y="53"/>
                  <a:pt x="74" y="53"/>
                </a:cubicBezTo>
                <a:cubicBezTo>
                  <a:pt x="65" y="53"/>
                  <a:pt x="58" y="45"/>
                  <a:pt x="58" y="34"/>
                </a:cubicBezTo>
                <a:cubicBezTo>
                  <a:pt x="58" y="24"/>
                  <a:pt x="65" y="15"/>
                  <a:pt x="74" y="15"/>
                </a:cubicBezTo>
                <a:cubicBezTo>
                  <a:pt x="82" y="15"/>
                  <a:pt x="88" y="22"/>
                  <a:pt x="89" y="32"/>
                </a:cubicBezTo>
                <a:cubicBezTo>
                  <a:pt x="93" y="32"/>
                  <a:pt x="93" y="32"/>
                  <a:pt x="93" y="32"/>
                </a:cubicBezTo>
                <a:cubicBezTo>
                  <a:pt x="98" y="32"/>
                  <a:pt x="98" y="32"/>
                  <a:pt x="98" y="32"/>
                </a:cubicBezTo>
                <a:cubicBezTo>
                  <a:pt x="98" y="19"/>
                  <a:pt x="98" y="7"/>
                  <a:pt x="98" y="5"/>
                </a:cubicBezTo>
                <a:cubicBezTo>
                  <a:pt x="94" y="4"/>
                  <a:pt x="78" y="0"/>
                  <a:pt x="49" y="0"/>
                </a:cubicBezTo>
                <a:cubicBezTo>
                  <a:pt x="20" y="0"/>
                  <a:pt x="4" y="4"/>
                  <a:pt x="0" y="5"/>
                </a:cubicBezTo>
                <a:cubicBezTo>
                  <a:pt x="0" y="7"/>
                  <a:pt x="0" y="19"/>
                  <a:pt x="0" y="32"/>
                </a:cubicBezTo>
                <a:cubicBezTo>
                  <a:pt x="5" y="32"/>
                  <a:pt x="5" y="32"/>
                  <a:pt x="5" y="32"/>
                </a:cubicBezTo>
                <a:cubicBezTo>
                  <a:pt x="9" y="32"/>
                  <a:pt x="9" y="32"/>
                  <a:pt x="9" y="32"/>
                </a:cubicBezTo>
                <a:cubicBezTo>
                  <a:pt x="10" y="22"/>
                  <a:pt x="16" y="15"/>
                  <a:pt x="24" y="15"/>
                </a:cubicBezTo>
                <a:cubicBezTo>
                  <a:pt x="33" y="15"/>
                  <a:pt x="40" y="24"/>
                  <a:pt x="40" y="34"/>
                </a:cubicBezTo>
                <a:cubicBezTo>
                  <a:pt x="40" y="45"/>
                  <a:pt x="33" y="53"/>
                  <a:pt x="24" y="53"/>
                </a:cubicBezTo>
                <a:cubicBezTo>
                  <a:pt x="16" y="53"/>
                  <a:pt x="10" y="46"/>
                  <a:pt x="9" y="37"/>
                </a:cubicBezTo>
                <a:cubicBezTo>
                  <a:pt x="5" y="37"/>
                  <a:pt x="5" y="37"/>
                  <a:pt x="5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48"/>
                  <a:pt x="0" y="59"/>
                  <a:pt x="0" y="59"/>
                </a:cubicBezTo>
                <a:cubicBezTo>
                  <a:pt x="0" y="59"/>
                  <a:pt x="0" y="59"/>
                  <a:pt x="0" y="59"/>
                </a:cubicBezTo>
                <a:cubicBezTo>
                  <a:pt x="0" y="59"/>
                  <a:pt x="0" y="60"/>
                  <a:pt x="0" y="62"/>
                </a:cubicBezTo>
                <a:cubicBezTo>
                  <a:pt x="0" y="69"/>
                  <a:pt x="1" y="90"/>
                  <a:pt x="21" y="99"/>
                </a:cubicBezTo>
                <a:cubicBezTo>
                  <a:pt x="22" y="99"/>
                  <a:pt x="22" y="99"/>
                  <a:pt x="22" y="99"/>
                </a:cubicBezTo>
                <a:cubicBezTo>
                  <a:pt x="29" y="95"/>
                  <a:pt x="39" y="93"/>
                  <a:pt x="49" y="93"/>
                </a:cubicBezTo>
                <a:cubicBezTo>
                  <a:pt x="59" y="93"/>
                  <a:pt x="69" y="95"/>
                  <a:pt x="76" y="99"/>
                </a:cubicBezTo>
                <a:cubicBezTo>
                  <a:pt x="77" y="99"/>
                  <a:pt x="77" y="99"/>
                  <a:pt x="77" y="99"/>
                </a:cubicBezTo>
                <a:cubicBezTo>
                  <a:pt x="97" y="90"/>
                  <a:pt x="98" y="69"/>
                  <a:pt x="98" y="62"/>
                </a:cubicBezTo>
                <a:cubicBezTo>
                  <a:pt x="98" y="60"/>
                  <a:pt x="98" y="59"/>
                  <a:pt x="98" y="59"/>
                </a:cubicBezTo>
                <a:cubicBezTo>
                  <a:pt x="98" y="59"/>
                  <a:pt x="98" y="59"/>
                  <a:pt x="98" y="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8" name="Freeform 280"/>
          <p:cNvSpPr>
            <a:spLocks/>
          </p:cNvSpPr>
          <p:nvPr/>
        </p:nvSpPr>
        <p:spPr bwMode="auto">
          <a:xfrm>
            <a:off x="3818467" y="5937251"/>
            <a:ext cx="139700" cy="52916"/>
          </a:xfrm>
          <a:custGeom>
            <a:avLst/>
            <a:gdLst>
              <a:gd name="T0" fmla="*/ 238647840 w 46"/>
              <a:gd name="T1" fmla="*/ 92652803 h 17"/>
              <a:gd name="T2" fmla="*/ 238647840 w 46"/>
              <a:gd name="T3" fmla="*/ 27250962 h 17"/>
              <a:gd name="T4" fmla="*/ 119325059 w 46"/>
              <a:gd name="T5" fmla="*/ 0 h 17"/>
              <a:gd name="T6" fmla="*/ 0 w 46"/>
              <a:gd name="T7" fmla="*/ 27250962 h 17"/>
              <a:gd name="T8" fmla="*/ 0 w 46"/>
              <a:gd name="T9" fmla="*/ 92652803 h 17"/>
              <a:gd name="T10" fmla="*/ 119325059 w 46"/>
              <a:gd name="T11" fmla="*/ 70852968 h 17"/>
              <a:gd name="T12" fmla="*/ 238647840 w 46"/>
              <a:gd name="T13" fmla="*/ 92652803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6" h="17">
                <a:moveTo>
                  <a:pt x="46" y="17"/>
                </a:moveTo>
                <a:cubicBezTo>
                  <a:pt x="46" y="11"/>
                  <a:pt x="46" y="6"/>
                  <a:pt x="46" y="5"/>
                </a:cubicBezTo>
                <a:cubicBezTo>
                  <a:pt x="40" y="2"/>
                  <a:pt x="32" y="0"/>
                  <a:pt x="23" y="0"/>
                </a:cubicBezTo>
                <a:cubicBezTo>
                  <a:pt x="14" y="0"/>
                  <a:pt x="6" y="2"/>
                  <a:pt x="0" y="5"/>
                </a:cubicBezTo>
                <a:cubicBezTo>
                  <a:pt x="0" y="6"/>
                  <a:pt x="0" y="11"/>
                  <a:pt x="0" y="17"/>
                </a:cubicBezTo>
                <a:cubicBezTo>
                  <a:pt x="6" y="14"/>
                  <a:pt x="14" y="13"/>
                  <a:pt x="23" y="13"/>
                </a:cubicBezTo>
                <a:cubicBezTo>
                  <a:pt x="32" y="13"/>
                  <a:pt x="40" y="14"/>
                  <a:pt x="46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69" name="Oval 281"/>
          <p:cNvSpPr>
            <a:spLocks noChangeArrowheads="1"/>
          </p:cNvSpPr>
          <p:nvPr/>
        </p:nvSpPr>
        <p:spPr bwMode="auto">
          <a:xfrm>
            <a:off x="3771901" y="5992284"/>
            <a:ext cx="232833" cy="133349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670" name="Freeform 282"/>
          <p:cNvSpPr>
            <a:spLocks/>
          </p:cNvSpPr>
          <p:nvPr/>
        </p:nvSpPr>
        <p:spPr bwMode="auto">
          <a:xfrm>
            <a:off x="4508501" y="5494867"/>
            <a:ext cx="395817" cy="590551"/>
          </a:xfrm>
          <a:custGeom>
            <a:avLst/>
            <a:gdLst>
              <a:gd name="T0" fmla="*/ 187140636 w 132"/>
              <a:gd name="T1" fmla="*/ 990663055 h 196"/>
              <a:gd name="T2" fmla="*/ 227601714 w 132"/>
              <a:gd name="T3" fmla="*/ 985558257 h 196"/>
              <a:gd name="T4" fmla="*/ 268065040 w 132"/>
              <a:gd name="T5" fmla="*/ 919173281 h 196"/>
              <a:gd name="T6" fmla="*/ 268065040 w 132"/>
              <a:gd name="T7" fmla="*/ 490225599 h 196"/>
              <a:gd name="T8" fmla="*/ 212427966 w 132"/>
              <a:gd name="T9" fmla="*/ 464692569 h 196"/>
              <a:gd name="T10" fmla="*/ 187140636 w 132"/>
              <a:gd name="T11" fmla="*/ 408521709 h 196"/>
              <a:gd name="T12" fmla="*/ 85982320 w 132"/>
              <a:gd name="T13" fmla="*/ 480011483 h 196"/>
              <a:gd name="T14" fmla="*/ 5057916 w 132"/>
              <a:gd name="T15" fmla="*/ 347243792 h 196"/>
              <a:gd name="T16" fmla="*/ 0 w 132"/>
              <a:gd name="T17" fmla="*/ 337029676 h 196"/>
              <a:gd name="T18" fmla="*/ 0 w 132"/>
              <a:gd name="T19" fmla="*/ 337029676 h 196"/>
              <a:gd name="T20" fmla="*/ 5057916 w 132"/>
              <a:gd name="T21" fmla="*/ 331922618 h 196"/>
              <a:gd name="T22" fmla="*/ 85982320 w 132"/>
              <a:gd name="T23" fmla="*/ 199154927 h 196"/>
              <a:gd name="T24" fmla="*/ 182082720 w 132"/>
              <a:gd name="T25" fmla="*/ 270644700 h 196"/>
              <a:gd name="T26" fmla="*/ 212427966 w 132"/>
              <a:gd name="T27" fmla="*/ 245111670 h 196"/>
              <a:gd name="T28" fmla="*/ 242775461 w 132"/>
              <a:gd name="T29" fmla="*/ 209366783 h 196"/>
              <a:gd name="T30" fmla="*/ 263007124 w 132"/>
              <a:gd name="T31" fmla="*/ 148088865 h 196"/>
              <a:gd name="T32" fmla="*/ 257949208 w 132"/>
              <a:gd name="T33" fmla="*/ 56170859 h 196"/>
              <a:gd name="T34" fmla="*/ 257949208 w 132"/>
              <a:gd name="T35" fmla="*/ 56170859 h 196"/>
              <a:gd name="T36" fmla="*/ 283238787 w 132"/>
              <a:gd name="T37" fmla="*/ 61277917 h 196"/>
              <a:gd name="T38" fmla="*/ 323702114 w 132"/>
              <a:gd name="T39" fmla="*/ 5107058 h 196"/>
              <a:gd name="T40" fmla="*/ 333817946 w 132"/>
              <a:gd name="T41" fmla="*/ 0 h 196"/>
              <a:gd name="T42" fmla="*/ 333817946 w 132"/>
              <a:gd name="T43" fmla="*/ 0 h 196"/>
              <a:gd name="T44" fmla="*/ 333817946 w 132"/>
              <a:gd name="T45" fmla="*/ 0 h 196"/>
              <a:gd name="T46" fmla="*/ 333817946 w 132"/>
              <a:gd name="T47" fmla="*/ 0 h 196"/>
              <a:gd name="T48" fmla="*/ 343931528 w 132"/>
              <a:gd name="T49" fmla="*/ 5107058 h 196"/>
              <a:gd name="T50" fmla="*/ 384394855 w 132"/>
              <a:gd name="T51" fmla="*/ 61277917 h 196"/>
              <a:gd name="T52" fmla="*/ 409684434 w 132"/>
              <a:gd name="T53" fmla="*/ 56170859 h 196"/>
              <a:gd name="T54" fmla="*/ 409684434 w 132"/>
              <a:gd name="T55" fmla="*/ 56170859 h 196"/>
              <a:gd name="T56" fmla="*/ 404626518 w 132"/>
              <a:gd name="T57" fmla="*/ 148088865 h 196"/>
              <a:gd name="T58" fmla="*/ 424858181 w 132"/>
              <a:gd name="T59" fmla="*/ 209366783 h 196"/>
              <a:gd name="T60" fmla="*/ 455205676 w 132"/>
              <a:gd name="T61" fmla="*/ 245111670 h 196"/>
              <a:gd name="T62" fmla="*/ 485550922 w 132"/>
              <a:gd name="T63" fmla="*/ 270644700 h 196"/>
              <a:gd name="T64" fmla="*/ 581651322 w 132"/>
              <a:gd name="T65" fmla="*/ 199154927 h 196"/>
              <a:gd name="T66" fmla="*/ 662575726 w 132"/>
              <a:gd name="T67" fmla="*/ 331922618 h 196"/>
              <a:gd name="T68" fmla="*/ 667633642 w 132"/>
              <a:gd name="T69" fmla="*/ 337029676 h 196"/>
              <a:gd name="T70" fmla="*/ 667633642 w 132"/>
              <a:gd name="T71" fmla="*/ 337029676 h 196"/>
              <a:gd name="T72" fmla="*/ 662575726 w 132"/>
              <a:gd name="T73" fmla="*/ 347243792 h 196"/>
              <a:gd name="T74" fmla="*/ 581651322 w 132"/>
              <a:gd name="T75" fmla="*/ 480011483 h 196"/>
              <a:gd name="T76" fmla="*/ 480493006 w 132"/>
              <a:gd name="T77" fmla="*/ 408521709 h 196"/>
              <a:gd name="T78" fmla="*/ 455205676 w 132"/>
              <a:gd name="T79" fmla="*/ 464692569 h 196"/>
              <a:gd name="T80" fmla="*/ 399568602 w 132"/>
              <a:gd name="T81" fmla="*/ 490225599 h 196"/>
              <a:gd name="T82" fmla="*/ 399568602 w 132"/>
              <a:gd name="T83" fmla="*/ 919173281 h 196"/>
              <a:gd name="T84" fmla="*/ 440031929 w 132"/>
              <a:gd name="T85" fmla="*/ 985558257 h 196"/>
              <a:gd name="T86" fmla="*/ 480493006 w 132"/>
              <a:gd name="T87" fmla="*/ 990663055 h 196"/>
              <a:gd name="T88" fmla="*/ 187140636 w 132"/>
              <a:gd name="T89" fmla="*/ 1000877171 h 19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32" h="196">
                <a:moveTo>
                  <a:pt x="37" y="196"/>
                </a:moveTo>
                <a:cubicBezTo>
                  <a:pt x="37" y="196"/>
                  <a:pt x="37" y="195"/>
                  <a:pt x="37" y="194"/>
                </a:cubicBezTo>
                <a:cubicBezTo>
                  <a:pt x="37" y="193"/>
                  <a:pt x="38" y="193"/>
                  <a:pt x="39" y="193"/>
                </a:cubicBezTo>
                <a:cubicBezTo>
                  <a:pt x="45" y="193"/>
                  <a:pt x="45" y="193"/>
                  <a:pt x="45" y="193"/>
                </a:cubicBezTo>
                <a:cubicBezTo>
                  <a:pt x="48" y="191"/>
                  <a:pt x="49" y="188"/>
                  <a:pt x="49" y="183"/>
                </a:cubicBezTo>
                <a:cubicBezTo>
                  <a:pt x="53" y="180"/>
                  <a:pt x="53" y="180"/>
                  <a:pt x="53" y="180"/>
                </a:cubicBezTo>
                <a:cubicBezTo>
                  <a:pt x="53" y="94"/>
                  <a:pt x="53" y="94"/>
                  <a:pt x="53" y="94"/>
                </a:cubicBezTo>
                <a:cubicBezTo>
                  <a:pt x="53" y="96"/>
                  <a:pt x="53" y="96"/>
                  <a:pt x="53" y="96"/>
                </a:cubicBezTo>
                <a:cubicBezTo>
                  <a:pt x="53" y="96"/>
                  <a:pt x="49" y="92"/>
                  <a:pt x="48" y="90"/>
                </a:cubicBezTo>
                <a:cubicBezTo>
                  <a:pt x="42" y="91"/>
                  <a:pt x="42" y="91"/>
                  <a:pt x="42" y="91"/>
                </a:cubicBezTo>
                <a:cubicBezTo>
                  <a:pt x="41" y="84"/>
                  <a:pt x="41" y="84"/>
                  <a:pt x="41" y="84"/>
                </a:cubicBezTo>
                <a:cubicBezTo>
                  <a:pt x="37" y="80"/>
                  <a:pt x="37" y="80"/>
                  <a:pt x="37" y="80"/>
                </a:cubicBezTo>
                <a:cubicBezTo>
                  <a:pt x="30" y="80"/>
                  <a:pt x="30" y="80"/>
                  <a:pt x="30" y="80"/>
                </a:cubicBezTo>
                <a:cubicBezTo>
                  <a:pt x="24" y="81"/>
                  <a:pt x="20" y="87"/>
                  <a:pt x="17" y="94"/>
                </a:cubicBezTo>
                <a:cubicBezTo>
                  <a:pt x="12" y="89"/>
                  <a:pt x="11" y="84"/>
                  <a:pt x="12" y="76"/>
                </a:cubicBezTo>
                <a:cubicBezTo>
                  <a:pt x="7" y="75"/>
                  <a:pt x="3" y="72"/>
                  <a:pt x="1" y="68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6"/>
                  <a:pt x="0" y="66"/>
                  <a:pt x="0" y="66"/>
                </a:cubicBezTo>
                <a:cubicBezTo>
                  <a:pt x="1" y="65"/>
                  <a:pt x="1" y="65"/>
                  <a:pt x="1" y="65"/>
                </a:cubicBezTo>
                <a:cubicBezTo>
                  <a:pt x="3" y="61"/>
                  <a:pt x="7" y="58"/>
                  <a:pt x="12" y="56"/>
                </a:cubicBezTo>
                <a:cubicBezTo>
                  <a:pt x="11" y="49"/>
                  <a:pt x="12" y="43"/>
                  <a:pt x="17" y="39"/>
                </a:cubicBezTo>
                <a:cubicBezTo>
                  <a:pt x="20" y="46"/>
                  <a:pt x="24" y="51"/>
                  <a:pt x="30" y="53"/>
                </a:cubicBezTo>
                <a:cubicBezTo>
                  <a:pt x="36" y="53"/>
                  <a:pt x="36" y="53"/>
                  <a:pt x="36" y="53"/>
                </a:cubicBezTo>
                <a:cubicBezTo>
                  <a:pt x="37" y="52"/>
                  <a:pt x="37" y="52"/>
                  <a:pt x="37" y="52"/>
                </a:cubicBezTo>
                <a:cubicBezTo>
                  <a:pt x="42" y="48"/>
                  <a:pt x="42" y="48"/>
                  <a:pt x="42" y="48"/>
                </a:cubicBezTo>
                <a:cubicBezTo>
                  <a:pt x="41" y="41"/>
                  <a:pt x="41" y="41"/>
                  <a:pt x="41" y="41"/>
                </a:cubicBezTo>
                <a:cubicBezTo>
                  <a:pt x="48" y="41"/>
                  <a:pt x="48" y="41"/>
                  <a:pt x="48" y="41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29"/>
                  <a:pt x="52" y="29"/>
                  <a:pt x="52" y="29"/>
                </a:cubicBezTo>
                <a:cubicBezTo>
                  <a:pt x="51" y="23"/>
                  <a:pt x="45" y="20"/>
                  <a:pt x="38" y="16"/>
                </a:cubicBezTo>
                <a:cubicBezTo>
                  <a:pt x="42" y="13"/>
                  <a:pt x="46" y="11"/>
                  <a:pt x="51" y="11"/>
                </a:cubicBezTo>
                <a:cubicBezTo>
                  <a:pt x="51" y="11"/>
                  <a:pt x="51" y="11"/>
                  <a:pt x="51" y="11"/>
                </a:cubicBezTo>
                <a:cubicBezTo>
                  <a:pt x="51" y="11"/>
                  <a:pt x="51" y="11"/>
                  <a:pt x="51" y="11"/>
                </a:cubicBezTo>
                <a:cubicBezTo>
                  <a:pt x="52" y="11"/>
                  <a:pt x="53" y="11"/>
                  <a:pt x="53" y="11"/>
                </a:cubicBezTo>
                <a:cubicBezTo>
                  <a:pt x="56" y="12"/>
                  <a:pt x="56" y="12"/>
                  <a:pt x="56" y="12"/>
                </a:cubicBezTo>
                <a:cubicBezTo>
                  <a:pt x="57" y="8"/>
                  <a:pt x="57" y="8"/>
                  <a:pt x="57" y="8"/>
                </a:cubicBezTo>
                <a:cubicBezTo>
                  <a:pt x="59" y="5"/>
                  <a:pt x="61" y="2"/>
                  <a:pt x="64" y="1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68" y="1"/>
                  <a:pt x="68" y="1"/>
                  <a:pt x="68" y="1"/>
                </a:cubicBezTo>
                <a:cubicBezTo>
                  <a:pt x="71" y="2"/>
                  <a:pt x="73" y="5"/>
                  <a:pt x="75" y="8"/>
                </a:cubicBezTo>
                <a:cubicBezTo>
                  <a:pt x="76" y="12"/>
                  <a:pt x="76" y="12"/>
                  <a:pt x="76" y="12"/>
                </a:cubicBezTo>
                <a:cubicBezTo>
                  <a:pt x="79" y="11"/>
                  <a:pt x="79" y="11"/>
                  <a:pt x="79" y="11"/>
                </a:cubicBezTo>
                <a:cubicBezTo>
                  <a:pt x="79" y="11"/>
                  <a:pt x="80" y="11"/>
                  <a:pt x="81" y="11"/>
                </a:cubicBezTo>
                <a:cubicBezTo>
                  <a:pt x="81" y="11"/>
                  <a:pt x="81" y="11"/>
                  <a:pt x="81" y="11"/>
                </a:cubicBezTo>
                <a:cubicBezTo>
                  <a:pt x="81" y="11"/>
                  <a:pt x="81" y="11"/>
                  <a:pt x="81" y="11"/>
                </a:cubicBezTo>
                <a:cubicBezTo>
                  <a:pt x="86" y="11"/>
                  <a:pt x="90" y="13"/>
                  <a:pt x="94" y="16"/>
                </a:cubicBezTo>
                <a:cubicBezTo>
                  <a:pt x="87" y="20"/>
                  <a:pt x="81" y="23"/>
                  <a:pt x="80" y="29"/>
                </a:cubicBezTo>
                <a:cubicBezTo>
                  <a:pt x="80" y="36"/>
                  <a:pt x="80" y="36"/>
                  <a:pt x="80" y="36"/>
                </a:cubicBezTo>
                <a:cubicBezTo>
                  <a:pt x="84" y="41"/>
                  <a:pt x="84" y="41"/>
                  <a:pt x="84" y="41"/>
                </a:cubicBezTo>
                <a:cubicBezTo>
                  <a:pt x="91" y="41"/>
                  <a:pt x="91" y="41"/>
                  <a:pt x="91" y="41"/>
                </a:cubicBezTo>
                <a:cubicBezTo>
                  <a:pt x="90" y="48"/>
                  <a:pt x="90" y="48"/>
                  <a:pt x="90" y="48"/>
                </a:cubicBezTo>
                <a:cubicBezTo>
                  <a:pt x="95" y="52"/>
                  <a:pt x="95" y="52"/>
                  <a:pt x="95" y="52"/>
                </a:cubicBezTo>
                <a:cubicBezTo>
                  <a:pt x="96" y="53"/>
                  <a:pt x="96" y="53"/>
                  <a:pt x="96" y="53"/>
                </a:cubicBezTo>
                <a:cubicBezTo>
                  <a:pt x="102" y="53"/>
                  <a:pt x="102" y="53"/>
                  <a:pt x="102" y="53"/>
                </a:cubicBezTo>
                <a:cubicBezTo>
                  <a:pt x="108" y="51"/>
                  <a:pt x="112" y="46"/>
                  <a:pt x="115" y="39"/>
                </a:cubicBezTo>
                <a:cubicBezTo>
                  <a:pt x="120" y="43"/>
                  <a:pt x="121" y="49"/>
                  <a:pt x="120" y="56"/>
                </a:cubicBezTo>
                <a:cubicBezTo>
                  <a:pt x="125" y="58"/>
                  <a:pt x="129" y="61"/>
                  <a:pt x="131" y="65"/>
                </a:cubicBezTo>
                <a:cubicBezTo>
                  <a:pt x="132" y="66"/>
                  <a:pt x="132" y="66"/>
                  <a:pt x="132" y="66"/>
                </a:cubicBezTo>
                <a:cubicBezTo>
                  <a:pt x="132" y="66"/>
                  <a:pt x="132" y="66"/>
                  <a:pt x="132" y="66"/>
                </a:cubicBezTo>
                <a:cubicBezTo>
                  <a:pt x="132" y="66"/>
                  <a:pt x="132" y="66"/>
                  <a:pt x="132" y="66"/>
                </a:cubicBezTo>
                <a:cubicBezTo>
                  <a:pt x="132" y="66"/>
                  <a:pt x="132" y="66"/>
                  <a:pt x="132" y="66"/>
                </a:cubicBezTo>
                <a:cubicBezTo>
                  <a:pt x="132" y="66"/>
                  <a:pt x="132" y="66"/>
                  <a:pt x="132" y="66"/>
                </a:cubicBezTo>
                <a:cubicBezTo>
                  <a:pt x="131" y="68"/>
                  <a:pt x="131" y="68"/>
                  <a:pt x="131" y="68"/>
                </a:cubicBezTo>
                <a:cubicBezTo>
                  <a:pt x="129" y="72"/>
                  <a:pt x="125" y="75"/>
                  <a:pt x="120" y="76"/>
                </a:cubicBezTo>
                <a:cubicBezTo>
                  <a:pt x="121" y="84"/>
                  <a:pt x="120" y="89"/>
                  <a:pt x="115" y="94"/>
                </a:cubicBezTo>
                <a:cubicBezTo>
                  <a:pt x="112" y="87"/>
                  <a:pt x="108" y="81"/>
                  <a:pt x="102" y="80"/>
                </a:cubicBezTo>
                <a:cubicBezTo>
                  <a:pt x="95" y="80"/>
                  <a:pt x="95" y="80"/>
                  <a:pt x="95" y="80"/>
                </a:cubicBezTo>
                <a:cubicBezTo>
                  <a:pt x="91" y="84"/>
                  <a:pt x="91" y="84"/>
                  <a:pt x="91" y="84"/>
                </a:cubicBezTo>
                <a:cubicBezTo>
                  <a:pt x="90" y="91"/>
                  <a:pt x="90" y="91"/>
                  <a:pt x="90" y="91"/>
                </a:cubicBezTo>
                <a:cubicBezTo>
                  <a:pt x="84" y="90"/>
                  <a:pt x="84" y="90"/>
                  <a:pt x="84" y="90"/>
                </a:cubicBezTo>
                <a:cubicBezTo>
                  <a:pt x="83" y="92"/>
                  <a:pt x="79" y="96"/>
                  <a:pt x="79" y="96"/>
                </a:cubicBezTo>
                <a:cubicBezTo>
                  <a:pt x="78" y="180"/>
                  <a:pt x="78" y="180"/>
                  <a:pt x="78" y="180"/>
                </a:cubicBezTo>
                <a:cubicBezTo>
                  <a:pt x="79" y="180"/>
                  <a:pt x="79" y="180"/>
                  <a:pt x="79" y="180"/>
                </a:cubicBezTo>
                <a:cubicBezTo>
                  <a:pt x="83" y="183"/>
                  <a:pt x="83" y="183"/>
                  <a:pt x="83" y="183"/>
                </a:cubicBezTo>
                <a:cubicBezTo>
                  <a:pt x="83" y="188"/>
                  <a:pt x="84" y="191"/>
                  <a:pt x="87" y="193"/>
                </a:cubicBezTo>
                <a:cubicBezTo>
                  <a:pt x="93" y="193"/>
                  <a:pt x="93" y="193"/>
                  <a:pt x="93" y="193"/>
                </a:cubicBezTo>
                <a:cubicBezTo>
                  <a:pt x="94" y="193"/>
                  <a:pt x="95" y="193"/>
                  <a:pt x="95" y="194"/>
                </a:cubicBezTo>
                <a:cubicBezTo>
                  <a:pt x="95" y="195"/>
                  <a:pt x="95" y="196"/>
                  <a:pt x="95" y="196"/>
                </a:cubicBezTo>
                <a:lnTo>
                  <a:pt x="37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71" name="Freeform 283"/>
          <p:cNvSpPr>
            <a:spLocks noEditPoints="1"/>
          </p:cNvSpPr>
          <p:nvPr/>
        </p:nvSpPr>
        <p:spPr bwMode="auto">
          <a:xfrm>
            <a:off x="5310718" y="5467351"/>
            <a:ext cx="427567" cy="596900"/>
          </a:xfrm>
          <a:custGeom>
            <a:avLst/>
            <a:gdLst>
              <a:gd name="T0" fmla="*/ 270290634 w 142"/>
              <a:gd name="T1" fmla="*/ 976401785 h 198"/>
              <a:gd name="T2" fmla="*/ 326388435 w 142"/>
              <a:gd name="T3" fmla="*/ 639006321 h 198"/>
              <a:gd name="T4" fmla="*/ 91796606 w 142"/>
              <a:gd name="T5" fmla="*/ 419188852 h 198"/>
              <a:gd name="T6" fmla="*/ 71397611 w 142"/>
              <a:gd name="T7" fmla="*/ 403852592 h 198"/>
              <a:gd name="T8" fmla="*/ 0 w 142"/>
              <a:gd name="T9" fmla="*/ 408964678 h 198"/>
              <a:gd name="T10" fmla="*/ 15299811 w 142"/>
              <a:gd name="T11" fmla="*/ 362955898 h 198"/>
              <a:gd name="T12" fmla="*/ 0 w 142"/>
              <a:gd name="T13" fmla="*/ 322059204 h 198"/>
              <a:gd name="T14" fmla="*/ 71397611 w 142"/>
              <a:gd name="T15" fmla="*/ 327171291 h 198"/>
              <a:gd name="T16" fmla="*/ 91796606 w 142"/>
              <a:gd name="T17" fmla="*/ 311835030 h 198"/>
              <a:gd name="T18" fmla="*/ 326388435 w 142"/>
              <a:gd name="T19" fmla="*/ 92017561 h 198"/>
              <a:gd name="T20" fmla="*/ 270290634 w 142"/>
              <a:gd name="T21" fmla="*/ 35784607 h 198"/>
              <a:gd name="T22" fmla="*/ 356985798 w 142"/>
              <a:gd name="T23" fmla="*/ 15336260 h 198"/>
              <a:gd name="T24" fmla="*/ 367186425 w 142"/>
              <a:gd name="T25" fmla="*/ 15336260 h 198"/>
              <a:gd name="T26" fmla="*/ 453881588 w 142"/>
              <a:gd name="T27" fmla="*/ 35784607 h 198"/>
              <a:gd name="T28" fmla="*/ 397783788 w 142"/>
              <a:gd name="T29" fmla="*/ 92017561 h 198"/>
              <a:gd name="T30" fmla="*/ 632375617 w 142"/>
              <a:gd name="T31" fmla="*/ 311835030 h 198"/>
              <a:gd name="T32" fmla="*/ 652774611 w 142"/>
              <a:gd name="T33" fmla="*/ 327171291 h 198"/>
              <a:gd name="T34" fmla="*/ 724172223 w 142"/>
              <a:gd name="T35" fmla="*/ 322059204 h 198"/>
              <a:gd name="T36" fmla="*/ 708872412 w 142"/>
              <a:gd name="T37" fmla="*/ 362955898 h 198"/>
              <a:gd name="T38" fmla="*/ 724172223 w 142"/>
              <a:gd name="T39" fmla="*/ 408964678 h 198"/>
              <a:gd name="T40" fmla="*/ 652774611 w 142"/>
              <a:gd name="T41" fmla="*/ 403852592 h 198"/>
              <a:gd name="T42" fmla="*/ 632375617 w 142"/>
              <a:gd name="T43" fmla="*/ 419188852 h 198"/>
              <a:gd name="T44" fmla="*/ 397783788 w 142"/>
              <a:gd name="T45" fmla="*/ 639006321 h 198"/>
              <a:gd name="T46" fmla="*/ 453881588 w 142"/>
              <a:gd name="T47" fmla="*/ 976401785 h 198"/>
              <a:gd name="T48" fmla="*/ 367186425 w 142"/>
              <a:gd name="T49" fmla="*/ 996850132 h 198"/>
              <a:gd name="T50" fmla="*/ 356985798 w 142"/>
              <a:gd name="T51" fmla="*/ 996850132 h 198"/>
              <a:gd name="T52" fmla="*/ 295788813 w 142"/>
              <a:gd name="T53" fmla="*/ 577661280 h 198"/>
              <a:gd name="T54" fmla="*/ 326388435 w 142"/>
              <a:gd name="T55" fmla="*/ 546988759 h 198"/>
              <a:gd name="T56" fmla="*/ 188692396 w 142"/>
              <a:gd name="T57" fmla="*/ 403852592 h 198"/>
              <a:gd name="T58" fmla="*/ 152993591 w 142"/>
              <a:gd name="T59" fmla="*/ 449861372 h 198"/>
              <a:gd name="T60" fmla="*/ 275389818 w 142"/>
              <a:gd name="T61" fmla="*/ 577661280 h 198"/>
              <a:gd name="T62" fmla="*/ 285588187 w 142"/>
              <a:gd name="T63" fmla="*/ 577661280 h 198"/>
              <a:gd name="T64" fmla="*/ 428383409 w 142"/>
              <a:gd name="T65" fmla="*/ 577661280 h 198"/>
              <a:gd name="T66" fmla="*/ 448782404 w 142"/>
              <a:gd name="T67" fmla="*/ 577661280 h 198"/>
              <a:gd name="T68" fmla="*/ 571178632 w 142"/>
              <a:gd name="T69" fmla="*/ 454973459 h 198"/>
              <a:gd name="T70" fmla="*/ 576277816 w 142"/>
              <a:gd name="T71" fmla="*/ 444749286 h 198"/>
              <a:gd name="T72" fmla="*/ 397783788 w 142"/>
              <a:gd name="T73" fmla="*/ 403852592 h 198"/>
              <a:gd name="T74" fmla="*/ 428383409 w 142"/>
              <a:gd name="T75" fmla="*/ 577661280 h 198"/>
              <a:gd name="T76" fmla="*/ 326388435 w 142"/>
              <a:gd name="T77" fmla="*/ 184032862 h 198"/>
              <a:gd name="T78" fmla="*/ 285588187 w 142"/>
              <a:gd name="T79" fmla="*/ 153362602 h 198"/>
              <a:gd name="T80" fmla="*/ 275389818 w 142"/>
              <a:gd name="T81" fmla="*/ 153362602 h 198"/>
              <a:gd name="T82" fmla="*/ 152993591 w 142"/>
              <a:gd name="T83" fmla="*/ 281162510 h 198"/>
              <a:gd name="T84" fmla="*/ 188692396 w 142"/>
              <a:gd name="T85" fmla="*/ 327171291 h 198"/>
              <a:gd name="T86" fmla="*/ 535479826 w 142"/>
              <a:gd name="T87" fmla="*/ 327171291 h 198"/>
              <a:gd name="T88" fmla="*/ 571178632 w 142"/>
              <a:gd name="T89" fmla="*/ 281162510 h 198"/>
              <a:gd name="T90" fmla="*/ 448782404 w 142"/>
              <a:gd name="T91" fmla="*/ 153362602 h 198"/>
              <a:gd name="T92" fmla="*/ 443683220 w 142"/>
              <a:gd name="T93" fmla="*/ 153362602 h 198"/>
              <a:gd name="T94" fmla="*/ 397783788 w 142"/>
              <a:gd name="T95" fmla="*/ 327171291 h 19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142" h="198">
                <a:moveTo>
                  <a:pt x="62" y="198"/>
                </a:moveTo>
                <a:cubicBezTo>
                  <a:pt x="59" y="198"/>
                  <a:pt x="56" y="196"/>
                  <a:pt x="53" y="191"/>
                </a:cubicBezTo>
                <a:cubicBezTo>
                  <a:pt x="60" y="192"/>
                  <a:pt x="64" y="191"/>
                  <a:pt x="64" y="183"/>
                </a:cubicBezTo>
                <a:cubicBezTo>
                  <a:pt x="64" y="125"/>
                  <a:pt x="64" y="125"/>
                  <a:pt x="64" y="125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39" y="120"/>
                  <a:pt x="22" y="103"/>
                  <a:pt x="18" y="82"/>
                </a:cubicBezTo>
                <a:cubicBezTo>
                  <a:pt x="18" y="79"/>
                  <a:pt x="18" y="79"/>
                  <a:pt x="18" y="79"/>
                </a:cubicBezTo>
                <a:cubicBezTo>
                  <a:pt x="14" y="79"/>
                  <a:pt x="14" y="79"/>
                  <a:pt x="14" y="79"/>
                </a:cubicBezTo>
                <a:cubicBezTo>
                  <a:pt x="6" y="78"/>
                  <a:pt x="5" y="83"/>
                  <a:pt x="7" y="89"/>
                </a:cubicBezTo>
                <a:cubicBezTo>
                  <a:pt x="2" y="87"/>
                  <a:pt x="0" y="83"/>
                  <a:pt x="0" y="80"/>
                </a:cubicBezTo>
                <a:cubicBezTo>
                  <a:pt x="0" y="78"/>
                  <a:pt x="1" y="75"/>
                  <a:pt x="3" y="72"/>
                </a:cubicBezTo>
                <a:cubicBezTo>
                  <a:pt x="3" y="71"/>
                  <a:pt x="3" y="71"/>
                  <a:pt x="3" y="71"/>
                </a:cubicBezTo>
                <a:cubicBezTo>
                  <a:pt x="3" y="71"/>
                  <a:pt x="3" y="71"/>
                  <a:pt x="3" y="71"/>
                </a:cubicBezTo>
                <a:cubicBezTo>
                  <a:pt x="1" y="68"/>
                  <a:pt x="0" y="65"/>
                  <a:pt x="0" y="63"/>
                </a:cubicBezTo>
                <a:cubicBezTo>
                  <a:pt x="0" y="59"/>
                  <a:pt x="2" y="56"/>
                  <a:pt x="7" y="54"/>
                </a:cubicBezTo>
                <a:cubicBezTo>
                  <a:pt x="5" y="60"/>
                  <a:pt x="6" y="64"/>
                  <a:pt x="14" y="64"/>
                </a:cubicBezTo>
                <a:cubicBezTo>
                  <a:pt x="18" y="64"/>
                  <a:pt x="18" y="64"/>
                  <a:pt x="18" y="64"/>
                </a:cubicBezTo>
                <a:cubicBezTo>
                  <a:pt x="18" y="61"/>
                  <a:pt x="18" y="61"/>
                  <a:pt x="18" y="61"/>
                </a:cubicBezTo>
                <a:cubicBezTo>
                  <a:pt x="22" y="39"/>
                  <a:pt x="39" y="23"/>
                  <a:pt x="60" y="19"/>
                </a:cubicBezTo>
                <a:cubicBezTo>
                  <a:pt x="64" y="18"/>
                  <a:pt x="64" y="18"/>
                  <a:pt x="64" y="18"/>
                </a:cubicBezTo>
                <a:cubicBezTo>
                  <a:pt x="64" y="15"/>
                  <a:pt x="64" y="15"/>
                  <a:pt x="64" y="15"/>
                </a:cubicBezTo>
                <a:cubicBezTo>
                  <a:pt x="64" y="7"/>
                  <a:pt x="60" y="6"/>
                  <a:pt x="53" y="7"/>
                </a:cubicBezTo>
                <a:cubicBezTo>
                  <a:pt x="56" y="2"/>
                  <a:pt x="59" y="0"/>
                  <a:pt x="62" y="0"/>
                </a:cubicBezTo>
                <a:cubicBezTo>
                  <a:pt x="65" y="0"/>
                  <a:pt x="67" y="1"/>
                  <a:pt x="70" y="3"/>
                </a:cubicBezTo>
                <a:cubicBezTo>
                  <a:pt x="71" y="4"/>
                  <a:pt x="71" y="4"/>
                  <a:pt x="71" y="4"/>
                </a:cubicBezTo>
                <a:cubicBezTo>
                  <a:pt x="72" y="3"/>
                  <a:pt x="72" y="3"/>
                  <a:pt x="72" y="3"/>
                </a:cubicBezTo>
                <a:cubicBezTo>
                  <a:pt x="75" y="1"/>
                  <a:pt x="77" y="0"/>
                  <a:pt x="80" y="0"/>
                </a:cubicBezTo>
                <a:cubicBezTo>
                  <a:pt x="83" y="0"/>
                  <a:pt x="86" y="2"/>
                  <a:pt x="89" y="7"/>
                </a:cubicBezTo>
                <a:cubicBezTo>
                  <a:pt x="82" y="6"/>
                  <a:pt x="78" y="7"/>
                  <a:pt x="78" y="15"/>
                </a:cubicBezTo>
                <a:cubicBezTo>
                  <a:pt x="78" y="18"/>
                  <a:pt x="78" y="18"/>
                  <a:pt x="78" y="18"/>
                </a:cubicBezTo>
                <a:cubicBezTo>
                  <a:pt x="82" y="19"/>
                  <a:pt x="82" y="19"/>
                  <a:pt x="82" y="19"/>
                </a:cubicBezTo>
                <a:cubicBezTo>
                  <a:pt x="103" y="23"/>
                  <a:pt x="120" y="39"/>
                  <a:pt x="124" y="61"/>
                </a:cubicBezTo>
                <a:cubicBezTo>
                  <a:pt x="125" y="64"/>
                  <a:pt x="125" y="64"/>
                  <a:pt x="125" y="64"/>
                </a:cubicBezTo>
                <a:cubicBezTo>
                  <a:pt x="128" y="64"/>
                  <a:pt x="128" y="64"/>
                  <a:pt x="128" y="64"/>
                </a:cubicBezTo>
                <a:cubicBezTo>
                  <a:pt x="136" y="64"/>
                  <a:pt x="137" y="60"/>
                  <a:pt x="135" y="54"/>
                </a:cubicBezTo>
                <a:cubicBezTo>
                  <a:pt x="140" y="56"/>
                  <a:pt x="142" y="59"/>
                  <a:pt x="142" y="63"/>
                </a:cubicBezTo>
                <a:cubicBezTo>
                  <a:pt x="142" y="65"/>
                  <a:pt x="141" y="68"/>
                  <a:pt x="139" y="71"/>
                </a:cubicBezTo>
                <a:cubicBezTo>
                  <a:pt x="139" y="71"/>
                  <a:pt x="139" y="71"/>
                  <a:pt x="139" y="71"/>
                </a:cubicBezTo>
                <a:cubicBezTo>
                  <a:pt x="139" y="72"/>
                  <a:pt x="139" y="72"/>
                  <a:pt x="139" y="72"/>
                </a:cubicBezTo>
                <a:cubicBezTo>
                  <a:pt x="141" y="75"/>
                  <a:pt x="142" y="78"/>
                  <a:pt x="142" y="80"/>
                </a:cubicBezTo>
                <a:cubicBezTo>
                  <a:pt x="142" y="83"/>
                  <a:pt x="140" y="87"/>
                  <a:pt x="135" y="89"/>
                </a:cubicBezTo>
                <a:cubicBezTo>
                  <a:pt x="137" y="83"/>
                  <a:pt x="136" y="78"/>
                  <a:pt x="128" y="79"/>
                </a:cubicBezTo>
                <a:cubicBezTo>
                  <a:pt x="125" y="79"/>
                  <a:pt x="125" y="79"/>
                  <a:pt x="125" y="79"/>
                </a:cubicBezTo>
                <a:cubicBezTo>
                  <a:pt x="124" y="82"/>
                  <a:pt x="124" y="82"/>
                  <a:pt x="124" y="82"/>
                </a:cubicBezTo>
                <a:cubicBezTo>
                  <a:pt x="120" y="103"/>
                  <a:pt x="103" y="120"/>
                  <a:pt x="82" y="124"/>
                </a:cubicBezTo>
                <a:cubicBezTo>
                  <a:pt x="78" y="125"/>
                  <a:pt x="78" y="125"/>
                  <a:pt x="78" y="125"/>
                </a:cubicBezTo>
                <a:cubicBezTo>
                  <a:pt x="78" y="183"/>
                  <a:pt x="78" y="183"/>
                  <a:pt x="78" y="183"/>
                </a:cubicBezTo>
                <a:cubicBezTo>
                  <a:pt x="78" y="191"/>
                  <a:pt x="82" y="192"/>
                  <a:pt x="89" y="191"/>
                </a:cubicBezTo>
                <a:cubicBezTo>
                  <a:pt x="86" y="196"/>
                  <a:pt x="83" y="198"/>
                  <a:pt x="80" y="198"/>
                </a:cubicBezTo>
                <a:cubicBezTo>
                  <a:pt x="77" y="198"/>
                  <a:pt x="75" y="197"/>
                  <a:pt x="72" y="195"/>
                </a:cubicBezTo>
                <a:cubicBezTo>
                  <a:pt x="71" y="194"/>
                  <a:pt x="71" y="194"/>
                  <a:pt x="71" y="194"/>
                </a:cubicBezTo>
                <a:cubicBezTo>
                  <a:pt x="70" y="195"/>
                  <a:pt x="70" y="195"/>
                  <a:pt x="70" y="195"/>
                </a:cubicBezTo>
                <a:cubicBezTo>
                  <a:pt x="67" y="197"/>
                  <a:pt x="65" y="198"/>
                  <a:pt x="62" y="198"/>
                </a:cubicBezTo>
                <a:close/>
                <a:moveTo>
                  <a:pt x="58" y="113"/>
                </a:moveTo>
                <a:cubicBezTo>
                  <a:pt x="61" y="113"/>
                  <a:pt x="63" y="112"/>
                  <a:pt x="64" y="107"/>
                </a:cubicBezTo>
                <a:cubicBezTo>
                  <a:pt x="64" y="107"/>
                  <a:pt x="64" y="107"/>
                  <a:pt x="64" y="107"/>
                </a:cubicBezTo>
                <a:cubicBezTo>
                  <a:pt x="64" y="79"/>
                  <a:pt x="64" y="79"/>
                  <a:pt x="64" y="79"/>
                </a:cubicBezTo>
                <a:cubicBezTo>
                  <a:pt x="37" y="79"/>
                  <a:pt x="37" y="79"/>
                  <a:pt x="37" y="79"/>
                </a:cubicBezTo>
                <a:cubicBezTo>
                  <a:pt x="30" y="78"/>
                  <a:pt x="29" y="82"/>
                  <a:pt x="29" y="87"/>
                </a:cubicBezTo>
                <a:cubicBezTo>
                  <a:pt x="30" y="88"/>
                  <a:pt x="30" y="88"/>
                  <a:pt x="30" y="88"/>
                </a:cubicBezTo>
                <a:cubicBezTo>
                  <a:pt x="30" y="89"/>
                  <a:pt x="30" y="89"/>
                  <a:pt x="30" y="89"/>
                </a:cubicBezTo>
                <a:cubicBezTo>
                  <a:pt x="34" y="99"/>
                  <a:pt x="43" y="108"/>
                  <a:pt x="54" y="113"/>
                </a:cubicBezTo>
                <a:cubicBezTo>
                  <a:pt x="55" y="113"/>
                  <a:pt x="55" y="113"/>
                  <a:pt x="55" y="113"/>
                </a:cubicBezTo>
                <a:cubicBezTo>
                  <a:pt x="56" y="113"/>
                  <a:pt x="56" y="113"/>
                  <a:pt x="56" y="113"/>
                </a:cubicBezTo>
                <a:cubicBezTo>
                  <a:pt x="56" y="113"/>
                  <a:pt x="57" y="113"/>
                  <a:pt x="58" y="113"/>
                </a:cubicBezTo>
                <a:close/>
                <a:moveTo>
                  <a:pt x="84" y="113"/>
                </a:moveTo>
                <a:cubicBezTo>
                  <a:pt x="85" y="113"/>
                  <a:pt x="86" y="113"/>
                  <a:pt x="87" y="113"/>
                </a:cubicBezTo>
                <a:cubicBezTo>
                  <a:pt x="88" y="113"/>
                  <a:pt x="88" y="113"/>
                  <a:pt x="88" y="113"/>
                </a:cubicBezTo>
                <a:cubicBezTo>
                  <a:pt x="88" y="113"/>
                  <a:pt x="88" y="113"/>
                  <a:pt x="88" y="113"/>
                </a:cubicBezTo>
                <a:cubicBezTo>
                  <a:pt x="99" y="108"/>
                  <a:pt x="108" y="99"/>
                  <a:pt x="112" y="89"/>
                </a:cubicBezTo>
                <a:cubicBezTo>
                  <a:pt x="112" y="88"/>
                  <a:pt x="112" y="88"/>
                  <a:pt x="112" y="88"/>
                </a:cubicBezTo>
                <a:cubicBezTo>
                  <a:pt x="113" y="87"/>
                  <a:pt x="113" y="87"/>
                  <a:pt x="113" y="87"/>
                </a:cubicBezTo>
                <a:cubicBezTo>
                  <a:pt x="114" y="82"/>
                  <a:pt x="112" y="78"/>
                  <a:pt x="105" y="79"/>
                </a:cubicBezTo>
                <a:cubicBezTo>
                  <a:pt x="78" y="79"/>
                  <a:pt x="78" y="79"/>
                  <a:pt x="78" y="79"/>
                </a:cubicBezTo>
                <a:cubicBezTo>
                  <a:pt x="78" y="105"/>
                  <a:pt x="78" y="105"/>
                  <a:pt x="78" y="105"/>
                </a:cubicBezTo>
                <a:cubicBezTo>
                  <a:pt x="78" y="111"/>
                  <a:pt x="81" y="113"/>
                  <a:pt x="84" y="113"/>
                </a:cubicBezTo>
                <a:close/>
                <a:moveTo>
                  <a:pt x="64" y="64"/>
                </a:moveTo>
                <a:cubicBezTo>
                  <a:pt x="64" y="36"/>
                  <a:pt x="64" y="36"/>
                  <a:pt x="64" y="36"/>
                </a:cubicBezTo>
                <a:cubicBezTo>
                  <a:pt x="64" y="35"/>
                  <a:pt x="64" y="35"/>
                  <a:pt x="64" y="35"/>
                </a:cubicBezTo>
                <a:cubicBezTo>
                  <a:pt x="63" y="30"/>
                  <a:pt x="60" y="29"/>
                  <a:pt x="56" y="30"/>
                </a:cubicBezTo>
                <a:cubicBezTo>
                  <a:pt x="55" y="30"/>
                  <a:pt x="55" y="30"/>
                  <a:pt x="55" y="30"/>
                </a:cubicBezTo>
                <a:cubicBezTo>
                  <a:pt x="54" y="30"/>
                  <a:pt x="54" y="30"/>
                  <a:pt x="54" y="30"/>
                </a:cubicBezTo>
                <a:cubicBezTo>
                  <a:pt x="43" y="35"/>
                  <a:pt x="34" y="43"/>
                  <a:pt x="30" y="54"/>
                </a:cubicBezTo>
                <a:cubicBezTo>
                  <a:pt x="30" y="55"/>
                  <a:pt x="30" y="55"/>
                  <a:pt x="30" y="55"/>
                </a:cubicBezTo>
                <a:cubicBezTo>
                  <a:pt x="29" y="56"/>
                  <a:pt x="29" y="56"/>
                  <a:pt x="29" y="56"/>
                </a:cubicBezTo>
                <a:cubicBezTo>
                  <a:pt x="29" y="61"/>
                  <a:pt x="30" y="64"/>
                  <a:pt x="37" y="64"/>
                </a:cubicBezTo>
                <a:lnTo>
                  <a:pt x="64" y="64"/>
                </a:lnTo>
                <a:close/>
                <a:moveTo>
                  <a:pt x="105" y="64"/>
                </a:moveTo>
                <a:cubicBezTo>
                  <a:pt x="112" y="64"/>
                  <a:pt x="114" y="61"/>
                  <a:pt x="113" y="56"/>
                </a:cubicBezTo>
                <a:cubicBezTo>
                  <a:pt x="112" y="55"/>
                  <a:pt x="112" y="55"/>
                  <a:pt x="112" y="55"/>
                </a:cubicBezTo>
                <a:cubicBezTo>
                  <a:pt x="112" y="54"/>
                  <a:pt x="112" y="54"/>
                  <a:pt x="112" y="54"/>
                </a:cubicBezTo>
                <a:cubicBezTo>
                  <a:pt x="108" y="43"/>
                  <a:pt x="99" y="35"/>
                  <a:pt x="88" y="30"/>
                </a:cubicBezTo>
                <a:cubicBezTo>
                  <a:pt x="88" y="30"/>
                  <a:pt x="88" y="30"/>
                  <a:pt x="88" y="30"/>
                </a:cubicBezTo>
                <a:cubicBezTo>
                  <a:pt x="87" y="30"/>
                  <a:pt x="87" y="30"/>
                  <a:pt x="87" y="30"/>
                </a:cubicBezTo>
                <a:cubicBezTo>
                  <a:pt x="81" y="29"/>
                  <a:pt x="78" y="31"/>
                  <a:pt x="78" y="38"/>
                </a:cubicBezTo>
                <a:cubicBezTo>
                  <a:pt x="78" y="64"/>
                  <a:pt x="78" y="64"/>
                  <a:pt x="78" y="64"/>
                </a:cubicBezTo>
                <a:lnTo>
                  <a:pt x="105" y="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72" name="Freeform 284"/>
          <p:cNvSpPr>
            <a:spLocks/>
          </p:cNvSpPr>
          <p:nvPr/>
        </p:nvSpPr>
        <p:spPr bwMode="auto">
          <a:xfrm>
            <a:off x="6174318" y="5471585"/>
            <a:ext cx="408516" cy="613833"/>
          </a:xfrm>
          <a:custGeom>
            <a:avLst/>
            <a:gdLst>
              <a:gd name="T0" fmla="*/ 258842947 w 136"/>
              <a:gd name="T1" fmla="*/ 962553855 h 204"/>
              <a:gd name="T2" fmla="*/ 192861605 w 136"/>
              <a:gd name="T3" fmla="*/ 906532537 h 204"/>
              <a:gd name="T4" fmla="*/ 263916355 w 136"/>
              <a:gd name="T5" fmla="*/ 437988137 h 204"/>
              <a:gd name="T6" fmla="*/ 137033839 w 136"/>
              <a:gd name="T7" fmla="*/ 509287587 h 204"/>
              <a:gd name="T8" fmla="*/ 76130411 w 136"/>
              <a:gd name="T9" fmla="*/ 443079343 h 204"/>
              <a:gd name="T10" fmla="*/ 0 w 136"/>
              <a:gd name="T11" fmla="*/ 361595225 h 204"/>
              <a:gd name="T12" fmla="*/ 0 w 136"/>
              <a:gd name="T13" fmla="*/ 356501762 h 204"/>
              <a:gd name="T14" fmla="*/ 0 w 136"/>
              <a:gd name="T15" fmla="*/ 351408300 h 204"/>
              <a:gd name="T16" fmla="*/ 76130411 w 136"/>
              <a:gd name="T17" fmla="*/ 264828462 h 204"/>
              <a:gd name="T18" fmla="*/ 137033839 w 136"/>
              <a:gd name="T19" fmla="*/ 203715938 h 204"/>
              <a:gd name="T20" fmla="*/ 263916355 w 136"/>
              <a:gd name="T21" fmla="*/ 275015387 h 204"/>
              <a:gd name="T22" fmla="*/ 192861605 w 136"/>
              <a:gd name="T23" fmla="*/ 132414231 h 204"/>
              <a:gd name="T24" fmla="*/ 258842947 w 136"/>
              <a:gd name="T25" fmla="*/ 76392912 h 204"/>
              <a:gd name="T26" fmla="*/ 340046766 w 136"/>
              <a:gd name="T27" fmla="*/ 0 h 204"/>
              <a:gd name="T28" fmla="*/ 345122427 w 136"/>
              <a:gd name="T29" fmla="*/ 0 h 204"/>
              <a:gd name="T30" fmla="*/ 350198088 w 136"/>
              <a:gd name="T31" fmla="*/ 0 h 204"/>
              <a:gd name="T32" fmla="*/ 431404160 w 136"/>
              <a:gd name="T33" fmla="*/ 76392912 h 204"/>
              <a:gd name="T34" fmla="*/ 497383249 w 136"/>
              <a:gd name="T35" fmla="*/ 132414231 h 204"/>
              <a:gd name="T36" fmla="*/ 426328499 w 136"/>
              <a:gd name="T37" fmla="*/ 275015387 h 204"/>
              <a:gd name="T38" fmla="*/ 553211015 w 136"/>
              <a:gd name="T39" fmla="*/ 203715938 h 204"/>
              <a:gd name="T40" fmla="*/ 614114443 w 136"/>
              <a:gd name="T41" fmla="*/ 264828462 h 204"/>
              <a:gd name="T42" fmla="*/ 690244854 w 136"/>
              <a:gd name="T43" fmla="*/ 351408300 h 204"/>
              <a:gd name="T44" fmla="*/ 690244854 w 136"/>
              <a:gd name="T45" fmla="*/ 356501762 h 204"/>
              <a:gd name="T46" fmla="*/ 690244854 w 136"/>
              <a:gd name="T47" fmla="*/ 361595225 h 204"/>
              <a:gd name="T48" fmla="*/ 614114443 w 136"/>
              <a:gd name="T49" fmla="*/ 443079343 h 204"/>
              <a:gd name="T50" fmla="*/ 553211015 w 136"/>
              <a:gd name="T51" fmla="*/ 509287587 h 204"/>
              <a:gd name="T52" fmla="*/ 426328499 w 136"/>
              <a:gd name="T53" fmla="*/ 437988137 h 204"/>
              <a:gd name="T54" fmla="*/ 497383249 w 136"/>
              <a:gd name="T55" fmla="*/ 906532537 h 204"/>
              <a:gd name="T56" fmla="*/ 431404160 w 136"/>
              <a:gd name="T57" fmla="*/ 962553855 h 204"/>
              <a:gd name="T58" fmla="*/ 350198088 w 136"/>
              <a:gd name="T59" fmla="*/ 1038946768 h 204"/>
              <a:gd name="T60" fmla="*/ 345122427 w 136"/>
              <a:gd name="T61" fmla="*/ 1038946768 h 204"/>
              <a:gd name="T62" fmla="*/ 340046766 w 136"/>
              <a:gd name="T63" fmla="*/ 1038946768 h 2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36" h="204">
                <a:moveTo>
                  <a:pt x="67" y="204"/>
                </a:moveTo>
                <a:cubicBezTo>
                  <a:pt x="58" y="204"/>
                  <a:pt x="53" y="199"/>
                  <a:pt x="51" y="189"/>
                </a:cubicBezTo>
                <a:cubicBezTo>
                  <a:pt x="47" y="189"/>
                  <a:pt x="42" y="188"/>
                  <a:pt x="38" y="186"/>
                </a:cubicBezTo>
                <a:cubicBezTo>
                  <a:pt x="38" y="183"/>
                  <a:pt x="38" y="180"/>
                  <a:pt x="38" y="178"/>
                </a:cubicBezTo>
                <a:cubicBezTo>
                  <a:pt x="47" y="176"/>
                  <a:pt x="50" y="172"/>
                  <a:pt x="52" y="165"/>
                </a:cubicBezTo>
                <a:cubicBezTo>
                  <a:pt x="52" y="86"/>
                  <a:pt x="52" y="86"/>
                  <a:pt x="52" y="86"/>
                </a:cubicBezTo>
                <a:cubicBezTo>
                  <a:pt x="39" y="86"/>
                  <a:pt x="39" y="86"/>
                  <a:pt x="39" y="86"/>
                </a:cubicBezTo>
                <a:cubicBezTo>
                  <a:pt x="32" y="88"/>
                  <a:pt x="28" y="91"/>
                  <a:pt x="27" y="100"/>
                </a:cubicBezTo>
                <a:cubicBezTo>
                  <a:pt x="24" y="100"/>
                  <a:pt x="21" y="100"/>
                  <a:pt x="18" y="100"/>
                </a:cubicBezTo>
                <a:cubicBezTo>
                  <a:pt x="17" y="95"/>
                  <a:pt x="16" y="91"/>
                  <a:pt x="15" y="87"/>
                </a:cubicBezTo>
                <a:cubicBezTo>
                  <a:pt x="6" y="85"/>
                  <a:pt x="0" y="80"/>
                  <a:pt x="0" y="71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70"/>
                  <a:pt x="0" y="70"/>
                  <a:pt x="0" y="70"/>
                </a:cubicBezTo>
                <a:cubicBezTo>
                  <a:pt x="0" y="70"/>
                  <a:pt x="0" y="70"/>
                  <a:pt x="0" y="70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60"/>
                  <a:pt x="6" y="54"/>
                  <a:pt x="15" y="52"/>
                </a:cubicBezTo>
                <a:cubicBezTo>
                  <a:pt x="16" y="48"/>
                  <a:pt x="17" y="44"/>
                  <a:pt x="18" y="40"/>
                </a:cubicBezTo>
                <a:cubicBezTo>
                  <a:pt x="21" y="39"/>
                  <a:pt x="24" y="39"/>
                  <a:pt x="27" y="40"/>
                </a:cubicBezTo>
                <a:cubicBezTo>
                  <a:pt x="28" y="49"/>
                  <a:pt x="32" y="52"/>
                  <a:pt x="39" y="54"/>
                </a:cubicBezTo>
                <a:cubicBezTo>
                  <a:pt x="52" y="54"/>
                  <a:pt x="52" y="54"/>
                  <a:pt x="52" y="54"/>
                </a:cubicBezTo>
                <a:cubicBezTo>
                  <a:pt x="52" y="39"/>
                  <a:pt x="52" y="39"/>
                  <a:pt x="52" y="39"/>
                </a:cubicBezTo>
                <a:cubicBezTo>
                  <a:pt x="50" y="32"/>
                  <a:pt x="47" y="28"/>
                  <a:pt x="38" y="26"/>
                </a:cubicBezTo>
                <a:cubicBezTo>
                  <a:pt x="38" y="24"/>
                  <a:pt x="38" y="21"/>
                  <a:pt x="38" y="18"/>
                </a:cubicBezTo>
                <a:cubicBezTo>
                  <a:pt x="42" y="16"/>
                  <a:pt x="47" y="15"/>
                  <a:pt x="51" y="15"/>
                </a:cubicBezTo>
                <a:cubicBezTo>
                  <a:pt x="53" y="5"/>
                  <a:pt x="58" y="0"/>
                  <a:pt x="6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78" y="0"/>
                  <a:pt x="83" y="5"/>
                  <a:pt x="85" y="15"/>
                </a:cubicBezTo>
                <a:cubicBezTo>
                  <a:pt x="89" y="15"/>
                  <a:pt x="94" y="16"/>
                  <a:pt x="98" y="18"/>
                </a:cubicBezTo>
                <a:cubicBezTo>
                  <a:pt x="98" y="21"/>
                  <a:pt x="98" y="24"/>
                  <a:pt x="98" y="26"/>
                </a:cubicBezTo>
                <a:cubicBezTo>
                  <a:pt x="89" y="28"/>
                  <a:pt x="86" y="32"/>
                  <a:pt x="84" y="39"/>
                </a:cubicBezTo>
                <a:cubicBezTo>
                  <a:pt x="84" y="54"/>
                  <a:pt x="84" y="54"/>
                  <a:pt x="84" y="54"/>
                </a:cubicBezTo>
                <a:cubicBezTo>
                  <a:pt x="97" y="54"/>
                  <a:pt x="97" y="54"/>
                  <a:pt x="97" y="54"/>
                </a:cubicBezTo>
                <a:cubicBezTo>
                  <a:pt x="104" y="52"/>
                  <a:pt x="108" y="49"/>
                  <a:pt x="109" y="40"/>
                </a:cubicBezTo>
                <a:cubicBezTo>
                  <a:pt x="112" y="39"/>
                  <a:pt x="115" y="39"/>
                  <a:pt x="118" y="40"/>
                </a:cubicBezTo>
                <a:cubicBezTo>
                  <a:pt x="119" y="44"/>
                  <a:pt x="120" y="48"/>
                  <a:pt x="121" y="52"/>
                </a:cubicBezTo>
                <a:cubicBezTo>
                  <a:pt x="130" y="54"/>
                  <a:pt x="136" y="60"/>
                  <a:pt x="136" y="69"/>
                </a:cubicBezTo>
                <a:cubicBezTo>
                  <a:pt x="136" y="69"/>
                  <a:pt x="136" y="69"/>
                  <a:pt x="136" y="69"/>
                </a:cubicBezTo>
                <a:cubicBezTo>
                  <a:pt x="136" y="69"/>
                  <a:pt x="136" y="69"/>
                  <a:pt x="136" y="69"/>
                </a:cubicBezTo>
                <a:cubicBezTo>
                  <a:pt x="136" y="70"/>
                  <a:pt x="136" y="70"/>
                  <a:pt x="136" y="70"/>
                </a:cubicBezTo>
                <a:cubicBezTo>
                  <a:pt x="136" y="70"/>
                  <a:pt x="136" y="70"/>
                  <a:pt x="136" y="70"/>
                </a:cubicBezTo>
                <a:cubicBezTo>
                  <a:pt x="136" y="71"/>
                  <a:pt x="136" y="71"/>
                  <a:pt x="136" y="71"/>
                </a:cubicBezTo>
                <a:cubicBezTo>
                  <a:pt x="136" y="71"/>
                  <a:pt x="136" y="71"/>
                  <a:pt x="136" y="71"/>
                </a:cubicBezTo>
                <a:cubicBezTo>
                  <a:pt x="136" y="80"/>
                  <a:pt x="130" y="85"/>
                  <a:pt x="121" y="87"/>
                </a:cubicBezTo>
                <a:cubicBezTo>
                  <a:pt x="120" y="91"/>
                  <a:pt x="119" y="95"/>
                  <a:pt x="118" y="100"/>
                </a:cubicBezTo>
                <a:cubicBezTo>
                  <a:pt x="115" y="100"/>
                  <a:pt x="112" y="100"/>
                  <a:pt x="109" y="100"/>
                </a:cubicBezTo>
                <a:cubicBezTo>
                  <a:pt x="108" y="91"/>
                  <a:pt x="104" y="88"/>
                  <a:pt x="97" y="86"/>
                </a:cubicBezTo>
                <a:cubicBezTo>
                  <a:pt x="84" y="86"/>
                  <a:pt x="84" y="86"/>
                  <a:pt x="84" y="86"/>
                </a:cubicBezTo>
                <a:cubicBezTo>
                  <a:pt x="84" y="165"/>
                  <a:pt x="84" y="165"/>
                  <a:pt x="84" y="165"/>
                </a:cubicBezTo>
                <a:cubicBezTo>
                  <a:pt x="86" y="172"/>
                  <a:pt x="89" y="176"/>
                  <a:pt x="98" y="178"/>
                </a:cubicBezTo>
                <a:cubicBezTo>
                  <a:pt x="98" y="180"/>
                  <a:pt x="98" y="183"/>
                  <a:pt x="98" y="186"/>
                </a:cubicBezTo>
                <a:cubicBezTo>
                  <a:pt x="94" y="188"/>
                  <a:pt x="89" y="189"/>
                  <a:pt x="85" y="189"/>
                </a:cubicBezTo>
                <a:cubicBezTo>
                  <a:pt x="83" y="199"/>
                  <a:pt x="78" y="204"/>
                  <a:pt x="69" y="204"/>
                </a:cubicBezTo>
                <a:cubicBezTo>
                  <a:pt x="69" y="204"/>
                  <a:pt x="69" y="204"/>
                  <a:pt x="69" y="204"/>
                </a:cubicBezTo>
                <a:cubicBezTo>
                  <a:pt x="69" y="204"/>
                  <a:pt x="69" y="204"/>
                  <a:pt x="69" y="204"/>
                </a:cubicBezTo>
                <a:cubicBezTo>
                  <a:pt x="68" y="204"/>
                  <a:pt x="68" y="204"/>
                  <a:pt x="68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73" name="Freeform 285"/>
          <p:cNvSpPr>
            <a:spLocks/>
          </p:cNvSpPr>
          <p:nvPr/>
        </p:nvSpPr>
        <p:spPr bwMode="auto">
          <a:xfrm>
            <a:off x="7084484" y="5416551"/>
            <a:ext cx="237067" cy="213783"/>
          </a:xfrm>
          <a:custGeom>
            <a:avLst/>
            <a:gdLst>
              <a:gd name="T0" fmla="*/ 81045291 w 79"/>
              <a:gd name="T1" fmla="*/ 305988486 h 71"/>
              <a:gd name="T2" fmla="*/ 187416954 w 79"/>
              <a:gd name="T3" fmla="*/ 305988486 h 71"/>
              <a:gd name="T4" fmla="*/ 344443613 w 79"/>
              <a:gd name="T5" fmla="*/ 346786348 h 71"/>
              <a:gd name="T6" fmla="*/ 319117241 w 79"/>
              <a:gd name="T7" fmla="*/ 249890860 h 71"/>
              <a:gd name="T8" fmla="*/ 106371663 w 79"/>
              <a:gd name="T9" fmla="*/ 30599526 h 71"/>
              <a:gd name="T10" fmla="*/ 81045291 w 79"/>
              <a:gd name="T11" fmla="*/ 50998457 h 71"/>
              <a:gd name="T12" fmla="*/ 91175390 w 79"/>
              <a:gd name="T13" fmla="*/ 117294419 h 71"/>
              <a:gd name="T14" fmla="*/ 75979116 w 79"/>
              <a:gd name="T15" fmla="*/ 168292877 h 71"/>
              <a:gd name="T16" fmla="*/ 81045291 w 79"/>
              <a:gd name="T17" fmla="*/ 219291334 h 71"/>
              <a:gd name="T18" fmla="*/ 86111466 w 79"/>
              <a:gd name="T19" fmla="*/ 270289791 h 71"/>
              <a:gd name="T20" fmla="*/ 81045291 w 79"/>
              <a:gd name="T21" fmla="*/ 305988486 h 7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79" h="71">
                <a:moveTo>
                  <a:pt x="16" y="60"/>
                </a:moveTo>
                <a:cubicBezTo>
                  <a:pt x="16" y="60"/>
                  <a:pt x="28" y="56"/>
                  <a:pt x="37" y="60"/>
                </a:cubicBezTo>
                <a:cubicBezTo>
                  <a:pt x="37" y="60"/>
                  <a:pt x="63" y="71"/>
                  <a:pt x="68" y="68"/>
                </a:cubicBezTo>
                <a:cubicBezTo>
                  <a:pt x="68" y="68"/>
                  <a:pt x="79" y="58"/>
                  <a:pt x="63" y="49"/>
                </a:cubicBezTo>
                <a:cubicBezTo>
                  <a:pt x="63" y="49"/>
                  <a:pt x="28" y="34"/>
                  <a:pt x="21" y="6"/>
                </a:cubicBezTo>
                <a:cubicBezTo>
                  <a:pt x="21" y="6"/>
                  <a:pt x="18" y="0"/>
                  <a:pt x="16" y="10"/>
                </a:cubicBezTo>
                <a:cubicBezTo>
                  <a:pt x="16" y="10"/>
                  <a:pt x="14" y="18"/>
                  <a:pt x="18" y="23"/>
                </a:cubicBezTo>
                <a:cubicBezTo>
                  <a:pt x="18" y="23"/>
                  <a:pt x="2" y="19"/>
                  <a:pt x="15" y="33"/>
                </a:cubicBezTo>
                <a:cubicBezTo>
                  <a:pt x="15" y="33"/>
                  <a:pt x="0" y="33"/>
                  <a:pt x="16" y="43"/>
                </a:cubicBezTo>
                <a:cubicBezTo>
                  <a:pt x="16" y="43"/>
                  <a:pt x="0" y="46"/>
                  <a:pt x="17" y="53"/>
                </a:cubicBezTo>
                <a:cubicBezTo>
                  <a:pt x="17" y="53"/>
                  <a:pt x="4" y="62"/>
                  <a:pt x="16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74" name="Freeform 286"/>
          <p:cNvSpPr>
            <a:spLocks noEditPoints="1"/>
          </p:cNvSpPr>
          <p:nvPr/>
        </p:nvSpPr>
        <p:spPr bwMode="auto">
          <a:xfrm>
            <a:off x="6925733" y="5543551"/>
            <a:ext cx="543984" cy="584200"/>
          </a:xfrm>
          <a:custGeom>
            <a:avLst/>
            <a:gdLst>
              <a:gd name="T0" fmla="*/ 350578904 w 181"/>
              <a:gd name="T1" fmla="*/ 877345688 h 194"/>
              <a:gd name="T2" fmla="*/ 406468752 w 181"/>
              <a:gd name="T3" fmla="*/ 907950691 h 194"/>
              <a:gd name="T4" fmla="*/ 472519980 w 181"/>
              <a:gd name="T5" fmla="*/ 918152359 h 194"/>
              <a:gd name="T6" fmla="*/ 533490519 w 181"/>
              <a:gd name="T7" fmla="*/ 913050396 h 194"/>
              <a:gd name="T8" fmla="*/ 604622437 w 181"/>
              <a:gd name="T9" fmla="*/ 647807034 h 194"/>
              <a:gd name="T10" fmla="*/ 645270214 w 181"/>
              <a:gd name="T11" fmla="*/ 566193691 h 194"/>
              <a:gd name="T12" fmla="*/ 823101138 w 181"/>
              <a:gd name="T13" fmla="*/ 239740322 h 194"/>
              <a:gd name="T14" fmla="*/ 919636509 w 181"/>
              <a:gd name="T15" fmla="*/ 45908634 h 194"/>
              <a:gd name="T16" fmla="*/ 858665971 w 181"/>
              <a:gd name="T17" fmla="*/ 40806671 h 194"/>
              <a:gd name="T18" fmla="*/ 797695433 w 181"/>
              <a:gd name="T19" fmla="*/ 5101963 h 194"/>
              <a:gd name="T20" fmla="*/ 650350905 w 181"/>
              <a:gd name="T21" fmla="*/ 127521977 h 194"/>
              <a:gd name="T22" fmla="*/ 553813280 w 181"/>
              <a:gd name="T23" fmla="*/ 163226685 h 194"/>
              <a:gd name="T24" fmla="*/ 360740285 w 181"/>
              <a:gd name="T25" fmla="*/ 107118641 h 194"/>
              <a:gd name="T26" fmla="*/ 127021767 w 181"/>
              <a:gd name="T27" fmla="*/ 102016678 h 194"/>
              <a:gd name="T28" fmla="*/ 162586599 w 181"/>
              <a:gd name="T29" fmla="*/ 158126980 h 194"/>
              <a:gd name="T30" fmla="*/ 233720772 w 181"/>
              <a:gd name="T31" fmla="*/ 209135319 h 194"/>
              <a:gd name="T32" fmla="*/ 279446985 w 181"/>
              <a:gd name="T33" fmla="*/ 260143658 h 194"/>
              <a:gd name="T34" fmla="*/ 330256143 w 181"/>
              <a:gd name="T35" fmla="*/ 295848366 h 194"/>
              <a:gd name="T36" fmla="*/ 381065300 w 181"/>
              <a:gd name="T37" fmla="*/ 326453369 h 194"/>
              <a:gd name="T38" fmla="*/ 416630133 w 181"/>
              <a:gd name="T39" fmla="*/ 362160336 h 194"/>
              <a:gd name="T40" fmla="*/ 462358600 w 181"/>
              <a:gd name="T41" fmla="*/ 382563671 h 194"/>
              <a:gd name="T42" fmla="*/ 508087067 w 181"/>
              <a:gd name="T43" fmla="*/ 408066711 h 194"/>
              <a:gd name="T44" fmla="*/ 548732590 w 181"/>
              <a:gd name="T45" fmla="*/ 443773678 h 194"/>
              <a:gd name="T46" fmla="*/ 513167757 w 181"/>
              <a:gd name="T47" fmla="*/ 550892319 h 194"/>
              <a:gd name="T48" fmla="*/ 274366295 w 181"/>
              <a:gd name="T49" fmla="*/ 780428715 h 194"/>
              <a:gd name="T50" fmla="*/ 299772001 w 181"/>
              <a:gd name="T51" fmla="*/ 841638721 h 194"/>
              <a:gd name="T52" fmla="*/ 350578904 w 181"/>
              <a:gd name="T53" fmla="*/ 877345688 h 194"/>
              <a:gd name="T54" fmla="*/ 807856813 w 181"/>
              <a:gd name="T55" fmla="*/ 45908634 h 194"/>
              <a:gd name="T56" fmla="*/ 823101138 w 181"/>
              <a:gd name="T57" fmla="*/ 61210007 h 194"/>
              <a:gd name="T58" fmla="*/ 807856813 w 181"/>
              <a:gd name="T59" fmla="*/ 45908634 h 1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81" h="194">
                <a:moveTo>
                  <a:pt x="69" y="172"/>
                </a:moveTo>
                <a:cubicBezTo>
                  <a:pt x="68" y="187"/>
                  <a:pt x="80" y="178"/>
                  <a:pt x="80" y="178"/>
                </a:cubicBezTo>
                <a:cubicBezTo>
                  <a:pt x="84" y="193"/>
                  <a:pt x="93" y="180"/>
                  <a:pt x="93" y="180"/>
                </a:cubicBezTo>
                <a:cubicBezTo>
                  <a:pt x="101" y="194"/>
                  <a:pt x="105" y="179"/>
                  <a:pt x="105" y="179"/>
                </a:cubicBezTo>
                <a:cubicBezTo>
                  <a:pt x="117" y="149"/>
                  <a:pt x="119" y="127"/>
                  <a:pt x="119" y="127"/>
                </a:cubicBezTo>
                <a:cubicBezTo>
                  <a:pt x="120" y="113"/>
                  <a:pt x="127" y="111"/>
                  <a:pt x="127" y="111"/>
                </a:cubicBezTo>
                <a:cubicBezTo>
                  <a:pt x="170" y="88"/>
                  <a:pt x="162" y="47"/>
                  <a:pt x="162" y="47"/>
                </a:cubicBezTo>
                <a:cubicBezTo>
                  <a:pt x="157" y="18"/>
                  <a:pt x="181" y="9"/>
                  <a:pt x="181" y="9"/>
                </a:cubicBezTo>
                <a:cubicBezTo>
                  <a:pt x="177" y="8"/>
                  <a:pt x="169" y="8"/>
                  <a:pt x="169" y="8"/>
                </a:cubicBezTo>
                <a:cubicBezTo>
                  <a:pt x="164" y="0"/>
                  <a:pt x="157" y="1"/>
                  <a:pt x="157" y="1"/>
                </a:cubicBezTo>
                <a:cubicBezTo>
                  <a:pt x="147" y="1"/>
                  <a:pt x="128" y="25"/>
                  <a:pt x="128" y="25"/>
                </a:cubicBezTo>
                <a:cubicBezTo>
                  <a:pt x="118" y="37"/>
                  <a:pt x="109" y="32"/>
                  <a:pt x="109" y="32"/>
                </a:cubicBezTo>
                <a:cubicBezTo>
                  <a:pt x="82" y="18"/>
                  <a:pt x="71" y="21"/>
                  <a:pt x="71" y="21"/>
                </a:cubicBezTo>
                <a:cubicBezTo>
                  <a:pt x="45" y="28"/>
                  <a:pt x="25" y="20"/>
                  <a:pt x="25" y="20"/>
                </a:cubicBezTo>
                <a:cubicBezTo>
                  <a:pt x="0" y="16"/>
                  <a:pt x="32" y="31"/>
                  <a:pt x="32" y="31"/>
                </a:cubicBezTo>
                <a:cubicBezTo>
                  <a:pt x="14" y="37"/>
                  <a:pt x="46" y="41"/>
                  <a:pt x="46" y="41"/>
                </a:cubicBezTo>
                <a:cubicBezTo>
                  <a:pt x="26" y="53"/>
                  <a:pt x="55" y="51"/>
                  <a:pt x="55" y="51"/>
                </a:cubicBezTo>
                <a:cubicBezTo>
                  <a:pt x="35" y="62"/>
                  <a:pt x="65" y="58"/>
                  <a:pt x="65" y="58"/>
                </a:cubicBezTo>
                <a:cubicBezTo>
                  <a:pt x="51" y="73"/>
                  <a:pt x="75" y="64"/>
                  <a:pt x="75" y="64"/>
                </a:cubicBezTo>
                <a:cubicBezTo>
                  <a:pt x="62" y="82"/>
                  <a:pt x="82" y="71"/>
                  <a:pt x="82" y="71"/>
                </a:cubicBezTo>
                <a:cubicBezTo>
                  <a:pt x="75" y="89"/>
                  <a:pt x="91" y="75"/>
                  <a:pt x="91" y="75"/>
                </a:cubicBezTo>
                <a:cubicBezTo>
                  <a:pt x="82" y="92"/>
                  <a:pt x="100" y="80"/>
                  <a:pt x="100" y="80"/>
                </a:cubicBezTo>
                <a:cubicBezTo>
                  <a:pt x="93" y="99"/>
                  <a:pt x="108" y="87"/>
                  <a:pt x="108" y="87"/>
                </a:cubicBezTo>
                <a:cubicBezTo>
                  <a:pt x="101" y="93"/>
                  <a:pt x="101" y="108"/>
                  <a:pt x="101" y="108"/>
                </a:cubicBezTo>
                <a:cubicBezTo>
                  <a:pt x="104" y="121"/>
                  <a:pt x="54" y="153"/>
                  <a:pt x="54" y="153"/>
                </a:cubicBezTo>
                <a:cubicBezTo>
                  <a:pt x="42" y="165"/>
                  <a:pt x="59" y="165"/>
                  <a:pt x="59" y="165"/>
                </a:cubicBezTo>
                <a:cubicBezTo>
                  <a:pt x="52" y="179"/>
                  <a:pt x="69" y="172"/>
                  <a:pt x="69" y="172"/>
                </a:cubicBezTo>
                <a:close/>
                <a:moveTo>
                  <a:pt x="159" y="9"/>
                </a:moveTo>
                <a:cubicBezTo>
                  <a:pt x="159" y="9"/>
                  <a:pt x="164" y="8"/>
                  <a:pt x="162" y="12"/>
                </a:cubicBezTo>
                <a:cubicBezTo>
                  <a:pt x="162" y="12"/>
                  <a:pt x="158" y="13"/>
                  <a:pt x="159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75" name="Freeform 287"/>
          <p:cNvSpPr>
            <a:spLocks/>
          </p:cNvSpPr>
          <p:nvPr/>
        </p:nvSpPr>
        <p:spPr bwMode="auto">
          <a:xfrm>
            <a:off x="7827433" y="5456767"/>
            <a:ext cx="491067" cy="594784"/>
          </a:xfrm>
          <a:custGeom>
            <a:avLst/>
            <a:gdLst>
              <a:gd name="T0" fmla="*/ 699437852 w 163"/>
              <a:gd name="T1" fmla="*/ 502511373 h 198"/>
              <a:gd name="T2" fmla="*/ 755595694 w 163"/>
              <a:gd name="T3" fmla="*/ 477131669 h 198"/>
              <a:gd name="T4" fmla="*/ 791334351 w 163"/>
              <a:gd name="T5" fmla="*/ 487283551 h 198"/>
              <a:gd name="T6" fmla="*/ 816860026 w 163"/>
              <a:gd name="T7" fmla="*/ 487283551 h 198"/>
              <a:gd name="T8" fmla="*/ 811755795 w 163"/>
              <a:gd name="T9" fmla="*/ 497435432 h 198"/>
              <a:gd name="T10" fmla="*/ 776017138 w 163"/>
              <a:gd name="T11" fmla="*/ 532967017 h 198"/>
              <a:gd name="T12" fmla="*/ 776017138 w 163"/>
              <a:gd name="T13" fmla="*/ 598951994 h 198"/>
              <a:gd name="T14" fmla="*/ 745384972 w 163"/>
              <a:gd name="T15" fmla="*/ 675091105 h 198"/>
              <a:gd name="T16" fmla="*/ 638173520 w 163"/>
              <a:gd name="T17" fmla="*/ 776607666 h 198"/>
              <a:gd name="T18" fmla="*/ 582013418 w 163"/>
              <a:gd name="T19" fmla="*/ 796911429 h 198"/>
              <a:gd name="T20" fmla="*/ 525853317 w 163"/>
              <a:gd name="T21" fmla="*/ 801987370 h 198"/>
              <a:gd name="T22" fmla="*/ 495221151 w 163"/>
              <a:gd name="T23" fmla="*/ 918734007 h 198"/>
              <a:gd name="T24" fmla="*/ 474799707 w 163"/>
              <a:gd name="T25" fmla="*/ 974567102 h 198"/>
              <a:gd name="T26" fmla="*/ 444167540 w 163"/>
              <a:gd name="T27" fmla="*/ 994870865 h 198"/>
              <a:gd name="T28" fmla="*/ 433956818 w 163"/>
              <a:gd name="T29" fmla="*/ 979643043 h 198"/>
              <a:gd name="T30" fmla="*/ 413535374 w 163"/>
              <a:gd name="T31" fmla="*/ 989794924 h 198"/>
              <a:gd name="T32" fmla="*/ 398220421 w 163"/>
              <a:gd name="T33" fmla="*/ 989794924 h 198"/>
              <a:gd name="T34" fmla="*/ 377798977 w 163"/>
              <a:gd name="T35" fmla="*/ 999946805 h 198"/>
              <a:gd name="T36" fmla="*/ 377798977 w 163"/>
              <a:gd name="T37" fmla="*/ 989794924 h 198"/>
              <a:gd name="T38" fmla="*/ 347166810 w 163"/>
              <a:gd name="T39" fmla="*/ 984718983 h 198"/>
              <a:gd name="T40" fmla="*/ 347166810 w 163"/>
              <a:gd name="T41" fmla="*/ 964415220 h 198"/>
              <a:gd name="T42" fmla="*/ 336956088 w 163"/>
              <a:gd name="T43" fmla="*/ 959339280 h 198"/>
              <a:gd name="T44" fmla="*/ 331849598 w 163"/>
              <a:gd name="T45" fmla="*/ 939035517 h 198"/>
              <a:gd name="T46" fmla="*/ 336956088 w 163"/>
              <a:gd name="T47" fmla="*/ 908582125 h 198"/>
              <a:gd name="T48" fmla="*/ 367588255 w 163"/>
              <a:gd name="T49" fmla="*/ 873050540 h 198"/>
              <a:gd name="T50" fmla="*/ 413535374 w 163"/>
              <a:gd name="T51" fmla="*/ 827367074 h 198"/>
              <a:gd name="T52" fmla="*/ 525853317 w 163"/>
              <a:gd name="T53" fmla="*/ 705546749 h 198"/>
              <a:gd name="T54" fmla="*/ 367588255 w 163"/>
              <a:gd name="T55" fmla="*/ 690318927 h 198"/>
              <a:gd name="T56" fmla="*/ 352271042 w 163"/>
              <a:gd name="T57" fmla="*/ 649711401 h 198"/>
              <a:gd name="T58" fmla="*/ 239953099 w 163"/>
              <a:gd name="T59" fmla="*/ 619255757 h 198"/>
              <a:gd name="T60" fmla="*/ 239953099 w 163"/>
              <a:gd name="T61" fmla="*/ 598951994 h 198"/>
              <a:gd name="T62" fmla="*/ 158267322 w 163"/>
              <a:gd name="T63" fmla="*/ 527891077 h 198"/>
              <a:gd name="T64" fmla="*/ 102107221 w 163"/>
              <a:gd name="T65" fmla="*/ 472055729 h 198"/>
              <a:gd name="T66" fmla="*/ 61264333 w 163"/>
              <a:gd name="T67" fmla="*/ 411146693 h 198"/>
              <a:gd name="T68" fmla="*/ 20421444 w 163"/>
              <a:gd name="T69" fmla="*/ 335007582 h 198"/>
              <a:gd name="T70" fmla="*/ 142950109 w 163"/>
              <a:gd name="T71" fmla="*/ 406070752 h 198"/>
              <a:gd name="T72" fmla="*/ 245057330 w 163"/>
              <a:gd name="T73" fmla="*/ 461903847 h 198"/>
              <a:gd name="T74" fmla="*/ 316534644 w 163"/>
              <a:gd name="T75" fmla="*/ 487283551 h 198"/>
              <a:gd name="T76" fmla="*/ 382903208 w 163"/>
              <a:gd name="T77" fmla="*/ 517739195 h 198"/>
              <a:gd name="T78" fmla="*/ 372692486 w 163"/>
              <a:gd name="T79" fmla="*/ 441600084 h 198"/>
              <a:gd name="T80" fmla="*/ 331849598 w 163"/>
              <a:gd name="T81" fmla="*/ 314703819 h 198"/>
              <a:gd name="T82" fmla="*/ 321638875 w 163"/>
              <a:gd name="T83" fmla="*/ 218263198 h 198"/>
              <a:gd name="T84" fmla="*/ 336956088 w 163"/>
              <a:gd name="T85" fmla="*/ 131972206 h 198"/>
              <a:gd name="T86" fmla="*/ 347166810 w 163"/>
              <a:gd name="T87" fmla="*/ 60911289 h 198"/>
              <a:gd name="T88" fmla="*/ 362481764 w 163"/>
              <a:gd name="T89" fmla="*/ 5075941 h 198"/>
              <a:gd name="T90" fmla="*/ 382903208 w 163"/>
              <a:gd name="T91" fmla="*/ 40607526 h 198"/>
              <a:gd name="T92" fmla="*/ 418641865 w 163"/>
              <a:gd name="T93" fmla="*/ 131972206 h 198"/>
              <a:gd name="T94" fmla="*/ 449274031 w 163"/>
              <a:gd name="T95" fmla="*/ 182731613 h 198"/>
              <a:gd name="T96" fmla="*/ 474799707 w 163"/>
              <a:gd name="T97" fmla="*/ 228415080 h 198"/>
              <a:gd name="T98" fmla="*/ 495221151 w 163"/>
              <a:gd name="T99" fmla="*/ 284248175 h 198"/>
              <a:gd name="T100" fmla="*/ 490116920 w 163"/>
              <a:gd name="T101" fmla="*/ 340083523 h 198"/>
              <a:gd name="T102" fmla="*/ 515642595 w 163"/>
              <a:gd name="T103" fmla="*/ 446676025 h 198"/>
              <a:gd name="T104" fmla="*/ 525853317 w 163"/>
              <a:gd name="T105" fmla="*/ 472055729 h 198"/>
              <a:gd name="T106" fmla="*/ 551381252 w 163"/>
              <a:gd name="T107" fmla="*/ 507587314 h 198"/>
              <a:gd name="T108" fmla="*/ 668805686 w 163"/>
              <a:gd name="T109" fmla="*/ 538042958 h 198"/>
              <a:gd name="T110" fmla="*/ 699437852 w 163"/>
              <a:gd name="T111" fmla="*/ 502511373 h 1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3" h="198">
                <a:moveTo>
                  <a:pt x="137" y="99"/>
                </a:moveTo>
                <a:cubicBezTo>
                  <a:pt x="137" y="99"/>
                  <a:pt x="141" y="93"/>
                  <a:pt x="148" y="94"/>
                </a:cubicBezTo>
                <a:cubicBezTo>
                  <a:pt x="155" y="96"/>
                  <a:pt x="155" y="96"/>
                  <a:pt x="155" y="96"/>
                </a:cubicBezTo>
                <a:cubicBezTo>
                  <a:pt x="155" y="96"/>
                  <a:pt x="156" y="96"/>
                  <a:pt x="160" y="96"/>
                </a:cubicBezTo>
                <a:cubicBezTo>
                  <a:pt x="160" y="96"/>
                  <a:pt x="163" y="96"/>
                  <a:pt x="159" y="98"/>
                </a:cubicBezTo>
                <a:cubicBezTo>
                  <a:pt x="159" y="98"/>
                  <a:pt x="152" y="102"/>
                  <a:pt x="152" y="105"/>
                </a:cubicBezTo>
                <a:cubicBezTo>
                  <a:pt x="152" y="105"/>
                  <a:pt x="151" y="108"/>
                  <a:pt x="152" y="118"/>
                </a:cubicBezTo>
                <a:cubicBezTo>
                  <a:pt x="153" y="123"/>
                  <a:pt x="149" y="130"/>
                  <a:pt x="146" y="133"/>
                </a:cubicBezTo>
                <a:cubicBezTo>
                  <a:pt x="141" y="141"/>
                  <a:pt x="133" y="148"/>
                  <a:pt x="125" y="153"/>
                </a:cubicBezTo>
                <a:cubicBezTo>
                  <a:pt x="122" y="155"/>
                  <a:pt x="118" y="156"/>
                  <a:pt x="114" y="157"/>
                </a:cubicBezTo>
                <a:cubicBezTo>
                  <a:pt x="113" y="157"/>
                  <a:pt x="103" y="159"/>
                  <a:pt x="103" y="158"/>
                </a:cubicBezTo>
                <a:cubicBezTo>
                  <a:pt x="103" y="167"/>
                  <a:pt x="100" y="174"/>
                  <a:pt x="97" y="181"/>
                </a:cubicBezTo>
                <a:cubicBezTo>
                  <a:pt x="97" y="181"/>
                  <a:pt x="94" y="188"/>
                  <a:pt x="93" y="192"/>
                </a:cubicBezTo>
                <a:cubicBezTo>
                  <a:pt x="93" y="192"/>
                  <a:pt x="91" y="198"/>
                  <a:pt x="87" y="196"/>
                </a:cubicBezTo>
                <a:cubicBezTo>
                  <a:pt x="87" y="196"/>
                  <a:pt x="85" y="196"/>
                  <a:pt x="85" y="193"/>
                </a:cubicBezTo>
                <a:cubicBezTo>
                  <a:pt x="81" y="195"/>
                  <a:pt x="81" y="195"/>
                  <a:pt x="81" y="195"/>
                </a:cubicBezTo>
                <a:cubicBezTo>
                  <a:pt x="81" y="195"/>
                  <a:pt x="78" y="197"/>
                  <a:pt x="78" y="195"/>
                </a:cubicBezTo>
                <a:cubicBezTo>
                  <a:pt x="78" y="195"/>
                  <a:pt x="75" y="197"/>
                  <a:pt x="74" y="197"/>
                </a:cubicBezTo>
                <a:cubicBezTo>
                  <a:pt x="72" y="196"/>
                  <a:pt x="74" y="195"/>
                  <a:pt x="74" y="195"/>
                </a:cubicBezTo>
                <a:cubicBezTo>
                  <a:pt x="74" y="195"/>
                  <a:pt x="70" y="195"/>
                  <a:pt x="68" y="194"/>
                </a:cubicBezTo>
                <a:cubicBezTo>
                  <a:pt x="68" y="194"/>
                  <a:pt x="66" y="193"/>
                  <a:pt x="68" y="190"/>
                </a:cubicBezTo>
                <a:cubicBezTo>
                  <a:pt x="68" y="190"/>
                  <a:pt x="69" y="188"/>
                  <a:pt x="66" y="189"/>
                </a:cubicBezTo>
                <a:cubicBezTo>
                  <a:pt x="66" y="189"/>
                  <a:pt x="62" y="189"/>
                  <a:pt x="65" y="185"/>
                </a:cubicBezTo>
                <a:cubicBezTo>
                  <a:pt x="65" y="185"/>
                  <a:pt x="63" y="184"/>
                  <a:pt x="66" y="179"/>
                </a:cubicBezTo>
                <a:cubicBezTo>
                  <a:pt x="68" y="177"/>
                  <a:pt x="70" y="174"/>
                  <a:pt x="72" y="172"/>
                </a:cubicBezTo>
                <a:cubicBezTo>
                  <a:pt x="75" y="169"/>
                  <a:pt x="78" y="166"/>
                  <a:pt x="81" y="163"/>
                </a:cubicBezTo>
                <a:cubicBezTo>
                  <a:pt x="88" y="155"/>
                  <a:pt x="96" y="147"/>
                  <a:pt x="103" y="139"/>
                </a:cubicBezTo>
                <a:cubicBezTo>
                  <a:pt x="103" y="139"/>
                  <a:pt x="80" y="141"/>
                  <a:pt x="72" y="136"/>
                </a:cubicBezTo>
                <a:cubicBezTo>
                  <a:pt x="72" y="136"/>
                  <a:pt x="67" y="132"/>
                  <a:pt x="69" y="128"/>
                </a:cubicBezTo>
                <a:cubicBezTo>
                  <a:pt x="69" y="128"/>
                  <a:pt x="49" y="126"/>
                  <a:pt x="47" y="122"/>
                </a:cubicBezTo>
                <a:cubicBezTo>
                  <a:pt x="47" y="122"/>
                  <a:pt x="45" y="121"/>
                  <a:pt x="47" y="118"/>
                </a:cubicBezTo>
                <a:cubicBezTo>
                  <a:pt x="47" y="118"/>
                  <a:pt x="28" y="111"/>
                  <a:pt x="31" y="104"/>
                </a:cubicBezTo>
                <a:cubicBezTo>
                  <a:pt x="31" y="104"/>
                  <a:pt x="16" y="97"/>
                  <a:pt x="20" y="93"/>
                </a:cubicBezTo>
                <a:cubicBezTo>
                  <a:pt x="20" y="93"/>
                  <a:pt x="4" y="84"/>
                  <a:pt x="12" y="81"/>
                </a:cubicBezTo>
                <a:cubicBezTo>
                  <a:pt x="12" y="81"/>
                  <a:pt x="0" y="72"/>
                  <a:pt x="4" y="66"/>
                </a:cubicBezTo>
                <a:cubicBezTo>
                  <a:pt x="6" y="61"/>
                  <a:pt x="26" y="79"/>
                  <a:pt x="28" y="80"/>
                </a:cubicBezTo>
                <a:cubicBezTo>
                  <a:pt x="34" y="85"/>
                  <a:pt x="41" y="89"/>
                  <a:pt x="48" y="91"/>
                </a:cubicBezTo>
                <a:cubicBezTo>
                  <a:pt x="53" y="93"/>
                  <a:pt x="58" y="95"/>
                  <a:pt x="62" y="96"/>
                </a:cubicBezTo>
                <a:cubicBezTo>
                  <a:pt x="66" y="97"/>
                  <a:pt x="72" y="99"/>
                  <a:pt x="75" y="102"/>
                </a:cubicBezTo>
                <a:cubicBezTo>
                  <a:pt x="75" y="102"/>
                  <a:pt x="63" y="89"/>
                  <a:pt x="73" y="87"/>
                </a:cubicBezTo>
                <a:cubicBezTo>
                  <a:pt x="73" y="87"/>
                  <a:pt x="62" y="74"/>
                  <a:pt x="65" y="62"/>
                </a:cubicBezTo>
                <a:cubicBezTo>
                  <a:pt x="65" y="62"/>
                  <a:pt x="60" y="51"/>
                  <a:pt x="63" y="43"/>
                </a:cubicBezTo>
                <a:cubicBezTo>
                  <a:pt x="63" y="43"/>
                  <a:pt x="57" y="30"/>
                  <a:pt x="66" y="26"/>
                </a:cubicBezTo>
                <a:cubicBezTo>
                  <a:pt x="66" y="26"/>
                  <a:pt x="63" y="14"/>
                  <a:pt x="68" y="12"/>
                </a:cubicBezTo>
                <a:cubicBezTo>
                  <a:pt x="68" y="12"/>
                  <a:pt x="68" y="0"/>
                  <a:pt x="71" y="1"/>
                </a:cubicBezTo>
                <a:cubicBezTo>
                  <a:pt x="71" y="1"/>
                  <a:pt x="74" y="1"/>
                  <a:pt x="75" y="8"/>
                </a:cubicBezTo>
                <a:cubicBezTo>
                  <a:pt x="75" y="8"/>
                  <a:pt x="78" y="20"/>
                  <a:pt x="82" y="26"/>
                </a:cubicBezTo>
                <a:cubicBezTo>
                  <a:pt x="85" y="29"/>
                  <a:pt x="87" y="32"/>
                  <a:pt x="88" y="36"/>
                </a:cubicBezTo>
                <a:cubicBezTo>
                  <a:pt x="90" y="39"/>
                  <a:pt x="92" y="42"/>
                  <a:pt x="93" y="45"/>
                </a:cubicBezTo>
                <a:cubicBezTo>
                  <a:pt x="95" y="49"/>
                  <a:pt x="96" y="52"/>
                  <a:pt x="97" y="56"/>
                </a:cubicBezTo>
                <a:cubicBezTo>
                  <a:pt x="97" y="60"/>
                  <a:pt x="96" y="63"/>
                  <a:pt x="96" y="67"/>
                </a:cubicBezTo>
                <a:cubicBezTo>
                  <a:pt x="95" y="74"/>
                  <a:pt x="97" y="81"/>
                  <a:pt x="101" y="88"/>
                </a:cubicBezTo>
                <a:cubicBezTo>
                  <a:pt x="102" y="89"/>
                  <a:pt x="102" y="91"/>
                  <a:pt x="103" y="93"/>
                </a:cubicBezTo>
                <a:cubicBezTo>
                  <a:pt x="105" y="95"/>
                  <a:pt x="106" y="97"/>
                  <a:pt x="108" y="100"/>
                </a:cubicBezTo>
                <a:cubicBezTo>
                  <a:pt x="108" y="100"/>
                  <a:pt x="118" y="115"/>
                  <a:pt x="131" y="106"/>
                </a:cubicBezTo>
                <a:cubicBezTo>
                  <a:pt x="131" y="106"/>
                  <a:pt x="135" y="103"/>
                  <a:pt x="137" y="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76" name="Freeform 288"/>
          <p:cNvSpPr>
            <a:spLocks noEditPoints="1"/>
          </p:cNvSpPr>
          <p:nvPr/>
        </p:nvSpPr>
        <p:spPr bwMode="auto">
          <a:xfrm>
            <a:off x="8583085" y="5484284"/>
            <a:ext cx="690033" cy="609600"/>
          </a:xfrm>
          <a:custGeom>
            <a:avLst/>
            <a:gdLst>
              <a:gd name="T0" fmla="*/ 1164487503 w 230"/>
              <a:gd name="T1" fmla="*/ 735508676 h 203"/>
              <a:gd name="T2" fmla="*/ 1154362014 w 230"/>
              <a:gd name="T3" fmla="*/ 740582920 h 203"/>
              <a:gd name="T4" fmla="*/ 1113857807 w 230"/>
              <a:gd name="T5" fmla="*/ 720292700 h 203"/>
              <a:gd name="T6" fmla="*/ 946778236 w 230"/>
              <a:gd name="T7" fmla="*/ 740582920 h 203"/>
              <a:gd name="T8" fmla="*/ 718943480 w 230"/>
              <a:gd name="T9" fmla="*/ 857250000 h 203"/>
              <a:gd name="T10" fmla="*/ 921464513 w 230"/>
              <a:gd name="T11" fmla="*/ 933336638 h 203"/>
              <a:gd name="T12" fmla="*/ 951840980 w 230"/>
              <a:gd name="T13" fmla="*/ 1029713498 h 203"/>
              <a:gd name="T14" fmla="*/ 931590002 w 230"/>
              <a:gd name="T15" fmla="*/ 1019569513 h 203"/>
              <a:gd name="T16" fmla="*/ 916401768 w 230"/>
              <a:gd name="T17" fmla="*/ 1014495269 h 203"/>
              <a:gd name="T18" fmla="*/ 901211285 w 230"/>
              <a:gd name="T19" fmla="*/ 999279293 h 203"/>
              <a:gd name="T20" fmla="*/ 708817991 w 230"/>
              <a:gd name="T21" fmla="*/ 953626859 h 203"/>
              <a:gd name="T22" fmla="*/ 617684088 w 230"/>
              <a:gd name="T23" fmla="*/ 705074471 h 203"/>
              <a:gd name="T24" fmla="*/ 435416284 w 230"/>
              <a:gd name="T25" fmla="*/ 593479383 h 203"/>
              <a:gd name="T26" fmla="*/ 354410120 w 230"/>
              <a:gd name="T27" fmla="*/ 847103764 h 203"/>
              <a:gd name="T28" fmla="*/ 344282381 w 230"/>
              <a:gd name="T29" fmla="*/ 862321992 h 203"/>
              <a:gd name="T30" fmla="*/ 349347376 w 230"/>
              <a:gd name="T31" fmla="*/ 852175756 h 203"/>
              <a:gd name="T32" fmla="*/ 151889087 w 230"/>
              <a:gd name="T33" fmla="*/ 674640266 h 203"/>
              <a:gd name="T34" fmla="*/ 141763598 w 230"/>
              <a:gd name="T35" fmla="*/ 654350045 h 203"/>
              <a:gd name="T36" fmla="*/ 136700854 w 230"/>
              <a:gd name="T37" fmla="*/ 634059825 h 203"/>
              <a:gd name="T38" fmla="*/ 0 w 230"/>
              <a:gd name="T39" fmla="*/ 669568274 h 203"/>
              <a:gd name="T40" fmla="*/ 136700854 w 230"/>
              <a:gd name="T41" fmla="*/ 634059825 h 203"/>
              <a:gd name="T42" fmla="*/ 106322136 w 230"/>
              <a:gd name="T43" fmla="*/ 552901194 h 203"/>
              <a:gd name="T44" fmla="*/ 172142316 w 230"/>
              <a:gd name="T45" fmla="*/ 365219468 h 203"/>
              <a:gd name="T46" fmla="*/ 182267805 w 230"/>
              <a:gd name="T47" fmla="*/ 365219468 h 203"/>
              <a:gd name="T48" fmla="*/ 415165305 w 230"/>
              <a:gd name="T49" fmla="*/ 486958540 h 203"/>
              <a:gd name="T50" fmla="*/ 420228050 w 230"/>
              <a:gd name="T51" fmla="*/ 415943894 h 203"/>
              <a:gd name="T52" fmla="*/ 359472865 w 230"/>
              <a:gd name="T53" fmla="*/ 415943894 h 203"/>
              <a:gd name="T54" fmla="*/ 339219637 w 230"/>
              <a:gd name="T55" fmla="*/ 395653673 h 203"/>
              <a:gd name="T56" fmla="*/ 303780425 w 230"/>
              <a:gd name="T57" fmla="*/ 370291460 h 203"/>
              <a:gd name="T58" fmla="*/ 273401707 w 230"/>
              <a:gd name="T59" fmla="*/ 263768365 h 203"/>
              <a:gd name="T60" fmla="*/ 278464452 w 230"/>
              <a:gd name="T61" fmla="*/ 202899955 h 203"/>
              <a:gd name="T62" fmla="*/ 349347376 w 230"/>
              <a:gd name="T63" fmla="*/ 162319513 h 203"/>
              <a:gd name="T64" fmla="*/ 410102561 w 230"/>
              <a:gd name="T65" fmla="*/ 116667080 h 203"/>
              <a:gd name="T66" fmla="*/ 440479028 w 230"/>
              <a:gd name="T67" fmla="*/ 147101285 h 203"/>
              <a:gd name="T68" fmla="*/ 501236463 w 230"/>
              <a:gd name="T69" fmla="*/ 218115931 h 203"/>
              <a:gd name="T70" fmla="*/ 521487441 w 230"/>
              <a:gd name="T71" fmla="*/ 273914601 h 203"/>
              <a:gd name="T72" fmla="*/ 521487441 w 230"/>
              <a:gd name="T73" fmla="*/ 304348806 h 203"/>
              <a:gd name="T74" fmla="*/ 506299208 w 230"/>
              <a:gd name="T75" fmla="*/ 324639027 h 203"/>
              <a:gd name="T76" fmla="*/ 556928903 w 230"/>
              <a:gd name="T77" fmla="*/ 228262167 h 203"/>
              <a:gd name="T78" fmla="*/ 622746833 w 230"/>
              <a:gd name="T79" fmla="*/ 86232875 h 203"/>
              <a:gd name="T80" fmla="*/ 643000061 w 230"/>
              <a:gd name="T81" fmla="*/ 45652433 h 203"/>
              <a:gd name="T82" fmla="*/ 688567013 w 230"/>
              <a:gd name="T83" fmla="*/ 172463498 h 203"/>
              <a:gd name="T84" fmla="*/ 784763659 w 230"/>
              <a:gd name="T85" fmla="*/ 86232875 h 203"/>
              <a:gd name="T86" fmla="*/ 744259453 w 230"/>
              <a:gd name="T87" fmla="*/ 238406152 h 203"/>
              <a:gd name="T88" fmla="*/ 794889149 w 230"/>
              <a:gd name="T89" fmla="*/ 258696372 h 203"/>
              <a:gd name="T90" fmla="*/ 698692502 w 230"/>
              <a:gd name="T91" fmla="*/ 344929247 h 203"/>
              <a:gd name="T92" fmla="*/ 749322197 w 230"/>
              <a:gd name="T93" fmla="*/ 390581681 h 203"/>
              <a:gd name="T94" fmla="*/ 658188295 w 230"/>
              <a:gd name="T95" fmla="*/ 517392745 h 203"/>
              <a:gd name="T96" fmla="*/ 921464513 w 230"/>
              <a:gd name="T97" fmla="*/ 649278053 h 203"/>
              <a:gd name="T98" fmla="*/ 1129046041 w 230"/>
              <a:gd name="T99" fmla="*/ 659422037 h 203"/>
              <a:gd name="T100" fmla="*/ 298715430 w 230"/>
              <a:gd name="T101" fmla="*/ 816669559 h 203"/>
              <a:gd name="T102" fmla="*/ 329094148 w 230"/>
              <a:gd name="T103" fmla="*/ 628987833 h 203"/>
              <a:gd name="T104" fmla="*/ 182267805 w 230"/>
              <a:gd name="T105" fmla="*/ 664494030 h 203"/>
              <a:gd name="T106" fmla="*/ 298715430 w 230"/>
              <a:gd name="T107" fmla="*/ 816669559 h 203"/>
              <a:gd name="T108" fmla="*/ 126575364 w 230"/>
              <a:gd name="T109" fmla="*/ 547826950 h 203"/>
              <a:gd name="T110" fmla="*/ 212646522 w 230"/>
              <a:gd name="T111" fmla="*/ 593479383 h 20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30" h="203">
                <a:moveTo>
                  <a:pt x="230" y="143"/>
                </a:moveTo>
                <a:cubicBezTo>
                  <a:pt x="230" y="143"/>
                  <a:pt x="230" y="143"/>
                  <a:pt x="230" y="143"/>
                </a:cubicBezTo>
                <a:cubicBezTo>
                  <a:pt x="230" y="144"/>
                  <a:pt x="230" y="144"/>
                  <a:pt x="230" y="145"/>
                </a:cubicBezTo>
                <a:cubicBezTo>
                  <a:pt x="230" y="145"/>
                  <a:pt x="230" y="145"/>
                  <a:pt x="229" y="145"/>
                </a:cubicBezTo>
                <a:cubicBezTo>
                  <a:pt x="229" y="145"/>
                  <a:pt x="230" y="146"/>
                  <a:pt x="229" y="146"/>
                </a:cubicBezTo>
                <a:cubicBezTo>
                  <a:pt x="229" y="147"/>
                  <a:pt x="228" y="146"/>
                  <a:pt x="228" y="146"/>
                </a:cubicBezTo>
                <a:cubicBezTo>
                  <a:pt x="228" y="146"/>
                  <a:pt x="230" y="150"/>
                  <a:pt x="227" y="150"/>
                </a:cubicBezTo>
                <a:cubicBezTo>
                  <a:pt x="226" y="149"/>
                  <a:pt x="226" y="148"/>
                  <a:pt x="225" y="147"/>
                </a:cubicBezTo>
                <a:cubicBezTo>
                  <a:pt x="223" y="145"/>
                  <a:pt x="221" y="143"/>
                  <a:pt x="220" y="142"/>
                </a:cubicBezTo>
                <a:cubicBezTo>
                  <a:pt x="218" y="138"/>
                  <a:pt x="214" y="138"/>
                  <a:pt x="210" y="136"/>
                </a:cubicBezTo>
                <a:cubicBezTo>
                  <a:pt x="207" y="136"/>
                  <a:pt x="196" y="141"/>
                  <a:pt x="193" y="142"/>
                </a:cubicBezTo>
                <a:cubicBezTo>
                  <a:pt x="191" y="143"/>
                  <a:pt x="188" y="145"/>
                  <a:pt x="187" y="146"/>
                </a:cubicBezTo>
                <a:cubicBezTo>
                  <a:pt x="185" y="146"/>
                  <a:pt x="183" y="147"/>
                  <a:pt x="175" y="147"/>
                </a:cubicBezTo>
                <a:cubicBezTo>
                  <a:pt x="167" y="147"/>
                  <a:pt x="153" y="145"/>
                  <a:pt x="153" y="145"/>
                </a:cubicBezTo>
                <a:cubicBezTo>
                  <a:pt x="153" y="145"/>
                  <a:pt x="143" y="166"/>
                  <a:pt x="142" y="169"/>
                </a:cubicBezTo>
                <a:cubicBezTo>
                  <a:pt x="158" y="166"/>
                  <a:pt x="158" y="171"/>
                  <a:pt x="168" y="172"/>
                </a:cubicBezTo>
                <a:cubicBezTo>
                  <a:pt x="176" y="172"/>
                  <a:pt x="177" y="170"/>
                  <a:pt x="180" y="172"/>
                </a:cubicBezTo>
                <a:cubicBezTo>
                  <a:pt x="183" y="175"/>
                  <a:pt x="181" y="181"/>
                  <a:pt x="182" y="184"/>
                </a:cubicBezTo>
                <a:cubicBezTo>
                  <a:pt x="183" y="187"/>
                  <a:pt x="187" y="192"/>
                  <a:pt x="188" y="195"/>
                </a:cubicBezTo>
                <a:cubicBezTo>
                  <a:pt x="188" y="198"/>
                  <a:pt x="188" y="197"/>
                  <a:pt x="188" y="199"/>
                </a:cubicBezTo>
                <a:cubicBezTo>
                  <a:pt x="188" y="200"/>
                  <a:pt x="189" y="202"/>
                  <a:pt x="188" y="203"/>
                </a:cubicBezTo>
                <a:cubicBezTo>
                  <a:pt x="187" y="203"/>
                  <a:pt x="186" y="203"/>
                  <a:pt x="186" y="202"/>
                </a:cubicBezTo>
                <a:cubicBezTo>
                  <a:pt x="185" y="202"/>
                  <a:pt x="185" y="202"/>
                  <a:pt x="185" y="202"/>
                </a:cubicBezTo>
                <a:cubicBezTo>
                  <a:pt x="184" y="202"/>
                  <a:pt x="184" y="201"/>
                  <a:pt x="184" y="201"/>
                </a:cubicBezTo>
                <a:cubicBezTo>
                  <a:pt x="184" y="201"/>
                  <a:pt x="184" y="201"/>
                  <a:pt x="183" y="201"/>
                </a:cubicBezTo>
                <a:cubicBezTo>
                  <a:pt x="182" y="201"/>
                  <a:pt x="181" y="200"/>
                  <a:pt x="181" y="200"/>
                </a:cubicBezTo>
                <a:cubicBezTo>
                  <a:pt x="181" y="200"/>
                  <a:pt x="181" y="201"/>
                  <a:pt x="181" y="200"/>
                </a:cubicBezTo>
                <a:cubicBezTo>
                  <a:pt x="181" y="200"/>
                  <a:pt x="180" y="200"/>
                  <a:pt x="180" y="199"/>
                </a:cubicBezTo>
                <a:cubicBezTo>
                  <a:pt x="180" y="199"/>
                  <a:pt x="180" y="199"/>
                  <a:pt x="180" y="199"/>
                </a:cubicBezTo>
                <a:cubicBezTo>
                  <a:pt x="179" y="198"/>
                  <a:pt x="179" y="198"/>
                  <a:pt x="178" y="197"/>
                </a:cubicBezTo>
                <a:cubicBezTo>
                  <a:pt x="178" y="195"/>
                  <a:pt x="177" y="196"/>
                  <a:pt x="176" y="193"/>
                </a:cubicBezTo>
                <a:cubicBezTo>
                  <a:pt x="175" y="190"/>
                  <a:pt x="174" y="192"/>
                  <a:pt x="170" y="185"/>
                </a:cubicBezTo>
                <a:cubicBezTo>
                  <a:pt x="167" y="185"/>
                  <a:pt x="140" y="188"/>
                  <a:pt x="140" y="188"/>
                </a:cubicBezTo>
                <a:cubicBezTo>
                  <a:pt x="140" y="188"/>
                  <a:pt x="134" y="188"/>
                  <a:pt x="129" y="185"/>
                </a:cubicBezTo>
                <a:cubicBezTo>
                  <a:pt x="125" y="183"/>
                  <a:pt x="122" y="180"/>
                  <a:pt x="120" y="173"/>
                </a:cubicBezTo>
                <a:cubicBezTo>
                  <a:pt x="118" y="165"/>
                  <a:pt x="120" y="155"/>
                  <a:pt x="122" y="139"/>
                </a:cubicBezTo>
                <a:cubicBezTo>
                  <a:pt x="114" y="139"/>
                  <a:pt x="102" y="132"/>
                  <a:pt x="99" y="121"/>
                </a:cubicBezTo>
                <a:cubicBezTo>
                  <a:pt x="96" y="120"/>
                  <a:pt x="93" y="114"/>
                  <a:pt x="93" y="114"/>
                </a:cubicBezTo>
                <a:cubicBezTo>
                  <a:pt x="86" y="117"/>
                  <a:pt x="86" y="117"/>
                  <a:pt x="86" y="117"/>
                </a:cubicBezTo>
                <a:cubicBezTo>
                  <a:pt x="75" y="119"/>
                  <a:pt x="75" y="119"/>
                  <a:pt x="75" y="119"/>
                </a:cubicBezTo>
                <a:cubicBezTo>
                  <a:pt x="75" y="119"/>
                  <a:pt x="72" y="121"/>
                  <a:pt x="69" y="122"/>
                </a:cubicBezTo>
                <a:cubicBezTo>
                  <a:pt x="70" y="167"/>
                  <a:pt x="70" y="167"/>
                  <a:pt x="70" y="167"/>
                </a:cubicBezTo>
                <a:cubicBezTo>
                  <a:pt x="70" y="167"/>
                  <a:pt x="71" y="167"/>
                  <a:pt x="71" y="167"/>
                </a:cubicBezTo>
                <a:cubicBezTo>
                  <a:pt x="72" y="168"/>
                  <a:pt x="72" y="169"/>
                  <a:pt x="71" y="170"/>
                </a:cubicBezTo>
                <a:cubicBezTo>
                  <a:pt x="70" y="171"/>
                  <a:pt x="68" y="171"/>
                  <a:pt x="68" y="170"/>
                </a:cubicBezTo>
                <a:cubicBezTo>
                  <a:pt x="67" y="169"/>
                  <a:pt x="68" y="168"/>
                  <a:pt x="68" y="169"/>
                </a:cubicBezTo>
                <a:cubicBezTo>
                  <a:pt x="69" y="169"/>
                  <a:pt x="70" y="169"/>
                  <a:pt x="70" y="169"/>
                </a:cubicBezTo>
                <a:cubicBezTo>
                  <a:pt x="70" y="168"/>
                  <a:pt x="69" y="168"/>
                  <a:pt x="69" y="168"/>
                </a:cubicBezTo>
                <a:cubicBezTo>
                  <a:pt x="66" y="165"/>
                  <a:pt x="59" y="162"/>
                  <a:pt x="55" y="161"/>
                </a:cubicBezTo>
                <a:cubicBezTo>
                  <a:pt x="45" y="158"/>
                  <a:pt x="35" y="154"/>
                  <a:pt x="31" y="142"/>
                </a:cubicBezTo>
                <a:cubicBezTo>
                  <a:pt x="29" y="136"/>
                  <a:pt x="29" y="134"/>
                  <a:pt x="30" y="133"/>
                </a:cubicBezTo>
                <a:cubicBezTo>
                  <a:pt x="29" y="132"/>
                  <a:pt x="29" y="132"/>
                  <a:pt x="29" y="131"/>
                </a:cubicBezTo>
                <a:cubicBezTo>
                  <a:pt x="28" y="131"/>
                  <a:pt x="29" y="130"/>
                  <a:pt x="29" y="130"/>
                </a:cubicBezTo>
                <a:cubicBezTo>
                  <a:pt x="29" y="130"/>
                  <a:pt x="28" y="131"/>
                  <a:pt x="28" y="129"/>
                </a:cubicBezTo>
                <a:cubicBezTo>
                  <a:pt x="27" y="128"/>
                  <a:pt x="28" y="128"/>
                  <a:pt x="28" y="128"/>
                </a:cubicBezTo>
                <a:cubicBezTo>
                  <a:pt x="28" y="128"/>
                  <a:pt x="27" y="128"/>
                  <a:pt x="26" y="126"/>
                </a:cubicBezTo>
                <a:cubicBezTo>
                  <a:pt x="26" y="126"/>
                  <a:pt x="27" y="125"/>
                  <a:pt x="27" y="125"/>
                </a:cubicBezTo>
                <a:cubicBezTo>
                  <a:pt x="21" y="127"/>
                  <a:pt x="6" y="131"/>
                  <a:pt x="6" y="131"/>
                </a:cubicBezTo>
                <a:cubicBezTo>
                  <a:pt x="6" y="131"/>
                  <a:pt x="7" y="132"/>
                  <a:pt x="7" y="133"/>
                </a:cubicBezTo>
                <a:cubicBezTo>
                  <a:pt x="6" y="134"/>
                  <a:pt x="3" y="132"/>
                  <a:pt x="0" y="132"/>
                </a:cubicBezTo>
                <a:cubicBezTo>
                  <a:pt x="3" y="131"/>
                  <a:pt x="4" y="127"/>
                  <a:pt x="5" y="128"/>
                </a:cubicBezTo>
                <a:cubicBezTo>
                  <a:pt x="6" y="129"/>
                  <a:pt x="6" y="130"/>
                  <a:pt x="6" y="130"/>
                </a:cubicBezTo>
                <a:cubicBezTo>
                  <a:pt x="27" y="125"/>
                  <a:pt x="27" y="125"/>
                  <a:pt x="27" y="125"/>
                </a:cubicBezTo>
                <a:cubicBezTo>
                  <a:pt x="26" y="125"/>
                  <a:pt x="26" y="124"/>
                  <a:pt x="26" y="124"/>
                </a:cubicBezTo>
                <a:cubicBezTo>
                  <a:pt x="25" y="122"/>
                  <a:pt x="27" y="121"/>
                  <a:pt x="28" y="121"/>
                </a:cubicBezTo>
                <a:cubicBezTo>
                  <a:pt x="26" y="117"/>
                  <a:pt x="24" y="119"/>
                  <a:pt x="21" y="109"/>
                </a:cubicBezTo>
                <a:cubicBezTo>
                  <a:pt x="18" y="98"/>
                  <a:pt x="28" y="91"/>
                  <a:pt x="32" y="81"/>
                </a:cubicBezTo>
                <a:cubicBezTo>
                  <a:pt x="34" y="76"/>
                  <a:pt x="34" y="73"/>
                  <a:pt x="35" y="72"/>
                </a:cubicBezTo>
                <a:cubicBezTo>
                  <a:pt x="35" y="70"/>
                  <a:pt x="34" y="71"/>
                  <a:pt x="34" y="72"/>
                </a:cubicBezTo>
                <a:cubicBezTo>
                  <a:pt x="34" y="73"/>
                  <a:pt x="33" y="73"/>
                  <a:pt x="33" y="71"/>
                </a:cubicBezTo>
                <a:cubicBezTo>
                  <a:pt x="32" y="70"/>
                  <a:pt x="33" y="69"/>
                  <a:pt x="35" y="69"/>
                </a:cubicBezTo>
                <a:cubicBezTo>
                  <a:pt x="37" y="69"/>
                  <a:pt x="37" y="71"/>
                  <a:pt x="36" y="72"/>
                </a:cubicBezTo>
                <a:cubicBezTo>
                  <a:pt x="63" y="107"/>
                  <a:pt x="63" y="107"/>
                  <a:pt x="63" y="107"/>
                </a:cubicBezTo>
                <a:cubicBezTo>
                  <a:pt x="65" y="106"/>
                  <a:pt x="67" y="106"/>
                  <a:pt x="69" y="106"/>
                </a:cubicBezTo>
                <a:cubicBezTo>
                  <a:pt x="70" y="103"/>
                  <a:pt x="82" y="96"/>
                  <a:pt x="82" y="96"/>
                </a:cubicBezTo>
                <a:cubicBezTo>
                  <a:pt x="82" y="96"/>
                  <a:pt x="84" y="93"/>
                  <a:pt x="86" y="90"/>
                </a:cubicBezTo>
                <a:cubicBezTo>
                  <a:pt x="88" y="87"/>
                  <a:pt x="87" y="86"/>
                  <a:pt x="86" y="85"/>
                </a:cubicBezTo>
                <a:cubicBezTo>
                  <a:pt x="85" y="84"/>
                  <a:pt x="83" y="82"/>
                  <a:pt x="83" y="82"/>
                </a:cubicBezTo>
                <a:cubicBezTo>
                  <a:pt x="83" y="82"/>
                  <a:pt x="81" y="83"/>
                  <a:pt x="78" y="84"/>
                </a:cubicBezTo>
                <a:cubicBezTo>
                  <a:pt x="76" y="85"/>
                  <a:pt x="73" y="85"/>
                  <a:pt x="72" y="83"/>
                </a:cubicBezTo>
                <a:cubicBezTo>
                  <a:pt x="72" y="82"/>
                  <a:pt x="72" y="82"/>
                  <a:pt x="71" y="82"/>
                </a:cubicBezTo>
                <a:cubicBezTo>
                  <a:pt x="70" y="81"/>
                  <a:pt x="69" y="81"/>
                  <a:pt x="69" y="80"/>
                </a:cubicBezTo>
                <a:cubicBezTo>
                  <a:pt x="68" y="79"/>
                  <a:pt x="69" y="78"/>
                  <a:pt x="69" y="77"/>
                </a:cubicBezTo>
                <a:cubicBezTo>
                  <a:pt x="68" y="78"/>
                  <a:pt x="67" y="78"/>
                  <a:pt x="67" y="78"/>
                </a:cubicBezTo>
                <a:cubicBezTo>
                  <a:pt x="66" y="77"/>
                  <a:pt x="66" y="76"/>
                  <a:pt x="65" y="75"/>
                </a:cubicBezTo>
                <a:cubicBezTo>
                  <a:pt x="65" y="74"/>
                  <a:pt x="65" y="74"/>
                  <a:pt x="64" y="74"/>
                </a:cubicBezTo>
                <a:cubicBezTo>
                  <a:pt x="63" y="74"/>
                  <a:pt x="61" y="75"/>
                  <a:pt x="60" y="73"/>
                </a:cubicBezTo>
                <a:cubicBezTo>
                  <a:pt x="60" y="72"/>
                  <a:pt x="62" y="71"/>
                  <a:pt x="61" y="68"/>
                </a:cubicBezTo>
                <a:cubicBezTo>
                  <a:pt x="59" y="63"/>
                  <a:pt x="59" y="63"/>
                  <a:pt x="58" y="63"/>
                </a:cubicBezTo>
                <a:cubicBezTo>
                  <a:pt x="56" y="62"/>
                  <a:pt x="54" y="58"/>
                  <a:pt x="54" y="52"/>
                </a:cubicBezTo>
                <a:cubicBezTo>
                  <a:pt x="45" y="48"/>
                  <a:pt x="46" y="41"/>
                  <a:pt x="46" y="41"/>
                </a:cubicBezTo>
                <a:cubicBezTo>
                  <a:pt x="46" y="41"/>
                  <a:pt x="47" y="47"/>
                  <a:pt x="56" y="45"/>
                </a:cubicBezTo>
                <a:cubicBezTo>
                  <a:pt x="52" y="43"/>
                  <a:pt x="55" y="40"/>
                  <a:pt x="55" y="40"/>
                </a:cubicBezTo>
                <a:cubicBezTo>
                  <a:pt x="55" y="40"/>
                  <a:pt x="57" y="43"/>
                  <a:pt x="58" y="42"/>
                </a:cubicBezTo>
                <a:cubicBezTo>
                  <a:pt x="60" y="40"/>
                  <a:pt x="62" y="34"/>
                  <a:pt x="64" y="34"/>
                </a:cubicBezTo>
                <a:cubicBezTo>
                  <a:pt x="66" y="32"/>
                  <a:pt x="68" y="32"/>
                  <a:pt x="69" y="32"/>
                </a:cubicBezTo>
                <a:cubicBezTo>
                  <a:pt x="70" y="29"/>
                  <a:pt x="72" y="28"/>
                  <a:pt x="73" y="28"/>
                </a:cubicBezTo>
                <a:cubicBezTo>
                  <a:pt x="77" y="25"/>
                  <a:pt x="79" y="28"/>
                  <a:pt x="82" y="27"/>
                </a:cubicBezTo>
                <a:cubicBezTo>
                  <a:pt x="83" y="26"/>
                  <a:pt x="81" y="23"/>
                  <a:pt x="81" y="23"/>
                </a:cubicBezTo>
                <a:cubicBezTo>
                  <a:pt x="81" y="23"/>
                  <a:pt x="83" y="24"/>
                  <a:pt x="84" y="27"/>
                </a:cubicBezTo>
                <a:cubicBezTo>
                  <a:pt x="88" y="25"/>
                  <a:pt x="92" y="28"/>
                  <a:pt x="92" y="28"/>
                </a:cubicBezTo>
                <a:cubicBezTo>
                  <a:pt x="88" y="28"/>
                  <a:pt x="87" y="29"/>
                  <a:pt x="87" y="29"/>
                </a:cubicBezTo>
                <a:cubicBezTo>
                  <a:pt x="87" y="29"/>
                  <a:pt x="90" y="30"/>
                  <a:pt x="93" y="31"/>
                </a:cubicBezTo>
                <a:cubicBezTo>
                  <a:pt x="95" y="31"/>
                  <a:pt x="95" y="35"/>
                  <a:pt x="97" y="35"/>
                </a:cubicBezTo>
                <a:cubicBezTo>
                  <a:pt x="98" y="35"/>
                  <a:pt x="98" y="41"/>
                  <a:pt x="99" y="43"/>
                </a:cubicBezTo>
                <a:cubicBezTo>
                  <a:pt x="100" y="45"/>
                  <a:pt x="102" y="46"/>
                  <a:pt x="101" y="48"/>
                </a:cubicBezTo>
                <a:cubicBezTo>
                  <a:pt x="101" y="50"/>
                  <a:pt x="105" y="53"/>
                  <a:pt x="107" y="51"/>
                </a:cubicBezTo>
                <a:cubicBezTo>
                  <a:pt x="106" y="55"/>
                  <a:pt x="102" y="54"/>
                  <a:pt x="103" y="54"/>
                </a:cubicBezTo>
                <a:cubicBezTo>
                  <a:pt x="103" y="55"/>
                  <a:pt x="103" y="56"/>
                  <a:pt x="105" y="58"/>
                </a:cubicBezTo>
                <a:cubicBezTo>
                  <a:pt x="106" y="58"/>
                  <a:pt x="108" y="60"/>
                  <a:pt x="110" y="59"/>
                </a:cubicBezTo>
                <a:cubicBezTo>
                  <a:pt x="106" y="63"/>
                  <a:pt x="103" y="61"/>
                  <a:pt x="103" y="60"/>
                </a:cubicBezTo>
                <a:cubicBezTo>
                  <a:pt x="102" y="61"/>
                  <a:pt x="102" y="62"/>
                  <a:pt x="105" y="66"/>
                </a:cubicBezTo>
                <a:cubicBezTo>
                  <a:pt x="101" y="66"/>
                  <a:pt x="100" y="62"/>
                  <a:pt x="100" y="62"/>
                </a:cubicBezTo>
                <a:cubicBezTo>
                  <a:pt x="100" y="62"/>
                  <a:pt x="100" y="63"/>
                  <a:pt x="100" y="64"/>
                </a:cubicBezTo>
                <a:cubicBezTo>
                  <a:pt x="101" y="70"/>
                  <a:pt x="111" y="71"/>
                  <a:pt x="114" y="69"/>
                </a:cubicBezTo>
                <a:cubicBezTo>
                  <a:pt x="117" y="67"/>
                  <a:pt x="116" y="59"/>
                  <a:pt x="115" y="58"/>
                </a:cubicBezTo>
                <a:cubicBezTo>
                  <a:pt x="115" y="57"/>
                  <a:pt x="108" y="52"/>
                  <a:pt x="110" y="45"/>
                </a:cubicBezTo>
                <a:cubicBezTo>
                  <a:pt x="111" y="41"/>
                  <a:pt x="117" y="31"/>
                  <a:pt x="118" y="26"/>
                </a:cubicBezTo>
                <a:cubicBezTo>
                  <a:pt x="119" y="21"/>
                  <a:pt x="116" y="7"/>
                  <a:pt x="115" y="1"/>
                </a:cubicBezTo>
                <a:cubicBezTo>
                  <a:pt x="120" y="0"/>
                  <a:pt x="123" y="17"/>
                  <a:pt x="123" y="17"/>
                </a:cubicBezTo>
                <a:cubicBezTo>
                  <a:pt x="123" y="17"/>
                  <a:pt x="123" y="10"/>
                  <a:pt x="121" y="5"/>
                </a:cubicBezTo>
                <a:cubicBezTo>
                  <a:pt x="126" y="5"/>
                  <a:pt x="128" y="25"/>
                  <a:pt x="128" y="25"/>
                </a:cubicBezTo>
                <a:cubicBezTo>
                  <a:pt x="128" y="25"/>
                  <a:pt x="127" y="13"/>
                  <a:pt x="127" y="9"/>
                </a:cubicBezTo>
                <a:cubicBezTo>
                  <a:pt x="131" y="14"/>
                  <a:pt x="131" y="32"/>
                  <a:pt x="131" y="32"/>
                </a:cubicBezTo>
                <a:cubicBezTo>
                  <a:pt x="131" y="32"/>
                  <a:pt x="132" y="22"/>
                  <a:pt x="132" y="18"/>
                </a:cubicBezTo>
                <a:cubicBezTo>
                  <a:pt x="136" y="23"/>
                  <a:pt x="136" y="34"/>
                  <a:pt x="136" y="34"/>
                </a:cubicBezTo>
                <a:cubicBezTo>
                  <a:pt x="136" y="34"/>
                  <a:pt x="148" y="16"/>
                  <a:pt x="147" y="8"/>
                </a:cubicBezTo>
                <a:cubicBezTo>
                  <a:pt x="155" y="17"/>
                  <a:pt x="145" y="31"/>
                  <a:pt x="145" y="31"/>
                </a:cubicBezTo>
                <a:cubicBezTo>
                  <a:pt x="145" y="31"/>
                  <a:pt x="154" y="22"/>
                  <a:pt x="155" y="17"/>
                </a:cubicBezTo>
                <a:cubicBezTo>
                  <a:pt x="162" y="26"/>
                  <a:pt x="147" y="39"/>
                  <a:pt x="147" y="39"/>
                </a:cubicBezTo>
                <a:cubicBezTo>
                  <a:pt x="147" y="39"/>
                  <a:pt x="157" y="32"/>
                  <a:pt x="159" y="27"/>
                </a:cubicBezTo>
                <a:cubicBezTo>
                  <a:pt x="163" y="38"/>
                  <a:pt x="147" y="47"/>
                  <a:pt x="147" y="47"/>
                </a:cubicBezTo>
                <a:cubicBezTo>
                  <a:pt x="147" y="47"/>
                  <a:pt x="155" y="45"/>
                  <a:pt x="160" y="40"/>
                </a:cubicBezTo>
                <a:cubicBezTo>
                  <a:pt x="162" y="45"/>
                  <a:pt x="145" y="55"/>
                  <a:pt x="145" y="55"/>
                </a:cubicBezTo>
                <a:cubicBezTo>
                  <a:pt x="145" y="55"/>
                  <a:pt x="154" y="53"/>
                  <a:pt x="157" y="51"/>
                </a:cubicBezTo>
                <a:cubicBezTo>
                  <a:pt x="158" y="56"/>
                  <a:pt x="141" y="62"/>
                  <a:pt x="141" y="62"/>
                </a:cubicBezTo>
                <a:cubicBezTo>
                  <a:pt x="141" y="62"/>
                  <a:pt x="150" y="61"/>
                  <a:pt x="154" y="61"/>
                </a:cubicBezTo>
                <a:cubicBezTo>
                  <a:pt x="150" y="65"/>
                  <a:pt x="138" y="68"/>
                  <a:pt x="138" y="68"/>
                </a:cubicBezTo>
                <a:cubicBezTo>
                  <a:pt x="138" y="68"/>
                  <a:pt x="147" y="68"/>
                  <a:pt x="151" y="68"/>
                </a:cubicBezTo>
                <a:cubicBezTo>
                  <a:pt x="148" y="72"/>
                  <a:pt x="134" y="76"/>
                  <a:pt x="134" y="76"/>
                </a:cubicBezTo>
                <a:cubicBezTo>
                  <a:pt x="134" y="76"/>
                  <a:pt x="146" y="78"/>
                  <a:pt x="148" y="77"/>
                </a:cubicBezTo>
                <a:cubicBezTo>
                  <a:pt x="145" y="79"/>
                  <a:pt x="141" y="81"/>
                  <a:pt x="137" y="81"/>
                </a:cubicBezTo>
                <a:cubicBezTo>
                  <a:pt x="139" y="82"/>
                  <a:pt x="141" y="83"/>
                  <a:pt x="141" y="85"/>
                </a:cubicBezTo>
                <a:cubicBezTo>
                  <a:pt x="144" y="92"/>
                  <a:pt x="137" y="98"/>
                  <a:pt x="130" y="102"/>
                </a:cubicBezTo>
                <a:cubicBezTo>
                  <a:pt x="132" y="106"/>
                  <a:pt x="134" y="111"/>
                  <a:pt x="136" y="111"/>
                </a:cubicBezTo>
                <a:cubicBezTo>
                  <a:pt x="143" y="111"/>
                  <a:pt x="150" y="114"/>
                  <a:pt x="154" y="121"/>
                </a:cubicBezTo>
                <a:cubicBezTo>
                  <a:pt x="165" y="118"/>
                  <a:pt x="179" y="126"/>
                  <a:pt x="182" y="128"/>
                </a:cubicBezTo>
                <a:cubicBezTo>
                  <a:pt x="196" y="120"/>
                  <a:pt x="206" y="129"/>
                  <a:pt x="212" y="124"/>
                </a:cubicBezTo>
                <a:cubicBezTo>
                  <a:pt x="215" y="122"/>
                  <a:pt x="217" y="121"/>
                  <a:pt x="219" y="122"/>
                </a:cubicBezTo>
                <a:cubicBezTo>
                  <a:pt x="222" y="124"/>
                  <a:pt x="222" y="127"/>
                  <a:pt x="223" y="130"/>
                </a:cubicBezTo>
                <a:cubicBezTo>
                  <a:pt x="224" y="133"/>
                  <a:pt x="225" y="134"/>
                  <a:pt x="228" y="138"/>
                </a:cubicBezTo>
                <a:cubicBezTo>
                  <a:pt x="228" y="139"/>
                  <a:pt x="230" y="142"/>
                  <a:pt x="230" y="143"/>
                </a:cubicBezTo>
                <a:close/>
                <a:moveTo>
                  <a:pt x="59" y="161"/>
                </a:moveTo>
                <a:cubicBezTo>
                  <a:pt x="65" y="163"/>
                  <a:pt x="70" y="167"/>
                  <a:pt x="70" y="167"/>
                </a:cubicBezTo>
                <a:cubicBezTo>
                  <a:pt x="68" y="123"/>
                  <a:pt x="68" y="123"/>
                  <a:pt x="68" y="123"/>
                </a:cubicBezTo>
                <a:cubicBezTo>
                  <a:pt x="67" y="123"/>
                  <a:pt x="66" y="124"/>
                  <a:pt x="65" y="124"/>
                </a:cubicBezTo>
                <a:cubicBezTo>
                  <a:pt x="60" y="126"/>
                  <a:pt x="47" y="126"/>
                  <a:pt x="45" y="126"/>
                </a:cubicBezTo>
                <a:cubicBezTo>
                  <a:pt x="43" y="127"/>
                  <a:pt x="43" y="128"/>
                  <a:pt x="41" y="129"/>
                </a:cubicBezTo>
                <a:cubicBezTo>
                  <a:pt x="38" y="130"/>
                  <a:pt x="36" y="131"/>
                  <a:pt x="36" y="131"/>
                </a:cubicBezTo>
                <a:cubicBezTo>
                  <a:pt x="36" y="131"/>
                  <a:pt x="35" y="132"/>
                  <a:pt x="35" y="132"/>
                </a:cubicBezTo>
                <a:cubicBezTo>
                  <a:pt x="34" y="134"/>
                  <a:pt x="34" y="137"/>
                  <a:pt x="35" y="142"/>
                </a:cubicBezTo>
                <a:cubicBezTo>
                  <a:pt x="38" y="153"/>
                  <a:pt x="53" y="158"/>
                  <a:pt x="59" y="161"/>
                </a:cubicBezTo>
                <a:close/>
                <a:moveTo>
                  <a:pt x="36" y="72"/>
                </a:moveTo>
                <a:cubicBezTo>
                  <a:pt x="36" y="73"/>
                  <a:pt x="35" y="76"/>
                  <a:pt x="33" y="82"/>
                </a:cubicBezTo>
                <a:cubicBezTo>
                  <a:pt x="30" y="88"/>
                  <a:pt x="22" y="99"/>
                  <a:pt x="25" y="108"/>
                </a:cubicBezTo>
                <a:cubicBezTo>
                  <a:pt x="27" y="114"/>
                  <a:pt x="29" y="115"/>
                  <a:pt x="31" y="117"/>
                </a:cubicBezTo>
                <a:cubicBezTo>
                  <a:pt x="32" y="117"/>
                  <a:pt x="34" y="117"/>
                  <a:pt x="35" y="117"/>
                </a:cubicBezTo>
                <a:cubicBezTo>
                  <a:pt x="38" y="116"/>
                  <a:pt x="40" y="118"/>
                  <a:pt x="42" y="117"/>
                </a:cubicBezTo>
                <a:cubicBezTo>
                  <a:pt x="45" y="115"/>
                  <a:pt x="53" y="109"/>
                  <a:pt x="62" y="107"/>
                </a:cubicBezTo>
                <a:cubicBezTo>
                  <a:pt x="36" y="72"/>
                  <a:pt x="36" y="72"/>
                  <a:pt x="36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77" name="Freeform 289"/>
          <p:cNvSpPr>
            <a:spLocks noEditPoints="1"/>
          </p:cNvSpPr>
          <p:nvPr/>
        </p:nvSpPr>
        <p:spPr bwMode="auto">
          <a:xfrm>
            <a:off x="8583085" y="5484284"/>
            <a:ext cx="690033" cy="609600"/>
          </a:xfrm>
          <a:custGeom>
            <a:avLst/>
            <a:gdLst>
              <a:gd name="T0" fmla="*/ 1164487503 w 230"/>
              <a:gd name="T1" fmla="*/ 735508676 h 203"/>
              <a:gd name="T2" fmla="*/ 1154362014 w 230"/>
              <a:gd name="T3" fmla="*/ 740582920 h 203"/>
              <a:gd name="T4" fmla="*/ 1113857807 w 230"/>
              <a:gd name="T5" fmla="*/ 720292700 h 203"/>
              <a:gd name="T6" fmla="*/ 946778236 w 230"/>
              <a:gd name="T7" fmla="*/ 740582920 h 203"/>
              <a:gd name="T8" fmla="*/ 718943480 w 230"/>
              <a:gd name="T9" fmla="*/ 857250000 h 203"/>
              <a:gd name="T10" fmla="*/ 921464513 w 230"/>
              <a:gd name="T11" fmla="*/ 933336638 h 203"/>
              <a:gd name="T12" fmla="*/ 951840980 w 230"/>
              <a:gd name="T13" fmla="*/ 1029713498 h 203"/>
              <a:gd name="T14" fmla="*/ 931590002 w 230"/>
              <a:gd name="T15" fmla="*/ 1019569513 h 203"/>
              <a:gd name="T16" fmla="*/ 916401768 w 230"/>
              <a:gd name="T17" fmla="*/ 1014495269 h 203"/>
              <a:gd name="T18" fmla="*/ 901211285 w 230"/>
              <a:gd name="T19" fmla="*/ 999279293 h 203"/>
              <a:gd name="T20" fmla="*/ 708817991 w 230"/>
              <a:gd name="T21" fmla="*/ 953626859 h 203"/>
              <a:gd name="T22" fmla="*/ 617684088 w 230"/>
              <a:gd name="T23" fmla="*/ 705074471 h 203"/>
              <a:gd name="T24" fmla="*/ 435416284 w 230"/>
              <a:gd name="T25" fmla="*/ 593479383 h 203"/>
              <a:gd name="T26" fmla="*/ 354410120 w 230"/>
              <a:gd name="T27" fmla="*/ 847103764 h 203"/>
              <a:gd name="T28" fmla="*/ 344282381 w 230"/>
              <a:gd name="T29" fmla="*/ 862321992 h 203"/>
              <a:gd name="T30" fmla="*/ 349347376 w 230"/>
              <a:gd name="T31" fmla="*/ 852175756 h 203"/>
              <a:gd name="T32" fmla="*/ 151889087 w 230"/>
              <a:gd name="T33" fmla="*/ 674640266 h 203"/>
              <a:gd name="T34" fmla="*/ 141763598 w 230"/>
              <a:gd name="T35" fmla="*/ 654350045 h 203"/>
              <a:gd name="T36" fmla="*/ 136700854 w 230"/>
              <a:gd name="T37" fmla="*/ 634059825 h 203"/>
              <a:gd name="T38" fmla="*/ 0 w 230"/>
              <a:gd name="T39" fmla="*/ 669568274 h 203"/>
              <a:gd name="T40" fmla="*/ 136700854 w 230"/>
              <a:gd name="T41" fmla="*/ 634059825 h 203"/>
              <a:gd name="T42" fmla="*/ 106322136 w 230"/>
              <a:gd name="T43" fmla="*/ 552901194 h 203"/>
              <a:gd name="T44" fmla="*/ 172142316 w 230"/>
              <a:gd name="T45" fmla="*/ 365219468 h 203"/>
              <a:gd name="T46" fmla="*/ 182267805 w 230"/>
              <a:gd name="T47" fmla="*/ 365219468 h 203"/>
              <a:gd name="T48" fmla="*/ 415165305 w 230"/>
              <a:gd name="T49" fmla="*/ 486958540 h 203"/>
              <a:gd name="T50" fmla="*/ 420228050 w 230"/>
              <a:gd name="T51" fmla="*/ 415943894 h 203"/>
              <a:gd name="T52" fmla="*/ 359472865 w 230"/>
              <a:gd name="T53" fmla="*/ 415943894 h 203"/>
              <a:gd name="T54" fmla="*/ 339219637 w 230"/>
              <a:gd name="T55" fmla="*/ 395653673 h 203"/>
              <a:gd name="T56" fmla="*/ 303780425 w 230"/>
              <a:gd name="T57" fmla="*/ 370291460 h 203"/>
              <a:gd name="T58" fmla="*/ 273401707 w 230"/>
              <a:gd name="T59" fmla="*/ 263768365 h 203"/>
              <a:gd name="T60" fmla="*/ 278464452 w 230"/>
              <a:gd name="T61" fmla="*/ 202899955 h 203"/>
              <a:gd name="T62" fmla="*/ 349347376 w 230"/>
              <a:gd name="T63" fmla="*/ 162319513 h 203"/>
              <a:gd name="T64" fmla="*/ 410102561 w 230"/>
              <a:gd name="T65" fmla="*/ 116667080 h 203"/>
              <a:gd name="T66" fmla="*/ 440479028 w 230"/>
              <a:gd name="T67" fmla="*/ 147101285 h 203"/>
              <a:gd name="T68" fmla="*/ 501236463 w 230"/>
              <a:gd name="T69" fmla="*/ 218115931 h 203"/>
              <a:gd name="T70" fmla="*/ 521487441 w 230"/>
              <a:gd name="T71" fmla="*/ 273914601 h 203"/>
              <a:gd name="T72" fmla="*/ 521487441 w 230"/>
              <a:gd name="T73" fmla="*/ 304348806 h 203"/>
              <a:gd name="T74" fmla="*/ 506299208 w 230"/>
              <a:gd name="T75" fmla="*/ 324639027 h 203"/>
              <a:gd name="T76" fmla="*/ 556928903 w 230"/>
              <a:gd name="T77" fmla="*/ 228262167 h 203"/>
              <a:gd name="T78" fmla="*/ 622746833 w 230"/>
              <a:gd name="T79" fmla="*/ 86232875 h 203"/>
              <a:gd name="T80" fmla="*/ 643000061 w 230"/>
              <a:gd name="T81" fmla="*/ 45652433 h 203"/>
              <a:gd name="T82" fmla="*/ 688567013 w 230"/>
              <a:gd name="T83" fmla="*/ 172463498 h 203"/>
              <a:gd name="T84" fmla="*/ 784763659 w 230"/>
              <a:gd name="T85" fmla="*/ 86232875 h 203"/>
              <a:gd name="T86" fmla="*/ 744259453 w 230"/>
              <a:gd name="T87" fmla="*/ 238406152 h 203"/>
              <a:gd name="T88" fmla="*/ 794889149 w 230"/>
              <a:gd name="T89" fmla="*/ 258696372 h 203"/>
              <a:gd name="T90" fmla="*/ 698692502 w 230"/>
              <a:gd name="T91" fmla="*/ 344929247 h 203"/>
              <a:gd name="T92" fmla="*/ 749322197 w 230"/>
              <a:gd name="T93" fmla="*/ 390581681 h 203"/>
              <a:gd name="T94" fmla="*/ 658188295 w 230"/>
              <a:gd name="T95" fmla="*/ 517392745 h 203"/>
              <a:gd name="T96" fmla="*/ 921464513 w 230"/>
              <a:gd name="T97" fmla="*/ 649278053 h 203"/>
              <a:gd name="T98" fmla="*/ 1129046041 w 230"/>
              <a:gd name="T99" fmla="*/ 659422037 h 203"/>
              <a:gd name="T100" fmla="*/ 298715430 w 230"/>
              <a:gd name="T101" fmla="*/ 816669559 h 203"/>
              <a:gd name="T102" fmla="*/ 329094148 w 230"/>
              <a:gd name="T103" fmla="*/ 628987833 h 203"/>
              <a:gd name="T104" fmla="*/ 182267805 w 230"/>
              <a:gd name="T105" fmla="*/ 664494030 h 203"/>
              <a:gd name="T106" fmla="*/ 298715430 w 230"/>
              <a:gd name="T107" fmla="*/ 816669559 h 203"/>
              <a:gd name="T108" fmla="*/ 126575364 w 230"/>
              <a:gd name="T109" fmla="*/ 547826950 h 203"/>
              <a:gd name="T110" fmla="*/ 212646522 w 230"/>
              <a:gd name="T111" fmla="*/ 593479383 h 20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30" h="203">
                <a:moveTo>
                  <a:pt x="230" y="143"/>
                </a:moveTo>
                <a:cubicBezTo>
                  <a:pt x="230" y="143"/>
                  <a:pt x="230" y="143"/>
                  <a:pt x="230" y="143"/>
                </a:cubicBezTo>
                <a:cubicBezTo>
                  <a:pt x="230" y="144"/>
                  <a:pt x="230" y="144"/>
                  <a:pt x="230" y="145"/>
                </a:cubicBezTo>
                <a:cubicBezTo>
                  <a:pt x="230" y="145"/>
                  <a:pt x="230" y="145"/>
                  <a:pt x="229" y="145"/>
                </a:cubicBezTo>
                <a:cubicBezTo>
                  <a:pt x="229" y="145"/>
                  <a:pt x="230" y="146"/>
                  <a:pt x="229" y="146"/>
                </a:cubicBezTo>
                <a:cubicBezTo>
                  <a:pt x="229" y="147"/>
                  <a:pt x="228" y="146"/>
                  <a:pt x="228" y="146"/>
                </a:cubicBezTo>
                <a:cubicBezTo>
                  <a:pt x="228" y="146"/>
                  <a:pt x="230" y="150"/>
                  <a:pt x="227" y="150"/>
                </a:cubicBezTo>
                <a:cubicBezTo>
                  <a:pt x="226" y="149"/>
                  <a:pt x="226" y="148"/>
                  <a:pt x="225" y="147"/>
                </a:cubicBezTo>
                <a:cubicBezTo>
                  <a:pt x="223" y="145"/>
                  <a:pt x="221" y="143"/>
                  <a:pt x="220" y="142"/>
                </a:cubicBezTo>
                <a:cubicBezTo>
                  <a:pt x="218" y="138"/>
                  <a:pt x="214" y="138"/>
                  <a:pt x="210" y="136"/>
                </a:cubicBezTo>
                <a:cubicBezTo>
                  <a:pt x="207" y="136"/>
                  <a:pt x="196" y="141"/>
                  <a:pt x="193" y="142"/>
                </a:cubicBezTo>
                <a:cubicBezTo>
                  <a:pt x="191" y="143"/>
                  <a:pt x="188" y="145"/>
                  <a:pt x="187" y="146"/>
                </a:cubicBezTo>
                <a:cubicBezTo>
                  <a:pt x="185" y="146"/>
                  <a:pt x="183" y="147"/>
                  <a:pt x="175" y="147"/>
                </a:cubicBezTo>
                <a:cubicBezTo>
                  <a:pt x="167" y="147"/>
                  <a:pt x="153" y="145"/>
                  <a:pt x="153" y="145"/>
                </a:cubicBezTo>
                <a:cubicBezTo>
                  <a:pt x="153" y="145"/>
                  <a:pt x="143" y="166"/>
                  <a:pt x="142" y="169"/>
                </a:cubicBezTo>
                <a:cubicBezTo>
                  <a:pt x="158" y="166"/>
                  <a:pt x="158" y="171"/>
                  <a:pt x="168" y="172"/>
                </a:cubicBezTo>
                <a:cubicBezTo>
                  <a:pt x="176" y="172"/>
                  <a:pt x="177" y="170"/>
                  <a:pt x="180" y="172"/>
                </a:cubicBezTo>
                <a:cubicBezTo>
                  <a:pt x="183" y="175"/>
                  <a:pt x="181" y="181"/>
                  <a:pt x="182" y="184"/>
                </a:cubicBezTo>
                <a:cubicBezTo>
                  <a:pt x="183" y="187"/>
                  <a:pt x="187" y="192"/>
                  <a:pt x="188" y="195"/>
                </a:cubicBezTo>
                <a:cubicBezTo>
                  <a:pt x="188" y="198"/>
                  <a:pt x="188" y="197"/>
                  <a:pt x="188" y="199"/>
                </a:cubicBezTo>
                <a:cubicBezTo>
                  <a:pt x="188" y="200"/>
                  <a:pt x="189" y="202"/>
                  <a:pt x="188" y="203"/>
                </a:cubicBezTo>
                <a:cubicBezTo>
                  <a:pt x="187" y="203"/>
                  <a:pt x="186" y="203"/>
                  <a:pt x="186" y="202"/>
                </a:cubicBezTo>
                <a:cubicBezTo>
                  <a:pt x="185" y="202"/>
                  <a:pt x="185" y="202"/>
                  <a:pt x="185" y="202"/>
                </a:cubicBezTo>
                <a:cubicBezTo>
                  <a:pt x="184" y="202"/>
                  <a:pt x="184" y="201"/>
                  <a:pt x="184" y="201"/>
                </a:cubicBezTo>
                <a:cubicBezTo>
                  <a:pt x="184" y="201"/>
                  <a:pt x="184" y="201"/>
                  <a:pt x="183" y="201"/>
                </a:cubicBezTo>
                <a:cubicBezTo>
                  <a:pt x="182" y="201"/>
                  <a:pt x="181" y="200"/>
                  <a:pt x="181" y="200"/>
                </a:cubicBezTo>
                <a:cubicBezTo>
                  <a:pt x="181" y="200"/>
                  <a:pt x="181" y="201"/>
                  <a:pt x="181" y="200"/>
                </a:cubicBezTo>
                <a:cubicBezTo>
                  <a:pt x="181" y="200"/>
                  <a:pt x="180" y="200"/>
                  <a:pt x="180" y="199"/>
                </a:cubicBezTo>
                <a:cubicBezTo>
                  <a:pt x="180" y="199"/>
                  <a:pt x="180" y="199"/>
                  <a:pt x="180" y="199"/>
                </a:cubicBezTo>
                <a:cubicBezTo>
                  <a:pt x="179" y="198"/>
                  <a:pt x="179" y="198"/>
                  <a:pt x="178" y="197"/>
                </a:cubicBezTo>
                <a:cubicBezTo>
                  <a:pt x="178" y="195"/>
                  <a:pt x="177" y="196"/>
                  <a:pt x="176" y="193"/>
                </a:cubicBezTo>
                <a:cubicBezTo>
                  <a:pt x="175" y="190"/>
                  <a:pt x="174" y="192"/>
                  <a:pt x="170" y="185"/>
                </a:cubicBezTo>
                <a:cubicBezTo>
                  <a:pt x="167" y="185"/>
                  <a:pt x="140" y="188"/>
                  <a:pt x="140" y="188"/>
                </a:cubicBezTo>
                <a:cubicBezTo>
                  <a:pt x="140" y="188"/>
                  <a:pt x="134" y="188"/>
                  <a:pt x="129" y="185"/>
                </a:cubicBezTo>
                <a:cubicBezTo>
                  <a:pt x="125" y="183"/>
                  <a:pt x="122" y="180"/>
                  <a:pt x="120" y="173"/>
                </a:cubicBezTo>
                <a:cubicBezTo>
                  <a:pt x="118" y="165"/>
                  <a:pt x="120" y="155"/>
                  <a:pt x="122" y="139"/>
                </a:cubicBezTo>
                <a:cubicBezTo>
                  <a:pt x="114" y="139"/>
                  <a:pt x="102" y="132"/>
                  <a:pt x="99" y="121"/>
                </a:cubicBezTo>
                <a:cubicBezTo>
                  <a:pt x="96" y="120"/>
                  <a:pt x="93" y="114"/>
                  <a:pt x="93" y="114"/>
                </a:cubicBezTo>
                <a:cubicBezTo>
                  <a:pt x="86" y="117"/>
                  <a:pt x="86" y="117"/>
                  <a:pt x="86" y="117"/>
                </a:cubicBezTo>
                <a:cubicBezTo>
                  <a:pt x="75" y="119"/>
                  <a:pt x="75" y="119"/>
                  <a:pt x="75" y="119"/>
                </a:cubicBezTo>
                <a:cubicBezTo>
                  <a:pt x="75" y="119"/>
                  <a:pt x="72" y="121"/>
                  <a:pt x="69" y="122"/>
                </a:cubicBezTo>
                <a:cubicBezTo>
                  <a:pt x="70" y="167"/>
                  <a:pt x="70" y="167"/>
                  <a:pt x="70" y="167"/>
                </a:cubicBezTo>
                <a:cubicBezTo>
                  <a:pt x="70" y="167"/>
                  <a:pt x="71" y="167"/>
                  <a:pt x="71" y="167"/>
                </a:cubicBezTo>
                <a:cubicBezTo>
                  <a:pt x="72" y="168"/>
                  <a:pt x="72" y="169"/>
                  <a:pt x="71" y="170"/>
                </a:cubicBezTo>
                <a:cubicBezTo>
                  <a:pt x="70" y="171"/>
                  <a:pt x="68" y="171"/>
                  <a:pt x="68" y="170"/>
                </a:cubicBezTo>
                <a:cubicBezTo>
                  <a:pt x="67" y="169"/>
                  <a:pt x="68" y="168"/>
                  <a:pt x="68" y="169"/>
                </a:cubicBezTo>
                <a:cubicBezTo>
                  <a:pt x="69" y="169"/>
                  <a:pt x="70" y="169"/>
                  <a:pt x="70" y="169"/>
                </a:cubicBezTo>
                <a:cubicBezTo>
                  <a:pt x="70" y="168"/>
                  <a:pt x="69" y="168"/>
                  <a:pt x="69" y="168"/>
                </a:cubicBezTo>
                <a:cubicBezTo>
                  <a:pt x="66" y="165"/>
                  <a:pt x="59" y="162"/>
                  <a:pt x="55" y="161"/>
                </a:cubicBezTo>
                <a:cubicBezTo>
                  <a:pt x="45" y="158"/>
                  <a:pt x="35" y="154"/>
                  <a:pt x="31" y="142"/>
                </a:cubicBezTo>
                <a:cubicBezTo>
                  <a:pt x="29" y="136"/>
                  <a:pt x="29" y="134"/>
                  <a:pt x="30" y="133"/>
                </a:cubicBezTo>
                <a:cubicBezTo>
                  <a:pt x="29" y="132"/>
                  <a:pt x="29" y="132"/>
                  <a:pt x="29" y="131"/>
                </a:cubicBezTo>
                <a:cubicBezTo>
                  <a:pt x="28" y="131"/>
                  <a:pt x="29" y="130"/>
                  <a:pt x="29" y="130"/>
                </a:cubicBezTo>
                <a:cubicBezTo>
                  <a:pt x="29" y="130"/>
                  <a:pt x="28" y="131"/>
                  <a:pt x="28" y="129"/>
                </a:cubicBezTo>
                <a:cubicBezTo>
                  <a:pt x="27" y="128"/>
                  <a:pt x="28" y="128"/>
                  <a:pt x="28" y="128"/>
                </a:cubicBezTo>
                <a:cubicBezTo>
                  <a:pt x="28" y="128"/>
                  <a:pt x="27" y="128"/>
                  <a:pt x="26" y="126"/>
                </a:cubicBezTo>
                <a:cubicBezTo>
                  <a:pt x="26" y="126"/>
                  <a:pt x="27" y="125"/>
                  <a:pt x="27" y="125"/>
                </a:cubicBezTo>
                <a:cubicBezTo>
                  <a:pt x="21" y="127"/>
                  <a:pt x="6" y="131"/>
                  <a:pt x="6" y="131"/>
                </a:cubicBezTo>
                <a:cubicBezTo>
                  <a:pt x="6" y="131"/>
                  <a:pt x="7" y="132"/>
                  <a:pt x="7" y="133"/>
                </a:cubicBezTo>
                <a:cubicBezTo>
                  <a:pt x="6" y="134"/>
                  <a:pt x="3" y="132"/>
                  <a:pt x="0" y="132"/>
                </a:cubicBezTo>
                <a:cubicBezTo>
                  <a:pt x="3" y="131"/>
                  <a:pt x="4" y="127"/>
                  <a:pt x="5" y="128"/>
                </a:cubicBezTo>
                <a:cubicBezTo>
                  <a:pt x="6" y="129"/>
                  <a:pt x="6" y="130"/>
                  <a:pt x="6" y="130"/>
                </a:cubicBezTo>
                <a:cubicBezTo>
                  <a:pt x="27" y="125"/>
                  <a:pt x="27" y="125"/>
                  <a:pt x="27" y="125"/>
                </a:cubicBezTo>
                <a:cubicBezTo>
                  <a:pt x="26" y="125"/>
                  <a:pt x="26" y="124"/>
                  <a:pt x="26" y="124"/>
                </a:cubicBezTo>
                <a:cubicBezTo>
                  <a:pt x="25" y="122"/>
                  <a:pt x="27" y="121"/>
                  <a:pt x="28" y="121"/>
                </a:cubicBezTo>
                <a:cubicBezTo>
                  <a:pt x="26" y="117"/>
                  <a:pt x="24" y="119"/>
                  <a:pt x="21" y="109"/>
                </a:cubicBezTo>
                <a:cubicBezTo>
                  <a:pt x="18" y="98"/>
                  <a:pt x="28" y="91"/>
                  <a:pt x="32" y="81"/>
                </a:cubicBezTo>
                <a:cubicBezTo>
                  <a:pt x="34" y="76"/>
                  <a:pt x="34" y="73"/>
                  <a:pt x="35" y="72"/>
                </a:cubicBezTo>
                <a:cubicBezTo>
                  <a:pt x="35" y="70"/>
                  <a:pt x="34" y="71"/>
                  <a:pt x="34" y="72"/>
                </a:cubicBezTo>
                <a:cubicBezTo>
                  <a:pt x="34" y="73"/>
                  <a:pt x="33" y="73"/>
                  <a:pt x="33" y="71"/>
                </a:cubicBezTo>
                <a:cubicBezTo>
                  <a:pt x="32" y="70"/>
                  <a:pt x="33" y="69"/>
                  <a:pt x="35" y="69"/>
                </a:cubicBezTo>
                <a:cubicBezTo>
                  <a:pt x="37" y="69"/>
                  <a:pt x="37" y="71"/>
                  <a:pt x="36" y="72"/>
                </a:cubicBezTo>
                <a:cubicBezTo>
                  <a:pt x="63" y="107"/>
                  <a:pt x="63" y="107"/>
                  <a:pt x="63" y="107"/>
                </a:cubicBezTo>
                <a:cubicBezTo>
                  <a:pt x="65" y="106"/>
                  <a:pt x="67" y="106"/>
                  <a:pt x="69" y="106"/>
                </a:cubicBezTo>
                <a:cubicBezTo>
                  <a:pt x="70" y="103"/>
                  <a:pt x="82" y="96"/>
                  <a:pt x="82" y="96"/>
                </a:cubicBezTo>
                <a:cubicBezTo>
                  <a:pt x="82" y="96"/>
                  <a:pt x="84" y="93"/>
                  <a:pt x="86" y="90"/>
                </a:cubicBezTo>
                <a:cubicBezTo>
                  <a:pt x="88" y="87"/>
                  <a:pt x="87" y="86"/>
                  <a:pt x="86" y="85"/>
                </a:cubicBezTo>
                <a:cubicBezTo>
                  <a:pt x="85" y="84"/>
                  <a:pt x="83" y="82"/>
                  <a:pt x="83" y="82"/>
                </a:cubicBezTo>
                <a:cubicBezTo>
                  <a:pt x="83" y="82"/>
                  <a:pt x="81" y="83"/>
                  <a:pt x="78" y="84"/>
                </a:cubicBezTo>
                <a:cubicBezTo>
                  <a:pt x="76" y="85"/>
                  <a:pt x="73" y="85"/>
                  <a:pt x="72" y="83"/>
                </a:cubicBezTo>
                <a:cubicBezTo>
                  <a:pt x="72" y="82"/>
                  <a:pt x="72" y="82"/>
                  <a:pt x="71" y="82"/>
                </a:cubicBezTo>
                <a:cubicBezTo>
                  <a:pt x="70" y="81"/>
                  <a:pt x="69" y="81"/>
                  <a:pt x="69" y="80"/>
                </a:cubicBezTo>
                <a:cubicBezTo>
                  <a:pt x="68" y="79"/>
                  <a:pt x="69" y="78"/>
                  <a:pt x="69" y="77"/>
                </a:cubicBezTo>
                <a:cubicBezTo>
                  <a:pt x="68" y="78"/>
                  <a:pt x="67" y="78"/>
                  <a:pt x="67" y="78"/>
                </a:cubicBezTo>
                <a:cubicBezTo>
                  <a:pt x="66" y="77"/>
                  <a:pt x="66" y="76"/>
                  <a:pt x="65" y="75"/>
                </a:cubicBezTo>
                <a:cubicBezTo>
                  <a:pt x="65" y="74"/>
                  <a:pt x="65" y="74"/>
                  <a:pt x="64" y="74"/>
                </a:cubicBezTo>
                <a:cubicBezTo>
                  <a:pt x="63" y="74"/>
                  <a:pt x="61" y="75"/>
                  <a:pt x="60" y="73"/>
                </a:cubicBezTo>
                <a:cubicBezTo>
                  <a:pt x="60" y="72"/>
                  <a:pt x="62" y="71"/>
                  <a:pt x="61" y="68"/>
                </a:cubicBezTo>
                <a:cubicBezTo>
                  <a:pt x="59" y="63"/>
                  <a:pt x="59" y="63"/>
                  <a:pt x="58" y="63"/>
                </a:cubicBezTo>
                <a:cubicBezTo>
                  <a:pt x="56" y="62"/>
                  <a:pt x="54" y="58"/>
                  <a:pt x="54" y="52"/>
                </a:cubicBezTo>
                <a:cubicBezTo>
                  <a:pt x="45" y="48"/>
                  <a:pt x="46" y="41"/>
                  <a:pt x="46" y="41"/>
                </a:cubicBezTo>
                <a:cubicBezTo>
                  <a:pt x="46" y="41"/>
                  <a:pt x="47" y="47"/>
                  <a:pt x="56" y="45"/>
                </a:cubicBezTo>
                <a:cubicBezTo>
                  <a:pt x="52" y="43"/>
                  <a:pt x="55" y="40"/>
                  <a:pt x="55" y="40"/>
                </a:cubicBezTo>
                <a:cubicBezTo>
                  <a:pt x="55" y="40"/>
                  <a:pt x="57" y="43"/>
                  <a:pt x="58" y="42"/>
                </a:cubicBezTo>
                <a:cubicBezTo>
                  <a:pt x="60" y="40"/>
                  <a:pt x="62" y="34"/>
                  <a:pt x="64" y="34"/>
                </a:cubicBezTo>
                <a:cubicBezTo>
                  <a:pt x="66" y="32"/>
                  <a:pt x="68" y="32"/>
                  <a:pt x="69" y="32"/>
                </a:cubicBezTo>
                <a:cubicBezTo>
                  <a:pt x="70" y="29"/>
                  <a:pt x="72" y="28"/>
                  <a:pt x="73" y="28"/>
                </a:cubicBezTo>
                <a:cubicBezTo>
                  <a:pt x="77" y="25"/>
                  <a:pt x="79" y="28"/>
                  <a:pt x="82" y="27"/>
                </a:cubicBezTo>
                <a:cubicBezTo>
                  <a:pt x="83" y="26"/>
                  <a:pt x="81" y="23"/>
                  <a:pt x="81" y="23"/>
                </a:cubicBezTo>
                <a:cubicBezTo>
                  <a:pt x="81" y="23"/>
                  <a:pt x="83" y="24"/>
                  <a:pt x="84" y="27"/>
                </a:cubicBezTo>
                <a:cubicBezTo>
                  <a:pt x="88" y="25"/>
                  <a:pt x="92" y="28"/>
                  <a:pt x="92" y="28"/>
                </a:cubicBezTo>
                <a:cubicBezTo>
                  <a:pt x="88" y="28"/>
                  <a:pt x="87" y="29"/>
                  <a:pt x="87" y="29"/>
                </a:cubicBezTo>
                <a:cubicBezTo>
                  <a:pt x="87" y="29"/>
                  <a:pt x="90" y="30"/>
                  <a:pt x="93" y="31"/>
                </a:cubicBezTo>
                <a:cubicBezTo>
                  <a:pt x="95" y="31"/>
                  <a:pt x="95" y="35"/>
                  <a:pt x="97" y="35"/>
                </a:cubicBezTo>
                <a:cubicBezTo>
                  <a:pt x="98" y="35"/>
                  <a:pt x="98" y="41"/>
                  <a:pt x="99" y="43"/>
                </a:cubicBezTo>
                <a:cubicBezTo>
                  <a:pt x="100" y="45"/>
                  <a:pt x="102" y="46"/>
                  <a:pt x="101" y="48"/>
                </a:cubicBezTo>
                <a:cubicBezTo>
                  <a:pt x="101" y="50"/>
                  <a:pt x="105" y="53"/>
                  <a:pt x="107" y="51"/>
                </a:cubicBezTo>
                <a:cubicBezTo>
                  <a:pt x="106" y="55"/>
                  <a:pt x="102" y="54"/>
                  <a:pt x="103" y="54"/>
                </a:cubicBezTo>
                <a:cubicBezTo>
                  <a:pt x="103" y="55"/>
                  <a:pt x="103" y="56"/>
                  <a:pt x="105" y="58"/>
                </a:cubicBezTo>
                <a:cubicBezTo>
                  <a:pt x="106" y="58"/>
                  <a:pt x="108" y="60"/>
                  <a:pt x="110" y="59"/>
                </a:cubicBezTo>
                <a:cubicBezTo>
                  <a:pt x="106" y="63"/>
                  <a:pt x="103" y="61"/>
                  <a:pt x="103" y="60"/>
                </a:cubicBezTo>
                <a:cubicBezTo>
                  <a:pt x="102" y="61"/>
                  <a:pt x="102" y="62"/>
                  <a:pt x="105" y="66"/>
                </a:cubicBezTo>
                <a:cubicBezTo>
                  <a:pt x="101" y="66"/>
                  <a:pt x="100" y="62"/>
                  <a:pt x="100" y="62"/>
                </a:cubicBezTo>
                <a:cubicBezTo>
                  <a:pt x="100" y="62"/>
                  <a:pt x="100" y="63"/>
                  <a:pt x="100" y="64"/>
                </a:cubicBezTo>
                <a:cubicBezTo>
                  <a:pt x="101" y="70"/>
                  <a:pt x="111" y="71"/>
                  <a:pt x="114" y="69"/>
                </a:cubicBezTo>
                <a:cubicBezTo>
                  <a:pt x="117" y="67"/>
                  <a:pt x="116" y="59"/>
                  <a:pt x="115" y="58"/>
                </a:cubicBezTo>
                <a:cubicBezTo>
                  <a:pt x="115" y="57"/>
                  <a:pt x="108" y="52"/>
                  <a:pt x="110" y="45"/>
                </a:cubicBezTo>
                <a:cubicBezTo>
                  <a:pt x="111" y="41"/>
                  <a:pt x="117" y="31"/>
                  <a:pt x="118" y="26"/>
                </a:cubicBezTo>
                <a:cubicBezTo>
                  <a:pt x="119" y="21"/>
                  <a:pt x="116" y="7"/>
                  <a:pt x="115" y="1"/>
                </a:cubicBezTo>
                <a:cubicBezTo>
                  <a:pt x="120" y="0"/>
                  <a:pt x="123" y="17"/>
                  <a:pt x="123" y="17"/>
                </a:cubicBezTo>
                <a:cubicBezTo>
                  <a:pt x="123" y="17"/>
                  <a:pt x="123" y="10"/>
                  <a:pt x="121" y="5"/>
                </a:cubicBezTo>
                <a:cubicBezTo>
                  <a:pt x="126" y="5"/>
                  <a:pt x="128" y="25"/>
                  <a:pt x="128" y="25"/>
                </a:cubicBezTo>
                <a:cubicBezTo>
                  <a:pt x="128" y="25"/>
                  <a:pt x="127" y="13"/>
                  <a:pt x="127" y="9"/>
                </a:cubicBezTo>
                <a:cubicBezTo>
                  <a:pt x="131" y="14"/>
                  <a:pt x="131" y="32"/>
                  <a:pt x="131" y="32"/>
                </a:cubicBezTo>
                <a:cubicBezTo>
                  <a:pt x="131" y="32"/>
                  <a:pt x="132" y="22"/>
                  <a:pt x="132" y="18"/>
                </a:cubicBezTo>
                <a:cubicBezTo>
                  <a:pt x="136" y="23"/>
                  <a:pt x="136" y="34"/>
                  <a:pt x="136" y="34"/>
                </a:cubicBezTo>
                <a:cubicBezTo>
                  <a:pt x="136" y="34"/>
                  <a:pt x="148" y="16"/>
                  <a:pt x="147" y="8"/>
                </a:cubicBezTo>
                <a:cubicBezTo>
                  <a:pt x="155" y="17"/>
                  <a:pt x="145" y="31"/>
                  <a:pt x="145" y="31"/>
                </a:cubicBezTo>
                <a:cubicBezTo>
                  <a:pt x="145" y="31"/>
                  <a:pt x="154" y="22"/>
                  <a:pt x="155" y="17"/>
                </a:cubicBezTo>
                <a:cubicBezTo>
                  <a:pt x="162" y="26"/>
                  <a:pt x="147" y="39"/>
                  <a:pt x="147" y="39"/>
                </a:cubicBezTo>
                <a:cubicBezTo>
                  <a:pt x="147" y="39"/>
                  <a:pt x="157" y="32"/>
                  <a:pt x="159" y="27"/>
                </a:cubicBezTo>
                <a:cubicBezTo>
                  <a:pt x="163" y="38"/>
                  <a:pt x="147" y="47"/>
                  <a:pt x="147" y="47"/>
                </a:cubicBezTo>
                <a:cubicBezTo>
                  <a:pt x="147" y="47"/>
                  <a:pt x="155" y="45"/>
                  <a:pt x="160" y="40"/>
                </a:cubicBezTo>
                <a:cubicBezTo>
                  <a:pt x="162" y="45"/>
                  <a:pt x="145" y="55"/>
                  <a:pt x="145" y="55"/>
                </a:cubicBezTo>
                <a:cubicBezTo>
                  <a:pt x="145" y="55"/>
                  <a:pt x="154" y="53"/>
                  <a:pt x="157" y="51"/>
                </a:cubicBezTo>
                <a:cubicBezTo>
                  <a:pt x="158" y="56"/>
                  <a:pt x="141" y="62"/>
                  <a:pt x="141" y="62"/>
                </a:cubicBezTo>
                <a:cubicBezTo>
                  <a:pt x="141" y="62"/>
                  <a:pt x="150" y="61"/>
                  <a:pt x="154" y="61"/>
                </a:cubicBezTo>
                <a:cubicBezTo>
                  <a:pt x="150" y="65"/>
                  <a:pt x="138" y="68"/>
                  <a:pt x="138" y="68"/>
                </a:cubicBezTo>
                <a:cubicBezTo>
                  <a:pt x="138" y="68"/>
                  <a:pt x="147" y="68"/>
                  <a:pt x="151" y="68"/>
                </a:cubicBezTo>
                <a:cubicBezTo>
                  <a:pt x="148" y="72"/>
                  <a:pt x="134" y="76"/>
                  <a:pt x="134" y="76"/>
                </a:cubicBezTo>
                <a:cubicBezTo>
                  <a:pt x="134" y="76"/>
                  <a:pt x="146" y="78"/>
                  <a:pt x="148" y="77"/>
                </a:cubicBezTo>
                <a:cubicBezTo>
                  <a:pt x="145" y="79"/>
                  <a:pt x="141" y="81"/>
                  <a:pt x="137" y="81"/>
                </a:cubicBezTo>
                <a:cubicBezTo>
                  <a:pt x="139" y="82"/>
                  <a:pt x="141" y="83"/>
                  <a:pt x="141" y="85"/>
                </a:cubicBezTo>
                <a:cubicBezTo>
                  <a:pt x="144" y="92"/>
                  <a:pt x="137" y="98"/>
                  <a:pt x="130" y="102"/>
                </a:cubicBezTo>
                <a:cubicBezTo>
                  <a:pt x="132" y="106"/>
                  <a:pt x="134" y="111"/>
                  <a:pt x="136" y="111"/>
                </a:cubicBezTo>
                <a:cubicBezTo>
                  <a:pt x="143" y="111"/>
                  <a:pt x="150" y="114"/>
                  <a:pt x="154" y="121"/>
                </a:cubicBezTo>
                <a:cubicBezTo>
                  <a:pt x="165" y="118"/>
                  <a:pt x="179" y="126"/>
                  <a:pt x="182" y="128"/>
                </a:cubicBezTo>
                <a:cubicBezTo>
                  <a:pt x="196" y="120"/>
                  <a:pt x="206" y="129"/>
                  <a:pt x="212" y="124"/>
                </a:cubicBezTo>
                <a:cubicBezTo>
                  <a:pt x="215" y="122"/>
                  <a:pt x="217" y="121"/>
                  <a:pt x="219" y="122"/>
                </a:cubicBezTo>
                <a:cubicBezTo>
                  <a:pt x="222" y="124"/>
                  <a:pt x="222" y="127"/>
                  <a:pt x="223" y="130"/>
                </a:cubicBezTo>
                <a:cubicBezTo>
                  <a:pt x="224" y="133"/>
                  <a:pt x="225" y="134"/>
                  <a:pt x="228" y="138"/>
                </a:cubicBezTo>
                <a:cubicBezTo>
                  <a:pt x="228" y="139"/>
                  <a:pt x="230" y="142"/>
                  <a:pt x="230" y="143"/>
                </a:cubicBezTo>
                <a:close/>
                <a:moveTo>
                  <a:pt x="59" y="161"/>
                </a:moveTo>
                <a:cubicBezTo>
                  <a:pt x="65" y="163"/>
                  <a:pt x="70" y="167"/>
                  <a:pt x="70" y="167"/>
                </a:cubicBezTo>
                <a:cubicBezTo>
                  <a:pt x="68" y="123"/>
                  <a:pt x="68" y="123"/>
                  <a:pt x="68" y="123"/>
                </a:cubicBezTo>
                <a:cubicBezTo>
                  <a:pt x="67" y="123"/>
                  <a:pt x="66" y="124"/>
                  <a:pt x="65" y="124"/>
                </a:cubicBezTo>
                <a:cubicBezTo>
                  <a:pt x="60" y="126"/>
                  <a:pt x="47" y="126"/>
                  <a:pt x="45" y="126"/>
                </a:cubicBezTo>
                <a:cubicBezTo>
                  <a:pt x="43" y="127"/>
                  <a:pt x="43" y="128"/>
                  <a:pt x="41" y="129"/>
                </a:cubicBezTo>
                <a:cubicBezTo>
                  <a:pt x="38" y="130"/>
                  <a:pt x="36" y="131"/>
                  <a:pt x="36" y="131"/>
                </a:cubicBezTo>
                <a:cubicBezTo>
                  <a:pt x="36" y="131"/>
                  <a:pt x="35" y="132"/>
                  <a:pt x="35" y="132"/>
                </a:cubicBezTo>
                <a:cubicBezTo>
                  <a:pt x="34" y="134"/>
                  <a:pt x="34" y="137"/>
                  <a:pt x="35" y="142"/>
                </a:cubicBezTo>
                <a:cubicBezTo>
                  <a:pt x="38" y="153"/>
                  <a:pt x="53" y="158"/>
                  <a:pt x="59" y="161"/>
                </a:cubicBezTo>
                <a:close/>
                <a:moveTo>
                  <a:pt x="36" y="72"/>
                </a:moveTo>
                <a:cubicBezTo>
                  <a:pt x="36" y="73"/>
                  <a:pt x="35" y="76"/>
                  <a:pt x="33" y="82"/>
                </a:cubicBezTo>
                <a:cubicBezTo>
                  <a:pt x="30" y="88"/>
                  <a:pt x="22" y="99"/>
                  <a:pt x="25" y="108"/>
                </a:cubicBezTo>
                <a:cubicBezTo>
                  <a:pt x="27" y="114"/>
                  <a:pt x="29" y="115"/>
                  <a:pt x="31" y="117"/>
                </a:cubicBezTo>
                <a:cubicBezTo>
                  <a:pt x="32" y="117"/>
                  <a:pt x="34" y="117"/>
                  <a:pt x="35" y="117"/>
                </a:cubicBezTo>
                <a:cubicBezTo>
                  <a:pt x="38" y="116"/>
                  <a:pt x="40" y="118"/>
                  <a:pt x="42" y="117"/>
                </a:cubicBezTo>
                <a:cubicBezTo>
                  <a:pt x="45" y="115"/>
                  <a:pt x="53" y="109"/>
                  <a:pt x="62" y="107"/>
                </a:cubicBezTo>
                <a:cubicBezTo>
                  <a:pt x="36" y="72"/>
                  <a:pt x="36" y="72"/>
                  <a:pt x="36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78" name="Freeform 290"/>
          <p:cNvSpPr>
            <a:spLocks noEditPoints="1"/>
          </p:cNvSpPr>
          <p:nvPr/>
        </p:nvSpPr>
        <p:spPr bwMode="auto">
          <a:xfrm>
            <a:off x="9584267" y="5509684"/>
            <a:ext cx="467784" cy="488949"/>
          </a:xfrm>
          <a:custGeom>
            <a:avLst/>
            <a:gdLst>
              <a:gd name="T0" fmla="*/ 672691384 w 156"/>
              <a:gd name="T1" fmla="*/ 158847415 h 162"/>
              <a:gd name="T2" fmla="*/ 672691384 w 156"/>
              <a:gd name="T3" fmla="*/ 107607335 h 162"/>
              <a:gd name="T4" fmla="*/ 667633469 w 156"/>
              <a:gd name="T5" fmla="*/ 35869866 h 162"/>
              <a:gd name="T6" fmla="*/ 687865127 w 156"/>
              <a:gd name="T7" fmla="*/ 46117429 h 162"/>
              <a:gd name="T8" fmla="*/ 723270529 w 156"/>
              <a:gd name="T9" fmla="*/ 122979812 h 162"/>
              <a:gd name="T10" fmla="*/ 682807213 w 156"/>
              <a:gd name="T11" fmla="*/ 189592368 h 162"/>
              <a:gd name="T12" fmla="*/ 561419514 w 156"/>
              <a:gd name="T13" fmla="*/ 348442046 h 162"/>
              <a:gd name="T14" fmla="*/ 586709086 w 156"/>
              <a:gd name="T15" fmla="*/ 415054602 h 162"/>
              <a:gd name="T16" fmla="*/ 566477428 w 156"/>
              <a:gd name="T17" fmla="*/ 435551992 h 162"/>
              <a:gd name="T18" fmla="*/ 571535343 w 156"/>
              <a:gd name="T19" fmla="*/ 456049381 h 162"/>
              <a:gd name="T20" fmla="*/ 576593257 w 156"/>
              <a:gd name="T21" fmla="*/ 476544508 h 162"/>
              <a:gd name="T22" fmla="*/ 627170153 w 156"/>
              <a:gd name="T23" fmla="*/ 481669421 h 162"/>
              <a:gd name="T24" fmla="*/ 652459726 w 156"/>
              <a:gd name="T25" fmla="*/ 450924468 h 162"/>
              <a:gd name="T26" fmla="*/ 667633469 w 156"/>
              <a:gd name="T27" fmla="*/ 404807039 h 162"/>
              <a:gd name="T28" fmla="*/ 586709086 w 156"/>
              <a:gd name="T29" fmla="*/ 322822006 h 162"/>
              <a:gd name="T30" fmla="*/ 789021168 w 156"/>
              <a:gd name="T31" fmla="*/ 830111467 h 162"/>
              <a:gd name="T32" fmla="*/ 652459726 w 156"/>
              <a:gd name="T33" fmla="*/ 655891576 h 162"/>
              <a:gd name="T34" fmla="*/ 536129941 w 156"/>
              <a:gd name="T35" fmla="*/ 609774146 h 162"/>
              <a:gd name="T36" fmla="*/ 536129941 w 156"/>
              <a:gd name="T37" fmla="*/ 573904280 h 162"/>
              <a:gd name="T38" fmla="*/ 500724540 w 156"/>
              <a:gd name="T39" fmla="*/ 563656717 h 162"/>
              <a:gd name="T40" fmla="*/ 556361599 w 156"/>
              <a:gd name="T41" fmla="*/ 512414374 h 162"/>
              <a:gd name="T42" fmla="*/ 566477428 w 156"/>
              <a:gd name="T43" fmla="*/ 497041898 h 162"/>
              <a:gd name="T44" fmla="*/ 647401811 w 156"/>
              <a:gd name="T45" fmla="*/ 502166811 h 162"/>
              <a:gd name="T46" fmla="*/ 708096785 w 156"/>
              <a:gd name="T47" fmla="*/ 445799555 h 162"/>
              <a:gd name="T48" fmla="*/ 723270529 w 156"/>
              <a:gd name="T49" fmla="*/ 363814522 h 162"/>
              <a:gd name="T50" fmla="*/ 723270529 w 156"/>
              <a:gd name="T51" fmla="*/ 235709797 h 162"/>
              <a:gd name="T52" fmla="*/ 748557852 w 156"/>
              <a:gd name="T53" fmla="*/ 199842194 h 162"/>
              <a:gd name="T54" fmla="*/ 682807213 w 156"/>
              <a:gd name="T55" fmla="*/ 271579664 h 162"/>
              <a:gd name="T56" fmla="*/ 617054324 w 156"/>
              <a:gd name="T57" fmla="*/ 251082274 h 162"/>
              <a:gd name="T58" fmla="*/ 308528287 w 156"/>
              <a:gd name="T59" fmla="*/ 215214671 h 162"/>
              <a:gd name="T60" fmla="*/ 440031815 w 156"/>
              <a:gd name="T61" fmla="*/ 184469718 h 162"/>
              <a:gd name="T62" fmla="*/ 561419514 w 156"/>
              <a:gd name="T63" fmla="*/ 148599852 h 162"/>
              <a:gd name="T64" fmla="*/ 470377053 w 156"/>
              <a:gd name="T65" fmla="*/ 51242343 h 162"/>
              <a:gd name="T66" fmla="*/ 318644116 w 156"/>
              <a:gd name="T67" fmla="*/ 61489906 h 162"/>
              <a:gd name="T68" fmla="*/ 257949142 w 156"/>
              <a:gd name="T69" fmla="*/ 143474938 h 162"/>
              <a:gd name="T70" fmla="*/ 222543740 w 156"/>
              <a:gd name="T71" fmla="*/ 210089758 h 162"/>
              <a:gd name="T72" fmla="*/ 116329785 w 156"/>
              <a:gd name="T73" fmla="*/ 245959624 h 162"/>
              <a:gd name="T74" fmla="*/ 182082673 w 156"/>
              <a:gd name="T75" fmla="*/ 286952140 h 162"/>
              <a:gd name="T76" fmla="*/ 232659569 w 156"/>
              <a:gd name="T77" fmla="*/ 327944656 h 162"/>
              <a:gd name="T78" fmla="*/ 242775398 w 156"/>
              <a:gd name="T79" fmla="*/ 409931952 h 162"/>
              <a:gd name="T80" fmla="*/ 288296629 w 156"/>
              <a:gd name="T81" fmla="*/ 497041898 h 162"/>
              <a:gd name="T82" fmla="*/ 364163097 w 156"/>
              <a:gd name="T83" fmla="*/ 553406890 h 162"/>
              <a:gd name="T84" fmla="*/ 440031815 w 156"/>
              <a:gd name="T85" fmla="*/ 589276756 h 162"/>
              <a:gd name="T86" fmla="*/ 440031815 w 156"/>
              <a:gd name="T87" fmla="*/ 635394186 h 162"/>
              <a:gd name="T88" fmla="*/ 460263473 w 156"/>
              <a:gd name="T89" fmla="*/ 686636529 h 162"/>
              <a:gd name="T90" fmla="*/ 485550796 w 156"/>
              <a:gd name="T91" fmla="*/ 789118951 h 162"/>
              <a:gd name="T92" fmla="*/ 470377053 w 156"/>
              <a:gd name="T93" fmla="*/ 794241601 h 162"/>
              <a:gd name="T94" fmla="*/ 338873525 w 156"/>
              <a:gd name="T95" fmla="*/ 625146623 h 162"/>
              <a:gd name="T96" fmla="*/ 227601655 w 156"/>
              <a:gd name="T97" fmla="*/ 594401670 h 162"/>
              <a:gd name="T98" fmla="*/ 15173744 w 156"/>
              <a:gd name="T99" fmla="*/ 737876608 h 162"/>
              <a:gd name="T100" fmla="*/ 566477428 w 156"/>
              <a:gd name="T101" fmla="*/ 830111467 h 162"/>
              <a:gd name="T102" fmla="*/ 531072027 w 156"/>
              <a:gd name="T103" fmla="*/ 640519099 h 162"/>
              <a:gd name="T104" fmla="*/ 576593257 w 156"/>
              <a:gd name="T105" fmla="*/ 830111467 h 16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56" h="162">
                <a:moveTo>
                  <a:pt x="135" y="37"/>
                </a:moveTo>
                <a:cubicBezTo>
                  <a:pt x="133" y="35"/>
                  <a:pt x="132" y="33"/>
                  <a:pt x="133" y="31"/>
                </a:cubicBezTo>
                <a:cubicBezTo>
                  <a:pt x="134" y="30"/>
                  <a:pt x="134" y="28"/>
                  <a:pt x="135" y="26"/>
                </a:cubicBezTo>
                <a:cubicBezTo>
                  <a:pt x="135" y="24"/>
                  <a:pt x="135" y="22"/>
                  <a:pt x="133" y="21"/>
                </a:cubicBezTo>
                <a:cubicBezTo>
                  <a:pt x="131" y="19"/>
                  <a:pt x="130" y="18"/>
                  <a:pt x="130" y="16"/>
                </a:cubicBezTo>
                <a:cubicBezTo>
                  <a:pt x="129" y="12"/>
                  <a:pt x="130" y="9"/>
                  <a:pt x="132" y="7"/>
                </a:cubicBezTo>
                <a:cubicBezTo>
                  <a:pt x="135" y="6"/>
                  <a:pt x="137" y="3"/>
                  <a:pt x="139" y="0"/>
                </a:cubicBezTo>
                <a:cubicBezTo>
                  <a:pt x="140" y="4"/>
                  <a:pt x="139" y="7"/>
                  <a:pt x="136" y="9"/>
                </a:cubicBezTo>
                <a:cubicBezTo>
                  <a:pt x="134" y="12"/>
                  <a:pt x="135" y="15"/>
                  <a:pt x="137" y="17"/>
                </a:cubicBezTo>
                <a:cubicBezTo>
                  <a:pt x="140" y="20"/>
                  <a:pt x="142" y="22"/>
                  <a:pt x="143" y="24"/>
                </a:cubicBezTo>
                <a:cubicBezTo>
                  <a:pt x="145" y="27"/>
                  <a:pt x="144" y="29"/>
                  <a:pt x="141" y="31"/>
                </a:cubicBezTo>
                <a:cubicBezTo>
                  <a:pt x="138" y="32"/>
                  <a:pt x="136" y="34"/>
                  <a:pt x="135" y="37"/>
                </a:cubicBezTo>
                <a:close/>
                <a:moveTo>
                  <a:pt x="116" y="63"/>
                </a:moveTo>
                <a:cubicBezTo>
                  <a:pt x="115" y="63"/>
                  <a:pt x="113" y="65"/>
                  <a:pt x="111" y="68"/>
                </a:cubicBezTo>
                <a:cubicBezTo>
                  <a:pt x="112" y="69"/>
                  <a:pt x="113" y="72"/>
                  <a:pt x="115" y="75"/>
                </a:cubicBezTo>
                <a:cubicBezTo>
                  <a:pt x="116" y="78"/>
                  <a:pt x="117" y="80"/>
                  <a:pt x="116" y="81"/>
                </a:cubicBezTo>
                <a:cubicBezTo>
                  <a:pt x="116" y="82"/>
                  <a:pt x="116" y="83"/>
                  <a:pt x="114" y="83"/>
                </a:cubicBezTo>
                <a:cubicBezTo>
                  <a:pt x="113" y="83"/>
                  <a:pt x="112" y="84"/>
                  <a:pt x="112" y="85"/>
                </a:cubicBezTo>
                <a:cubicBezTo>
                  <a:pt x="111" y="86"/>
                  <a:pt x="111" y="87"/>
                  <a:pt x="112" y="88"/>
                </a:cubicBezTo>
                <a:cubicBezTo>
                  <a:pt x="112" y="89"/>
                  <a:pt x="113" y="89"/>
                  <a:pt x="113" y="89"/>
                </a:cubicBezTo>
                <a:cubicBezTo>
                  <a:pt x="113" y="89"/>
                  <a:pt x="113" y="90"/>
                  <a:pt x="113" y="91"/>
                </a:cubicBezTo>
                <a:cubicBezTo>
                  <a:pt x="113" y="92"/>
                  <a:pt x="113" y="93"/>
                  <a:pt x="114" y="93"/>
                </a:cubicBezTo>
                <a:cubicBezTo>
                  <a:pt x="115" y="93"/>
                  <a:pt x="117" y="93"/>
                  <a:pt x="120" y="94"/>
                </a:cubicBezTo>
                <a:cubicBezTo>
                  <a:pt x="123" y="95"/>
                  <a:pt x="125" y="95"/>
                  <a:pt x="124" y="94"/>
                </a:cubicBezTo>
                <a:cubicBezTo>
                  <a:pt x="123" y="92"/>
                  <a:pt x="123" y="90"/>
                  <a:pt x="124" y="90"/>
                </a:cubicBezTo>
                <a:cubicBezTo>
                  <a:pt x="126" y="89"/>
                  <a:pt x="127" y="89"/>
                  <a:pt x="129" y="88"/>
                </a:cubicBezTo>
                <a:cubicBezTo>
                  <a:pt x="131" y="88"/>
                  <a:pt x="132" y="87"/>
                  <a:pt x="133" y="86"/>
                </a:cubicBezTo>
                <a:cubicBezTo>
                  <a:pt x="134" y="85"/>
                  <a:pt x="134" y="82"/>
                  <a:pt x="132" y="79"/>
                </a:cubicBezTo>
                <a:cubicBezTo>
                  <a:pt x="129" y="72"/>
                  <a:pt x="130" y="66"/>
                  <a:pt x="136" y="61"/>
                </a:cubicBezTo>
                <a:cubicBezTo>
                  <a:pt x="132" y="62"/>
                  <a:pt x="125" y="62"/>
                  <a:pt x="116" y="63"/>
                </a:cubicBezTo>
                <a:close/>
                <a:moveTo>
                  <a:pt x="114" y="162"/>
                </a:moveTo>
                <a:cubicBezTo>
                  <a:pt x="156" y="162"/>
                  <a:pt x="156" y="162"/>
                  <a:pt x="156" y="162"/>
                </a:cubicBezTo>
                <a:cubicBezTo>
                  <a:pt x="153" y="156"/>
                  <a:pt x="150" y="149"/>
                  <a:pt x="146" y="141"/>
                </a:cubicBezTo>
                <a:cubicBezTo>
                  <a:pt x="142" y="133"/>
                  <a:pt x="136" y="129"/>
                  <a:pt x="129" y="128"/>
                </a:cubicBezTo>
                <a:cubicBezTo>
                  <a:pt x="123" y="127"/>
                  <a:pt x="119" y="126"/>
                  <a:pt x="117" y="125"/>
                </a:cubicBezTo>
                <a:cubicBezTo>
                  <a:pt x="114" y="123"/>
                  <a:pt x="111" y="121"/>
                  <a:pt x="106" y="119"/>
                </a:cubicBezTo>
                <a:cubicBezTo>
                  <a:pt x="105" y="119"/>
                  <a:pt x="105" y="118"/>
                  <a:pt x="106" y="116"/>
                </a:cubicBezTo>
                <a:cubicBezTo>
                  <a:pt x="107" y="114"/>
                  <a:pt x="107" y="112"/>
                  <a:pt x="106" y="112"/>
                </a:cubicBezTo>
                <a:cubicBezTo>
                  <a:pt x="105" y="112"/>
                  <a:pt x="103" y="111"/>
                  <a:pt x="101" y="111"/>
                </a:cubicBezTo>
                <a:cubicBezTo>
                  <a:pt x="99" y="110"/>
                  <a:pt x="98" y="109"/>
                  <a:pt x="99" y="110"/>
                </a:cubicBezTo>
                <a:cubicBezTo>
                  <a:pt x="103" y="111"/>
                  <a:pt x="106" y="111"/>
                  <a:pt x="109" y="109"/>
                </a:cubicBezTo>
                <a:cubicBezTo>
                  <a:pt x="112" y="108"/>
                  <a:pt x="112" y="105"/>
                  <a:pt x="110" y="100"/>
                </a:cubicBezTo>
                <a:cubicBezTo>
                  <a:pt x="110" y="100"/>
                  <a:pt x="110" y="99"/>
                  <a:pt x="111" y="99"/>
                </a:cubicBezTo>
                <a:cubicBezTo>
                  <a:pt x="112" y="98"/>
                  <a:pt x="112" y="98"/>
                  <a:pt x="112" y="97"/>
                </a:cubicBezTo>
                <a:cubicBezTo>
                  <a:pt x="114" y="98"/>
                  <a:pt x="118" y="99"/>
                  <a:pt x="121" y="100"/>
                </a:cubicBezTo>
                <a:cubicBezTo>
                  <a:pt x="125" y="101"/>
                  <a:pt x="127" y="101"/>
                  <a:pt x="128" y="98"/>
                </a:cubicBezTo>
                <a:cubicBezTo>
                  <a:pt x="130" y="93"/>
                  <a:pt x="132" y="90"/>
                  <a:pt x="134" y="92"/>
                </a:cubicBezTo>
                <a:cubicBezTo>
                  <a:pt x="136" y="93"/>
                  <a:pt x="138" y="91"/>
                  <a:pt x="140" y="87"/>
                </a:cubicBezTo>
                <a:cubicBezTo>
                  <a:pt x="141" y="82"/>
                  <a:pt x="141" y="79"/>
                  <a:pt x="139" y="78"/>
                </a:cubicBezTo>
                <a:cubicBezTo>
                  <a:pt x="138" y="77"/>
                  <a:pt x="139" y="75"/>
                  <a:pt x="143" y="71"/>
                </a:cubicBezTo>
                <a:cubicBezTo>
                  <a:pt x="150" y="63"/>
                  <a:pt x="150" y="56"/>
                  <a:pt x="144" y="50"/>
                </a:cubicBezTo>
                <a:cubicBezTo>
                  <a:pt x="142" y="48"/>
                  <a:pt x="142" y="47"/>
                  <a:pt x="143" y="46"/>
                </a:cubicBezTo>
                <a:cubicBezTo>
                  <a:pt x="143" y="46"/>
                  <a:pt x="144" y="45"/>
                  <a:pt x="145" y="44"/>
                </a:cubicBezTo>
                <a:cubicBezTo>
                  <a:pt x="147" y="43"/>
                  <a:pt x="147" y="41"/>
                  <a:pt x="148" y="39"/>
                </a:cubicBezTo>
                <a:cubicBezTo>
                  <a:pt x="149" y="37"/>
                  <a:pt x="149" y="34"/>
                  <a:pt x="147" y="30"/>
                </a:cubicBezTo>
                <a:cubicBezTo>
                  <a:pt x="135" y="37"/>
                  <a:pt x="131" y="45"/>
                  <a:pt x="135" y="53"/>
                </a:cubicBezTo>
                <a:cubicBezTo>
                  <a:pt x="133" y="52"/>
                  <a:pt x="132" y="51"/>
                  <a:pt x="131" y="51"/>
                </a:cubicBezTo>
                <a:cubicBezTo>
                  <a:pt x="129" y="51"/>
                  <a:pt x="126" y="50"/>
                  <a:pt x="122" y="49"/>
                </a:cubicBezTo>
                <a:cubicBezTo>
                  <a:pt x="111" y="46"/>
                  <a:pt x="100" y="44"/>
                  <a:pt x="88" y="43"/>
                </a:cubicBezTo>
                <a:cubicBezTo>
                  <a:pt x="76" y="42"/>
                  <a:pt x="67" y="41"/>
                  <a:pt x="61" y="42"/>
                </a:cubicBezTo>
                <a:cubicBezTo>
                  <a:pt x="61" y="36"/>
                  <a:pt x="61" y="36"/>
                  <a:pt x="61" y="36"/>
                </a:cubicBezTo>
                <a:cubicBezTo>
                  <a:pt x="66" y="34"/>
                  <a:pt x="75" y="34"/>
                  <a:pt x="87" y="36"/>
                </a:cubicBezTo>
                <a:cubicBezTo>
                  <a:pt x="99" y="37"/>
                  <a:pt x="107" y="39"/>
                  <a:pt x="111" y="41"/>
                </a:cubicBezTo>
                <a:cubicBezTo>
                  <a:pt x="112" y="42"/>
                  <a:pt x="112" y="38"/>
                  <a:pt x="111" y="29"/>
                </a:cubicBezTo>
                <a:cubicBezTo>
                  <a:pt x="109" y="21"/>
                  <a:pt x="107" y="15"/>
                  <a:pt x="103" y="13"/>
                </a:cubicBezTo>
                <a:cubicBezTo>
                  <a:pt x="101" y="12"/>
                  <a:pt x="98" y="11"/>
                  <a:pt x="93" y="10"/>
                </a:cubicBezTo>
                <a:cubicBezTo>
                  <a:pt x="89" y="10"/>
                  <a:pt x="84" y="10"/>
                  <a:pt x="78" y="10"/>
                </a:cubicBezTo>
                <a:cubicBezTo>
                  <a:pt x="73" y="10"/>
                  <a:pt x="68" y="11"/>
                  <a:pt x="63" y="12"/>
                </a:cubicBezTo>
                <a:cubicBezTo>
                  <a:pt x="58" y="13"/>
                  <a:pt x="55" y="14"/>
                  <a:pt x="53" y="16"/>
                </a:cubicBezTo>
                <a:cubicBezTo>
                  <a:pt x="50" y="19"/>
                  <a:pt x="50" y="23"/>
                  <a:pt x="51" y="28"/>
                </a:cubicBezTo>
                <a:cubicBezTo>
                  <a:pt x="52" y="34"/>
                  <a:pt x="52" y="38"/>
                  <a:pt x="51" y="41"/>
                </a:cubicBezTo>
                <a:cubicBezTo>
                  <a:pt x="50" y="41"/>
                  <a:pt x="48" y="41"/>
                  <a:pt x="44" y="41"/>
                </a:cubicBezTo>
                <a:cubicBezTo>
                  <a:pt x="40" y="42"/>
                  <a:pt x="36" y="43"/>
                  <a:pt x="32" y="44"/>
                </a:cubicBezTo>
                <a:cubicBezTo>
                  <a:pt x="28" y="45"/>
                  <a:pt x="25" y="46"/>
                  <a:pt x="23" y="48"/>
                </a:cubicBezTo>
                <a:cubicBezTo>
                  <a:pt x="21" y="50"/>
                  <a:pt x="21" y="51"/>
                  <a:pt x="24" y="54"/>
                </a:cubicBezTo>
                <a:cubicBezTo>
                  <a:pt x="27" y="56"/>
                  <a:pt x="31" y="57"/>
                  <a:pt x="36" y="56"/>
                </a:cubicBezTo>
                <a:cubicBezTo>
                  <a:pt x="42" y="56"/>
                  <a:pt x="46" y="56"/>
                  <a:pt x="48" y="57"/>
                </a:cubicBezTo>
                <a:cubicBezTo>
                  <a:pt x="47" y="60"/>
                  <a:pt x="46" y="62"/>
                  <a:pt x="46" y="64"/>
                </a:cubicBezTo>
                <a:cubicBezTo>
                  <a:pt x="46" y="66"/>
                  <a:pt x="46" y="68"/>
                  <a:pt x="46" y="70"/>
                </a:cubicBezTo>
                <a:cubicBezTo>
                  <a:pt x="46" y="74"/>
                  <a:pt x="47" y="77"/>
                  <a:pt x="48" y="80"/>
                </a:cubicBezTo>
                <a:cubicBezTo>
                  <a:pt x="50" y="82"/>
                  <a:pt x="51" y="85"/>
                  <a:pt x="53" y="88"/>
                </a:cubicBezTo>
                <a:cubicBezTo>
                  <a:pt x="55" y="92"/>
                  <a:pt x="56" y="95"/>
                  <a:pt x="57" y="97"/>
                </a:cubicBezTo>
                <a:cubicBezTo>
                  <a:pt x="57" y="98"/>
                  <a:pt x="58" y="100"/>
                  <a:pt x="59" y="104"/>
                </a:cubicBezTo>
                <a:cubicBezTo>
                  <a:pt x="59" y="105"/>
                  <a:pt x="64" y="107"/>
                  <a:pt x="72" y="108"/>
                </a:cubicBezTo>
                <a:cubicBezTo>
                  <a:pt x="81" y="109"/>
                  <a:pt x="86" y="111"/>
                  <a:pt x="88" y="112"/>
                </a:cubicBezTo>
                <a:cubicBezTo>
                  <a:pt x="88" y="113"/>
                  <a:pt x="88" y="114"/>
                  <a:pt x="87" y="115"/>
                </a:cubicBezTo>
                <a:cubicBezTo>
                  <a:pt x="85" y="117"/>
                  <a:pt x="85" y="118"/>
                  <a:pt x="85" y="119"/>
                </a:cubicBezTo>
                <a:cubicBezTo>
                  <a:pt x="85" y="121"/>
                  <a:pt x="86" y="123"/>
                  <a:pt x="87" y="124"/>
                </a:cubicBezTo>
                <a:cubicBezTo>
                  <a:pt x="89" y="126"/>
                  <a:pt x="90" y="128"/>
                  <a:pt x="90" y="129"/>
                </a:cubicBezTo>
                <a:cubicBezTo>
                  <a:pt x="90" y="129"/>
                  <a:pt x="91" y="131"/>
                  <a:pt x="91" y="134"/>
                </a:cubicBezTo>
                <a:cubicBezTo>
                  <a:pt x="92" y="137"/>
                  <a:pt x="93" y="140"/>
                  <a:pt x="94" y="144"/>
                </a:cubicBezTo>
                <a:cubicBezTo>
                  <a:pt x="95" y="147"/>
                  <a:pt x="96" y="151"/>
                  <a:pt x="96" y="154"/>
                </a:cubicBezTo>
                <a:cubicBezTo>
                  <a:pt x="97" y="157"/>
                  <a:pt x="98" y="159"/>
                  <a:pt x="98" y="159"/>
                </a:cubicBezTo>
                <a:cubicBezTo>
                  <a:pt x="97" y="161"/>
                  <a:pt x="96" y="159"/>
                  <a:pt x="93" y="155"/>
                </a:cubicBezTo>
                <a:cubicBezTo>
                  <a:pt x="89" y="151"/>
                  <a:pt x="85" y="145"/>
                  <a:pt x="81" y="139"/>
                </a:cubicBezTo>
                <a:cubicBezTo>
                  <a:pt x="76" y="133"/>
                  <a:pt x="72" y="128"/>
                  <a:pt x="67" y="122"/>
                </a:cubicBezTo>
                <a:cubicBezTo>
                  <a:pt x="62" y="116"/>
                  <a:pt x="58" y="113"/>
                  <a:pt x="54" y="112"/>
                </a:cubicBezTo>
                <a:cubicBezTo>
                  <a:pt x="52" y="112"/>
                  <a:pt x="49" y="113"/>
                  <a:pt x="45" y="116"/>
                </a:cubicBezTo>
                <a:cubicBezTo>
                  <a:pt x="41" y="119"/>
                  <a:pt x="34" y="124"/>
                  <a:pt x="25" y="130"/>
                </a:cubicBezTo>
                <a:cubicBezTo>
                  <a:pt x="13" y="137"/>
                  <a:pt x="6" y="142"/>
                  <a:pt x="3" y="144"/>
                </a:cubicBezTo>
                <a:cubicBezTo>
                  <a:pt x="1" y="146"/>
                  <a:pt x="0" y="152"/>
                  <a:pt x="0" y="162"/>
                </a:cubicBezTo>
                <a:cubicBezTo>
                  <a:pt x="112" y="162"/>
                  <a:pt x="112" y="162"/>
                  <a:pt x="112" y="162"/>
                </a:cubicBezTo>
                <a:cubicBezTo>
                  <a:pt x="112" y="157"/>
                  <a:pt x="111" y="150"/>
                  <a:pt x="109" y="141"/>
                </a:cubicBezTo>
                <a:cubicBezTo>
                  <a:pt x="106" y="132"/>
                  <a:pt x="105" y="126"/>
                  <a:pt x="105" y="125"/>
                </a:cubicBezTo>
                <a:cubicBezTo>
                  <a:pt x="108" y="127"/>
                  <a:pt x="110" y="133"/>
                  <a:pt x="111" y="142"/>
                </a:cubicBezTo>
                <a:cubicBezTo>
                  <a:pt x="112" y="150"/>
                  <a:pt x="113" y="157"/>
                  <a:pt x="114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79" name="Freeform 291"/>
          <p:cNvSpPr>
            <a:spLocks noEditPoints="1"/>
          </p:cNvSpPr>
          <p:nvPr/>
        </p:nvSpPr>
        <p:spPr bwMode="auto">
          <a:xfrm>
            <a:off x="10435167" y="5499100"/>
            <a:ext cx="450851" cy="510117"/>
          </a:xfrm>
          <a:custGeom>
            <a:avLst/>
            <a:gdLst>
              <a:gd name="T0" fmla="*/ 274410258 w 150"/>
              <a:gd name="T1" fmla="*/ 20259160 h 170"/>
              <a:gd name="T2" fmla="*/ 431941990 w 150"/>
              <a:gd name="T3" fmla="*/ 30388740 h 170"/>
              <a:gd name="T4" fmla="*/ 508165058 w 150"/>
              <a:gd name="T5" fmla="*/ 86102555 h 170"/>
              <a:gd name="T6" fmla="*/ 528491660 w 150"/>
              <a:gd name="T7" fmla="*/ 91166219 h 170"/>
              <a:gd name="T8" fmla="*/ 558982691 w 150"/>
              <a:gd name="T9" fmla="*/ 96232135 h 170"/>
              <a:gd name="T10" fmla="*/ 589471467 w 150"/>
              <a:gd name="T11" fmla="*/ 86102555 h 170"/>
              <a:gd name="T12" fmla="*/ 599635895 w 150"/>
              <a:gd name="T13" fmla="*/ 96232135 h 170"/>
              <a:gd name="T14" fmla="*/ 614881410 w 150"/>
              <a:gd name="T15" fmla="*/ 101295799 h 170"/>
              <a:gd name="T16" fmla="*/ 614881410 w 150"/>
              <a:gd name="T17" fmla="*/ 111425379 h 170"/>
              <a:gd name="T18" fmla="*/ 660615702 w 150"/>
              <a:gd name="T19" fmla="*/ 136750454 h 170"/>
              <a:gd name="T20" fmla="*/ 614881410 w 150"/>
              <a:gd name="T21" fmla="*/ 126620874 h 170"/>
              <a:gd name="T22" fmla="*/ 630124672 w 150"/>
              <a:gd name="T23" fmla="*/ 141814119 h 170"/>
              <a:gd name="T24" fmla="*/ 569144865 w 150"/>
              <a:gd name="T25" fmla="*/ 126620874 h 170"/>
              <a:gd name="T26" fmla="*/ 589471467 w 150"/>
              <a:gd name="T27" fmla="*/ 141814119 h 170"/>
              <a:gd name="T28" fmla="*/ 538656088 w 150"/>
              <a:gd name="T29" fmla="*/ 126620874 h 170"/>
              <a:gd name="T30" fmla="*/ 558982691 w 150"/>
              <a:gd name="T31" fmla="*/ 146880034 h 170"/>
              <a:gd name="T32" fmla="*/ 518329486 w 150"/>
              <a:gd name="T33" fmla="*/ 172205109 h 170"/>
              <a:gd name="T34" fmla="*/ 355716667 w 150"/>
              <a:gd name="T35" fmla="*/ 121554959 h 170"/>
              <a:gd name="T36" fmla="*/ 5081087 w 150"/>
              <a:gd name="T37" fmla="*/ 65843395 h 170"/>
              <a:gd name="T38" fmla="*/ 81306409 w 150"/>
              <a:gd name="T39" fmla="*/ 121554959 h 170"/>
              <a:gd name="T40" fmla="*/ 198184936 w 150"/>
              <a:gd name="T41" fmla="*/ 172205109 h 170"/>
              <a:gd name="T42" fmla="*/ 182939421 w 150"/>
              <a:gd name="T43" fmla="*/ 177268774 h 170"/>
              <a:gd name="T44" fmla="*/ 193103849 w 150"/>
              <a:gd name="T45" fmla="*/ 182334689 h 170"/>
              <a:gd name="T46" fmla="*/ 157531731 w 150"/>
              <a:gd name="T47" fmla="*/ 238046254 h 170"/>
              <a:gd name="T48" fmla="*/ 177858334 w 150"/>
              <a:gd name="T49" fmla="*/ 263371329 h 170"/>
              <a:gd name="T50" fmla="*/ 177858334 w 150"/>
              <a:gd name="T51" fmla="*/ 288696404 h 170"/>
              <a:gd name="T52" fmla="*/ 177858334 w 150"/>
              <a:gd name="T53" fmla="*/ 314019228 h 170"/>
              <a:gd name="T54" fmla="*/ 177858334 w 150"/>
              <a:gd name="T55" fmla="*/ 349473883 h 170"/>
              <a:gd name="T56" fmla="*/ 249000315 w 150"/>
              <a:gd name="T57" fmla="*/ 374796708 h 170"/>
              <a:gd name="T58" fmla="*/ 249000315 w 150"/>
              <a:gd name="T59" fmla="*/ 460899263 h 170"/>
              <a:gd name="T60" fmla="*/ 121959614 w 150"/>
              <a:gd name="T61" fmla="*/ 471028842 h 170"/>
              <a:gd name="T62" fmla="*/ 86387496 w 150"/>
              <a:gd name="T63" fmla="*/ 673622692 h 170"/>
              <a:gd name="T64" fmla="*/ 91470838 w 150"/>
              <a:gd name="T65" fmla="*/ 850891466 h 170"/>
              <a:gd name="T66" fmla="*/ 350633326 w 150"/>
              <a:gd name="T67" fmla="*/ 602715632 h 170"/>
              <a:gd name="T68" fmla="*/ 564063778 w 150"/>
              <a:gd name="T69" fmla="*/ 506483498 h 170"/>
              <a:gd name="T70" fmla="*/ 426858648 w 150"/>
              <a:gd name="T71" fmla="*/ 359603463 h 170"/>
              <a:gd name="T72" fmla="*/ 533575001 w 150"/>
              <a:gd name="T73" fmla="*/ 364667128 h 170"/>
              <a:gd name="T74" fmla="*/ 533575001 w 150"/>
              <a:gd name="T75" fmla="*/ 283630489 h 170"/>
              <a:gd name="T76" fmla="*/ 757167627 w 150"/>
              <a:gd name="T77" fmla="*/ 308955564 h 170"/>
              <a:gd name="T78" fmla="*/ 630124672 w 150"/>
              <a:gd name="T79" fmla="*/ 238046254 h 170"/>
              <a:gd name="T80" fmla="*/ 477676281 w 150"/>
              <a:gd name="T81" fmla="*/ 182334689 h 170"/>
              <a:gd name="T82" fmla="*/ 203266023 w 150"/>
              <a:gd name="T83" fmla="*/ 86102555 h 170"/>
              <a:gd name="T84" fmla="*/ 5081087 w 150"/>
              <a:gd name="T85" fmla="*/ 65843395 h 170"/>
              <a:gd name="T86" fmla="*/ 426858648 w 150"/>
              <a:gd name="T87" fmla="*/ 384926288 h 170"/>
              <a:gd name="T88" fmla="*/ 401450959 w 150"/>
              <a:gd name="T89" fmla="*/ 339344303 h 170"/>
              <a:gd name="T90" fmla="*/ 416696474 w 150"/>
              <a:gd name="T91" fmla="*/ 379862623 h 170"/>
              <a:gd name="T92" fmla="*/ 401450959 w 150"/>
              <a:gd name="T93" fmla="*/ 349473883 h 170"/>
              <a:gd name="T94" fmla="*/ 640289100 w 150"/>
              <a:gd name="T95" fmla="*/ 552065482 h 170"/>
              <a:gd name="T96" fmla="*/ 696187820 w 150"/>
              <a:gd name="T97" fmla="*/ 734400171 h 170"/>
              <a:gd name="T98" fmla="*/ 132124042 w 150"/>
              <a:gd name="T99" fmla="*/ 861021046 h 170"/>
              <a:gd name="T100" fmla="*/ 365878842 w 150"/>
              <a:gd name="T101" fmla="*/ 663493112 h 170"/>
              <a:gd name="T102" fmla="*/ 579309293 w 150"/>
              <a:gd name="T103" fmla="*/ 511547162 h 170"/>
              <a:gd name="T104" fmla="*/ 411615387 w 150"/>
              <a:gd name="T105" fmla="*/ 324148808 h 170"/>
              <a:gd name="T106" fmla="*/ 391288785 w 150"/>
              <a:gd name="T107" fmla="*/ 324148808 h 17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50" h="170">
                <a:moveTo>
                  <a:pt x="38" y="13"/>
                </a:moveTo>
                <a:cubicBezTo>
                  <a:pt x="42" y="10"/>
                  <a:pt x="47" y="7"/>
                  <a:pt x="54" y="4"/>
                </a:cubicBezTo>
                <a:cubicBezTo>
                  <a:pt x="61" y="1"/>
                  <a:pt x="68" y="0"/>
                  <a:pt x="75" y="0"/>
                </a:cubicBezTo>
                <a:cubicBezTo>
                  <a:pt x="80" y="0"/>
                  <a:pt x="83" y="2"/>
                  <a:pt x="85" y="6"/>
                </a:cubicBezTo>
                <a:cubicBezTo>
                  <a:pt x="87" y="10"/>
                  <a:pt x="91" y="13"/>
                  <a:pt x="97" y="14"/>
                </a:cubicBezTo>
                <a:cubicBezTo>
                  <a:pt x="99" y="14"/>
                  <a:pt x="100" y="15"/>
                  <a:pt x="100" y="17"/>
                </a:cubicBezTo>
                <a:cubicBezTo>
                  <a:pt x="100" y="19"/>
                  <a:pt x="100" y="20"/>
                  <a:pt x="100" y="21"/>
                </a:cubicBezTo>
                <a:cubicBezTo>
                  <a:pt x="100" y="21"/>
                  <a:pt x="101" y="20"/>
                  <a:pt x="104" y="18"/>
                </a:cubicBezTo>
                <a:cubicBezTo>
                  <a:pt x="107" y="16"/>
                  <a:pt x="110" y="16"/>
                  <a:pt x="114" y="16"/>
                </a:cubicBezTo>
                <a:cubicBezTo>
                  <a:pt x="112" y="17"/>
                  <a:pt x="111" y="18"/>
                  <a:pt x="110" y="19"/>
                </a:cubicBezTo>
                <a:cubicBezTo>
                  <a:pt x="109" y="20"/>
                  <a:pt x="108" y="20"/>
                  <a:pt x="108" y="21"/>
                </a:cubicBezTo>
                <a:cubicBezTo>
                  <a:pt x="110" y="19"/>
                  <a:pt x="113" y="17"/>
                  <a:pt x="116" y="17"/>
                </a:cubicBezTo>
                <a:cubicBezTo>
                  <a:pt x="119" y="17"/>
                  <a:pt x="120" y="17"/>
                  <a:pt x="120" y="18"/>
                </a:cubicBezTo>
                <a:cubicBezTo>
                  <a:pt x="120" y="18"/>
                  <a:pt x="119" y="18"/>
                  <a:pt x="118" y="19"/>
                </a:cubicBezTo>
                <a:cubicBezTo>
                  <a:pt x="117" y="19"/>
                  <a:pt x="116" y="19"/>
                  <a:pt x="115" y="20"/>
                </a:cubicBezTo>
                <a:cubicBezTo>
                  <a:pt x="117" y="19"/>
                  <a:pt x="119" y="19"/>
                  <a:pt x="121" y="20"/>
                </a:cubicBezTo>
                <a:cubicBezTo>
                  <a:pt x="124" y="20"/>
                  <a:pt x="125" y="21"/>
                  <a:pt x="126" y="22"/>
                </a:cubicBezTo>
                <a:cubicBezTo>
                  <a:pt x="123" y="21"/>
                  <a:pt x="121" y="21"/>
                  <a:pt x="121" y="22"/>
                </a:cubicBezTo>
                <a:cubicBezTo>
                  <a:pt x="121" y="22"/>
                  <a:pt x="122" y="22"/>
                  <a:pt x="124" y="23"/>
                </a:cubicBezTo>
                <a:cubicBezTo>
                  <a:pt x="126" y="23"/>
                  <a:pt x="128" y="25"/>
                  <a:pt x="130" y="27"/>
                </a:cubicBezTo>
                <a:cubicBezTo>
                  <a:pt x="128" y="27"/>
                  <a:pt x="126" y="26"/>
                  <a:pt x="124" y="26"/>
                </a:cubicBezTo>
                <a:cubicBezTo>
                  <a:pt x="122" y="25"/>
                  <a:pt x="121" y="25"/>
                  <a:pt x="121" y="25"/>
                </a:cubicBezTo>
                <a:cubicBezTo>
                  <a:pt x="120" y="26"/>
                  <a:pt x="121" y="26"/>
                  <a:pt x="122" y="27"/>
                </a:cubicBezTo>
                <a:cubicBezTo>
                  <a:pt x="122" y="27"/>
                  <a:pt x="123" y="28"/>
                  <a:pt x="124" y="28"/>
                </a:cubicBezTo>
                <a:cubicBezTo>
                  <a:pt x="123" y="29"/>
                  <a:pt x="121" y="29"/>
                  <a:pt x="119" y="28"/>
                </a:cubicBezTo>
                <a:cubicBezTo>
                  <a:pt x="117" y="28"/>
                  <a:pt x="114" y="26"/>
                  <a:pt x="112" y="25"/>
                </a:cubicBezTo>
                <a:cubicBezTo>
                  <a:pt x="112" y="26"/>
                  <a:pt x="112" y="26"/>
                  <a:pt x="113" y="27"/>
                </a:cubicBezTo>
                <a:cubicBezTo>
                  <a:pt x="114" y="27"/>
                  <a:pt x="115" y="28"/>
                  <a:pt x="116" y="28"/>
                </a:cubicBezTo>
                <a:cubicBezTo>
                  <a:pt x="114" y="29"/>
                  <a:pt x="112" y="29"/>
                  <a:pt x="110" y="28"/>
                </a:cubicBezTo>
                <a:cubicBezTo>
                  <a:pt x="108" y="27"/>
                  <a:pt x="107" y="26"/>
                  <a:pt x="106" y="25"/>
                </a:cubicBezTo>
                <a:cubicBezTo>
                  <a:pt x="106" y="25"/>
                  <a:pt x="106" y="26"/>
                  <a:pt x="107" y="27"/>
                </a:cubicBezTo>
                <a:cubicBezTo>
                  <a:pt x="107" y="28"/>
                  <a:pt x="108" y="29"/>
                  <a:pt x="110" y="29"/>
                </a:cubicBezTo>
                <a:cubicBezTo>
                  <a:pt x="108" y="30"/>
                  <a:pt x="105" y="29"/>
                  <a:pt x="101" y="26"/>
                </a:cubicBezTo>
                <a:cubicBezTo>
                  <a:pt x="102" y="29"/>
                  <a:pt x="102" y="31"/>
                  <a:pt x="102" y="34"/>
                </a:cubicBezTo>
                <a:cubicBezTo>
                  <a:pt x="101" y="36"/>
                  <a:pt x="100" y="37"/>
                  <a:pt x="99" y="36"/>
                </a:cubicBezTo>
                <a:cubicBezTo>
                  <a:pt x="91" y="32"/>
                  <a:pt x="81" y="28"/>
                  <a:pt x="70" y="24"/>
                </a:cubicBezTo>
                <a:cubicBezTo>
                  <a:pt x="58" y="21"/>
                  <a:pt x="48" y="17"/>
                  <a:pt x="38" y="13"/>
                </a:cubicBezTo>
                <a:close/>
                <a:moveTo>
                  <a:pt x="1" y="13"/>
                </a:moveTo>
                <a:cubicBezTo>
                  <a:pt x="0" y="15"/>
                  <a:pt x="2" y="16"/>
                  <a:pt x="5" y="18"/>
                </a:cubicBezTo>
                <a:cubicBezTo>
                  <a:pt x="8" y="20"/>
                  <a:pt x="12" y="22"/>
                  <a:pt x="16" y="24"/>
                </a:cubicBezTo>
                <a:cubicBezTo>
                  <a:pt x="20" y="26"/>
                  <a:pt x="25" y="28"/>
                  <a:pt x="29" y="29"/>
                </a:cubicBezTo>
                <a:cubicBezTo>
                  <a:pt x="34" y="31"/>
                  <a:pt x="37" y="32"/>
                  <a:pt x="39" y="34"/>
                </a:cubicBezTo>
                <a:cubicBezTo>
                  <a:pt x="38" y="35"/>
                  <a:pt x="38" y="35"/>
                  <a:pt x="38" y="35"/>
                </a:cubicBezTo>
                <a:cubicBezTo>
                  <a:pt x="38" y="35"/>
                  <a:pt x="37" y="35"/>
                  <a:pt x="36" y="35"/>
                </a:cubicBezTo>
                <a:cubicBezTo>
                  <a:pt x="36" y="35"/>
                  <a:pt x="36" y="35"/>
                  <a:pt x="35" y="35"/>
                </a:cubicBezTo>
                <a:cubicBezTo>
                  <a:pt x="37" y="36"/>
                  <a:pt x="38" y="36"/>
                  <a:pt x="38" y="36"/>
                </a:cubicBezTo>
                <a:cubicBezTo>
                  <a:pt x="38" y="39"/>
                  <a:pt x="37" y="41"/>
                  <a:pt x="34" y="42"/>
                </a:cubicBezTo>
                <a:cubicBezTo>
                  <a:pt x="32" y="44"/>
                  <a:pt x="31" y="45"/>
                  <a:pt x="31" y="47"/>
                </a:cubicBezTo>
                <a:cubicBezTo>
                  <a:pt x="31" y="48"/>
                  <a:pt x="31" y="48"/>
                  <a:pt x="32" y="49"/>
                </a:cubicBezTo>
                <a:cubicBezTo>
                  <a:pt x="33" y="49"/>
                  <a:pt x="34" y="50"/>
                  <a:pt x="35" y="52"/>
                </a:cubicBezTo>
                <a:cubicBezTo>
                  <a:pt x="36" y="53"/>
                  <a:pt x="35" y="54"/>
                  <a:pt x="34" y="54"/>
                </a:cubicBezTo>
                <a:cubicBezTo>
                  <a:pt x="33" y="55"/>
                  <a:pt x="33" y="56"/>
                  <a:pt x="35" y="57"/>
                </a:cubicBezTo>
                <a:cubicBezTo>
                  <a:pt x="35" y="58"/>
                  <a:pt x="34" y="59"/>
                  <a:pt x="34" y="60"/>
                </a:cubicBezTo>
                <a:cubicBezTo>
                  <a:pt x="34" y="60"/>
                  <a:pt x="34" y="61"/>
                  <a:pt x="35" y="62"/>
                </a:cubicBezTo>
                <a:cubicBezTo>
                  <a:pt x="36" y="63"/>
                  <a:pt x="36" y="63"/>
                  <a:pt x="36" y="63"/>
                </a:cubicBezTo>
                <a:cubicBezTo>
                  <a:pt x="36" y="64"/>
                  <a:pt x="36" y="65"/>
                  <a:pt x="35" y="69"/>
                </a:cubicBezTo>
                <a:cubicBezTo>
                  <a:pt x="34" y="72"/>
                  <a:pt x="36" y="73"/>
                  <a:pt x="40" y="74"/>
                </a:cubicBezTo>
                <a:cubicBezTo>
                  <a:pt x="44" y="75"/>
                  <a:pt x="47" y="75"/>
                  <a:pt x="49" y="74"/>
                </a:cubicBezTo>
                <a:cubicBezTo>
                  <a:pt x="49" y="77"/>
                  <a:pt x="49" y="79"/>
                  <a:pt x="50" y="81"/>
                </a:cubicBezTo>
                <a:cubicBezTo>
                  <a:pt x="50" y="83"/>
                  <a:pt x="50" y="86"/>
                  <a:pt x="49" y="91"/>
                </a:cubicBezTo>
                <a:cubicBezTo>
                  <a:pt x="49" y="92"/>
                  <a:pt x="46" y="91"/>
                  <a:pt x="40" y="88"/>
                </a:cubicBezTo>
                <a:cubicBezTo>
                  <a:pt x="35" y="85"/>
                  <a:pt x="29" y="87"/>
                  <a:pt x="24" y="93"/>
                </a:cubicBezTo>
                <a:cubicBezTo>
                  <a:pt x="20" y="97"/>
                  <a:pt x="18" y="103"/>
                  <a:pt x="18" y="110"/>
                </a:cubicBezTo>
                <a:cubicBezTo>
                  <a:pt x="17" y="118"/>
                  <a:pt x="17" y="126"/>
                  <a:pt x="17" y="133"/>
                </a:cubicBezTo>
                <a:cubicBezTo>
                  <a:pt x="17" y="141"/>
                  <a:pt x="18" y="148"/>
                  <a:pt x="19" y="155"/>
                </a:cubicBezTo>
                <a:cubicBezTo>
                  <a:pt x="19" y="162"/>
                  <a:pt x="19" y="166"/>
                  <a:pt x="18" y="168"/>
                </a:cubicBezTo>
                <a:cubicBezTo>
                  <a:pt x="30" y="159"/>
                  <a:pt x="39" y="150"/>
                  <a:pt x="47" y="141"/>
                </a:cubicBezTo>
                <a:cubicBezTo>
                  <a:pt x="55" y="133"/>
                  <a:pt x="62" y="125"/>
                  <a:pt x="69" y="119"/>
                </a:cubicBezTo>
                <a:cubicBezTo>
                  <a:pt x="76" y="113"/>
                  <a:pt x="83" y="108"/>
                  <a:pt x="89" y="104"/>
                </a:cubicBezTo>
                <a:cubicBezTo>
                  <a:pt x="96" y="101"/>
                  <a:pt x="103" y="99"/>
                  <a:pt x="111" y="100"/>
                </a:cubicBezTo>
                <a:cubicBezTo>
                  <a:pt x="110" y="99"/>
                  <a:pt x="105" y="97"/>
                  <a:pt x="97" y="93"/>
                </a:cubicBezTo>
                <a:cubicBezTo>
                  <a:pt x="89" y="90"/>
                  <a:pt x="85" y="82"/>
                  <a:pt x="84" y="71"/>
                </a:cubicBezTo>
                <a:cubicBezTo>
                  <a:pt x="87" y="73"/>
                  <a:pt x="91" y="75"/>
                  <a:pt x="95" y="75"/>
                </a:cubicBezTo>
                <a:cubicBezTo>
                  <a:pt x="99" y="74"/>
                  <a:pt x="102" y="73"/>
                  <a:pt x="105" y="72"/>
                </a:cubicBezTo>
                <a:cubicBezTo>
                  <a:pt x="108" y="70"/>
                  <a:pt x="109" y="67"/>
                  <a:pt x="110" y="65"/>
                </a:cubicBezTo>
                <a:cubicBezTo>
                  <a:pt x="110" y="62"/>
                  <a:pt x="109" y="59"/>
                  <a:pt x="105" y="56"/>
                </a:cubicBezTo>
                <a:cubicBezTo>
                  <a:pt x="121" y="62"/>
                  <a:pt x="132" y="64"/>
                  <a:pt x="139" y="64"/>
                </a:cubicBezTo>
                <a:cubicBezTo>
                  <a:pt x="145" y="64"/>
                  <a:pt x="149" y="63"/>
                  <a:pt x="149" y="61"/>
                </a:cubicBezTo>
                <a:cubicBezTo>
                  <a:pt x="150" y="59"/>
                  <a:pt x="147" y="57"/>
                  <a:pt x="142" y="55"/>
                </a:cubicBezTo>
                <a:cubicBezTo>
                  <a:pt x="137" y="52"/>
                  <a:pt x="131" y="49"/>
                  <a:pt x="124" y="47"/>
                </a:cubicBezTo>
                <a:cubicBezTo>
                  <a:pt x="118" y="44"/>
                  <a:pt x="111" y="42"/>
                  <a:pt x="105" y="40"/>
                </a:cubicBezTo>
                <a:cubicBezTo>
                  <a:pt x="99" y="38"/>
                  <a:pt x="96" y="37"/>
                  <a:pt x="94" y="36"/>
                </a:cubicBezTo>
                <a:cubicBezTo>
                  <a:pt x="89" y="34"/>
                  <a:pt x="81" y="31"/>
                  <a:pt x="71" y="27"/>
                </a:cubicBezTo>
                <a:cubicBezTo>
                  <a:pt x="61" y="24"/>
                  <a:pt x="51" y="20"/>
                  <a:pt x="40" y="17"/>
                </a:cubicBezTo>
                <a:cubicBezTo>
                  <a:pt x="30" y="13"/>
                  <a:pt x="21" y="11"/>
                  <a:pt x="14" y="10"/>
                </a:cubicBezTo>
                <a:cubicBezTo>
                  <a:pt x="6" y="8"/>
                  <a:pt x="2" y="9"/>
                  <a:pt x="1" y="13"/>
                </a:cubicBezTo>
                <a:close/>
                <a:moveTo>
                  <a:pt x="79" y="67"/>
                </a:moveTo>
                <a:cubicBezTo>
                  <a:pt x="84" y="76"/>
                  <a:pt x="84" y="76"/>
                  <a:pt x="84" y="76"/>
                </a:cubicBezTo>
                <a:cubicBezTo>
                  <a:pt x="74" y="76"/>
                  <a:pt x="74" y="76"/>
                  <a:pt x="74" y="76"/>
                </a:cubicBezTo>
                <a:cubicBezTo>
                  <a:pt x="79" y="67"/>
                  <a:pt x="79" y="67"/>
                  <a:pt x="79" y="67"/>
                </a:cubicBezTo>
                <a:close/>
                <a:moveTo>
                  <a:pt x="79" y="69"/>
                </a:moveTo>
                <a:cubicBezTo>
                  <a:pt x="82" y="75"/>
                  <a:pt x="82" y="75"/>
                  <a:pt x="82" y="75"/>
                </a:cubicBezTo>
                <a:cubicBezTo>
                  <a:pt x="76" y="75"/>
                  <a:pt x="76" y="75"/>
                  <a:pt x="76" y="75"/>
                </a:cubicBezTo>
                <a:cubicBezTo>
                  <a:pt x="79" y="69"/>
                  <a:pt x="79" y="69"/>
                  <a:pt x="79" y="69"/>
                </a:cubicBezTo>
                <a:close/>
                <a:moveTo>
                  <a:pt x="114" y="101"/>
                </a:moveTo>
                <a:cubicBezTo>
                  <a:pt x="120" y="102"/>
                  <a:pt x="123" y="105"/>
                  <a:pt x="126" y="109"/>
                </a:cubicBezTo>
                <a:cubicBezTo>
                  <a:pt x="128" y="113"/>
                  <a:pt x="130" y="118"/>
                  <a:pt x="132" y="124"/>
                </a:cubicBezTo>
                <a:cubicBezTo>
                  <a:pt x="133" y="130"/>
                  <a:pt x="135" y="137"/>
                  <a:pt x="137" y="145"/>
                </a:cubicBezTo>
                <a:cubicBezTo>
                  <a:pt x="139" y="153"/>
                  <a:pt x="142" y="161"/>
                  <a:pt x="147" y="170"/>
                </a:cubicBezTo>
                <a:cubicBezTo>
                  <a:pt x="26" y="170"/>
                  <a:pt x="26" y="170"/>
                  <a:pt x="26" y="170"/>
                </a:cubicBezTo>
                <a:cubicBezTo>
                  <a:pt x="35" y="167"/>
                  <a:pt x="43" y="162"/>
                  <a:pt x="50" y="154"/>
                </a:cubicBezTo>
                <a:cubicBezTo>
                  <a:pt x="58" y="146"/>
                  <a:pt x="65" y="138"/>
                  <a:pt x="72" y="131"/>
                </a:cubicBezTo>
                <a:cubicBezTo>
                  <a:pt x="79" y="123"/>
                  <a:pt x="86" y="116"/>
                  <a:pt x="92" y="110"/>
                </a:cubicBezTo>
                <a:cubicBezTo>
                  <a:pt x="99" y="104"/>
                  <a:pt x="107" y="101"/>
                  <a:pt x="114" y="101"/>
                </a:cubicBezTo>
                <a:close/>
                <a:moveTo>
                  <a:pt x="79" y="62"/>
                </a:moveTo>
                <a:cubicBezTo>
                  <a:pt x="80" y="62"/>
                  <a:pt x="81" y="63"/>
                  <a:pt x="81" y="64"/>
                </a:cubicBezTo>
                <a:cubicBezTo>
                  <a:pt x="81" y="65"/>
                  <a:pt x="80" y="66"/>
                  <a:pt x="79" y="66"/>
                </a:cubicBezTo>
                <a:cubicBezTo>
                  <a:pt x="78" y="66"/>
                  <a:pt x="77" y="65"/>
                  <a:pt x="77" y="64"/>
                </a:cubicBezTo>
                <a:cubicBezTo>
                  <a:pt x="77" y="63"/>
                  <a:pt x="78" y="62"/>
                  <a:pt x="79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80" name="Freeform 292"/>
          <p:cNvSpPr>
            <a:spLocks/>
          </p:cNvSpPr>
          <p:nvPr/>
        </p:nvSpPr>
        <p:spPr bwMode="auto">
          <a:xfrm>
            <a:off x="7806267" y="3799418"/>
            <a:ext cx="558800" cy="270933"/>
          </a:xfrm>
          <a:custGeom>
            <a:avLst/>
            <a:gdLst>
              <a:gd name="T0" fmla="*/ 76154526 w 186"/>
              <a:gd name="T1" fmla="*/ 152926062 h 90"/>
              <a:gd name="T2" fmla="*/ 152311305 w 186"/>
              <a:gd name="T3" fmla="*/ 76464160 h 90"/>
              <a:gd name="T4" fmla="*/ 792015631 w 186"/>
              <a:gd name="T5" fmla="*/ 76464160 h 90"/>
              <a:gd name="T6" fmla="*/ 868172410 w 186"/>
              <a:gd name="T7" fmla="*/ 152926062 h 90"/>
              <a:gd name="T8" fmla="*/ 868172410 w 186"/>
              <a:gd name="T9" fmla="*/ 458780444 h 90"/>
              <a:gd name="T10" fmla="*/ 944326935 w 186"/>
              <a:gd name="T11" fmla="*/ 458780444 h 90"/>
              <a:gd name="T12" fmla="*/ 944326935 w 186"/>
              <a:gd name="T13" fmla="*/ 152926062 h 90"/>
              <a:gd name="T14" fmla="*/ 792015631 w 186"/>
              <a:gd name="T15" fmla="*/ 0 h 90"/>
              <a:gd name="T16" fmla="*/ 152311305 w 186"/>
              <a:gd name="T17" fmla="*/ 0 h 90"/>
              <a:gd name="T18" fmla="*/ 0 w 186"/>
              <a:gd name="T19" fmla="*/ 152926062 h 90"/>
              <a:gd name="T20" fmla="*/ 0 w 186"/>
              <a:gd name="T21" fmla="*/ 458780444 h 90"/>
              <a:gd name="T22" fmla="*/ 76154526 w 186"/>
              <a:gd name="T23" fmla="*/ 458780444 h 90"/>
              <a:gd name="T24" fmla="*/ 76154526 w 186"/>
              <a:gd name="T25" fmla="*/ 15292606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5" y="30"/>
                </a:moveTo>
                <a:cubicBezTo>
                  <a:pt x="15" y="22"/>
                  <a:pt x="22" y="15"/>
                  <a:pt x="30" y="15"/>
                </a:cubicBezTo>
                <a:cubicBezTo>
                  <a:pt x="156" y="15"/>
                  <a:pt x="156" y="15"/>
                  <a:pt x="156" y="15"/>
                </a:cubicBezTo>
                <a:cubicBezTo>
                  <a:pt x="164" y="15"/>
                  <a:pt x="171" y="22"/>
                  <a:pt x="171" y="30"/>
                </a:cubicBezTo>
                <a:cubicBezTo>
                  <a:pt x="171" y="90"/>
                  <a:pt x="171" y="90"/>
                  <a:pt x="171" y="90"/>
                </a:cubicBezTo>
                <a:cubicBezTo>
                  <a:pt x="186" y="90"/>
                  <a:pt x="186" y="90"/>
                  <a:pt x="186" y="90"/>
                </a:cubicBezTo>
                <a:cubicBezTo>
                  <a:pt x="186" y="30"/>
                  <a:pt x="186" y="30"/>
                  <a:pt x="186" y="30"/>
                </a:cubicBezTo>
                <a:cubicBezTo>
                  <a:pt x="186" y="13"/>
                  <a:pt x="173" y="0"/>
                  <a:pt x="15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3"/>
                  <a:pt x="0" y="30"/>
                </a:cubicBezTo>
                <a:cubicBezTo>
                  <a:pt x="0" y="90"/>
                  <a:pt x="0" y="90"/>
                  <a:pt x="0" y="90"/>
                </a:cubicBezTo>
                <a:cubicBezTo>
                  <a:pt x="15" y="90"/>
                  <a:pt x="15" y="90"/>
                  <a:pt x="15" y="90"/>
                </a:cubicBezTo>
                <a:lnTo>
                  <a:pt x="15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81" name="Freeform 293"/>
          <p:cNvSpPr>
            <a:spLocks/>
          </p:cNvSpPr>
          <p:nvPr/>
        </p:nvSpPr>
        <p:spPr bwMode="auto">
          <a:xfrm>
            <a:off x="7806267" y="4089400"/>
            <a:ext cx="558800" cy="270933"/>
          </a:xfrm>
          <a:custGeom>
            <a:avLst/>
            <a:gdLst>
              <a:gd name="T0" fmla="*/ 868172410 w 186"/>
              <a:gd name="T1" fmla="*/ 305854382 h 90"/>
              <a:gd name="T2" fmla="*/ 792015631 w 186"/>
              <a:gd name="T3" fmla="*/ 382316284 h 90"/>
              <a:gd name="T4" fmla="*/ 152311305 w 186"/>
              <a:gd name="T5" fmla="*/ 382316284 h 90"/>
              <a:gd name="T6" fmla="*/ 76154526 w 186"/>
              <a:gd name="T7" fmla="*/ 305854382 h 90"/>
              <a:gd name="T8" fmla="*/ 76154526 w 186"/>
              <a:gd name="T9" fmla="*/ 0 h 90"/>
              <a:gd name="T10" fmla="*/ 0 w 186"/>
              <a:gd name="T11" fmla="*/ 0 h 90"/>
              <a:gd name="T12" fmla="*/ 0 w 186"/>
              <a:gd name="T13" fmla="*/ 305854382 h 90"/>
              <a:gd name="T14" fmla="*/ 152311305 w 186"/>
              <a:gd name="T15" fmla="*/ 458780444 h 90"/>
              <a:gd name="T16" fmla="*/ 792015631 w 186"/>
              <a:gd name="T17" fmla="*/ 458780444 h 90"/>
              <a:gd name="T18" fmla="*/ 944326935 w 186"/>
              <a:gd name="T19" fmla="*/ 305854382 h 90"/>
              <a:gd name="T20" fmla="*/ 944326935 w 186"/>
              <a:gd name="T21" fmla="*/ 0 h 90"/>
              <a:gd name="T22" fmla="*/ 868172410 w 186"/>
              <a:gd name="T23" fmla="*/ 0 h 90"/>
              <a:gd name="T24" fmla="*/ 868172410 w 186"/>
              <a:gd name="T25" fmla="*/ 30585438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71" y="60"/>
                </a:moveTo>
                <a:cubicBezTo>
                  <a:pt x="171" y="68"/>
                  <a:pt x="164" y="75"/>
                  <a:pt x="156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22" y="75"/>
                  <a:pt x="15" y="68"/>
                  <a:pt x="15" y="60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77"/>
                  <a:pt x="13" y="90"/>
                  <a:pt x="30" y="90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73" y="90"/>
                  <a:pt x="186" y="77"/>
                  <a:pt x="186" y="60"/>
                </a:cubicBezTo>
                <a:cubicBezTo>
                  <a:pt x="186" y="0"/>
                  <a:pt x="186" y="0"/>
                  <a:pt x="186" y="0"/>
                </a:cubicBezTo>
                <a:cubicBezTo>
                  <a:pt x="171" y="0"/>
                  <a:pt x="171" y="0"/>
                  <a:pt x="171" y="0"/>
                </a:cubicBezTo>
                <a:lnTo>
                  <a:pt x="17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82" name="Freeform 294"/>
          <p:cNvSpPr>
            <a:spLocks/>
          </p:cNvSpPr>
          <p:nvPr/>
        </p:nvSpPr>
        <p:spPr bwMode="auto">
          <a:xfrm>
            <a:off x="7962900" y="3869267"/>
            <a:ext cx="247651" cy="114300"/>
          </a:xfrm>
          <a:custGeom>
            <a:avLst/>
            <a:gdLst>
              <a:gd name="T0" fmla="*/ 184705116 w 82"/>
              <a:gd name="T1" fmla="*/ 45801965 h 38"/>
              <a:gd name="T2" fmla="*/ 97483004 w 82"/>
              <a:gd name="T3" fmla="*/ 0 h 38"/>
              <a:gd name="T4" fmla="*/ 0 w 82"/>
              <a:gd name="T5" fmla="*/ 86516828 h 38"/>
              <a:gd name="T6" fmla="*/ 25652230 w 82"/>
              <a:gd name="T7" fmla="*/ 86516828 h 38"/>
              <a:gd name="T8" fmla="*/ 51306725 w 82"/>
              <a:gd name="T9" fmla="*/ 66159397 h 38"/>
              <a:gd name="T10" fmla="*/ 82091666 w 82"/>
              <a:gd name="T11" fmla="*/ 96693288 h 38"/>
              <a:gd name="T12" fmla="*/ 51306725 w 82"/>
              <a:gd name="T13" fmla="*/ 122140078 h 38"/>
              <a:gd name="T14" fmla="*/ 25652230 w 82"/>
              <a:gd name="T15" fmla="*/ 101782646 h 38"/>
              <a:gd name="T16" fmla="*/ 0 w 82"/>
              <a:gd name="T17" fmla="*/ 101782646 h 38"/>
              <a:gd name="T18" fmla="*/ 97483004 w 82"/>
              <a:gd name="T19" fmla="*/ 193388832 h 38"/>
              <a:gd name="T20" fmla="*/ 184705116 w 82"/>
              <a:gd name="T21" fmla="*/ 142497509 h 38"/>
              <a:gd name="T22" fmla="*/ 220618237 w 82"/>
              <a:gd name="T23" fmla="*/ 142497509 h 38"/>
              <a:gd name="T24" fmla="*/ 251403178 w 82"/>
              <a:gd name="T25" fmla="*/ 111961362 h 38"/>
              <a:gd name="T26" fmla="*/ 277055408 w 82"/>
              <a:gd name="T27" fmla="*/ 137408151 h 38"/>
              <a:gd name="T28" fmla="*/ 302709903 w 82"/>
              <a:gd name="T29" fmla="*/ 111961362 h 38"/>
              <a:gd name="T30" fmla="*/ 323231687 w 82"/>
              <a:gd name="T31" fmla="*/ 137408151 h 38"/>
              <a:gd name="T32" fmla="*/ 348886182 w 82"/>
              <a:gd name="T33" fmla="*/ 111961362 h 38"/>
              <a:gd name="T34" fmla="*/ 374538412 w 82"/>
              <a:gd name="T35" fmla="*/ 137408151 h 38"/>
              <a:gd name="T36" fmla="*/ 420714691 w 82"/>
              <a:gd name="T37" fmla="*/ 91606186 h 38"/>
              <a:gd name="T38" fmla="*/ 374538412 w 82"/>
              <a:gd name="T39" fmla="*/ 45801965 h 38"/>
              <a:gd name="T40" fmla="*/ 184705116 w 82"/>
              <a:gd name="T41" fmla="*/ 45801965 h 3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2" h="38">
                <a:moveTo>
                  <a:pt x="36" y="9"/>
                </a:moveTo>
                <a:cubicBezTo>
                  <a:pt x="32" y="4"/>
                  <a:pt x="26" y="0"/>
                  <a:pt x="19" y="0"/>
                </a:cubicBezTo>
                <a:cubicBezTo>
                  <a:pt x="9" y="0"/>
                  <a:pt x="1" y="7"/>
                  <a:pt x="0" y="17"/>
                </a:cubicBezTo>
                <a:cubicBezTo>
                  <a:pt x="5" y="17"/>
                  <a:pt x="5" y="17"/>
                  <a:pt x="5" y="17"/>
                </a:cubicBezTo>
                <a:cubicBezTo>
                  <a:pt x="6" y="15"/>
                  <a:pt x="8" y="13"/>
                  <a:pt x="10" y="13"/>
                </a:cubicBezTo>
                <a:cubicBezTo>
                  <a:pt x="13" y="13"/>
                  <a:pt x="16" y="16"/>
                  <a:pt x="16" y="19"/>
                </a:cubicBezTo>
                <a:cubicBezTo>
                  <a:pt x="16" y="22"/>
                  <a:pt x="13" y="24"/>
                  <a:pt x="10" y="24"/>
                </a:cubicBezTo>
                <a:cubicBezTo>
                  <a:pt x="8" y="24"/>
                  <a:pt x="6" y="22"/>
                  <a:pt x="5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1" y="30"/>
                  <a:pt x="9" y="38"/>
                  <a:pt x="19" y="38"/>
                </a:cubicBezTo>
                <a:cubicBezTo>
                  <a:pt x="26" y="38"/>
                  <a:pt x="32" y="34"/>
                  <a:pt x="36" y="28"/>
                </a:cubicBezTo>
                <a:cubicBezTo>
                  <a:pt x="43" y="28"/>
                  <a:pt x="43" y="28"/>
                  <a:pt x="43" y="28"/>
                </a:cubicBezTo>
                <a:cubicBezTo>
                  <a:pt x="49" y="22"/>
                  <a:pt x="49" y="22"/>
                  <a:pt x="49" y="22"/>
                </a:cubicBezTo>
                <a:cubicBezTo>
                  <a:pt x="54" y="27"/>
                  <a:pt x="54" y="27"/>
                  <a:pt x="54" y="27"/>
                </a:cubicBezTo>
                <a:cubicBezTo>
                  <a:pt x="59" y="22"/>
                  <a:pt x="59" y="22"/>
                  <a:pt x="59" y="22"/>
                </a:cubicBezTo>
                <a:cubicBezTo>
                  <a:pt x="63" y="27"/>
                  <a:pt x="63" y="27"/>
                  <a:pt x="63" y="27"/>
                </a:cubicBezTo>
                <a:cubicBezTo>
                  <a:pt x="68" y="22"/>
                  <a:pt x="68" y="22"/>
                  <a:pt x="68" y="22"/>
                </a:cubicBezTo>
                <a:cubicBezTo>
                  <a:pt x="73" y="27"/>
                  <a:pt x="73" y="27"/>
                  <a:pt x="73" y="27"/>
                </a:cubicBezTo>
                <a:cubicBezTo>
                  <a:pt x="82" y="18"/>
                  <a:pt x="82" y="18"/>
                  <a:pt x="82" y="18"/>
                </a:cubicBezTo>
                <a:cubicBezTo>
                  <a:pt x="73" y="9"/>
                  <a:pt x="73" y="9"/>
                  <a:pt x="73" y="9"/>
                </a:cubicBezTo>
                <a:lnTo>
                  <a:pt x="36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83" name="Freeform 295"/>
          <p:cNvSpPr>
            <a:spLocks/>
          </p:cNvSpPr>
          <p:nvPr/>
        </p:nvSpPr>
        <p:spPr bwMode="auto">
          <a:xfrm>
            <a:off x="7986184" y="4104217"/>
            <a:ext cx="33867" cy="141816"/>
          </a:xfrm>
          <a:custGeom>
            <a:avLst/>
            <a:gdLst>
              <a:gd name="T0" fmla="*/ 31992455 w 11"/>
              <a:gd name="T1" fmla="*/ 240701732 h 47"/>
              <a:gd name="T2" fmla="*/ 58650909 w 11"/>
              <a:gd name="T3" fmla="*/ 240701732 h 47"/>
              <a:gd name="T4" fmla="*/ 58650909 w 11"/>
              <a:gd name="T5" fmla="*/ 0 h 47"/>
              <a:gd name="T6" fmla="*/ 31992455 w 11"/>
              <a:gd name="T7" fmla="*/ 0 h 47"/>
              <a:gd name="T8" fmla="*/ 0 w 11"/>
              <a:gd name="T9" fmla="*/ 35848520 h 47"/>
              <a:gd name="T10" fmla="*/ 0 w 11"/>
              <a:gd name="T11" fmla="*/ 204853212 h 47"/>
              <a:gd name="T12" fmla="*/ 31992455 w 11"/>
              <a:gd name="T13" fmla="*/ 240701732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" h="47">
                <a:moveTo>
                  <a:pt x="6" y="47"/>
                </a:moveTo>
                <a:cubicBezTo>
                  <a:pt x="11" y="47"/>
                  <a:pt x="11" y="47"/>
                  <a:pt x="11" y="47"/>
                </a:cubicBezTo>
                <a:cubicBezTo>
                  <a:pt x="11" y="0"/>
                  <a:pt x="11" y="0"/>
                  <a:pt x="11" y="0"/>
                </a:cubicBezTo>
                <a:cubicBezTo>
                  <a:pt x="6" y="0"/>
                  <a:pt x="6" y="0"/>
                  <a:pt x="6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4"/>
                  <a:pt x="3" y="47"/>
                  <a:pt x="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84" name="Freeform 296"/>
          <p:cNvSpPr>
            <a:spLocks/>
          </p:cNvSpPr>
          <p:nvPr/>
        </p:nvSpPr>
        <p:spPr bwMode="auto">
          <a:xfrm>
            <a:off x="8153401" y="4104217"/>
            <a:ext cx="31751" cy="141816"/>
          </a:xfrm>
          <a:custGeom>
            <a:avLst/>
            <a:gdLst>
              <a:gd name="T0" fmla="*/ 51550815 w 11"/>
              <a:gd name="T1" fmla="*/ 204853212 h 47"/>
              <a:gd name="T2" fmla="*/ 51550815 w 11"/>
              <a:gd name="T3" fmla="*/ 35848520 h 47"/>
              <a:gd name="T4" fmla="*/ 23431992 w 11"/>
              <a:gd name="T5" fmla="*/ 0 h 47"/>
              <a:gd name="T6" fmla="*/ 0 w 11"/>
              <a:gd name="T7" fmla="*/ 0 h 47"/>
              <a:gd name="T8" fmla="*/ 0 w 11"/>
              <a:gd name="T9" fmla="*/ 240701732 h 47"/>
              <a:gd name="T10" fmla="*/ 23431992 w 11"/>
              <a:gd name="T11" fmla="*/ 240701732 h 47"/>
              <a:gd name="T12" fmla="*/ 51550815 w 11"/>
              <a:gd name="T13" fmla="*/ 204853212 h 4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" h="47">
                <a:moveTo>
                  <a:pt x="11" y="40"/>
                </a:moveTo>
                <a:cubicBezTo>
                  <a:pt x="11" y="7"/>
                  <a:pt x="11" y="7"/>
                  <a:pt x="11" y="7"/>
                </a:cubicBezTo>
                <a:cubicBezTo>
                  <a:pt x="11" y="3"/>
                  <a:pt x="8" y="0"/>
                  <a:pt x="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7"/>
                  <a:pt x="0" y="47"/>
                  <a:pt x="0" y="47"/>
                </a:cubicBezTo>
                <a:cubicBezTo>
                  <a:pt x="5" y="47"/>
                  <a:pt x="5" y="47"/>
                  <a:pt x="5" y="47"/>
                </a:cubicBezTo>
                <a:cubicBezTo>
                  <a:pt x="8" y="47"/>
                  <a:pt x="11" y="44"/>
                  <a:pt x="11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85" name="Rectangle 297"/>
          <p:cNvSpPr>
            <a:spLocks noChangeArrowheads="1"/>
          </p:cNvSpPr>
          <p:nvPr/>
        </p:nvSpPr>
        <p:spPr bwMode="auto">
          <a:xfrm>
            <a:off x="8041217" y="4104217"/>
            <a:ext cx="91016" cy="1418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686" name="Freeform 298"/>
          <p:cNvSpPr>
            <a:spLocks/>
          </p:cNvSpPr>
          <p:nvPr/>
        </p:nvSpPr>
        <p:spPr bwMode="auto">
          <a:xfrm>
            <a:off x="8041217" y="4053418"/>
            <a:ext cx="91016" cy="42333"/>
          </a:xfrm>
          <a:custGeom>
            <a:avLst/>
            <a:gdLst>
              <a:gd name="T0" fmla="*/ 0 w 30"/>
              <a:gd name="T1" fmla="*/ 61717464 h 14"/>
              <a:gd name="T2" fmla="*/ 0 w 30"/>
              <a:gd name="T3" fmla="*/ 72004464 h 14"/>
              <a:gd name="T4" fmla="*/ 36242571 w 30"/>
              <a:gd name="T5" fmla="*/ 72004464 h 14"/>
              <a:gd name="T6" fmla="*/ 36242571 w 30"/>
              <a:gd name="T7" fmla="*/ 61717464 h 14"/>
              <a:gd name="T8" fmla="*/ 36242571 w 30"/>
              <a:gd name="T9" fmla="*/ 41145732 h 14"/>
              <a:gd name="T10" fmla="*/ 41419106 w 30"/>
              <a:gd name="T11" fmla="*/ 36002232 h 14"/>
              <a:gd name="T12" fmla="*/ 113906524 w 30"/>
              <a:gd name="T13" fmla="*/ 36002232 h 14"/>
              <a:gd name="T14" fmla="*/ 119083059 w 30"/>
              <a:gd name="T15" fmla="*/ 41145732 h 14"/>
              <a:gd name="T16" fmla="*/ 119083059 w 30"/>
              <a:gd name="T17" fmla="*/ 61717464 h 14"/>
              <a:gd name="T18" fmla="*/ 119083059 w 30"/>
              <a:gd name="T19" fmla="*/ 72004464 h 14"/>
              <a:gd name="T20" fmla="*/ 155325630 w 30"/>
              <a:gd name="T21" fmla="*/ 72004464 h 14"/>
              <a:gd name="T22" fmla="*/ 155325630 w 30"/>
              <a:gd name="T23" fmla="*/ 61717464 h 14"/>
              <a:gd name="T24" fmla="*/ 155325630 w 30"/>
              <a:gd name="T25" fmla="*/ 41145732 h 14"/>
              <a:gd name="T26" fmla="*/ 155325630 w 30"/>
              <a:gd name="T27" fmla="*/ 30858732 h 14"/>
              <a:gd name="T28" fmla="*/ 113906524 w 30"/>
              <a:gd name="T29" fmla="*/ 0 h 14"/>
              <a:gd name="T30" fmla="*/ 41419106 w 30"/>
              <a:gd name="T31" fmla="*/ 0 h 14"/>
              <a:gd name="T32" fmla="*/ 0 w 30"/>
              <a:gd name="T33" fmla="*/ 30858732 h 14"/>
              <a:gd name="T34" fmla="*/ 0 w 30"/>
              <a:gd name="T35" fmla="*/ 41145732 h 14"/>
              <a:gd name="T36" fmla="*/ 0 w 30"/>
              <a:gd name="T37" fmla="*/ 61717464 h 1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0" h="14">
                <a:moveTo>
                  <a:pt x="0" y="12"/>
                </a:moveTo>
                <a:cubicBezTo>
                  <a:pt x="0" y="14"/>
                  <a:pt x="0" y="14"/>
                  <a:pt x="0" y="14"/>
                </a:cubicBezTo>
                <a:cubicBezTo>
                  <a:pt x="7" y="14"/>
                  <a:pt x="7" y="14"/>
                  <a:pt x="7" y="14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8"/>
                  <a:pt x="7" y="8"/>
                  <a:pt x="7" y="8"/>
                </a:cubicBezTo>
                <a:cubicBezTo>
                  <a:pt x="7" y="7"/>
                  <a:pt x="7" y="7"/>
                  <a:pt x="8" y="7"/>
                </a:cubicBezTo>
                <a:cubicBezTo>
                  <a:pt x="22" y="7"/>
                  <a:pt x="22" y="7"/>
                  <a:pt x="22" y="7"/>
                </a:cubicBezTo>
                <a:cubicBezTo>
                  <a:pt x="23" y="7"/>
                  <a:pt x="23" y="7"/>
                  <a:pt x="23" y="8"/>
                </a:cubicBezTo>
                <a:cubicBezTo>
                  <a:pt x="23" y="12"/>
                  <a:pt x="23" y="12"/>
                  <a:pt x="23" y="12"/>
                </a:cubicBezTo>
                <a:cubicBezTo>
                  <a:pt x="23" y="14"/>
                  <a:pt x="23" y="14"/>
                  <a:pt x="23" y="14"/>
                </a:cubicBezTo>
                <a:cubicBezTo>
                  <a:pt x="30" y="14"/>
                  <a:pt x="30" y="14"/>
                  <a:pt x="30" y="14"/>
                </a:cubicBezTo>
                <a:cubicBezTo>
                  <a:pt x="30" y="12"/>
                  <a:pt x="30" y="12"/>
                  <a:pt x="30" y="12"/>
                </a:cubicBezTo>
                <a:cubicBezTo>
                  <a:pt x="30" y="8"/>
                  <a:pt x="30" y="8"/>
                  <a:pt x="30" y="8"/>
                </a:cubicBezTo>
                <a:cubicBezTo>
                  <a:pt x="30" y="7"/>
                  <a:pt x="30" y="7"/>
                  <a:pt x="30" y="6"/>
                </a:cubicBezTo>
                <a:cubicBezTo>
                  <a:pt x="29" y="3"/>
                  <a:pt x="26" y="0"/>
                  <a:pt x="22" y="0"/>
                </a:cubicBezTo>
                <a:cubicBezTo>
                  <a:pt x="8" y="0"/>
                  <a:pt x="8" y="0"/>
                  <a:pt x="8" y="0"/>
                </a:cubicBezTo>
                <a:cubicBezTo>
                  <a:pt x="4" y="0"/>
                  <a:pt x="1" y="3"/>
                  <a:pt x="0" y="6"/>
                </a:cubicBezTo>
                <a:cubicBezTo>
                  <a:pt x="0" y="7"/>
                  <a:pt x="0" y="7"/>
                  <a:pt x="0" y="8"/>
                </a:cubicBezTo>
                <a:lnTo>
                  <a:pt x="0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87" name="Freeform 299"/>
          <p:cNvSpPr>
            <a:spLocks/>
          </p:cNvSpPr>
          <p:nvPr/>
        </p:nvSpPr>
        <p:spPr bwMode="auto">
          <a:xfrm>
            <a:off x="7924800" y="4008967"/>
            <a:ext cx="323851" cy="281517"/>
          </a:xfrm>
          <a:custGeom>
            <a:avLst/>
            <a:gdLst>
              <a:gd name="T0" fmla="*/ 0 w 108"/>
              <a:gd name="T1" fmla="*/ 0 h 94"/>
              <a:gd name="T2" fmla="*/ 0 w 108"/>
              <a:gd name="T3" fmla="*/ 40361050 h 94"/>
              <a:gd name="T4" fmla="*/ 505782775 w 108"/>
              <a:gd name="T5" fmla="*/ 40361050 h 94"/>
              <a:gd name="T6" fmla="*/ 505782775 w 108"/>
              <a:gd name="T7" fmla="*/ 105948599 h 94"/>
              <a:gd name="T8" fmla="*/ 505782775 w 108"/>
              <a:gd name="T9" fmla="*/ 136219948 h 94"/>
              <a:gd name="T10" fmla="*/ 505782775 w 108"/>
              <a:gd name="T11" fmla="*/ 428841493 h 94"/>
              <a:gd name="T12" fmla="*/ 0 w 108"/>
              <a:gd name="T13" fmla="*/ 433886344 h 94"/>
              <a:gd name="T14" fmla="*/ 0 w 108"/>
              <a:gd name="T15" fmla="*/ 474247394 h 94"/>
              <a:gd name="T16" fmla="*/ 546246116 w 108"/>
              <a:gd name="T17" fmla="*/ 474247394 h 94"/>
              <a:gd name="T18" fmla="*/ 546246116 w 108"/>
              <a:gd name="T19" fmla="*/ 136219948 h 94"/>
              <a:gd name="T20" fmla="*/ 546246116 w 108"/>
              <a:gd name="T21" fmla="*/ 105948599 h 94"/>
              <a:gd name="T22" fmla="*/ 546246116 w 108"/>
              <a:gd name="T23" fmla="*/ 0 h 94"/>
              <a:gd name="T24" fmla="*/ 0 w 108"/>
              <a:gd name="T25" fmla="*/ 0 h 9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08" h="94">
                <a:moveTo>
                  <a:pt x="0" y="0"/>
                </a:moveTo>
                <a:cubicBezTo>
                  <a:pt x="0" y="8"/>
                  <a:pt x="0" y="8"/>
                  <a:pt x="0" y="8"/>
                </a:cubicBezTo>
                <a:cubicBezTo>
                  <a:pt x="0" y="8"/>
                  <a:pt x="92" y="8"/>
                  <a:pt x="100" y="8"/>
                </a:cubicBezTo>
                <a:cubicBezTo>
                  <a:pt x="100" y="10"/>
                  <a:pt x="100" y="15"/>
                  <a:pt x="100" y="21"/>
                </a:cubicBezTo>
                <a:cubicBezTo>
                  <a:pt x="100" y="23"/>
                  <a:pt x="100" y="25"/>
                  <a:pt x="100" y="27"/>
                </a:cubicBezTo>
                <a:cubicBezTo>
                  <a:pt x="100" y="48"/>
                  <a:pt x="100" y="80"/>
                  <a:pt x="100" y="85"/>
                </a:cubicBezTo>
                <a:cubicBezTo>
                  <a:pt x="92" y="85"/>
                  <a:pt x="0" y="86"/>
                  <a:pt x="0" y="86"/>
                </a:cubicBezTo>
                <a:cubicBezTo>
                  <a:pt x="0" y="94"/>
                  <a:pt x="0" y="94"/>
                  <a:pt x="0" y="94"/>
                </a:cubicBezTo>
                <a:cubicBezTo>
                  <a:pt x="108" y="94"/>
                  <a:pt x="108" y="94"/>
                  <a:pt x="108" y="94"/>
                </a:cubicBezTo>
                <a:cubicBezTo>
                  <a:pt x="108" y="27"/>
                  <a:pt x="108" y="27"/>
                  <a:pt x="108" y="27"/>
                </a:cubicBezTo>
                <a:cubicBezTo>
                  <a:pt x="108" y="21"/>
                  <a:pt x="108" y="21"/>
                  <a:pt x="108" y="21"/>
                </a:cubicBezTo>
                <a:cubicBezTo>
                  <a:pt x="108" y="0"/>
                  <a:pt x="108" y="0"/>
                  <a:pt x="10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88" name="Freeform 300"/>
          <p:cNvSpPr>
            <a:spLocks/>
          </p:cNvSpPr>
          <p:nvPr/>
        </p:nvSpPr>
        <p:spPr bwMode="auto">
          <a:xfrm>
            <a:off x="7924801" y="4047067"/>
            <a:ext cx="23284" cy="205317"/>
          </a:xfrm>
          <a:custGeom>
            <a:avLst/>
            <a:gdLst>
              <a:gd name="T0" fmla="*/ 38119546 w 8"/>
              <a:gd name="T1" fmla="*/ 348710355 h 68"/>
              <a:gd name="T2" fmla="*/ 38119546 w 8"/>
              <a:gd name="T3" fmla="*/ 71792376 h 68"/>
              <a:gd name="T4" fmla="*/ 38119546 w 8"/>
              <a:gd name="T5" fmla="*/ 41024215 h 68"/>
              <a:gd name="T6" fmla="*/ 38119546 w 8"/>
              <a:gd name="T7" fmla="*/ 0 h 68"/>
              <a:gd name="T8" fmla="*/ 0 w 8"/>
              <a:gd name="T9" fmla="*/ 0 h 68"/>
              <a:gd name="T10" fmla="*/ 0 w 8"/>
              <a:gd name="T11" fmla="*/ 41024215 h 68"/>
              <a:gd name="T12" fmla="*/ 0 w 8"/>
              <a:gd name="T13" fmla="*/ 71792376 h 68"/>
              <a:gd name="T14" fmla="*/ 0 w 8"/>
              <a:gd name="T15" fmla="*/ 348710355 h 68"/>
              <a:gd name="T16" fmla="*/ 38119546 w 8"/>
              <a:gd name="T17" fmla="*/ 348710355 h 6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" h="68">
                <a:moveTo>
                  <a:pt x="8" y="68"/>
                </a:moveTo>
                <a:cubicBezTo>
                  <a:pt x="8" y="56"/>
                  <a:pt x="8" y="31"/>
                  <a:pt x="8" y="14"/>
                </a:cubicBezTo>
                <a:cubicBezTo>
                  <a:pt x="8" y="12"/>
                  <a:pt x="8" y="10"/>
                  <a:pt x="8" y="8"/>
                </a:cubicBezTo>
                <a:cubicBezTo>
                  <a:pt x="8" y="5"/>
                  <a:pt x="8" y="2"/>
                  <a:pt x="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"/>
                  <a:pt x="0" y="8"/>
                  <a:pt x="0" y="8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68"/>
                  <a:pt x="0" y="68"/>
                  <a:pt x="0" y="68"/>
                </a:cubicBezTo>
                <a:lnTo>
                  <a:pt x="8" y="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89" name="Freeform 301"/>
          <p:cNvSpPr>
            <a:spLocks/>
          </p:cNvSpPr>
          <p:nvPr/>
        </p:nvSpPr>
        <p:spPr bwMode="auto">
          <a:xfrm>
            <a:off x="8671985" y="4076700"/>
            <a:ext cx="560916" cy="270933"/>
          </a:xfrm>
          <a:custGeom>
            <a:avLst/>
            <a:gdLst>
              <a:gd name="T0" fmla="*/ 874762073 w 186"/>
              <a:gd name="T1" fmla="*/ 305854382 h 90"/>
              <a:gd name="T2" fmla="*/ 798027407 w 186"/>
              <a:gd name="T3" fmla="*/ 382316284 h 90"/>
              <a:gd name="T4" fmla="*/ 153467070 w 186"/>
              <a:gd name="T5" fmla="*/ 382316284 h 90"/>
              <a:gd name="T6" fmla="*/ 76732404 w 186"/>
              <a:gd name="T7" fmla="*/ 305854382 h 90"/>
              <a:gd name="T8" fmla="*/ 76732404 w 186"/>
              <a:gd name="T9" fmla="*/ 0 h 90"/>
              <a:gd name="T10" fmla="*/ 0 w 186"/>
              <a:gd name="T11" fmla="*/ 0 h 90"/>
              <a:gd name="T12" fmla="*/ 0 w 186"/>
              <a:gd name="T13" fmla="*/ 305854382 h 90"/>
              <a:gd name="T14" fmla="*/ 153467070 w 186"/>
              <a:gd name="T15" fmla="*/ 458780444 h 90"/>
              <a:gd name="T16" fmla="*/ 798027407 w 186"/>
              <a:gd name="T17" fmla="*/ 458780444 h 90"/>
              <a:gd name="T18" fmla="*/ 951494477 w 186"/>
              <a:gd name="T19" fmla="*/ 305854382 h 90"/>
              <a:gd name="T20" fmla="*/ 951494477 w 186"/>
              <a:gd name="T21" fmla="*/ 0 h 90"/>
              <a:gd name="T22" fmla="*/ 874762073 w 186"/>
              <a:gd name="T23" fmla="*/ 0 h 90"/>
              <a:gd name="T24" fmla="*/ 874762073 w 186"/>
              <a:gd name="T25" fmla="*/ 30585438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71" y="60"/>
                </a:moveTo>
                <a:cubicBezTo>
                  <a:pt x="171" y="68"/>
                  <a:pt x="164" y="75"/>
                  <a:pt x="156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22" y="75"/>
                  <a:pt x="15" y="68"/>
                  <a:pt x="15" y="60"/>
                </a:cubicBezTo>
                <a:cubicBezTo>
                  <a:pt x="15" y="0"/>
                  <a:pt x="15" y="0"/>
                  <a:pt x="1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77"/>
                  <a:pt x="13" y="90"/>
                  <a:pt x="30" y="90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73" y="90"/>
                  <a:pt x="186" y="77"/>
                  <a:pt x="186" y="60"/>
                </a:cubicBezTo>
                <a:cubicBezTo>
                  <a:pt x="186" y="0"/>
                  <a:pt x="186" y="0"/>
                  <a:pt x="186" y="0"/>
                </a:cubicBezTo>
                <a:cubicBezTo>
                  <a:pt x="171" y="0"/>
                  <a:pt x="171" y="0"/>
                  <a:pt x="171" y="0"/>
                </a:cubicBezTo>
                <a:lnTo>
                  <a:pt x="171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0" name="Freeform 302"/>
          <p:cNvSpPr>
            <a:spLocks/>
          </p:cNvSpPr>
          <p:nvPr/>
        </p:nvSpPr>
        <p:spPr bwMode="auto">
          <a:xfrm>
            <a:off x="8671985" y="3788834"/>
            <a:ext cx="560916" cy="270933"/>
          </a:xfrm>
          <a:custGeom>
            <a:avLst/>
            <a:gdLst>
              <a:gd name="T0" fmla="*/ 76732404 w 186"/>
              <a:gd name="T1" fmla="*/ 152926062 h 90"/>
              <a:gd name="T2" fmla="*/ 153467070 w 186"/>
              <a:gd name="T3" fmla="*/ 76464160 h 90"/>
              <a:gd name="T4" fmla="*/ 798027407 w 186"/>
              <a:gd name="T5" fmla="*/ 76464160 h 90"/>
              <a:gd name="T6" fmla="*/ 874762073 w 186"/>
              <a:gd name="T7" fmla="*/ 152926062 h 90"/>
              <a:gd name="T8" fmla="*/ 874762073 w 186"/>
              <a:gd name="T9" fmla="*/ 458780444 h 90"/>
              <a:gd name="T10" fmla="*/ 951494477 w 186"/>
              <a:gd name="T11" fmla="*/ 458780444 h 90"/>
              <a:gd name="T12" fmla="*/ 951494477 w 186"/>
              <a:gd name="T13" fmla="*/ 152926062 h 90"/>
              <a:gd name="T14" fmla="*/ 798027407 w 186"/>
              <a:gd name="T15" fmla="*/ 0 h 90"/>
              <a:gd name="T16" fmla="*/ 153467070 w 186"/>
              <a:gd name="T17" fmla="*/ 0 h 90"/>
              <a:gd name="T18" fmla="*/ 0 w 186"/>
              <a:gd name="T19" fmla="*/ 152926062 h 90"/>
              <a:gd name="T20" fmla="*/ 0 w 186"/>
              <a:gd name="T21" fmla="*/ 458780444 h 90"/>
              <a:gd name="T22" fmla="*/ 76732404 w 186"/>
              <a:gd name="T23" fmla="*/ 458780444 h 90"/>
              <a:gd name="T24" fmla="*/ 76732404 w 186"/>
              <a:gd name="T25" fmla="*/ 152926062 h 9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86" h="90">
                <a:moveTo>
                  <a:pt x="15" y="30"/>
                </a:moveTo>
                <a:cubicBezTo>
                  <a:pt x="15" y="22"/>
                  <a:pt x="22" y="15"/>
                  <a:pt x="30" y="15"/>
                </a:cubicBezTo>
                <a:cubicBezTo>
                  <a:pt x="156" y="15"/>
                  <a:pt x="156" y="15"/>
                  <a:pt x="156" y="15"/>
                </a:cubicBezTo>
                <a:cubicBezTo>
                  <a:pt x="164" y="15"/>
                  <a:pt x="171" y="22"/>
                  <a:pt x="171" y="30"/>
                </a:cubicBezTo>
                <a:cubicBezTo>
                  <a:pt x="171" y="90"/>
                  <a:pt x="171" y="90"/>
                  <a:pt x="171" y="90"/>
                </a:cubicBezTo>
                <a:cubicBezTo>
                  <a:pt x="186" y="90"/>
                  <a:pt x="186" y="90"/>
                  <a:pt x="186" y="90"/>
                </a:cubicBezTo>
                <a:cubicBezTo>
                  <a:pt x="186" y="30"/>
                  <a:pt x="186" y="30"/>
                  <a:pt x="186" y="30"/>
                </a:cubicBezTo>
                <a:cubicBezTo>
                  <a:pt x="186" y="13"/>
                  <a:pt x="173" y="0"/>
                  <a:pt x="156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3"/>
                  <a:pt x="0" y="30"/>
                </a:cubicBezTo>
                <a:cubicBezTo>
                  <a:pt x="0" y="90"/>
                  <a:pt x="0" y="90"/>
                  <a:pt x="0" y="90"/>
                </a:cubicBezTo>
                <a:cubicBezTo>
                  <a:pt x="15" y="90"/>
                  <a:pt x="15" y="90"/>
                  <a:pt x="15" y="90"/>
                </a:cubicBezTo>
                <a:lnTo>
                  <a:pt x="15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1" name="Freeform 303"/>
          <p:cNvSpPr>
            <a:spLocks/>
          </p:cNvSpPr>
          <p:nvPr/>
        </p:nvSpPr>
        <p:spPr bwMode="auto">
          <a:xfrm>
            <a:off x="8777818" y="3884085"/>
            <a:ext cx="349249" cy="368300"/>
          </a:xfrm>
          <a:custGeom>
            <a:avLst/>
            <a:gdLst>
              <a:gd name="T0" fmla="*/ 576180109 w 116"/>
              <a:gd name="T1" fmla="*/ 169169699 h 122"/>
              <a:gd name="T2" fmla="*/ 499694505 w 116"/>
              <a:gd name="T3" fmla="*/ 92274999 h 122"/>
              <a:gd name="T4" fmla="*/ 469102070 w 116"/>
              <a:gd name="T5" fmla="*/ 92274999 h 122"/>
              <a:gd name="T6" fmla="*/ 469102070 w 116"/>
              <a:gd name="T7" fmla="*/ 123031068 h 122"/>
              <a:gd name="T8" fmla="*/ 514992981 w 116"/>
              <a:gd name="T9" fmla="*/ 169169699 h 122"/>
              <a:gd name="T10" fmla="*/ 484398288 w 116"/>
              <a:gd name="T11" fmla="*/ 174295711 h 122"/>
              <a:gd name="T12" fmla="*/ 423211159 w 116"/>
              <a:gd name="T13" fmla="*/ 107653033 h 122"/>
              <a:gd name="T14" fmla="*/ 484398288 w 116"/>
              <a:gd name="T15" fmla="*/ 46136367 h 122"/>
              <a:gd name="T16" fmla="*/ 550684155 w 116"/>
              <a:gd name="T17" fmla="*/ 107653033 h 122"/>
              <a:gd name="T18" fmla="*/ 550684155 w 116"/>
              <a:gd name="T19" fmla="*/ 117905056 h 122"/>
              <a:gd name="T20" fmla="*/ 586377588 w 116"/>
              <a:gd name="T21" fmla="*/ 153789401 h 122"/>
              <a:gd name="T22" fmla="*/ 591476327 w 116"/>
              <a:gd name="T23" fmla="*/ 107653033 h 122"/>
              <a:gd name="T24" fmla="*/ 484398288 w 116"/>
              <a:gd name="T25" fmla="*/ 0 h 122"/>
              <a:gd name="T26" fmla="*/ 377320249 w 116"/>
              <a:gd name="T27" fmla="*/ 107653033 h 122"/>
              <a:gd name="T28" fmla="*/ 458904592 w 116"/>
              <a:gd name="T29" fmla="*/ 215306067 h 122"/>
              <a:gd name="T30" fmla="*/ 458904592 w 116"/>
              <a:gd name="T31" fmla="*/ 307578802 h 122"/>
              <a:gd name="T32" fmla="*/ 458904592 w 116"/>
              <a:gd name="T33" fmla="*/ 333211123 h 122"/>
              <a:gd name="T34" fmla="*/ 458904592 w 116"/>
              <a:gd name="T35" fmla="*/ 574149511 h 122"/>
              <a:gd name="T36" fmla="*/ 0 w 116"/>
              <a:gd name="T37" fmla="*/ 574149511 h 122"/>
              <a:gd name="T38" fmla="*/ 0 w 116"/>
              <a:gd name="T39" fmla="*/ 625411890 h 122"/>
              <a:gd name="T40" fmla="*/ 509894242 w 116"/>
              <a:gd name="T41" fmla="*/ 625411890 h 122"/>
              <a:gd name="T42" fmla="*/ 509894242 w 116"/>
              <a:gd name="T43" fmla="*/ 333211123 h 122"/>
              <a:gd name="T44" fmla="*/ 509894242 w 116"/>
              <a:gd name="T45" fmla="*/ 307578802 h 122"/>
              <a:gd name="T46" fmla="*/ 509894242 w 116"/>
              <a:gd name="T47" fmla="*/ 215306067 h 122"/>
              <a:gd name="T48" fmla="*/ 576180109 w 116"/>
              <a:gd name="T49" fmla="*/ 169169699 h 12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6" h="122">
                <a:moveTo>
                  <a:pt x="113" y="33"/>
                </a:moveTo>
                <a:cubicBezTo>
                  <a:pt x="98" y="18"/>
                  <a:pt x="98" y="18"/>
                  <a:pt x="98" y="18"/>
                </a:cubicBezTo>
                <a:cubicBezTo>
                  <a:pt x="97" y="17"/>
                  <a:pt x="94" y="17"/>
                  <a:pt x="92" y="18"/>
                </a:cubicBezTo>
                <a:cubicBezTo>
                  <a:pt x="91" y="20"/>
                  <a:pt x="91" y="23"/>
                  <a:pt x="92" y="24"/>
                </a:cubicBezTo>
                <a:cubicBezTo>
                  <a:pt x="101" y="33"/>
                  <a:pt x="101" y="33"/>
                  <a:pt x="101" y="33"/>
                </a:cubicBezTo>
                <a:cubicBezTo>
                  <a:pt x="99" y="33"/>
                  <a:pt x="97" y="34"/>
                  <a:pt x="95" y="34"/>
                </a:cubicBezTo>
                <a:cubicBezTo>
                  <a:pt x="88" y="34"/>
                  <a:pt x="83" y="28"/>
                  <a:pt x="83" y="21"/>
                </a:cubicBezTo>
                <a:cubicBezTo>
                  <a:pt x="83" y="14"/>
                  <a:pt x="88" y="9"/>
                  <a:pt x="95" y="9"/>
                </a:cubicBezTo>
                <a:cubicBezTo>
                  <a:pt x="102" y="9"/>
                  <a:pt x="108" y="14"/>
                  <a:pt x="108" y="21"/>
                </a:cubicBezTo>
                <a:cubicBezTo>
                  <a:pt x="108" y="22"/>
                  <a:pt x="108" y="22"/>
                  <a:pt x="108" y="23"/>
                </a:cubicBezTo>
                <a:cubicBezTo>
                  <a:pt x="115" y="30"/>
                  <a:pt x="115" y="30"/>
                  <a:pt x="115" y="30"/>
                </a:cubicBezTo>
                <a:cubicBezTo>
                  <a:pt x="116" y="27"/>
                  <a:pt x="116" y="24"/>
                  <a:pt x="116" y="21"/>
                </a:cubicBezTo>
                <a:cubicBezTo>
                  <a:pt x="116" y="10"/>
                  <a:pt x="107" y="0"/>
                  <a:pt x="95" y="0"/>
                </a:cubicBezTo>
                <a:cubicBezTo>
                  <a:pt x="84" y="0"/>
                  <a:pt x="74" y="10"/>
                  <a:pt x="74" y="21"/>
                </a:cubicBezTo>
                <a:cubicBezTo>
                  <a:pt x="74" y="31"/>
                  <a:pt x="81" y="39"/>
                  <a:pt x="90" y="42"/>
                </a:cubicBezTo>
                <a:cubicBezTo>
                  <a:pt x="90" y="44"/>
                  <a:pt x="90" y="51"/>
                  <a:pt x="90" y="60"/>
                </a:cubicBezTo>
                <a:cubicBezTo>
                  <a:pt x="90" y="62"/>
                  <a:pt x="90" y="63"/>
                  <a:pt x="90" y="65"/>
                </a:cubicBezTo>
                <a:cubicBezTo>
                  <a:pt x="90" y="84"/>
                  <a:pt x="90" y="107"/>
                  <a:pt x="90" y="112"/>
                </a:cubicBezTo>
                <a:cubicBezTo>
                  <a:pt x="81" y="112"/>
                  <a:pt x="0" y="112"/>
                  <a:pt x="0" y="112"/>
                </a:cubicBezTo>
                <a:cubicBezTo>
                  <a:pt x="0" y="122"/>
                  <a:pt x="0" y="122"/>
                  <a:pt x="0" y="122"/>
                </a:cubicBezTo>
                <a:cubicBezTo>
                  <a:pt x="100" y="122"/>
                  <a:pt x="100" y="122"/>
                  <a:pt x="100" y="122"/>
                </a:cubicBezTo>
                <a:cubicBezTo>
                  <a:pt x="100" y="65"/>
                  <a:pt x="100" y="65"/>
                  <a:pt x="100" y="65"/>
                </a:cubicBezTo>
                <a:cubicBezTo>
                  <a:pt x="100" y="60"/>
                  <a:pt x="100" y="60"/>
                  <a:pt x="100" y="60"/>
                </a:cubicBezTo>
                <a:cubicBezTo>
                  <a:pt x="100" y="42"/>
                  <a:pt x="100" y="42"/>
                  <a:pt x="100" y="42"/>
                </a:cubicBezTo>
                <a:cubicBezTo>
                  <a:pt x="106" y="40"/>
                  <a:pt x="110" y="37"/>
                  <a:pt x="113" y="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2" name="Freeform 304"/>
          <p:cNvSpPr>
            <a:spLocks/>
          </p:cNvSpPr>
          <p:nvPr/>
        </p:nvSpPr>
        <p:spPr bwMode="auto">
          <a:xfrm>
            <a:off x="8813800" y="4053417"/>
            <a:ext cx="33867" cy="141816"/>
          </a:xfrm>
          <a:custGeom>
            <a:avLst/>
            <a:gdLst>
              <a:gd name="T0" fmla="*/ 31992455 w 11"/>
              <a:gd name="T1" fmla="*/ 240701732 h 47"/>
              <a:gd name="T2" fmla="*/ 58650909 w 11"/>
              <a:gd name="T3" fmla="*/ 240701732 h 47"/>
              <a:gd name="T4" fmla="*/ 58650909 w 11"/>
              <a:gd name="T5" fmla="*/ 46090954 h 47"/>
              <a:gd name="T6" fmla="*/ 58650909 w 11"/>
              <a:gd name="T7" fmla="*/ 20484869 h 47"/>
              <a:gd name="T8" fmla="*/ 58650909 w 11"/>
              <a:gd name="T9" fmla="*/ 0 h 47"/>
              <a:gd name="T10" fmla="*/ 31992455 w 11"/>
              <a:gd name="T11" fmla="*/ 0 h 47"/>
              <a:gd name="T12" fmla="*/ 5331691 w 11"/>
              <a:gd name="T13" fmla="*/ 20484869 h 47"/>
              <a:gd name="T14" fmla="*/ 0 w 11"/>
              <a:gd name="T15" fmla="*/ 35848520 h 47"/>
              <a:gd name="T16" fmla="*/ 0 w 11"/>
              <a:gd name="T17" fmla="*/ 46090954 h 47"/>
              <a:gd name="T18" fmla="*/ 0 w 11"/>
              <a:gd name="T19" fmla="*/ 209974429 h 47"/>
              <a:gd name="T20" fmla="*/ 31992455 w 11"/>
              <a:gd name="T21" fmla="*/ 240701732 h 4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1" h="47">
                <a:moveTo>
                  <a:pt x="6" y="47"/>
                </a:moveTo>
                <a:cubicBezTo>
                  <a:pt x="11" y="47"/>
                  <a:pt x="11" y="47"/>
                  <a:pt x="11" y="47"/>
                </a:cubicBezTo>
                <a:cubicBezTo>
                  <a:pt x="11" y="9"/>
                  <a:pt x="11" y="9"/>
                  <a:pt x="11" y="9"/>
                </a:cubicBezTo>
                <a:cubicBezTo>
                  <a:pt x="11" y="4"/>
                  <a:pt x="11" y="4"/>
                  <a:pt x="11" y="4"/>
                </a:cubicBezTo>
                <a:cubicBezTo>
                  <a:pt x="11" y="0"/>
                  <a:pt x="11" y="0"/>
                  <a:pt x="11" y="0"/>
                </a:cubicBezTo>
                <a:cubicBezTo>
                  <a:pt x="6" y="0"/>
                  <a:pt x="6" y="0"/>
                  <a:pt x="6" y="0"/>
                </a:cubicBezTo>
                <a:cubicBezTo>
                  <a:pt x="4" y="0"/>
                  <a:pt x="2" y="2"/>
                  <a:pt x="1" y="4"/>
                </a:cubicBezTo>
                <a:cubicBezTo>
                  <a:pt x="0" y="5"/>
                  <a:pt x="0" y="6"/>
                  <a:pt x="0" y="7"/>
                </a:cubicBezTo>
                <a:cubicBezTo>
                  <a:pt x="0" y="9"/>
                  <a:pt x="0" y="9"/>
                  <a:pt x="0" y="9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4"/>
                  <a:pt x="3" y="47"/>
                  <a:pt x="6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3" name="Freeform 305"/>
          <p:cNvSpPr>
            <a:spLocks/>
          </p:cNvSpPr>
          <p:nvPr/>
        </p:nvSpPr>
        <p:spPr bwMode="auto">
          <a:xfrm>
            <a:off x="8978900" y="4053417"/>
            <a:ext cx="33867" cy="141816"/>
          </a:xfrm>
          <a:custGeom>
            <a:avLst/>
            <a:gdLst>
              <a:gd name="T0" fmla="*/ 0 w 11"/>
              <a:gd name="T1" fmla="*/ 240701732 h 47"/>
              <a:gd name="T2" fmla="*/ 26658455 w 11"/>
              <a:gd name="T3" fmla="*/ 240701732 h 47"/>
              <a:gd name="T4" fmla="*/ 58650909 w 11"/>
              <a:gd name="T5" fmla="*/ 209974429 h 47"/>
              <a:gd name="T6" fmla="*/ 58650909 w 11"/>
              <a:gd name="T7" fmla="*/ 46090954 h 47"/>
              <a:gd name="T8" fmla="*/ 58650909 w 11"/>
              <a:gd name="T9" fmla="*/ 35848520 h 47"/>
              <a:gd name="T10" fmla="*/ 53319218 w 11"/>
              <a:gd name="T11" fmla="*/ 20484869 h 47"/>
              <a:gd name="T12" fmla="*/ 26658455 w 11"/>
              <a:gd name="T13" fmla="*/ 0 h 47"/>
              <a:gd name="T14" fmla="*/ 0 w 11"/>
              <a:gd name="T15" fmla="*/ 0 h 47"/>
              <a:gd name="T16" fmla="*/ 0 w 11"/>
              <a:gd name="T17" fmla="*/ 20484869 h 47"/>
              <a:gd name="T18" fmla="*/ 0 w 11"/>
              <a:gd name="T19" fmla="*/ 46090954 h 47"/>
              <a:gd name="T20" fmla="*/ 0 w 11"/>
              <a:gd name="T21" fmla="*/ 240701732 h 4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1" h="47">
                <a:moveTo>
                  <a:pt x="0" y="47"/>
                </a:moveTo>
                <a:cubicBezTo>
                  <a:pt x="5" y="47"/>
                  <a:pt x="5" y="47"/>
                  <a:pt x="5" y="47"/>
                </a:cubicBezTo>
                <a:cubicBezTo>
                  <a:pt x="8" y="47"/>
                  <a:pt x="11" y="44"/>
                  <a:pt x="11" y="41"/>
                </a:cubicBezTo>
                <a:cubicBezTo>
                  <a:pt x="11" y="9"/>
                  <a:pt x="11" y="9"/>
                  <a:pt x="11" y="9"/>
                </a:cubicBezTo>
                <a:cubicBezTo>
                  <a:pt x="11" y="7"/>
                  <a:pt x="11" y="7"/>
                  <a:pt x="11" y="7"/>
                </a:cubicBezTo>
                <a:cubicBezTo>
                  <a:pt x="11" y="6"/>
                  <a:pt x="11" y="5"/>
                  <a:pt x="10" y="4"/>
                </a:cubicBezTo>
                <a:cubicBezTo>
                  <a:pt x="9" y="2"/>
                  <a:pt x="7" y="0"/>
                  <a:pt x="5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"/>
                  <a:pt x="0" y="4"/>
                  <a:pt x="0" y="4"/>
                </a:cubicBezTo>
                <a:cubicBezTo>
                  <a:pt x="0" y="9"/>
                  <a:pt x="0" y="9"/>
                  <a:pt x="0" y="9"/>
                </a:cubicBezTo>
                <a:lnTo>
                  <a:pt x="0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4" name="Freeform 306"/>
          <p:cNvSpPr>
            <a:spLocks/>
          </p:cNvSpPr>
          <p:nvPr/>
        </p:nvSpPr>
        <p:spPr bwMode="auto">
          <a:xfrm>
            <a:off x="8868834" y="4053417"/>
            <a:ext cx="88900" cy="141816"/>
          </a:xfrm>
          <a:custGeom>
            <a:avLst/>
            <a:gdLst>
              <a:gd name="T0" fmla="*/ 0 w 42"/>
              <a:gd name="T1" fmla="*/ 168850469 h 67"/>
              <a:gd name="T2" fmla="*/ 105846563 w 42"/>
              <a:gd name="T3" fmla="*/ 168850469 h 67"/>
              <a:gd name="T4" fmla="*/ 105846563 w 42"/>
              <a:gd name="T5" fmla="*/ 32762671 h 67"/>
              <a:gd name="T6" fmla="*/ 105846563 w 42"/>
              <a:gd name="T7" fmla="*/ 15120866 h 67"/>
              <a:gd name="T8" fmla="*/ 105846563 w 42"/>
              <a:gd name="T9" fmla="*/ 0 h 67"/>
              <a:gd name="T10" fmla="*/ 0 w 42"/>
              <a:gd name="T11" fmla="*/ 0 h 67"/>
              <a:gd name="T12" fmla="*/ 0 w 42"/>
              <a:gd name="T13" fmla="*/ 15120866 h 67"/>
              <a:gd name="T14" fmla="*/ 0 w 42"/>
              <a:gd name="T15" fmla="*/ 32762671 h 67"/>
              <a:gd name="T16" fmla="*/ 0 w 42"/>
              <a:gd name="T17" fmla="*/ 168850469 h 6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2" h="67">
                <a:moveTo>
                  <a:pt x="0" y="67"/>
                </a:moveTo>
                <a:lnTo>
                  <a:pt x="42" y="67"/>
                </a:lnTo>
                <a:lnTo>
                  <a:pt x="42" y="13"/>
                </a:lnTo>
                <a:lnTo>
                  <a:pt x="42" y="6"/>
                </a:lnTo>
                <a:lnTo>
                  <a:pt x="42" y="0"/>
                </a:lnTo>
                <a:lnTo>
                  <a:pt x="0" y="0"/>
                </a:lnTo>
                <a:lnTo>
                  <a:pt x="0" y="6"/>
                </a:lnTo>
                <a:lnTo>
                  <a:pt x="0" y="13"/>
                </a:lnTo>
                <a:lnTo>
                  <a:pt x="0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5" name="Freeform 307"/>
          <p:cNvSpPr>
            <a:spLocks/>
          </p:cNvSpPr>
          <p:nvPr/>
        </p:nvSpPr>
        <p:spPr bwMode="auto">
          <a:xfrm>
            <a:off x="8868834" y="4002618"/>
            <a:ext cx="88900" cy="44449"/>
          </a:xfrm>
          <a:custGeom>
            <a:avLst/>
            <a:gdLst>
              <a:gd name="T0" fmla="*/ 108669138 w 30"/>
              <a:gd name="T1" fmla="*/ 0 h 15"/>
              <a:gd name="T2" fmla="*/ 39516050 w 30"/>
              <a:gd name="T3" fmla="*/ 0 h 15"/>
              <a:gd name="T4" fmla="*/ 0 w 30"/>
              <a:gd name="T5" fmla="*/ 34577136 h 15"/>
              <a:gd name="T6" fmla="*/ 0 w 30"/>
              <a:gd name="T7" fmla="*/ 39515457 h 15"/>
              <a:gd name="T8" fmla="*/ 0 w 30"/>
              <a:gd name="T9" fmla="*/ 59273186 h 15"/>
              <a:gd name="T10" fmla="*/ 0 w 30"/>
              <a:gd name="T11" fmla="*/ 74092594 h 15"/>
              <a:gd name="T12" fmla="*/ 34577655 w 30"/>
              <a:gd name="T13" fmla="*/ 74092594 h 15"/>
              <a:gd name="T14" fmla="*/ 34577655 w 30"/>
              <a:gd name="T15" fmla="*/ 59273186 h 15"/>
              <a:gd name="T16" fmla="*/ 34577655 w 30"/>
              <a:gd name="T17" fmla="*/ 39515457 h 15"/>
              <a:gd name="T18" fmla="*/ 39516050 w 30"/>
              <a:gd name="T19" fmla="*/ 34577136 h 15"/>
              <a:gd name="T20" fmla="*/ 108669138 w 30"/>
              <a:gd name="T21" fmla="*/ 34577136 h 15"/>
              <a:gd name="T22" fmla="*/ 113609755 w 30"/>
              <a:gd name="T23" fmla="*/ 39515457 h 15"/>
              <a:gd name="T24" fmla="*/ 113609755 w 30"/>
              <a:gd name="T25" fmla="*/ 59273186 h 15"/>
              <a:gd name="T26" fmla="*/ 113609755 w 30"/>
              <a:gd name="T27" fmla="*/ 74092594 h 15"/>
              <a:gd name="T28" fmla="*/ 148185188 w 30"/>
              <a:gd name="T29" fmla="*/ 74092594 h 15"/>
              <a:gd name="T30" fmla="*/ 148185188 w 30"/>
              <a:gd name="T31" fmla="*/ 59273186 h 15"/>
              <a:gd name="T32" fmla="*/ 148185188 w 30"/>
              <a:gd name="T33" fmla="*/ 39515457 h 15"/>
              <a:gd name="T34" fmla="*/ 148185188 w 30"/>
              <a:gd name="T35" fmla="*/ 34577136 h 15"/>
              <a:gd name="T36" fmla="*/ 108669138 w 30"/>
              <a:gd name="T37" fmla="*/ 0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0" h="15">
                <a:moveTo>
                  <a:pt x="22" y="0"/>
                </a:moveTo>
                <a:cubicBezTo>
                  <a:pt x="8" y="0"/>
                  <a:pt x="8" y="0"/>
                  <a:pt x="8" y="0"/>
                </a:cubicBezTo>
                <a:cubicBezTo>
                  <a:pt x="4" y="0"/>
                  <a:pt x="1" y="3"/>
                  <a:pt x="0" y="7"/>
                </a:cubicBezTo>
                <a:cubicBezTo>
                  <a:pt x="0" y="7"/>
                  <a:pt x="0" y="8"/>
                  <a:pt x="0" y="8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5"/>
                  <a:pt x="0" y="15"/>
                  <a:pt x="0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8"/>
                  <a:pt x="7" y="8"/>
                  <a:pt x="7" y="8"/>
                </a:cubicBezTo>
                <a:cubicBezTo>
                  <a:pt x="7" y="7"/>
                  <a:pt x="7" y="7"/>
                  <a:pt x="8" y="7"/>
                </a:cubicBezTo>
                <a:cubicBezTo>
                  <a:pt x="22" y="7"/>
                  <a:pt x="22" y="7"/>
                  <a:pt x="22" y="7"/>
                </a:cubicBezTo>
                <a:cubicBezTo>
                  <a:pt x="23" y="7"/>
                  <a:pt x="23" y="7"/>
                  <a:pt x="23" y="8"/>
                </a:cubicBezTo>
                <a:cubicBezTo>
                  <a:pt x="23" y="12"/>
                  <a:pt x="23" y="12"/>
                  <a:pt x="23" y="12"/>
                </a:cubicBezTo>
                <a:cubicBezTo>
                  <a:pt x="23" y="15"/>
                  <a:pt x="23" y="15"/>
                  <a:pt x="23" y="15"/>
                </a:cubicBezTo>
                <a:cubicBezTo>
                  <a:pt x="30" y="15"/>
                  <a:pt x="30" y="15"/>
                  <a:pt x="30" y="15"/>
                </a:cubicBezTo>
                <a:cubicBezTo>
                  <a:pt x="30" y="12"/>
                  <a:pt x="30" y="12"/>
                  <a:pt x="30" y="12"/>
                </a:cubicBezTo>
                <a:cubicBezTo>
                  <a:pt x="30" y="8"/>
                  <a:pt x="30" y="8"/>
                  <a:pt x="30" y="8"/>
                </a:cubicBezTo>
                <a:cubicBezTo>
                  <a:pt x="30" y="8"/>
                  <a:pt x="30" y="7"/>
                  <a:pt x="30" y="7"/>
                </a:cubicBezTo>
                <a:cubicBezTo>
                  <a:pt x="29" y="3"/>
                  <a:pt x="26" y="0"/>
                  <a:pt x="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6" name="Freeform 308"/>
          <p:cNvSpPr>
            <a:spLocks noEditPoints="1"/>
          </p:cNvSpPr>
          <p:nvPr/>
        </p:nvSpPr>
        <p:spPr bwMode="auto">
          <a:xfrm>
            <a:off x="2810934" y="1388534"/>
            <a:ext cx="469900" cy="484717"/>
          </a:xfrm>
          <a:custGeom>
            <a:avLst/>
            <a:gdLst>
              <a:gd name="T0" fmla="*/ 163317360 w 156"/>
              <a:gd name="T1" fmla="*/ 0 h 161"/>
              <a:gd name="T2" fmla="*/ 117384635 w 156"/>
              <a:gd name="T3" fmla="*/ 45887076 h 161"/>
              <a:gd name="T4" fmla="*/ 117384635 w 156"/>
              <a:gd name="T5" fmla="*/ 657714756 h 161"/>
              <a:gd name="T6" fmla="*/ 163317360 w 156"/>
              <a:gd name="T7" fmla="*/ 703601832 h 161"/>
              <a:gd name="T8" fmla="*/ 540990448 w 156"/>
              <a:gd name="T9" fmla="*/ 703601832 h 161"/>
              <a:gd name="T10" fmla="*/ 586923173 w 156"/>
              <a:gd name="T11" fmla="*/ 657714756 h 161"/>
              <a:gd name="T12" fmla="*/ 586923173 w 156"/>
              <a:gd name="T13" fmla="*/ 45887076 h 161"/>
              <a:gd name="T14" fmla="*/ 540990448 w 156"/>
              <a:gd name="T15" fmla="*/ 0 h 161"/>
              <a:gd name="T16" fmla="*/ 163317360 w 156"/>
              <a:gd name="T17" fmla="*/ 0 h 161"/>
              <a:gd name="T18" fmla="*/ 607338973 w 156"/>
              <a:gd name="T19" fmla="*/ 132562664 h 161"/>
              <a:gd name="T20" fmla="*/ 607338973 w 156"/>
              <a:gd name="T21" fmla="*/ 540447784 h 161"/>
              <a:gd name="T22" fmla="*/ 780865362 w 156"/>
              <a:gd name="T23" fmla="*/ 372195172 h 161"/>
              <a:gd name="T24" fmla="*/ 780865362 w 156"/>
              <a:gd name="T25" fmla="*/ 305913840 h 161"/>
              <a:gd name="T26" fmla="*/ 607338973 w 156"/>
              <a:gd name="T27" fmla="*/ 132562664 h 161"/>
              <a:gd name="T28" fmla="*/ 352153904 w 156"/>
              <a:gd name="T29" fmla="*/ 209041124 h 161"/>
              <a:gd name="T30" fmla="*/ 444021613 w 156"/>
              <a:gd name="T31" fmla="*/ 321209532 h 161"/>
              <a:gd name="T32" fmla="*/ 352153904 w 156"/>
              <a:gd name="T33" fmla="*/ 346702352 h 161"/>
              <a:gd name="T34" fmla="*/ 255185069 w 156"/>
              <a:gd name="T35" fmla="*/ 321209532 h 161"/>
              <a:gd name="T36" fmla="*/ 352153904 w 156"/>
              <a:gd name="T37" fmla="*/ 209041124 h 161"/>
              <a:gd name="T38" fmla="*/ 352153904 w 156"/>
              <a:gd name="T39" fmla="*/ 351800916 h 161"/>
              <a:gd name="T40" fmla="*/ 398088888 w 156"/>
              <a:gd name="T41" fmla="*/ 443575068 h 161"/>
              <a:gd name="T42" fmla="*/ 306221179 w 156"/>
              <a:gd name="T43" fmla="*/ 443575068 h 161"/>
              <a:gd name="T44" fmla="*/ 352153904 w 156"/>
              <a:gd name="T45" fmla="*/ 351800916 h 161"/>
              <a:gd name="T46" fmla="*/ 91865450 w 156"/>
              <a:gd name="T47" fmla="*/ 392589428 h 161"/>
              <a:gd name="T48" fmla="*/ 15310155 w 156"/>
              <a:gd name="T49" fmla="*/ 469067888 h 161"/>
              <a:gd name="T50" fmla="*/ 15310155 w 156"/>
              <a:gd name="T51" fmla="*/ 535349220 h 161"/>
              <a:gd name="T52" fmla="*/ 91865450 w 156"/>
              <a:gd name="T53" fmla="*/ 611827680 h 161"/>
              <a:gd name="T54" fmla="*/ 91865450 w 156"/>
              <a:gd name="T55" fmla="*/ 392589428 h 161"/>
              <a:gd name="T56" fmla="*/ 204146700 w 156"/>
              <a:gd name="T57" fmla="*/ 729094652 h 161"/>
              <a:gd name="T58" fmla="*/ 280701994 w 156"/>
              <a:gd name="T59" fmla="*/ 805573112 h 161"/>
              <a:gd name="T60" fmla="*/ 347050519 w 156"/>
              <a:gd name="T61" fmla="*/ 805573112 h 161"/>
              <a:gd name="T62" fmla="*/ 423605813 w 156"/>
              <a:gd name="T63" fmla="*/ 729094652 h 161"/>
              <a:gd name="T64" fmla="*/ 204146700 w 156"/>
              <a:gd name="T65" fmla="*/ 729094652 h 16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6" h="161">
                <a:moveTo>
                  <a:pt x="32" y="0"/>
                </a:moveTo>
                <a:cubicBezTo>
                  <a:pt x="27" y="0"/>
                  <a:pt x="23" y="4"/>
                  <a:pt x="23" y="9"/>
                </a:cubicBezTo>
                <a:cubicBezTo>
                  <a:pt x="23" y="129"/>
                  <a:pt x="23" y="129"/>
                  <a:pt x="23" y="129"/>
                </a:cubicBezTo>
                <a:cubicBezTo>
                  <a:pt x="23" y="134"/>
                  <a:pt x="27" y="138"/>
                  <a:pt x="32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11" y="138"/>
                  <a:pt x="115" y="134"/>
                  <a:pt x="115" y="129"/>
                </a:cubicBezTo>
                <a:cubicBezTo>
                  <a:pt x="115" y="9"/>
                  <a:pt x="115" y="9"/>
                  <a:pt x="115" y="9"/>
                </a:cubicBezTo>
                <a:cubicBezTo>
                  <a:pt x="115" y="4"/>
                  <a:pt x="111" y="0"/>
                  <a:pt x="106" y="0"/>
                </a:cubicBezTo>
                <a:cubicBezTo>
                  <a:pt x="32" y="0"/>
                  <a:pt x="32" y="0"/>
                  <a:pt x="32" y="0"/>
                </a:cubicBezTo>
                <a:close/>
                <a:moveTo>
                  <a:pt x="119" y="26"/>
                </a:moveTo>
                <a:cubicBezTo>
                  <a:pt x="119" y="106"/>
                  <a:pt x="119" y="106"/>
                  <a:pt x="119" y="106"/>
                </a:cubicBezTo>
                <a:cubicBezTo>
                  <a:pt x="153" y="73"/>
                  <a:pt x="153" y="73"/>
                  <a:pt x="153" y="73"/>
                </a:cubicBezTo>
                <a:cubicBezTo>
                  <a:pt x="156" y="69"/>
                  <a:pt x="156" y="63"/>
                  <a:pt x="153" y="60"/>
                </a:cubicBezTo>
                <a:cubicBezTo>
                  <a:pt x="119" y="26"/>
                  <a:pt x="119" y="26"/>
                  <a:pt x="119" y="26"/>
                </a:cubicBezTo>
                <a:close/>
                <a:moveTo>
                  <a:pt x="69" y="41"/>
                </a:moveTo>
                <a:cubicBezTo>
                  <a:pt x="69" y="50"/>
                  <a:pt x="87" y="50"/>
                  <a:pt x="87" y="63"/>
                </a:cubicBezTo>
                <a:cubicBezTo>
                  <a:pt x="87" y="77"/>
                  <a:pt x="70" y="74"/>
                  <a:pt x="69" y="68"/>
                </a:cubicBezTo>
                <a:cubicBezTo>
                  <a:pt x="68" y="74"/>
                  <a:pt x="50" y="77"/>
                  <a:pt x="50" y="63"/>
                </a:cubicBezTo>
                <a:cubicBezTo>
                  <a:pt x="50" y="50"/>
                  <a:pt x="69" y="50"/>
                  <a:pt x="69" y="41"/>
                </a:cubicBezTo>
                <a:close/>
                <a:moveTo>
                  <a:pt x="69" y="69"/>
                </a:moveTo>
                <a:cubicBezTo>
                  <a:pt x="78" y="87"/>
                  <a:pt x="78" y="87"/>
                  <a:pt x="78" y="87"/>
                </a:cubicBezTo>
                <a:cubicBezTo>
                  <a:pt x="60" y="87"/>
                  <a:pt x="60" y="87"/>
                  <a:pt x="60" y="87"/>
                </a:cubicBezTo>
                <a:cubicBezTo>
                  <a:pt x="69" y="69"/>
                  <a:pt x="69" y="69"/>
                  <a:pt x="69" y="69"/>
                </a:cubicBezTo>
                <a:close/>
                <a:moveTo>
                  <a:pt x="18" y="77"/>
                </a:moveTo>
                <a:cubicBezTo>
                  <a:pt x="3" y="92"/>
                  <a:pt x="3" y="92"/>
                  <a:pt x="3" y="92"/>
                </a:cubicBezTo>
                <a:cubicBezTo>
                  <a:pt x="0" y="96"/>
                  <a:pt x="0" y="102"/>
                  <a:pt x="3" y="105"/>
                </a:cubicBezTo>
                <a:cubicBezTo>
                  <a:pt x="18" y="120"/>
                  <a:pt x="18" y="120"/>
                  <a:pt x="18" y="120"/>
                </a:cubicBezTo>
                <a:cubicBezTo>
                  <a:pt x="18" y="77"/>
                  <a:pt x="18" y="77"/>
                  <a:pt x="18" y="77"/>
                </a:cubicBezTo>
                <a:close/>
                <a:moveTo>
                  <a:pt x="40" y="143"/>
                </a:moveTo>
                <a:cubicBezTo>
                  <a:pt x="55" y="158"/>
                  <a:pt x="55" y="158"/>
                  <a:pt x="55" y="158"/>
                </a:cubicBezTo>
                <a:cubicBezTo>
                  <a:pt x="59" y="161"/>
                  <a:pt x="65" y="161"/>
                  <a:pt x="68" y="158"/>
                </a:cubicBezTo>
                <a:cubicBezTo>
                  <a:pt x="83" y="143"/>
                  <a:pt x="83" y="143"/>
                  <a:pt x="83" y="143"/>
                </a:cubicBezTo>
                <a:cubicBezTo>
                  <a:pt x="40" y="143"/>
                  <a:pt x="40" y="143"/>
                  <a:pt x="40" y="1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7" name="Freeform 309"/>
          <p:cNvSpPr>
            <a:spLocks noEditPoints="1"/>
          </p:cNvSpPr>
          <p:nvPr/>
        </p:nvSpPr>
        <p:spPr bwMode="auto">
          <a:xfrm>
            <a:off x="3672417" y="1403351"/>
            <a:ext cx="431800" cy="404283"/>
          </a:xfrm>
          <a:custGeom>
            <a:avLst/>
            <a:gdLst>
              <a:gd name="T0" fmla="*/ 40463258 w 144"/>
              <a:gd name="T1" fmla="*/ 0 h 134"/>
              <a:gd name="T2" fmla="*/ 0 w 144"/>
              <a:gd name="T3" fmla="*/ 46081436 h 134"/>
              <a:gd name="T4" fmla="*/ 0 w 144"/>
              <a:gd name="T5" fmla="*/ 148485632 h 134"/>
              <a:gd name="T6" fmla="*/ 40463258 w 144"/>
              <a:gd name="T7" fmla="*/ 194567067 h 134"/>
              <a:gd name="T8" fmla="*/ 80924268 w 144"/>
              <a:gd name="T9" fmla="*/ 194567067 h 134"/>
              <a:gd name="T10" fmla="*/ 374278393 w 144"/>
              <a:gd name="T11" fmla="*/ 194567067 h 134"/>
              <a:gd name="T12" fmla="*/ 510839641 w 144"/>
              <a:gd name="T13" fmla="*/ 343052699 h 134"/>
              <a:gd name="T14" fmla="*/ 374278393 w 144"/>
              <a:gd name="T15" fmla="*/ 491536068 h 134"/>
              <a:gd name="T16" fmla="*/ 364162578 w 144"/>
              <a:gd name="T17" fmla="*/ 491536068 h 134"/>
              <a:gd name="T18" fmla="*/ 80924268 w 144"/>
              <a:gd name="T19" fmla="*/ 491536068 h 134"/>
              <a:gd name="T20" fmla="*/ 40463258 w 144"/>
              <a:gd name="T21" fmla="*/ 491536068 h 134"/>
              <a:gd name="T22" fmla="*/ 0 w 144"/>
              <a:gd name="T23" fmla="*/ 537617504 h 134"/>
              <a:gd name="T24" fmla="*/ 0 w 144"/>
              <a:gd name="T25" fmla="*/ 640021700 h 134"/>
              <a:gd name="T26" fmla="*/ 40463258 w 144"/>
              <a:gd name="T27" fmla="*/ 686103135 h 134"/>
              <a:gd name="T28" fmla="*/ 374278393 w 144"/>
              <a:gd name="T29" fmla="*/ 686103135 h 134"/>
              <a:gd name="T30" fmla="*/ 374278393 w 144"/>
              <a:gd name="T31" fmla="*/ 686103135 h 134"/>
              <a:gd name="T32" fmla="*/ 389452115 w 144"/>
              <a:gd name="T33" fmla="*/ 686103135 h 134"/>
              <a:gd name="T34" fmla="*/ 728325156 w 144"/>
              <a:gd name="T35" fmla="*/ 343052699 h 134"/>
              <a:gd name="T36" fmla="*/ 389452115 w 144"/>
              <a:gd name="T37" fmla="*/ 0 h 134"/>
              <a:gd name="T38" fmla="*/ 374278393 w 144"/>
              <a:gd name="T39" fmla="*/ 0 h 134"/>
              <a:gd name="T40" fmla="*/ 374278393 w 144"/>
              <a:gd name="T41" fmla="*/ 0 h 134"/>
              <a:gd name="T42" fmla="*/ 40463258 w 144"/>
              <a:gd name="T43" fmla="*/ 0 h 134"/>
              <a:gd name="T44" fmla="*/ 50579073 w 144"/>
              <a:gd name="T45" fmla="*/ 46081436 h 134"/>
              <a:gd name="T46" fmla="*/ 121387526 w 144"/>
              <a:gd name="T47" fmla="*/ 46081436 h 134"/>
              <a:gd name="T48" fmla="*/ 121387526 w 144"/>
              <a:gd name="T49" fmla="*/ 148485632 h 134"/>
              <a:gd name="T50" fmla="*/ 50579073 w 144"/>
              <a:gd name="T51" fmla="*/ 148485632 h 134"/>
              <a:gd name="T52" fmla="*/ 50579073 w 144"/>
              <a:gd name="T53" fmla="*/ 46081436 h 134"/>
              <a:gd name="T54" fmla="*/ 50579073 w 144"/>
              <a:gd name="T55" fmla="*/ 537617504 h 134"/>
              <a:gd name="T56" fmla="*/ 121387526 w 144"/>
              <a:gd name="T57" fmla="*/ 537617504 h 134"/>
              <a:gd name="T58" fmla="*/ 121387526 w 144"/>
              <a:gd name="T59" fmla="*/ 640021700 h 134"/>
              <a:gd name="T60" fmla="*/ 50579073 w 144"/>
              <a:gd name="T61" fmla="*/ 640021700 h 134"/>
              <a:gd name="T62" fmla="*/ 50579073 w 144"/>
              <a:gd name="T63" fmla="*/ 537617504 h 13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4" h="134">
                <a:moveTo>
                  <a:pt x="8" y="0"/>
                </a:moveTo>
                <a:cubicBezTo>
                  <a:pt x="4" y="0"/>
                  <a:pt x="0" y="4"/>
                  <a:pt x="0" y="9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34"/>
                  <a:pt x="4" y="38"/>
                  <a:pt x="8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74" y="38"/>
                  <a:pt x="74" y="38"/>
                  <a:pt x="74" y="38"/>
                </a:cubicBezTo>
                <a:cubicBezTo>
                  <a:pt x="89" y="39"/>
                  <a:pt x="101" y="52"/>
                  <a:pt x="101" y="67"/>
                </a:cubicBezTo>
                <a:cubicBezTo>
                  <a:pt x="101" y="83"/>
                  <a:pt x="89" y="95"/>
                  <a:pt x="74" y="96"/>
                </a:cubicBezTo>
                <a:cubicBezTo>
                  <a:pt x="73" y="96"/>
                  <a:pt x="72" y="96"/>
                  <a:pt x="72" y="96"/>
                </a:cubicBezTo>
                <a:cubicBezTo>
                  <a:pt x="16" y="96"/>
                  <a:pt x="16" y="96"/>
                  <a:pt x="16" y="96"/>
                </a:cubicBezTo>
                <a:cubicBezTo>
                  <a:pt x="8" y="96"/>
                  <a:pt x="8" y="96"/>
                  <a:pt x="8" y="96"/>
                </a:cubicBezTo>
                <a:cubicBezTo>
                  <a:pt x="4" y="96"/>
                  <a:pt x="0" y="100"/>
                  <a:pt x="0" y="105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30"/>
                  <a:pt x="4" y="134"/>
                  <a:pt x="8" y="134"/>
                </a:cubicBezTo>
                <a:cubicBezTo>
                  <a:pt x="74" y="134"/>
                  <a:pt x="74" y="134"/>
                  <a:pt x="74" y="134"/>
                </a:cubicBezTo>
                <a:cubicBezTo>
                  <a:pt x="74" y="134"/>
                  <a:pt x="74" y="134"/>
                  <a:pt x="74" y="134"/>
                </a:cubicBezTo>
                <a:cubicBezTo>
                  <a:pt x="75" y="134"/>
                  <a:pt x="76" y="134"/>
                  <a:pt x="77" y="134"/>
                </a:cubicBezTo>
                <a:cubicBezTo>
                  <a:pt x="114" y="134"/>
                  <a:pt x="144" y="104"/>
                  <a:pt x="144" y="67"/>
                </a:cubicBezTo>
                <a:cubicBezTo>
                  <a:pt x="144" y="30"/>
                  <a:pt x="114" y="0"/>
                  <a:pt x="77" y="0"/>
                </a:cubicBezTo>
                <a:cubicBezTo>
                  <a:pt x="76" y="0"/>
                  <a:pt x="75" y="0"/>
                  <a:pt x="7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8" y="0"/>
                  <a:pt x="8" y="0"/>
                  <a:pt x="8" y="0"/>
                </a:cubicBezTo>
                <a:close/>
                <a:moveTo>
                  <a:pt x="10" y="9"/>
                </a:moveTo>
                <a:cubicBezTo>
                  <a:pt x="24" y="9"/>
                  <a:pt x="24" y="9"/>
                  <a:pt x="24" y="9"/>
                </a:cubicBezTo>
                <a:cubicBezTo>
                  <a:pt x="24" y="29"/>
                  <a:pt x="24" y="29"/>
                  <a:pt x="24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10" y="9"/>
                  <a:pt x="10" y="9"/>
                  <a:pt x="10" y="9"/>
                </a:cubicBezTo>
                <a:close/>
                <a:moveTo>
                  <a:pt x="10" y="105"/>
                </a:moveTo>
                <a:cubicBezTo>
                  <a:pt x="24" y="105"/>
                  <a:pt x="24" y="105"/>
                  <a:pt x="24" y="105"/>
                </a:cubicBezTo>
                <a:cubicBezTo>
                  <a:pt x="24" y="125"/>
                  <a:pt x="24" y="125"/>
                  <a:pt x="24" y="125"/>
                </a:cubicBezTo>
                <a:cubicBezTo>
                  <a:pt x="10" y="125"/>
                  <a:pt x="10" y="125"/>
                  <a:pt x="10" y="125"/>
                </a:cubicBezTo>
                <a:cubicBezTo>
                  <a:pt x="10" y="105"/>
                  <a:pt x="10" y="105"/>
                  <a:pt x="10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8" name="Freeform 310"/>
          <p:cNvSpPr>
            <a:spLocks noEditPoints="1"/>
          </p:cNvSpPr>
          <p:nvPr/>
        </p:nvSpPr>
        <p:spPr bwMode="auto">
          <a:xfrm>
            <a:off x="4466167" y="1346200"/>
            <a:ext cx="480484" cy="541867"/>
          </a:xfrm>
          <a:custGeom>
            <a:avLst/>
            <a:gdLst>
              <a:gd name="T0" fmla="*/ 745690147 w 160"/>
              <a:gd name="T1" fmla="*/ 0 h 180"/>
              <a:gd name="T2" fmla="*/ 65944177 w 160"/>
              <a:gd name="T3" fmla="*/ 0 h 180"/>
              <a:gd name="T4" fmla="*/ 0 w 160"/>
              <a:gd name="T5" fmla="*/ 61169973 h 180"/>
              <a:gd name="T6" fmla="*/ 0 w 160"/>
              <a:gd name="T7" fmla="*/ 856390916 h 180"/>
              <a:gd name="T8" fmla="*/ 65944177 w 160"/>
              <a:gd name="T9" fmla="*/ 917560889 h 180"/>
              <a:gd name="T10" fmla="*/ 745690147 w 160"/>
              <a:gd name="T11" fmla="*/ 917560889 h 180"/>
              <a:gd name="T12" fmla="*/ 811634324 w 160"/>
              <a:gd name="T13" fmla="*/ 856390916 h 180"/>
              <a:gd name="T14" fmla="*/ 811634324 w 160"/>
              <a:gd name="T15" fmla="*/ 61169973 h 180"/>
              <a:gd name="T16" fmla="*/ 745690147 w 160"/>
              <a:gd name="T17" fmla="*/ 0 h 180"/>
              <a:gd name="T18" fmla="*/ 771052945 w 160"/>
              <a:gd name="T19" fmla="*/ 856390916 h 180"/>
              <a:gd name="T20" fmla="*/ 745690147 w 160"/>
              <a:gd name="T21" fmla="*/ 876780907 h 180"/>
              <a:gd name="T22" fmla="*/ 65944177 w 160"/>
              <a:gd name="T23" fmla="*/ 876780907 h 180"/>
              <a:gd name="T24" fmla="*/ 40581378 w 160"/>
              <a:gd name="T25" fmla="*/ 856390916 h 180"/>
              <a:gd name="T26" fmla="*/ 40581378 w 160"/>
              <a:gd name="T27" fmla="*/ 183512178 h 180"/>
              <a:gd name="T28" fmla="*/ 771052945 w 160"/>
              <a:gd name="T29" fmla="*/ 183512178 h 180"/>
              <a:gd name="T30" fmla="*/ 771052945 w 160"/>
              <a:gd name="T31" fmla="*/ 856390916 h 180"/>
              <a:gd name="T32" fmla="*/ 771052945 w 160"/>
              <a:gd name="T33" fmla="*/ 163122187 h 180"/>
              <a:gd name="T34" fmla="*/ 40581378 w 160"/>
              <a:gd name="T35" fmla="*/ 163122187 h 180"/>
              <a:gd name="T36" fmla="*/ 40581378 w 160"/>
              <a:gd name="T37" fmla="*/ 61169973 h 180"/>
              <a:gd name="T38" fmla="*/ 65944177 w 160"/>
              <a:gd name="T39" fmla="*/ 35681920 h 180"/>
              <a:gd name="T40" fmla="*/ 745690147 w 160"/>
              <a:gd name="T41" fmla="*/ 40779982 h 180"/>
              <a:gd name="T42" fmla="*/ 771052945 w 160"/>
              <a:gd name="T43" fmla="*/ 61169973 h 180"/>
              <a:gd name="T44" fmla="*/ 771052945 w 160"/>
              <a:gd name="T45" fmla="*/ 163122187 h 180"/>
              <a:gd name="T46" fmla="*/ 390599708 w 160"/>
              <a:gd name="T47" fmla="*/ 836000924 h 180"/>
              <a:gd name="T48" fmla="*/ 674671609 w 160"/>
              <a:gd name="T49" fmla="*/ 550536533 h 180"/>
              <a:gd name="T50" fmla="*/ 390599708 w 160"/>
              <a:gd name="T51" fmla="*/ 265072142 h 180"/>
              <a:gd name="T52" fmla="*/ 111599917 w 160"/>
              <a:gd name="T53" fmla="*/ 550536533 h 180"/>
              <a:gd name="T54" fmla="*/ 390599708 w 160"/>
              <a:gd name="T55" fmla="*/ 836000924 h 180"/>
              <a:gd name="T56" fmla="*/ 390599708 w 160"/>
              <a:gd name="T57" fmla="*/ 295658258 h 180"/>
              <a:gd name="T58" fmla="*/ 644234449 w 160"/>
              <a:gd name="T59" fmla="*/ 550536533 h 180"/>
              <a:gd name="T60" fmla="*/ 390599708 w 160"/>
              <a:gd name="T61" fmla="*/ 800316747 h 180"/>
              <a:gd name="T62" fmla="*/ 142037076 w 160"/>
              <a:gd name="T63" fmla="*/ 550536533 h 180"/>
              <a:gd name="T64" fmla="*/ 390599708 w 160"/>
              <a:gd name="T65" fmla="*/ 295658258 h 180"/>
              <a:gd name="T66" fmla="*/ 390599708 w 160"/>
              <a:gd name="T67" fmla="*/ 754438702 h 180"/>
              <a:gd name="T68" fmla="*/ 598580961 w 160"/>
              <a:gd name="T69" fmla="*/ 550536533 h 180"/>
              <a:gd name="T70" fmla="*/ 390599708 w 160"/>
              <a:gd name="T71" fmla="*/ 341536302 h 180"/>
              <a:gd name="T72" fmla="*/ 187690564 w 160"/>
              <a:gd name="T73" fmla="*/ 550536533 h 180"/>
              <a:gd name="T74" fmla="*/ 390599708 w 160"/>
              <a:gd name="T75" fmla="*/ 754438702 h 180"/>
              <a:gd name="T76" fmla="*/ 684815827 w 160"/>
              <a:gd name="T77" fmla="*/ 45878044 h 180"/>
              <a:gd name="T78" fmla="*/ 634090230 w 160"/>
              <a:gd name="T79" fmla="*/ 96854151 h 180"/>
              <a:gd name="T80" fmla="*/ 684815827 w 160"/>
              <a:gd name="T81" fmla="*/ 152926062 h 180"/>
              <a:gd name="T82" fmla="*/ 735543676 w 160"/>
              <a:gd name="T83" fmla="*/ 96854151 h 180"/>
              <a:gd name="T84" fmla="*/ 684815827 w 160"/>
              <a:gd name="T85" fmla="*/ 45878044 h 180"/>
              <a:gd name="T86" fmla="*/ 684815827 w 160"/>
              <a:gd name="T87" fmla="*/ 132536071 h 180"/>
              <a:gd name="T88" fmla="*/ 649306558 w 160"/>
              <a:gd name="T89" fmla="*/ 96854151 h 180"/>
              <a:gd name="T90" fmla="*/ 684815827 w 160"/>
              <a:gd name="T91" fmla="*/ 66268036 h 180"/>
              <a:gd name="T92" fmla="*/ 720325096 w 160"/>
              <a:gd name="T93" fmla="*/ 96854151 h 180"/>
              <a:gd name="T94" fmla="*/ 684815827 w 160"/>
              <a:gd name="T95" fmla="*/ 132536071 h 180"/>
              <a:gd name="T96" fmla="*/ 187690564 w 160"/>
              <a:gd name="T97" fmla="*/ 76464160 h 180"/>
              <a:gd name="T98" fmla="*/ 162327766 w 160"/>
              <a:gd name="T99" fmla="*/ 96854151 h 180"/>
              <a:gd name="T100" fmla="*/ 187690564 w 160"/>
              <a:gd name="T101" fmla="*/ 117244142 h 180"/>
              <a:gd name="T102" fmla="*/ 207981253 w 160"/>
              <a:gd name="T103" fmla="*/ 96854151 h 180"/>
              <a:gd name="T104" fmla="*/ 187690564 w 160"/>
              <a:gd name="T105" fmla="*/ 76464160 h 180"/>
              <a:gd name="T106" fmla="*/ 96381337 w 160"/>
              <a:gd name="T107" fmla="*/ 76464160 h 180"/>
              <a:gd name="T108" fmla="*/ 76090647 w 160"/>
              <a:gd name="T109" fmla="*/ 96854151 h 180"/>
              <a:gd name="T110" fmla="*/ 96381337 w 160"/>
              <a:gd name="T111" fmla="*/ 117244142 h 180"/>
              <a:gd name="T112" fmla="*/ 116672026 w 160"/>
              <a:gd name="T113" fmla="*/ 96854151 h 180"/>
              <a:gd name="T114" fmla="*/ 96381337 w 160"/>
              <a:gd name="T115" fmla="*/ 76464160 h 180"/>
              <a:gd name="T116" fmla="*/ 268853321 w 160"/>
              <a:gd name="T117" fmla="*/ 76464160 h 180"/>
              <a:gd name="T118" fmla="*/ 248562632 w 160"/>
              <a:gd name="T119" fmla="*/ 96854151 h 180"/>
              <a:gd name="T120" fmla="*/ 268853321 w 160"/>
              <a:gd name="T121" fmla="*/ 117244142 h 180"/>
              <a:gd name="T122" fmla="*/ 289144010 w 160"/>
              <a:gd name="T123" fmla="*/ 96854151 h 180"/>
              <a:gd name="T124" fmla="*/ 268853321 w 160"/>
              <a:gd name="T125" fmla="*/ 76464160 h 18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0" h="180">
                <a:moveTo>
                  <a:pt x="147" y="0"/>
                </a:moveTo>
                <a:cubicBezTo>
                  <a:pt x="13" y="0"/>
                  <a:pt x="13" y="0"/>
                  <a:pt x="13" y="0"/>
                </a:cubicBezTo>
                <a:cubicBezTo>
                  <a:pt x="6" y="0"/>
                  <a:pt x="0" y="6"/>
                  <a:pt x="0" y="12"/>
                </a:cubicBezTo>
                <a:cubicBezTo>
                  <a:pt x="0" y="168"/>
                  <a:pt x="0" y="168"/>
                  <a:pt x="0" y="168"/>
                </a:cubicBezTo>
                <a:cubicBezTo>
                  <a:pt x="0" y="174"/>
                  <a:pt x="6" y="180"/>
                  <a:pt x="13" y="180"/>
                </a:cubicBezTo>
                <a:cubicBezTo>
                  <a:pt x="147" y="180"/>
                  <a:pt x="147" y="180"/>
                  <a:pt x="147" y="180"/>
                </a:cubicBezTo>
                <a:cubicBezTo>
                  <a:pt x="154" y="180"/>
                  <a:pt x="160" y="174"/>
                  <a:pt x="160" y="168"/>
                </a:cubicBezTo>
                <a:cubicBezTo>
                  <a:pt x="160" y="12"/>
                  <a:pt x="160" y="12"/>
                  <a:pt x="160" y="12"/>
                </a:cubicBezTo>
                <a:cubicBezTo>
                  <a:pt x="160" y="6"/>
                  <a:pt x="154" y="0"/>
                  <a:pt x="147" y="0"/>
                </a:cubicBezTo>
                <a:close/>
                <a:moveTo>
                  <a:pt x="152" y="168"/>
                </a:moveTo>
                <a:cubicBezTo>
                  <a:pt x="152" y="170"/>
                  <a:pt x="150" y="172"/>
                  <a:pt x="147" y="172"/>
                </a:cubicBezTo>
                <a:cubicBezTo>
                  <a:pt x="13" y="172"/>
                  <a:pt x="13" y="172"/>
                  <a:pt x="13" y="172"/>
                </a:cubicBezTo>
                <a:cubicBezTo>
                  <a:pt x="10" y="172"/>
                  <a:pt x="8" y="170"/>
                  <a:pt x="8" y="168"/>
                </a:cubicBezTo>
                <a:cubicBezTo>
                  <a:pt x="8" y="36"/>
                  <a:pt x="8" y="36"/>
                  <a:pt x="8" y="36"/>
                </a:cubicBezTo>
                <a:cubicBezTo>
                  <a:pt x="152" y="36"/>
                  <a:pt x="152" y="36"/>
                  <a:pt x="152" y="36"/>
                </a:cubicBezTo>
                <a:lnTo>
                  <a:pt x="152" y="168"/>
                </a:lnTo>
                <a:close/>
                <a:moveTo>
                  <a:pt x="152" y="32"/>
                </a:moveTo>
                <a:cubicBezTo>
                  <a:pt x="8" y="32"/>
                  <a:pt x="8" y="32"/>
                  <a:pt x="8" y="32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10"/>
                  <a:pt x="10" y="8"/>
                  <a:pt x="13" y="7"/>
                </a:cubicBezTo>
                <a:cubicBezTo>
                  <a:pt x="147" y="8"/>
                  <a:pt x="147" y="8"/>
                  <a:pt x="147" y="8"/>
                </a:cubicBezTo>
                <a:cubicBezTo>
                  <a:pt x="150" y="8"/>
                  <a:pt x="152" y="10"/>
                  <a:pt x="152" y="12"/>
                </a:cubicBezTo>
                <a:lnTo>
                  <a:pt x="152" y="32"/>
                </a:lnTo>
                <a:close/>
                <a:moveTo>
                  <a:pt x="77" y="164"/>
                </a:moveTo>
                <a:cubicBezTo>
                  <a:pt x="108" y="164"/>
                  <a:pt x="133" y="138"/>
                  <a:pt x="133" y="108"/>
                </a:cubicBezTo>
                <a:cubicBezTo>
                  <a:pt x="133" y="77"/>
                  <a:pt x="108" y="52"/>
                  <a:pt x="77" y="52"/>
                </a:cubicBezTo>
                <a:cubicBezTo>
                  <a:pt x="47" y="52"/>
                  <a:pt x="22" y="77"/>
                  <a:pt x="22" y="108"/>
                </a:cubicBezTo>
                <a:cubicBezTo>
                  <a:pt x="22" y="138"/>
                  <a:pt x="47" y="164"/>
                  <a:pt x="77" y="164"/>
                </a:cubicBezTo>
                <a:close/>
                <a:moveTo>
                  <a:pt x="77" y="58"/>
                </a:moveTo>
                <a:cubicBezTo>
                  <a:pt x="105" y="58"/>
                  <a:pt x="127" y="80"/>
                  <a:pt x="127" y="108"/>
                </a:cubicBezTo>
                <a:cubicBezTo>
                  <a:pt x="127" y="135"/>
                  <a:pt x="105" y="157"/>
                  <a:pt x="77" y="157"/>
                </a:cubicBezTo>
                <a:cubicBezTo>
                  <a:pt x="50" y="157"/>
                  <a:pt x="28" y="135"/>
                  <a:pt x="28" y="108"/>
                </a:cubicBezTo>
                <a:cubicBezTo>
                  <a:pt x="28" y="80"/>
                  <a:pt x="50" y="58"/>
                  <a:pt x="77" y="58"/>
                </a:cubicBezTo>
                <a:close/>
                <a:moveTo>
                  <a:pt x="77" y="148"/>
                </a:moveTo>
                <a:cubicBezTo>
                  <a:pt x="100" y="148"/>
                  <a:pt x="118" y="130"/>
                  <a:pt x="118" y="108"/>
                </a:cubicBezTo>
                <a:cubicBezTo>
                  <a:pt x="118" y="85"/>
                  <a:pt x="100" y="67"/>
                  <a:pt x="77" y="67"/>
                </a:cubicBezTo>
                <a:cubicBezTo>
                  <a:pt x="55" y="67"/>
                  <a:pt x="37" y="85"/>
                  <a:pt x="37" y="108"/>
                </a:cubicBezTo>
                <a:cubicBezTo>
                  <a:pt x="37" y="130"/>
                  <a:pt x="55" y="148"/>
                  <a:pt x="77" y="148"/>
                </a:cubicBezTo>
                <a:close/>
                <a:moveTo>
                  <a:pt x="135" y="9"/>
                </a:moveTo>
                <a:cubicBezTo>
                  <a:pt x="129" y="9"/>
                  <a:pt x="125" y="14"/>
                  <a:pt x="125" y="19"/>
                </a:cubicBezTo>
                <a:cubicBezTo>
                  <a:pt x="125" y="25"/>
                  <a:pt x="129" y="30"/>
                  <a:pt x="135" y="30"/>
                </a:cubicBezTo>
                <a:cubicBezTo>
                  <a:pt x="140" y="30"/>
                  <a:pt x="145" y="25"/>
                  <a:pt x="145" y="19"/>
                </a:cubicBezTo>
                <a:cubicBezTo>
                  <a:pt x="145" y="14"/>
                  <a:pt x="140" y="9"/>
                  <a:pt x="135" y="9"/>
                </a:cubicBezTo>
                <a:close/>
                <a:moveTo>
                  <a:pt x="135" y="26"/>
                </a:moveTo>
                <a:cubicBezTo>
                  <a:pt x="131" y="26"/>
                  <a:pt x="128" y="23"/>
                  <a:pt x="128" y="19"/>
                </a:cubicBezTo>
                <a:cubicBezTo>
                  <a:pt x="128" y="16"/>
                  <a:pt x="131" y="13"/>
                  <a:pt x="135" y="13"/>
                </a:cubicBezTo>
                <a:cubicBezTo>
                  <a:pt x="139" y="13"/>
                  <a:pt x="142" y="16"/>
                  <a:pt x="142" y="19"/>
                </a:cubicBezTo>
                <a:cubicBezTo>
                  <a:pt x="142" y="23"/>
                  <a:pt x="139" y="26"/>
                  <a:pt x="135" y="26"/>
                </a:cubicBezTo>
                <a:close/>
                <a:moveTo>
                  <a:pt x="37" y="15"/>
                </a:moveTo>
                <a:cubicBezTo>
                  <a:pt x="34" y="15"/>
                  <a:pt x="32" y="17"/>
                  <a:pt x="32" y="19"/>
                </a:cubicBezTo>
                <a:cubicBezTo>
                  <a:pt x="32" y="22"/>
                  <a:pt x="34" y="23"/>
                  <a:pt x="37" y="23"/>
                </a:cubicBezTo>
                <a:cubicBezTo>
                  <a:pt x="39" y="23"/>
                  <a:pt x="41" y="22"/>
                  <a:pt x="41" y="19"/>
                </a:cubicBezTo>
                <a:cubicBezTo>
                  <a:pt x="41" y="17"/>
                  <a:pt x="39" y="15"/>
                  <a:pt x="37" y="15"/>
                </a:cubicBezTo>
                <a:close/>
                <a:moveTo>
                  <a:pt x="19" y="15"/>
                </a:moveTo>
                <a:cubicBezTo>
                  <a:pt x="17" y="15"/>
                  <a:pt x="15" y="17"/>
                  <a:pt x="15" y="19"/>
                </a:cubicBezTo>
                <a:cubicBezTo>
                  <a:pt x="15" y="22"/>
                  <a:pt x="17" y="23"/>
                  <a:pt x="19" y="23"/>
                </a:cubicBezTo>
                <a:cubicBezTo>
                  <a:pt x="21" y="23"/>
                  <a:pt x="23" y="22"/>
                  <a:pt x="23" y="19"/>
                </a:cubicBezTo>
                <a:cubicBezTo>
                  <a:pt x="23" y="17"/>
                  <a:pt x="21" y="15"/>
                  <a:pt x="19" y="15"/>
                </a:cubicBezTo>
                <a:close/>
                <a:moveTo>
                  <a:pt x="53" y="15"/>
                </a:moveTo>
                <a:cubicBezTo>
                  <a:pt x="51" y="15"/>
                  <a:pt x="49" y="17"/>
                  <a:pt x="49" y="19"/>
                </a:cubicBezTo>
                <a:cubicBezTo>
                  <a:pt x="49" y="22"/>
                  <a:pt x="51" y="23"/>
                  <a:pt x="53" y="23"/>
                </a:cubicBezTo>
                <a:cubicBezTo>
                  <a:pt x="55" y="23"/>
                  <a:pt x="57" y="22"/>
                  <a:pt x="57" y="19"/>
                </a:cubicBezTo>
                <a:cubicBezTo>
                  <a:pt x="57" y="17"/>
                  <a:pt x="55" y="15"/>
                  <a:pt x="53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699" name="Freeform 311"/>
          <p:cNvSpPr>
            <a:spLocks noEditPoints="1"/>
          </p:cNvSpPr>
          <p:nvPr/>
        </p:nvSpPr>
        <p:spPr bwMode="auto">
          <a:xfrm>
            <a:off x="5276851" y="1401234"/>
            <a:ext cx="565149" cy="480484"/>
          </a:xfrm>
          <a:custGeom>
            <a:avLst/>
            <a:gdLst>
              <a:gd name="T0" fmla="*/ 950551118 w 188"/>
              <a:gd name="T1" fmla="*/ 593506600 h 160"/>
              <a:gd name="T2" fmla="*/ 726891766 w 188"/>
              <a:gd name="T3" fmla="*/ 593506600 h 160"/>
              <a:gd name="T4" fmla="*/ 457484628 w 188"/>
              <a:gd name="T5" fmla="*/ 684815827 h 160"/>
              <a:gd name="T6" fmla="*/ 457484628 w 188"/>
              <a:gd name="T7" fmla="*/ 801487853 h 160"/>
              <a:gd name="T8" fmla="*/ 955635207 w 188"/>
              <a:gd name="T9" fmla="*/ 684815827 h 160"/>
              <a:gd name="T10" fmla="*/ 477818731 w 188"/>
              <a:gd name="T11" fmla="*/ 613799541 h 160"/>
              <a:gd name="T12" fmla="*/ 701475828 w 188"/>
              <a:gd name="T13" fmla="*/ 684815827 h 160"/>
              <a:gd name="T14" fmla="*/ 477818731 w 188"/>
              <a:gd name="T15" fmla="*/ 613799541 h 160"/>
              <a:gd name="T16" fmla="*/ 482900566 w 188"/>
              <a:gd name="T17" fmla="*/ 776125054 h 160"/>
              <a:gd name="T18" fmla="*/ 925135180 w 188"/>
              <a:gd name="T19" fmla="*/ 715252987 h 160"/>
              <a:gd name="T20" fmla="*/ 930219269 w 188"/>
              <a:gd name="T21" fmla="*/ 684815827 h 160"/>
              <a:gd name="T22" fmla="*/ 726891766 w 188"/>
              <a:gd name="T23" fmla="*/ 613799541 h 160"/>
              <a:gd name="T24" fmla="*/ 930219269 w 188"/>
              <a:gd name="T25" fmla="*/ 684815827 h 160"/>
              <a:gd name="T26" fmla="*/ 238909365 w 188"/>
              <a:gd name="T27" fmla="*/ 679743718 h 160"/>
              <a:gd name="T28" fmla="*/ 233825276 w 188"/>
              <a:gd name="T29" fmla="*/ 258709102 h 160"/>
              <a:gd name="T30" fmla="*/ 706559917 w 188"/>
              <a:gd name="T31" fmla="*/ 390599708 h 160"/>
              <a:gd name="T32" fmla="*/ 706559917 w 188"/>
              <a:gd name="T33" fmla="*/ 426108977 h 160"/>
              <a:gd name="T34" fmla="*/ 721809931 w 188"/>
              <a:gd name="T35" fmla="*/ 441325305 h 160"/>
              <a:gd name="T36" fmla="*/ 731975855 w 188"/>
              <a:gd name="T37" fmla="*/ 456543885 h 160"/>
              <a:gd name="T38" fmla="*/ 701475828 w 188"/>
              <a:gd name="T39" fmla="*/ 471762465 h 160"/>
              <a:gd name="T40" fmla="*/ 691309904 w 188"/>
              <a:gd name="T41" fmla="*/ 461615994 h 160"/>
              <a:gd name="T42" fmla="*/ 660812131 w 188"/>
              <a:gd name="T43" fmla="*/ 481908935 h 160"/>
              <a:gd name="T44" fmla="*/ 762475883 w 188"/>
              <a:gd name="T45" fmla="*/ 456543885 h 160"/>
              <a:gd name="T46" fmla="*/ 731975855 w 188"/>
              <a:gd name="T47" fmla="*/ 405818288 h 160"/>
              <a:gd name="T48" fmla="*/ 731975855 w 188"/>
              <a:gd name="T49" fmla="*/ 385525346 h 160"/>
              <a:gd name="T50" fmla="*/ 853971455 w 188"/>
              <a:gd name="T51" fmla="*/ 258709102 h 160"/>
              <a:gd name="T52" fmla="*/ 904803331 w 188"/>
              <a:gd name="T53" fmla="*/ 202909144 h 160"/>
              <a:gd name="T54" fmla="*/ 884471483 w 188"/>
              <a:gd name="T55" fmla="*/ 162327766 h 160"/>
              <a:gd name="T56" fmla="*/ 167743387 w 188"/>
              <a:gd name="T57" fmla="*/ 0 h 160"/>
              <a:gd name="T58" fmla="*/ 50831876 w 188"/>
              <a:gd name="T59" fmla="*/ 65944177 h 160"/>
              <a:gd name="T60" fmla="*/ 50831876 w 188"/>
              <a:gd name="T61" fmla="*/ 157253404 h 160"/>
              <a:gd name="T62" fmla="*/ 0 w 188"/>
              <a:gd name="T63" fmla="*/ 207981253 h 160"/>
              <a:gd name="T64" fmla="*/ 50831876 w 188"/>
              <a:gd name="T65" fmla="*/ 258709102 h 160"/>
              <a:gd name="T66" fmla="*/ 45747786 w 188"/>
              <a:gd name="T67" fmla="*/ 679743718 h 160"/>
              <a:gd name="T68" fmla="*/ 5084089 w 188"/>
              <a:gd name="T69" fmla="*/ 771052945 h 160"/>
              <a:gd name="T70" fmla="*/ 238909365 w 188"/>
              <a:gd name="T71" fmla="*/ 811634324 h 160"/>
              <a:gd name="T72" fmla="*/ 279573062 w 188"/>
              <a:gd name="T73" fmla="*/ 725397205 h 160"/>
              <a:gd name="T74" fmla="*/ 731975855 w 188"/>
              <a:gd name="T75" fmla="*/ 157253404 h 160"/>
              <a:gd name="T76" fmla="*/ 233825276 w 188"/>
              <a:gd name="T77" fmla="*/ 65944177 h 160"/>
              <a:gd name="T78" fmla="*/ 731975855 w 188"/>
              <a:gd name="T79" fmla="*/ 157253404 h 160"/>
              <a:gd name="T80" fmla="*/ 116913765 w 188"/>
              <a:gd name="T81" fmla="*/ 35509269 h 160"/>
              <a:gd name="T82" fmla="*/ 198243414 w 188"/>
              <a:gd name="T83" fmla="*/ 65944177 h 160"/>
              <a:gd name="T84" fmla="*/ 86413738 w 188"/>
              <a:gd name="T85" fmla="*/ 157253404 h 160"/>
              <a:gd name="T86" fmla="*/ 86413738 w 188"/>
              <a:gd name="T87" fmla="*/ 258709102 h 160"/>
              <a:gd name="T88" fmla="*/ 198243414 w 188"/>
              <a:gd name="T89" fmla="*/ 679743718 h 160"/>
              <a:gd name="T90" fmla="*/ 86413738 w 188"/>
              <a:gd name="T91" fmla="*/ 258709102 h 160"/>
              <a:gd name="T92" fmla="*/ 238909365 w 188"/>
              <a:gd name="T93" fmla="*/ 776125054 h 160"/>
              <a:gd name="T94" fmla="*/ 40665952 w 188"/>
              <a:gd name="T95" fmla="*/ 771052945 h 160"/>
              <a:gd name="T96" fmla="*/ 45747786 w 188"/>
              <a:gd name="T97" fmla="*/ 715252987 h 160"/>
              <a:gd name="T98" fmla="*/ 243991200 w 188"/>
              <a:gd name="T99" fmla="*/ 725397205 h 16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88" h="160">
                <a:moveTo>
                  <a:pt x="187" y="135"/>
                </a:moveTo>
                <a:cubicBezTo>
                  <a:pt x="187" y="117"/>
                  <a:pt x="187" y="117"/>
                  <a:pt x="187" y="117"/>
                </a:cubicBezTo>
                <a:cubicBezTo>
                  <a:pt x="143" y="117"/>
                  <a:pt x="143" y="117"/>
                  <a:pt x="143" y="117"/>
                </a:cubicBezTo>
                <a:cubicBezTo>
                  <a:pt x="143" y="117"/>
                  <a:pt x="143" y="117"/>
                  <a:pt x="143" y="117"/>
                </a:cubicBezTo>
                <a:cubicBezTo>
                  <a:pt x="90" y="117"/>
                  <a:pt x="90" y="117"/>
                  <a:pt x="90" y="117"/>
                </a:cubicBezTo>
                <a:cubicBezTo>
                  <a:pt x="90" y="135"/>
                  <a:pt x="90" y="135"/>
                  <a:pt x="90" y="135"/>
                </a:cubicBezTo>
                <a:cubicBezTo>
                  <a:pt x="90" y="135"/>
                  <a:pt x="90" y="135"/>
                  <a:pt x="90" y="135"/>
                </a:cubicBezTo>
                <a:cubicBezTo>
                  <a:pt x="90" y="158"/>
                  <a:pt x="90" y="158"/>
                  <a:pt x="90" y="158"/>
                </a:cubicBezTo>
                <a:cubicBezTo>
                  <a:pt x="188" y="158"/>
                  <a:pt x="188" y="158"/>
                  <a:pt x="188" y="158"/>
                </a:cubicBezTo>
                <a:cubicBezTo>
                  <a:pt x="188" y="135"/>
                  <a:pt x="188" y="135"/>
                  <a:pt x="188" y="135"/>
                </a:cubicBezTo>
                <a:lnTo>
                  <a:pt x="187" y="135"/>
                </a:lnTo>
                <a:close/>
                <a:moveTo>
                  <a:pt x="94" y="121"/>
                </a:moveTo>
                <a:cubicBezTo>
                  <a:pt x="138" y="121"/>
                  <a:pt x="138" y="121"/>
                  <a:pt x="138" y="121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94" y="135"/>
                  <a:pt x="94" y="135"/>
                  <a:pt x="94" y="135"/>
                </a:cubicBezTo>
                <a:lnTo>
                  <a:pt x="94" y="121"/>
                </a:lnTo>
                <a:close/>
                <a:moveTo>
                  <a:pt x="182" y="153"/>
                </a:moveTo>
                <a:cubicBezTo>
                  <a:pt x="95" y="153"/>
                  <a:pt x="95" y="153"/>
                  <a:pt x="95" y="153"/>
                </a:cubicBezTo>
                <a:cubicBezTo>
                  <a:pt x="95" y="141"/>
                  <a:pt x="95" y="141"/>
                  <a:pt x="95" y="141"/>
                </a:cubicBezTo>
                <a:cubicBezTo>
                  <a:pt x="182" y="141"/>
                  <a:pt x="182" y="141"/>
                  <a:pt x="182" y="141"/>
                </a:cubicBezTo>
                <a:lnTo>
                  <a:pt x="182" y="153"/>
                </a:lnTo>
                <a:close/>
                <a:moveTo>
                  <a:pt x="183" y="135"/>
                </a:moveTo>
                <a:cubicBezTo>
                  <a:pt x="143" y="135"/>
                  <a:pt x="143" y="135"/>
                  <a:pt x="143" y="135"/>
                </a:cubicBezTo>
                <a:cubicBezTo>
                  <a:pt x="143" y="121"/>
                  <a:pt x="143" y="121"/>
                  <a:pt x="143" y="121"/>
                </a:cubicBezTo>
                <a:cubicBezTo>
                  <a:pt x="183" y="121"/>
                  <a:pt x="183" y="121"/>
                  <a:pt x="183" y="121"/>
                </a:cubicBezTo>
                <a:lnTo>
                  <a:pt x="183" y="135"/>
                </a:lnTo>
                <a:close/>
                <a:moveTo>
                  <a:pt x="47" y="134"/>
                </a:moveTo>
                <a:cubicBezTo>
                  <a:pt x="47" y="134"/>
                  <a:pt x="47" y="134"/>
                  <a:pt x="47" y="134"/>
                </a:cubicBezTo>
                <a:cubicBezTo>
                  <a:pt x="46" y="134"/>
                  <a:pt x="46" y="134"/>
                  <a:pt x="46" y="134"/>
                </a:cubicBezTo>
                <a:cubicBezTo>
                  <a:pt x="46" y="51"/>
                  <a:pt x="46" y="51"/>
                  <a:pt x="46" y="51"/>
                </a:cubicBezTo>
                <a:cubicBezTo>
                  <a:pt x="139" y="51"/>
                  <a:pt x="139" y="51"/>
                  <a:pt x="139" y="51"/>
                </a:cubicBezTo>
                <a:cubicBezTo>
                  <a:pt x="139" y="77"/>
                  <a:pt x="139" y="77"/>
                  <a:pt x="139" y="77"/>
                </a:cubicBezTo>
                <a:cubicBezTo>
                  <a:pt x="139" y="78"/>
                  <a:pt x="139" y="79"/>
                  <a:pt x="139" y="80"/>
                </a:cubicBezTo>
                <a:cubicBezTo>
                  <a:pt x="139" y="84"/>
                  <a:pt x="139" y="84"/>
                  <a:pt x="139" y="84"/>
                </a:cubicBezTo>
                <a:cubicBezTo>
                  <a:pt x="139" y="84"/>
                  <a:pt x="139" y="84"/>
                  <a:pt x="139" y="84"/>
                </a:cubicBezTo>
                <a:cubicBezTo>
                  <a:pt x="139" y="84"/>
                  <a:pt x="139" y="85"/>
                  <a:pt x="142" y="87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43" y="87"/>
                  <a:pt x="144" y="89"/>
                  <a:pt x="144" y="90"/>
                </a:cubicBezTo>
                <a:cubicBezTo>
                  <a:pt x="144" y="92"/>
                  <a:pt x="143" y="94"/>
                  <a:pt x="141" y="94"/>
                </a:cubicBezTo>
                <a:cubicBezTo>
                  <a:pt x="139" y="94"/>
                  <a:pt x="138" y="93"/>
                  <a:pt x="138" y="93"/>
                </a:cubicBezTo>
                <a:cubicBezTo>
                  <a:pt x="138" y="93"/>
                  <a:pt x="138" y="93"/>
                  <a:pt x="138" y="93"/>
                </a:cubicBezTo>
                <a:cubicBezTo>
                  <a:pt x="137" y="92"/>
                  <a:pt x="136" y="91"/>
                  <a:pt x="136" y="91"/>
                </a:cubicBezTo>
                <a:cubicBezTo>
                  <a:pt x="134" y="89"/>
                  <a:pt x="131" y="90"/>
                  <a:pt x="131" y="90"/>
                </a:cubicBezTo>
                <a:cubicBezTo>
                  <a:pt x="129" y="92"/>
                  <a:pt x="130" y="95"/>
                  <a:pt x="130" y="95"/>
                </a:cubicBezTo>
                <a:cubicBezTo>
                  <a:pt x="130" y="95"/>
                  <a:pt x="134" y="100"/>
                  <a:pt x="141" y="100"/>
                </a:cubicBezTo>
                <a:cubicBezTo>
                  <a:pt x="148" y="100"/>
                  <a:pt x="150" y="93"/>
                  <a:pt x="150" y="90"/>
                </a:cubicBezTo>
                <a:cubicBezTo>
                  <a:pt x="150" y="87"/>
                  <a:pt x="146" y="84"/>
                  <a:pt x="145" y="83"/>
                </a:cubicBezTo>
                <a:cubicBezTo>
                  <a:pt x="143" y="83"/>
                  <a:pt x="144" y="80"/>
                  <a:pt x="144" y="80"/>
                </a:cubicBezTo>
                <a:cubicBezTo>
                  <a:pt x="144" y="76"/>
                  <a:pt x="144" y="76"/>
                  <a:pt x="144" y="76"/>
                </a:cubicBezTo>
                <a:cubicBezTo>
                  <a:pt x="144" y="76"/>
                  <a:pt x="144" y="76"/>
                  <a:pt x="144" y="76"/>
                </a:cubicBezTo>
                <a:cubicBezTo>
                  <a:pt x="144" y="51"/>
                  <a:pt x="144" y="51"/>
                  <a:pt x="144" y="51"/>
                </a:cubicBezTo>
                <a:cubicBezTo>
                  <a:pt x="168" y="51"/>
                  <a:pt x="168" y="51"/>
                  <a:pt x="168" y="51"/>
                </a:cubicBezTo>
                <a:cubicBezTo>
                  <a:pt x="173" y="51"/>
                  <a:pt x="178" y="47"/>
                  <a:pt x="178" y="41"/>
                </a:cubicBezTo>
                <a:cubicBezTo>
                  <a:pt x="178" y="40"/>
                  <a:pt x="178" y="40"/>
                  <a:pt x="178" y="40"/>
                </a:cubicBezTo>
                <a:cubicBezTo>
                  <a:pt x="178" y="37"/>
                  <a:pt x="176" y="34"/>
                  <a:pt x="173" y="33"/>
                </a:cubicBezTo>
                <a:cubicBezTo>
                  <a:pt x="174" y="32"/>
                  <a:pt x="174" y="32"/>
                  <a:pt x="174" y="32"/>
                </a:cubicBezTo>
                <a:cubicBezTo>
                  <a:pt x="40" y="2"/>
                  <a:pt x="40" y="2"/>
                  <a:pt x="40" y="2"/>
                </a:cubicBezTo>
                <a:cubicBezTo>
                  <a:pt x="38" y="0"/>
                  <a:pt x="36" y="0"/>
                  <a:pt x="33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16" y="0"/>
                  <a:pt x="10" y="5"/>
                  <a:pt x="10" y="13"/>
                </a:cubicBezTo>
                <a:cubicBezTo>
                  <a:pt x="10" y="31"/>
                  <a:pt x="10" y="31"/>
                  <a:pt x="10" y="31"/>
                </a:cubicBezTo>
                <a:cubicBezTo>
                  <a:pt x="10" y="31"/>
                  <a:pt x="10" y="31"/>
                  <a:pt x="10" y="31"/>
                </a:cubicBezTo>
                <a:cubicBezTo>
                  <a:pt x="5" y="31"/>
                  <a:pt x="0" y="35"/>
                  <a:pt x="0" y="40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7"/>
                  <a:pt x="5" y="51"/>
                  <a:pt x="10" y="51"/>
                </a:cubicBezTo>
                <a:cubicBezTo>
                  <a:pt x="10" y="51"/>
                  <a:pt x="10" y="51"/>
                  <a:pt x="10" y="51"/>
                </a:cubicBezTo>
                <a:cubicBezTo>
                  <a:pt x="10" y="134"/>
                  <a:pt x="10" y="134"/>
                  <a:pt x="10" y="134"/>
                </a:cubicBezTo>
                <a:cubicBezTo>
                  <a:pt x="9" y="134"/>
                  <a:pt x="9" y="134"/>
                  <a:pt x="9" y="134"/>
                </a:cubicBezTo>
                <a:cubicBezTo>
                  <a:pt x="4" y="134"/>
                  <a:pt x="1" y="138"/>
                  <a:pt x="1" y="143"/>
                </a:cubicBezTo>
                <a:cubicBezTo>
                  <a:pt x="1" y="152"/>
                  <a:pt x="1" y="152"/>
                  <a:pt x="1" y="152"/>
                </a:cubicBezTo>
                <a:cubicBezTo>
                  <a:pt x="1" y="157"/>
                  <a:pt x="4" y="160"/>
                  <a:pt x="9" y="160"/>
                </a:cubicBezTo>
                <a:cubicBezTo>
                  <a:pt x="47" y="160"/>
                  <a:pt x="47" y="160"/>
                  <a:pt x="47" y="160"/>
                </a:cubicBezTo>
                <a:cubicBezTo>
                  <a:pt x="51" y="160"/>
                  <a:pt x="55" y="157"/>
                  <a:pt x="55" y="152"/>
                </a:cubicBezTo>
                <a:cubicBezTo>
                  <a:pt x="55" y="143"/>
                  <a:pt x="55" y="143"/>
                  <a:pt x="55" y="143"/>
                </a:cubicBezTo>
                <a:cubicBezTo>
                  <a:pt x="55" y="138"/>
                  <a:pt x="51" y="134"/>
                  <a:pt x="47" y="134"/>
                </a:cubicBezTo>
                <a:close/>
                <a:moveTo>
                  <a:pt x="144" y="31"/>
                </a:moveTo>
                <a:cubicBezTo>
                  <a:pt x="46" y="31"/>
                  <a:pt x="46" y="31"/>
                  <a:pt x="46" y="31"/>
                </a:cubicBezTo>
                <a:cubicBezTo>
                  <a:pt x="46" y="13"/>
                  <a:pt x="46" y="13"/>
                  <a:pt x="46" y="13"/>
                </a:cubicBezTo>
                <a:cubicBezTo>
                  <a:pt x="46" y="11"/>
                  <a:pt x="46" y="10"/>
                  <a:pt x="46" y="9"/>
                </a:cubicBezTo>
                <a:lnTo>
                  <a:pt x="144" y="31"/>
                </a:lnTo>
                <a:close/>
                <a:moveTo>
                  <a:pt x="17" y="13"/>
                </a:moveTo>
                <a:cubicBezTo>
                  <a:pt x="17" y="9"/>
                  <a:pt x="20" y="7"/>
                  <a:pt x="23" y="7"/>
                </a:cubicBezTo>
                <a:cubicBezTo>
                  <a:pt x="33" y="7"/>
                  <a:pt x="33" y="7"/>
                  <a:pt x="33" y="7"/>
                </a:cubicBezTo>
                <a:cubicBezTo>
                  <a:pt x="37" y="7"/>
                  <a:pt x="39" y="9"/>
                  <a:pt x="39" y="13"/>
                </a:cubicBezTo>
                <a:cubicBezTo>
                  <a:pt x="39" y="31"/>
                  <a:pt x="39" y="31"/>
                  <a:pt x="39" y="31"/>
                </a:cubicBezTo>
                <a:cubicBezTo>
                  <a:pt x="17" y="31"/>
                  <a:pt x="17" y="31"/>
                  <a:pt x="17" y="31"/>
                </a:cubicBezTo>
                <a:lnTo>
                  <a:pt x="17" y="13"/>
                </a:lnTo>
                <a:close/>
                <a:moveTo>
                  <a:pt x="17" y="51"/>
                </a:moveTo>
                <a:cubicBezTo>
                  <a:pt x="39" y="51"/>
                  <a:pt x="39" y="51"/>
                  <a:pt x="39" y="51"/>
                </a:cubicBezTo>
                <a:cubicBezTo>
                  <a:pt x="39" y="134"/>
                  <a:pt x="39" y="134"/>
                  <a:pt x="39" y="134"/>
                </a:cubicBezTo>
                <a:cubicBezTo>
                  <a:pt x="17" y="134"/>
                  <a:pt x="17" y="134"/>
                  <a:pt x="17" y="134"/>
                </a:cubicBezTo>
                <a:lnTo>
                  <a:pt x="17" y="51"/>
                </a:lnTo>
                <a:close/>
                <a:moveTo>
                  <a:pt x="48" y="152"/>
                </a:moveTo>
                <a:cubicBezTo>
                  <a:pt x="48" y="153"/>
                  <a:pt x="47" y="153"/>
                  <a:pt x="47" y="153"/>
                </a:cubicBezTo>
                <a:cubicBezTo>
                  <a:pt x="9" y="153"/>
                  <a:pt x="9" y="153"/>
                  <a:pt x="9" y="153"/>
                </a:cubicBezTo>
                <a:cubicBezTo>
                  <a:pt x="8" y="153"/>
                  <a:pt x="8" y="153"/>
                  <a:pt x="8" y="152"/>
                </a:cubicBezTo>
                <a:cubicBezTo>
                  <a:pt x="8" y="143"/>
                  <a:pt x="8" y="143"/>
                  <a:pt x="8" y="143"/>
                </a:cubicBezTo>
                <a:cubicBezTo>
                  <a:pt x="8" y="142"/>
                  <a:pt x="8" y="141"/>
                  <a:pt x="9" y="141"/>
                </a:cubicBezTo>
                <a:cubicBezTo>
                  <a:pt x="47" y="141"/>
                  <a:pt x="47" y="141"/>
                  <a:pt x="47" y="141"/>
                </a:cubicBezTo>
                <a:cubicBezTo>
                  <a:pt x="47" y="141"/>
                  <a:pt x="48" y="142"/>
                  <a:pt x="48" y="143"/>
                </a:cubicBezTo>
                <a:lnTo>
                  <a:pt x="48" y="15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0" name="Freeform 312"/>
          <p:cNvSpPr>
            <a:spLocks noEditPoints="1"/>
          </p:cNvSpPr>
          <p:nvPr/>
        </p:nvSpPr>
        <p:spPr bwMode="auto">
          <a:xfrm>
            <a:off x="6112933" y="1394885"/>
            <a:ext cx="457200" cy="469900"/>
          </a:xfrm>
          <a:custGeom>
            <a:avLst/>
            <a:gdLst>
              <a:gd name="T0" fmla="*/ 605613286 w 152"/>
              <a:gd name="T1" fmla="*/ 796175517 h 156"/>
              <a:gd name="T2" fmla="*/ 656504609 w 152"/>
              <a:gd name="T3" fmla="*/ 663480727 h 156"/>
              <a:gd name="T4" fmla="*/ 605613286 w 152"/>
              <a:gd name="T5" fmla="*/ 607338973 h 156"/>
              <a:gd name="T6" fmla="*/ 661593967 w 152"/>
              <a:gd name="T7" fmla="*/ 546093833 h 156"/>
              <a:gd name="T8" fmla="*/ 524185816 w 152"/>
              <a:gd name="T9" fmla="*/ 484850953 h 156"/>
              <a:gd name="T10" fmla="*/ 234101439 w 152"/>
              <a:gd name="T11" fmla="*/ 704310067 h 156"/>
              <a:gd name="T12" fmla="*/ 213746264 w 152"/>
              <a:gd name="T13" fmla="*/ 484850953 h 156"/>
              <a:gd name="T14" fmla="*/ 106872004 w 152"/>
              <a:gd name="T15" fmla="*/ 699204423 h 156"/>
              <a:gd name="T16" fmla="*/ 91606186 w 152"/>
              <a:gd name="T17" fmla="*/ 484850953 h 156"/>
              <a:gd name="T18" fmla="*/ 50891323 w 152"/>
              <a:gd name="T19" fmla="*/ 796175517 h 156"/>
              <a:gd name="T20" fmla="*/ 173031401 w 152"/>
              <a:gd name="T21" fmla="*/ 632858157 h 156"/>
              <a:gd name="T22" fmla="*/ 295171478 w 152"/>
              <a:gd name="T23" fmla="*/ 796175517 h 156"/>
              <a:gd name="T24" fmla="*/ 254458871 w 152"/>
              <a:gd name="T25" fmla="*/ 484850953 h 156"/>
              <a:gd name="T26" fmla="*/ 346065057 w 152"/>
              <a:gd name="T27" fmla="*/ 796175517 h 156"/>
              <a:gd name="T28" fmla="*/ 427490272 w 152"/>
              <a:gd name="T29" fmla="*/ 540990448 h 156"/>
              <a:gd name="T30" fmla="*/ 346065057 w 152"/>
              <a:gd name="T31" fmla="*/ 796175517 h 156"/>
              <a:gd name="T32" fmla="*/ 427490272 w 152"/>
              <a:gd name="T33" fmla="*/ 525680293 h 156"/>
              <a:gd name="T34" fmla="*/ 346065057 w 152"/>
              <a:gd name="T35" fmla="*/ 484850953 h 156"/>
              <a:gd name="T36" fmla="*/ 681949143 w 152"/>
              <a:gd name="T37" fmla="*/ 525680293 h 156"/>
              <a:gd name="T38" fmla="*/ 763376613 w 152"/>
              <a:gd name="T39" fmla="*/ 484850953 h 156"/>
              <a:gd name="T40" fmla="*/ 681949143 w 152"/>
              <a:gd name="T41" fmla="*/ 525680293 h 156"/>
              <a:gd name="T42" fmla="*/ 763376613 w 152"/>
              <a:gd name="T43" fmla="*/ 796175517 h 156"/>
              <a:gd name="T44" fmla="*/ 681949143 w 152"/>
              <a:gd name="T45" fmla="*/ 540990448 h 156"/>
              <a:gd name="T46" fmla="*/ 386777664 w 152"/>
              <a:gd name="T47" fmla="*/ 0 h 156"/>
              <a:gd name="T48" fmla="*/ 81427470 w 152"/>
              <a:gd name="T49" fmla="*/ 387879859 h 156"/>
              <a:gd name="T50" fmla="*/ 692127859 w 152"/>
              <a:gd name="T51" fmla="*/ 387879859 h 156"/>
              <a:gd name="T52" fmla="*/ 773555329 w 152"/>
              <a:gd name="T53" fmla="*/ 392983244 h 156"/>
              <a:gd name="T54" fmla="*/ 386777664 w 152"/>
              <a:gd name="T55" fmla="*/ 0 h 156"/>
              <a:gd name="T56" fmla="*/ 625968462 w 152"/>
              <a:gd name="T57" fmla="*/ 377673088 h 156"/>
              <a:gd name="T58" fmla="*/ 386777664 w 152"/>
              <a:gd name="T59" fmla="*/ 137800434 h 156"/>
              <a:gd name="T60" fmla="*/ 223924980 w 152"/>
              <a:gd name="T61" fmla="*/ 377673088 h 156"/>
              <a:gd name="T62" fmla="*/ 549630349 w 152"/>
              <a:gd name="T63" fmla="*/ 377673088 h 1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2" h="156">
                <a:moveTo>
                  <a:pt x="103" y="156"/>
                </a:moveTo>
                <a:cubicBezTo>
                  <a:pt x="119" y="156"/>
                  <a:pt x="119" y="156"/>
                  <a:pt x="119" y="156"/>
                </a:cubicBezTo>
                <a:cubicBezTo>
                  <a:pt x="119" y="130"/>
                  <a:pt x="119" y="130"/>
                  <a:pt x="119" y="130"/>
                </a:cubicBezTo>
                <a:cubicBezTo>
                  <a:pt x="129" y="130"/>
                  <a:pt x="129" y="130"/>
                  <a:pt x="129" y="130"/>
                </a:cubicBezTo>
                <a:cubicBezTo>
                  <a:pt x="129" y="119"/>
                  <a:pt x="129" y="119"/>
                  <a:pt x="129" y="119"/>
                </a:cubicBezTo>
                <a:cubicBezTo>
                  <a:pt x="119" y="119"/>
                  <a:pt x="119" y="119"/>
                  <a:pt x="119" y="119"/>
                </a:cubicBezTo>
                <a:cubicBezTo>
                  <a:pt x="119" y="107"/>
                  <a:pt x="119" y="107"/>
                  <a:pt x="119" y="107"/>
                </a:cubicBezTo>
                <a:cubicBezTo>
                  <a:pt x="130" y="107"/>
                  <a:pt x="130" y="107"/>
                  <a:pt x="130" y="107"/>
                </a:cubicBezTo>
                <a:cubicBezTo>
                  <a:pt x="130" y="95"/>
                  <a:pt x="130" y="95"/>
                  <a:pt x="130" y="95"/>
                </a:cubicBezTo>
                <a:cubicBezTo>
                  <a:pt x="103" y="95"/>
                  <a:pt x="103" y="95"/>
                  <a:pt x="103" y="95"/>
                </a:cubicBezTo>
                <a:lnTo>
                  <a:pt x="103" y="156"/>
                </a:lnTo>
                <a:close/>
                <a:moveTo>
                  <a:pt x="46" y="138"/>
                </a:moveTo>
                <a:cubicBezTo>
                  <a:pt x="44" y="115"/>
                  <a:pt x="44" y="115"/>
                  <a:pt x="44" y="115"/>
                </a:cubicBezTo>
                <a:cubicBezTo>
                  <a:pt x="43" y="103"/>
                  <a:pt x="42" y="97"/>
                  <a:pt x="42" y="95"/>
                </a:cubicBezTo>
                <a:cubicBezTo>
                  <a:pt x="26" y="95"/>
                  <a:pt x="26" y="95"/>
                  <a:pt x="26" y="95"/>
                </a:cubicBezTo>
                <a:cubicBezTo>
                  <a:pt x="23" y="112"/>
                  <a:pt x="22" y="126"/>
                  <a:pt x="21" y="137"/>
                </a:cubicBezTo>
                <a:cubicBezTo>
                  <a:pt x="20" y="116"/>
                  <a:pt x="20" y="116"/>
                  <a:pt x="20" y="116"/>
                </a:cubicBezTo>
                <a:cubicBezTo>
                  <a:pt x="18" y="95"/>
                  <a:pt x="18" y="95"/>
                  <a:pt x="18" y="95"/>
                </a:cubicBezTo>
                <a:cubicBezTo>
                  <a:pt x="2" y="95"/>
                  <a:pt x="2" y="95"/>
                  <a:pt x="2" y="95"/>
                </a:cubicBezTo>
                <a:cubicBezTo>
                  <a:pt x="10" y="156"/>
                  <a:pt x="10" y="156"/>
                  <a:pt x="10" y="156"/>
                </a:cubicBezTo>
                <a:cubicBezTo>
                  <a:pt x="29" y="156"/>
                  <a:pt x="29" y="156"/>
                  <a:pt x="29" y="156"/>
                </a:cubicBezTo>
                <a:cubicBezTo>
                  <a:pt x="32" y="140"/>
                  <a:pt x="33" y="129"/>
                  <a:pt x="34" y="124"/>
                </a:cubicBezTo>
                <a:cubicBezTo>
                  <a:pt x="35" y="136"/>
                  <a:pt x="37" y="147"/>
                  <a:pt x="39" y="156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66" y="95"/>
                  <a:pt x="66" y="95"/>
                  <a:pt x="66" y="95"/>
                </a:cubicBezTo>
                <a:cubicBezTo>
                  <a:pt x="50" y="95"/>
                  <a:pt x="50" y="95"/>
                  <a:pt x="50" y="95"/>
                </a:cubicBezTo>
                <a:cubicBezTo>
                  <a:pt x="48" y="109"/>
                  <a:pt x="47" y="124"/>
                  <a:pt x="46" y="138"/>
                </a:cubicBezTo>
                <a:close/>
                <a:moveTo>
                  <a:pt x="68" y="156"/>
                </a:moveTo>
                <a:cubicBezTo>
                  <a:pt x="84" y="156"/>
                  <a:pt x="84" y="156"/>
                  <a:pt x="84" y="156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68" y="106"/>
                  <a:pt x="68" y="106"/>
                  <a:pt x="68" y="106"/>
                </a:cubicBezTo>
                <a:lnTo>
                  <a:pt x="68" y="156"/>
                </a:lnTo>
                <a:close/>
                <a:moveTo>
                  <a:pt x="68" y="103"/>
                </a:moveTo>
                <a:cubicBezTo>
                  <a:pt x="84" y="103"/>
                  <a:pt x="84" y="103"/>
                  <a:pt x="84" y="103"/>
                </a:cubicBezTo>
                <a:cubicBezTo>
                  <a:pt x="84" y="95"/>
                  <a:pt x="84" y="95"/>
                  <a:pt x="84" y="95"/>
                </a:cubicBezTo>
                <a:cubicBezTo>
                  <a:pt x="68" y="95"/>
                  <a:pt x="68" y="95"/>
                  <a:pt x="68" y="95"/>
                </a:cubicBezTo>
                <a:lnTo>
                  <a:pt x="68" y="103"/>
                </a:lnTo>
                <a:close/>
                <a:moveTo>
                  <a:pt x="134" y="103"/>
                </a:moveTo>
                <a:cubicBezTo>
                  <a:pt x="150" y="103"/>
                  <a:pt x="150" y="103"/>
                  <a:pt x="150" y="103"/>
                </a:cubicBezTo>
                <a:cubicBezTo>
                  <a:pt x="150" y="95"/>
                  <a:pt x="150" y="95"/>
                  <a:pt x="150" y="95"/>
                </a:cubicBezTo>
                <a:cubicBezTo>
                  <a:pt x="134" y="95"/>
                  <a:pt x="134" y="95"/>
                  <a:pt x="134" y="95"/>
                </a:cubicBezTo>
                <a:lnTo>
                  <a:pt x="134" y="103"/>
                </a:lnTo>
                <a:close/>
                <a:moveTo>
                  <a:pt x="134" y="156"/>
                </a:moveTo>
                <a:cubicBezTo>
                  <a:pt x="150" y="156"/>
                  <a:pt x="150" y="156"/>
                  <a:pt x="150" y="156"/>
                </a:cubicBezTo>
                <a:cubicBezTo>
                  <a:pt x="150" y="106"/>
                  <a:pt x="150" y="106"/>
                  <a:pt x="150" y="106"/>
                </a:cubicBezTo>
                <a:cubicBezTo>
                  <a:pt x="134" y="106"/>
                  <a:pt x="134" y="106"/>
                  <a:pt x="134" y="106"/>
                </a:cubicBezTo>
                <a:lnTo>
                  <a:pt x="134" y="156"/>
                </a:lnTo>
                <a:close/>
                <a:moveTo>
                  <a:pt x="76" y="0"/>
                </a:moveTo>
                <a:cubicBezTo>
                  <a:pt x="34" y="0"/>
                  <a:pt x="0" y="34"/>
                  <a:pt x="0" y="76"/>
                </a:cubicBezTo>
                <a:cubicBezTo>
                  <a:pt x="16" y="76"/>
                  <a:pt x="16" y="76"/>
                  <a:pt x="16" y="76"/>
                </a:cubicBezTo>
                <a:cubicBezTo>
                  <a:pt x="16" y="43"/>
                  <a:pt x="43" y="16"/>
                  <a:pt x="76" y="16"/>
                </a:cubicBezTo>
                <a:cubicBezTo>
                  <a:pt x="109" y="16"/>
                  <a:pt x="136" y="43"/>
                  <a:pt x="136" y="76"/>
                </a:cubicBezTo>
                <a:cubicBezTo>
                  <a:pt x="136" y="77"/>
                  <a:pt x="136" y="77"/>
                  <a:pt x="136" y="77"/>
                </a:cubicBezTo>
                <a:cubicBezTo>
                  <a:pt x="152" y="77"/>
                  <a:pt x="152" y="77"/>
                  <a:pt x="152" y="77"/>
                </a:cubicBezTo>
                <a:cubicBezTo>
                  <a:pt x="152" y="76"/>
                  <a:pt x="152" y="76"/>
                  <a:pt x="152" y="76"/>
                </a:cubicBezTo>
                <a:cubicBezTo>
                  <a:pt x="152" y="34"/>
                  <a:pt x="118" y="0"/>
                  <a:pt x="76" y="0"/>
                </a:cubicBezTo>
                <a:close/>
                <a:moveTo>
                  <a:pt x="108" y="74"/>
                </a:moveTo>
                <a:cubicBezTo>
                  <a:pt x="123" y="74"/>
                  <a:pt x="123" y="74"/>
                  <a:pt x="123" y="74"/>
                </a:cubicBezTo>
                <a:cubicBezTo>
                  <a:pt x="123" y="74"/>
                  <a:pt x="123" y="74"/>
                  <a:pt x="123" y="74"/>
                </a:cubicBezTo>
                <a:cubicBezTo>
                  <a:pt x="123" y="48"/>
                  <a:pt x="102" y="27"/>
                  <a:pt x="76" y="27"/>
                </a:cubicBezTo>
                <a:cubicBezTo>
                  <a:pt x="50" y="27"/>
                  <a:pt x="29" y="48"/>
                  <a:pt x="29" y="74"/>
                </a:cubicBezTo>
                <a:cubicBezTo>
                  <a:pt x="44" y="74"/>
                  <a:pt x="44" y="74"/>
                  <a:pt x="44" y="74"/>
                </a:cubicBezTo>
                <a:cubicBezTo>
                  <a:pt x="44" y="56"/>
                  <a:pt x="59" y="42"/>
                  <a:pt x="76" y="42"/>
                </a:cubicBezTo>
                <a:cubicBezTo>
                  <a:pt x="93" y="42"/>
                  <a:pt x="108" y="57"/>
                  <a:pt x="108" y="7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1" name="Freeform 313"/>
          <p:cNvSpPr>
            <a:spLocks noEditPoints="1"/>
          </p:cNvSpPr>
          <p:nvPr/>
        </p:nvSpPr>
        <p:spPr bwMode="auto">
          <a:xfrm>
            <a:off x="6949017" y="1329267"/>
            <a:ext cx="541867" cy="577851"/>
          </a:xfrm>
          <a:custGeom>
            <a:avLst/>
            <a:gdLst>
              <a:gd name="T0" fmla="*/ 917560889 w 180"/>
              <a:gd name="T1" fmla="*/ 341369796 h 192"/>
              <a:gd name="T2" fmla="*/ 912462827 w 180"/>
              <a:gd name="T3" fmla="*/ 326086097 h 192"/>
              <a:gd name="T4" fmla="*/ 907364764 w 180"/>
              <a:gd name="T5" fmla="*/ 320989274 h 192"/>
              <a:gd name="T6" fmla="*/ 463878507 w 180"/>
              <a:gd name="T7" fmla="*/ 5094566 h 192"/>
              <a:gd name="T8" fmla="*/ 453682382 w 180"/>
              <a:gd name="T9" fmla="*/ 5094566 h 192"/>
              <a:gd name="T10" fmla="*/ 203902169 w 180"/>
              <a:gd name="T11" fmla="*/ 0 h 192"/>
              <a:gd name="T12" fmla="*/ 188610240 w 180"/>
              <a:gd name="T13" fmla="*/ 10189132 h 192"/>
              <a:gd name="T14" fmla="*/ 193708302 w 180"/>
              <a:gd name="T15" fmla="*/ 30569655 h 192"/>
              <a:gd name="T16" fmla="*/ 305854382 w 180"/>
              <a:gd name="T17" fmla="*/ 112091743 h 192"/>
              <a:gd name="T18" fmla="*/ 254878276 w 180"/>
              <a:gd name="T19" fmla="*/ 152852787 h 192"/>
              <a:gd name="T20" fmla="*/ 249780213 w 180"/>
              <a:gd name="T21" fmla="*/ 152852787 h 192"/>
              <a:gd name="T22" fmla="*/ 5098062 w 180"/>
              <a:gd name="T23" fmla="*/ 326086097 h 192"/>
              <a:gd name="T24" fmla="*/ 0 w 180"/>
              <a:gd name="T25" fmla="*/ 341369796 h 192"/>
              <a:gd name="T26" fmla="*/ 0 w 180"/>
              <a:gd name="T27" fmla="*/ 341369796 h 192"/>
              <a:gd name="T28" fmla="*/ 0 w 180"/>
              <a:gd name="T29" fmla="*/ 341369796 h 192"/>
              <a:gd name="T30" fmla="*/ 0 w 180"/>
              <a:gd name="T31" fmla="*/ 647075371 h 192"/>
              <a:gd name="T32" fmla="*/ 5098062 w 180"/>
              <a:gd name="T33" fmla="*/ 662361327 h 192"/>
              <a:gd name="T34" fmla="*/ 448584320 w 180"/>
              <a:gd name="T35" fmla="*/ 978256034 h 192"/>
              <a:gd name="T36" fmla="*/ 448584320 w 180"/>
              <a:gd name="T37" fmla="*/ 978256034 h 192"/>
              <a:gd name="T38" fmla="*/ 448584320 w 180"/>
              <a:gd name="T39" fmla="*/ 978256034 h 192"/>
              <a:gd name="T40" fmla="*/ 458780444 w 180"/>
              <a:gd name="T41" fmla="*/ 978256034 h 192"/>
              <a:gd name="T42" fmla="*/ 468976569 w 180"/>
              <a:gd name="T43" fmla="*/ 978256034 h 192"/>
              <a:gd name="T44" fmla="*/ 912462827 w 180"/>
              <a:gd name="T45" fmla="*/ 662361327 h 192"/>
              <a:gd name="T46" fmla="*/ 917560889 w 180"/>
              <a:gd name="T47" fmla="*/ 647075371 h 192"/>
              <a:gd name="T48" fmla="*/ 917560889 w 180"/>
              <a:gd name="T49" fmla="*/ 341369796 h 192"/>
              <a:gd name="T50" fmla="*/ 917560889 w 180"/>
              <a:gd name="T51" fmla="*/ 341369796 h 192"/>
              <a:gd name="T52" fmla="*/ 259976338 w 180"/>
              <a:gd name="T53" fmla="*/ 35666478 h 192"/>
              <a:gd name="T54" fmla="*/ 448584320 w 180"/>
              <a:gd name="T55" fmla="*/ 40761044 h 192"/>
              <a:gd name="T56" fmla="*/ 841096729 w 180"/>
              <a:gd name="T57" fmla="*/ 315894707 h 192"/>
              <a:gd name="T58" fmla="*/ 652488747 w 180"/>
              <a:gd name="T59" fmla="*/ 310800141 h 192"/>
              <a:gd name="T60" fmla="*/ 259976338 w 180"/>
              <a:gd name="T61" fmla="*/ 35666478 h 192"/>
              <a:gd name="T62" fmla="*/ 438390453 w 180"/>
              <a:gd name="T63" fmla="*/ 927305857 h 192"/>
              <a:gd name="T64" fmla="*/ 35681920 w 180"/>
              <a:gd name="T65" fmla="*/ 641980805 h 192"/>
              <a:gd name="T66" fmla="*/ 35681920 w 180"/>
              <a:gd name="T67" fmla="*/ 377036274 h 192"/>
              <a:gd name="T68" fmla="*/ 438390453 w 180"/>
              <a:gd name="T69" fmla="*/ 667455893 h 192"/>
              <a:gd name="T70" fmla="*/ 438390453 w 180"/>
              <a:gd name="T71" fmla="*/ 927305857 h 192"/>
              <a:gd name="T72" fmla="*/ 458780444 w 180"/>
              <a:gd name="T73" fmla="*/ 631789415 h 192"/>
              <a:gd name="T74" fmla="*/ 45878044 w 180"/>
              <a:gd name="T75" fmla="*/ 341369796 h 192"/>
              <a:gd name="T76" fmla="*/ 244682151 w 180"/>
              <a:gd name="T77" fmla="*/ 198708398 h 192"/>
              <a:gd name="T78" fmla="*/ 657584551 w 180"/>
              <a:gd name="T79" fmla="*/ 489128017 h 192"/>
              <a:gd name="T80" fmla="*/ 458780444 w 180"/>
              <a:gd name="T81" fmla="*/ 631789415 h 192"/>
              <a:gd name="T82" fmla="*/ 881878969 w 180"/>
              <a:gd name="T83" fmla="*/ 641980805 h 192"/>
              <a:gd name="T84" fmla="*/ 479170436 w 180"/>
              <a:gd name="T85" fmla="*/ 927305857 h 192"/>
              <a:gd name="T86" fmla="*/ 479170436 w 180"/>
              <a:gd name="T87" fmla="*/ 667455893 h 192"/>
              <a:gd name="T88" fmla="*/ 881878969 w 180"/>
              <a:gd name="T89" fmla="*/ 377036274 h 192"/>
              <a:gd name="T90" fmla="*/ 881878969 w 180"/>
              <a:gd name="T91" fmla="*/ 641980805 h 192"/>
              <a:gd name="T92" fmla="*/ 382316284 w 180"/>
              <a:gd name="T93" fmla="*/ 687836415 h 192"/>
              <a:gd name="T94" fmla="*/ 71366098 w 180"/>
              <a:gd name="T95" fmla="*/ 468747495 h 192"/>
              <a:gd name="T96" fmla="*/ 71366098 w 180"/>
              <a:gd name="T97" fmla="*/ 606314326 h 192"/>
              <a:gd name="T98" fmla="*/ 382316284 w 180"/>
              <a:gd name="T99" fmla="*/ 825403247 h 192"/>
              <a:gd name="T100" fmla="*/ 382316284 w 180"/>
              <a:gd name="T101" fmla="*/ 687836415 h 19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80" h="192">
                <a:moveTo>
                  <a:pt x="180" y="67"/>
                </a:moveTo>
                <a:cubicBezTo>
                  <a:pt x="180" y="66"/>
                  <a:pt x="180" y="65"/>
                  <a:pt x="179" y="64"/>
                </a:cubicBezTo>
                <a:cubicBezTo>
                  <a:pt x="179" y="64"/>
                  <a:pt x="179" y="63"/>
                  <a:pt x="178" y="63"/>
                </a:cubicBezTo>
                <a:cubicBezTo>
                  <a:pt x="91" y="1"/>
                  <a:pt x="91" y="1"/>
                  <a:pt x="91" y="1"/>
                </a:cubicBezTo>
                <a:cubicBezTo>
                  <a:pt x="91" y="1"/>
                  <a:pt x="90" y="1"/>
                  <a:pt x="89" y="1"/>
                </a:cubicBezTo>
                <a:cubicBezTo>
                  <a:pt x="40" y="0"/>
                  <a:pt x="40" y="0"/>
                  <a:pt x="40" y="0"/>
                </a:cubicBezTo>
                <a:cubicBezTo>
                  <a:pt x="39" y="0"/>
                  <a:pt x="37" y="1"/>
                  <a:pt x="37" y="2"/>
                </a:cubicBezTo>
                <a:cubicBezTo>
                  <a:pt x="36" y="3"/>
                  <a:pt x="37" y="5"/>
                  <a:pt x="38" y="6"/>
                </a:cubicBezTo>
                <a:cubicBezTo>
                  <a:pt x="60" y="22"/>
                  <a:pt x="60" y="22"/>
                  <a:pt x="60" y="22"/>
                </a:cubicBezTo>
                <a:cubicBezTo>
                  <a:pt x="50" y="30"/>
                  <a:pt x="50" y="30"/>
                  <a:pt x="50" y="30"/>
                </a:cubicBezTo>
                <a:cubicBezTo>
                  <a:pt x="49" y="30"/>
                  <a:pt x="49" y="30"/>
                  <a:pt x="49" y="30"/>
                </a:cubicBezTo>
                <a:cubicBezTo>
                  <a:pt x="1" y="64"/>
                  <a:pt x="1" y="64"/>
                  <a:pt x="1" y="64"/>
                </a:cubicBezTo>
                <a:cubicBezTo>
                  <a:pt x="0" y="65"/>
                  <a:pt x="0" y="66"/>
                  <a:pt x="0" y="67"/>
                </a:cubicBezTo>
                <a:cubicBezTo>
                  <a:pt x="0" y="67"/>
                  <a:pt x="0" y="67"/>
                  <a:pt x="0" y="67"/>
                </a:cubicBezTo>
                <a:cubicBezTo>
                  <a:pt x="0" y="67"/>
                  <a:pt x="0" y="67"/>
                  <a:pt x="0" y="67"/>
                </a:cubicBezTo>
                <a:cubicBezTo>
                  <a:pt x="0" y="127"/>
                  <a:pt x="0" y="127"/>
                  <a:pt x="0" y="127"/>
                </a:cubicBezTo>
                <a:cubicBezTo>
                  <a:pt x="1" y="130"/>
                  <a:pt x="1" y="130"/>
                  <a:pt x="1" y="130"/>
                </a:cubicBezTo>
                <a:cubicBezTo>
                  <a:pt x="88" y="192"/>
                  <a:pt x="88" y="192"/>
                  <a:pt x="88" y="192"/>
                </a:cubicBezTo>
                <a:cubicBezTo>
                  <a:pt x="88" y="192"/>
                  <a:pt x="88" y="192"/>
                  <a:pt x="88" y="192"/>
                </a:cubicBezTo>
                <a:cubicBezTo>
                  <a:pt x="88" y="192"/>
                  <a:pt x="88" y="192"/>
                  <a:pt x="88" y="192"/>
                </a:cubicBezTo>
                <a:cubicBezTo>
                  <a:pt x="89" y="192"/>
                  <a:pt x="90" y="192"/>
                  <a:pt x="90" y="192"/>
                </a:cubicBezTo>
                <a:cubicBezTo>
                  <a:pt x="91" y="192"/>
                  <a:pt x="92" y="192"/>
                  <a:pt x="92" y="192"/>
                </a:cubicBezTo>
                <a:cubicBezTo>
                  <a:pt x="179" y="130"/>
                  <a:pt x="179" y="130"/>
                  <a:pt x="179" y="130"/>
                </a:cubicBezTo>
                <a:cubicBezTo>
                  <a:pt x="180" y="130"/>
                  <a:pt x="180" y="129"/>
                  <a:pt x="180" y="127"/>
                </a:cubicBezTo>
                <a:cubicBezTo>
                  <a:pt x="180" y="67"/>
                  <a:pt x="180" y="67"/>
                  <a:pt x="180" y="67"/>
                </a:cubicBezTo>
                <a:cubicBezTo>
                  <a:pt x="180" y="67"/>
                  <a:pt x="180" y="67"/>
                  <a:pt x="180" y="67"/>
                </a:cubicBezTo>
                <a:close/>
                <a:moveTo>
                  <a:pt x="51" y="7"/>
                </a:moveTo>
                <a:cubicBezTo>
                  <a:pt x="88" y="8"/>
                  <a:pt x="88" y="8"/>
                  <a:pt x="88" y="8"/>
                </a:cubicBezTo>
                <a:cubicBezTo>
                  <a:pt x="165" y="62"/>
                  <a:pt x="165" y="62"/>
                  <a:pt x="165" y="62"/>
                </a:cubicBezTo>
                <a:cubicBezTo>
                  <a:pt x="128" y="61"/>
                  <a:pt x="128" y="61"/>
                  <a:pt x="128" y="61"/>
                </a:cubicBezTo>
                <a:lnTo>
                  <a:pt x="51" y="7"/>
                </a:lnTo>
                <a:close/>
                <a:moveTo>
                  <a:pt x="86" y="182"/>
                </a:moveTo>
                <a:cubicBezTo>
                  <a:pt x="7" y="126"/>
                  <a:pt x="7" y="126"/>
                  <a:pt x="7" y="126"/>
                </a:cubicBezTo>
                <a:cubicBezTo>
                  <a:pt x="7" y="74"/>
                  <a:pt x="7" y="74"/>
                  <a:pt x="7" y="74"/>
                </a:cubicBezTo>
                <a:cubicBezTo>
                  <a:pt x="86" y="131"/>
                  <a:pt x="86" y="131"/>
                  <a:pt x="86" y="131"/>
                </a:cubicBezTo>
                <a:lnTo>
                  <a:pt x="86" y="182"/>
                </a:lnTo>
                <a:close/>
                <a:moveTo>
                  <a:pt x="90" y="124"/>
                </a:moveTo>
                <a:cubicBezTo>
                  <a:pt x="9" y="67"/>
                  <a:pt x="9" y="67"/>
                  <a:pt x="9" y="67"/>
                </a:cubicBezTo>
                <a:cubicBezTo>
                  <a:pt x="48" y="39"/>
                  <a:pt x="48" y="39"/>
                  <a:pt x="48" y="39"/>
                </a:cubicBezTo>
                <a:cubicBezTo>
                  <a:pt x="129" y="96"/>
                  <a:pt x="129" y="96"/>
                  <a:pt x="129" y="96"/>
                </a:cubicBezTo>
                <a:lnTo>
                  <a:pt x="90" y="124"/>
                </a:lnTo>
                <a:close/>
                <a:moveTo>
                  <a:pt x="173" y="126"/>
                </a:moveTo>
                <a:cubicBezTo>
                  <a:pt x="94" y="182"/>
                  <a:pt x="94" y="182"/>
                  <a:pt x="94" y="182"/>
                </a:cubicBezTo>
                <a:cubicBezTo>
                  <a:pt x="94" y="131"/>
                  <a:pt x="94" y="131"/>
                  <a:pt x="94" y="131"/>
                </a:cubicBezTo>
                <a:cubicBezTo>
                  <a:pt x="173" y="74"/>
                  <a:pt x="173" y="74"/>
                  <a:pt x="173" y="74"/>
                </a:cubicBezTo>
                <a:lnTo>
                  <a:pt x="173" y="126"/>
                </a:lnTo>
                <a:close/>
                <a:moveTo>
                  <a:pt x="75" y="135"/>
                </a:moveTo>
                <a:cubicBezTo>
                  <a:pt x="14" y="92"/>
                  <a:pt x="14" y="92"/>
                  <a:pt x="14" y="92"/>
                </a:cubicBezTo>
                <a:cubicBezTo>
                  <a:pt x="14" y="119"/>
                  <a:pt x="14" y="119"/>
                  <a:pt x="14" y="119"/>
                </a:cubicBezTo>
                <a:cubicBezTo>
                  <a:pt x="75" y="162"/>
                  <a:pt x="75" y="162"/>
                  <a:pt x="75" y="162"/>
                </a:cubicBezTo>
                <a:lnTo>
                  <a:pt x="75" y="1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2" name="Freeform 314"/>
          <p:cNvSpPr>
            <a:spLocks noEditPoints="1"/>
          </p:cNvSpPr>
          <p:nvPr/>
        </p:nvSpPr>
        <p:spPr bwMode="auto">
          <a:xfrm>
            <a:off x="7893051" y="1456268"/>
            <a:ext cx="357716" cy="359833"/>
          </a:xfrm>
          <a:custGeom>
            <a:avLst/>
            <a:gdLst>
              <a:gd name="T0" fmla="*/ 299888503 w 119"/>
              <a:gd name="T1" fmla="*/ 0 h 120"/>
              <a:gd name="T2" fmla="*/ 0 w 119"/>
              <a:gd name="T3" fmla="*/ 303469940 h 120"/>
              <a:gd name="T4" fmla="*/ 299888503 w 119"/>
              <a:gd name="T5" fmla="*/ 606937630 h 120"/>
              <a:gd name="T6" fmla="*/ 604858678 w 119"/>
              <a:gd name="T7" fmla="*/ 303469940 h 120"/>
              <a:gd name="T8" fmla="*/ 299888503 w 119"/>
              <a:gd name="T9" fmla="*/ 0 h 120"/>
              <a:gd name="T10" fmla="*/ 304970175 w 119"/>
              <a:gd name="T11" fmla="*/ 526013363 h 120"/>
              <a:gd name="T12" fmla="*/ 81324779 w 119"/>
              <a:gd name="T13" fmla="*/ 308525598 h 120"/>
              <a:gd name="T14" fmla="*/ 304970175 w 119"/>
              <a:gd name="T15" fmla="*/ 85982175 h 120"/>
              <a:gd name="T16" fmla="*/ 523533899 w 119"/>
              <a:gd name="T17" fmla="*/ 308525598 h 120"/>
              <a:gd name="T18" fmla="*/ 304970175 w 119"/>
              <a:gd name="T19" fmla="*/ 526013363 h 12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19" h="120">
                <a:moveTo>
                  <a:pt x="59" y="0"/>
                </a:moveTo>
                <a:cubicBezTo>
                  <a:pt x="26" y="0"/>
                  <a:pt x="0" y="27"/>
                  <a:pt x="0" y="60"/>
                </a:cubicBezTo>
                <a:cubicBezTo>
                  <a:pt x="0" y="93"/>
                  <a:pt x="26" y="120"/>
                  <a:pt x="59" y="120"/>
                </a:cubicBezTo>
                <a:cubicBezTo>
                  <a:pt x="92" y="120"/>
                  <a:pt x="119" y="93"/>
                  <a:pt x="119" y="60"/>
                </a:cubicBezTo>
                <a:cubicBezTo>
                  <a:pt x="119" y="27"/>
                  <a:pt x="92" y="0"/>
                  <a:pt x="59" y="0"/>
                </a:cubicBezTo>
                <a:close/>
                <a:moveTo>
                  <a:pt x="60" y="104"/>
                </a:moveTo>
                <a:cubicBezTo>
                  <a:pt x="36" y="104"/>
                  <a:pt x="16" y="85"/>
                  <a:pt x="16" y="61"/>
                </a:cubicBezTo>
                <a:cubicBezTo>
                  <a:pt x="16" y="36"/>
                  <a:pt x="36" y="17"/>
                  <a:pt x="60" y="17"/>
                </a:cubicBezTo>
                <a:cubicBezTo>
                  <a:pt x="84" y="17"/>
                  <a:pt x="103" y="36"/>
                  <a:pt x="103" y="61"/>
                </a:cubicBezTo>
                <a:cubicBezTo>
                  <a:pt x="103" y="85"/>
                  <a:pt x="84" y="104"/>
                  <a:pt x="60" y="10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3" name="Freeform 315"/>
          <p:cNvSpPr>
            <a:spLocks/>
          </p:cNvSpPr>
          <p:nvPr/>
        </p:nvSpPr>
        <p:spPr bwMode="auto">
          <a:xfrm>
            <a:off x="7778751" y="1322918"/>
            <a:ext cx="590549" cy="565149"/>
          </a:xfrm>
          <a:custGeom>
            <a:avLst/>
            <a:gdLst>
              <a:gd name="T0" fmla="*/ 771082675 w 196"/>
              <a:gd name="T1" fmla="*/ 894637407 h 188"/>
              <a:gd name="T2" fmla="*/ 561716365 w 196"/>
              <a:gd name="T3" fmla="*/ 686228069 h 188"/>
              <a:gd name="T4" fmla="*/ 577035245 w 196"/>
              <a:gd name="T5" fmla="*/ 599814331 h 188"/>
              <a:gd name="T6" fmla="*/ 510650419 w 196"/>
              <a:gd name="T7" fmla="*/ 625230269 h 188"/>
              <a:gd name="T8" fmla="*/ 434053760 w 196"/>
              <a:gd name="T9" fmla="*/ 589646152 h 188"/>
              <a:gd name="T10" fmla="*/ 454479686 w 196"/>
              <a:gd name="T11" fmla="*/ 686228069 h 188"/>
              <a:gd name="T12" fmla="*/ 245111116 w 196"/>
              <a:gd name="T13" fmla="*/ 894637407 h 188"/>
              <a:gd name="T14" fmla="*/ 35744806 w 196"/>
              <a:gd name="T15" fmla="*/ 686228069 h 188"/>
              <a:gd name="T16" fmla="*/ 245111116 w 196"/>
              <a:gd name="T17" fmla="*/ 472734641 h 188"/>
              <a:gd name="T18" fmla="*/ 423839667 w 196"/>
              <a:gd name="T19" fmla="*/ 569314304 h 188"/>
              <a:gd name="T20" fmla="*/ 413627834 w 196"/>
              <a:gd name="T21" fmla="*/ 533732441 h 188"/>
              <a:gd name="T22" fmla="*/ 490224493 w 196"/>
              <a:gd name="T23" fmla="*/ 437152779 h 188"/>
              <a:gd name="T24" fmla="*/ 301284109 w 196"/>
              <a:gd name="T25" fmla="*/ 228743441 h 188"/>
              <a:gd name="T26" fmla="*/ 510650419 w 196"/>
              <a:gd name="T27" fmla="*/ 20331848 h 188"/>
              <a:gd name="T28" fmla="*/ 720016729 w 196"/>
              <a:gd name="T29" fmla="*/ 228743441 h 188"/>
              <a:gd name="T30" fmla="*/ 531076345 w 196"/>
              <a:gd name="T31" fmla="*/ 437152779 h 188"/>
              <a:gd name="T32" fmla="*/ 607673004 w 196"/>
              <a:gd name="T33" fmla="*/ 533732441 h 188"/>
              <a:gd name="T34" fmla="*/ 602568217 w 196"/>
              <a:gd name="T35" fmla="*/ 559148379 h 188"/>
              <a:gd name="T36" fmla="*/ 771082675 w 196"/>
              <a:gd name="T37" fmla="*/ 472734641 h 188"/>
              <a:gd name="T38" fmla="*/ 980448985 w 196"/>
              <a:gd name="T39" fmla="*/ 686228069 h 188"/>
              <a:gd name="T40" fmla="*/ 960023059 w 196"/>
              <a:gd name="T41" fmla="*/ 772641807 h 188"/>
              <a:gd name="T42" fmla="*/ 1000874912 w 196"/>
              <a:gd name="T43" fmla="*/ 615062090 h 188"/>
              <a:gd name="T44" fmla="*/ 842572287 w 196"/>
              <a:gd name="T45" fmla="*/ 330404938 h 188"/>
              <a:gd name="T46" fmla="*/ 500438586 w 196"/>
              <a:gd name="T47" fmla="*/ 0 h 188"/>
              <a:gd name="T48" fmla="*/ 163407411 w 196"/>
              <a:gd name="T49" fmla="*/ 320239014 h 188"/>
              <a:gd name="T50" fmla="*/ 0 w 196"/>
              <a:gd name="T51" fmla="*/ 609980255 h 188"/>
              <a:gd name="T52" fmla="*/ 342135961 w 196"/>
              <a:gd name="T53" fmla="*/ 945469283 h 188"/>
              <a:gd name="T54" fmla="*/ 495331539 w 196"/>
              <a:gd name="T55" fmla="*/ 909887421 h 188"/>
              <a:gd name="T56" fmla="*/ 658738950 w 196"/>
              <a:gd name="T57" fmla="*/ 955635207 h 188"/>
              <a:gd name="T58" fmla="*/ 934490086 w 196"/>
              <a:gd name="T59" fmla="*/ 813305504 h 188"/>
              <a:gd name="T60" fmla="*/ 771082675 w 196"/>
              <a:gd name="T61" fmla="*/ 894637407 h 18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96" h="188">
                <a:moveTo>
                  <a:pt x="151" y="176"/>
                </a:moveTo>
                <a:cubicBezTo>
                  <a:pt x="128" y="176"/>
                  <a:pt x="110" y="157"/>
                  <a:pt x="110" y="135"/>
                </a:cubicBezTo>
                <a:cubicBezTo>
                  <a:pt x="110" y="129"/>
                  <a:pt x="111" y="123"/>
                  <a:pt x="113" y="118"/>
                </a:cubicBezTo>
                <a:cubicBezTo>
                  <a:pt x="110" y="121"/>
                  <a:pt x="105" y="123"/>
                  <a:pt x="100" y="123"/>
                </a:cubicBezTo>
                <a:cubicBezTo>
                  <a:pt x="94" y="123"/>
                  <a:pt x="88" y="120"/>
                  <a:pt x="85" y="116"/>
                </a:cubicBezTo>
                <a:cubicBezTo>
                  <a:pt x="88" y="121"/>
                  <a:pt x="89" y="128"/>
                  <a:pt x="89" y="135"/>
                </a:cubicBezTo>
                <a:cubicBezTo>
                  <a:pt x="89" y="157"/>
                  <a:pt x="71" y="176"/>
                  <a:pt x="48" y="176"/>
                </a:cubicBezTo>
                <a:cubicBezTo>
                  <a:pt x="25" y="176"/>
                  <a:pt x="7" y="157"/>
                  <a:pt x="7" y="135"/>
                </a:cubicBezTo>
                <a:cubicBezTo>
                  <a:pt x="7" y="112"/>
                  <a:pt x="25" y="93"/>
                  <a:pt x="48" y="93"/>
                </a:cubicBezTo>
                <a:cubicBezTo>
                  <a:pt x="63" y="93"/>
                  <a:pt x="75" y="101"/>
                  <a:pt x="83" y="112"/>
                </a:cubicBezTo>
                <a:cubicBezTo>
                  <a:pt x="82" y="110"/>
                  <a:pt x="81" y="107"/>
                  <a:pt x="81" y="105"/>
                </a:cubicBezTo>
                <a:cubicBezTo>
                  <a:pt x="81" y="96"/>
                  <a:pt x="87" y="88"/>
                  <a:pt x="96" y="86"/>
                </a:cubicBezTo>
                <a:cubicBezTo>
                  <a:pt x="75" y="84"/>
                  <a:pt x="59" y="67"/>
                  <a:pt x="59" y="45"/>
                </a:cubicBezTo>
                <a:cubicBezTo>
                  <a:pt x="59" y="22"/>
                  <a:pt x="77" y="4"/>
                  <a:pt x="100" y="4"/>
                </a:cubicBezTo>
                <a:cubicBezTo>
                  <a:pt x="123" y="4"/>
                  <a:pt x="141" y="22"/>
                  <a:pt x="141" y="45"/>
                </a:cubicBezTo>
                <a:cubicBezTo>
                  <a:pt x="141" y="67"/>
                  <a:pt x="125" y="84"/>
                  <a:pt x="104" y="86"/>
                </a:cubicBezTo>
                <a:cubicBezTo>
                  <a:pt x="112" y="88"/>
                  <a:pt x="119" y="96"/>
                  <a:pt x="119" y="105"/>
                </a:cubicBezTo>
                <a:cubicBezTo>
                  <a:pt x="119" y="106"/>
                  <a:pt x="118" y="108"/>
                  <a:pt x="118" y="110"/>
                </a:cubicBezTo>
                <a:cubicBezTo>
                  <a:pt x="125" y="100"/>
                  <a:pt x="137" y="93"/>
                  <a:pt x="151" y="93"/>
                </a:cubicBezTo>
                <a:cubicBezTo>
                  <a:pt x="174" y="93"/>
                  <a:pt x="192" y="112"/>
                  <a:pt x="192" y="135"/>
                </a:cubicBezTo>
                <a:cubicBezTo>
                  <a:pt x="192" y="141"/>
                  <a:pt x="191" y="147"/>
                  <a:pt x="188" y="152"/>
                </a:cubicBezTo>
                <a:cubicBezTo>
                  <a:pt x="193" y="143"/>
                  <a:pt x="196" y="132"/>
                  <a:pt x="196" y="121"/>
                </a:cubicBezTo>
                <a:cubicBezTo>
                  <a:pt x="196" y="97"/>
                  <a:pt x="184" y="77"/>
                  <a:pt x="165" y="65"/>
                </a:cubicBezTo>
                <a:cubicBezTo>
                  <a:pt x="164" y="29"/>
                  <a:pt x="135" y="0"/>
                  <a:pt x="98" y="0"/>
                </a:cubicBezTo>
                <a:cubicBezTo>
                  <a:pt x="63" y="0"/>
                  <a:pt x="34" y="28"/>
                  <a:pt x="32" y="63"/>
                </a:cubicBezTo>
                <a:cubicBezTo>
                  <a:pt x="13" y="74"/>
                  <a:pt x="0" y="96"/>
                  <a:pt x="0" y="120"/>
                </a:cubicBezTo>
                <a:cubicBezTo>
                  <a:pt x="0" y="156"/>
                  <a:pt x="30" y="186"/>
                  <a:pt x="67" y="186"/>
                </a:cubicBezTo>
                <a:cubicBezTo>
                  <a:pt x="78" y="186"/>
                  <a:pt x="88" y="184"/>
                  <a:pt x="97" y="179"/>
                </a:cubicBezTo>
                <a:cubicBezTo>
                  <a:pt x="106" y="185"/>
                  <a:pt x="117" y="188"/>
                  <a:pt x="129" y="188"/>
                </a:cubicBezTo>
                <a:cubicBezTo>
                  <a:pt x="151" y="188"/>
                  <a:pt x="171" y="177"/>
                  <a:pt x="183" y="160"/>
                </a:cubicBezTo>
                <a:cubicBezTo>
                  <a:pt x="176" y="170"/>
                  <a:pt x="164" y="176"/>
                  <a:pt x="151" y="17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4" name="Freeform 316"/>
          <p:cNvSpPr>
            <a:spLocks/>
          </p:cNvSpPr>
          <p:nvPr/>
        </p:nvSpPr>
        <p:spPr bwMode="auto">
          <a:xfrm>
            <a:off x="7778751" y="1322918"/>
            <a:ext cx="590549" cy="565149"/>
          </a:xfrm>
          <a:custGeom>
            <a:avLst/>
            <a:gdLst>
              <a:gd name="T0" fmla="*/ 771082675 w 196"/>
              <a:gd name="T1" fmla="*/ 894637407 h 188"/>
              <a:gd name="T2" fmla="*/ 561716365 w 196"/>
              <a:gd name="T3" fmla="*/ 686228069 h 188"/>
              <a:gd name="T4" fmla="*/ 577035245 w 196"/>
              <a:gd name="T5" fmla="*/ 599814331 h 188"/>
              <a:gd name="T6" fmla="*/ 510650419 w 196"/>
              <a:gd name="T7" fmla="*/ 625230269 h 188"/>
              <a:gd name="T8" fmla="*/ 434053760 w 196"/>
              <a:gd name="T9" fmla="*/ 589646152 h 188"/>
              <a:gd name="T10" fmla="*/ 454479686 w 196"/>
              <a:gd name="T11" fmla="*/ 686228069 h 188"/>
              <a:gd name="T12" fmla="*/ 245111116 w 196"/>
              <a:gd name="T13" fmla="*/ 894637407 h 188"/>
              <a:gd name="T14" fmla="*/ 35744806 w 196"/>
              <a:gd name="T15" fmla="*/ 686228069 h 188"/>
              <a:gd name="T16" fmla="*/ 245111116 w 196"/>
              <a:gd name="T17" fmla="*/ 472734641 h 188"/>
              <a:gd name="T18" fmla="*/ 423839667 w 196"/>
              <a:gd name="T19" fmla="*/ 569314304 h 188"/>
              <a:gd name="T20" fmla="*/ 413627834 w 196"/>
              <a:gd name="T21" fmla="*/ 533732441 h 188"/>
              <a:gd name="T22" fmla="*/ 490224493 w 196"/>
              <a:gd name="T23" fmla="*/ 437152779 h 188"/>
              <a:gd name="T24" fmla="*/ 301284109 w 196"/>
              <a:gd name="T25" fmla="*/ 228743441 h 188"/>
              <a:gd name="T26" fmla="*/ 510650419 w 196"/>
              <a:gd name="T27" fmla="*/ 20331848 h 188"/>
              <a:gd name="T28" fmla="*/ 720016729 w 196"/>
              <a:gd name="T29" fmla="*/ 228743441 h 188"/>
              <a:gd name="T30" fmla="*/ 531076345 w 196"/>
              <a:gd name="T31" fmla="*/ 437152779 h 188"/>
              <a:gd name="T32" fmla="*/ 607673004 w 196"/>
              <a:gd name="T33" fmla="*/ 533732441 h 188"/>
              <a:gd name="T34" fmla="*/ 602568217 w 196"/>
              <a:gd name="T35" fmla="*/ 559148379 h 188"/>
              <a:gd name="T36" fmla="*/ 771082675 w 196"/>
              <a:gd name="T37" fmla="*/ 472734641 h 188"/>
              <a:gd name="T38" fmla="*/ 980448985 w 196"/>
              <a:gd name="T39" fmla="*/ 686228069 h 188"/>
              <a:gd name="T40" fmla="*/ 960023059 w 196"/>
              <a:gd name="T41" fmla="*/ 772641807 h 188"/>
              <a:gd name="T42" fmla="*/ 1000874912 w 196"/>
              <a:gd name="T43" fmla="*/ 615062090 h 188"/>
              <a:gd name="T44" fmla="*/ 842572287 w 196"/>
              <a:gd name="T45" fmla="*/ 330404938 h 188"/>
              <a:gd name="T46" fmla="*/ 500438586 w 196"/>
              <a:gd name="T47" fmla="*/ 0 h 188"/>
              <a:gd name="T48" fmla="*/ 163407411 w 196"/>
              <a:gd name="T49" fmla="*/ 320239014 h 188"/>
              <a:gd name="T50" fmla="*/ 0 w 196"/>
              <a:gd name="T51" fmla="*/ 609980255 h 188"/>
              <a:gd name="T52" fmla="*/ 342135961 w 196"/>
              <a:gd name="T53" fmla="*/ 945469283 h 188"/>
              <a:gd name="T54" fmla="*/ 495331539 w 196"/>
              <a:gd name="T55" fmla="*/ 909887421 h 188"/>
              <a:gd name="T56" fmla="*/ 658738950 w 196"/>
              <a:gd name="T57" fmla="*/ 955635207 h 188"/>
              <a:gd name="T58" fmla="*/ 934490086 w 196"/>
              <a:gd name="T59" fmla="*/ 813305504 h 188"/>
              <a:gd name="T60" fmla="*/ 771082675 w 196"/>
              <a:gd name="T61" fmla="*/ 894637407 h 18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96" h="188">
                <a:moveTo>
                  <a:pt x="151" y="176"/>
                </a:moveTo>
                <a:cubicBezTo>
                  <a:pt x="128" y="176"/>
                  <a:pt x="110" y="157"/>
                  <a:pt x="110" y="135"/>
                </a:cubicBezTo>
                <a:cubicBezTo>
                  <a:pt x="110" y="129"/>
                  <a:pt x="111" y="123"/>
                  <a:pt x="113" y="118"/>
                </a:cubicBezTo>
                <a:cubicBezTo>
                  <a:pt x="110" y="121"/>
                  <a:pt x="105" y="123"/>
                  <a:pt x="100" y="123"/>
                </a:cubicBezTo>
                <a:cubicBezTo>
                  <a:pt x="94" y="123"/>
                  <a:pt x="88" y="120"/>
                  <a:pt x="85" y="116"/>
                </a:cubicBezTo>
                <a:cubicBezTo>
                  <a:pt x="88" y="121"/>
                  <a:pt x="89" y="128"/>
                  <a:pt x="89" y="135"/>
                </a:cubicBezTo>
                <a:cubicBezTo>
                  <a:pt x="89" y="157"/>
                  <a:pt x="71" y="176"/>
                  <a:pt x="48" y="176"/>
                </a:cubicBezTo>
                <a:cubicBezTo>
                  <a:pt x="25" y="176"/>
                  <a:pt x="7" y="157"/>
                  <a:pt x="7" y="135"/>
                </a:cubicBezTo>
                <a:cubicBezTo>
                  <a:pt x="7" y="112"/>
                  <a:pt x="25" y="93"/>
                  <a:pt x="48" y="93"/>
                </a:cubicBezTo>
                <a:cubicBezTo>
                  <a:pt x="63" y="93"/>
                  <a:pt x="75" y="101"/>
                  <a:pt x="83" y="112"/>
                </a:cubicBezTo>
                <a:cubicBezTo>
                  <a:pt x="82" y="110"/>
                  <a:pt x="81" y="107"/>
                  <a:pt x="81" y="105"/>
                </a:cubicBezTo>
                <a:cubicBezTo>
                  <a:pt x="81" y="96"/>
                  <a:pt x="87" y="88"/>
                  <a:pt x="96" y="86"/>
                </a:cubicBezTo>
                <a:cubicBezTo>
                  <a:pt x="75" y="84"/>
                  <a:pt x="59" y="67"/>
                  <a:pt x="59" y="45"/>
                </a:cubicBezTo>
                <a:cubicBezTo>
                  <a:pt x="59" y="22"/>
                  <a:pt x="77" y="4"/>
                  <a:pt x="100" y="4"/>
                </a:cubicBezTo>
                <a:cubicBezTo>
                  <a:pt x="123" y="4"/>
                  <a:pt x="141" y="22"/>
                  <a:pt x="141" y="45"/>
                </a:cubicBezTo>
                <a:cubicBezTo>
                  <a:pt x="141" y="67"/>
                  <a:pt x="125" y="84"/>
                  <a:pt x="104" y="86"/>
                </a:cubicBezTo>
                <a:cubicBezTo>
                  <a:pt x="112" y="88"/>
                  <a:pt x="119" y="96"/>
                  <a:pt x="119" y="105"/>
                </a:cubicBezTo>
                <a:cubicBezTo>
                  <a:pt x="119" y="106"/>
                  <a:pt x="118" y="108"/>
                  <a:pt x="118" y="110"/>
                </a:cubicBezTo>
                <a:cubicBezTo>
                  <a:pt x="125" y="100"/>
                  <a:pt x="137" y="93"/>
                  <a:pt x="151" y="93"/>
                </a:cubicBezTo>
                <a:cubicBezTo>
                  <a:pt x="174" y="93"/>
                  <a:pt x="192" y="112"/>
                  <a:pt x="192" y="135"/>
                </a:cubicBezTo>
                <a:cubicBezTo>
                  <a:pt x="192" y="141"/>
                  <a:pt x="191" y="147"/>
                  <a:pt x="188" y="152"/>
                </a:cubicBezTo>
                <a:cubicBezTo>
                  <a:pt x="193" y="143"/>
                  <a:pt x="196" y="132"/>
                  <a:pt x="196" y="121"/>
                </a:cubicBezTo>
                <a:cubicBezTo>
                  <a:pt x="196" y="97"/>
                  <a:pt x="184" y="77"/>
                  <a:pt x="165" y="65"/>
                </a:cubicBezTo>
                <a:cubicBezTo>
                  <a:pt x="164" y="29"/>
                  <a:pt x="135" y="0"/>
                  <a:pt x="98" y="0"/>
                </a:cubicBezTo>
                <a:cubicBezTo>
                  <a:pt x="63" y="0"/>
                  <a:pt x="34" y="28"/>
                  <a:pt x="32" y="63"/>
                </a:cubicBezTo>
                <a:cubicBezTo>
                  <a:pt x="13" y="74"/>
                  <a:pt x="0" y="96"/>
                  <a:pt x="0" y="120"/>
                </a:cubicBezTo>
                <a:cubicBezTo>
                  <a:pt x="0" y="156"/>
                  <a:pt x="30" y="186"/>
                  <a:pt x="67" y="186"/>
                </a:cubicBezTo>
                <a:cubicBezTo>
                  <a:pt x="78" y="186"/>
                  <a:pt x="88" y="184"/>
                  <a:pt x="97" y="179"/>
                </a:cubicBezTo>
                <a:cubicBezTo>
                  <a:pt x="106" y="185"/>
                  <a:pt x="117" y="188"/>
                  <a:pt x="129" y="188"/>
                </a:cubicBezTo>
                <a:cubicBezTo>
                  <a:pt x="151" y="188"/>
                  <a:pt x="171" y="177"/>
                  <a:pt x="183" y="160"/>
                </a:cubicBezTo>
                <a:cubicBezTo>
                  <a:pt x="176" y="170"/>
                  <a:pt x="164" y="176"/>
                  <a:pt x="151" y="17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5" name="Freeform 317"/>
          <p:cNvSpPr>
            <a:spLocks noEditPoints="1"/>
          </p:cNvSpPr>
          <p:nvPr/>
        </p:nvSpPr>
        <p:spPr bwMode="auto">
          <a:xfrm>
            <a:off x="8834968" y="1382185"/>
            <a:ext cx="258233" cy="495300"/>
          </a:xfrm>
          <a:custGeom>
            <a:avLst/>
            <a:gdLst>
              <a:gd name="T0" fmla="*/ 218082554 w 86"/>
              <a:gd name="T1" fmla="*/ 0 h 164"/>
              <a:gd name="T2" fmla="*/ 147078146 w 86"/>
              <a:gd name="T3" fmla="*/ 56437019 h 164"/>
              <a:gd name="T4" fmla="*/ 60858991 w 86"/>
              <a:gd name="T5" fmla="*/ 66697883 h 164"/>
              <a:gd name="T6" fmla="*/ 50715826 w 86"/>
              <a:gd name="T7" fmla="*/ 153919760 h 164"/>
              <a:gd name="T8" fmla="*/ 0 w 86"/>
              <a:gd name="T9" fmla="*/ 225748076 h 164"/>
              <a:gd name="T10" fmla="*/ 50715826 w 86"/>
              <a:gd name="T11" fmla="*/ 292445959 h 164"/>
              <a:gd name="T12" fmla="*/ 60858991 w 86"/>
              <a:gd name="T13" fmla="*/ 379667836 h 164"/>
              <a:gd name="T14" fmla="*/ 147078146 w 86"/>
              <a:gd name="T15" fmla="*/ 395059132 h 164"/>
              <a:gd name="T16" fmla="*/ 218082554 w 86"/>
              <a:gd name="T17" fmla="*/ 446365719 h 164"/>
              <a:gd name="T18" fmla="*/ 289084710 w 86"/>
              <a:gd name="T19" fmla="*/ 395059132 h 164"/>
              <a:gd name="T20" fmla="*/ 375303865 w 86"/>
              <a:gd name="T21" fmla="*/ 379667836 h 164"/>
              <a:gd name="T22" fmla="*/ 385447031 w 86"/>
              <a:gd name="T23" fmla="*/ 292445959 h 164"/>
              <a:gd name="T24" fmla="*/ 436162856 w 86"/>
              <a:gd name="T25" fmla="*/ 225748076 h 164"/>
              <a:gd name="T26" fmla="*/ 385447031 w 86"/>
              <a:gd name="T27" fmla="*/ 153919760 h 164"/>
              <a:gd name="T28" fmla="*/ 375303865 w 86"/>
              <a:gd name="T29" fmla="*/ 66697883 h 164"/>
              <a:gd name="T30" fmla="*/ 289084710 w 86"/>
              <a:gd name="T31" fmla="*/ 56437019 h 164"/>
              <a:gd name="T32" fmla="*/ 218082554 w 86"/>
              <a:gd name="T33" fmla="*/ 0 h 164"/>
              <a:gd name="T34" fmla="*/ 218082554 w 86"/>
              <a:gd name="T35" fmla="*/ 123134902 h 164"/>
              <a:gd name="T36" fmla="*/ 314442623 w 86"/>
              <a:gd name="T37" fmla="*/ 225748076 h 164"/>
              <a:gd name="T38" fmla="*/ 218082554 w 86"/>
              <a:gd name="T39" fmla="*/ 323230817 h 164"/>
              <a:gd name="T40" fmla="*/ 121720233 w 86"/>
              <a:gd name="T41" fmla="*/ 225748076 h 164"/>
              <a:gd name="T42" fmla="*/ 218082554 w 86"/>
              <a:gd name="T43" fmla="*/ 123134902 h 164"/>
              <a:gd name="T44" fmla="*/ 147078146 w 86"/>
              <a:gd name="T45" fmla="*/ 466887448 h 164"/>
              <a:gd name="T46" fmla="*/ 96362321 w 86"/>
              <a:gd name="T47" fmla="*/ 472017880 h 164"/>
              <a:gd name="T48" fmla="*/ 96362321 w 86"/>
              <a:gd name="T49" fmla="*/ 841424851 h 164"/>
              <a:gd name="T50" fmla="*/ 339800535 w 86"/>
              <a:gd name="T51" fmla="*/ 841424851 h 164"/>
              <a:gd name="T52" fmla="*/ 339800535 w 86"/>
              <a:gd name="T53" fmla="*/ 472017880 h 164"/>
              <a:gd name="T54" fmla="*/ 289084710 w 86"/>
              <a:gd name="T55" fmla="*/ 466887448 h 164"/>
              <a:gd name="T56" fmla="*/ 218082554 w 86"/>
              <a:gd name="T57" fmla="*/ 518194034 h 164"/>
              <a:gd name="T58" fmla="*/ 147078146 w 86"/>
              <a:gd name="T59" fmla="*/ 466887448 h 16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6" h="164">
                <a:moveTo>
                  <a:pt x="43" y="0"/>
                </a:moveTo>
                <a:cubicBezTo>
                  <a:pt x="37" y="0"/>
                  <a:pt x="31" y="5"/>
                  <a:pt x="29" y="11"/>
                </a:cubicBezTo>
                <a:cubicBezTo>
                  <a:pt x="24" y="8"/>
                  <a:pt x="17" y="8"/>
                  <a:pt x="12" y="13"/>
                </a:cubicBezTo>
                <a:cubicBezTo>
                  <a:pt x="8" y="18"/>
                  <a:pt x="7" y="25"/>
                  <a:pt x="10" y="30"/>
                </a:cubicBezTo>
                <a:cubicBezTo>
                  <a:pt x="4" y="32"/>
                  <a:pt x="0" y="37"/>
                  <a:pt x="0" y="44"/>
                </a:cubicBezTo>
                <a:cubicBezTo>
                  <a:pt x="0" y="50"/>
                  <a:pt x="4" y="55"/>
                  <a:pt x="10" y="57"/>
                </a:cubicBezTo>
                <a:cubicBezTo>
                  <a:pt x="7" y="63"/>
                  <a:pt x="8" y="70"/>
                  <a:pt x="12" y="74"/>
                </a:cubicBezTo>
                <a:cubicBezTo>
                  <a:pt x="17" y="79"/>
                  <a:pt x="24" y="80"/>
                  <a:pt x="29" y="77"/>
                </a:cubicBezTo>
                <a:cubicBezTo>
                  <a:pt x="31" y="82"/>
                  <a:pt x="37" y="87"/>
                  <a:pt x="43" y="87"/>
                </a:cubicBezTo>
                <a:cubicBezTo>
                  <a:pt x="49" y="87"/>
                  <a:pt x="55" y="82"/>
                  <a:pt x="57" y="77"/>
                </a:cubicBezTo>
                <a:cubicBezTo>
                  <a:pt x="62" y="80"/>
                  <a:pt x="69" y="79"/>
                  <a:pt x="74" y="74"/>
                </a:cubicBezTo>
                <a:cubicBezTo>
                  <a:pt x="78" y="70"/>
                  <a:pt x="79" y="63"/>
                  <a:pt x="76" y="57"/>
                </a:cubicBezTo>
                <a:cubicBezTo>
                  <a:pt x="82" y="55"/>
                  <a:pt x="86" y="50"/>
                  <a:pt x="86" y="44"/>
                </a:cubicBezTo>
                <a:cubicBezTo>
                  <a:pt x="86" y="37"/>
                  <a:pt x="82" y="32"/>
                  <a:pt x="76" y="30"/>
                </a:cubicBezTo>
                <a:cubicBezTo>
                  <a:pt x="79" y="25"/>
                  <a:pt x="78" y="18"/>
                  <a:pt x="74" y="13"/>
                </a:cubicBezTo>
                <a:cubicBezTo>
                  <a:pt x="69" y="8"/>
                  <a:pt x="62" y="8"/>
                  <a:pt x="57" y="11"/>
                </a:cubicBezTo>
                <a:cubicBezTo>
                  <a:pt x="55" y="5"/>
                  <a:pt x="49" y="0"/>
                  <a:pt x="43" y="0"/>
                </a:cubicBezTo>
                <a:close/>
                <a:moveTo>
                  <a:pt x="43" y="24"/>
                </a:moveTo>
                <a:cubicBezTo>
                  <a:pt x="54" y="24"/>
                  <a:pt x="62" y="33"/>
                  <a:pt x="62" y="44"/>
                </a:cubicBezTo>
                <a:cubicBezTo>
                  <a:pt x="62" y="54"/>
                  <a:pt x="54" y="63"/>
                  <a:pt x="43" y="63"/>
                </a:cubicBezTo>
                <a:cubicBezTo>
                  <a:pt x="32" y="63"/>
                  <a:pt x="24" y="54"/>
                  <a:pt x="24" y="44"/>
                </a:cubicBezTo>
                <a:cubicBezTo>
                  <a:pt x="24" y="33"/>
                  <a:pt x="32" y="24"/>
                  <a:pt x="43" y="24"/>
                </a:cubicBezTo>
                <a:close/>
                <a:moveTo>
                  <a:pt x="29" y="91"/>
                </a:moveTo>
                <a:cubicBezTo>
                  <a:pt x="26" y="93"/>
                  <a:pt x="22" y="93"/>
                  <a:pt x="19" y="92"/>
                </a:cubicBezTo>
                <a:cubicBezTo>
                  <a:pt x="19" y="164"/>
                  <a:pt x="19" y="164"/>
                  <a:pt x="19" y="164"/>
                </a:cubicBezTo>
                <a:cubicBezTo>
                  <a:pt x="45" y="136"/>
                  <a:pt x="42" y="138"/>
                  <a:pt x="67" y="164"/>
                </a:cubicBezTo>
                <a:cubicBezTo>
                  <a:pt x="67" y="92"/>
                  <a:pt x="67" y="92"/>
                  <a:pt x="67" y="92"/>
                </a:cubicBezTo>
                <a:cubicBezTo>
                  <a:pt x="64" y="93"/>
                  <a:pt x="60" y="93"/>
                  <a:pt x="57" y="91"/>
                </a:cubicBezTo>
                <a:cubicBezTo>
                  <a:pt x="55" y="97"/>
                  <a:pt x="49" y="101"/>
                  <a:pt x="43" y="101"/>
                </a:cubicBezTo>
                <a:cubicBezTo>
                  <a:pt x="37" y="101"/>
                  <a:pt x="31" y="97"/>
                  <a:pt x="29" y="9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6" name="Freeform 318"/>
          <p:cNvSpPr>
            <a:spLocks/>
          </p:cNvSpPr>
          <p:nvPr/>
        </p:nvSpPr>
        <p:spPr bwMode="auto">
          <a:xfrm>
            <a:off x="9728200" y="1320801"/>
            <a:ext cx="179917" cy="472017"/>
          </a:xfrm>
          <a:custGeom>
            <a:avLst/>
            <a:gdLst>
              <a:gd name="T0" fmla="*/ 0 w 60"/>
              <a:gd name="T1" fmla="*/ 772828418 h 157"/>
              <a:gd name="T2" fmla="*/ 5057926 w 60"/>
              <a:gd name="T3" fmla="*/ 767743709 h 157"/>
              <a:gd name="T4" fmla="*/ 5057926 w 60"/>
              <a:gd name="T5" fmla="*/ 767743709 h 157"/>
              <a:gd name="T6" fmla="*/ 20231704 w 60"/>
              <a:gd name="T7" fmla="*/ 747404873 h 157"/>
              <a:gd name="T8" fmla="*/ 20231704 w 60"/>
              <a:gd name="T9" fmla="*/ 747404873 h 157"/>
              <a:gd name="T10" fmla="*/ 60695112 w 60"/>
              <a:gd name="T11" fmla="*/ 635548039 h 157"/>
              <a:gd name="T12" fmla="*/ 60695112 w 60"/>
              <a:gd name="T13" fmla="*/ 635548039 h 157"/>
              <a:gd name="T14" fmla="*/ 126445902 w 60"/>
              <a:gd name="T15" fmla="*/ 20336581 h 157"/>
              <a:gd name="T16" fmla="*/ 126445902 w 60"/>
              <a:gd name="T17" fmla="*/ 20336581 h 157"/>
              <a:gd name="T18" fmla="*/ 126445902 w 60"/>
              <a:gd name="T19" fmla="*/ 0 h 157"/>
              <a:gd name="T20" fmla="*/ 141619680 w 60"/>
              <a:gd name="T21" fmla="*/ 0 h 157"/>
              <a:gd name="T22" fmla="*/ 177025162 w 60"/>
              <a:gd name="T23" fmla="*/ 0 h 157"/>
              <a:gd name="T24" fmla="*/ 177025162 w 60"/>
              <a:gd name="T25" fmla="*/ 20336581 h 157"/>
              <a:gd name="T26" fmla="*/ 298413138 w 60"/>
              <a:gd name="T27" fmla="*/ 767743709 h 157"/>
              <a:gd name="T28" fmla="*/ 298413138 w 60"/>
              <a:gd name="T29" fmla="*/ 767743709 h 157"/>
              <a:gd name="T30" fmla="*/ 303471064 w 60"/>
              <a:gd name="T31" fmla="*/ 772828418 h 157"/>
              <a:gd name="T32" fmla="*/ 303471064 w 60"/>
              <a:gd name="T33" fmla="*/ 772828418 h 157"/>
              <a:gd name="T34" fmla="*/ 303471064 w 60"/>
              <a:gd name="T35" fmla="*/ 772828418 h 157"/>
              <a:gd name="T36" fmla="*/ 278181434 w 60"/>
              <a:gd name="T37" fmla="*/ 798249708 h 157"/>
              <a:gd name="T38" fmla="*/ 151735532 w 60"/>
              <a:gd name="T39" fmla="*/ 238965540 h 157"/>
              <a:gd name="T40" fmla="*/ 151735532 w 60"/>
              <a:gd name="T41" fmla="*/ 238965540 h 157"/>
              <a:gd name="T42" fmla="*/ 25289630 w 60"/>
              <a:gd name="T43" fmla="*/ 798249708 h 157"/>
              <a:gd name="T44" fmla="*/ 25289630 w 60"/>
              <a:gd name="T45" fmla="*/ 798249708 h 157"/>
              <a:gd name="T46" fmla="*/ 0 w 60"/>
              <a:gd name="T47" fmla="*/ 772828418 h 15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157">
                <a:moveTo>
                  <a:pt x="0" y="152"/>
                </a:moveTo>
                <a:cubicBezTo>
                  <a:pt x="0" y="152"/>
                  <a:pt x="1" y="152"/>
                  <a:pt x="1" y="151"/>
                </a:cubicBezTo>
                <a:cubicBezTo>
                  <a:pt x="1" y="151"/>
                  <a:pt x="1" y="151"/>
                  <a:pt x="1" y="151"/>
                </a:cubicBezTo>
                <a:cubicBezTo>
                  <a:pt x="2" y="150"/>
                  <a:pt x="3" y="149"/>
                  <a:pt x="4" y="147"/>
                </a:cubicBezTo>
                <a:cubicBezTo>
                  <a:pt x="4" y="147"/>
                  <a:pt x="4" y="147"/>
                  <a:pt x="4" y="147"/>
                </a:cubicBezTo>
                <a:cubicBezTo>
                  <a:pt x="6" y="143"/>
                  <a:pt x="9" y="136"/>
                  <a:pt x="12" y="125"/>
                </a:cubicBezTo>
                <a:cubicBezTo>
                  <a:pt x="12" y="125"/>
                  <a:pt x="12" y="125"/>
                  <a:pt x="12" y="125"/>
                </a:cubicBezTo>
                <a:cubicBezTo>
                  <a:pt x="18" y="104"/>
                  <a:pt x="25" y="66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5" y="0"/>
                  <a:pt x="25" y="0"/>
                  <a:pt x="25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5" y="4"/>
                  <a:pt x="35" y="4"/>
                  <a:pt x="35" y="4"/>
                </a:cubicBezTo>
                <a:cubicBezTo>
                  <a:pt x="35" y="113"/>
                  <a:pt x="55" y="145"/>
                  <a:pt x="59" y="151"/>
                </a:cubicBezTo>
                <a:cubicBezTo>
                  <a:pt x="59" y="151"/>
                  <a:pt x="59" y="151"/>
                  <a:pt x="59" y="151"/>
                </a:cubicBezTo>
                <a:cubicBezTo>
                  <a:pt x="59" y="152"/>
                  <a:pt x="60" y="152"/>
                  <a:pt x="60" y="152"/>
                </a:cubicBezTo>
                <a:cubicBezTo>
                  <a:pt x="60" y="152"/>
                  <a:pt x="60" y="152"/>
                  <a:pt x="60" y="152"/>
                </a:cubicBezTo>
                <a:cubicBezTo>
                  <a:pt x="60" y="152"/>
                  <a:pt x="60" y="152"/>
                  <a:pt x="60" y="152"/>
                </a:cubicBezTo>
                <a:cubicBezTo>
                  <a:pt x="55" y="157"/>
                  <a:pt x="55" y="157"/>
                  <a:pt x="55" y="157"/>
                </a:cubicBezTo>
                <a:cubicBezTo>
                  <a:pt x="54" y="156"/>
                  <a:pt x="35" y="136"/>
                  <a:pt x="30" y="47"/>
                </a:cubicBezTo>
                <a:cubicBezTo>
                  <a:pt x="30" y="47"/>
                  <a:pt x="30" y="47"/>
                  <a:pt x="30" y="47"/>
                </a:cubicBezTo>
                <a:cubicBezTo>
                  <a:pt x="25" y="136"/>
                  <a:pt x="6" y="156"/>
                  <a:pt x="5" y="157"/>
                </a:cubicBezTo>
                <a:cubicBezTo>
                  <a:pt x="5" y="157"/>
                  <a:pt x="5" y="157"/>
                  <a:pt x="5" y="157"/>
                </a:cubicBezTo>
                <a:cubicBezTo>
                  <a:pt x="0" y="152"/>
                  <a:pt x="0" y="152"/>
                  <a:pt x="0" y="1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7" name="Freeform 319"/>
          <p:cNvSpPr>
            <a:spLocks noEditPoints="1"/>
          </p:cNvSpPr>
          <p:nvPr/>
        </p:nvSpPr>
        <p:spPr bwMode="auto">
          <a:xfrm>
            <a:off x="9622367" y="1756833"/>
            <a:ext cx="391584" cy="135467"/>
          </a:xfrm>
          <a:custGeom>
            <a:avLst/>
            <a:gdLst>
              <a:gd name="T0" fmla="*/ 495058566 w 130"/>
              <a:gd name="T1" fmla="*/ 229390222 h 45"/>
              <a:gd name="T2" fmla="*/ 495058566 w 130"/>
              <a:gd name="T3" fmla="*/ 219194098 h 45"/>
              <a:gd name="T4" fmla="*/ 331740928 w 130"/>
              <a:gd name="T5" fmla="*/ 142732196 h 45"/>
              <a:gd name="T6" fmla="*/ 331740928 w 130"/>
              <a:gd name="T7" fmla="*/ 142732196 h 45"/>
              <a:gd name="T8" fmla="*/ 173526684 w 130"/>
              <a:gd name="T9" fmla="*/ 219194098 h 45"/>
              <a:gd name="T10" fmla="*/ 173526684 w 130"/>
              <a:gd name="T11" fmla="*/ 219194098 h 45"/>
              <a:gd name="T12" fmla="*/ 168423291 w 130"/>
              <a:gd name="T13" fmla="*/ 229390222 h 45"/>
              <a:gd name="T14" fmla="*/ 0 w 130"/>
              <a:gd name="T15" fmla="*/ 229390222 h 45"/>
              <a:gd name="T16" fmla="*/ 15310181 w 130"/>
              <a:gd name="T17" fmla="*/ 203902169 h 45"/>
              <a:gd name="T18" fmla="*/ 331740928 w 130"/>
              <a:gd name="T19" fmla="*/ 0 h 45"/>
              <a:gd name="T20" fmla="*/ 331740928 w 130"/>
              <a:gd name="T21" fmla="*/ 0 h 45"/>
              <a:gd name="T22" fmla="*/ 648171675 w 130"/>
              <a:gd name="T23" fmla="*/ 203902169 h 45"/>
              <a:gd name="T24" fmla="*/ 648171675 w 130"/>
              <a:gd name="T25" fmla="*/ 203902169 h 45"/>
              <a:gd name="T26" fmla="*/ 663481856 w 130"/>
              <a:gd name="T27" fmla="*/ 229390222 h 45"/>
              <a:gd name="T28" fmla="*/ 495058566 w 130"/>
              <a:gd name="T29" fmla="*/ 229390222 h 45"/>
              <a:gd name="T30" fmla="*/ 158214244 w 130"/>
              <a:gd name="T31" fmla="*/ 209000231 h 45"/>
              <a:gd name="T32" fmla="*/ 158214244 w 130"/>
              <a:gd name="T33" fmla="*/ 193708302 h 45"/>
              <a:gd name="T34" fmla="*/ 158214244 w 130"/>
              <a:gd name="T35" fmla="*/ 209000231 h 45"/>
              <a:gd name="T36" fmla="*/ 607340007 w 130"/>
              <a:gd name="T37" fmla="*/ 193708302 h 45"/>
              <a:gd name="T38" fmla="*/ 331740928 w 130"/>
              <a:gd name="T39" fmla="*/ 30586116 h 45"/>
              <a:gd name="T40" fmla="*/ 331740928 w 130"/>
              <a:gd name="T41" fmla="*/ 30586116 h 45"/>
              <a:gd name="T42" fmla="*/ 56141850 w 130"/>
              <a:gd name="T43" fmla="*/ 193708302 h 45"/>
              <a:gd name="T44" fmla="*/ 56141850 w 130"/>
              <a:gd name="T45" fmla="*/ 193708302 h 45"/>
              <a:gd name="T46" fmla="*/ 148007456 w 130"/>
              <a:gd name="T47" fmla="*/ 193708302 h 45"/>
              <a:gd name="T48" fmla="*/ 331740928 w 130"/>
              <a:gd name="T49" fmla="*/ 112146080 h 45"/>
              <a:gd name="T50" fmla="*/ 331740928 w 130"/>
              <a:gd name="T51" fmla="*/ 112146080 h 45"/>
              <a:gd name="T52" fmla="*/ 515474400 w 130"/>
              <a:gd name="T53" fmla="*/ 193708302 h 45"/>
              <a:gd name="T54" fmla="*/ 515474400 w 130"/>
              <a:gd name="T55" fmla="*/ 193708302 h 45"/>
              <a:gd name="T56" fmla="*/ 607340007 w 130"/>
              <a:gd name="T57" fmla="*/ 193708302 h 4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130" h="45">
                <a:moveTo>
                  <a:pt x="97" y="45"/>
                </a:moveTo>
                <a:cubicBezTo>
                  <a:pt x="97" y="43"/>
                  <a:pt x="97" y="43"/>
                  <a:pt x="97" y="43"/>
                </a:cubicBezTo>
                <a:cubicBezTo>
                  <a:pt x="89" y="34"/>
                  <a:pt x="78" y="28"/>
                  <a:pt x="65" y="28"/>
                </a:cubicBezTo>
                <a:cubicBezTo>
                  <a:pt x="65" y="28"/>
                  <a:pt x="65" y="28"/>
                  <a:pt x="65" y="28"/>
                </a:cubicBezTo>
                <a:cubicBezTo>
                  <a:pt x="52" y="28"/>
                  <a:pt x="41" y="34"/>
                  <a:pt x="34" y="43"/>
                </a:cubicBezTo>
                <a:cubicBezTo>
                  <a:pt x="34" y="43"/>
                  <a:pt x="34" y="43"/>
                  <a:pt x="34" y="43"/>
                </a:cubicBezTo>
                <a:cubicBezTo>
                  <a:pt x="33" y="45"/>
                  <a:pt x="33" y="45"/>
                  <a:pt x="33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3" y="40"/>
                  <a:pt x="3" y="40"/>
                  <a:pt x="3" y="40"/>
                </a:cubicBezTo>
                <a:cubicBezTo>
                  <a:pt x="13" y="16"/>
                  <a:pt x="37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93" y="0"/>
                  <a:pt x="117" y="16"/>
                  <a:pt x="127" y="40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0" y="45"/>
                  <a:pt x="130" y="45"/>
                  <a:pt x="130" y="45"/>
                </a:cubicBezTo>
                <a:cubicBezTo>
                  <a:pt x="97" y="45"/>
                  <a:pt x="97" y="45"/>
                  <a:pt x="97" y="45"/>
                </a:cubicBezTo>
                <a:close/>
                <a:moveTo>
                  <a:pt x="31" y="41"/>
                </a:moveTo>
                <a:cubicBezTo>
                  <a:pt x="31" y="38"/>
                  <a:pt x="31" y="38"/>
                  <a:pt x="31" y="38"/>
                </a:cubicBezTo>
                <a:cubicBezTo>
                  <a:pt x="31" y="41"/>
                  <a:pt x="31" y="41"/>
                  <a:pt x="31" y="41"/>
                </a:cubicBezTo>
                <a:close/>
                <a:moveTo>
                  <a:pt x="119" y="38"/>
                </a:moveTo>
                <a:cubicBezTo>
                  <a:pt x="108" y="19"/>
                  <a:pt x="88" y="6"/>
                  <a:pt x="65" y="6"/>
                </a:cubicBezTo>
                <a:cubicBezTo>
                  <a:pt x="65" y="6"/>
                  <a:pt x="65" y="6"/>
                  <a:pt x="65" y="6"/>
                </a:cubicBezTo>
                <a:cubicBezTo>
                  <a:pt x="42" y="6"/>
                  <a:pt x="22" y="19"/>
                  <a:pt x="11" y="38"/>
                </a:cubicBezTo>
                <a:cubicBezTo>
                  <a:pt x="11" y="38"/>
                  <a:pt x="11" y="38"/>
                  <a:pt x="11" y="38"/>
                </a:cubicBezTo>
                <a:cubicBezTo>
                  <a:pt x="29" y="38"/>
                  <a:pt x="29" y="38"/>
                  <a:pt x="29" y="38"/>
                </a:cubicBezTo>
                <a:cubicBezTo>
                  <a:pt x="38" y="28"/>
                  <a:pt x="51" y="22"/>
                  <a:pt x="65" y="22"/>
                </a:cubicBezTo>
                <a:cubicBezTo>
                  <a:pt x="65" y="22"/>
                  <a:pt x="65" y="22"/>
                  <a:pt x="65" y="22"/>
                </a:cubicBezTo>
                <a:cubicBezTo>
                  <a:pt x="79" y="22"/>
                  <a:pt x="92" y="28"/>
                  <a:pt x="101" y="38"/>
                </a:cubicBezTo>
                <a:cubicBezTo>
                  <a:pt x="101" y="38"/>
                  <a:pt x="101" y="38"/>
                  <a:pt x="101" y="38"/>
                </a:cubicBezTo>
                <a:cubicBezTo>
                  <a:pt x="119" y="38"/>
                  <a:pt x="119" y="38"/>
                  <a:pt x="119" y="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8" name="Freeform 320"/>
          <p:cNvSpPr>
            <a:spLocks/>
          </p:cNvSpPr>
          <p:nvPr/>
        </p:nvSpPr>
        <p:spPr bwMode="auto">
          <a:xfrm>
            <a:off x="9783234" y="1674285"/>
            <a:ext cx="71967" cy="19049"/>
          </a:xfrm>
          <a:custGeom>
            <a:avLst/>
            <a:gdLst>
              <a:gd name="T0" fmla="*/ 0 w 34"/>
              <a:gd name="T1" fmla="*/ 22681406 h 9"/>
              <a:gd name="T2" fmla="*/ 0 w 34"/>
              <a:gd name="T3" fmla="*/ 0 h 9"/>
              <a:gd name="T4" fmla="*/ 85685313 w 34"/>
              <a:gd name="T5" fmla="*/ 0 h 9"/>
              <a:gd name="T6" fmla="*/ 85685313 w 34"/>
              <a:gd name="T7" fmla="*/ 22681406 h 9"/>
              <a:gd name="T8" fmla="*/ 0 w 34"/>
              <a:gd name="T9" fmla="*/ 22681406 h 9"/>
              <a:gd name="T10" fmla="*/ 0 w 34"/>
              <a:gd name="T11" fmla="*/ 22681406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34" h="9">
                <a:moveTo>
                  <a:pt x="0" y="9"/>
                </a:moveTo>
                <a:lnTo>
                  <a:pt x="0" y="0"/>
                </a:lnTo>
                <a:lnTo>
                  <a:pt x="34" y="0"/>
                </a:lnTo>
                <a:lnTo>
                  <a:pt x="34" y="9"/>
                </a:lnTo>
                <a:lnTo>
                  <a:pt x="0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09" name="Freeform 321"/>
          <p:cNvSpPr>
            <a:spLocks noEditPoints="1"/>
          </p:cNvSpPr>
          <p:nvPr/>
        </p:nvSpPr>
        <p:spPr bwMode="auto">
          <a:xfrm>
            <a:off x="9787467" y="1706034"/>
            <a:ext cx="63500" cy="40217"/>
          </a:xfrm>
          <a:custGeom>
            <a:avLst/>
            <a:gdLst>
              <a:gd name="T0" fmla="*/ 15430500 w 21"/>
              <a:gd name="T1" fmla="*/ 4642948 h 14"/>
              <a:gd name="T2" fmla="*/ 15430500 w 21"/>
              <a:gd name="T3" fmla="*/ 0 h 14"/>
              <a:gd name="T4" fmla="*/ 82291464 w 21"/>
              <a:gd name="T5" fmla="*/ 0 h 14"/>
              <a:gd name="T6" fmla="*/ 108006696 w 21"/>
              <a:gd name="T7" fmla="*/ 60345391 h 14"/>
              <a:gd name="T8" fmla="*/ 102863196 w 21"/>
              <a:gd name="T9" fmla="*/ 60345391 h 14"/>
              <a:gd name="T10" fmla="*/ 46289232 w 21"/>
              <a:gd name="T11" fmla="*/ 55702443 h 14"/>
              <a:gd name="T12" fmla="*/ 46289232 w 21"/>
              <a:gd name="T13" fmla="*/ 55702443 h 14"/>
              <a:gd name="T14" fmla="*/ 5143500 w 21"/>
              <a:gd name="T15" fmla="*/ 60345391 h 14"/>
              <a:gd name="T16" fmla="*/ 5143500 w 21"/>
              <a:gd name="T17" fmla="*/ 60345391 h 14"/>
              <a:gd name="T18" fmla="*/ 0 w 21"/>
              <a:gd name="T19" fmla="*/ 64986184 h 14"/>
              <a:gd name="T20" fmla="*/ 15430500 w 21"/>
              <a:gd name="T21" fmla="*/ 4642948 h 14"/>
              <a:gd name="T22" fmla="*/ 10287000 w 21"/>
              <a:gd name="T23" fmla="*/ 51061650 h 14"/>
              <a:gd name="T24" fmla="*/ 46289232 w 21"/>
              <a:gd name="T25" fmla="*/ 51061650 h 14"/>
              <a:gd name="T26" fmla="*/ 46289232 w 21"/>
              <a:gd name="T27" fmla="*/ 51061650 h 14"/>
              <a:gd name="T28" fmla="*/ 97719696 w 21"/>
              <a:gd name="T29" fmla="*/ 51061650 h 14"/>
              <a:gd name="T30" fmla="*/ 97719696 w 21"/>
              <a:gd name="T31" fmla="*/ 51061650 h 14"/>
              <a:gd name="T32" fmla="*/ 77147964 w 21"/>
              <a:gd name="T33" fmla="*/ 9283741 h 14"/>
              <a:gd name="T34" fmla="*/ 20571732 w 21"/>
              <a:gd name="T35" fmla="*/ 9283741 h 14"/>
              <a:gd name="T36" fmla="*/ 10287000 w 21"/>
              <a:gd name="T37" fmla="*/ 51061650 h 1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1" h="14">
                <a:moveTo>
                  <a:pt x="3" y="1"/>
                </a:moveTo>
                <a:cubicBezTo>
                  <a:pt x="3" y="0"/>
                  <a:pt x="3" y="0"/>
                  <a:pt x="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21" y="13"/>
                  <a:pt x="21" y="13"/>
                  <a:pt x="21" y="13"/>
                </a:cubicBezTo>
                <a:cubicBezTo>
                  <a:pt x="20" y="13"/>
                  <a:pt x="20" y="13"/>
                  <a:pt x="20" y="13"/>
                </a:cubicBezTo>
                <a:cubicBezTo>
                  <a:pt x="20" y="13"/>
                  <a:pt x="14" y="12"/>
                  <a:pt x="9" y="12"/>
                </a:cubicBezTo>
                <a:cubicBezTo>
                  <a:pt x="9" y="12"/>
                  <a:pt x="9" y="12"/>
                  <a:pt x="9" y="12"/>
                </a:cubicBezTo>
                <a:cubicBezTo>
                  <a:pt x="6" y="12"/>
                  <a:pt x="3" y="13"/>
                  <a:pt x="1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4"/>
                  <a:pt x="0" y="14"/>
                  <a:pt x="0" y="14"/>
                </a:cubicBezTo>
                <a:cubicBezTo>
                  <a:pt x="3" y="1"/>
                  <a:pt x="3" y="1"/>
                  <a:pt x="3" y="1"/>
                </a:cubicBezTo>
                <a:close/>
                <a:moveTo>
                  <a:pt x="2" y="11"/>
                </a:moveTo>
                <a:cubicBezTo>
                  <a:pt x="4" y="11"/>
                  <a:pt x="7" y="11"/>
                  <a:pt x="9" y="11"/>
                </a:cubicBezTo>
                <a:cubicBezTo>
                  <a:pt x="9" y="11"/>
                  <a:pt x="9" y="11"/>
                  <a:pt x="9" y="11"/>
                </a:cubicBezTo>
                <a:cubicBezTo>
                  <a:pt x="13" y="11"/>
                  <a:pt x="17" y="11"/>
                  <a:pt x="19" y="11"/>
                </a:cubicBezTo>
                <a:cubicBezTo>
                  <a:pt x="19" y="11"/>
                  <a:pt x="19" y="11"/>
                  <a:pt x="19" y="11"/>
                </a:cubicBezTo>
                <a:cubicBezTo>
                  <a:pt x="15" y="2"/>
                  <a:pt x="15" y="2"/>
                  <a:pt x="15" y="2"/>
                </a:cubicBezTo>
                <a:cubicBezTo>
                  <a:pt x="4" y="2"/>
                  <a:pt x="4" y="2"/>
                  <a:pt x="4" y="2"/>
                </a:cubicBezTo>
                <a:cubicBezTo>
                  <a:pt x="2" y="11"/>
                  <a:pt x="2" y="11"/>
                  <a:pt x="2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10" name="Rectangle 322"/>
          <p:cNvSpPr>
            <a:spLocks noChangeArrowheads="1"/>
          </p:cNvSpPr>
          <p:nvPr/>
        </p:nvSpPr>
        <p:spPr bwMode="auto">
          <a:xfrm>
            <a:off x="10820401" y="1382184"/>
            <a:ext cx="21167" cy="1185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711" name="Freeform 323"/>
          <p:cNvSpPr>
            <a:spLocks/>
          </p:cNvSpPr>
          <p:nvPr/>
        </p:nvSpPr>
        <p:spPr bwMode="auto">
          <a:xfrm>
            <a:off x="10428817" y="1382185"/>
            <a:ext cx="319616" cy="495300"/>
          </a:xfrm>
          <a:custGeom>
            <a:avLst/>
            <a:gdLst>
              <a:gd name="T0" fmla="*/ 332417224 w 106"/>
              <a:gd name="T1" fmla="*/ 620807208 h 164"/>
              <a:gd name="T2" fmla="*/ 332417224 w 106"/>
              <a:gd name="T3" fmla="*/ 615676776 h 164"/>
              <a:gd name="T4" fmla="*/ 332417224 w 106"/>
              <a:gd name="T5" fmla="*/ 497672306 h 164"/>
              <a:gd name="T6" fmla="*/ 475611222 w 106"/>
              <a:gd name="T7" fmla="*/ 436104855 h 164"/>
              <a:gd name="T8" fmla="*/ 536982017 w 106"/>
              <a:gd name="T9" fmla="*/ 266793798 h 164"/>
              <a:gd name="T10" fmla="*/ 536982017 w 106"/>
              <a:gd name="T11" fmla="*/ 20521729 h 164"/>
              <a:gd name="T12" fmla="*/ 536982017 w 106"/>
              <a:gd name="T13" fmla="*/ 0 h 164"/>
              <a:gd name="T14" fmla="*/ 5113102 w 106"/>
              <a:gd name="T15" fmla="*/ 0 h 164"/>
              <a:gd name="T16" fmla="*/ 5113102 w 106"/>
              <a:gd name="T17" fmla="*/ 266793798 h 164"/>
              <a:gd name="T18" fmla="*/ 61368533 w 106"/>
              <a:gd name="T19" fmla="*/ 436104855 h 164"/>
              <a:gd name="T20" fmla="*/ 209677896 w 106"/>
              <a:gd name="T21" fmla="*/ 497672306 h 164"/>
              <a:gd name="T22" fmla="*/ 209677896 w 106"/>
              <a:gd name="T23" fmla="*/ 620807208 h 164"/>
              <a:gd name="T24" fmla="*/ 209677896 w 106"/>
              <a:gd name="T25" fmla="*/ 620807208 h 164"/>
              <a:gd name="T26" fmla="*/ 168766294 w 106"/>
              <a:gd name="T27" fmla="*/ 749072542 h 164"/>
              <a:gd name="T28" fmla="*/ 15341568 w 106"/>
              <a:gd name="T29" fmla="*/ 805509561 h 164"/>
              <a:gd name="T30" fmla="*/ 15341568 w 106"/>
              <a:gd name="T31" fmla="*/ 841424851 h 164"/>
              <a:gd name="T32" fmla="*/ 194336328 w 106"/>
              <a:gd name="T33" fmla="*/ 774726968 h 164"/>
              <a:gd name="T34" fmla="*/ 245476395 w 106"/>
              <a:gd name="T35" fmla="*/ 615676776 h 164"/>
              <a:gd name="T36" fmla="*/ 245476395 w 106"/>
              <a:gd name="T37" fmla="*/ 461757016 h 164"/>
              <a:gd name="T38" fmla="*/ 225021725 w 106"/>
              <a:gd name="T39" fmla="*/ 461757016 h 164"/>
              <a:gd name="T40" fmla="*/ 86940829 w 106"/>
              <a:gd name="T41" fmla="*/ 410450429 h 164"/>
              <a:gd name="T42" fmla="*/ 35798500 w 106"/>
              <a:gd name="T43" fmla="*/ 271924230 h 164"/>
              <a:gd name="T44" fmla="*/ 35798500 w 106"/>
              <a:gd name="T45" fmla="*/ 35915290 h 164"/>
              <a:gd name="T46" fmla="*/ 501181256 w 106"/>
              <a:gd name="T47" fmla="*/ 35915290 h 164"/>
              <a:gd name="T48" fmla="*/ 501181256 w 106"/>
              <a:gd name="T49" fmla="*/ 266793798 h 164"/>
              <a:gd name="T50" fmla="*/ 450041189 w 106"/>
              <a:gd name="T51" fmla="*/ 410450429 h 164"/>
              <a:gd name="T52" fmla="*/ 311960292 w 106"/>
              <a:gd name="T53" fmla="*/ 461757016 h 164"/>
              <a:gd name="T54" fmla="*/ 296618724 w 106"/>
              <a:gd name="T55" fmla="*/ 461757016 h 164"/>
              <a:gd name="T56" fmla="*/ 296618724 w 106"/>
              <a:gd name="T57" fmla="*/ 615676776 h 164"/>
              <a:gd name="T58" fmla="*/ 347758792 w 106"/>
              <a:gd name="T59" fmla="*/ 774726968 h 164"/>
              <a:gd name="T60" fmla="*/ 526753551 w 106"/>
              <a:gd name="T61" fmla="*/ 841424851 h 164"/>
              <a:gd name="T62" fmla="*/ 526753551 w 106"/>
              <a:gd name="T63" fmla="*/ 805509561 h 164"/>
              <a:gd name="T64" fmla="*/ 373328826 w 106"/>
              <a:gd name="T65" fmla="*/ 749072542 h 164"/>
              <a:gd name="T66" fmla="*/ 332417224 w 106"/>
              <a:gd name="T67" fmla="*/ 620807208 h 16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06" h="164">
                <a:moveTo>
                  <a:pt x="65" y="121"/>
                </a:moveTo>
                <a:cubicBezTo>
                  <a:pt x="65" y="121"/>
                  <a:pt x="65" y="120"/>
                  <a:pt x="65" y="120"/>
                </a:cubicBezTo>
                <a:cubicBezTo>
                  <a:pt x="65" y="97"/>
                  <a:pt x="65" y="97"/>
                  <a:pt x="65" y="97"/>
                </a:cubicBezTo>
                <a:cubicBezTo>
                  <a:pt x="77" y="96"/>
                  <a:pt x="86" y="92"/>
                  <a:pt x="93" y="85"/>
                </a:cubicBezTo>
                <a:cubicBezTo>
                  <a:pt x="106" y="72"/>
                  <a:pt x="105" y="53"/>
                  <a:pt x="105" y="52"/>
                </a:cubicBezTo>
                <a:cubicBezTo>
                  <a:pt x="105" y="52"/>
                  <a:pt x="105" y="4"/>
                  <a:pt x="105" y="4"/>
                </a:cubicBezTo>
                <a:cubicBezTo>
                  <a:pt x="105" y="0"/>
                  <a:pt x="105" y="0"/>
                  <a:pt x="105" y="0"/>
                </a:cubicBezTo>
                <a:cubicBezTo>
                  <a:pt x="1" y="0"/>
                  <a:pt x="1" y="0"/>
                  <a:pt x="1" y="0"/>
                </a:cubicBezTo>
                <a:cubicBezTo>
                  <a:pt x="1" y="52"/>
                  <a:pt x="1" y="52"/>
                  <a:pt x="1" y="52"/>
                </a:cubicBezTo>
                <a:cubicBezTo>
                  <a:pt x="1" y="53"/>
                  <a:pt x="0" y="72"/>
                  <a:pt x="12" y="85"/>
                </a:cubicBezTo>
                <a:cubicBezTo>
                  <a:pt x="19" y="92"/>
                  <a:pt x="29" y="96"/>
                  <a:pt x="41" y="97"/>
                </a:cubicBezTo>
                <a:cubicBezTo>
                  <a:pt x="41" y="121"/>
                  <a:pt x="41" y="121"/>
                  <a:pt x="41" y="121"/>
                </a:cubicBezTo>
                <a:cubicBezTo>
                  <a:pt x="41" y="121"/>
                  <a:pt x="41" y="121"/>
                  <a:pt x="41" y="121"/>
                </a:cubicBezTo>
                <a:cubicBezTo>
                  <a:pt x="41" y="121"/>
                  <a:pt x="42" y="136"/>
                  <a:pt x="33" y="146"/>
                </a:cubicBezTo>
                <a:cubicBezTo>
                  <a:pt x="26" y="153"/>
                  <a:pt x="16" y="157"/>
                  <a:pt x="3" y="157"/>
                </a:cubicBezTo>
                <a:cubicBezTo>
                  <a:pt x="3" y="164"/>
                  <a:pt x="3" y="164"/>
                  <a:pt x="3" y="164"/>
                </a:cubicBezTo>
                <a:cubicBezTo>
                  <a:pt x="18" y="164"/>
                  <a:pt x="30" y="159"/>
                  <a:pt x="38" y="151"/>
                </a:cubicBezTo>
                <a:cubicBezTo>
                  <a:pt x="49" y="138"/>
                  <a:pt x="48" y="122"/>
                  <a:pt x="48" y="120"/>
                </a:cubicBezTo>
                <a:cubicBezTo>
                  <a:pt x="48" y="90"/>
                  <a:pt x="48" y="90"/>
                  <a:pt x="48" y="90"/>
                </a:cubicBezTo>
                <a:cubicBezTo>
                  <a:pt x="44" y="90"/>
                  <a:pt x="44" y="90"/>
                  <a:pt x="44" y="90"/>
                </a:cubicBezTo>
                <a:cubicBezTo>
                  <a:pt x="32" y="90"/>
                  <a:pt x="23" y="87"/>
                  <a:pt x="17" y="80"/>
                </a:cubicBezTo>
                <a:cubicBezTo>
                  <a:pt x="7" y="69"/>
                  <a:pt x="7" y="53"/>
                  <a:pt x="7" y="53"/>
                </a:cubicBezTo>
                <a:cubicBezTo>
                  <a:pt x="7" y="52"/>
                  <a:pt x="7" y="18"/>
                  <a:pt x="7" y="7"/>
                </a:cubicBezTo>
                <a:cubicBezTo>
                  <a:pt x="98" y="7"/>
                  <a:pt x="98" y="7"/>
                  <a:pt x="98" y="7"/>
                </a:cubicBezTo>
                <a:cubicBezTo>
                  <a:pt x="98" y="52"/>
                  <a:pt x="98" y="52"/>
                  <a:pt x="98" y="52"/>
                </a:cubicBezTo>
                <a:cubicBezTo>
                  <a:pt x="98" y="53"/>
                  <a:pt x="99" y="69"/>
                  <a:pt x="88" y="80"/>
                </a:cubicBezTo>
                <a:cubicBezTo>
                  <a:pt x="82" y="87"/>
                  <a:pt x="73" y="90"/>
                  <a:pt x="61" y="90"/>
                </a:cubicBezTo>
                <a:cubicBezTo>
                  <a:pt x="58" y="90"/>
                  <a:pt x="58" y="90"/>
                  <a:pt x="58" y="90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8" y="122"/>
                  <a:pt x="57" y="138"/>
                  <a:pt x="68" y="151"/>
                </a:cubicBezTo>
                <a:cubicBezTo>
                  <a:pt x="75" y="159"/>
                  <a:pt x="87" y="164"/>
                  <a:pt x="103" y="164"/>
                </a:cubicBezTo>
                <a:cubicBezTo>
                  <a:pt x="103" y="157"/>
                  <a:pt x="103" y="157"/>
                  <a:pt x="103" y="157"/>
                </a:cubicBezTo>
                <a:cubicBezTo>
                  <a:pt x="89" y="157"/>
                  <a:pt x="79" y="153"/>
                  <a:pt x="73" y="146"/>
                </a:cubicBezTo>
                <a:cubicBezTo>
                  <a:pt x="63" y="136"/>
                  <a:pt x="65" y="121"/>
                  <a:pt x="65" y="1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12" name="Freeform 324"/>
          <p:cNvSpPr>
            <a:spLocks/>
          </p:cNvSpPr>
          <p:nvPr/>
        </p:nvSpPr>
        <p:spPr bwMode="auto">
          <a:xfrm>
            <a:off x="10809818" y="1382185"/>
            <a:ext cx="82549" cy="495300"/>
          </a:xfrm>
          <a:custGeom>
            <a:avLst/>
            <a:gdLst>
              <a:gd name="T0" fmla="*/ 136710868 w 27"/>
              <a:gd name="T1" fmla="*/ 200095915 h 164"/>
              <a:gd name="T2" fmla="*/ 136710868 w 27"/>
              <a:gd name="T3" fmla="*/ 0 h 164"/>
              <a:gd name="T4" fmla="*/ 99903038 w 27"/>
              <a:gd name="T5" fmla="*/ 0 h 164"/>
              <a:gd name="T6" fmla="*/ 99903038 w 27"/>
              <a:gd name="T7" fmla="*/ 205226347 h 164"/>
              <a:gd name="T8" fmla="*/ 99903038 w 27"/>
              <a:gd name="T9" fmla="*/ 205226347 h 164"/>
              <a:gd name="T10" fmla="*/ 78871302 w 27"/>
              <a:gd name="T11" fmla="*/ 282185095 h 164"/>
              <a:gd name="T12" fmla="*/ 15773802 w 27"/>
              <a:gd name="T13" fmla="*/ 302706823 h 164"/>
              <a:gd name="T14" fmla="*/ 0 w 27"/>
              <a:gd name="T15" fmla="*/ 302706823 h 164"/>
              <a:gd name="T16" fmla="*/ 0 w 27"/>
              <a:gd name="T17" fmla="*/ 841424851 h 164"/>
              <a:gd name="T18" fmla="*/ 36807831 w 27"/>
              <a:gd name="T19" fmla="*/ 841424851 h 164"/>
              <a:gd name="T20" fmla="*/ 36807831 w 27"/>
              <a:gd name="T21" fmla="*/ 338622113 h 164"/>
              <a:gd name="T22" fmla="*/ 105160972 w 27"/>
              <a:gd name="T23" fmla="*/ 302706823 h 164"/>
              <a:gd name="T24" fmla="*/ 136710868 w 27"/>
              <a:gd name="T25" fmla="*/ 200095915 h 16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7" h="164">
                <a:moveTo>
                  <a:pt x="26" y="39"/>
                </a:moveTo>
                <a:cubicBezTo>
                  <a:pt x="26" y="0"/>
                  <a:pt x="26" y="0"/>
                  <a:pt x="26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40"/>
                  <a:pt x="19" y="40"/>
                  <a:pt x="19" y="40"/>
                </a:cubicBezTo>
                <a:cubicBezTo>
                  <a:pt x="19" y="40"/>
                  <a:pt x="19" y="40"/>
                  <a:pt x="19" y="40"/>
                </a:cubicBezTo>
                <a:cubicBezTo>
                  <a:pt x="19" y="40"/>
                  <a:pt x="20" y="49"/>
                  <a:pt x="15" y="55"/>
                </a:cubicBezTo>
                <a:cubicBezTo>
                  <a:pt x="13" y="58"/>
                  <a:pt x="9" y="59"/>
                  <a:pt x="3" y="59"/>
                </a:cubicBezTo>
                <a:cubicBezTo>
                  <a:pt x="0" y="59"/>
                  <a:pt x="0" y="59"/>
                  <a:pt x="0" y="59"/>
                </a:cubicBezTo>
                <a:cubicBezTo>
                  <a:pt x="0" y="164"/>
                  <a:pt x="0" y="164"/>
                  <a:pt x="0" y="164"/>
                </a:cubicBezTo>
                <a:cubicBezTo>
                  <a:pt x="7" y="164"/>
                  <a:pt x="7" y="164"/>
                  <a:pt x="7" y="164"/>
                </a:cubicBezTo>
                <a:cubicBezTo>
                  <a:pt x="7" y="66"/>
                  <a:pt x="7" y="66"/>
                  <a:pt x="7" y="66"/>
                </a:cubicBezTo>
                <a:cubicBezTo>
                  <a:pt x="13" y="65"/>
                  <a:pt x="17" y="63"/>
                  <a:pt x="20" y="59"/>
                </a:cubicBezTo>
                <a:cubicBezTo>
                  <a:pt x="27" y="52"/>
                  <a:pt x="26" y="41"/>
                  <a:pt x="26" y="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13" name="Rectangle 325"/>
          <p:cNvSpPr>
            <a:spLocks noChangeArrowheads="1"/>
          </p:cNvSpPr>
          <p:nvPr/>
        </p:nvSpPr>
        <p:spPr bwMode="auto">
          <a:xfrm>
            <a:off x="10771718" y="1382184"/>
            <a:ext cx="21167" cy="1185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9714" name="Freeform 326"/>
          <p:cNvSpPr>
            <a:spLocks/>
          </p:cNvSpPr>
          <p:nvPr/>
        </p:nvSpPr>
        <p:spPr bwMode="auto">
          <a:xfrm>
            <a:off x="1064684" y="2144185"/>
            <a:ext cx="499533" cy="512233"/>
          </a:xfrm>
          <a:custGeom>
            <a:avLst/>
            <a:gdLst>
              <a:gd name="T0" fmla="*/ 514466672 w 166"/>
              <a:gd name="T1" fmla="*/ 291096177 h 170"/>
              <a:gd name="T2" fmla="*/ 534839958 w 166"/>
              <a:gd name="T3" fmla="*/ 291096177 h 170"/>
              <a:gd name="T4" fmla="*/ 560309387 w 166"/>
              <a:gd name="T5" fmla="*/ 265559839 h 170"/>
              <a:gd name="T6" fmla="*/ 509372786 w 166"/>
              <a:gd name="T7" fmla="*/ 240025760 h 170"/>
              <a:gd name="T8" fmla="*/ 478809471 w 166"/>
              <a:gd name="T9" fmla="*/ 240025760 h 170"/>
              <a:gd name="T10" fmla="*/ 422778983 w 166"/>
              <a:gd name="T11" fmla="*/ 168528533 h 170"/>
              <a:gd name="T12" fmla="*/ 448248413 w 166"/>
              <a:gd name="T13" fmla="*/ 168528533 h 170"/>
              <a:gd name="T14" fmla="*/ 473715585 w 166"/>
              <a:gd name="T15" fmla="*/ 148101722 h 170"/>
              <a:gd name="T16" fmla="*/ 438060641 w 166"/>
              <a:gd name="T17" fmla="*/ 117460376 h 170"/>
              <a:gd name="T18" fmla="*/ 387124039 w 166"/>
              <a:gd name="T19" fmla="*/ 117460376 h 170"/>
              <a:gd name="T20" fmla="*/ 275060808 w 166"/>
              <a:gd name="T21" fmla="*/ 0 h 170"/>
              <a:gd name="T22" fmla="*/ 254685264 w 166"/>
              <a:gd name="T23" fmla="*/ 10214535 h 170"/>
              <a:gd name="T24" fmla="*/ 239405864 w 166"/>
              <a:gd name="T25" fmla="*/ 25534078 h 170"/>
              <a:gd name="T26" fmla="*/ 264873036 w 166"/>
              <a:gd name="T27" fmla="*/ 76604495 h 170"/>
              <a:gd name="T28" fmla="*/ 346372953 w 166"/>
              <a:gd name="T29" fmla="*/ 234918493 h 170"/>
              <a:gd name="T30" fmla="*/ 397309554 w 166"/>
              <a:gd name="T31" fmla="*/ 372805680 h 170"/>
              <a:gd name="T32" fmla="*/ 351466839 w 166"/>
              <a:gd name="T33" fmla="*/ 388127483 h 170"/>
              <a:gd name="T34" fmla="*/ 137530404 w 166"/>
              <a:gd name="T35" fmla="*/ 403447026 h 170"/>
              <a:gd name="T36" fmla="*/ 96781574 w 166"/>
              <a:gd name="T37" fmla="*/ 352378869 h 170"/>
              <a:gd name="T38" fmla="*/ 56030487 w 166"/>
              <a:gd name="T39" fmla="*/ 306415720 h 170"/>
              <a:gd name="T40" fmla="*/ 20375543 w 166"/>
              <a:gd name="T41" fmla="*/ 296201185 h 170"/>
              <a:gd name="T42" fmla="*/ 0 w 166"/>
              <a:gd name="T43" fmla="*/ 301308453 h 170"/>
              <a:gd name="T44" fmla="*/ 40748830 w 166"/>
              <a:gd name="T45" fmla="*/ 434090632 h 170"/>
              <a:gd name="T46" fmla="*/ 0 w 166"/>
              <a:gd name="T47" fmla="*/ 566870551 h 170"/>
              <a:gd name="T48" fmla="*/ 20375543 w 166"/>
              <a:gd name="T49" fmla="*/ 571977819 h 170"/>
              <a:gd name="T50" fmla="*/ 56030487 w 166"/>
              <a:gd name="T51" fmla="*/ 566870551 h 170"/>
              <a:gd name="T52" fmla="*/ 96781574 w 166"/>
              <a:gd name="T53" fmla="*/ 515800135 h 170"/>
              <a:gd name="T54" fmla="*/ 137530404 w 166"/>
              <a:gd name="T55" fmla="*/ 464731978 h 170"/>
              <a:gd name="T56" fmla="*/ 285248580 w 166"/>
              <a:gd name="T57" fmla="*/ 480051521 h 170"/>
              <a:gd name="T58" fmla="*/ 382030154 w 166"/>
              <a:gd name="T59" fmla="*/ 485158789 h 170"/>
              <a:gd name="T60" fmla="*/ 397309554 w 166"/>
              <a:gd name="T61" fmla="*/ 495373324 h 170"/>
              <a:gd name="T62" fmla="*/ 346372953 w 166"/>
              <a:gd name="T63" fmla="*/ 633260511 h 170"/>
              <a:gd name="T64" fmla="*/ 264873036 w 166"/>
              <a:gd name="T65" fmla="*/ 791574509 h 170"/>
              <a:gd name="T66" fmla="*/ 239405864 w 166"/>
              <a:gd name="T67" fmla="*/ 842644925 h 170"/>
              <a:gd name="T68" fmla="*/ 254685264 w 166"/>
              <a:gd name="T69" fmla="*/ 857964468 h 170"/>
              <a:gd name="T70" fmla="*/ 275060808 w 166"/>
              <a:gd name="T71" fmla="*/ 868179004 h 170"/>
              <a:gd name="T72" fmla="*/ 387124039 w 166"/>
              <a:gd name="T73" fmla="*/ 750718627 h 170"/>
              <a:gd name="T74" fmla="*/ 438060641 w 166"/>
              <a:gd name="T75" fmla="*/ 750718627 h 170"/>
              <a:gd name="T76" fmla="*/ 473715585 w 166"/>
              <a:gd name="T77" fmla="*/ 725184549 h 170"/>
              <a:gd name="T78" fmla="*/ 448248413 w 166"/>
              <a:gd name="T79" fmla="*/ 699650471 h 170"/>
              <a:gd name="T80" fmla="*/ 422778983 w 166"/>
              <a:gd name="T81" fmla="*/ 699650471 h 170"/>
              <a:gd name="T82" fmla="*/ 478809471 w 166"/>
              <a:gd name="T83" fmla="*/ 628153243 h 170"/>
              <a:gd name="T84" fmla="*/ 509372786 w 166"/>
              <a:gd name="T85" fmla="*/ 628153243 h 170"/>
              <a:gd name="T86" fmla="*/ 560309387 w 166"/>
              <a:gd name="T87" fmla="*/ 602619165 h 170"/>
              <a:gd name="T88" fmla="*/ 534839958 w 166"/>
              <a:gd name="T89" fmla="*/ 577082827 h 170"/>
              <a:gd name="T90" fmla="*/ 514466672 w 166"/>
              <a:gd name="T91" fmla="*/ 577082827 h 170"/>
              <a:gd name="T92" fmla="*/ 595966588 w 166"/>
              <a:gd name="T93" fmla="*/ 480051521 h 170"/>
              <a:gd name="T94" fmla="*/ 708027563 w 166"/>
              <a:gd name="T95" fmla="*/ 480051521 h 170"/>
              <a:gd name="T96" fmla="*/ 845557967 w 166"/>
              <a:gd name="T97" fmla="*/ 434090632 h 170"/>
              <a:gd name="T98" fmla="*/ 789527480 w 166"/>
              <a:gd name="T99" fmla="*/ 403447026 h 170"/>
              <a:gd name="T100" fmla="*/ 708027563 w 166"/>
              <a:gd name="T101" fmla="*/ 388127483 h 170"/>
              <a:gd name="T102" fmla="*/ 595966588 w 166"/>
              <a:gd name="T103" fmla="*/ 388127483 h 170"/>
              <a:gd name="T104" fmla="*/ 514466672 w 166"/>
              <a:gd name="T105" fmla="*/ 291096177 h 17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66" h="170">
                <a:moveTo>
                  <a:pt x="101" y="57"/>
                </a:moveTo>
                <a:cubicBezTo>
                  <a:pt x="105" y="57"/>
                  <a:pt x="105" y="57"/>
                  <a:pt x="105" y="57"/>
                </a:cubicBezTo>
                <a:cubicBezTo>
                  <a:pt x="109" y="57"/>
                  <a:pt x="110" y="55"/>
                  <a:pt x="110" y="52"/>
                </a:cubicBezTo>
                <a:cubicBezTo>
                  <a:pt x="110" y="49"/>
                  <a:pt x="107" y="47"/>
                  <a:pt x="100" y="47"/>
                </a:cubicBezTo>
                <a:cubicBezTo>
                  <a:pt x="94" y="47"/>
                  <a:pt x="94" y="47"/>
                  <a:pt x="94" y="47"/>
                </a:cubicBezTo>
                <a:cubicBezTo>
                  <a:pt x="83" y="33"/>
                  <a:pt x="83" y="33"/>
                  <a:pt x="83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91" y="33"/>
                  <a:pt x="93" y="32"/>
                  <a:pt x="93" y="29"/>
                </a:cubicBezTo>
                <a:cubicBezTo>
                  <a:pt x="93" y="25"/>
                  <a:pt x="91" y="23"/>
                  <a:pt x="86" y="23"/>
                </a:cubicBezTo>
                <a:cubicBezTo>
                  <a:pt x="76" y="23"/>
                  <a:pt x="76" y="23"/>
                  <a:pt x="76" y="23"/>
                </a:cubicBezTo>
                <a:cubicBezTo>
                  <a:pt x="64" y="8"/>
                  <a:pt x="57" y="0"/>
                  <a:pt x="54" y="0"/>
                </a:cubicBezTo>
                <a:cubicBezTo>
                  <a:pt x="53" y="0"/>
                  <a:pt x="51" y="1"/>
                  <a:pt x="50" y="2"/>
                </a:cubicBezTo>
                <a:cubicBezTo>
                  <a:pt x="48" y="3"/>
                  <a:pt x="47" y="4"/>
                  <a:pt x="47" y="5"/>
                </a:cubicBezTo>
                <a:cubicBezTo>
                  <a:pt x="47" y="7"/>
                  <a:pt x="49" y="10"/>
                  <a:pt x="52" y="15"/>
                </a:cubicBezTo>
                <a:cubicBezTo>
                  <a:pt x="56" y="21"/>
                  <a:pt x="61" y="31"/>
                  <a:pt x="68" y="46"/>
                </a:cubicBezTo>
                <a:cubicBezTo>
                  <a:pt x="74" y="61"/>
                  <a:pt x="78" y="70"/>
                  <a:pt x="78" y="73"/>
                </a:cubicBezTo>
                <a:cubicBezTo>
                  <a:pt x="78" y="75"/>
                  <a:pt x="75" y="76"/>
                  <a:pt x="69" y="76"/>
                </a:cubicBezTo>
                <a:cubicBezTo>
                  <a:pt x="49" y="76"/>
                  <a:pt x="35" y="77"/>
                  <a:pt x="27" y="79"/>
                </a:cubicBezTo>
                <a:cubicBezTo>
                  <a:pt x="26" y="78"/>
                  <a:pt x="23" y="75"/>
                  <a:pt x="19" y="69"/>
                </a:cubicBezTo>
                <a:cubicBezTo>
                  <a:pt x="15" y="64"/>
                  <a:pt x="13" y="61"/>
                  <a:pt x="11" y="60"/>
                </a:cubicBezTo>
                <a:cubicBezTo>
                  <a:pt x="10" y="59"/>
                  <a:pt x="7" y="58"/>
                  <a:pt x="4" y="58"/>
                </a:cubicBezTo>
                <a:cubicBezTo>
                  <a:pt x="2" y="58"/>
                  <a:pt x="0" y="58"/>
                  <a:pt x="0" y="59"/>
                </a:cubicBezTo>
                <a:cubicBezTo>
                  <a:pt x="0" y="61"/>
                  <a:pt x="2" y="70"/>
                  <a:pt x="8" y="85"/>
                </a:cubicBezTo>
                <a:cubicBezTo>
                  <a:pt x="2" y="99"/>
                  <a:pt x="0" y="107"/>
                  <a:pt x="0" y="111"/>
                </a:cubicBezTo>
                <a:cubicBezTo>
                  <a:pt x="0" y="112"/>
                  <a:pt x="2" y="112"/>
                  <a:pt x="4" y="112"/>
                </a:cubicBezTo>
                <a:cubicBezTo>
                  <a:pt x="7" y="112"/>
                  <a:pt x="10" y="112"/>
                  <a:pt x="11" y="111"/>
                </a:cubicBezTo>
                <a:cubicBezTo>
                  <a:pt x="13" y="110"/>
                  <a:pt x="15" y="106"/>
                  <a:pt x="19" y="101"/>
                </a:cubicBezTo>
                <a:cubicBezTo>
                  <a:pt x="23" y="95"/>
                  <a:pt x="26" y="92"/>
                  <a:pt x="27" y="91"/>
                </a:cubicBezTo>
                <a:cubicBezTo>
                  <a:pt x="35" y="93"/>
                  <a:pt x="45" y="94"/>
                  <a:pt x="56" y="94"/>
                </a:cubicBezTo>
                <a:cubicBezTo>
                  <a:pt x="67" y="94"/>
                  <a:pt x="74" y="94"/>
                  <a:pt x="75" y="95"/>
                </a:cubicBezTo>
                <a:cubicBezTo>
                  <a:pt x="77" y="95"/>
                  <a:pt x="78" y="96"/>
                  <a:pt x="78" y="97"/>
                </a:cubicBezTo>
                <a:cubicBezTo>
                  <a:pt x="78" y="100"/>
                  <a:pt x="74" y="109"/>
                  <a:pt x="68" y="124"/>
                </a:cubicBezTo>
                <a:cubicBezTo>
                  <a:pt x="61" y="139"/>
                  <a:pt x="56" y="149"/>
                  <a:pt x="52" y="155"/>
                </a:cubicBezTo>
                <a:cubicBezTo>
                  <a:pt x="49" y="160"/>
                  <a:pt x="47" y="163"/>
                  <a:pt x="47" y="165"/>
                </a:cubicBezTo>
                <a:cubicBezTo>
                  <a:pt x="47" y="166"/>
                  <a:pt x="48" y="167"/>
                  <a:pt x="50" y="168"/>
                </a:cubicBezTo>
                <a:cubicBezTo>
                  <a:pt x="51" y="170"/>
                  <a:pt x="53" y="170"/>
                  <a:pt x="54" y="170"/>
                </a:cubicBezTo>
                <a:cubicBezTo>
                  <a:pt x="57" y="170"/>
                  <a:pt x="64" y="162"/>
                  <a:pt x="76" y="147"/>
                </a:cubicBezTo>
                <a:cubicBezTo>
                  <a:pt x="86" y="147"/>
                  <a:pt x="86" y="147"/>
                  <a:pt x="86" y="147"/>
                </a:cubicBezTo>
                <a:cubicBezTo>
                  <a:pt x="91" y="147"/>
                  <a:pt x="93" y="145"/>
                  <a:pt x="93" y="142"/>
                </a:cubicBezTo>
                <a:cubicBezTo>
                  <a:pt x="93" y="138"/>
                  <a:pt x="91" y="137"/>
                  <a:pt x="88" y="137"/>
                </a:cubicBezTo>
                <a:cubicBezTo>
                  <a:pt x="83" y="137"/>
                  <a:pt x="83" y="137"/>
                  <a:pt x="83" y="137"/>
                </a:cubicBezTo>
                <a:cubicBezTo>
                  <a:pt x="94" y="123"/>
                  <a:pt x="94" y="123"/>
                  <a:pt x="94" y="123"/>
                </a:cubicBezTo>
                <a:cubicBezTo>
                  <a:pt x="100" y="123"/>
                  <a:pt x="100" y="123"/>
                  <a:pt x="100" y="123"/>
                </a:cubicBezTo>
                <a:cubicBezTo>
                  <a:pt x="107" y="123"/>
                  <a:pt x="110" y="121"/>
                  <a:pt x="110" y="118"/>
                </a:cubicBezTo>
                <a:cubicBezTo>
                  <a:pt x="110" y="115"/>
                  <a:pt x="109" y="113"/>
                  <a:pt x="105" y="113"/>
                </a:cubicBezTo>
                <a:cubicBezTo>
                  <a:pt x="101" y="113"/>
                  <a:pt x="101" y="113"/>
                  <a:pt x="101" y="113"/>
                </a:cubicBezTo>
                <a:cubicBezTo>
                  <a:pt x="117" y="94"/>
                  <a:pt x="117" y="94"/>
                  <a:pt x="117" y="94"/>
                </a:cubicBezTo>
                <a:cubicBezTo>
                  <a:pt x="139" y="94"/>
                  <a:pt x="139" y="94"/>
                  <a:pt x="139" y="94"/>
                </a:cubicBezTo>
                <a:cubicBezTo>
                  <a:pt x="157" y="94"/>
                  <a:pt x="166" y="91"/>
                  <a:pt x="166" y="85"/>
                </a:cubicBezTo>
                <a:cubicBezTo>
                  <a:pt x="166" y="82"/>
                  <a:pt x="163" y="80"/>
                  <a:pt x="155" y="79"/>
                </a:cubicBezTo>
                <a:cubicBezTo>
                  <a:pt x="148" y="77"/>
                  <a:pt x="142" y="76"/>
                  <a:pt x="139" y="76"/>
                </a:cubicBezTo>
                <a:cubicBezTo>
                  <a:pt x="117" y="76"/>
                  <a:pt x="117" y="76"/>
                  <a:pt x="117" y="76"/>
                </a:cubicBezTo>
                <a:lnTo>
                  <a:pt x="101" y="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15" name="Freeform 327"/>
          <p:cNvSpPr>
            <a:spLocks noEditPoints="1"/>
          </p:cNvSpPr>
          <p:nvPr/>
        </p:nvSpPr>
        <p:spPr bwMode="auto">
          <a:xfrm>
            <a:off x="1953685" y="2201333"/>
            <a:ext cx="374649" cy="406400"/>
          </a:xfrm>
          <a:custGeom>
            <a:avLst/>
            <a:gdLst>
              <a:gd name="T0" fmla="*/ 0 w 177"/>
              <a:gd name="T1" fmla="*/ 483870000 h 192"/>
              <a:gd name="T2" fmla="*/ 0 w 177"/>
              <a:gd name="T3" fmla="*/ 0 h 192"/>
              <a:gd name="T4" fmla="*/ 446067656 w 177"/>
              <a:gd name="T5" fmla="*/ 0 h 192"/>
              <a:gd name="T6" fmla="*/ 446067656 w 177"/>
              <a:gd name="T7" fmla="*/ 471270013 h 192"/>
              <a:gd name="T8" fmla="*/ 446067656 w 177"/>
              <a:gd name="T9" fmla="*/ 483870000 h 192"/>
              <a:gd name="T10" fmla="*/ 0 w 177"/>
              <a:gd name="T11" fmla="*/ 483870000 h 192"/>
              <a:gd name="T12" fmla="*/ 0 w 177"/>
              <a:gd name="T13" fmla="*/ 483870000 h 192"/>
              <a:gd name="T14" fmla="*/ 433466104 w 177"/>
              <a:gd name="T15" fmla="*/ 471270013 h 192"/>
              <a:gd name="T16" fmla="*/ 433466104 w 177"/>
              <a:gd name="T17" fmla="*/ 458668438 h 192"/>
              <a:gd name="T18" fmla="*/ 433466104 w 177"/>
              <a:gd name="T19" fmla="*/ 471270013 h 192"/>
              <a:gd name="T20" fmla="*/ 433466104 w 177"/>
              <a:gd name="T21" fmla="*/ 471270013 h 192"/>
              <a:gd name="T22" fmla="*/ 25201518 w 177"/>
              <a:gd name="T23" fmla="*/ 458668438 h 192"/>
              <a:gd name="T24" fmla="*/ 420866139 w 177"/>
              <a:gd name="T25" fmla="*/ 458668438 h 192"/>
              <a:gd name="T26" fmla="*/ 420866139 w 177"/>
              <a:gd name="T27" fmla="*/ 25201563 h 192"/>
              <a:gd name="T28" fmla="*/ 25201518 w 177"/>
              <a:gd name="T29" fmla="*/ 25201563 h 192"/>
              <a:gd name="T30" fmla="*/ 25201518 w 177"/>
              <a:gd name="T31" fmla="*/ 458668438 h 192"/>
              <a:gd name="T32" fmla="*/ 25201518 w 177"/>
              <a:gd name="T33" fmla="*/ 458668438 h 19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77" h="192">
                <a:moveTo>
                  <a:pt x="0" y="192"/>
                </a:moveTo>
                <a:lnTo>
                  <a:pt x="0" y="0"/>
                </a:lnTo>
                <a:lnTo>
                  <a:pt x="177" y="0"/>
                </a:lnTo>
                <a:lnTo>
                  <a:pt x="177" y="187"/>
                </a:lnTo>
                <a:lnTo>
                  <a:pt x="177" y="192"/>
                </a:lnTo>
                <a:lnTo>
                  <a:pt x="0" y="192"/>
                </a:lnTo>
                <a:close/>
                <a:moveTo>
                  <a:pt x="172" y="187"/>
                </a:moveTo>
                <a:lnTo>
                  <a:pt x="172" y="182"/>
                </a:lnTo>
                <a:lnTo>
                  <a:pt x="172" y="187"/>
                </a:lnTo>
                <a:close/>
                <a:moveTo>
                  <a:pt x="10" y="182"/>
                </a:moveTo>
                <a:lnTo>
                  <a:pt x="167" y="182"/>
                </a:lnTo>
                <a:lnTo>
                  <a:pt x="167" y="10"/>
                </a:lnTo>
                <a:lnTo>
                  <a:pt x="10" y="10"/>
                </a:lnTo>
                <a:lnTo>
                  <a:pt x="10" y="1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16" name="Freeform 328"/>
          <p:cNvSpPr>
            <a:spLocks/>
          </p:cNvSpPr>
          <p:nvPr/>
        </p:nvSpPr>
        <p:spPr bwMode="auto">
          <a:xfrm>
            <a:off x="2146300" y="2482851"/>
            <a:ext cx="33867" cy="67733"/>
          </a:xfrm>
          <a:custGeom>
            <a:avLst/>
            <a:gdLst>
              <a:gd name="T0" fmla="*/ 58650909 w 11"/>
              <a:gd name="T1" fmla="*/ 53662470 h 23"/>
              <a:gd name="T2" fmla="*/ 42655836 w 11"/>
              <a:gd name="T3" fmla="*/ 63418278 h 23"/>
              <a:gd name="T4" fmla="*/ 26658455 w 11"/>
              <a:gd name="T5" fmla="*/ 53662470 h 23"/>
              <a:gd name="T6" fmla="*/ 26658455 w 11"/>
              <a:gd name="T7" fmla="*/ 48783461 h 23"/>
              <a:gd name="T8" fmla="*/ 26658455 w 11"/>
              <a:gd name="T9" fmla="*/ 39027652 h 23"/>
              <a:gd name="T10" fmla="*/ 26658455 w 11"/>
              <a:gd name="T11" fmla="*/ 34148643 h 23"/>
              <a:gd name="T12" fmla="*/ 42655836 w 11"/>
              <a:gd name="T13" fmla="*/ 19513826 h 23"/>
              <a:gd name="T14" fmla="*/ 58650909 w 11"/>
              <a:gd name="T15" fmla="*/ 29269635 h 23"/>
              <a:gd name="T16" fmla="*/ 58650909 w 11"/>
              <a:gd name="T17" fmla="*/ 4879009 h 23"/>
              <a:gd name="T18" fmla="*/ 53319218 w 11"/>
              <a:gd name="T19" fmla="*/ 0 h 23"/>
              <a:gd name="T20" fmla="*/ 21326764 w 11"/>
              <a:gd name="T21" fmla="*/ 14634817 h 23"/>
              <a:gd name="T22" fmla="*/ 21326764 w 11"/>
              <a:gd name="T23" fmla="*/ 14634817 h 23"/>
              <a:gd name="T24" fmla="*/ 21326764 w 11"/>
              <a:gd name="T25" fmla="*/ 4879009 h 23"/>
              <a:gd name="T26" fmla="*/ 0 w 11"/>
              <a:gd name="T27" fmla="*/ 4879009 h 23"/>
              <a:gd name="T28" fmla="*/ 0 w 11"/>
              <a:gd name="T29" fmla="*/ 29269635 h 23"/>
              <a:gd name="T30" fmla="*/ 0 w 11"/>
              <a:gd name="T31" fmla="*/ 112201739 h 23"/>
              <a:gd name="T32" fmla="*/ 26658455 w 11"/>
              <a:gd name="T33" fmla="*/ 112201739 h 23"/>
              <a:gd name="T34" fmla="*/ 26658455 w 11"/>
              <a:gd name="T35" fmla="*/ 73174087 h 23"/>
              <a:gd name="T36" fmla="*/ 26658455 w 11"/>
              <a:gd name="T37" fmla="*/ 73174087 h 23"/>
              <a:gd name="T38" fmla="*/ 47987527 w 11"/>
              <a:gd name="T39" fmla="*/ 82932104 h 23"/>
              <a:gd name="T40" fmla="*/ 58650909 w 11"/>
              <a:gd name="T41" fmla="*/ 82932104 h 23"/>
              <a:gd name="T42" fmla="*/ 58650909 w 11"/>
              <a:gd name="T43" fmla="*/ 53662470 h 23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1" h="23">
                <a:moveTo>
                  <a:pt x="11" y="11"/>
                </a:moveTo>
                <a:cubicBezTo>
                  <a:pt x="10" y="12"/>
                  <a:pt x="9" y="13"/>
                  <a:pt x="8" y="13"/>
                </a:cubicBezTo>
                <a:cubicBezTo>
                  <a:pt x="7" y="13"/>
                  <a:pt x="5" y="12"/>
                  <a:pt x="5" y="11"/>
                </a:cubicBezTo>
                <a:cubicBezTo>
                  <a:pt x="5" y="10"/>
                  <a:pt x="5" y="10"/>
                  <a:pt x="5" y="10"/>
                </a:cubicBezTo>
                <a:cubicBezTo>
                  <a:pt x="5" y="8"/>
                  <a:pt x="5" y="8"/>
                  <a:pt x="5" y="8"/>
                </a:cubicBezTo>
                <a:cubicBezTo>
                  <a:pt x="5" y="7"/>
                  <a:pt x="5" y="7"/>
                  <a:pt x="5" y="7"/>
                </a:cubicBezTo>
                <a:cubicBezTo>
                  <a:pt x="5" y="5"/>
                  <a:pt x="7" y="4"/>
                  <a:pt x="8" y="4"/>
                </a:cubicBezTo>
                <a:cubicBezTo>
                  <a:pt x="9" y="4"/>
                  <a:pt x="10" y="5"/>
                  <a:pt x="11" y="6"/>
                </a:cubicBezTo>
                <a:cubicBezTo>
                  <a:pt x="11" y="1"/>
                  <a:pt x="11" y="1"/>
                  <a:pt x="11" y="1"/>
                </a:cubicBezTo>
                <a:cubicBezTo>
                  <a:pt x="11" y="0"/>
                  <a:pt x="10" y="0"/>
                  <a:pt x="10" y="0"/>
                </a:cubicBezTo>
                <a:cubicBezTo>
                  <a:pt x="7" y="0"/>
                  <a:pt x="6" y="1"/>
                  <a:pt x="4" y="3"/>
                </a:cubicBezTo>
                <a:cubicBezTo>
                  <a:pt x="4" y="3"/>
                  <a:pt x="4" y="3"/>
                  <a:pt x="4" y="3"/>
                </a:cubicBezTo>
                <a:cubicBezTo>
                  <a:pt x="4" y="1"/>
                  <a:pt x="4" y="1"/>
                  <a:pt x="4" y="1"/>
                </a:cubicBezTo>
                <a:cubicBezTo>
                  <a:pt x="0" y="1"/>
                  <a:pt x="0" y="1"/>
                  <a:pt x="0" y="1"/>
                </a:cubicBezTo>
                <a:cubicBezTo>
                  <a:pt x="0" y="2"/>
                  <a:pt x="0" y="4"/>
                  <a:pt x="0" y="6"/>
                </a:cubicBezTo>
                <a:cubicBezTo>
                  <a:pt x="0" y="23"/>
                  <a:pt x="0" y="23"/>
                  <a:pt x="0" y="23"/>
                </a:cubicBezTo>
                <a:cubicBezTo>
                  <a:pt x="5" y="23"/>
                  <a:pt x="5" y="23"/>
                  <a:pt x="5" y="23"/>
                </a:cubicBezTo>
                <a:cubicBezTo>
                  <a:pt x="5" y="15"/>
                  <a:pt x="5" y="15"/>
                  <a:pt x="5" y="15"/>
                </a:cubicBezTo>
                <a:cubicBezTo>
                  <a:pt x="5" y="15"/>
                  <a:pt x="5" y="15"/>
                  <a:pt x="5" y="15"/>
                </a:cubicBezTo>
                <a:cubicBezTo>
                  <a:pt x="6" y="16"/>
                  <a:pt x="7" y="17"/>
                  <a:pt x="9" y="17"/>
                </a:cubicBezTo>
                <a:cubicBezTo>
                  <a:pt x="10" y="17"/>
                  <a:pt x="10" y="17"/>
                  <a:pt x="11" y="17"/>
                </a:cubicBezTo>
                <a:lnTo>
                  <a:pt x="11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17" name="Freeform 329"/>
          <p:cNvSpPr>
            <a:spLocks/>
          </p:cNvSpPr>
          <p:nvPr/>
        </p:nvSpPr>
        <p:spPr bwMode="auto">
          <a:xfrm>
            <a:off x="2053167" y="2321985"/>
            <a:ext cx="78317" cy="114300"/>
          </a:xfrm>
          <a:custGeom>
            <a:avLst/>
            <a:gdLst>
              <a:gd name="T0" fmla="*/ 10206857 w 26"/>
              <a:gd name="T1" fmla="*/ 147586867 h 38"/>
              <a:gd name="T2" fmla="*/ 51038804 w 26"/>
              <a:gd name="T3" fmla="*/ 157765583 h 38"/>
              <a:gd name="T4" fmla="*/ 86765063 w 26"/>
              <a:gd name="T5" fmla="*/ 132318793 h 38"/>
              <a:gd name="T6" fmla="*/ 51038804 w 26"/>
              <a:gd name="T7" fmla="*/ 106872004 h 38"/>
              <a:gd name="T8" fmla="*/ 30622830 w 26"/>
              <a:gd name="T9" fmla="*/ 106872004 h 38"/>
              <a:gd name="T10" fmla="*/ 30622830 w 26"/>
              <a:gd name="T11" fmla="*/ 76338113 h 38"/>
              <a:gd name="T12" fmla="*/ 45933116 w 26"/>
              <a:gd name="T13" fmla="*/ 76338113 h 38"/>
              <a:gd name="T14" fmla="*/ 81659375 w 26"/>
              <a:gd name="T15" fmla="*/ 50891323 h 38"/>
              <a:gd name="T16" fmla="*/ 56142232 w 26"/>
              <a:gd name="T17" fmla="*/ 30536147 h 38"/>
              <a:gd name="T18" fmla="*/ 15310286 w 26"/>
              <a:gd name="T19" fmla="*/ 45801965 h 38"/>
              <a:gd name="T20" fmla="*/ 5103429 w 26"/>
              <a:gd name="T21" fmla="*/ 10178716 h 38"/>
              <a:gd name="T22" fmla="*/ 66349089 w 26"/>
              <a:gd name="T23" fmla="*/ 0 h 38"/>
              <a:gd name="T24" fmla="*/ 127594750 w 26"/>
              <a:gd name="T25" fmla="*/ 45801965 h 38"/>
              <a:gd name="T26" fmla="*/ 91868491 w 26"/>
              <a:gd name="T27" fmla="*/ 86516828 h 38"/>
              <a:gd name="T28" fmla="*/ 91868491 w 26"/>
              <a:gd name="T29" fmla="*/ 91606186 h 38"/>
              <a:gd name="T30" fmla="*/ 132698179 w 26"/>
              <a:gd name="T31" fmla="*/ 137408151 h 38"/>
              <a:gd name="T32" fmla="*/ 56142232 w 26"/>
              <a:gd name="T33" fmla="*/ 193388832 h 38"/>
              <a:gd name="T34" fmla="*/ 0 w 26"/>
              <a:gd name="T35" fmla="*/ 178120759 h 38"/>
              <a:gd name="T36" fmla="*/ 10206857 w 26"/>
              <a:gd name="T37" fmla="*/ 147586867 h 3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6" h="38">
                <a:moveTo>
                  <a:pt x="2" y="29"/>
                </a:moveTo>
                <a:cubicBezTo>
                  <a:pt x="3" y="30"/>
                  <a:pt x="7" y="31"/>
                  <a:pt x="10" y="31"/>
                </a:cubicBezTo>
                <a:cubicBezTo>
                  <a:pt x="15" y="31"/>
                  <a:pt x="17" y="29"/>
                  <a:pt x="17" y="26"/>
                </a:cubicBezTo>
                <a:cubicBezTo>
                  <a:pt x="17" y="22"/>
                  <a:pt x="13" y="21"/>
                  <a:pt x="10" y="21"/>
                </a:cubicBezTo>
                <a:cubicBezTo>
                  <a:pt x="6" y="21"/>
                  <a:pt x="6" y="21"/>
                  <a:pt x="6" y="21"/>
                </a:cubicBezTo>
                <a:cubicBezTo>
                  <a:pt x="6" y="15"/>
                  <a:pt x="6" y="15"/>
                  <a:pt x="6" y="15"/>
                </a:cubicBezTo>
                <a:cubicBezTo>
                  <a:pt x="9" y="15"/>
                  <a:pt x="9" y="15"/>
                  <a:pt x="9" y="15"/>
                </a:cubicBezTo>
                <a:cubicBezTo>
                  <a:pt x="12" y="15"/>
                  <a:pt x="16" y="13"/>
                  <a:pt x="16" y="10"/>
                </a:cubicBezTo>
                <a:cubicBezTo>
                  <a:pt x="16" y="8"/>
                  <a:pt x="14" y="6"/>
                  <a:pt x="11" y="6"/>
                </a:cubicBezTo>
                <a:cubicBezTo>
                  <a:pt x="8" y="6"/>
                  <a:pt x="4" y="8"/>
                  <a:pt x="3" y="9"/>
                </a:cubicBezTo>
                <a:cubicBezTo>
                  <a:pt x="1" y="2"/>
                  <a:pt x="1" y="2"/>
                  <a:pt x="1" y="2"/>
                </a:cubicBezTo>
                <a:cubicBezTo>
                  <a:pt x="3" y="1"/>
                  <a:pt x="8" y="0"/>
                  <a:pt x="13" y="0"/>
                </a:cubicBezTo>
                <a:cubicBezTo>
                  <a:pt x="20" y="0"/>
                  <a:pt x="25" y="4"/>
                  <a:pt x="25" y="9"/>
                </a:cubicBezTo>
                <a:cubicBezTo>
                  <a:pt x="25" y="13"/>
                  <a:pt x="23" y="16"/>
                  <a:pt x="18" y="17"/>
                </a:cubicBezTo>
                <a:cubicBezTo>
                  <a:pt x="18" y="18"/>
                  <a:pt x="18" y="18"/>
                  <a:pt x="18" y="18"/>
                </a:cubicBezTo>
                <a:cubicBezTo>
                  <a:pt x="22" y="18"/>
                  <a:pt x="26" y="22"/>
                  <a:pt x="26" y="27"/>
                </a:cubicBezTo>
                <a:cubicBezTo>
                  <a:pt x="26" y="33"/>
                  <a:pt x="20" y="38"/>
                  <a:pt x="11" y="38"/>
                </a:cubicBezTo>
                <a:cubicBezTo>
                  <a:pt x="6" y="38"/>
                  <a:pt x="2" y="37"/>
                  <a:pt x="0" y="35"/>
                </a:cubicBezTo>
                <a:lnTo>
                  <a:pt x="2" y="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18" name="Freeform 330"/>
          <p:cNvSpPr>
            <a:spLocks noEditPoints="1"/>
          </p:cNvSpPr>
          <p:nvPr/>
        </p:nvSpPr>
        <p:spPr bwMode="auto">
          <a:xfrm>
            <a:off x="2146300" y="2321985"/>
            <a:ext cx="84667" cy="114300"/>
          </a:xfrm>
          <a:custGeom>
            <a:avLst/>
            <a:gdLst>
              <a:gd name="T0" fmla="*/ 72004464 w 28"/>
              <a:gd name="T1" fmla="*/ 193388832 h 38"/>
              <a:gd name="T2" fmla="*/ 0 w 28"/>
              <a:gd name="T3" fmla="*/ 96693288 h 38"/>
              <a:gd name="T4" fmla="*/ 72004464 w 28"/>
              <a:gd name="T5" fmla="*/ 0 h 38"/>
              <a:gd name="T6" fmla="*/ 144008929 w 28"/>
              <a:gd name="T7" fmla="*/ 96693288 h 38"/>
              <a:gd name="T8" fmla="*/ 72004464 w 28"/>
              <a:gd name="T9" fmla="*/ 193388832 h 38"/>
              <a:gd name="T10" fmla="*/ 72004464 w 28"/>
              <a:gd name="T11" fmla="*/ 157765583 h 38"/>
              <a:gd name="T12" fmla="*/ 97719696 w 28"/>
              <a:gd name="T13" fmla="*/ 96693288 h 38"/>
              <a:gd name="T14" fmla="*/ 72004464 w 28"/>
              <a:gd name="T15" fmla="*/ 30536147 h 38"/>
              <a:gd name="T16" fmla="*/ 46289232 w 28"/>
              <a:gd name="T17" fmla="*/ 96693288 h 38"/>
              <a:gd name="T18" fmla="*/ 72004464 w 28"/>
              <a:gd name="T19" fmla="*/ 157765583 h 3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8" h="38">
                <a:moveTo>
                  <a:pt x="14" y="38"/>
                </a:moveTo>
                <a:cubicBezTo>
                  <a:pt x="4" y="38"/>
                  <a:pt x="0" y="29"/>
                  <a:pt x="0" y="19"/>
                </a:cubicBezTo>
                <a:cubicBezTo>
                  <a:pt x="0" y="8"/>
                  <a:pt x="5" y="0"/>
                  <a:pt x="14" y="0"/>
                </a:cubicBezTo>
                <a:cubicBezTo>
                  <a:pt x="24" y="0"/>
                  <a:pt x="28" y="8"/>
                  <a:pt x="28" y="19"/>
                </a:cubicBezTo>
                <a:cubicBezTo>
                  <a:pt x="28" y="30"/>
                  <a:pt x="23" y="38"/>
                  <a:pt x="14" y="38"/>
                </a:cubicBezTo>
                <a:close/>
                <a:moveTo>
                  <a:pt x="14" y="31"/>
                </a:moveTo>
                <a:cubicBezTo>
                  <a:pt x="18" y="31"/>
                  <a:pt x="19" y="27"/>
                  <a:pt x="19" y="19"/>
                </a:cubicBezTo>
                <a:cubicBezTo>
                  <a:pt x="19" y="10"/>
                  <a:pt x="18" y="6"/>
                  <a:pt x="14" y="6"/>
                </a:cubicBezTo>
                <a:cubicBezTo>
                  <a:pt x="11" y="6"/>
                  <a:pt x="9" y="10"/>
                  <a:pt x="9" y="19"/>
                </a:cubicBezTo>
                <a:cubicBezTo>
                  <a:pt x="9" y="27"/>
                  <a:pt x="11" y="31"/>
                  <a:pt x="14" y="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19" name="Freeform 331"/>
          <p:cNvSpPr>
            <a:spLocks/>
          </p:cNvSpPr>
          <p:nvPr/>
        </p:nvSpPr>
        <p:spPr bwMode="auto">
          <a:xfrm>
            <a:off x="2051051" y="2482851"/>
            <a:ext cx="35983" cy="50800"/>
          </a:xfrm>
          <a:custGeom>
            <a:avLst/>
            <a:gdLst>
              <a:gd name="T0" fmla="*/ 5057814 w 12"/>
              <a:gd name="T1" fmla="*/ 60274200 h 17"/>
              <a:gd name="T2" fmla="*/ 25289068 w 12"/>
              <a:gd name="T3" fmla="*/ 65296676 h 17"/>
              <a:gd name="T4" fmla="*/ 35404695 w 12"/>
              <a:gd name="T5" fmla="*/ 60274200 h 17"/>
              <a:gd name="T6" fmla="*/ 25289068 w 12"/>
              <a:gd name="T7" fmla="*/ 50229247 h 17"/>
              <a:gd name="T8" fmla="*/ 0 w 12"/>
              <a:gd name="T9" fmla="*/ 30137100 h 17"/>
              <a:gd name="T10" fmla="*/ 35404695 w 12"/>
              <a:gd name="T11" fmla="*/ 0 h 17"/>
              <a:gd name="T12" fmla="*/ 55635949 w 12"/>
              <a:gd name="T13" fmla="*/ 5022476 h 17"/>
              <a:gd name="T14" fmla="*/ 50578136 w 12"/>
              <a:gd name="T15" fmla="*/ 25114624 h 17"/>
              <a:gd name="T16" fmla="*/ 35404695 w 12"/>
              <a:gd name="T17" fmla="*/ 20092147 h 17"/>
              <a:gd name="T18" fmla="*/ 25289068 w 12"/>
              <a:gd name="T19" fmla="*/ 25114624 h 17"/>
              <a:gd name="T20" fmla="*/ 35404695 w 12"/>
              <a:gd name="T21" fmla="*/ 35159576 h 17"/>
              <a:gd name="T22" fmla="*/ 60693763 w 12"/>
              <a:gd name="T23" fmla="*/ 60274200 h 17"/>
              <a:gd name="T24" fmla="*/ 25289068 w 12"/>
              <a:gd name="T25" fmla="*/ 85388824 h 17"/>
              <a:gd name="T26" fmla="*/ 0 w 12"/>
              <a:gd name="T27" fmla="*/ 80366347 h 17"/>
              <a:gd name="T28" fmla="*/ 5057814 w 12"/>
              <a:gd name="T29" fmla="*/ 60274200 h 1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2" h="17">
                <a:moveTo>
                  <a:pt x="1" y="12"/>
                </a:moveTo>
                <a:cubicBezTo>
                  <a:pt x="2" y="13"/>
                  <a:pt x="3" y="13"/>
                  <a:pt x="5" y="13"/>
                </a:cubicBezTo>
                <a:cubicBezTo>
                  <a:pt x="6" y="13"/>
                  <a:pt x="7" y="13"/>
                  <a:pt x="7" y="12"/>
                </a:cubicBezTo>
                <a:cubicBezTo>
                  <a:pt x="7" y="11"/>
                  <a:pt x="7" y="11"/>
                  <a:pt x="5" y="10"/>
                </a:cubicBezTo>
                <a:cubicBezTo>
                  <a:pt x="1" y="9"/>
                  <a:pt x="0" y="7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8" y="0"/>
                  <a:pt x="10" y="1"/>
                  <a:pt x="11" y="1"/>
                </a:cubicBezTo>
                <a:cubicBezTo>
                  <a:pt x="10" y="5"/>
                  <a:pt x="10" y="5"/>
                  <a:pt x="10" y="5"/>
                </a:cubicBezTo>
                <a:cubicBezTo>
                  <a:pt x="10" y="4"/>
                  <a:pt x="8" y="4"/>
                  <a:pt x="7" y="4"/>
                </a:cubicBezTo>
                <a:cubicBezTo>
                  <a:pt x="6" y="4"/>
                  <a:pt x="5" y="4"/>
                  <a:pt x="5" y="5"/>
                </a:cubicBezTo>
                <a:cubicBezTo>
                  <a:pt x="5" y="6"/>
                  <a:pt x="6" y="6"/>
                  <a:pt x="7" y="7"/>
                </a:cubicBezTo>
                <a:cubicBezTo>
                  <a:pt x="11" y="8"/>
                  <a:pt x="12" y="9"/>
                  <a:pt x="12" y="12"/>
                </a:cubicBezTo>
                <a:cubicBezTo>
                  <a:pt x="12" y="15"/>
                  <a:pt x="9" y="17"/>
                  <a:pt x="5" y="17"/>
                </a:cubicBezTo>
                <a:cubicBezTo>
                  <a:pt x="3" y="17"/>
                  <a:pt x="1" y="16"/>
                  <a:pt x="0" y="16"/>
                </a:cubicBezTo>
                <a:lnTo>
                  <a:pt x="1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20" name="Freeform 332"/>
          <p:cNvSpPr>
            <a:spLocks noEditPoints="1"/>
          </p:cNvSpPr>
          <p:nvPr/>
        </p:nvSpPr>
        <p:spPr bwMode="auto">
          <a:xfrm>
            <a:off x="2093385" y="2482851"/>
            <a:ext cx="44449" cy="50800"/>
          </a:xfrm>
          <a:custGeom>
            <a:avLst/>
            <a:gdLst>
              <a:gd name="T0" fmla="*/ 24698272 w 15"/>
              <a:gd name="T1" fmla="*/ 50229247 h 17"/>
              <a:gd name="T2" fmla="*/ 44456001 w 15"/>
              <a:gd name="T3" fmla="*/ 65296676 h 17"/>
              <a:gd name="T4" fmla="*/ 69152050 w 15"/>
              <a:gd name="T5" fmla="*/ 65296676 h 17"/>
              <a:gd name="T6" fmla="*/ 69152050 w 15"/>
              <a:gd name="T7" fmla="*/ 80366347 h 17"/>
              <a:gd name="T8" fmla="*/ 39515457 w 15"/>
              <a:gd name="T9" fmla="*/ 85388824 h 17"/>
              <a:gd name="T10" fmla="*/ 0 w 15"/>
              <a:gd name="T11" fmla="*/ 45206771 h 17"/>
              <a:gd name="T12" fmla="*/ 39515457 w 15"/>
              <a:gd name="T13" fmla="*/ 0 h 17"/>
              <a:gd name="T14" fmla="*/ 74092594 w 15"/>
              <a:gd name="T15" fmla="*/ 40182053 h 17"/>
              <a:gd name="T16" fmla="*/ 74092594 w 15"/>
              <a:gd name="T17" fmla="*/ 50229247 h 17"/>
              <a:gd name="T18" fmla="*/ 24698272 w 15"/>
              <a:gd name="T19" fmla="*/ 50229247 h 17"/>
              <a:gd name="T20" fmla="*/ 49394322 w 15"/>
              <a:gd name="T21" fmla="*/ 35159576 h 17"/>
              <a:gd name="T22" fmla="*/ 39515457 w 15"/>
              <a:gd name="T23" fmla="*/ 20092147 h 17"/>
              <a:gd name="T24" fmla="*/ 24698272 w 15"/>
              <a:gd name="T25" fmla="*/ 35159576 h 17"/>
              <a:gd name="T26" fmla="*/ 49394322 w 15"/>
              <a:gd name="T27" fmla="*/ 35159576 h 1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5" h="17">
                <a:moveTo>
                  <a:pt x="5" y="10"/>
                </a:moveTo>
                <a:cubicBezTo>
                  <a:pt x="5" y="12"/>
                  <a:pt x="7" y="13"/>
                  <a:pt x="9" y="13"/>
                </a:cubicBezTo>
                <a:cubicBezTo>
                  <a:pt x="11" y="13"/>
                  <a:pt x="12" y="13"/>
                  <a:pt x="14" y="13"/>
                </a:cubicBezTo>
                <a:cubicBezTo>
                  <a:pt x="14" y="16"/>
                  <a:pt x="14" y="16"/>
                  <a:pt x="14" y="16"/>
                </a:cubicBezTo>
                <a:cubicBezTo>
                  <a:pt x="13" y="17"/>
                  <a:pt x="11" y="17"/>
                  <a:pt x="8" y="17"/>
                </a:cubicBezTo>
                <a:cubicBezTo>
                  <a:pt x="3" y="17"/>
                  <a:pt x="0" y="14"/>
                  <a:pt x="0" y="9"/>
                </a:cubicBezTo>
                <a:cubicBezTo>
                  <a:pt x="0" y="5"/>
                  <a:pt x="2" y="0"/>
                  <a:pt x="8" y="0"/>
                </a:cubicBezTo>
                <a:cubicBezTo>
                  <a:pt x="13" y="0"/>
                  <a:pt x="15" y="4"/>
                  <a:pt x="15" y="8"/>
                </a:cubicBezTo>
                <a:cubicBezTo>
                  <a:pt x="15" y="9"/>
                  <a:pt x="15" y="10"/>
                  <a:pt x="15" y="10"/>
                </a:cubicBezTo>
                <a:lnTo>
                  <a:pt x="5" y="10"/>
                </a:lnTo>
                <a:close/>
                <a:moveTo>
                  <a:pt x="10" y="7"/>
                </a:moveTo>
                <a:cubicBezTo>
                  <a:pt x="10" y="6"/>
                  <a:pt x="10" y="4"/>
                  <a:pt x="8" y="4"/>
                </a:cubicBezTo>
                <a:cubicBezTo>
                  <a:pt x="6" y="4"/>
                  <a:pt x="5" y="5"/>
                  <a:pt x="5" y="7"/>
                </a:cubicBezTo>
                <a:lnTo>
                  <a:pt x="10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21" name="Freeform 333"/>
          <p:cNvSpPr>
            <a:spLocks/>
          </p:cNvSpPr>
          <p:nvPr/>
        </p:nvSpPr>
        <p:spPr bwMode="auto">
          <a:xfrm>
            <a:off x="2008718" y="2150534"/>
            <a:ext cx="55033" cy="122767"/>
          </a:xfrm>
          <a:custGeom>
            <a:avLst/>
            <a:gdLst>
              <a:gd name="T0" fmla="*/ 10515953 w 18"/>
              <a:gd name="T1" fmla="*/ 171472845 h 41"/>
              <a:gd name="T2" fmla="*/ 0 w 18"/>
              <a:gd name="T3" fmla="*/ 105908707 h 41"/>
              <a:gd name="T4" fmla="*/ 0 w 18"/>
              <a:gd name="T5" fmla="*/ 105908707 h 41"/>
              <a:gd name="T6" fmla="*/ 10515953 w 18"/>
              <a:gd name="T7" fmla="*/ 35302902 h 41"/>
              <a:gd name="T8" fmla="*/ 10515953 w 18"/>
              <a:gd name="T9" fmla="*/ 35302902 h 41"/>
              <a:gd name="T10" fmla="*/ 47324081 w 18"/>
              <a:gd name="T11" fmla="*/ 0 h 41"/>
              <a:gd name="T12" fmla="*/ 47324081 w 18"/>
              <a:gd name="T13" fmla="*/ 0 h 41"/>
              <a:gd name="T14" fmla="*/ 84129915 w 18"/>
              <a:gd name="T15" fmla="*/ 35302902 h 41"/>
              <a:gd name="T16" fmla="*/ 84129915 w 18"/>
              <a:gd name="T17" fmla="*/ 35302902 h 41"/>
              <a:gd name="T18" fmla="*/ 94645868 w 18"/>
              <a:gd name="T19" fmla="*/ 105908707 h 41"/>
              <a:gd name="T20" fmla="*/ 94645868 w 18"/>
              <a:gd name="T21" fmla="*/ 105908707 h 41"/>
              <a:gd name="T22" fmla="*/ 94645868 w 18"/>
              <a:gd name="T23" fmla="*/ 115996534 h 41"/>
              <a:gd name="T24" fmla="*/ 94645868 w 18"/>
              <a:gd name="T25" fmla="*/ 115996534 h 41"/>
              <a:gd name="T26" fmla="*/ 57840033 w 18"/>
              <a:gd name="T27" fmla="*/ 115996534 h 41"/>
              <a:gd name="T28" fmla="*/ 57840033 w 18"/>
              <a:gd name="T29" fmla="*/ 105908707 h 41"/>
              <a:gd name="T30" fmla="*/ 57840033 w 18"/>
              <a:gd name="T31" fmla="*/ 105908707 h 41"/>
              <a:gd name="T32" fmla="*/ 47324081 w 18"/>
              <a:gd name="T33" fmla="*/ 40346816 h 41"/>
              <a:gd name="T34" fmla="*/ 47324081 w 18"/>
              <a:gd name="T35" fmla="*/ 40346816 h 41"/>
              <a:gd name="T36" fmla="*/ 47324081 w 18"/>
              <a:gd name="T37" fmla="*/ 45390729 h 41"/>
              <a:gd name="T38" fmla="*/ 47324081 w 18"/>
              <a:gd name="T39" fmla="*/ 45390729 h 41"/>
              <a:gd name="T40" fmla="*/ 42063811 w 18"/>
              <a:gd name="T41" fmla="*/ 105908707 h 41"/>
              <a:gd name="T42" fmla="*/ 42063811 w 18"/>
              <a:gd name="T43" fmla="*/ 105908707 h 41"/>
              <a:gd name="T44" fmla="*/ 47324081 w 18"/>
              <a:gd name="T45" fmla="*/ 166428931 h 41"/>
              <a:gd name="T46" fmla="*/ 47324081 w 18"/>
              <a:gd name="T47" fmla="*/ 166428931 h 41"/>
              <a:gd name="T48" fmla="*/ 84129915 w 18"/>
              <a:gd name="T49" fmla="*/ 176516758 h 41"/>
              <a:gd name="T50" fmla="*/ 47324081 w 18"/>
              <a:gd name="T51" fmla="*/ 206775747 h 41"/>
              <a:gd name="T52" fmla="*/ 47324081 w 18"/>
              <a:gd name="T53" fmla="*/ 206775747 h 41"/>
              <a:gd name="T54" fmla="*/ 10515953 w 18"/>
              <a:gd name="T55" fmla="*/ 171472845 h 4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8" h="41">
                <a:moveTo>
                  <a:pt x="2" y="34"/>
                </a:moveTo>
                <a:cubicBezTo>
                  <a:pt x="1" y="30"/>
                  <a:pt x="0" y="26"/>
                  <a:pt x="0" y="21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5"/>
                  <a:pt x="1" y="11"/>
                  <a:pt x="2" y="7"/>
                </a:cubicBezTo>
                <a:cubicBezTo>
                  <a:pt x="2" y="7"/>
                  <a:pt x="2" y="7"/>
                  <a:pt x="2" y="7"/>
                </a:cubicBezTo>
                <a:cubicBezTo>
                  <a:pt x="3" y="4"/>
                  <a:pt x="4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14" y="0"/>
                  <a:pt x="15" y="4"/>
                  <a:pt x="16" y="7"/>
                </a:cubicBezTo>
                <a:cubicBezTo>
                  <a:pt x="16" y="7"/>
                  <a:pt x="16" y="7"/>
                  <a:pt x="16" y="7"/>
                </a:cubicBezTo>
                <a:cubicBezTo>
                  <a:pt x="18" y="11"/>
                  <a:pt x="18" y="15"/>
                  <a:pt x="18" y="21"/>
                </a:cubicBezTo>
                <a:cubicBezTo>
                  <a:pt x="18" y="21"/>
                  <a:pt x="18" y="21"/>
                  <a:pt x="18" y="21"/>
                </a:cubicBezTo>
                <a:cubicBezTo>
                  <a:pt x="18" y="21"/>
                  <a:pt x="18" y="22"/>
                  <a:pt x="18" y="23"/>
                </a:cubicBezTo>
                <a:cubicBezTo>
                  <a:pt x="18" y="23"/>
                  <a:pt x="18" y="23"/>
                  <a:pt x="1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11" y="22"/>
                  <a:pt x="11" y="21"/>
                  <a:pt x="11" y="21"/>
                </a:cubicBezTo>
                <a:cubicBezTo>
                  <a:pt x="11" y="21"/>
                  <a:pt x="11" y="21"/>
                  <a:pt x="11" y="21"/>
                </a:cubicBezTo>
                <a:cubicBezTo>
                  <a:pt x="11" y="15"/>
                  <a:pt x="10" y="11"/>
                  <a:pt x="9" y="8"/>
                </a:cubicBezTo>
                <a:cubicBezTo>
                  <a:pt x="9" y="8"/>
                  <a:pt x="9" y="8"/>
                  <a:pt x="9" y="8"/>
                </a:cubicBez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ubicBezTo>
                  <a:pt x="8" y="12"/>
                  <a:pt x="8" y="16"/>
                  <a:pt x="8" y="21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6"/>
                  <a:pt x="8" y="30"/>
                  <a:pt x="9" y="33"/>
                </a:cubicBezTo>
                <a:cubicBezTo>
                  <a:pt x="9" y="33"/>
                  <a:pt x="9" y="33"/>
                  <a:pt x="9" y="33"/>
                </a:cubicBezTo>
                <a:cubicBezTo>
                  <a:pt x="16" y="35"/>
                  <a:pt x="16" y="35"/>
                  <a:pt x="16" y="35"/>
                </a:cubicBezTo>
                <a:cubicBezTo>
                  <a:pt x="15" y="38"/>
                  <a:pt x="13" y="41"/>
                  <a:pt x="9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4" y="41"/>
                  <a:pt x="3" y="37"/>
                  <a:pt x="2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22" name="Freeform 334"/>
          <p:cNvSpPr>
            <a:spLocks/>
          </p:cNvSpPr>
          <p:nvPr/>
        </p:nvSpPr>
        <p:spPr bwMode="auto">
          <a:xfrm>
            <a:off x="2084918" y="2150534"/>
            <a:ext cx="52916" cy="122767"/>
          </a:xfrm>
          <a:custGeom>
            <a:avLst/>
            <a:gdLst>
              <a:gd name="T0" fmla="*/ 9723315 w 18"/>
              <a:gd name="T1" fmla="*/ 171472845 h 41"/>
              <a:gd name="T2" fmla="*/ 0 w 18"/>
              <a:gd name="T3" fmla="*/ 100867040 h 41"/>
              <a:gd name="T4" fmla="*/ 0 w 18"/>
              <a:gd name="T5" fmla="*/ 100867040 h 41"/>
              <a:gd name="T6" fmla="*/ 9723315 w 18"/>
              <a:gd name="T7" fmla="*/ 35302902 h 41"/>
              <a:gd name="T8" fmla="*/ 9723315 w 18"/>
              <a:gd name="T9" fmla="*/ 35302902 h 41"/>
              <a:gd name="T10" fmla="*/ 43752713 w 18"/>
              <a:gd name="T11" fmla="*/ 0 h 41"/>
              <a:gd name="T12" fmla="*/ 43752713 w 18"/>
              <a:gd name="T13" fmla="*/ 0 h 41"/>
              <a:gd name="T14" fmla="*/ 77782110 w 18"/>
              <a:gd name="T15" fmla="*/ 35302902 h 41"/>
              <a:gd name="T16" fmla="*/ 77782110 w 18"/>
              <a:gd name="T17" fmla="*/ 35302902 h 41"/>
              <a:gd name="T18" fmla="*/ 87505425 w 18"/>
              <a:gd name="T19" fmla="*/ 100867040 h 41"/>
              <a:gd name="T20" fmla="*/ 87505425 w 18"/>
              <a:gd name="T21" fmla="*/ 100867040 h 41"/>
              <a:gd name="T22" fmla="*/ 87505425 w 18"/>
              <a:gd name="T23" fmla="*/ 115996534 h 41"/>
              <a:gd name="T24" fmla="*/ 87505425 w 18"/>
              <a:gd name="T25" fmla="*/ 115996534 h 41"/>
              <a:gd name="T26" fmla="*/ 53476028 w 18"/>
              <a:gd name="T27" fmla="*/ 115996534 h 41"/>
              <a:gd name="T28" fmla="*/ 53476028 w 18"/>
              <a:gd name="T29" fmla="*/ 100867040 h 41"/>
              <a:gd name="T30" fmla="*/ 53476028 w 18"/>
              <a:gd name="T31" fmla="*/ 100867040 h 41"/>
              <a:gd name="T32" fmla="*/ 43752713 w 18"/>
              <a:gd name="T33" fmla="*/ 40346816 h 41"/>
              <a:gd name="T34" fmla="*/ 43752713 w 18"/>
              <a:gd name="T35" fmla="*/ 40346816 h 41"/>
              <a:gd name="T36" fmla="*/ 43752713 w 18"/>
              <a:gd name="T37" fmla="*/ 45390729 h 41"/>
              <a:gd name="T38" fmla="*/ 43752713 w 18"/>
              <a:gd name="T39" fmla="*/ 45390729 h 41"/>
              <a:gd name="T40" fmla="*/ 34029398 w 18"/>
              <a:gd name="T41" fmla="*/ 100867040 h 41"/>
              <a:gd name="T42" fmla="*/ 34029398 w 18"/>
              <a:gd name="T43" fmla="*/ 100867040 h 41"/>
              <a:gd name="T44" fmla="*/ 43752713 w 18"/>
              <a:gd name="T45" fmla="*/ 166428931 h 41"/>
              <a:gd name="T46" fmla="*/ 43752713 w 18"/>
              <a:gd name="T47" fmla="*/ 166428931 h 41"/>
              <a:gd name="T48" fmla="*/ 77782110 w 18"/>
              <a:gd name="T49" fmla="*/ 176516758 h 41"/>
              <a:gd name="T50" fmla="*/ 43752713 w 18"/>
              <a:gd name="T51" fmla="*/ 206775747 h 41"/>
              <a:gd name="T52" fmla="*/ 43752713 w 18"/>
              <a:gd name="T53" fmla="*/ 206775747 h 41"/>
              <a:gd name="T54" fmla="*/ 9723315 w 18"/>
              <a:gd name="T55" fmla="*/ 171472845 h 4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8" h="41">
                <a:moveTo>
                  <a:pt x="2" y="34"/>
                </a:moveTo>
                <a:cubicBezTo>
                  <a:pt x="1" y="30"/>
                  <a:pt x="0" y="26"/>
                  <a:pt x="0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5"/>
                  <a:pt x="1" y="11"/>
                  <a:pt x="2" y="7"/>
                </a:cubicBezTo>
                <a:cubicBezTo>
                  <a:pt x="2" y="7"/>
                  <a:pt x="2" y="7"/>
                  <a:pt x="2" y="7"/>
                </a:cubicBezTo>
                <a:cubicBezTo>
                  <a:pt x="3" y="4"/>
                  <a:pt x="4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14" y="0"/>
                  <a:pt x="15" y="4"/>
                  <a:pt x="16" y="7"/>
                </a:cubicBezTo>
                <a:cubicBezTo>
                  <a:pt x="16" y="7"/>
                  <a:pt x="16" y="7"/>
                  <a:pt x="16" y="7"/>
                </a:cubicBezTo>
                <a:cubicBezTo>
                  <a:pt x="17" y="11"/>
                  <a:pt x="18" y="15"/>
                  <a:pt x="18" y="20"/>
                </a:cubicBezTo>
                <a:cubicBezTo>
                  <a:pt x="18" y="20"/>
                  <a:pt x="18" y="20"/>
                  <a:pt x="18" y="20"/>
                </a:cubicBezTo>
                <a:cubicBezTo>
                  <a:pt x="18" y="21"/>
                  <a:pt x="18" y="22"/>
                  <a:pt x="18" y="23"/>
                </a:cubicBezTo>
                <a:cubicBezTo>
                  <a:pt x="18" y="23"/>
                  <a:pt x="18" y="23"/>
                  <a:pt x="1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11" y="22"/>
                  <a:pt x="11" y="21"/>
                  <a:pt x="11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1" y="15"/>
                  <a:pt x="10" y="11"/>
                  <a:pt x="9" y="8"/>
                </a:cubicBezTo>
                <a:cubicBezTo>
                  <a:pt x="9" y="8"/>
                  <a:pt x="9" y="8"/>
                  <a:pt x="9" y="8"/>
                </a:cubicBez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ubicBezTo>
                  <a:pt x="8" y="12"/>
                  <a:pt x="7" y="16"/>
                  <a:pt x="7" y="20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26"/>
                  <a:pt x="8" y="30"/>
                  <a:pt x="9" y="33"/>
                </a:cubicBezTo>
                <a:cubicBezTo>
                  <a:pt x="9" y="33"/>
                  <a:pt x="9" y="33"/>
                  <a:pt x="9" y="33"/>
                </a:cubicBezTo>
                <a:cubicBezTo>
                  <a:pt x="16" y="35"/>
                  <a:pt x="16" y="35"/>
                  <a:pt x="16" y="35"/>
                </a:cubicBezTo>
                <a:cubicBezTo>
                  <a:pt x="15" y="38"/>
                  <a:pt x="13" y="41"/>
                  <a:pt x="9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4" y="41"/>
                  <a:pt x="3" y="37"/>
                  <a:pt x="2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23" name="Freeform 335"/>
          <p:cNvSpPr>
            <a:spLocks/>
          </p:cNvSpPr>
          <p:nvPr/>
        </p:nvSpPr>
        <p:spPr bwMode="auto">
          <a:xfrm>
            <a:off x="2159001" y="2150534"/>
            <a:ext cx="55033" cy="122767"/>
          </a:xfrm>
          <a:custGeom>
            <a:avLst/>
            <a:gdLst>
              <a:gd name="T0" fmla="*/ 10515953 w 18"/>
              <a:gd name="T1" fmla="*/ 171472845 h 41"/>
              <a:gd name="T2" fmla="*/ 0 w 18"/>
              <a:gd name="T3" fmla="*/ 100867040 h 41"/>
              <a:gd name="T4" fmla="*/ 0 w 18"/>
              <a:gd name="T5" fmla="*/ 100867040 h 41"/>
              <a:gd name="T6" fmla="*/ 10515953 w 18"/>
              <a:gd name="T7" fmla="*/ 35302902 h 41"/>
              <a:gd name="T8" fmla="*/ 10515953 w 18"/>
              <a:gd name="T9" fmla="*/ 35302902 h 41"/>
              <a:gd name="T10" fmla="*/ 47324081 w 18"/>
              <a:gd name="T11" fmla="*/ 0 h 41"/>
              <a:gd name="T12" fmla="*/ 47324081 w 18"/>
              <a:gd name="T13" fmla="*/ 0 h 41"/>
              <a:gd name="T14" fmla="*/ 84129915 w 18"/>
              <a:gd name="T15" fmla="*/ 35302902 h 41"/>
              <a:gd name="T16" fmla="*/ 84129915 w 18"/>
              <a:gd name="T17" fmla="*/ 35302902 h 41"/>
              <a:gd name="T18" fmla="*/ 94645868 w 18"/>
              <a:gd name="T19" fmla="*/ 100867040 h 41"/>
              <a:gd name="T20" fmla="*/ 94645868 w 18"/>
              <a:gd name="T21" fmla="*/ 100867040 h 41"/>
              <a:gd name="T22" fmla="*/ 94645868 w 18"/>
              <a:gd name="T23" fmla="*/ 115996534 h 41"/>
              <a:gd name="T24" fmla="*/ 94645868 w 18"/>
              <a:gd name="T25" fmla="*/ 115996534 h 41"/>
              <a:gd name="T26" fmla="*/ 57840033 w 18"/>
              <a:gd name="T27" fmla="*/ 115996534 h 41"/>
              <a:gd name="T28" fmla="*/ 57840033 w 18"/>
              <a:gd name="T29" fmla="*/ 100867040 h 41"/>
              <a:gd name="T30" fmla="*/ 57840033 w 18"/>
              <a:gd name="T31" fmla="*/ 100867040 h 41"/>
              <a:gd name="T32" fmla="*/ 47324081 w 18"/>
              <a:gd name="T33" fmla="*/ 40346816 h 41"/>
              <a:gd name="T34" fmla="*/ 47324081 w 18"/>
              <a:gd name="T35" fmla="*/ 40346816 h 41"/>
              <a:gd name="T36" fmla="*/ 47324081 w 18"/>
              <a:gd name="T37" fmla="*/ 45390729 h 41"/>
              <a:gd name="T38" fmla="*/ 47324081 w 18"/>
              <a:gd name="T39" fmla="*/ 45390729 h 41"/>
              <a:gd name="T40" fmla="*/ 36805835 w 18"/>
              <a:gd name="T41" fmla="*/ 100867040 h 41"/>
              <a:gd name="T42" fmla="*/ 36805835 w 18"/>
              <a:gd name="T43" fmla="*/ 100867040 h 41"/>
              <a:gd name="T44" fmla="*/ 47324081 w 18"/>
              <a:gd name="T45" fmla="*/ 166428931 h 41"/>
              <a:gd name="T46" fmla="*/ 47324081 w 18"/>
              <a:gd name="T47" fmla="*/ 166428931 h 41"/>
              <a:gd name="T48" fmla="*/ 84129915 w 18"/>
              <a:gd name="T49" fmla="*/ 176516758 h 41"/>
              <a:gd name="T50" fmla="*/ 47324081 w 18"/>
              <a:gd name="T51" fmla="*/ 206775747 h 41"/>
              <a:gd name="T52" fmla="*/ 47324081 w 18"/>
              <a:gd name="T53" fmla="*/ 206775747 h 41"/>
              <a:gd name="T54" fmla="*/ 10515953 w 18"/>
              <a:gd name="T55" fmla="*/ 171472845 h 4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8" h="41">
                <a:moveTo>
                  <a:pt x="2" y="34"/>
                </a:moveTo>
                <a:cubicBezTo>
                  <a:pt x="1" y="30"/>
                  <a:pt x="0" y="26"/>
                  <a:pt x="0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5"/>
                  <a:pt x="1" y="11"/>
                  <a:pt x="2" y="7"/>
                </a:cubicBezTo>
                <a:cubicBezTo>
                  <a:pt x="2" y="7"/>
                  <a:pt x="2" y="7"/>
                  <a:pt x="2" y="7"/>
                </a:cubicBezTo>
                <a:cubicBezTo>
                  <a:pt x="3" y="4"/>
                  <a:pt x="4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14" y="0"/>
                  <a:pt x="15" y="4"/>
                  <a:pt x="16" y="7"/>
                </a:cubicBezTo>
                <a:cubicBezTo>
                  <a:pt x="16" y="7"/>
                  <a:pt x="16" y="7"/>
                  <a:pt x="16" y="7"/>
                </a:cubicBezTo>
                <a:cubicBezTo>
                  <a:pt x="17" y="11"/>
                  <a:pt x="18" y="15"/>
                  <a:pt x="18" y="20"/>
                </a:cubicBezTo>
                <a:cubicBezTo>
                  <a:pt x="18" y="20"/>
                  <a:pt x="18" y="20"/>
                  <a:pt x="18" y="20"/>
                </a:cubicBezTo>
                <a:cubicBezTo>
                  <a:pt x="18" y="21"/>
                  <a:pt x="18" y="22"/>
                  <a:pt x="18" y="23"/>
                </a:cubicBezTo>
                <a:cubicBezTo>
                  <a:pt x="18" y="23"/>
                  <a:pt x="18" y="23"/>
                  <a:pt x="1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11" y="22"/>
                  <a:pt x="11" y="21"/>
                  <a:pt x="11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1" y="15"/>
                  <a:pt x="10" y="11"/>
                  <a:pt x="9" y="8"/>
                </a:cubicBezTo>
                <a:cubicBezTo>
                  <a:pt x="9" y="8"/>
                  <a:pt x="9" y="8"/>
                  <a:pt x="9" y="8"/>
                </a:cubicBez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ubicBezTo>
                  <a:pt x="8" y="12"/>
                  <a:pt x="7" y="16"/>
                  <a:pt x="7" y="20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26"/>
                  <a:pt x="8" y="30"/>
                  <a:pt x="9" y="33"/>
                </a:cubicBezTo>
                <a:cubicBezTo>
                  <a:pt x="9" y="33"/>
                  <a:pt x="9" y="33"/>
                  <a:pt x="9" y="33"/>
                </a:cubicBezTo>
                <a:cubicBezTo>
                  <a:pt x="16" y="35"/>
                  <a:pt x="16" y="35"/>
                  <a:pt x="16" y="35"/>
                </a:cubicBezTo>
                <a:cubicBezTo>
                  <a:pt x="15" y="38"/>
                  <a:pt x="13" y="41"/>
                  <a:pt x="9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4" y="41"/>
                  <a:pt x="3" y="37"/>
                  <a:pt x="2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24" name="Freeform 336"/>
          <p:cNvSpPr>
            <a:spLocks/>
          </p:cNvSpPr>
          <p:nvPr/>
        </p:nvSpPr>
        <p:spPr bwMode="auto">
          <a:xfrm>
            <a:off x="2235200" y="2150534"/>
            <a:ext cx="52917" cy="122767"/>
          </a:xfrm>
          <a:custGeom>
            <a:avLst/>
            <a:gdLst>
              <a:gd name="T0" fmla="*/ 9723560 w 18"/>
              <a:gd name="T1" fmla="*/ 171472845 h 41"/>
              <a:gd name="T2" fmla="*/ 0 w 18"/>
              <a:gd name="T3" fmla="*/ 105908707 h 41"/>
              <a:gd name="T4" fmla="*/ 0 w 18"/>
              <a:gd name="T5" fmla="*/ 105908707 h 41"/>
              <a:gd name="T6" fmla="*/ 9723560 w 18"/>
              <a:gd name="T7" fmla="*/ 35302902 h 41"/>
              <a:gd name="T8" fmla="*/ 9723560 w 18"/>
              <a:gd name="T9" fmla="*/ 35302902 h 41"/>
              <a:gd name="T10" fmla="*/ 43753815 w 18"/>
              <a:gd name="T11" fmla="*/ 0 h 41"/>
              <a:gd name="T12" fmla="*/ 43753815 w 18"/>
              <a:gd name="T13" fmla="*/ 0 h 41"/>
              <a:gd name="T14" fmla="*/ 77784070 w 18"/>
              <a:gd name="T15" fmla="*/ 35302902 h 41"/>
              <a:gd name="T16" fmla="*/ 77784070 w 18"/>
              <a:gd name="T17" fmla="*/ 35302902 h 41"/>
              <a:gd name="T18" fmla="*/ 87507630 w 18"/>
              <a:gd name="T19" fmla="*/ 105908707 h 41"/>
              <a:gd name="T20" fmla="*/ 87507630 w 18"/>
              <a:gd name="T21" fmla="*/ 105908707 h 41"/>
              <a:gd name="T22" fmla="*/ 87507630 w 18"/>
              <a:gd name="T23" fmla="*/ 115996534 h 41"/>
              <a:gd name="T24" fmla="*/ 87507630 w 18"/>
              <a:gd name="T25" fmla="*/ 115996534 h 41"/>
              <a:gd name="T26" fmla="*/ 53477375 w 18"/>
              <a:gd name="T27" fmla="*/ 115996534 h 41"/>
              <a:gd name="T28" fmla="*/ 53477375 w 18"/>
              <a:gd name="T29" fmla="*/ 105908707 h 41"/>
              <a:gd name="T30" fmla="*/ 53477375 w 18"/>
              <a:gd name="T31" fmla="*/ 105908707 h 41"/>
              <a:gd name="T32" fmla="*/ 43753815 w 18"/>
              <a:gd name="T33" fmla="*/ 40346816 h 41"/>
              <a:gd name="T34" fmla="*/ 43753815 w 18"/>
              <a:gd name="T35" fmla="*/ 40346816 h 41"/>
              <a:gd name="T36" fmla="*/ 43753815 w 18"/>
              <a:gd name="T37" fmla="*/ 45390729 h 41"/>
              <a:gd name="T38" fmla="*/ 43753815 w 18"/>
              <a:gd name="T39" fmla="*/ 45390729 h 41"/>
              <a:gd name="T40" fmla="*/ 34030255 w 18"/>
              <a:gd name="T41" fmla="*/ 105908707 h 41"/>
              <a:gd name="T42" fmla="*/ 34030255 w 18"/>
              <a:gd name="T43" fmla="*/ 105908707 h 41"/>
              <a:gd name="T44" fmla="*/ 43753815 w 18"/>
              <a:gd name="T45" fmla="*/ 166428931 h 41"/>
              <a:gd name="T46" fmla="*/ 43753815 w 18"/>
              <a:gd name="T47" fmla="*/ 166428931 h 41"/>
              <a:gd name="T48" fmla="*/ 72922290 w 18"/>
              <a:gd name="T49" fmla="*/ 176516758 h 41"/>
              <a:gd name="T50" fmla="*/ 43753815 w 18"/>
              <a:gd name="T51" fmla="*/ 206775747 h 41"/>
              <a:gd name="T52" fmla="*/ 43753815 w 18"/>
              <a:gd name="T53" fmla="*/ 206775747 h 41"/>
              <a:gd name="T54" fmla="*/ 9723560 w 18"/>
              <a:gd name="T55" fmla="*/ 171472845 h 4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8" h="41">
                <a:moveTo>
                  <a:pt x="2" y="34"/>
                </a:moveTo>
                <a:cubicBezTo>
                  <a:pt x="1" y="30"/>
                  <a:pt x="0" y="26"/>
                  <a:pt x="0" y="21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15"/>
                  <a:pt x="1" y="11"/>
                  <a:pt x="2" y="7"/>
                </a:cubicBezTo>
                <a:cubicBezTo>
                  <a:pt x="2" y="7"/>
                  <a:pt x="2" y="7"/>
                  <a:pt x="2" y="7"/>
                </a:cubicBezTo>
                <a:cubicBezTo>
                  <a:pt x="3" y="4"/>
                  <a:pt x="4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14" y="0"/>
                  <a:pt x="15" y="4"/>
                  <a:pt x="16" y="7"/>
                </a:cubicBezTo>
                <a:cubicBezTo>
                  <a:pt x="16" y="7"/>
                  <a:pt x="16" y="7"/>
                  <a:pt x="16" y="7"/>
                </a:cubicBezTo>
                <a:cubicBezTo>
                  <a:pt x="17" y="11"/>
                  <a:pt x="18" y="15"/>
                  <a:pt x="18" y="21"/>
                </a:cubicBezTo>
                <a:cubicBezTo>
                  <a:pt x="18" y="21"/>
                  <a:pt x="18" y="21"/>
                  <a:pt x="18" y="21"/>
                </a:cubicBezTo>
                <a:cubicBezTo>
                  <a:pt x="18" y="21"/>
                  <a:pt x="18" y="22"/>
                  <a:pt x="18" y="23"/>
                </a:cubicBezTo>
                <a:cubicBezTo>
                  <a:pt x="18" y="23"/>
                  <a:pt x="18" y="23"/>
                  <a:pt x="18" y="23"/>
                </a:cubicBezTo>
                <a:cubicBezTo>
                  <a:pt x="11" y="23"/>
                  <a:pt x="11" y="23"/>
                  <a:pt x="11" y="23"/>
                </a:cubicBezTo>
                <a:cubicBezTo>
                  <a:pt x="11" y="22"/>
                  <a:pt x="11" y="21"/>
                  <a:pt x="11" y="21"/>
                </a:cubicBezTo>
                <a:cubicBezTo>
                  <a:pt x="11" y="21"/>
                  <a:pt x="11" y="21"/>
                  <a:pt x="11" y="21"/>
                </a:cubicBezTo>
                <a:cubicBezTo>
                  <a:pt x="11" y="15"/>
                  <a:pt x="10" y="11"/>
                  <a:pt x="9" y="8"/>
                </a:cubicBezTo>
                <a:cubicBezTo>
                  <a:pt x="9" y="8"/>
                  <a:pt x="9" y="8"/>
                  <a:pt x="9" y="8"/>
                </a:cubicBezTo>
                <a:cubicBezTo>
                  <a:pt x="9" y="9"/>
                  <a:pt x="9" y="9"/>
                  <a:pt x="9" y="9"/>
                </a:cubicBezTo>
                <a:cubicBezTo>
                  <a:pt x="9" y="9"/>
                  <a:pt x="9" y="9"/>
                  <a:pt x="9" y="9"/>
                </a:cubicBezTo>
                <a:cubicBezTo>
                  <a:pt x="8" y="12"/>
                  <a:pt x="7" y="16"/>
                  <a:pt x="7" y="21"/>
                </a:cubicBezTo>
                <a:cubicBezTo>
                  <a:pt x="7" y="21"/>
                  <a:pt x="7" y="21"/>
                  <a:pt x="7" y="21"/>
                </a:cubicBezTo>
                <a:cubicBezTo>
                  <a:pt x="7" y="26"/>
                  <a:pt x="8" y="30"/>
                  <a:pt x="9" y="33"/>
                </a:cubicBezTo>
                <a:cubicBezTo>
                  <a:pt x="9" y="33"/>
                  <a:pt x="9" y="33"/>
                  <a:pt x="9" y="33"/>
                </a:cubicBezTo>
                <a:cubicBezTo>
                  <a:pt x="15" y="35"/>
                  <a:pt x="15" y="35"/>
                  <a:pt x="15" y="35"/>
                </a:cubicBezTo>
                <a:cubicBezTo>
                  <a:pt x="14" y="38"/>
                  <a:pt x="13" y="41"/>
                  <a:pt x="9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4" y="41"/>
                  <a:pt x="3" y="37"/>
                  <a:pt x="2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25" name="Freeform 337"/>
          <p:cNvSpPr>
            <a:spLocks/>
          </p:cNvSpPr>
          <p:nvPr/>
        </p:nvSpPr>
        <p:spPr bwMode="auto">
          <a:xfrm>
            <a:off x="2059517" y="2288117"/>
            <a:ext cx="268816" cy="319616"/>
          </a:xfrm>
          <a:custGeom>
            <a:avLst/>
            <a:gdLst>
              <a:gd name="T0" fmla="*/ 420793693 w 89"/>
              <a:gd name="T1" fmla="*/ 15341568 h 106"/>
              <a:gd name="T2" fmla="*/ 205265934 w 89"/>
              <a:gd name="T3" fmla="*/ 245476395 h 106"/>
              <a:gd name="T4" fmla="*/ 184737755 w 89"/>
              <a:gd name="T5" fmla="*/ 260820225 h 106"/>
              <a:gd name="T6" fmla="*/ 20525914 w 89"/>
              <a:gd name="T7" fmla="*/ 511409722 h 106"/>
              <a:gd name="T8" fmla="*/ 20525914 w 89"/>
              <a:gd name="T9" fmla="*/ 536982017 h 106"/>
              <a:gd name="T10" fmla="*/ 256581852 w 89"/>
              <a:gd name="T11" fmla="*/ 480726586 h 106"/>
              <a:gd name="T12" fmla="*/ 451583696 w 89"/>
              <a:gd name="T13" fmla="*/ 20456932 h 106"/>
              <a:gd name="T14" fmla="*/ 420793693 w 89"/>
              <a:gd name="T15" fmla="*/ 20456932 h 106"/>
              <a:gd name="T16" fmla="*/ 220660936 w 89"/>
              <a:gd name="T17" fmla="*/ 465382757 h 106"/>
              <a:gd name="T18" fmla="*/ 20525914 w 89"/>
              <a:gd name="T19" fmla="*/ 511409722 h 106"/>
              <a:gd name="T20" fmla="*/ 20525914 w 89"/>
              <a:gd name="T21" fmla="*/ 536982017 h 106"/>
              <a:gd name="T22" fmla="*/ 210396846 w 89"/>
              <a:gd name="T23" fmla="*/ 250591759 h 106"/>
              <a:gd name="T24" fmla="*/ 189870933 w 89"/>
              <a:gd name="T25" fmla="*/ 271048690 h 106"/>
              <a:gd name="T26" fmla="*/ 451583696 w 89"/>
              <a:gd name="T27" fmla="*/ 25570034 h 106"/>
              <a:gd name="T28" fmla="*/ 420793693 w 89"/>
              <a:gd name="T29" fmla="*/ 15341568 h 10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89" h="106">
                <a:moveTo>
                  <a:pt x="82" y="3"/>
                </a:moveTo>
                <a:cubicBezTo>
                  <a:pt x="79" y="22"/>
                  <a:pt x="66" y="66"/>
                  <a:pt x="40" y="48"/>
                </a:cubicBezTo>
                <a:cubicBezTo>
                  <a:pt x="38" y="46"/>
                  <a:pt x="35" y="49"/>
                  <a:pt x="36" y="51"/>
                </a:cubicBezTo>
                <a:cubicBezTo>
                  <a:pt x="45" y="77"/>
                  <a:pt x="33" y="99"/>
                  <a:pt x="4" y="100"/>
                </a:cubicBezTo>
                <a:cubicBezTo>
                  <a:pt x="0" y="100"/>
                  <a:pt x="0" y="105"/>
                  <a:pt x="4" y="105"/>
                </a:cubicBezTo>
                <a:cubicBezTo>
                  <a:pt x="20" y="106"/>
                  <a:pt x="37" y="101"/>
                  <a:pt x="50" y="94"/>
                </a:cubicBezTo>
                <a:cubicBezTo>
                  <a:pt x="82" y="75"/>
                  <a:pt x="89" y="37"/>
                  <a:pt x="88" y="4"/>
                </a:cubicBezTo>
                <a:cubicBezTo>
                  <a:pt x="88" y="0"/>
                  <a:pt x="82" y="0"/>
                  <a:pt x="82" y="4"/>
                </a:cubicBezTo>
                <a:cubicBezTo>
                  <a:pt x="84" y="39"/>
                  <a:pt x="76" y="74"/>
                  <a:pt x="43" y="91"/>
                </a:cubicBezTo>
                <a:cubicBezTo>
                  <a:pt x="31" y="97"/>
                  <a:pt x="17" y="101"/>
                  <a:pt x="4" y="100"/>
                </a:cubicBezTo>
                <a:cubicBezTo>
                  <a:pt x="4" y="101"/>
                  <a:pt x="4" y="103"/>
                  <a:pt x="4" y="105"/>
                </a:cubicBezTo>
                <a:cubicBezTo>
                  <a:pt x="36" y="104"/>
                  <a:pt x="52" y="80"/>
                  <a:pt x="41" y="49"/>
                </a:cubicBezTo>
                <a:cubicBezTo>
                  <a:pt x="40" y="51"/>
                  <a:pt x="39" y="52"/>
                  <a:pt x="37" y="53"/>
                </a:cubicBezTo>
                <a:cubicBezTo>
                  <a:pt x="68" y="73"/>
                  <a:pt x="83" y="27"/>
                  <a:pt x="88" y="5"/>
                </a:cubicBezTo>
                <a:cubicBezTo>
                  <a:pt x="88" y="1"/>
                  <a:pt x="83" y="0"/>
                  <a:pt x="82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9726" name="Freeform 338"/>
          <p:cNvSpPr>
            <a:spLocks/>
          </p:cNvSpPr>
          <p:nvPr/>
        </p:nvSpPr>
        <p:spPr bwMode="auto">
          <a:xfrm>
            <a:off x="1985434" y="2243667"/>
            <a:ext cx="372533" cy="406400"/>
          </a:xfrm>
          <a:custGeom>
            <a:avLst/>
            <a:gdLst>
              <a:gd name="T0" fmla="*/ 390625013 w 176"/>
              <a:gd name="T1" fmla="*/ 0 h 192"/>
              <a:gd name="T2" fmla="*/ 390625013 w 176"/>
              <a:gd name="T3" fmla="*/ 25201563 h 192"/>
              <a:gd name="T4" fmla="*/ 418345938 w 176"/>
              <a:gd name="T5" fmla="*/ 25201563 h 192"/>
              <a:gd name="T6" fmla="*/ 418345938 w 176"/>
              <a:gd name="T7" fmla="*/ 458668438 h 192"/>
              <a:gd name="T8" fmla="*/ 25201563 w 176"/>
              <a:gd name="T9" fmla="*/ 458668438 h 192"/>
              <a:gd name="T10" fmla="*/ 25201563 w 176"/>
              <a:gd name="T11" fmla="*/ 415826575 h 192"/>
              <a:gd name="T12" fmla="*/ 0 w 176"/>
              <a:gd name="T13" fmla="*/ 415826575 h 192"/>
              <a:gd name="T14" fmla="*/ 0 w 176"/>
              <a:gd name="T15" fmla="*/ 483870000 h 192"/>
              <a:gd name="T16" fmla="*/ 443547500 w 176"/>
              <a:gd name="T17" fmla="*/ 483870000 h 192"/>
              <a:gd name="T18" fmla="*/ 443547500 w 176"/>
              <a:gd name="T19" fmla="*/ 473789375 h 192"/>
              <a:gd name="T20" fmla="*/ 443547500 w 176"/>
              <a:gd name="T21" fmla="*/ 0 h 192"/>
              <a:gd name="T22" fmla="*/ 390625013 w 176"/>
              <a:gd name="T23" fmla="*/ 0 h 19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76" h="192">
                <a:moveTo>
                  <a:pt x="155" y="0"/>
                </a:moveTo>
                <a:lnTo>
                  <a:pt x="155" y="10"/>
                </a:lnTo>
                <a:lnTo>
                  <a:pt x="166" y="10"/>
                </a:lnTo>
                <a:lnTo>
                  <a:pt x="166" y="182"/>
                </a:lnTo>
                <a:lnTo>
                  <a:pt x="10" y="182"/>
                </a:lnTo>
                <a:lnTo>
                  <a:pt x="10" y="165"/>
                </a:lnTo>
                <a:lnTo>
                  <a:pt x="0" y="165"/>
                </a:lnTo>
                <a:lnTo>
                  <a:pt x="0" y="192"/>
                </a:lnTo>
                <a:lnTo>
                  <a:pt x="176" y="192"/>
                </a:lnTo>
                <a:lnTo>
                  <a:pt x="176" y="188"/>
                </a:lnTo>
                <a:lnTo>
                  <a:pt x="176" y="0"/>
                </a:lnTo>
                <a:lnTo>
                  <a:pt x="15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Freeform 5"/>
          <p:cNvSpPr>
            <a:spLocks noEditPoints="1"/>
          </p:cNvSpPr>
          <p:nvPr/>
        </p:nvSpPr>
        <p:spPr bwMode="auto">
          <a:xfrm>
            <a:off x="1344084" y="3278718"/>
            <a:ext cx="364067" cy="438149"/>
          </a:xfrm>
          <a:custGeom>
            <a:avLst/>
            <a:gdLst>
              <a:gd name="T0" fmla="*/ 559172269 w 120"/>
              <a:gd name="T1" fmla="*/ 0 h 144"/>
              <a:gd name="T2" fmla="*/ 62130252 w 120"/>
              <a:gd name="T3" fmla="*/ 0 h 144"/>
              <a:gd name="T4" fmla="*/ 0 w 120"/>
              <a:gd name="T5" fmla="*/ 62491049 h 144"/>
              <a:gd name="T6" fmla="*/ 0 w 120"/>
              <a:gd name="T7" fmla="*/ 687412945 h 144"/>
              <a:gd name="T8" fmla="*/ 62130252 w 120"/>
              <a:gd name="T9" fmla="*/ 749903994 h 144"/>
              <a:gd name="T10" fmla="*/ 559172269 w 120"/>
              <a:gd name="T11" fmla="*/ 749903994 h 144"/>
              <a:gd name="T12" fmla="*/ 621302521 w 120"/>
              <a:gd name="T13" fmla="*/ 687412945 h 144"/>
              <a:gd name="T14" fmla="*/ 621302521 w 120"/>
              <a:gd name="T15" fmla="*/ 62491049 h 144"/>
              <a:gd name="T16" fmla="*/ 559172269 w 120"/>
              <a:gd name="T17" fmla="*/ 0 h 144"/>
              <a:gd name="T18" fmla="*/ 310651260 w 120"/>
              <a:gd name="T19" fmla="*/ 593674090 h 144"/>
              <a:gd name="T20" fmla="*/ 124260504 w 120"/>
              <a:gd name="T21" fmla="*/ 406198662 h 144"/>
              <a:gd name="T22" fmla="*/ 248521008 w 120"/>
              <a:gd name="T23" fmla="*/ 406198662 h 144"/>
              <a:gd name="T24" fmla="*/ 248521008 w 120"/>
              <a:gd name="T25" fmla="*/ 187475428 h 144"/>
              <a:gd name="T26" fmla="*/ 372781513 w 120"/>
              <a:gd name="T27" fmla="*/ 187475428 h 144"/>
              <a:gd name="T28" fmla="*/ 372781513 w 120"/>
              <a:gd name="T29" fmla="*/ 406198662 h 144"/>
              <a:gd name="T30" fmla="*/ 497042017 w 120"/>
              <a:gd name="T31" fmla="*/ 406198662 h 144"/>
              <a:gd name="T32" fmla="*/ 310651260 w 120"/>
              <a:gd name="T33" fmla="*/ 593674090 h 14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20" h="144">
                <a:moveTo>
                  <a:pt x="108" y="0"/>
                </a:move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5"/>
                  <a:pt x="0" y="12"/>
                </a:cubicBezTo>
                <a:cubicBezTo>
                  <a:pt x="0" y="132"/>
                  <a:pt x="0" y="132"/>
                  <a:pt x="0" y="132"/>
                </a:cubicBezTo>
                <a:cubicBezTo>
                  <a:pt x="0" y="139"/>
                  <a:pt x="5" y="144"/>
                  <a:pt x="12" y="144"/>
                </a:cubicBezTo>
                <a:cubicBezTo>
                  <a:pt x="108" y="144"/>
                  <a:pt x="108" y="144"/>
                  <a:pt x="108" y="144"/>
                </a:cubicBezTo>
                <a:cubicBezTo>
                  <a:pt x="115" y="144"/>
                  <a:pt x="120" y="139"/>
                  <a:pt x="120" y="132"/>
                </a:cubicBezTo>
                <a:cubicBezTo>
                  <a:pt x="120" y="12"/>
                  <a:pt x="120" y="12"/>
                  <a:pt x="120" y="12"/>
                </a:cubicBezTo>
                <a:cubicBezTo>
                  <a:pt x="120" y="5"/>
                  <a:pt x="115" y="0"/>
                  <a:pt x="108" y="0"/>
                </a:cubicBezTo>
                <a:moveTo>
                  <a:pt x="60" y="114"/>
                </a:moveTo>
                <a:cubicBezTo>
                  <a:pt x="24" y="78"/>
                  <a:pt x="24" y="78"/>
                  <a:pt x="24" y="78"/>
                </a:cubicBezTo>
                <a:cubicBezTo>
                  <a:pt x="48" y="78"/>
                  <a:pt x="48" y="78"/>
                  <a:pt x="48" y="78"/>
                </a:cubicBezTo>
                <a:cubicBezTo>
                  <a:pt x="48" y="36"/>
                  <a:pt x="48" y="36"/>
                  <a:pt x="48" y="36"/>
                </a:cubicBezTo>
                <a:cubicBezTo>
                  <a:pt x="72" y="36"/>
                  <a:pt x="72" y="36"/>
                  <a:pt x="72" y="36"/>
                </a:cubicBezTo>
                <a:cubicBezTo>
                  <a:pt x="72" y="78"/>
                  <a:pt x="72" y="78"/>
                  <a:pt x="72" y="78"/>
                </a:cubicBezTo>
                <a:cubicBezTo>
                  <a:pt x="96" y="78"/>
                  <a:pt x="96" y="78"/>
                  <a:pt x="96" y="78"/>
                </a:cubicBezTo>
                <a:lnTo>
                  <a:pt x="60" y="1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19" name="Freeform 6"/>
          <p:cNvSpPr>
            <a:spLocks/>
          </p:cNvSpPr>
          <p:nvPr/>
        </p:nvSpPr>
        <p:spPr bwMode="auto">
          <a:xfrm>
            <a:off x="2260601" y="3304118"/>
            <a:ext cx="328084" cy="438149"/>
          </a:xfrm>
          <a:custGeom>
            <a:avLst/>
            <a:gdLst>
              <a:gd name="T0" fmla="*/ 560620370 w 108"/>
              <a:gd name="T1" fmla="*/ 156229904 h 144"/>
              <a:gd name="T2" fmla="*/ 249163849 w 108"/>
              <a:gd name="T3" fmla="*/ 124984379 h 144"/>
              <a:gd name="T4" fmla="*/ 62290393 w 108"/>
              <a:gd name="T5" fmla="*/ 62491049 h 144"/>
              <a:gd name="T6" fmla="*/ 62290393 w 108"/>
              <a:gd name="T7" fmla="*/ 0 h 144"/>
              <a:gd name="T8" fmla="*/ 0 w 108"/>
              <a:gd name="T9" fmla="*/ 0 h 144"/>
              <a:gd name="T10" fmla="*/ 0 w 108"/>
              <a:gd name="T11" fmla="*/ 749903994 h 144"/>
              <a:gd name="T12" fmla="*/ 62290393 w 108"/>
              <a:gd name="T13" fmla="*/ 749903994 h 144"/>
              <a:gd name="T14" fmla="*/ 62290393 w 108"/>
              <a:gd name="T15" fmla="*/ 374953138 h 144"/>
              <a:gd name="T16" fmla="*/ 249163849 w 108"/>
              <a:gd name="T17" fmla="*/ 437444187 h 144"/>
              <a:gd name="T18" fmla="*/ 560620370 w 108"/>
              <a:gd name="T19" fmla="*/ 468689711 h 144"/>
              <a:gd name="T20" fmla="*/ 467184781 w 108"/>
              <a:gd name="T21" fmla="*/ 312459807 h 144"/>
              <a:gd name="T22" fmla="*/ 560620370 w 108"/>
              <a:gd name="T23" fmla="*/ 156229904 h 1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08" h="144">
                <a:moveTo>
                  <a:pt x="108" y="30"/>
                </a:moveTo>
                <a:cubicBezTo>
                  <a:pt x="108" y="30"/>
                  <a:pt x="72" y="24"/>
                  <a:pt x="48" y="24"/>
                </a:cubicBezTo>
                <a:cubicBezTo>
                  <a:pt x="24" y="24"/>
                  <a:pt x="12" y="12"/>
                  <a:pt x="12" y="12"/>
                </a:cubicBezTo>
                <a:cubicBezTo>
                  <a:pt x="12" y="0"/>
                  <a:pt x="12" y="0"/>
                  <a:pt x="1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44"/>
                  <a:pt x="0" y="144"/>
                  <a:pt x="0" y="144"/>
                </a:cubicBezTo>
                <a:cubicBezTo>
                  <a:pt x="12" y="144"/>
                  <a:pt x="12" y="144"/>
                  <a:pt x="12" y="144"/>
                </a:cubicBezTo>
                <a:cubicBezTo>
                  <a:pt x="12" y="72"/>
                  <a:pt x="12" y="72"/>
                  <a:pt x="12" y="72"/>
                </a:cubicBezTo>
                <a:cubicBezTo>
                  <a:pt x="12" y="72"/>
                  <a:pt x="24" y="84"/>
                  <a:pt x="48" y="84"/>
                </a:cubicBezTo>
                <a:cubicBezTo>
                  <a:pt x="72" y="84"/>
                  <a:pt x="108" y="90"/>
                  <a:pt x="108" y="90"/>
                </a:cubicBezTo>
                <a:cubicBezTo>
                  <a:pt x="90" y="60"/>
                  <a:pt x="90" y="60"/>
                  <a:pt x="90" y="60"/>
                </a:cubicBezTo>
                <a:lnTo>
                  <a:pt x="108" y="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20" name="Freeform 7"/>
          <p:cNvSpPr>
            <a:spLocks/>
          </p:cNvSpPr>
          <p:nvPr/>
        </p:nvSpPr>
        <p:spPr bwMode="auto">
          <a:xfrm>
            <a:off x="3115734" y="3340101"/>
            <a:ext cx="383117" cy="91017"/>
          </a:xfrm>
          <a:custGeom>
            <a:avLst/>
            <a:gdLst>
              <a:gd name="T0" fmla="*/ 456149869 w 181"/>
              <a:gd name="T1" fmla="*/ 55443844 h 43"/>
              <a:gd name="T2" fmla="*/ 390625692 w 181"/>
              <a:gd name="T3" fmla="*/ 108368306 h 43"/>
              <a:gd name="T4" fmla="*/ 0 w 181"/>
              <a:gd name="T5" fmla="*/ 108368306 h 43"/>
              <a:gd name="T6" fmla="*/ 0 w 181"/>
              <a:gd name="T7" fmla="*/ 0 h 43"/>
              <a:gd name="T8" fmla="*/ 390625692 w 181"/>
              <a:gd name="T9" fmla="*/ 0 h 43"/>
              <a:gd name="T10" fmla="*/ 456149869 w 181"/>
              <a:gd name="T11" fmla="*/ 55443844 h 4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81" h="43">
                <a:moveTo>
                  <a:pt x="181" y="22"/>
                </a:moveTo>
                <a:lnTo>
                  <a:pt x="155" y="43"/>
                </a:lnTo>
                <a:lnTo>
                  <a:pt x="0" y="43"/>
                </a:lnTo>
                <a:lnTo>
                  <a:pt x="0" y="0"/>
                </a:lnTo>
                <a:lnTo>
                  <a:pt x="155" y="0"/>
                </a:lnTo>
                <a:lnTo>
                  <a:pt x="181" y="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21" name="Freeform 8"/>
          <p:cNvSpPr>
            <a:spLocks/>
          </p:cNvSpPr>
          <p:nvPr/>
        </p:nvSpPr>
        <p:spPr bwMode="auto">
          <a:xfrm>
            <a:off x="3098800" y="3505201"/>
            <a:ext cx="381000" cy="91017"/>
          </a:xfrm>
          <a:custGeom>
            <a:avLst/>
            <a:gdLst>
              <a:gd name="T0" fmla="*/ 0 w 180"/>
              <a:gd name="T1" fmla="*/ 52924463 h 43"/>
              <a:gd name="T2" fmla="*/ 63004700 w 180"/>
              <a:gd name="T3" fmla="*/ 0 h 43"/>
              <a:gd name="T4" fmla="*/ 453628125 w 180"/>
              <a:gd name="T5" fmla="*/ 0 h 43"/>
              <a:gd name="T6" fmla="*/ 453628125 w 180"/>
              <a:gd name="T7" fmla="*/ 108368306 h 43"/>
              <a:gd name="T8" fmla="*/ 63004700 w 180"/>
              <a:gd name="T9" fmla="*/ 108368306 h 43"/>
              <a:gd name="T10" fmla="*/ 0 w 180"/>
              <a:gd name="T11" fmla="*/ 52924463 h 4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80" h="43">
                <a:moveTo>
                  <a:pt x="0" y="21"/>
                </a:moveTo>
                <a:lnTo>
                  <a:pt x="25" y="0"/>
                </a:lnTo>
                <a:lnTo>
                  <a:pt x="180" y="0"/>
                </a:lnTo>
                <a:lnTo>
                  <a:pt x="180" y="43"/>
                </a:lnTo>
                <a:lnTo>
                  <a:pt x="25" y="43"/>
                </a:lnTo>
                <a:lnTo>
                  <a:pt x="0" y="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22" name="Rectangle 9"/>
          <p:cNvSpPr>
            <a:spLocks noChangeArrowheads="1"/>
          </p:cNvSpPr>
          <p:nvPr/>
        </p:nvSpPr>
        <p:spPr bwMode="auto">
          <a:xfrm>
            <a:off x="3261785" y="3268133"/>
            <a:ext cx="35983" cy="1629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23" name="Rectangle 10"/>
          <p:cNvSpPr>
            <a:spLocks noChangeArrowheads="1"/>
          </p:cNvSpPr>
          <p:nvPr/>
        </p:nvSpPr>
        <p:spPr bwMode="auto">
          <a:xfrm>
            <a:off x="3261785" y="3450167"/>
            <a:ext cx="35983" cy="1460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24" name="Rectangle 11"/>
          <p:cNvSpPr>
            <a:spLocks noChangeArrowheads="1"/>
          </p:cNvSpPr>
          <p:nvPr/>
        </p:nvSpPr>
        <p:spPr bwMode="auto">
          <a:xfrm>
            <a:off x="3261785" y="3615267"/>
            <a:ext cx="35983" cy="1629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25" name="Freeform 12"/>
          <p:cNvSpPr>
            <a:spLocks/>
          </p:cNvSpPr>
          <p:nvPr/>
        </p:nvSpPr>
        <p:spPr bwMode="auto">
          <a:xfrm>
            <a:off x="3994151" y="3285067"/>
            <a:ext cx="143933" cy="476251"/>
          </a:xfrm>
          <a:custGeom>
            <a:avLst/>
            <a:gdLst>
              <a:gd name="T0" fmla="*/ 182082414 w 48"/>
              <a:gd name="T1" fmla="*/ 0 h 156"/>
              <a:gd name="T2" fmla="*/ 182082414 w 48"/>
              <a:gd name="T3" fmla="*/ 251643525 h 156"/>
              <a:gd name="T4" fmla="*/ 182082414 w 48"/>
              <a:gd name="T5" fmla="*/ 251643525 h 156"/>
              <a:gd name="T6" fmla="*/ 151734970 w 48"/>
              <a:gd name="T7" fmla="*/ 251643525 h 156"/>
              <a:gd name="T8" fmla="*/ 151734970 w 48"/>
              <a:gd name="T9" fmla="*/ 0 h 156"/>
              <a:gd name="T10" fmla="*/ 91040082 w 48"/>
              <a:gd name="T11" fmla="*/ 0 h 156"/>
              <a:gd name="T12" fmla="*/ 91040082 w 48"/>
              <a:gd name="T13" fmla="*/ 251643525 h 156"/>
              <a:gd name="T14" fmla="*/ 60694888 w 48"/>
              <a:gd name="T15" fmla="*/ 251643525 h 156"/>
              <a:gd name="T16" fmla="*/ 60694888 w 48"/>
              <a:gd name="T17" fmla="*/ 0 h 156"/>
              <a:gd name="T18" fmla="*/ 0 w 48"/>
              <a:gd name="T19" fmla="*/ 0 h 156"/>
              <a:gd name="T20" fmla="*/ 0 w 48"/>
              <a:gd name="T21" fmla="*/ 283098966 h 156"/>
              <a:gd name="T22" fmla="*/ 60694888 w 48"/>
              <a:gd name="T23" fmla="*/ 346009847 h 156"/>
              <a:gd name="T24" fmla="*/ 60694888 w 48"/>
              <a:gd name="T25" fmla="*/ 723475135 h 156"/>
              <a:gd name="T26" fmla="*/ 60694888 w 48"/>
              <a:gd name="T27" fmla="*/ 786386017 h 156"/>
              <a:gd name="T28" fmla="*/ 91040082 w 48"/>
              <a:gd name="T29" fmla="*/ 817841457 h 156"/>
              <a:gd name="T30" fmla="*/ 151734970 w 48"/>
              <a:gd name="T31" fmla="*/ 817841457 h 156"/>
              <a:gd name="T32" fmla="*/ 182082414 w 48"/>
              <a:gd name="T33" fmla="*/ 786386017 h 156"/>
              <a:gd name="T34" fmla="*/ 182082414 w 48"/>
              <a:gd name="T35" fmla="*/ 534742491 h 156"/>
              <a:gd name="T36" fmla="*/ 182082414 w 48"/>
              <a:gd name="T37" fmla="*/ 534742491 h 156"/>
              <a:gd name="T38" fmla="*/ 182082414 w 48"/>
              <a:gd name="T39" fmla="*/ 346009847 h 156"/>
              <a:gd name="T40" fmla="*/ 242775052 w 48"/>
              <a:gd name="T41" fmla="*/ 283098966 h 156"/>
              <a:gd name="T42" fmla="*/ 242775052 w 48"/>
              <a:gd name="T43" fmla="*/ 314554407 h 156"/>
              <a:gd name="T44" fmla="*/ 242775052 w 48"/>
              <a:gd name="T45" fmla="*/ 0 h 156"/>
              <a:gd name="T46" fmla="*/ 182082414 w 48"/>
              <a:gd name="T47" fmla="*/ 0 h 15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8" h="156">
                <a:moveTo>
                  <a:pt x="36" y="0"/>
                </a:moveTo>
                <a:cubicBezTo>
                  <a:pt x="36" y="48"/>
                  <a:pt x="36" y="48"/>
                  <a:pt x="3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30" y="48"/>
                  <a:pt x="30" y="48"/>
                  <a:pt x="30" y="48"/>
                </a:cubicBezTo>
                <a:cubicBezTo>
                  <a:pt x="30" y="0"/>
                  <a:pt x="30" y="0"/>
                  <a:pt x="30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8" y="48"/>
                  <a:pt x="18" y="48"/>
                  <a:pt x="18" y="48"/>
                </a:cubicBezTo>
                <a:cubicBezTo>
                  <a:pt x="12" y="48"/>
                  <a:pt x="12" y="48"/>
                  <a:pt x="12" y="48"/>
                </a:cubicBezTo>
                <a:cubicBezTo>
                  <a:pt x="12" y="0"/>
                  <a:pt x="12" y="0"/>
                  <a:pt x="1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61"/>
                  <a:pt x="5" y="66"/>
                  <a:pt x="12" y="66"/>
                </a:cubicBezTo>
                <a:cubicBezTo>
                  <a:pt x="12" y="138"/>
                  <a:pt x="12" y="138"/>
                  <a:pt x="12" y="138"/>
                </a:cubicBezTo>
                <a:cubicBezTo>
                  <a:pt x="12" y="150"/>
                  <a:pt x="12" y="150"/>
                  <a:pt x="12" y="150"/>
                </a:cubicBezTo>
                <a:cubicBezTo>
                  <a:pt x="12" y="153"/>
                  <a:pt x="15" y="156"/>
                  <a:pt x="18" y="156"/>
                </a:cubicBezTo>
                <a:cubicBezTo>
                  <a:pt x="30" y="156"/>
                  <a:pt x="30" y="156"/>
                  <a:pt x="30" y="156"/>
                </a:cubicBezTo>
                <a:cubicBezTo>
                  <a:pt x="33" y="156"/>
                  <a:pt x="36" y="153"/>
                  <a:pt x="36" y="150"/>
                </a:cubicBezTo>
                <a:cubicBezTo>
                  <a:pt x="36" y="102"/>
                  <a:pt x="36" y="102"/>
                  <a:pt x="36" y="102"/>
                </a:cubicBezTo>
                <a:cubicBezTo>
                  <a:pt x="36" y="102"/>
                  <a:pt x="36" y="102"/>
                  <a:pt x="36" y="102"/>
                </a:cubicBezTo>
                <a:cubicBezTo>
                  <a:pt x="36" y="66"/>
                  <a:pt x="36" y="66"/>
                  <a:pt x="36" y="66"/>
                </a:cubicBezTo>
                <a:cubicBezTo>
                  <a:pt x="43" y="66"/>
                  <a:pt x="48" y="61"/>
                  <a:pt x="48" y="54"/>
                </a:cubicBezTo>
                <a:cubicBezTo>
                  <a:pt x="48" y="60"/>
                  <a:pt x="48" y="60"/>
                  <a:pt x="48" y="60"/>
                </a:cubicBezTo>
                <a:cubicBezTo>
                  <a:pt x="48" y="0"/>
                  <a:pt x="48" y="0"/>
                  <a:pt x="48" y="0"/>
                </a:cubicBezTo>
                <a:lnTo>
                  <a:pt x="3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26" name="Rectangle 13"/>
          <p:cNvSpPr>
            <a:spLocks noChangeArrowheads="1"/>
          </p:cNvSpPr>
          <p:nvPr/>
        </p:nvSpPr>
        <p:spPr bwMode="auto">
          <a:xfrm>
            <a:off x="3994151" y="3450167"/>
            <a:ext cx="2116" cy="84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27" name="Freeform 14"/>
          <p:cNvSpPr>
            <a:spLocks/>
          </p:cNvSpPr>
          <p:nvPr/>
        </p:nvSpPr>
        <p:spPr bwMode="auto">
          <a:xfrm>
            <a:off x="4193117" y="3285067"/>
            <a:ext cx="110067" cy="476251"/>
          </a:xfrm>
          <a:custGeom>
            <a:avLst/>
            <a:gdLst>
              <a:gd name="T0" fmla="*/ 94645868 w 36"/>
              <a:gd name="T1" fmla="*/ 0 h 156"/>
              <a:gd name="T2" fmla="*/ 0 w 36"/>
              <a:gd name="T3" fmla="*/ 94366322 h 156"/>
              <a:gd name="T4" fmla="*/ 0 w 36"/>
              <a:gd name="T5" fmla="*/ 440376169 h 156"/>
              <a:gd name="T6" fmla="*/ 63098010 w 36"/>
              <a:gd name="T7" fmla="*/ 440376169 h 156"/>
              <a:gd name="T8" fmla="*/ 63098010 w 36"/>
              <a:gd name="T9" fmla="*/ 466588273 h 156"/>
              <a:gd name="T10" fmla="*/ 63098010 w 36"/>
              <a:gd name="T11" fmla="*/ 534742491 h 156"/>
              <a:gd name="T12" fmla="*/ 63098010 w 36"/>
              <a:gd name="T13" fmla="*/ 723475135 h 156"/>
              <a:gd name="T14" fmla="*/ 63098010 w 36"/>
              <a:gd name="T15" fmla="*/ 786386017 h 156"/>
              <a:gd name="T16" fmla="*/ 94645868 w 36"/>
              <a:gd name="T17" fmla="*/ 817841457 h 156"/>
              <a:gd name="T18" fmla="*/ 157743878 w 36"/>
              <a:gd name="T19" fmla="*/ 817841457 h 156"/>
              <a:gd name="T20" fmla="*/ 189291736 w 36"/>
              <a:gd name="T21" fmla="*/ 786386017 h 156"/>
              <a:gd name="T22" fmla="*/ 189291736 w 36"/>
              <a:gd name="T23" fmla="*/ 723475135 h 156"/>
              <a:gd name="T24" fmla="*/ 189291736 w 36"/>
              <a:gd name="T25" fmla="*/ 534742491 h 156"/>
              <a:gd name="T26" fmla="*/ 189291736 w 36"/>
              <a:gd name="T27" fmla="*/ 440376169 h 156"/>
              <a:gd name="T28" fmla="*/ 189291736 w 36"/>
              <a:gd name="T29" fmla="*/ 94366322 h 156"/>
              <a:gd name="T30" fmla="*/ 94645868 w 36"/>
              <a:gd name="T31" fmla="*/ 0 h 15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6" h="156">
                <a:moveTo>
                  <a:pt x="18" y="0"/>
                </a:moveTo>
                <a:cubicBezTo>
                  <a:pt x="8" y="0"/>
                  <a:pt x="0" y="8"/>
                  <a:pt x="0" y="18"/>
                </a:cubicBezTo>
                <a:cubicBezTo>
                  <a:pt x="0" y="84"/>
                  <a:pt x="0" y="84"/>
                  <a:pt x="0" y="84"/>
                </a:cubicBezTo>
                <a:cubicBezTo>
                  <a:pt x="12" y="84"/>
                  <a:pt x="12" y="84"/>
                  <a:pt x="12" y="84"/>
                </a:cubicBezTo>
                <a:cubicBezTo>
                  <a:pt x="12" y="89"/>
                  <a:pt x="12" y="89"/>
                  <a:pt x="12" y="89"/>
                </a:cubicBezTo>
                <a:cubicBezTo>
                  <a:pt x="12" y="102"/>
                  <a:pt x="12" y="102"/>
                  <a:pt x="12" y="102"/>
                </a:cubicBezTo>
                <a:cubicBezTo>
                  <a:pt x="12" y="138"/>
                  <a:pt x="12" y="138"/>
                  <a:pt x="12" y="138"/>
                </a:cubicBezTo>
                <a:cubicBezTo>
                  <a:pt x="12" y="150"/>
                  <a:pt x="12" y="150"/>
                  <a:pt x="12" y="150"/>
                </a:cubicBezTo>
                <a:cubicBezTo>
                  <a:pt x="12" y="153"/>
                  <a:pt x="15" y="156"/>
                  <a:pt x="18" y="156"/>
                </a:cubicBezTo>
                <a:cubicBezTo>
                  <a:pt x="30" y="156"/>
                  <a:pt x="30" y="156"/>
                  <a:pt x="30" y="156"/>
                </a:cubicBezTo>
                <a:cubicBezTo>
                  <a:pt x="33" y="156"/>
                  <a:pt x="36" y="153"/>
                  <a:pt x="36" y="150"/>
                </a:cubicBezTo>
                <a:cubicBezTo>
                  <a:pt x="36" y="138"/>
                  <a:pt x="36" y="138"/>
                  <a:pt x="36" y="138"/>
                </a:cubicBezTo>
                <a:cubicBezTo>
                  <a:pt x="36" y="102"/>
                  <a:pt x="36" y="102"/>
                  <a:pt x="36" y="102"/>
                </a:cubicBezTo>
                <a:cubicBezTo>
                  <a:pt x="36" y="84"/>
                  <a:pt x="36" y="84"/>
                  <a:pt x="36" y="8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8"/>
                  <a:pt x="28" y="0"/>
                  <a:pt x="18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28" name="Freeform 15"/>
          <p:cNvSpPr>
            <a:spLocks noEditPoints="1"/>
          </p:cNvSpPr>
          <p:nvPr/>
        </p:nvSpPr>
        <p:spPr bwMode="auto">
          <a:xfrm>
            <a:off x="4739218" y="3316818"/>
            <a:ext cx="535516" cy="438149"/>
          </a:xfrm>
          <a:custGeom>
            <a:avLst/>
            <a:gdLst>
              <a:gd name="T0" fmla="*/ 854058260 w 176"/>
              <a:gd name="T1" fmla="*/ 499935235 h 144"/>
              <a:gd name="T2" fmla="*/ 848850671 w 176"/>
              <a:gd name="T3" fmla="*/ 390575900 h 144"/>
              <a:gd name="T4" fmla="*/ 781149735 w 176"/>
              <a:gd name="T5" fmla="*/ 229138409 h 144"/>
              <a:gd name="T6" fmla="*/ 770734557 w 176"/>
              <a:gd name="T7" fmla="*/ 177060253 h 144"/>
              <a:gd name="T8" fmla="*/ 666580498 w 176"/>
              <a:gd name="T9" fmla="*/ 124984379 h 144"/>
              <a:gd name="T10" fmla="*/ 578051488 w 176"/>
              <a:gd name="T11" fmla="*/ 130191967 h 144"/>
              <a:gd name="T12" fmla="*/ 598881844 w 176"/>
              <a:gd name="T13" fmla="*/ 187475428 h 144"/>
              <a:gd name="T14" fmla="*/ 692620724 w 176"/>
              <a:gd name="T15" fmla="*/ 255176346 h 144"/>
              <a:gd name="T16" fmla="*/ 744696613 w 176"/>
              <a:gd name="T17" fmla="*/ 281214283 h 144"/>
              <a:gd name="T18" fmla="*/ 791564912 w 176"/>
              <a:gd name="T19" fmla="*/ 380160725 h 144"/>
              <a:gd name="T20" fmla="*/ 796772501 w 176"/>
              <a:gd name="T21" fmla="*/ 525975454 h 144"/>
              <a:gd name="T22" fmla="*/ 807187679 w 176"/>
              <a:gd name="T23" fmla="*/ 661372727 h 144"/>
              <a:gd name="T24" fmla="*/ 697828313 w 176"/>
              <a:gd name="T25" fmla="*/ 666580314 h 144"/>
              <a:gd name="T26" fmla="*/ 661372909 w 176"/>
              <a:gd name="T27" fmla="*/ 520765585 h 144"/>
              <a:gd name="T28" fmla="*/ 650957732 w 176"/>
              <a:gd name="T29" fmla="*/ 395783488 h 144"/>
              <a:gd name="T30" fmla="*/ 536390778 w 176"/>
              <a:gd name="T31" fmla="*/ 312459807 h 144"/>
              <a:gd name="T32" fmla="*/ 499935374 w 176"/>
              <a:gd name="T33" fmla="*/ 312459807 h 144"/>
              <a:gd name="T34" fmla="*/ 499935374 w 176"/>
              <a:gd name="T35" fmla="*/ 31245524 h 144"/>
              <a:gd name="T36" fmla="*/ 468689841 w 176"/>
              <a:gd name="T37" fmla="*/ 0 h 144"/>
              <a:gd name="T38" fmla="*/ 93738881 w 176"/>
              <a:gd name="T39" fmla="*/ 0 h 144"/>
              <a:gd name="T40" fmla="*/ 62491066 w 176"/>
              <a:gd name="T41" fmla="*/ 31245524 h 144"/>
              <a:gd name="T42" fmla="*/ 62491066 w 176"/>
              <a:gd name="T43" fmla="*/ 687412945 h 144"/>
              <a:gd name="T44" fmla="*/ 31245533 w 176"/>
              <a:gd name="T45" fmla="*/ 687412945 h 144"/>
              <a:gd name="T46" fmla="*/ 0 w 176"/>
              <a:gd name="T47" fmla="*/ 718658470 h 144"/>
              <a:gd name="T48" fmla="*/ 0 w 176"/>
              <a:gd name="T49" fmla="*/ 749903994 h 144"/>
              <a:gd name="T50" fmla="*/ 31245533 w 176"/>
              <a:gd name="T51" fmla="*/ 749903994 h 144"/>
              <a:gd name="T52" fmla="*/ 62491066 w 176"/>
              <a:gd name="T53" fmla="*/ 749903994 h 144"/>
              <a:gd name="T54" fmla="*/ 93738881 w 176"/>
              <a:gd name="T55" fmla="*/ 749903994 h 144"/>
              <a:gd name="T56" fmla="*/ 468689841 w 176"/>
              <a:gd name="T57" fmla="*/ 749903994 h 144"/>
              <a:gd name="T58" fmla="*/ 499935374 w 176"/>
              <a:gd name="T59" fmla="*/ 749903994 h 144"/>
              <a:gd name="T60" fmla="*/ 531180907 w 176"/>
              <a:gd name="T61" fmla="*/ 749903994 h 144"/>
              <a:gd name="T62" fmla="*/ 562428722 w 176"/>
              <a:gd name="T63" fmla="*/ 749903994 h 144"/>
              <a:gd name="T64" fmla="*/ 562428722 w 176"/>
              <a:gd name="T65" fmla="*/ 718658470 h 144"/>
              <a:gd name="T66" fmla="*/ 531180907 w 176"/>
              <a:gd name="T67" fmla="*/ 687412945 h 144"/>
              <a:gd name="T68" fmla="*/ 499935374 w 176"/>
              <a:gd name="T69" fmla="*/ 687412945 h 144"/>
              <a:gd name="T70" fmla="*/ 499935374 w 176"/>
              <a:gd name="T71" fmla="*/ 374953138 h 144"/>
              <a:gd name="T72" fmla="*/ 536390778 w 176"/>
              <a:gd name="T73" fmla="*/ 374953138 h 144"/>
              <a:gd name="T74" fmla="*/ 593674255 w 176"/>
              <a:gd name="T75" fmla="*/ 416613837 h 144"/>
              <a:gd name="T76" fmla="*/ 598881844 w 176"/>
              <a:gd name="T77" fmla="*/ 515557998 h 144"/>
              <a:gd name="T78" fmla="*/ 661372909 w 176"/>
              <a:gd name="T79" fmla="*/ 718658470 h 144"/>
              <a:gd name="T80" fmla="*/ 749904202 w 176"/>
              <a:gd name="T81" fmla="*/ 749903994 h 144"/>
              <a:gd name="T82" fmla="*/ 848850671 w 176"/>
              <a:gd name="T83" fmla="*/ 708243295 h 144"/>
              <a:gd name="T84" fmla="*/ 854058260 w 176"/>
              <a:gd name="T85" fmla="*/ 499935235 h 144"/>
              <a:gd name="T86" fmla="*/ 713451080 w 176"/>
              <a:gd name="T87" fmla="*/ 239553584 h 144"/>
              <a:gd name="T88" fmla="*/ 697828313 w 176"/>
              <a:gd name="T89" fmla="*/ 223928540 h 144"/>
              <a:gd name="T90" fmla="*/ 713451080 w 176"/>
              <a:gd name="T91" fmla="*/ 208305778 h 144"/>
              <a:gd name="T92" fmla="*/ 729073846 w 176"/>
              <a:gd name="T93" fmla="*/ 223928540 h 144"/>
              <a:gd name="T94" fmla="*/ 713451080 w 176"/>
              <a:gd name="T95" fmla="*/ 239553584 h 144"/>
              <a:gd name="T96" fmla="*/ 124984414 w 176"/>
              <a:gd name="T97" fmla="*/ 93738855 h 144"/>
              <a:gd name="T98" fmla="*/ 156229947 w 176"/>
              <a:gd name="T99" fmla="*/ 62491049 h 144"/>
              <a:gd name="T100" fmla="*/ 406198775 w 176"/>
              <a:gd name="T101" fmla="*/ 62491049 h 144"/>
              <a:gd name="T102" fmla="*/ 437444308 w 176"/>
              <a:gd name="T103" fmla="*/ 93738855 h 144"/>
              <a:gd name="T104" fmla="*/ 437444308 w 176"/>
              <a:gd name="T105" fmla="*/ 281214283 h 144"/>
              <a:gd name="T106" fmla="*/ 406198775 w 176"/>
              <a:gd name="T107" fmla="*/ 312459807 h 144"/>
              <a:gd name="T108" fmla="*/ 156229947 w 176"/>
              <a:gd name="T109" fmla="*/ 312459807 h 144"/>
              <a:gd name="T110" fmla="*/ 124984414 w 176"/>
              <a:gd name="T111" fmla="*/ 281214283 h 144"/>
              <a:gd name="T112" fmla="*/ 124984414 w 176"/>
              <a:gd name="T113" fmla="*/ 93738855 h 14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76" h="144">
                <a:moveTo>
                  <a:pt x="164" y="96"/>
                </a:moveTo>
                <a:cubicBezTo>
                  <a:pt x="161" y="89"/>
                  <a:pt x="162" y="82"/>
                  <a:pt x="163" y="75"/>
                </a:cubicBezTo>
                <a:cubicBezTo>
                  <a:pt x="165" y="65"/>
                  <a:pt x="167" y="52"/>
                  <a:pt x="150" y="44"/>
                </a:cubicBezTo>
                <a:cubicBezTo>
                  <a:pt x="151" y="40"/>
                  <a:pt x="151" y="35"/>
                  <a:pt x="148" y="34"/>
                </a:cubicBezTo>
                <a:cubicBezTo>
                  <a:pt x="128" y="24"/>
                  <a:pt x="128" y="24"/>
                  <a:pt x="128" y="24"/>
                </a:cubicBezTo>
                <a:cubicBezTo>
                  <a:pt x="123" y="22"/>
                  <a:pt x="112" y="22"/>
                  <a:pt x="111" y="25"/>
                </a:cubicBezTo>
                <a:cubicBezTo>
                  <a:pt x="109" y="28"/>
                  <a:pt x="106" y="34"/>
                  <a:pt x="115" y="36"/>
                </a:cubicBezTo>
                <a:cubicBezTo>
                  <a:pt x="124" y="38"/>
                  <a:pt x="133" y="49"/>
                  <a:pt x="133" y="49"/>
                </a:cubicBezTo>
                <a:cubicBezTo>
                  <a:pt x="136" y="52"/>
                  <a:pt x="140" y="54"/>
                  <a:pt x="143" y="54"/>
                </a:cubicBezTo>
                <a:cubicBezTo>
                  <a:pt x="154" y="58"/>
                  <a:pt x="153" y="63"/>
                  <a:pt x="152" y="73"/>
                </a:cubicBezTo>
                <a:cubicBezTo>
                  <a:pt x="150" y="81"/>
                  <a:pt x="149" y="91"/>
                  <a:pt x="153" y="101"/>
                </a:cubicBezTo>
                <a:cubicBezTo>
                  <a:pt x="159" y="114"/>
                  <a:pt x="160" y="122"/>
                  <a:pt x="155" y="127"/>
                </a:cubicBezTo>
                <a:cubicBezTo>
                  <a:pt x="148" y="134"/>
                  <a:pt x="139" y="132"/>
                  <a:pt x="134" y="128"/>
                </a:cubicBezTo>
                <a:cubicBezTo>
                  <a:pt x="127" y="123"/>
                  <a:pt x="126" y="114"/>
                  <a:pt x="127" y="100"/>
                </a:cubicBezTo>
                <a:cubicBezTo>
                  <a:pt x="128" y="92"/>
                  <a:pt x="128" y="83"/>
                  <a:pt x="125" y="76"/>
                </a:cubicBezTo>
                <a:cubicBezTo>
                  <a:pt x="120" y="60"/>
                  <a:pt x="104" y="60"/>
                  <a:pt x="103" y="60"/>
                </a:cubicBezTo>
                <a:cubicBezTo>
                  <a:pt x="96" y="60"/>
                  <a:pt x="96" y="60"/>
                  <a:pt x="96" y="60"/>
                </a:cubicBezTo>
                <a:cubicBezTo>
                  <a:pt x="96" y="6"/>
                  <a:pt x="96" y="6"/>
                  <a:pt x="96" y="6"/>
                </a:cubicBezTo>
                <a:cubicBezTo>
                  <a:pt x="96" y="3"/>
                  <a:pt x="93" y="0"/>
                  <a:pt x="90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5" y="0"/>
                  <a:pt x="12" y="3"/>
                  <a:pt x="12" y="6"/>
                </a:cubicBezTo>
                <a:cubicBezTo>
                  <a:pt x="12" y="132"/>
                  <a:pt x="12" y="132"/>
                  <a:pt x="12" y="132"/>
                </a:cubicBezTo>
                <a:cubicBezTo>
                  <a:pt x="6" y="132"/>
                  <a:pt x="6" y="132"/>
                  <a:pt x="6" y="132"/>
                </a:cubicBezTo>
                <a:cubicBezTo>
                  <a:pt x="6" y="132"/>
                  <a:pt x="0" y="132"/>
                  <a:pt x="0" y="138"/>
                </a:cubicBezTo>
                <a:cubicBezTo>
                  <a:pt x="0" y="144"/>
                  <a:pt x="0" y="144"/>
                  <a:pt x="0" y="144"/>
                </a:cubicBezTo>
                <a:cubicBezTo>
                  <a:pt x="6" y="144"/>
                  <a:pt x="6" y="144"/>
                  <a:pt x="6" y="144"/>
                </a:cubicBezTo>
                <a:cubicBezTo>
                  <a:pt x="12" y="144"/>
                  <a:pt x="12" y="144"/>
                  <a:pt x="12" y="144"/>
                </a:cubicBezTo>
                <a:cubicBezTo>
                  <a:pt x="18" y="144"/>
                  <a:pt x="18" y="144"/>
                  <a:pt x="18" y="144"/>
                </a:cubicBezTo>
                <a:cubicBezTo>
                  <a:pt x="90" y="144"/>
                  <a:pt x="90" y="144"/>
                  <a:pt x="90" y="144"/>
                </a:cubicBezTo>
                <a:cubicBezTo>
                  <a:pt x="96" y="144"/>
                  <a:pt x="96" y="144"/>
                  <a:pt x="96" y="144"/>
                </a:cubicBezTo>
                <a:cubicBezTo>
                  <a:pt x="102" y="144"/>
                  <a:pt x="102" y="144"/>
                  <a:pt x="102" y="144"/>
                </a:cubicBezTo>
                <a:cubicBezTo>
                  <a:pt x="108" y="144"/>
                  <a:pt x="108" y="144"/>
                  <a:pt x="108" y="144"/>
                </a:cubicBezTo>
                <a:cubicBezTo>
                  <a:pt x="108" y="138"/>
                  <a:pt x="108" y="138"/>
                  <a:pt x="108" y="138"/>
                </a:cubicBezTo>
                <a:cubicBezTo>
                  <a:pt x="108" y="138"/>
                  <a:pt x="108" y="132"/>
                  <a:pt x="102" y="132"/>
                </a:cubicBezTo>
                <a:cubicBezTo>
                  <a:pt x="96" y="132"/>
                  <a:pt x="96" y="132"/>
                  <a:pt x="96" y="132"/>
                </a:cubicBezTo>
                <a:cubicBezTo>
                  <a:pt x="96" y="72"/>
                  <a:pt x="96" y="72"/>
                  <a:pt x="96" y="72"/>
                </a:cubicBezTo>
                <a:cubicBezTo>
                  <a:pt x="103" y="72"/>
                  <a:pt x="103" y="72"/>
                  <a:pt x="103" y="72"/>
                </a:cubicBezTo>
                <a:cubicBezTo>
                  <a:pt x="104" y="72"/>
                  <a:pt x="112" y="72"/>
                  <a:pt x="114" y="80"/>
                </a:cubicBezTo>
                <a:cubicBezTo>
                  <a:pt x="116" y="85"/>
                  <a:pt x="115" y="92"/>
                  <a:pt x="115" y="99"/>
                </a:cubicBezTo>
                <a:cubicBezTo>
                  <a:pt x="114" y="113"/>
                  <a:pt x="114" y="129"/>
                  <a:pt x="127" y="138"/>
                </a:cubicBezTo>
                <a:cubicBezTo>
                  <a:pt x="133" y="142"/>
                  <a:pt x="139" y="144"/>
                  <a:pt x="144" y="144"/>
                </a:cubicBezTo>
                <a:cubicBezTo>
                  <a:pt x="151" y="144"/>
                  <a:pt x="158" y="141"/>
                  <a:pt x="163" y="136"/>
                </a:cubicBezTo>
                <a:cubicBezTo>
                  <a:pt x="176" y="123"/>
                  <a:pt x="168" y="103"/>
                  <a:pt x="164" y="96"/>
                </a:cubicBezTo>
                <a:moveTo>
                  <a:pt x="137" y="46"/>
                </a:moveTo>
                <a:cubicBezTo>
                  <a:pt x="135" y="46"/>
                  <a:pt x="134" y="45"/>
                  <a:pt x="134" y="43"/>
                </a:cubicBezTo>
                <a:cubicBezTo>
                  <a:pt x="134" y="41"/>
                  <a:pt x="135" y="40"/>
                  <a:pt x="137" y="40"/>
                </a:cubicBezTo>
                <a:cubicBezTo>
                  <a:pt x="139" y="40"/>
                  <a:pt x="140" y="41"/>
                  <a:pt x="140" y="43"/>
                </a:cubicBezTo>
                <a:cubicBezTo>
                  <a:pt x="140" y="45"/>
                  <a:pt x="139" y="46"/>
                  <a:pt x="137" y="46"/>
                </a:cubicBezTo>
                <a:moveTo>
                  <a:pt x="24" y="18"/>
                </a:moveTo>
                <a:cubicBezTo>
                  <a:pt x="24" y="15"/>
                  <a:pt x="27" y="12"/>
                  <a:pt x="30" y="12"/>
                </a:cubicBezTo>
                <a:cubicBezTo>
                  <a:pt x="78" y="12"/>
                  <a:pt x="78" y="12"/>
                  <a:pt x="78" y="12"/>
                </a:cubicBezTo>
                <a:cubicBezTo>
                  <a:pt x="81" y="12"/>
                  <a:pt x="84" y="15"/>
                  <a:pt x="84" y="18"/>
                </a:cubicBezTo>
                <a:cubicBezTo>
                  <a:pt x="84" y="54"/>
                  <a:pt x="84" y="54"/>
                  <a:pt x="84" y="54"/>
                </a:cubicBezTo>
                <a:cubicBezTo>
                  <a:pt x="84" y="57"/>
                  <a:pt x="81" y="60"/>
                  <a:pt x="78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27" y="60"/>
                  <a:pt x="24" y="57"/>
                  <a:pt x="24" y="54"/>
                </a:cubicBezTo>
                <a:lnTo>
                  <a:pt x="24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29" name="Freeform 16"/>
          <p:cNvSpPr>
            <a:spLocks noEditPoints="1"/>
          </p:cNvSpPr>
          <p:nvPr/>
        </p:nvSpPr>
        <p:spPr bwMode="auto">
          <a:xfrm>
            <a:off x="5653617" y="3310467"/>
            <a:ext cx="338667" cy="450851"/>
          </a:xfrm>
          <a:custGeom>
            <a:avLst/>
            <a:gdLst>
              <a:gd name="T0" fmla="*/ 403225000 w 160"/>
              <a:gd name="T1" fmla="*/ 536794869 h 213"/>
              <a:gd name="T2" fmla="*/ 0 w 160"/>
              <a:gd name="T3" fmla="*/ 0 h 213"/>
              <a:gd name="T4" fmla="*/ 65524063 w 160"/>
              <a:gd name="T5" fmla="*/ 514112635 h 213"/>
              <a:gd name="T6" fmla="*/ 20161250 w 160"/>
              <a:gd name="T7" fmla="*/ 448588476 h 213"/>
              <a:gd name="T8" fmla="*/ 65524063 w 160"/>
              <a:gd name="T9" fmla="*/ 514112635 h 213"/>
              <a:gd name="T10" fmla="*/ 20161250 w 160"/>
              <a:gd name="T11" fmla="*/ 425907830 h 213"/>
              <a:gd name="T12" fmla="*/ 65524063 w 160"/>
              <a:gd name="T13" fmla="*/ 362903037 h 213"/>
              <a:gd name="T14" fmla="*/ 65524063 w 160"/>
              <a:gd name="T15" fmla="*/ 340222391 h 213"/>
              <a:gd name="T16" fmla="*/ 20161250 w 160"/>
              <a:gd name="T17" fmla="*/ 274698231 h 213"/>
              <a:gd name="T18" fmla="*/ 65524063 w 160"/>
              <a:gd name="T19" fmla="*/ 340222391 h 213"/>
              <a:gd name="T20" fmla="*/ 20161250 w 160"/>
              <a:gd name="T21" fmla="*/ 252015998 h 213"/>
              <a:gd name="T22" fmla="*/ 65524063 w 160"/>
              <a:gd name="T23" fmla="*/ 189012792 h 213"/>
              <a:gd name="T24" fmla="*/ 65524063 w 160"/>
              <a:gd name="T25" fmla="*/ 166330558 h 213"/>
              <a:gd name="T26" fmla="*/ 20161250 w 160"/>
              <a:gd name="T27" fmla="*/ 100806399 h 213"/>
              <a:gd name="T28" fmla="*/ 65524063 w 160"/>
              <a:gd name="T29" fmla="*/ 166330558 h 213"/>
              <a:gd name="T30" fmla="*/ 20161250 w 160"/>
              <a:gd name="T31" fmla="*/ 78125753 h 213"/>
              <a:gd name="T32" fmla="*/ 65524063 w 160"/>
              <a:gd name="T33" fmla="*/ 15120960 h 213"/>
              <a:gd name="T34" fmla="*/ 325100950 w 160"/>
              <a:gd name="T35" fmla="*/ 514112635 h 213"/>
              <a:gd name="T36" fmla="*/ 85685313 w 160"/>
              <a:gd name="T37" fmla="*/ 362903037 h 213"/>
              <a:gd name="T38" fmla="*/ 325100950 w 160"/>
              <a:gd name="T39" fmla="*/ 514112635 h 213"/>
              <a:gd name="T40" fmla="*/ 85685313 w 160"/>
              <a:gd name="T41" fmla="*/ 340222391 h 213"/>
              <a:gd name="T42" fmla="*/ 325100950 w 160"/>
              <a:gd name="T43" fmla="*/ 189012792 h 213"/>
              <a:gd name="T44" fmla="*/ 325100950 w 160"/>
              <a:gd name="T45" fmla="*/ 166330558 h 213"/>
              <a:gd name="T46" fmla="*/ 85685313 w 160"/>
              <a:gd name="T47" fmla="*/ 15120960 h 213"/>
              <a:gd name="T48" fmla="*/ 325100950 w 160"/>
              <a:gd name="T49" fmla="*/ 166330558 h 213"/>
              <a:gd name="T50" fmla="*/ 345262200 w 160"/>
              <a:gd name="T51" fmla="*/ 514112635 h 213"/>
              <a:gd name="T52" fmla="*/ 390625013 w 160"/>
              <a:gd name="T53" fmla="*/ 448588476 h 213"/>
              <a:gd name="T54" fmla="*/ 390625013 w 160"/>
              <a:gd name="T55" fmla="*/ 425907830 h 213"/>
              <a:gd name="T56" fmla="*/ 345262200 w 160"/>
              <a:gd name="T57" fmla="*/ 362903037 h 213"/>
              <a:gd name="T58" fmla="*/ 390625013 w 160"/>
              <a:gd name="T59" fmla="*/ 425907830 h 213"/>
              <a:gd name="T60" fmla="*/ 345262200 w 160"/>
              <a:gd name="T61" fmla="*/ 340222391 h 213"/>
              <a:gd name="T62" fmla="*/ 390625013 w 160"/>
              <a:gd name="T63" fmla="*/ 274698231 h 213"/>
              <a:gd name="T64" fmla="*/ 390625013 w 160"/>
              <a:gd name="T65" fmla="*/ 252015998 h 213"/>
              <a:gd name="T66" fmla="*/ 345262200 w 160"/>
              <a:gd name="T67" fmla="*/ 189012792 h 213"/>
              <a:gd name="T68" fmla="*/ 390625013 w 160"/>
              <a:gd name="T69" fmla="*/ 252015998 h 213"/>
              <a:gd name="T70" fmla="*/ 345262200 w 160"/>
              <a:gd name="T71" fmla="*/ 166330558 h 213"/>
              <a:gd name="T72" fmla="*/ 390625013 w 160"/>
              <a:gd name="T73" fmla="*/ 100806399 h 213"/>
              <a:gd name="T74" fmla="*/ 390625013 w 160"/>
              <a:gd name="T75" fmla="*/ 78125753 h 213"/>
              <a:gd name="T76" fmla="*/ 345262200 w 160"/>
              <a:gd name="T77" fmla="*/ 15120960 h 213"/>
              <a:gd name="T78" fmla="*/ 390625013 w 160"/>
              <a:gd name="T79" fmla="*/ 78125753 h 213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60" h="213">
                <a:moveTo>
                  <a:pt x="0" y="213"/>
                </a:moveTo>
                <a:lnTo>
                  <a:pt x="160" y="213"/>
                </a:lnTo>
                <a:lnTo>
                  <a:pt x="160" y="0"/>
                </a:lnTo>
                <a:lnTo>
                  <a:pt x="0" y="0"/>
                </a:lnTo>
                <a:lnTo>
                  <a:pt x="0" y="213"/>
                </a:lnTo>
                <a:close/>
                <a:moveTo>
                  <a:pt x="26" y="204"/>
                </a:moveTo>
                <a:lnTo>
                  <a:pt x="8" y="204"/>
                </a:lnTo>
                <a:lnTo>
                  <a:pt x="8" y="178"/>
                </a:lnTo>
                <a:lnTo>
                  <a:pt x="26" y="178"/>
                </a:lnTo>
                <a:lnTo>
                  <a:pt x="26" y="204"/>
                </a:lnTo>
                <a:close/>
                <a:moveTo>
                  <a:pt x="26" y="169"/>
                </a:moveTo>
                <a:lnTo>
                  <a:pt x="8" y="169"/>
                </a:lnTo>
                <a:lnTo>
                  <a:pt x="8" y="144"/>
                </a:lnTo>
                <a:lnTo>
                  <a:pt x="26" y="144"/>
                </a:lnTo>
                <a:lnTo>
                  <a:pt x="26" y="169"/>
                </a:lnTo>
                <a:close/>
                <a:moveTo>
                  <a:pt x="26" y="135"/>
                </a:moveTo>
                <a:lnTo>
                  <a:pt x="8" y="135"/>
                </a:lnTo>
                <a:lnTo>
                  <a:pt x="8" y="109"/>
                </a:lnTo>
                <a:lnTo>
                  <a:pt x="26" y="109"/>
                </a:lnTo>
                <a:lnTo>
                  <a:pt x="26" y="135"/>
                </a:lnTo>
                <a:close/>
                <a:moveTo>
                  <a:pt x="26" y="100"/>
                </a:moveTo>
                <a:lnTo>
                  <a:pt x="8" y="100"/>
                </a:lnTo>
                <a:lnTo>
                  <a:pt x="8" y="75"/>
                </a:lnTo>
                <a:lnTo>
                  <a:pt x="26" y="75"/>
                </a:lnTo>
                <a:lnTo>
                  <a:pt x="26" y="100"/>
                </a:lnTo>
                <a:close/>
                <a:moveTo>
                  <a:pt x="26" y="66"/>
                </a:moveTo>
                <a:lnTo>
                  <a:pt x="8" y="66"/>
                </a:lnTo>
                <a:lnTo>
                  <a:pt x="8" y="40"/>
                </a:lnTo>
                <a:lnTo>
                  <a:pt x="26" y="40"/>
                </a:lnTo>
                <a:lnTo>
                  <a:pt x="26" y="66"/>
                </a:lnTo>
                <a:close/>
                <a:moveTo>
                  <a:pt x="26" y="31"/>
                </a:moveTo>
                <a:lnTo>
                  <a:pt x="8" y="31"/>
                </a:lnTo>
                <a:lnTo>
                  <a:pt x="8" y="6"/>
                </a:lnTo>
                <a:lnTo>
                  <a:pt x="26" y="6"/>
                </a:lnTo>
                <a:lnTo>
                  <a:pt x="26" y="31"/>
                </a:lnTo>
                <a:close/>
                <a:moveTo>
                  <a:pt x="129" y="204"/>
                </a:moveTo>
                <a:lnTo>
                  <a:pt x="34" y="204"/>
                </a:lnTo>
                <a:lnTo>
                  <a:pt x="34" y="144"/>
                </a:lnTo>
                <a:lnTo>
                  <a:pt x="129" y="144"/>
                </a:lnTo>
                <a:lnTo>
                  <a:pt x="129" y="204"/>
                </a:lnTo>
                <a:close/>
                <a:moveTo>
                  <a:pt x="129" y="135"/>
                </a:moveTo>
                <a:lnTo>
                  <a:pt x="34" y="135"/>
                </a:lnTo>
                <a:lnTo>
                  <a:pt x="34" y="75"/>
                </a:lnTo>
                <a:lnTo>
                  <a:pt x="129" y="75"/>
                </a:lnTo>
                <a:lnTo>
                  <a:pt x="129" y="135"/>
                </a:lnTo>
                <a:close/>
                <a:moveTo>
                  <a:pt x="129" y="66"/>
                </a:moveTo>
                <a:lnTo>
                  <a:pt x="34" y="66"/>
                </a:lnTo>
                <a:lnTo>
                  <a:pt x="34" y="6"/>
                </a:lnTo>
                <a:lnTo>
                  <a:pt x="129" y="6"/>
                </a:lnTo>
                <a:lnTo>
                  <a:pt x="129" y="66"/>
                </a:lnTo>
                <a:close/>
                <a:moveTo>
                  <a:pt x="155" y="204"/>
                </a:moveTo>
                <a:lnTo>
                  <a:pt x="137" y="204"/>
                </a:lnTo>
                <a:lnTo>
                  <a:pt x="137" y="178"/>
                </a:lnTo>
                <a:lnTo>
                  <a:pt x="155" y="178"/>
                </a:lnTo>
                <a:lnTo>
                  <a:pt x="155" y="204"/>
                </a:lnTo>
                <a:close/>
                <a:moveTo>
                  <a:pt x="155" y="169"/>
                </a:moveTo>
                <a:lnTo>
                  <a:pt x="137" y="169"/>
                </a:lnTo>
                <a:lnTo>
                  <a:pt x="137" y="144"/>
                </a:lnTo>
                <a:lnTo>
                  <a:pt x="155" y="144"/>
                </a:lnTo>
                <a:lnTo>
                  <a:pt x="155" y="169"/>
                </a:lnTo>
                <a:close/>
                <a:moveTo>
                  <a:pt x="155" y="135"/>
                </a:moveTo>
                <a:lnTo>
                  <a:pt x="137" y="135"/>
                </a:lnTo>
                <a:lnTo>
                  <a:pt x="137" y="109"/>
                </a:lnTo>
                <a:lnTo>
                  <a:pt x="155" y="109"/>
                </a:lnTo>
                <a:lnTo>
                  <a:pt x="155" y="135"/>
                </a:lnTo>
                <a:close/>
                <a:moveTo>
                  <a:pt x="155" y="100"/>
                </a:moveTo>
                <a:lnTo>
                  <a:pt x="137" y="100"/>
                </a:lnTo>
                <a:lnTo>
                  <a:pt x="137" y="75"/>
                </a:lnTo>
                <a:lnTo>
                  <a:pt x="155" y="75"/>
                </a:lnTo>
                <a:lnTo>
                  <a:pt x="155" y="100"/>
                </a:lnTo>
                <a:close/>
                <a:moveTo>
                  <a:pt x="155" y="66"/>
                </a:moveTo>
                <a:lnTo>
                  <a:pt x="137" y="66"/>
                </a:lnTo>
                <a:lnTo>
                  <a:pt x="137" y="40"/>
                </a:lnTo>
                <a:lnTo>
                  <a:pt x="155" y="40"/>
                </a:lnTo>
                <a:lnTo>
                  <a:pt x="155" y="66"/>
                </a:lnTo>
                <a:close/>
                <a:moveTo>
                  <a:pt x="155" y="31"/>
                </a:moveTo>
                <a:lnTo>
                  <a:pt x="137" y="31"/>
                </a:lnTo>
                <a:lnTo>
                  <a:pt x="137" y="6"/>
                </a:lnTo>
                <a:lnTo>
                  <a:pt x="155" y="6"/>
                </a:lnTo>
                <a:lnTo>
                  <a:pt x="155" y="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30" name="Rectangle 17"/>
          <p:cNvSpPr>
            <a:spLocks noChangeArrowheads="1"/>
          </p:cNvSpPr>
          <p:nvPr/>
        </p:nvSpPr>
        <p:spPr bwMode="auto">
          <a:xfrm>
            <a:off x="5744633" y="3340101"/>
            <a:ext cx="162984" cy="910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31" name="Rectangle 18"/>
          <p:cNvSpPr>
            <a:spLocks noChangeArrowheads="1"/>
          </p:cNvSpPr>
          <p:nvPr/>
        </p:nvSpPr>
        <p:spPr bwMode="auto">
          <a:xfrm>
            <a:off x="5744633" y="3340101"/>
            <a:ext cx="162984" cy="910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32" name="Rectangle 19"/>
          <p:cNvSpPr>
            <a:spLocks noChangeArrowheads="1"/>
          </p:cNvSpPr>
          <p:nvPr/>
        </p:nvSpPr>
        <p:spPr bwMode="auto">
          <a:xfrm>
            <a:off x="5744633" y="3340101"/>
            <a:ext cx="162984" cy="910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33" name="Rectangle 20"/>
          <p:cNvSpPr>
            <a:spLocks noChangeArrowheads="1"/>
          </p:cNvSpPr>
          <p:nvPr/>
        </p:nvSpPr>
        <p:spPr bwMode="auto">
          <a:xfrm>
            <a:off x="5744633" y="3340101"/>
            <a:ext cx="162984" cy="910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34" name="Rectangle 21"/>
          <p:cNvSpPr>
            <a:spLocks noChangeArrowheads="1"/>
          </p:cNvSpPr>
          <p:nvPr/>
        </p:nvSpPr>
        <p:spPr bwMode="auto">
          <a:xfrm>
            <a:off x="5744633" y="3486151"/>
            <a:ext cx="162984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35" name="Rectangle 22"/>
          <p:cNvSpPr>
            <a:spLocks noChangeArrowheads="1"/>
          </p:cNvSpPr>
          <p:nvPr/>
        </p:nvSpPr>
        <p:spPr bwMode="auto">
          <a:xfrm>
            <a:off x="5744633" y="3486151"/>
            <a:ext cx="162984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36" name="Rectangle 23"/>
          <p:cNvSpPr>
            <a:spLocks noChangeArrowheads="1"/>
          </p:cNvSpPr>
          <p:nvPr/>
        </p:nvSpPr>
        <p:spPr bwMode="auto">
          <a:xfrm>
            <a:off x="5744633" y="3486151"/>
            <a:ext cx="162984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37" name="Rectangle 24"/>
          <p:cNvSpPr>
            <a:spLocks noChangeArrowheads="1"/>
          </p:cNvSpPr>
          <p:nvPr/>
        </p:nvSpPr>
        <p:spPr bwMode="auto">
          <a:xfrm>
            <a:off x="5744633" y="3486151"/>
            <a:ext cx="162984" cy="910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38" name="Rectangle 25"/>
          <p:cNvSpPr>
            <a:spLocks noChangeArrowheads="1"/>
          </p:cNvSpPr>
          <p:nvPr/>
        </p:nvSpPr>
        <p:spPr bwMode="auto">
          <a:xfrm>
            <a:off x="5744633" y="3632201"/>
            <a:ext cx="162984" cy="910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39" name="Rectangle 26"/>
          <p:cNvSpPr>
            <a:spLocks noChangeArrowheads="1"/>
          </p:cNvSpPr>
          <p:nvPr/>
        </p:nvSpPr>
        <p:spPr bwMode="auto">
          <a:xfrm>
            <a:off x="5744633" y="3632201"/>
            <a:ext cx="162984" cy="910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40" name="Rectangle 27"/>
          <p:cNvSpPr>
            <a:spLocks noChangeArrowheads="1"/>
          </p:cNvSpPr>
          <p:nvPr/>
        </p:nvSpPr>
        <p:spPr bwMode="auto">
          <a:xfrm>
            <a:off x="5744633" y="3632201"/>
            <a:ext cx="162984" cy="910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41" name="Rectangle 28"/>
          <p:cNvSpPr>
            <a:spLocks noChangeArrowheads="1"/>
          </p:cNvSpPr>
          <p:nvPr/>
        </p:nvSpPr>
        <p:spPr bwMode="auto">
          <a:xfrm>
            <a:off x="5744633" y="3632201"/>
            <a:ext cx="162984" cy="910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42" name="Freeform 29"/>
          <p:cNvSpPr>
            <a:spLocks noEditPoints="1"/>
          </p:cNvSpPr>
          <p:nvPr/>
        </p:nvSpPr>
        <p:spPr bwMode="auto">
          <a:xfrm>
            <a:off x="6466417" y="3299884"/>
            <a:ext cx="364067" cy="457200"/>
          </a:xfrm>
          <a:custGeom>
            <a:avLst/>
            <a:gdLst>
              <a:gd name="T0" fmla="*/ 433466875 w 172"/>
              <a:gd name="T1" fmla="*/ 544353750 h 216"/>
              <a:gd name="T2" fmla="*/ 0 w 172"/>
              <a:gd name="T3" fmla="*/ 0 h 216"/>
              <a:gd name="T4" fmla="*/ 65524063 w 172"/>
              <a:gd name="T5" fmla="*/ 524192500 h 216"/>
              <a:gd name="T6" fmla="*/ 22682200 w 172"/>
              <a:gd name="T7" fmla="*/ 478829688 h 216"/>
              <a:gd name="T8" fmla="*/ 65524063 w 172"/>
              <a:gd name="T9" fmla="*/ 524192500 h 216"/>
              <a:gd name="T10" fmla="*/ 22682200 w 172"/>
              <a:gd name="T11" fmla="*/ 458668438 h 216"/>
              <a:gd name="T12" fmla="*/ 65524063 w 172"/>
              <a:gd name="T13" fmla="*/ 413305625 h 216"/>
              <a:gd name="T14" fmla="*/ 65524063 w 172"/>
              <a:gd name="T15" fmla="*/ 393144375 h 216"/>
              <a:gd name="T16" fmla="*/ 22682200 w 172"/>
              <a:gd name="T17" fmla="*/ 347781563 h 216"/>
              <a:gd name="T18" fmla="*/ 65524063 w 172"/>
              <a:gd name="T19" fmla="*/ 393144375 h 216"/>
              <a:gd name="T20" fmla="*/ 22682200 w 172"/>
              <a:gd name="T21" fmla="*/ 327620313 h 216"/>
              <a:gd name="T22" fmla="*/ 65524063 w 172"/>
              <a:gd name="T23" fmla="*/ 284778450 h 216"/>
              <a:gd name="T24" fmla="*/ 65524063 w 172"/>
              <a:gd name="T25" fmla="*/ 262096250 h 216"/>
              <a:gd name="T26" fmla="*/ 22682200 w 172"/>
              <a:gd name="T27" fmla="*/ 219254388 h 216"/>
              <a:gd name="T28" fmla="*/ 65524063 w 172"/>
              <a:gd name="T29" fmla="*/ 262096250 h 216"/>
              <a:gd name="T30" fmla="*/ 22682200 w 172"/>
              <a:gd name="T31" fmla="*/ 196572188 h 216"/>
              <a:gd name="T32" fmla="*/ 65524063 w 172"/>
              <a:gd name="T33" fmla="*/ 153730325 h 216"/>
              <a:gd name="T34" fmla="*/ 65524063 w 172"/>
              <a:gd name="T35" fmla="*/ 131048125 h 216"/>
              <a:gd name="T36" fmla="*/ 22682200 w 172"/>
              <a:gd name="T37" fmla="*/ 88206263 h 216"/>
              <a:gd name="T38" fmla="*/ 65524063 w 172"/>
              <a:gd name="T39" fmla="*/ 131048125 h 216"/>
              <a:gd name="T40" fmla="*/ 22682200 w 172"/>
              <a:gd name="T41" fmla="*/ 65524063 h 216"/>
              <a:gd name="T42" fmla="*/ 65524063 w 172"/>
              <a:gd name="T43" fmla="*/ 22682200 h 216"/>
              <a:gd name="T44" fmla="*/ 347781563 w 172"/>
              <a:gd name="T45" fmla="*/ 524192500 h 216"/>
              <a:gd name="T46" fmla="*/ 85685313 w 172"/>
              <a:gd name="T47" fmla="*/ 284778450 h 216"/>
              <a:gd name="T48" fmla="*/ 347781563 w 172"/>
              <a:gd name="T49" fmla="*/ 524192500 h 216"/>
              <a:gd name="T50" fmla="*/ 85685313 w 172"/>
              <a:gd name="T51" fmla="*/ 262096250 h 216"/>
              <a:gd name="T52" fmla="*/ 347781563 w 172"/>
              <a:gd name="T53" fmla="*/ 22682200 h 216"/>
              <a:gd name="T54" fmla="*/ 410786263 w 172"/>
              <a:gd name="T55" fmla="*/ 524192500 h 216"/>
              <a:gd name="T56" fmla="*/ 367942813 w 172"/>
              <a:gd name="T57" fmla="*/ 478829688 h 216"/>
              <a:gd name="T58" fmla="*/ 410786263 w 172"/>
              <a:gd name="T59" fmla="*/ 524192500 h 216"/>
              <a:gd name="T60" fmla="*/ 367942813 w 172"/>
              <a:gd name="T61" fmla="*/ 458668438 h 216"/>
              <a:gd name="T62" fmla="*/ 410786263 w 172"/>
              <a:gd name="T63" fmla="*/ 413305625 h 216"/>
              <a:gd name="T64" fmla="*/ 410786263 w 172"/>
              <a:gd name="T65" fmla="*/ 393144375 h 216"/>
              <a:gd name="T66" fmla="*/ 367942813 w 172"/>
              <a:gd name="T67" fmla="*/ 347781563 h 216"/>
              <a:gd name="T68" fmla="*/ 410786263 w 172"/>
              <a:gd name="T69" fmla="*/ 393144375 h 216"/>
              <a:gd name="T70" fmla="*/ 367942813 w 172"/>
              <a:gd name="T71" fmla="*/ 327620313 h 216"/>
              <a:gd name="T72" fmla="*/ 410786263 w 172"/>
              <a:gd name="T73" fmla="*/ 284778450 h 216"/>
              <a:gd name="T74" fmla="*/ 410786263 w 172"/>
              <a:gd name="T75" fmla="*/ 262096250 h 216"/>
              <a:gd name="T76" fmla="*/ 367942813 w 172"/>
              <a:gd name="T77" fmla="*/ 219254388 h 216"/>
              <a:gd name="T78" fmla="*/ 410786263 w 172"/>
              <a:gd name="T79" fmla="*/ 262096250 h 216"/>
              <a:gd name="T80" fmla="*/ 367942813 w 172"/>
              <a:gd name="T81" fmla="*/ 196572188 h 216"/>
              <a:gd name="T82" fmla="*/ 410786263 w 172"/>
              <a:gd name="T83" fmla="*/ 153730325 h 216"/>
              <a:gd name="T84" fmla="*/ 410786263 w 172"/>
              <a:gd name="T85" fmla="*/ 131048125 h 216"/>
              <a:gd name="T86" fmla="*/ 367942813 w 172"/>
              <a:gd name="T87" fmla="*/ 88206263 h 216"/>
              <a:gd name="T88" fmla="*/ 410786263 w 172"/>
              <a:gd name="T89" fmla="*/ 131048125 h 216"/>
              <a:gd name="T90" fmla="*/ 367942813 w 172"/>
              <a:gd name="T91" fmla="*/ 65524063 h 216"/>
              <a:gd name="T92" fmla="*/ 410786263 w 172"/>
              <a:gd name="T93" fmla="*/ 22682200 h 21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72" h="216">
                <a:moveTo>
                  <a:pt x="0" y="216"/>
                </a:moveTo>
                <a:lnTo>
                  <a:pt x="172" y="216"/>
                </a:lnTo>
                <a:lnTo>
                  <a:pt x="172" y="0"/>
                </a:lnTo>
                <a:lnTo>
                  <a:pt x="0" y="0"/>
                </a:lnTo>
                <a:lnTo>
                  <a:pt x="0" y="216"/>
                </a:lnTo>
                <a:close/>
                <a:moveTo>
                  <a:pt x="26" y="208"/>
                </a:moveTo>
                <a:lnTo>
                  <a:pt x="9" y="208"/>
                </a:lnTo>
                <a:lnTo>
                  <a:pt x="9" y="190"/>
                </a:lnTo>
                <a:lnTo>
                  <a:pt x="26" y="190"/>
                </a:lnTo>
                <a:lnTo>
                  <a:pt x="26" y="208"/>
                </a:lnTo>
                <a:close/>
                <a:moveTo>
                  <a:pt x="26" y="182"/>
                </a:moveTo>
                <a:lnTo>
                  <a:pt x="9" y="182"/>
                </a:lnTo>
                <a:lnTo>
                  <a:pt x="9" y="164"/>
                </a:lnTo>
                <a:lnTo>
                  <a:pt x="26" y="164"/>
                </a:lnTo>
                <a:lnTo>
                  <a:pt x="26" y="182"/>
                </a:lnTo>
                <a:close/>
                <a:moveTo>
                  <a:pt x="26" y="156"/>
                </a:moveTo>
                <a:lnTo>
                  <a:pt x="9" y="156"/>
                </a:lnTo>
                <a:lnTo>
                  <a:pt x="9" y="138"/>
                </a:lnTo>
                <a:lnTo>
                  <a:pt x="26" y="138"/>
                </a:lnTo>
                <a:lnTo>
                  <a:pt x="26" y="156"/>
                </a:lnTo>
                <a:close/>
                <a:moveTo>
                  <a:pt x="26" y="130"/>
                </a:moveTo>
                <a:lnTo>
                  <a:pt x="9" y="130"/>
                </a:lnTo>
                <a:lnTo>
                  <a:pt x="9" y="113"/>
                </a:lnTo>
                <a:lnTo>
                  <a:pt x="26" y="113"/>
                </a:lnTo>
                <a:lnTo>
                  <a:pt x="26" y="130"/>
                </a:lnTo>
                <a:close/>
                <a:moveTo>
                  <a:pt x="26" y="104"/>
                </a:moveTo>
                <a:lnTo>
                  <a:pt x="9" y="104"/>
                </a:lnTo>
                <a:lnTo>
                  <a:pt x="9" y="87"/>
                </a:lnTo>
                <a:lnTo>
                  <a:pt x="26" y="87"/>
                </a:lnTo>
                <a:lnTo>
                  <a:pt x="26" y="104"/>
                </a:lnTo>
                <a:close/>
                <a:moveTo>
                  <a:pt x="26" y="78"/>
                </a:moveTo>
                <a:lnTo>
                  <a:pt x="9" y="78"/>
                </a:lnTo>
                <a:lnTo>
                  <a:pt x="9" y="61"/>
                </a:lnTo>
                <a:lnTo>
                  <a:pt x="26" y="61"/>
                </a:lnTo>
                <a:lnTo>
                  <a:pt x="26" y="78"/>
                </a:lnTo>
                <a:close/>
                <a:moveTo>
                  <a:pt x="26" y="52"/>
                </a:moveTo>
                <a:lnTo>
                  <a:pt x="9" y="52"/>
                </a:lnTo>
                <a:lnTo>
                  <a:pt x="9" y="35"/>
                </a:lnTo>
                <a:lnTo>
                  <a:pt x="26" y="35"/>
                </a:lnTo>
                <a:lnTo>
                  <a:pt x="26" y="52"/>
                </a:lnTo>
                <a:close/>
                <a:moveTo>
                  <a:pt x="26" y="26"/>
                </a:moveTo>
                <a:lnTo>
                  <a:pt x="9" y="26"/>
                </a:lnTo>
                <a:lnTo>
                  <a:pt x="9" y="9"/>
                </a:lnTo>
                <a:lnTo>
                  <a:pt x="26" y="9"/>
                </a:lnTo>
                <a:lnTo>
                  <a:pt x="26" y="26"/>
                </a:lnTo>
                <a:close/>
                <a:moveTo>
                  <a:pt x="138" y="208"/>
                </a:moveTo>
                <a:lnTo>
                  <a:pt x="34" y="208"/>
                </a:lnTo>
                <a:lnTo>
                  <a:pt x="34" y="113"/>
                </a:lnTo>
                <a:lnTo>
                  <a:pt x="138" y="113"/>
                </a:lnTo>
                <a:lnTo>
                  <a:pt x="138" y="208"/>
                </a:lnTo>
                <a:close/>
                <a:moveTo>
                  <a:pt x="138" y="104"/>
                </a:moveTo>
                <a:lnTo>
                  <a:pt x="34" y="104"/>
                </a:lnTo>
                <a:lnTo>
                  <a:pt x="34" y="9"/>
                </a:lnTo>
                <a:lnTo>
                  <a:pt x="138" y="9"/>
                </a:lnTo>
                <a:lnTo>
                  <a:pt x="138" y="104"/>
                </a:lnTo>
                <a:close/>
                <a:moveTo>
                  <a:pt x="163" y="208"/>
                </a:moveTo>
                <a:lnTo>
                  <a:pt x="146" y="208"/>
                </a:lnTo>
                <a:lnTo>
                  <a:pt x="146" y="190"/>
                </a:lnTo>
                <a:lnTo>
                  <a:pt x="163" y="190"/>
                </a:lnTo>
                <a:lnTo>
                  <a:pt x="163" y="208"/>
                </a:lnTo>
                <a:close/>
                <a:moveTo>
                  <a:pt x="163" y="182"/>
                </a:moveTo>
                <a:lnTo>
                  <a:pt x="146" y="182"/>
                </a:lnTo>
                <a:lnTo>
                  <a:pt x="146" y="164"/>
                </a:lnTo>
                <a:lnTo>
                  <a:pt x="163" y="164"/>
                </a:lnTo>
                <a:lnTo>
                  <a:pt x="163" y="182"/>
                </a:lnTo>
                <a:close/>
                <a:moveTo>
                  <a:pt x="163" y="156"/>
                </a:moveTo>
                <a:lnTo>
                  <a:pt x="146" y="156"/>
                </a:lnTo>
                <a:lnTo>
                  <a:pt x="146" y="138"/>
                </a:lnTo>
                <a:lnTo>
                  <a:pt x="163" y="138"/>
                </a:lnTo>
                <a:lnTo>
                  <a:pt x="163" y="156"/>
                </a:lnTo>
                <a:close/>
                <a:moveTo>
                  <a:pt x="163" y="130"/>
                </a:moveTo>
                <a:lnTo>
                  <a:pt x="146" y="130"/>
                </a:lnTo>
                <a:lnTo>
                  <a:pt x="146" y="113"/>
                </a:lnTo>
                <a:lnTo>
                  <a:pt x="163" y="113"/>
                </a:lnTo>
                <a:lnTo>
                  <a:pt x="163" y="130"/>
                </a:lnTo>
                <a:close/>
                <a:moveTo>
                  <a:pt x="163" y="104"/>
                </a:moveTo>
                <a:lnTo>
                  <a:pt x="146" y="104"/>
                </a:lnTo>
                <a:lnTo>
                  <a:pt x="146" y="87"/>
                </a:lnTo>
                <a:lnTo>
                  <a:pt x="163" y="87"/>
                </a:lnTo>
                <a:lnTo>
                  <a:pt x="163" y="104"/>
                </a:lnTo>
                <a:close/>
                <a:moveTo>
                  <a:pt x="163" y="78"/>
                </a:moveTo>
                <a:lnTo>
                  <a:pt x="146" y="78"/>
                </a:lnTo>
                <a:lnTo>
                  <a:pt x="146" y="61"/>
                </a:lnTo>
                <a:lnTo>
                  <a:pt x="163" y="61"/>
                </a:lnTo>
                <a:lnTo>
                  <a:pt x="163" y="78"/>
                </a:lnTo>
                <a:close/>
                <a:moveTo>
                  <a:pt x="163" y="52"/>
                </a:moveTo>
                <a:lnTo>
                  <a:pt x="146" y="52"/>
                </a:lnTo>
                <a:lnTo>
                  <a:pt x="146" y="35"/>
                </a:lnTo>
                <a:lnTo>
                  <a:pt x="163" y="35"/>
                </a:lnTo>
                <a:lnTo>
                  <a:pt x="163" y="52"/>
                </a:lnTo>
                <a:close/>
                <a:moveTo>
                  <a:pt x="163" y="26"/>
                </a:moveTo>
                <a:lnTo>
                  <a:pt x="146" y="26"/>
                </a:lnTo>
                <a:lnTo>
                  <a:pt x="146" y="9"/>
                </a:lnTo>
                <a:lnTo>
                  <a:pt x="163" y="9"/>
                </a:lnTo>
                <a:lnTo>
                  <a:pt x="163" y="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43" name="Rectangle 30"/>
          <p:cNvSpPr>
            <a:spLocks noChangeArrowheads="1"/>
          </p:cNvSpPr>
          <p:nvPr/>
        </p:nvSpPr>
        <p:spPr bwMode="auto">
          <a:xfrm>
            <a:off x="6557434" y="3337985"/>
            <a:ext cx="182033" cy="1629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44" name="Rectangle 31"/>
          <p:cNvSpPr>
            <a:spLocks noChangeArrowheads="1"/>
          </p:cNvSpPr>
          <p:nvPr/>
        </p:nvSpPr>
        <p:spPr bwMode="auto">
          <a:xfrm>
            <a:off x="6557434" y="3337985"/>
            <a:ext cx="182033" cy="1629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45" name="Rectangle 32"/>
          <p:cNvSpPr>
            <a:spLocks noChangeArrowheads="1"/>
          </p:cNvSpPr>
          <p:nvPr/>
        </p:nvSpPr>
        <p:spPr bwMode="auto">
          <a:xfrm>
            <a:off x="6557434" y="3337985"/>
            <a:ext cx="182033" cy="1629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46" name="Rectangle 33"/>
          <p:cNvSpPr>
            <a:spLocks noChangeArrowheads="1"/>
          </p:cNvSpPr>
          <p:nvPr/>
        </p:nvSpPr>
        <p:spPr bwMode="auto">
          <a:xfrm>
            <a:off x="6557434" y="3337985"/>
            <a:ext cx="182033" cy="1629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47" name="Rectangle 34"/>
          <p:cNvSpPr>
            <a:spLocks noChangeArrowheads="1"/>
          </p:cNvSpPr>
          <p:nvPr/>
        </p:nvSpPr>
        <p:spPr bwMode="auto">
          <a:xfrm>
            <a:off x="6557434" y="3556001"/>
            <a:ext cx="182033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48" name="Rectangle 35"/>
          <p:cNvSpPr>
            <a:spLocks noChangeArrowheads="1"/>
          </p:cNvSpPr>
          <p:nvPr/>
        </p:nvSpPr>
        <p:spPr bwMode="auto">
          <a:xfrm>
            <a:off x="6557434" y="3556001"/>
            <a:ext cx="182033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49" name="Rectangle 36"/>
          <p:cNvSpPr>
            <a:spLocks noChangeArrowheads="1"/>
          </p:cNvSpPr>
          <p:nvPr/>
        </p:nvSpPr>
        <p:spPr bwMode="auto">
          <a:xfrm>
            <a:off x="6557434" y="3556001"/>
            <a:ext cx="182033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50" name="Rectangle 37"/>
          <p:cNvSpPr>
            <a:spLocks noChangeArrowheads="1"/>
          </p:cNvSpPr>
          <p:nvPr/>
        </p:nvSpPr>
        <p:spPr bwMode="auto">
          <a:xfrm>
            <a:off x="6557434" y="3556001"/>
            <a:ext cx="182033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51" name="Freeform 38"/>
          <p:cNvSpPr>
            <a:spLocks/>
          </p:cNvSpPr>
          <p:nvPr/>
        </p:nvSpPr>
        <p:spPr bwMode="auto">
          <a:xfrm>
            <a:off x="7310967" y="3304118"/>
            <a:ext cx="400051" cy="438149"/>
          </a:xfrm>
          <a:custGeom>
            <a:avLst/>
            <a:gdLst>
              <a:gd name="T0" fmla="*/ 681990920 w 132"/>
              <a:gd name="T1" fmla="*/ 531183042 h 144"/>
              <a:gd name="T2" fmla="*/ 681990920 w 132"/>
              <a:gd name="T3" fmla="*/ 468689711 h 144"/>
              <a:gd name="T4" fmla="*/ 402994221 w 132"/>
              <a:gd name="T5" fmla="*/ 281214283 h 144"/>
              <a:gd name="T6" fmla="*/ 402994221 w 132"/>
              <a:gd name="T7" fmla="*/ 62491049 h 144"/>
              <a:gd name="T8" fmla="*/ 340995460 w 132"/>
              <a:gd name="T9" fmla="*/ 0 h 144"/>
              <a:gd name="T10" fmla="*/ 278996699 w 132"/>
              <a:gd name="T11" fmla="*/ 62491049 h 144"/>
              <a:gd name="T12" fmla="*/ 278996699 w 132"/>
              <a:gd name="T13" fmla="*/ 281214283 h 144"/>
              <a:gd name="T14" fmla="*/ 0 w 132"/>
              <a:gd name="T15" fmla="*/ 468689711 h 144"/>
              <a:gd name="T16" fmla="*/ 0 w 132"/>
              <a:gd name="T17" fmla="*/ 531183042 h 144"/>
              <a:gd name="T18" fmla="*/ 278996699 w 132"/>
              <a:gd name="T19" fmla="*/ 437444187 h 144"/>
              <a:gd name="T20" fmla="*/ 278996699 w 132"/>
              <a:gd name="T21" fmla="*/ 614504440 h 144"/>
              <a:gd name="T22" fmla="*/ 185998557 w 132"/>
              <a:gd name="T23" fmla="*/ 687412945 h 144"/>
              <a:gd name="T24" fmla="*/ 185998557 w 132"/>
              <a:gd name="T25" fmla="*/ 749903994 h 144"/>
              <a:gd name="T26" fmla="*/ 340995460 w 132"/>
              <a:gd name="T27" fmla="*/ 687412945 h 144"/>
              <a:gd name="T28" fmla="*/ 495992363 w 132"/>
              <a:gd name="T29" fmla="*/ 749903994 h 144"/>
              <a:gd name="T30" fmla="*/ 495992363 w 132"/>
              <a:gd name="T31" fmla="*/ 687412945 h 144"/>
              <a:gd name="T32" fmla="*/ 402994221 w 132"/>
              <a:gd name="T33" fmla="*/ 614504440 h 144"/>
              <a:gd name="T34" fmla="*/ 402994221 w 132"/>
              <a:gd name="T35" fmla="*/ 437444187 h 144"/>
              <a:gd name="T36" fmla="*/ 681990920 w 132"/>
              <a:gd name="T37" fmla="*/ 531183042 h 14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32" h="144">
                <a:moveTo>
                  <a:pt x="132" y="102"/>
                </a:moveTo>
                <a:cubicBezTo>
                  <a:pt x="132" y="90"/>
                  <a:pt x="132" y="90"/>
                  <a:pt x="132" y="90"/>
                </a:cubicBezTo>
                <a:cubicBezTo>
                  <a:pt x="78" y="54"/>
                  <a:pt x="78" y="54"/>
                  <a:pt x="78" y="54"/>
                </a:cubicBezTo>
                <a:cubicBezTo>
                  <a:pt x="78" y="12"/>
                  <a:pt x="78" y="12"/>
                  <a:pt x="78" y="12"/>
                </a:cubicBezTo>
                <a:cubicBezTo>
                  <a:pt x="78" y="12"/>
                  <a:pt x="78" y="0"/>
                  <a:pt x="66" y="0"/>
                </a:cubicBezTo>
                <a:cubicBezTo>
                  <a:pt x="54" y="0"/>
                  <a:pt x="54" y="12"/>
                  <a:pt x="54" y="12"/>
                </a:cubicBezTo>
                <a:cubicBezTo>
                  <a:pt x="54" y="54"/>
                  <a:pt x="54" y="54"/>
                  <a:pt x="54" y="54"/>
                </a:cubicBezTo>
                <a:cubicBezTo>
                  <a:pt x="0" y="90"/>
                  <a:pt x="0" y="90"/>
                  <a:pt x="0" y="90"/>
                </a:cubicBezTo>
                <a:cubicBezTo>
                  <a:pt x="0" y="102"/>
                  <a:pt x="0" y="102"/>
                  <a:pt x="0" y="102"/>
                </a:cubicBezTo>
                <a:cubicBezTo>
                  <a:pt x="54" y="84"/>
                  <a:pt x="54" y="84"/>
                  <a:pt x="54" y="84"/>
                </a:cubicBezTo>
                <a:cubicBezTo>
                  <a:pt x="54" y="118"/>
                  <a:pt x="54" y="118"/>
                  <a:pt x="54" y="118"/>
                </a:cubicBezTo>
                <a:cubicBezTo>
                  <a:pt x="36" y="132"/>
                  <a:pt x="36" y="132"/>
                  <a:pt x="36" y="132"/>
                </a:cubicBezTo>
                <a:cubicBezTo>
                  <a:pt x="36" y="144"/>
                  <a:pt x="36" y="144"/>
                  <a:pt x="36" y="144"/>
                </a:cubicBezTo>
                <a:cubicBezTo>
                  <a:pt x="66" y="132"/>
                  <a:pt x="66" y="132"/>
                  <a:pt x="66" y="132"/>
                </a:cubicBezTo>
                <a:cubicBezTo>
                  <a:pt x="96" y="144"/>
                  <a:pt x="96" y="144"/>
                  <a:pt x="96" y="144"/>
                </a:cubicBezTo>
                <a:cubicBezTo>
                  <a:pt x="96" y="132"/>
                  <a:pt x="96" y="132"/>
                  <a:pt x="96" y="132"/>
                </a:cubicBezTo>
                <a:cubicBezTo>
                  <a:pt x="78" y="118"/>
                  <a:pt x="78" y="118"/>
                  <a:pt x="78" y="118"/>
                </a:cubicBezTo>
                <a:cubicBezTo>
                  <a:pt x="78" y="84"/>
                  <a:pt x="78" y="84"/>
                  <a:pt x="78" y="84"/>
                </a:cubicBezTo>
                <a:lnTo>
                  <a:pt x="132" y="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52" name="Freeform 39"/>
          <p:cNvSpPr>
            <a:spLocks/>
          </p:cNvSpPr>
          <p:nvPr/>
        </p:nvSpPr>
        <p:spPr bwMode="auto">
          <a:xfrm>
            <a:off x="8371418" y="3297767"/>
            <a:ext cx="182033" cy="127000"/>
          </a:xfrm>
          <a:custGeom>
            <a:avLst/>
            <a:gdLst>
              <a:gd name="T0" fmla="*/ 0 w 86"/>
              <a:gd name="T1" fmla="*/ 65524063 h 60"/>
              <a:gd name="T2" fmla="*/ 216733438 w 86"/>
              <a:gd name="T3" fmla="*/ 0 h 60"/>
              <a:gd name="T4" fmla="*/ 216733438 w 86"/>
              <a:gd name="T5" fmla="*/ 151209375 h 60"/>
              <a:gd name="T6" fmla="*/ 0 w 86"/>
              <a:gd name="T7" fmla="*/ 65524063 h 6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86" h="60">
                <a:moveTo>
                  <a:pt x="0" y="26"/>
                </a:moveTo>
                <a:lnTo>
                  <a:pt x="86" y="0"/>
                </a:lnTo>
                <a:lnTo>
                  <a:pt x="86" y="60"/>
                </a:lnTo>
                <a:lnTo>
                  <a:pt x="0" y="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53" name="Rectangle 40"/>
          <p:cNvSpPr>
            <a:spLocks noChangeArrowheads="1"/>
          </p:cNvSpPr>
          <p:nvPr/>
        </p:nvSpPr>
        <p:spPr bwMode="auto">
          <a:xfrm>
            <a:off x="8371417" y="3517901"/>
            <a:ext cx="74083" cy="910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54" name="Freeform 41"/>
          <p:cNvSpPr>
            <a:spLocks/>
          </p:cNvSpPr>
          <p:nvPr/>
        </p:nvSpPr>
        <p:spPr bwMode="auto">
          <a:xfrm>
            <a:off x="8263468" y="3333751"/>
            <a:ext cx="182033" cy="402167"/>
          </a:xfrm>
          <a:custGeom>
            <a:avLst/>
            <a:gdLst>
              <a:gd name="T0" fmla="*/ 186390756 w 60"/>
              <a:gd name="T1" fmla="*/ 67877050 h 132"/>
              <a:gd name="T2" fmla="*/ 186390756 w 60"/>
              <a:gd name="T3" fmla="*/ 62655739 h 132"/>
              <a:gd name="T4" fmla="*/ 186390756 w 60"/>
              <a:gd name="T5" fmla="*/ 31327869 h 132"/>
              <a:gd name="T6" fmla="*/ 155326768 w 60"/>
              <a:gd name="T7" fmla="*/ 0 h 132"/>
              <a:gd name="T8" fmla="*/ 124260504 w 60"/>
              <a:gd name="T9" fmla="*/ 31327869 h 132"/>
              <a:gd name="T10" fmla="*/ 124260504 w 60"/>
              <a:gd name="T11" fmla="*/ 62655739 h 132"/>
              <a:gd name="T12" fmla="*/ 124260504 w 60"/>
              <a:gd name="T13" fmla="*/ 67877050 h 132"/>
              <a:gd name="T14" fmla="*/ 0 w 60"/>
              <a:gd name="T15" fmla="*/ 219299655 h 132"/>
              <a:gd name="T16" fmla="*/ 0 w 60"/>
              <a:gd name="T17" fmla="*/ 689224550 h 132"/>
              <a:gd name="T18" fmla="*/ 310651260 w 60"/>
              <a:gd name="T19" fmla="*/ 689224550 h 132"/>
              <a:gd name="T20" fmla="*/ 310651260 w 60"/>
              <a:gd name="T21" fmla="*/ 501255049 h 132"/>
              <a:gd name="T22" fmla="*/ 186390756 w 60"/>
              <a:gd name="T23" fmla="*/ 501255049 h 132"/>
              <a:gd name="T24" fmla="*/ 155326768 w 60"/>
              <a:gd name="T25" fmla="*/ 501255049 h 132"/>
              <a:gd name="T26" fmla="*/ 155326768 w 60"/>
              <a:gd name="T27" fmla="*/ 469924895 h 132"/>
              <a:gd name="T28" fmla="*/ 155326768 w 60"/>
              <a:gd name="T29" fmla="*/ 313283263 h 132"/>
              <a:gd name="T30" fmla="*/ 155326768 w 60"/>
              <a:gd name="T31" fmla="*/ 281955394 h 132"/>
              <a:gd name="T32" fmla="*/ 186390756 w 60"/>
              <a:gd name="T33" fmla="*/ 281955394 h 132"/>
              <a:gd name="T34" fmla="*/ 310651260 w 60"/>
              <a:gd name="T35" fmla="*/ 281955394 h 132"/>
              <a:gd name="T36" fmla="*/ 310651260 w 60"/>
              <a:gd name="T37" fmla="*/ 219299655 h 132"/>
              <a:gd name="T38" fmla="*/ 186390756 w 60"/>
              <a:gd name="T39" fmla="*/ 67877050 h 13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60" h="132">
                <a:moveTo>
                  <a:pt x="36" y="13"/>
                </a:moveTo>
                <a:cubicBezTo>
                  <a:pt x="36" y="12"/>
                  <a:pt x="36" y="12"/>
                  <a:pt x="36" y="12"/>
                </a:cubicBezTo>
                <a:cubicBezTo>
                  <a:pt x="36" y="6"/>
                  <a:pt x="36" y="6"/>
                  <a:pt x="36" y="6"/>
                </a:cubicBezTo>
                <a:cubicBezTo>
                  <a:pt x="36" y="3"/>
                  <a:pt x="33" y="0"/>
                  <a:pt x="30" y="0"/>
                </a:cubicBezTo>
                <a:cubicBezTo>
                  <a:pt x="27" y="0"/>
                  <a:pt x="24" y="3"/>
                  <a:pt x="24" y="6"/>
                </a:cubicBezTo>
                <a:cubicBezTo>
                  <a:pt x="24" y="12"/>
                  <a:pt x="24" y="12"/>
                  <a:pt x="24" y="12"/>
                </a:cubicBezTo>
                <a:cubicBezTo>
                  <a:pt x="24" y="12"/>
                  <a:pt x="24" y="12"/>
                  <a:pt x="24" y="13"/>
                </a:cubicBezTo>
                <a:cubicBezTo>
                  <a:pt x="10" y="15"/>
                  <a:pt x="0" y="27"/>
                  <a:pt x="0" y="42"/>
                </a:cubicBezTo>
                <a:cubicBezTo>
                  <a:pt x="0" y="132"/>
                  <a:pt x="0" y="132"/>
                  <a:pt x="0" y="132"/>
                </a:cubicBezTo>
                <a:cubicBezTo>
                  <a:pt x="60" y="132"/>
                  <a:pt x="60" y="132"/>
                  <a:pt x="60" y="132"/>
                </a:cubicBezTo>
                <a:cubicBezTo>
                  <a:pt x="60" y="96"/>
                  <a:pt x="60" y="96"/>
                  <a:pt x="60" y="96"/>
                </a:cubicBezTo>
                <a:cubicBezTo>
                  <a:pt x="36" y="96"/>
                  <a:pt x="36" y="96"/>
                  <a:pt x="36" y="96"/>
                </a:cubicBezTo>
                <a:cubicBezTo>
                  <a:pt x="30" y="96"/>
                  <a:pt x="30" y="96"/>
                  <a:pt x="30" y="96"/>
                </a:cubicBezTo>
                <a:cubicBezTo>
                  <a:pt x="30" y="90"/>
                  <a:pt x="30" y="90"/>
                  <a:pt x="30" y="90"/>
                </a:cubicBezTo>
                <a:cubicBezTo>
                  <a:pt x="30" y="60"/>
                  <a:pt x="30" y="60"/>
                  <a:pt x="30" y="60"/>
                </a:cubicBezTo>
                <a:cubicBezTo>
                  <a:pt x="30" y="54"/>
                  <a:pt x="30" y="54"/>
                  <a:pt x="30" y="54"/>
                </a:cubicBezTo>
                <a:cubicBezTo>
                  <a:pt x="36" y="54"/>
                  <a:pt x="36" y="54"/>
                  <a:pt x="36" y="54"/>
                </a:cubicBezTo>
                <a:cubicBezTo>
                  <a:pt x="60" y="54"/>
                  <a:pt x="60" y="54"/>
                  <a:pt x="60" y="54"/>
                </a:cubicBezTo>
                <a:cubicBezTo>
                  <a:pt x="60" y="42"/>
                  <a:pt x="60" y="42"/>
                  <a:pt x="60" y="42"/>
                </a:cubicBezTo>
                <a:cubicBezTo>
                  <a:pt x="60" y="27"/>
                  <a:pt x="50" y="15"/>
                  <a:pt x="36" y="13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55" name="Freeform 42"/>
          <p:cNvSpPr>
            <a:spLocks/>
          </p:cNvSpPr>
          <p:nvPr/>
        </p:nvSpPr>
        <p:spPr bwMode="auto">
          <a:xfrm>
            <a:off x="9040284" y="3323167"/>
            <a:ext cx="429683" cy="431800"/>
          </a:xfrm>
          <a:custGeom>
            <a:avLst/>
            <a:gdLst>
              <a:gd name="T0" fmla="*/ 87557678 w 142"/>
              <a:gd name="T1" fmla="*/ 0 h 142"/>
              <a:gd name="T2" fmla="*/ 257521380 w 142"/>
              <a:gd name="T3" fmla="*/ 462913927 h 142"/>
              <a:gd name="T4" fmla="*/ 731359992 w 142"/>
              <a:gd name="T5" fmla="*/ 650160804 h 142"/>
              <a:gd name="T6" fmla="*/ 551095253 w 142"/>
              <a:gd name="T7" fmla="*/ 468116052 h 142"/>
              <a:gd name="T8" fmla="*/ 427485082 w 142"/>
              <a:gd name="T9" fmla="*/ 416103918 h 142"/>
              <a:gd name="T10" fmla="*/ 298725527 w 142"/>
              <a:gd name="T11" fmla="*/ 286071301 h 142"/>
              <a:gd name="T12" fmla="*/ 272971800 w 142"/>
              <a:gd name="T13" fmla="*/ 187246877 h 142"/>
              <a:gd name="T14" fmla="*/ 87557678 w 142"/>
              <a:gd name="T15" fmla="*/ 0 h 14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2" h="142">
                <a:moveTo>
                  <a:pt x="17" y="0"/>
                </a:moveTo>
                <a:cubicBezTo>
                  <a:pt x="12" y="7"/>
                  <a:pt x="0" y="38"/>
                  <a:pt x="50" y="89"/>
                </a:cubicBezTo>
                <a:cubicBezTo>
                  <a:pt x="102" y="142"/>
                  <a:pt x="136" y="131"/>
                  <a:pt x="142" y="125"/>
                </a:cubicBezTo>
                <a:cubicBezTo>
                  <a:pt x="107" y="90"/>
                  <a:pt x="107" y="90"/>
                  <a:pt x="107" y="90"/>
                </a:cubicBezTo>
                <a:cubicBezTo>
                  <a:pt x="102" y="95"/>
                  <a:pt x="96" y="90"/>
                  <a:pt x="83" y="80"/>
                </a:cubicBezTo>
                <a:cubicBezTo>
                  <a:pt x="76" y="74"/>
                  <a:pt x="66" y="65"/>
                  <a:pt x="58" y="55"/>
                </a:cubicBezTo>
                <a:cubicBezTo>
                  <a:pt x="53" y="48"/>
                  <a:pt x="48" y="41"/>
                  <a:pt x="53" y="36"/>
                </a:cubicBezTo>
                <a:lnTo>
                  <a:pt x="1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56" name="Freeform 43"/>
          <p:cNvSpPr>
            <a:spLocks/>
          </p:cNvSpPr>
          <p:nvPr/>
        </p:nvSpPr>
        <p:spPr bwMode="auto">
          <a:xfrm>
            <a:off x="9370485" y="3549651"/>
            <a:ext cx="146049" cy="143933"/>
          </a:xfrm>
          <a:custGeom>
            <a:avLst/>
            <a:gdLst>
              <a:gd name="T0" fmla="*/ 234345283 w 48"/>
              <a:gd name="T1" fmla="*/ 195187381 h 47"/>
              <a:gd name="T2" fmla="*/ 234345283 w 48"/>
              <a:gd name="T3" fmla="*/ 152983524 h 47"/>
              <a:gd name="T4" fmla="*/ 234345283 w 48"/>
              <a:gd name="T5" fmla="*/ 152983524 h 47"/>
              <a:gd name="T6" fmla="*/ 93738570 w 48"/>
              <a:gd name="T7" fmla="*/ 10551538 h 47"/>
              <a:gd name="T8" fmla="*/ 52075715 w 48"/>
              <a:gd name="T9" fmla="*/ 10551538 h 47"/>
              <a:gd name="T10" fmla="*/ 0 w 48"/>
              <a:gd name="T11" fmla="*/ 63304636 h 47"/>
              <a:gd name="T12" fmla="*/ 182267286 w 48"/>
              <a:gd name="T13" fmla="*/ 247940479 h 47"/>
              <a:gd name="T14" fmla="*/ 234345283 w 48"/>
              <a:gd name="T15" fmla="*/ 195187381 h 4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8" h="47">
                <a:moveTo>
                  <a:pt x="45" y="37"/>
                </a:moveTo>
                <a:cubicBezTo>
                  <a:pt x="48" y="35"/>
                  <a:pt x="47" y="31"/>
                  <a:pt x="45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45" y="29"/>
                  <a:pt x="18" y="2"/>
                  <a:pt x="18" y="2"/>
                </a:cubicBezTo>
                <a:cubicBezTo>
                  <a:pt x="16" y="0"/>
                  <a:pt x="12" y="0"/>
                  <a:pt x="10" y="2"/>
                </a:cubicBezTo>
                <a:cubicBezTo>
                  <a:pt x="0" y="12"/>
                  <a:pt x="0" y="12"/>
                  <a:pt x="0" y="12"/>
                </a:cubicBez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45" y="37"/>
                  <a:pt x="45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57" name="Freeform 44"/>
          <p:cNvSpPr>
            <a:spLocks/>
          </p:cNvSpPr>
          <p:nvPr/>
        </p:nvSpPr>
        <p:spPr bwMode="auto">
          <a:xfrm>
            <a:off x="9099552" y="3276600"/>
            <a:ext cx="146049" cy="146051"/>
          </a:xfrm>
          <a:custGeom>
            <a:avLst/>
            <a:gdLst>
              <a:gd name="T0" fmla="*/ 234345283 w 48"/>
              <a:gd name="T1" fmla="*/ 197894089 h 48"/>
              <a:gd name="T2" fmla="*/ 234345283 w 48"/>
              <a:gd name="T3" fmla="*/ 161438474 h 48"/>
              <a:gd name="T4" fmla="*/ 234345283 w 48"/>
              <a:gd name="T5" fmla="*/ 161438474 h 48"/>
              <a:gd name="T6" fmla="*/ 88530998 w 48"/>
              <a:gd name="T7" fmla="*/ 15622857 h 48"/>
              <a:gd name="T8" fmla="*/ 52075715 w 48"/>
              <a:gd name="T9" fmla="*/ 15622857 h 48"/>
              <a:gd name="T10" fmla="*/ 0 w 48"/>
              <a:gd name="T11" fmla="*/ 67701330 h 48"/>
              <a:gd name="T12" fmla="*/ 187477140 w 48"/>
              <a:gd name="T13" fmla="*/ 249970280 h 48"/>
              <a:gd name="T14" fmla="*/ 234345283 w 48"/>
              <a:gd name="T15" fmla="*/ 197894089 h 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8" h="48">
                <a:moveTo>
                  <a:pt x="45" y="38"/>
                </a:moveTo>
                <a:cubicBezTo>
                  <a:pt x="48" y="36"/>
                  <a:pt x="48" y="33"/>
                  <a:pt x="45" y="31"/>
                </a:cubicBezTo>
                <a:cubicBezTo>
                  <a:pt x="45" y="31"/>
                  <a:pt x="45" y="31"/>
                  <a:pt x="45" y="31"/>
                </a:cubicBezTo>
                <a:cubicBezTo>
                  <a:pt x="45" y="31"/>
                  <a:pt x="17" y="3"/>
                  <a:pt x="17" y="3"/>
                </a:cubicBezTo>
                <a:cubicBezTo>
                  <a:pt x="15" y="0"/>
                  <a:pt x="12" y="0"/>
                  <a:pt x="10" y="3"/>
                </a:cubicBezTo>
                <a:cubicBezTo>
                  <a:pt x="0" y="13"/>
                  <a:pt x="0" y="13"/>
                  <a:pt x="0" y="13"/>
                </a:cubicBezTo>
                <a:cubicBezTo>
                  <a:pt x="36" y="48"/>
                  <a:pt x="36" y="48"/>
                  <a:pt x="36" y="48"/>
                </a:cubicBezTo>
                <a:cubicBezTo>
                  <a:pt x="36" y="48"/>
                  <a:pt x="45" y="38"/>
                  <a:pt x="45" y="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58" name="Freeform 45"/>
          <p:cNvSpPr>
            <a:spLocks/>
          </p:cNvSpPr>
          <p:nvPr/>
        </p:nvSpPr>
        <p:spPr bwMode="auto">
          <a:xfrm>
            <a:off x="9916585" y="3541185"/>
            <a:ext cx="222249" cy="222249"/>
          </a:xfrm>
          <a:custGeom>
            <a:avLst/>
            <a:gdLst>
              <a:gd name="T0" fmla="*/ 156416341 w 73"/>
              <a:gd name="T1" fmla="*/ 0 h 73"/>
              <a:gd name="T2" fmla="*/ 46925816 w 73"/>
              <a:gd name="T3" fmla="*/ 114705773 h 73"/>
              <a:gd name="T4" fmla="*/ 46925816 w 73"/>
              <a:gd name="T5" fmla="*/ 286763291 h 73"/>
              <a:gd name="T6" fmla="*/ 88636383 w 73"/>
              <a:gd name="T7" fmla="*/ 333686824 h 73"/>
              <a:gd name="T8" fmla="*/ 265906866 w 73"/>
              <a:gd name="T9" fmla="*/ 333686824 h 73"/>
              <a:gd name="T10" fmla="*/ 380612639 w 73"/>
              <a:gd name="T11" fmla="*/ 224196298 h 73"/>
              <a:gd name="T12" fmla="*/ 156416341 w 73"/>
              <a:gd name="T13" fmla="*/ 0 h 7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73" h="73">
                <a:moveTo>
                  <a:pt x="30" y="0"/>
                </a:moveTo>
                <a:cubicBezTo>
                  <a:pt x="9" y="22"/>
                  <a:pt x="9" y="22"/>
                  <a:pt x="9" y="22"/>
                </a:cubicBezTo>
                <a:cubicBezTo>
                  <a:pt x="0" y="31"/>
                  <a:pt x="0" y="46"/>
                  <a:pt x="9" y="55"/>
                </a:cubicBezTo>
                <a:cubicBezTo>
                  <a:pt x="17" y="64"/>
                  <a:pt x="17" y="64"/>
                  <a:pt x="17" y="64"/>
                </a:cubicBezTo>
                <a:cubicBezTo>
                  <a:pt x="27" y="73"/>
                  <a:pt x="42" y="73"/>
                  <a:pt x="51" y="64"/>
                </a:cubicBezTo>
                <a:cubicBezTo>
                  <a:pt x="73" y="43"/>
                  <a:pt x="73" y="43"/>
                  <a:pt x="73" y="43"/>
                </a:cubicBezTo>
                <a:lnTo>
                  <a:pt x="3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59" name="Freeform 46"/>
          <p:cNvSpPr>
            <a:spLocks noEditPoints="1"/>
          </p:cNvSpPr>
          <p:nvPr/>
        </p:nvSpPr>
        <p:spPr bwMode="auto">
          <a:xfrm>
            <a:off x="10020301" y="3373967"/>
            <a:ext cx="285751" cy="285751"/>
          </a:xfrm>
          <a:custGeom>
            <a:avLst/>
            <a:gdLst>
              <a:gd name="T0" fmla="*/ 265100621 w 94"/>
              <a:gd name="T1" fmla="*/ 0 h 94"/>
              <a:gd name="T2" fmla="*/ 0 w 94"/>
              <a:gd name="T3" fmla="*/ 265100621 h 94"/>
              <a:gd name="T4" fmla="*/ 223517059 w 94"/>
              <a:gd name="T5" fmla="*/ 488617681 h 94"/>
              <a:gd name="T6" fmla="*/ 488617681 w 94"/>
              <a:gd name="T7" fmla="*/ 223517059 h 94"/>
              <a:gd name="T8" fmla="*/ 265100621 w 94"/>
              <a:gd name="T9" fmla="*/ 0 h 94"/>
              <a:gd name="T10" fmla="*/ 223517059 w 94"/>
              <a:gd name="T11" fmla="*/ 88367634 h 94"/>
              <a:gd name="T12" fmla="*/ 265100621 w 94"/>
              <a:gd name="T13" fmla="*/ 88367634 h 94"/>
              <a:gd name="T14" fmla="*/ 265100621 w 94"/>
              <a:gd name="T15" fmla="*/ 135149426 h 94"/>
              <a:gd name="T16" fmla="*/ 223517059 w 94"/>
              <a:gd name="T17" fmla="*/ 135149426 h 94"/>
              <a:gd name="T18" fmla="*/ 223517059 w 94"/>
              <a:gd name="T19" fmla="*/ 88367634 h 94"/>
              <a:gd name="T20" fmla="*/ 135149426 w 94"/>
              <a:gd name="T21" fmla="*/ 265100621 h 94"/>
              <a:gd name="T22" fmla="*/ 88367634 w 94"/>
              <a:gd name="T23" fmla="*/ 265100621 h 94"/>
              <a:gd name="T24" fmla="*/ 88367634 w 94"/>
              <a:gd name="T25" fmla="*/ 223517059 h 94"/>
              <a:gd name="T26" fmla="*/ 135149426 w 94"/>
              <a:gd name="T27" fmla="*/ 223517059 h 94"/>
              <a:gd name="T28" fmla="*/ 135149426 w 94"/>
              <a:gd name="T29" fmla="*/ 265100621 h 94"/>
              <a:gd name="T30" fmla="*/ 202724139 w 94"/>
              <a:gd name="T31" fmla="*/ 332675334 h 94"/>
              <a:gd name="T32" fmla="*/ 155942347 w 94"/>
              <a:gd name="T33" fmla="*/ 332675334 h 94"/>
              <a:gd name="T34" fmla="*/ 155942347 w 94"/>
              <a:gd name="T35" fmla="*/ 285893542 h 94"/>
              <a:gd name="T36" fmla="*/ 202724139 w 94"/>
              <a:gd name="T37" fmla="*/ 285893542 h 94"/>
              <a:gd name="T38" fmla="*/ 202724139 w 94"/>
              <a:gd name="T39" fmla="*/ 332675334 h 94"/>
              <a:gd name="T40" fmla="*/ 202724139 w 94"/>
              <a:gd name="T41" fmla="*/ 197525908 h 94"/>
              <a:gd name="T42" fmla="*/ 155942347 w 94"/>
              <a:gd name="T43" fmla="*/ 197525908 h 94"/>
              <a:gd name="T44" fmla="*/ 155942347 w 94"/>
              <a:gd name="T45" fmla="*/ 155942347 h 94"/>
              <a:gd name="T46" fmla="*/ 202724139 w 94"/>
              <a:gd name="T47" fmla="*/ 155942347 h 94"/>
              <a:gd name="T48" fmla="*/ 202724139 w 94"/>
              <a:gd name="T49" fmla="*/ 197525908 h 94"/>
              <a:gd name="T50" fmla="*/ 265100621 w 94"/>
              <a:gd name="T51" fmla="*/ 400250047 h 94"/>
              <a:gd name="T52" fmla="*/ 223517059 w 94"/>
              <a:gd name="T53" fmla="*/ 400250047 h 94"/>
              <a:gd name="T54" fmla="*/ 223517059 w 94"/>
              <a:gd name="T55" fmla="*/ 353468255 h 94"/>
              <a:gd name="T56" fmla="*/ 265100621 w 94"/>
              <a:gd name="T57" fmla="*/ 353468255 h 94"/>
              <a:gd name="T58" fmla="*/ 265100621 w 94"/>
              <a:gd name="T59" fmla="*/ 400250047 h 94"/>
              <a:gd name="T60" fmla="*/ 265100621 w 94"/>
              <a:gd name="T61" fmla="*/ 265100621 h 94"/>
              <a:gd name="T62" fmla="*/ 223517059 w 94"/>
              <a:gd name="T63" fmla="*/ 265100621 h 94"/>
              <a:gd name="T64" fmla="*/ 223517059 w 94"/>
              <a:gd name="T65" fmla="*/ 223517059 h 94"/>
              <a:gd name="T66" fmla="*/ 265100621 w 94"/>
              <a:gd name="T67" fmla="*/ 223517059 h 94"/>
              <a:gd name="T68" fmla="*/ 265100621 w 94"/>
              <a:gd name="T69" fmla="*/ 265100621 h 94"/>
              <a:gd name="T70" fmla="*/ 332675334 w 94"/>
              <a:gd name="T71" fmla="*/ 332675334 h 94"/>
              <a:gd name="T72" fmla="*/ 291091772 w 94"/>
              <a:gd name="T73" fmla="*/ 332675334 h 94"/>
              <a:gd name="T74" fmla="*/ 291091772 w 94"/>
              <a:gd name="T75" fmla="*/ 285893542 h 94"/>
              <a:gd name="T76" fmla="*/ 332675334 w 94"/>
              <a:gd name="T77" fmla="*/ 285893542 h 94"/>
              <a:gd name="T78" fmla="*/ 332675334 w 94"/>
              <a:gd name="T79" fmla="*/ 332675334 h 94"/>
              <a:gd name="T80" fmla="*/ 332675334 w 94"/>
              <a:gd name="T81" fmla="*/ 197525908 h 94"/>
              <a:gd name="T82" fmla="*/ 291091772 w 94"/>
              <a:gd name="T83" fmla="*/ 197525908 h 94"/>
              <a:gd name="T84" fmla="*/ 291091772 w 94"/>
              <a:gd name="T85" fmla="*/ 155942347 h 94"/>
              <a:gd name="T86" fmla="*/ 332675334 w 94"/>
              <a:gd name="T87" fmla="*/ 155942347 h 94"/>
              <a:gd name="T88" fmla="*/ 332675334 w 94"/>
              <a:gd name="T89" fmla="*/ 197525908 h 94"/>
              <a:gd name="T90" fmla="*/ 353468255 w 94"/>
              <a:gd name="T91" fmla="*/ 265100621 h 94"/>
              <a:gd name="T92" fmla="*/ 353468255 w 94"/>
              <a:gd name="T93" fmla="*/ 223517059 h 94"/>
              <a:gd name="T94" fmla="*/ 400250047 w 94"/>
              <a:gd name="T95" fmla="*/ 223517059 h 94"/>
              <a:gd name="T96" fmla="*/ 400250047 w 94"/>
              <a:gd name="T97" fmla="*/ 265100621 h 94"/>
              <a:gd name="T98" fmla="*/ 353468255 w 94"/>
              <a:gd name="T99" fmla="*/ 265100621 h 9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94" h="94">
                <a:moveTo>
                  <a:pt x="51" y="0"/>
                </a:moveTo>
                <a:cubicBezTo>
                  <a:pt x="0" y="51"/>
                  <a:pt x="0" y="51"/>
                  <a:pt x="0" y="51"/>
                </a:cubicBezTo>
                <a:cubicBezTo>
                  <a:pt x="43" y="94"/>
                  <a:pt x="43" y="94"/>
                  <a:pt x="43" y="94"/>
                </a:cubicBezTo>
                <a:cubicBezTo>
                  <a:pt x="94" y="43"/>
                  <a:pt x="94" y="43"/>
                  <a:pt x="94" y="43"/>
                </a:cubicBezTo>
                <a:lnTo>
                  <a:pt x="51" y="0"/>
                </a:lnTo>
                <a:close/>
                <a:moveTo>
                  <a:pt x="43" y="17"/>
                </a:moveTo>
                <a:cubicBezTo>
                  <a:pt x="45" y="15"/>
                  <a:pt x="49" y="15"/>
                  <a:pt x="51" y="17"/>
                </a:cubicBezTo>
                <a:cubicBezTo>
                  <a:pt x="54" y="19"/>
                  <a:pt x="54" y="23"/>
                  <a:pt x="51" y="26"/>
                </a:cubicBezTo>
                <a:cubicBezTo>
                  <a:pt x="49" y="28"/>
                  <a:pt x="45" y="28"/>
                  <a:pt x="43" y="26"/>
                </a:cubicBezTo>
                <a:cubicBezTo>
                  <a:pt x="41" y="23"/>
                  <a:pt x="41" y="19"/>
                  <a:pt x="43" y="17"/>
                </a:cubicBezTo>
                <a:moveTo>
                  <a:pt x="26" y="51"/>
                </a:moveTo>
                <a:cubicBezTo>
                  <a:pt x="24" y="53"/>
                  <a:pt x="20" y="53"/>
                  <a:pt x="17" y="51"/>
                </a:cubicBezTo>
                <a:cubicBezTo>
                  <a:pt x="15" y="49"/>
                  <a:pt x="15" y="45"/>
                  <a:pt x="17" y="43"/>
                </a:cubicBezTo>
                <a:cubicBezTo>
                  <a:pt x="20" y="40"/>
                  <a:pt x="24" y="40"/>
                  <a:pt x="26" y="43"/>
                </a:cubicBezTo>
                <a:cubicBezTo>
                  <a:pt x="28" y="45"/>
                  <a:pt x="28" y="49"/>
                  <a:pt x="26" y="51"/>
                </a:cubicBezTo>
                <a:moveTo>
                  <a:pt x="39" y="64"/>
                </a:moveTo>
                <a:cubicBezTo>
                  <a:pt x="36" y="66"/>
                  <a:pt x="32" y="66"/>
                  <a:pt x="30" y="64"/>
                </a:cubicBezTo>
                <a:cubicBezTo>
                  <a:pt x="28" y="61"/>
                  <a:pt x="28" y="58"/>
                  <a:pt x="30" y="55"/>
                </a:cubicBezTo>
                <a:cubicBezTo>
                  <a:pt x="32" y="53"/>
                  <a:pt x="36" y="53"/>
                  <a:pt x="39" y="55"/>
                </a:cubicBezTo>
                <a:cubicBezTo>
                  <a:pt x="41" y="58"/>
                  <a:pt x="41" y="61"/>
                  <a:pt x="39" y="64"/>
                </a:cubicBezTo>
                <a:moveTo>
                  <a:pt x="39" y="38"/>
                </a:moveTo>
                <a:cubicBezTo>
                  <a:pt x="36" y="41"/>
                  <a:pt x="32" y="41"/>
                  <a:pt x="30" y="38"/>
                </a:cubicBezTo>
                <a:cubicBezTo>
                  <a:pt x="28" y="36"/>
                  <a:pt x="28" y="32"/>
                  <a:pt x="30" y="30"/>
                </a:cubicBezTo>
                <a:cubicBezTo>
                  <a:pt x="32" y="28"/>
                  <a:pt x="36" y="28"/>
                  <a:pt x="39" y="30"/>
                </a:cubicBezTo>
                <a:cubicBezTo>
                  <a:pt x="41" y="32"/>
                  <a:pt x="41" y="36"/>
                  <a:pt x="39" y="38"/>
                </a:cubicBezTo>
                <a:moveTo>
                  <a:pt x="51" y="77"/>
                </a:moveTo>
                <a:cubicBezTo>
                  <a:pt x="49" y="79"/>
                  <a:pt x="45" y="79"/>
                  <a:pt x="43" y="77"/>
                </a:cubicBezTo>
                <a:cubicBezTo>
                  <a:pt x="40" y="74"/>
                  <a:pt x="41" y="70"/>
                  <a:pt x="43" y="68"/>
                </a:cubicBezTo>
                <a:cubicBezTo>
                  <a:pt x="45" y="66"/>
                  <a:pt x="49" y="66"/>
                  <a:pt x="51" y="68"/>
                </a:cubicBezTo>
                <a:cubicBezTo>
                  <a:pt x="54" y="70"/>
                  <a:pt x="54" y="74"/>
                  <a:pt x="51" y="77"/>
                </a:cubicBezTo>
                <a:moveTo>
                  <a:pt x="51" y="51"/>
                </a:moveTo>
                <a:cubicBezTo>
                  <a:pt x="49" y="53"/>
                  <a:pt x="45" y="53"/>
                  <a:pt x="43" y="51"/>
                </a:cubicBezTo>
                <a:cubicBezTo>
                  <a:pt x="41" y="49"/>
                  <a:pt x="41" y="45"/>
                  <a:pt x="43" y="43"/>
                </a:cubicBezTo>
                <a:cubicBezTo>
                  <a:pt x="45" y="40"/>
                  <a:pt x="49" y="40"/>
                  <a:pt x="51" y="43"/>
                </a:cubicBezTo>
                <a:cubicBezTo>
                  <a:pt x="54" y="45"/>
                  <a:pt x="54" y="49"/>
                  <a:pt x="51" y="51"/>
                </a:cubicBezTo>
                <a:moveTo>
                  <a:pt x="64" y="64"/>
                </a:moveTo>
                <a:cubicBezTo>
                  <a:pt x="62" y="66"/>
                  <a:pt x="58" y="66"/>
                  <a:pt x="56" y="64"/>
                </a:cubicBezTo>
                <a:cubicBezTo>
                  <a:pt x="53" y="61"/>
                  <a:pt x="53" y="58"/>
                  <a:pt x="56" y="55"/>
                </a:cubicBezTo>
                <a:cubicBezTo>
                  <a:pt x="58" y="53"/>
                  <a:pt x="62" y="53"/>
                  <a:pt x="64" y="55"/>
                </a:cubicBezTo>
                <a:cubicBezTo>
                  <a:pt x="66" y="58"/>
                  <a:pt x="66" y="61"/>
                  <a:pt x="64" y="64"/>
                </a:cubicBezTo>
                <a:moveTo>
                  <a:pt x="64" y="38"/>
                </a:moveTo>
                <a:cubicBezTo>
                  <a:pt x="62" y="41"/>
                  <a:pt x="58" y="41"/>
                  <a:pt x="56" y="38"/>
                </a:cubicBezTo>
                <a:cubicBezTo>
                  <a:pt x="53" y="36"/>
                  <a:pt x="53" y="32"/>
                  <a:pt x="56" y="30"/>
                </a:cubicBezTo>
                <a:cubicBezTo>
                  <a:pt x="58" y="28"/>
                  <a:pt x="62" y="28"/>
                  <a:pt x="64" y="30"/>
                </a:cubicBezTo>
                <a:cubicBezTo>
                  <a:pt x="66" y="32"/>
                  <a:pt x="66" y="36"/>
                  <a:pt x="64" y="38"/>
                </a:cubicBezTo>
                <a:moveTo>
                  <a:pt x="68" y="51"/>
                </a:moveTo>
                <a:cubicBezTo>
                  <a:pt x="66" y="49"/>
                  <a:pt x="66" y="45"/>
                  <a:pt x="68" y="43"/>
                </a:cubicBezTo>
                <a:cubicBezTo>
                  <a:pt x="71" y="40"/>
                  <a:pt x="74" y="40"/>
                  <a:pt x="77" y="43"/>
                </a:cubicBezTo>
                <a:cubicBezTo>
                  <a:pt x="79" y="45"/>
                  <a:pt x="79" y="49"/>
                  <a:pt x="77" y="51"/>
                </a:cubicBezTo>
                <a:cubicBezTo>
                  <a:pt x="74" y="53"/>
                  <a:pt x="71" y="53"/>
                  <a:pt x="68" y="5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60" name="Freeform 47"/>
          <p:cNvSpPr>
            <a:spLocks/>
          </p:cNvSpPr>
          <p:nvPr/>
        </p:nvSpPr>
        <p:spPr bwMode="auto">
          <a:xfrm>
            <a:off x="10189634" y="3282952"/>
            <a:ext cx="207433" cy="207433"/>
          </a:xfrm>
          <a:custGeom>
            <a:avLst/>
            <a:gdLst>
              <a:gd name="T0" fmla="*/ 308825526 w 68"/>
              <a:gd name="T1" fmla="*/ 88984324 h 68"/>
              <a:gd name="T2" fmla="*/ 261716044 w 68"/>
              <a:gd name="T3" fmla="*/ 47109483 h 68"/>
              <a:gd name="T4" fmla="*/ 88984324 w 68"/>
              <a:gd name="T5" fmla="*/ 47109483 h 68"/>
              <a:gd name="T6" fmla="*/ 0 w 68"/>
              <a:gd name="T7" fmla="*/ 136093807 h 68"/>
              <a:gd name="T8" fmla="*/ 219841202 w 68"/>
              <a:gd name="T9" fmla="*/ 355935009 h 68"/>
              <a:gd name="T10" fmla="*/ 308825526 w 68"/>
              <a:gd name="T11" fmla="*/ 266950685 h 68"/>
              <a:gd name="T12" fmla="*/ 308825526 w 68"/>
              <a:gd name="T13" fmla="*/ 88984324 h 6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" h="68">
                <a:moveTo>
                  <a:pt x="59" y="17"/>
                </a:moveTo>
                <a:cubicBezTo>
                  <a:pt x="50" y="9"/>
                  <a:pt x="50" y="9"/>
                  <a:pt x="50" y="9"/>
                </a:cubicBezTo>
                <a:cubicBezTo>
                  <a:pt x="41" y="0"/>
                  <a:pt x="26" y="0"/>
                  <a:pt x="17" y="9"/>
                </a:cubicBezTo>
                <a:cubicBezTo>
                  <a:pt x="0" y="26"/>
                  <a:pt x="0" y="26"/>
                  <a:pt x="0" y="26"/>
                </a:cubicBezTo>
                <a:cubicBezTo>
                  <a:pt x="42" y="68"/>
                  <a:pt x="42" y="68"/>
                  <a:pt x="42" y="68"/>
                </a:cubicBezTo>
                <a:cubicBezTo>
                  <a:pt x="59" y="51"/>
                  <a:pt x="59" y="51"/>
                  <a:pt x="59" y="51"/>
                </a:cubicBezTo>
                <a:cubicBezTo>
                  <a:pt x="68" y="42"/>
                  <a:pt x="68" y="27"/>
                  <a:pt x="59" y="17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61" name="Freeform 48"/>
          <p:cNvSpPr>
            <a:spLocks noEditPoints="1"/>
          </p:cNvSpPr>
          <p:nvPr/>
        </p:nvSpPr>
        <p:spPr bwMode="auto">
          <a:xfrm>
            <a:off x="10775952" y="3316818"/>
            <a:ext cx="436033" cy="438149"/>
          </a:xfrm>
          <a:custGeom>
            <a:avLst/>
            <a:gdLst>
              <a:gd name="T0" fmla="*/ 742676046 w 144"/>
              <a:gd name="T1" fmla="*/ 124984379 h 144"/>
              <a:gd name="T2" fmla="*/ 618897084 w 144"/>
              <a:gd name="T3" fmla="*/ 0 h 144"/>
              <a:gd name="T4" fmla="*/ 495118121 w 144"/>
              <a:gd name="T5" fmla="*/ 124984379 h 144"/>
              <a:gd name="T6" fmla="*/ 587952343 w 144"/>
              <a:gd name="T7" fmla="*/ 244761171 h 144"/>
              <a:gd name="T8" fmla="*/ 587952343 w 144"/>
              <a:gd name="T9" fmla="*/ 343705332 h 144"/>
              <a:gd name="T10" fmla="*/ 489960664 w 144"/>
              <a:gd name="T11" fmla="*/ 343705332 h 144"/>
              <a:gd name="T12" fmla="*/ 371339159 w 144"/>
              <a:gd name="T13" fmla="*/ 249968759 h 144"/>
              <a:gd name="T14" fmla="*/ 252715382 w 144"/>
              <a:gd name="T15" fmla="*/ 343705332 h 144"/>
              <a:gd name="T16" fmla="*/ 92834222 w 144"/>
              <a:gd name="T17" fmla="*/ 343705332 h 144"/>
              <a:gd name="T18" fmla="*/ 92834222 w 144"/>
              <a:gd name="T19" fmla="*/ 505142823 h 144"/>
              <a:gd name="T20" fmla="*/ 0 w 144"/>
              <a:gd name="T21" fmla="*/ 624919615 h 144"/>
              <a:gd name="T22" fmla="*/ 123778963 w 144"/>
              <a:gd name="T23" fmla="*/ 749903994 h 144"/>
              <a:gd name="T24" fmla="*/ 247557925 w 144"/>
              <a:gd name="T25" fmla="*/ 624919615 h 144"/>
              <a:gd name="T26" fmla="*/ 154723703 w 144"/>
              <a:gd name="T27" fmla="*/ 505142823 h 144"/>
              <a:gd name="T28" fmla="*/ 154723703 w 144"/>
              <a:gd name="T29" fmla="*/ 406198662 h 144"/>
              <a:gd name="T30" fmla="*/ 252715382 w 144"/>
              <a:gd name="T31" fmla="*/ 406198662 h 144"/>
              <a:gd name="T32" fmla="*/ 371339159 w 144"/>
              <a:gd name="T33" fmla="*/ 499935235 h 144"/>
              <a:gd name="T34" fmla="*/ 489960664 w 144"/>
              <a:gd name="T35" fmla="*/ 406198662 h 144"/>
              <a:gd name="T36" fmla="*/ 649841824 w 144"/>
              <a:gd name="T37" fmla="*/ 406198662 h 144"/>
              <a:gd name="T38" fmla="*/ 649841824 w 144"/>
              <a:gd name="T39" fmla="*/ 244761171 h 144"/>
              <a:gd name="T40" fmla="*/ 742676046 w 144"/>
              <a:gd name="T41" fmla="*/ 124984379 h 144"/>
              <a:gd name="T42" fmla="*/ 185668444 w 144"/>
              <a:gd name="T43" fmla="*/ 624919615 h 144"/>
              <a:gd name="T44" fmla="*/ 123778963 w 144"/>
              <a:gd name="T45" fmla="*/ 687412945 h 144"/>
              <a:gd name="T46" fmla="*/ 61889481 w 144"/>
              <a:gd name="T47" fmla="*/ 624919615 h 144"/>
              <a:gd name="T48" fmla="*/ 123778963 w 144"/>
              <a:gd name="T49" fmla="*/ 562428566 h 144"/>
              <a:gd name="T50" fmla="*/ 185668444 w 144"/>
              <a:gd name="T51" fmla="*/ 624919615 h 144"/>
              <a:gd name="T52" fmla="*/ 371339159 w 144"/>
              <a:gd name="T53" fmla="*/ 437444187 h 144"/>
              <a:gd name="T54" fmla="*/ 309447406 w 144"/>
              <a:gd name="T55" fmla="*/ 374953138 h 144"/>
              <a:gd name="T56" fmla="*/ 371339159 w 144"/>
              <a:gd name="T57" fmla="*/ 312459807 h 144"/>
              <a:gd name="T58" fmla="*/ 433228640 w 144"/>
              <a:gd name="T59" fmla="*/ 374953138 h 144"/>
              <a:gd name="T60" fmla="*/ 371339159 w 144"/>
              <a:gd name="T61" fmla="*/ 437444187 h 144"/>
              <a:gd name="T62" fmla="*/ 618897084 w 144"/>
              <a:gd name="T63" fmla="*/ 187475428 h 144"/>
              <a:gd name="T64" fmla="*/ 557007602 w 144"/>
              <a:gd name="T65" fmla="*/ 124984379 h 144"/>
              <a:gd name="T66" fmla="*/ 618897084 w 144"/>
              <a:gd name="T67" fmla="*/ 62491049 h 144"/>
              <a:gd name="T68" fmla="*/ 680786565 w 144"/>
              <a:gd name="T69" fmla="*/ 124984379 h 144"/>
              <a:gd name="T70" fmla="*/ 618897084 w 144"/>
              <a:gd name="T71" fmla="*/ 187475428 h 14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44" h="144">
                <a:moveTo>
                  <a:pt x="144" y="24"/>
                </a:moveTo>
                <a:cubicBezTo>
                  <a:pt x="144" y="11"/>
                  <a:pt x="133" y="0"/>
                  <a:pt x="120" y="0"/>
                </a:cubicBezTo>
                <a:cubicBezTo>
                  <a:pt x="107" y="0"/>
                  <a:pt x="96" y="11"/>
                  <a:pt x="96" y="24"/>
                </a:cubicBezTo>
                <a:cubicBezTo>
                  <a:pt x="96" y="35"/>
                  <a:pt x="104" y="44"/>
                  <a:pt x="114" y="47"/>
                </a:cubicBezTo>
                <a:cubicBezTo>
                  <a:pt x="114" y="66"/>
                  <a:pt x="114" y="66"/>
                  <a:pt x="114" y="66"/>
                </a:cubicBezTo>
                <a:cubicBezTo>
                  <a:pt x="95" y="66"/>
                  <a:pt x="95" y="66"/>
                  <a:pt x="95" y="66"/>
                </a:cubicBezTo>
                <a:cubicBezTo>
                  <a:pt x="92" y="56"/>
                  <a:pt x="83" y="48"/>
                  <a:pt x="72" y="48"/>
                </a:cubicBezTo>
                <a:cubicBezTo>
                  <a:pt x="61" y="48"/>
                  <a:pt x="52" y="56"/>
                  <a:pt x="49" y="66"/>
                </a:cubicBezTo>
                <a:cubicBezTo>
                  <a:pt x="18" y="66"/>
                  <a:pt x="18" y="66"/>
                  <a:pt x="18" y="66"/>
                </a:cubicBezTo>
                <a:cubicBezTo>
                  <a:pt x="18" y="97"/>
                  <a:pt x="18" y="97"/>
                  <a:pt x="18" y="97"/>
                </a:cubicBezTo>
                <a:cubicBezTo>
                  <a:pt x="8" y="100"/>
                  <a:pt x="0" y="109"/>
                  <a:pt x="0" y="120"/>
                </a:cubicBezTo>
                <a:cubicBezTo>
                  <a:pt x="0" y="133"/>
                  <a:pt x="11" y="144"/>
                  <a:pt x="24" y="144"/>
                </a:cubicBezTo>
                <a:cubicBezTo>
                  <a:pt x="37" y="144"/>
                  <a:pt x="48" y="133"/>
                  <a:pt x="48" y="120"/>
                </a:cubicBezTo>
                <a:cubicBezTo>
                  <a:pt x="48" y="109"/>
                  <a:pt x="40" y="100"/>
                  <a:pt x="30" y="97"/>
                </a:cubicBezTo>
                <a:cubicBezTo>
                  <a:pt x="30" y="78"/>
                  <a:pt x="30" y="78"/>
                  <a:pt x="30" y="78"/>
                </a:cubicBezTo>
                <a:cubicBezTo>
                  <a:pt x="49" y="78"/>
                  <a:pt x="49" y="78"/>
                  <a:pt x="49" y="78"/>
                </a:cubicBezTo>
                <a:cubicBezTo>
                  <a:pt x="52" y="88"/>
                  <a:pt x="61" y="96"/>
                  <a:pt x="72" y="96"/>
                </a:cubicBezTo>
                <a:cubicBezTo>
                  <a:pt x="83" y="96"/>
                  <a:pt x="92" y="88"/>
                  <a:pt x="95" y="78"/>
                </a:cubicBezTo>
                <a:cubicBezTo>
                  <a:pt x="126" y="78"/>
                  <a:pt x="126" y="78"/>
                  <a:pt x="126" y="78"/>
                </a:cubicBezTo>
                <a:cubicBezTo>
                  <a:pt x="126" y="47"/>
                  <a:pt x="126" y="47"/>
                  <a:pt x="126" y="47"/>
                </a:cubicBezTo>
                <a:cubicBezTo>
                  <a:pt x="136" y="44"/>
                  <a:pt x="144" y="35"/>
                  <a:pt x="144" y="24"/>
                </a:cubicBezTo>
                <a:moveTo>
                  <a:pt x="36" y="120"/>
                </a:moveTo>
                <a:cubicBezTo>
                  <a:pt x="36" y="127"/>
                  <a:pt x="31" y="132"/>
                  <a:pt x="24" y="132"/>
                </a:cubicBezTo>
                <a:cubicBezTo>
                  <a:pt x="17" y="132"/>
                  <a:pt x="12" y="127"/>
                  <a:pt x="12" y="120"/>
                </a:cubicBezTo>
                <a:cubicBezTo>
                  <a:pt x="12" y="113"/>
                  <a:pt x="17" y="108"/>
                  <a:pt x="24" y="108"/>
                </a:cubicBezTo>
                <a:cubicBezTo>
                  <a:pt x="31" y="108"/>
                  <a:pt x="36" y="113"/>
                  <a:pt x="36" y="120"/>
                </a:cubicBezTo>
                <a:moveTo>
                  <a:pt x="72" y="84"/>
                </a:moveTo>
                <a:cubicBezTo>
                  <a:pt x="65" y="84"/>
                  <a:pt x="60" y="79"/>
                  <a:pt x="60" y="72"/>
                </a:cubicBezTo>
                <a:cubicBezTo>
                  <a:pt x="60" y="65"/>
                  <a:pt x="65" y="60"/>
                  <a:pt x="72" y="60"/>
                </a:cubicBezTo>
                <a:cubicBezTo>
                  <a:pt x="79" y="60"/>
                  <a:pt x="84" y="65"/>
                  <a:pt x="84" y="72"/>
                </a:cubicBezTo>
                <a:cubicBezTo>
                  <a:pt x="84" y="79"/>
                  <a:pt x="79" y="84"/>
                  <a:pt x="72" y="84"/>
                </a:cubicBezTo>
                <a:moveTo>
                  <a:pt x="120" y="36"/>
                </a:moveTo>
                <a:cubicBezTo>
                  <a:pt x="113" y="36"/>
                  <a:pt x="108" y="31"/>
                  <a:pt x="108" y="24"/>
                </a:cubicBezTo>
                <a:cubicBezTo>
                  <a:pt x="108" y="17"/>
                  <a:pt x="113" y="12"/>
                  <a:pt x="120" y="12"/>
                </a:cubicBezTo>
                <a:cubicBezTo>
                  <a:pt x="127" y="12"/>
                  <a:pt x="132" y="17"/>
                  <a:pt x="132" y="24"/>
                </a:cubicBezTo>
                <a:cubicBezTo>
                  <a:pt x="132" y="31"/>
                  <a:pt x="127" y="36"/>
                  <a:pt x="120" y="36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62" name="Oval 119"/>
          <p:cNvSpPr>
            <a:spLocks noChangeArrowheads="1"/>
          </p:cNvSpPr>
          <p:nvPr/>
        </p:nvSpPr>
        <p:spPr bwMode="auto">
          <a:xfrm>
            <a:off x="1447800" y="4159251"/>
            <a:ext cx="69851" cy="677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63" name="Freeform 120"/>
          <p:cNvSpPr>
            <a:spLocks noEditPoints="1"/>
          </p:cNvSpPr>
          <p:nvPr/>
        </p:nvSpPr>
        <p:spPr bwMode="auto">
          <a:xfrm>
            <a:off x="1295401" y="4201584"/>
            <a:ext cx="488951" cy="448733"/>
          </a:xfrm>
          <a:custGeom>
            <a:avLst/>
            <a:gdLst>
              <a:gd name="T0" fmla="*/ 809328758 w 161"/>
              <a:gd name="T1" fmla="*/ 141522709 h 147"/>
              <a:gd name="T2" fmla="*/ 695194461 w 161"/>
              <a:gd name="T3" fmla="*/ 62898219 h 147"/>
              <a:gd name="T4" fmla="*/ 700380831 w 161"/>
              <a:gd name="T5" fmla="*/ 0 h 147"/>
              <a:gd name="T6" fmla="*/ 461732666 w 161"/>
              <a:gd name="T7" fmla="*/ 246354600 h 147"/>
              <a:gd name="T8" fmla="*/ 378725698 w 161"/>
              <a:gd name="T9" fmla="*/ 246354600 h 147"/>
              <a:gd name="T10" fmla="*/ 378725698 w 161"/>
              <a:gd name="T11" fmla="*/ 183456381 h 147"/>
              <a:gd name="T12" fmla="*/ 466921313 w 161"/>
              <a:gd name="T13" fmla="*/ 204423217 h 147"/>
              <a:gd name="T14" fmla="*/ 503237289 w 161"/>
              <a:gd name="T15" fmla="*/ 183456381 h 147"/>
              <a:gd name="T16" fmla="*/ 477296330 w 161"/>
              <a:gd name="T17" fmla="*/ 152006127 h 147"/>
              <a:gd name="T18" fmla="*/ 378725698 w 161"/>
              <a:gd name="T19" fmla="*/ 125798727 h 147"/>
              <a:gd name="T20" fmla="*/ 378725698 w 161"/>
              <a:gd name="T21" fmla="*/ 115315309 h 147"/>
              <a:gd name="T22" fmla="*/ 316468764 w 161"/>
              <a:gd name="T23" fmla="*/ 57657654 h 147"/>
              <a:gd name="T24" fmla="*/ 259400477 w 161"/>
              <a:gd name="T25" fmla="*/ 115315309 h 147"/>
              <a:gd name="T26" fmla="*/ 259400477 w 161"/>
              <a:gd name="T27" fmla="*/ 246354600 h 147"/>
              <a:gd name="T28" fmla="*/ 77820598 w 161"/>
              <a:gd name="T29" fmla="*/ 246354600 h 147"/>
              <a:gd name="T30" fmla="*/ 0 w 161"/>
              <a:gd name="T31" fmla="*/ 335462509 h 147"/>
              <a:gd name="T32" fmla="*/ 0 w 161"/>
              <a:gd name="T33" fmla="*/ 476985218 h 147"/>
              <a:gd name="T34" fmla="*/ 20752311 w 161"/>
              <a:gd name="T35" fmla="*/ 497952054 h 147"/>
              <a:gd name="T36" fmla="*/ 41504623 w 161"/>
              <a:gd name="T37" fmla="*/ 476985218 h 147"/>
              <a:gd name="T38" fmla="*/ 67443304 w 161"/>
              <a:gd name="T39" fmla="*/ 345945927 h 147"/>
              <a:gd name="T40" fmla="*/ 83009246 w 161"/>
              <a:gd name="T41" fmla="*/ 288288272 h 147"/>
              <a:gd name="T42" fmla="*/ 72631951 w 161"/>
              <a:gd name="T43" fmla="*/ 461261235 h 147"/>
              <a:gd name="T44" fmla="*/ 51879640 w 161"/>
              <a:gd name="T45" fmla="*/ 508435472 h 147"/>
              <a:gd name="T46" fmla="*/ 51879640 w 161"/>
              <a:gd name="T47" fmla="*/ 728582671 h 147"/>
              <a:gd name="T48" fmla="*/ 93384263 w 161"/>
              <a:gd name="T49" fmla="*/ 765275779 h 147"/>
              <a:gd name="T50" fmla="*/ 129700238 w 161"/>
              <a:gd name="T51" fmla="*/ 728582671 h 147"/>
              <a:gd name="T52" fmla="*/ 129700238 w 161"/>
              <a:gd name="T53" fmla="*/ 539885726 h 147"/>
              <a:gd name="T54" fmla="*/ 171204861 w 161"/>
              <a:gd name="T55" fmla="*/ 476985218 h 147"/>
              <a:gd name="T56" fmla="*/ 171204861 w 161"/>
              <a:gd name="T57" fmla="*/ 545126290 h 147"/>
              <a:gd name="T58" fmla="*/ 254211829 w 161"/>
              <a:gd name="T59" fmla="*/ 744308943 h 147"/>
              <a:gd name="T60" fmla="*/ 306093747 w 161"/>
              <a:gd name="T61" fmla="*/ 760032926 h 147"/>
              <a:gd name="T62" fmla="*/ 321657411 w 161"/>
              <a:gd name="T63" fmla="*/ 707618125 h 147"/>
              <a:gd name="T64" fmla="*/ 249025460 w 161"/>
              <a:gd name="T65" fmla="*/ 529402308 h 147"/>
              <a:gd name="T66" fmla="*/ 285341435 w 161"/>
              <a:gd name="T67" fmla="*/ 471744653 h 147"/>
              <a:gd name="T68" fmla="*/ 477296330 w 161"/>
              <a:gd name="T69" fmla="*/ 471744653 h 147"/>
              <a:gd name="T70" fmla="*/ 477296330 w 161"/>
              <a:gd name="T71" fmla="*/ 728582671 h 147"/>
              <a:gd name="T72" fmla="*/ 518800953 w 161"/>
              <a:gd name="T73" fmla="*/ 765275779 h 147"/>
              <a:gd name="T74" fmla="*/ 555116929 w 161"/>
              <a:gd name="T75" fmla="*/ 728582671 h 147"/>
              <a:gd name="T76" fmla="*/ 555116929 w 161"/>
              <a:gd name="T77" fmla="*/ 529402308 h 147"/>
              <a:gd name="T78" fmla="*/ 591432904 w 161"/>
              <a:gd name="T79" fmla="*/ 597543380 h 147"/>
              <a:gd name="T80" fmla="*/ 565494223 w 161"/>
              <a:gd name="T81" fmla="*/ 707618125 h 147"/>
              <a:gd name="T82" fmla="*/ 596621552 w 161"/>
              <a:gd name="T83" fmla="*/ 754792361 h 147"/>
              <a:gd name="T84" fmla="*/ 643312544 w 161"/>
              <a:gd name="T85" fmla="*/ 728582671 h 147"/>
              <a:gd name="T86" fmla="*/ 669253503 w 161"/>
              <a:gd name="T87" fmla="*/ 602783945 h 147"/>
              <a:gd name="T88" fmla="*/ 591432904 w 161"/>
              <a:gd name="T89" fmla="*/ 403603581 h 147"/>
              <a:gd name="T90" fmla="*/ 643312544 w 161"/>
              <a:gd name="T91" fmla="*/ 293531126 h 147"/>
              <a:gd name="T92" fmla="*/ 674442150 w 161"/>
              <a:gd name="T93" fmla="*/ 298771690 h 147"/>
              <a:gd name="T94" fmla="*/ 773012782 w 161"/>
              <a:gd name="T95" fmla="*/ 214906635 h 147"/>
              <a:gd name="T96" fmla="*/ 783390077 w 161"/>
              <a:gd name="T97" fmla="*/ 220147200 h 147"/>
              <a:gd name="T98" fmla="*/ 824894700 w 161"/>
              <a:gd name="T99" fmla="*/ 199180364 h 147"/>
              <a:gd name="T100" fmla="*/ 809328758 w 161"/>
              <a:gd name="T101" fmla="*/ 141522709 h 147"/>
              <a:gd name="T102" fmla="*/ 674442150 w 161"/>
              <a:gd name="T103" fmla="*/ 277804854 h 147"/>
              <a:gd name="T104" fmla="*/ 653689839 w 161"/>
              <a:gd name="T105" fmla="*/ 272564290 h 147"/>
              <a:gd name="T106" fmla="*/ 690005814 w 161"/>
              <a:gd name="T107" fmla="*/ 199180364 h 147"/>
              <a:gd name="T108" fmla="*/ 752260471 w 161"/>
              <a:gd name="T109" fmla="*/ 214906635 h 147"/>
              <a:gd name="T110" fmla="*/ 674442150 w 161"/>
              <a:gd name="T111" fmla="*/ 277804854 h 14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1" h="147">
                <a:moveTo>
                  <a:pt x="156" y="27"/>
                </a:moveTo>
                <a:cubicBezTo>
                  <a:pt x="134" y="12"/>
                  <a:pt x="134" y="12"/>
                  <a:pt x="134" y="12"/>
                </a:cubicBezTo>
                <a:cubicBezTo>
                  <a:pt x="134" y="12"/>
                  <a:pt x="139" y="0"/>
                  <a:pt x="135" y="0"/>
                </a:cubicBezTo>
                <a:cubicBezTo>
                  <a:pt x="117" y="18"/>
                  <a:pt x="89" y="47"/>
                  <a:pt x="89" y="47"/>
                </a:cubicBezTo>
                <a:cubicBezTo>
                  <a:pt x="73" y="47"/>
                  <a:pt x="73" y="47"/>
                  <a:pt x="73" y="47"/>
                </a:cubicBezTo>
                <a:cubicBezTo>
                  <a:pt x="73" y="35"/>
                  <a:pt x="73" y="35"/>
                  <a:pt x="73" y="35"/>
                </a:cubicBezTo>
                <a:cubicBezTo>
                  <a:pt x="90" y="39"/>
                  <a:pt x="90" y="39"/>
                  <a:pt x="90" y="39"/>
                </a:cubicBezTo>
                <a:cubicBezTo>
                  <a:pt x="93" y="40"/>
                  <a:pt x="96" y="38"/>
                  <a:pt x="97" y="35"/>
                </a:cubicBezTo>
                <a:cubicBezTo>
                  <a:pt x="97" y="32"/>
                  <a:pt x="95" y="29"/>
                  <a:pt x="92" y="29"/>
                </a:cubicBezTo>
                <a:cubicBezTo>
                  <a:pt x="73" y="24"/>
                  <a:pt x="73" y="24"/>
                  <a:pt x="73" y="24"/>
                </a:cubicBezTo>
                <a:cubicBezTo>
                  <a:pt x="73" y="22"/>
                  <a:pt x="73" y="22"/>
                  <a:pt x="73" y="22"/>
                </a:cubicBezTo>
                <a:cubicBezTo>
                  <a:pt x="73" y="16"/>
                  <a:pt x="67" y="11"/>
                  <a:pt x="61" y="11"/>
                </a:cubicBezTo>
                <a:cubicBezTo>
                  <a:pt x="55" y="11"/>
                  <a:pt x="50" y="16"/>
                  <a:pt x="50" y="22"/>
                </a:cubicBezTo>
                <a:cubicBezTo>
                  <a:pt x="50" y="47"/>
                  <a:pt x="50" y="47"/>
                  <a:pt x="50" y="47"/>
                </a:cubicBezTo>
                <a:cubicBezTo>
                  <a:pt x="15" y="47"/>
                  <a:pt x="15" y="47"/>
                  <a:pt x="15" y="47"/>
                </a:cubicBezTo>
                <a:cubicBezTo>
                  <a:pt x="6" y="47"/>
                  <a:pt x="0" y="55"/>
                  <a:pt x="0" y="64"/>
                </a:cubicBezTo>
                <a:cubicBezTo>
                  <a:pt x="0" y="91"/>
                  <a:pt x="0" y="91"/>
                  <a:pt x="0" y="91"/>
                </a:cubicBezTo>
                <a:cubicBezTo>
                  <a:pt x="0" y="91"/>
                  <a:pt x="0" y="95"/>
                  <a:pt x="4" y="95"/>
                </a:cubicBezTo>
                <a:cubicBezTo>
                  <a:pt x="7" y="95"/>
                  <a:pt x="8" y="91"/>
                  <a:pt x="8" y="91"/>
                </a:cubicBezTo>
                <a:cubicBezTo>
                  <a:pt x="13" y="66"/>
                  <a:pt x="13" y="66"/>
                  <a:pt x="13" y="66"/>
                </a:cubicBezTo>
                <a:cubicBezTo>
                  <a:pt x="16" y="55"/>
                  <a:pt x="16" y="55"/>
                  <a:pt x="16" y="55"/>
                </a:cubicBezTo>
                <a:cubicBezTo>
                  <a:pt x="14" y="88"/>
                  <a:pt x="14" y="88"/>
                  <a:pt x="14" y="88"/>
                </a:cubicBezTo>
                <a:cubicBezTo>
                  <a:pt x="10" y="97"/>
                  <a:pt x="10" y="97"/>
                  <a:pt x="10" y="97"/>
                </a:cubicBezTo>
                <a:cubicBezTo>
                  <a:pt x="10" y="139"/>
                  <a:pt x="10" y="139"/>
                  <a:pt x="10" y="139"/>
                </a:cubicBezTo>
                <a:cubicBezTo>
                  <a:pt x="10" y="143"/>
                  <a:pt x="14" y="146"/>
                  <a:pt x="18" y="146"/>
                </a:cubicBezTo>
                <a:cubicBezTo>
                  <a:pt x="22" y="146"/>
                  <a:pt x="25" y="143"/>
                  <a:pt x="25" y="139"/>
                </a:cubicBezTo>
                <a:cubicBezTo>
                  <a:pt x="25" y="103"/>
                  <a:pt x="25" y="103"/>
                  <a:pt x="25" y="103"/>
                </a:cubicBezTo>
                <a:cubicBezTo>
                  <a:pt x="33" y="91"/>
                  <a:pt x="33" y="91"/>
                  <a:pt x="33" y="91"/>
                </a:cubicBezTo>
                <a:cubicBezTo>
                  <a:pt x="33" y="104"/>
                  <a:pt x="33" y="104"/>
                  <a:pt x="33" y="104"/>
                </a:cubicBezTo>
                <a:cubicBezTo>
                  <a:pt x="49" y="142"/>
                  <a:pt x="49" y="142"/>
                  <a:pt x="49" y="142"/>
                </a:cubicBezTo>
                <a:cubicBezTo>
                  <a:pt x="51" y="146"/>
                  <a:pt x="56" y="147"/>
                  <a:pt x="59" y="145"/>
                </a:cubicBezTo>
                <a:cubicBezTo>
                  <a:pt x="63" y="143"/>
                  <a:pt x="64" y="139"/>
                  <a:pt x="62" y="135"/>
                </a:cubicBezTo>
                <a:cubicBezTo>
                  <a:pt x="48" y="101"/>
                  <a:pt x="48" y="101"/>
                  <a:pt x="48" y="101"/>
                </a:cubicBezTo>
                <a:cubicBezTo>
                  <a:pt x="55" y="90"/>
                  <a:pt x="55" y="90"/>
                  <a:pt x="55" y="90"/>
                </a:cubicBezTo>
                <a:cubicBezTo>
                  <a:pt x="92" y="90"/>
                  <a:pt x="92" y="90"/>
                  <a:pt x="92" y="90"/>
                </a:cubicBezTo>
                <a:cubicBezTo>
                  <a:pt x="92" y="139"/>
                  <a:pt x="92" y="139"/>
                  <a:pt x="92" y="139"/>
                </a:cubicBezTo>
                <a:cubicBezTo>
                  <a:pt x="92" y="143"/>
                  <a:pt x="96" y="146"/>
                  <a:pt x="100" y="146"/>
                </a:cubicBezTo>
                <a:cubicBezTo>
                  <a:pt x="104" y="146"/>
                  <a:pt x="107" y="143"/>
                  <a:pt x="107" y="139"/>
                </a:cubicBezTo>
                <a:cubicBezTo>
                  <a:pt x="107" y="101"/>
                  <a:pt x="107" y="101"/>
                  <a:pt x="107" y="101"/>
                </a:cubicBezTo>
                <a:cubicBezTo>
                  <a:pt x="111" y="108"/>
                  <a:pt x="114" y="114"/>
                  <a:pt x="114" y="114"/>
                </a:cubicBezTo>
                <a:cubicBezTo>
                  <a:pt x="109" y="135"/>
                  <a:pt x="109" y="135"/>
                  <a:pt x="109" y="135"/>
                </a:cubicBezTo>
                <a:cubicBezTo>
                  <a:pt x="108" y="140"/>
                  <a:pt x="111" y="143"/>
                  <a:pt x="115" y="144"/>
                </a:cubicBezTo>
                <a:cubicBezTo>
                  <a:pt x="119" y="145"/>
                  <a:pt x="123" y="143"/>
                  <a:pt x="124" y="139"/>
                </a:cubicBezTo>
                <a:cubicBezTo>
                  <a:pt x="129" y="115"/>
                  <a:pt x="129" y="115"/>
                  <a:pt x="129" y="115"/>
                </a:cubicBezTo>
                <a:cubicBezTo>
                  <a:pt x="114" y="77"/>
                  <a:pt x="114" y="77"/>
                  <a:pt x="114" y="77"/>
                </a:cubicBezTo>
                <a:cubicBezTo>
                  <a:pt x="124" y="56"/>
                  <a:pt x="124" y="56"/>
                  <a:pt x="124" y="56"/>
                </a:cubicBezTo>
                <a:cubicBezTo>
                  <a:pt x="126" y="56"/>
                  <a:pt x="128" y="57"/>
                  <a:pt x="130" y="57"/>
                </a:cubicBezTo>
                <a:cubicBezTo>
                  <a:pt x="139" y="57"/>
                  <a:pt x="147" y="50"/>
                  <a:pt x="149" y="41"/>
                </a:cubicBezTo>
                <a:cubicBezTo>
                  <a:pt x="151" y="42"/>
                  <a:pt x="151" y="42"/>
                  <a:pt x="151" y="42"/>
                </a:cubicBezTo>
                <a:cubicBezTo>
                  <a:pt x="154" y="42"/>
                  <a:pt x="158" y="41"/>
                  <a:pt x="159" y="38"/>
                </a:cubicBezTo>
                <a:cubicBezTo>
                  <a:pt x="161" y="34"/>
                  <a:pt x="160" y="29"/>
                  <a:pt x="156" y="27"/>
                </a:cubicBezTo>
                <a:close/>
                <a:moveTo>
                  <a:pt x="130" y="53"/>
                </a:moveTo>
                <a:cubicBezTo>
                  <a:pt x="129" y="53"/>
                  <a:pt x="127" y="52"/>
                  <a:pt x="126" y="52"/>
                </a:cubicBezTo>
                <a:cubicBezTo>
                  <a:pt x="133" y="38"/>
                  <a:pt x="133" y="38"/>
                  <a:pt x="133" y="38"/>
                </a:cubicBezTo>
                <a:cubicBezTo>
                  <a:pt x="145" y="41"/>
                  <a:pt x="145" y="41"/>
                  <a:pt x="145" y="41"/>
                </a:cubicBezTo>
                <a:cubicBezTo>
                  <a:pt x="143" y="48"/>
                  <a:pt x="137" y="53"/>
                  <a:pt x="130" y="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64" name="Oval 121"/>
          <p:cNvSpPr>
            <a:spLocks noChangeArrowheads="1"/>
          </p:cNvSpPr>
          <p:nvPr/>
        </p:nvSpPr>
        <p:spPr bwMode="auto">
          <a:xfrm>
            <a:off x="2396067" y="4146551"/>
            <a:ext cx="86784" cy="867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65" name="Freeform 122"/>
          <p:cNvSpPr>
            <a:spLocks/>
          </p:cNvSpPr>
          <p:nvPr/>
        </p:nvSpPr>
        <p:spPr bwMode="auto">
          <a:xfrm>
            <a:off x="2279651" y="4241801"/>
            <a:ext cx="91016" cy="158751"/>
          </a:xfrm>
          <a:custGeom>
            <a:avLst/>
            <a:gdLst>
              <a:gd name="T0" fmla="*/ 150149095 w 30"/>
              <a:gd name="T1" fmla="*/ 41939942 h 52"/>
              <a:gd name="T2" fmla="*/ 139793750 w 30"/>
              <a:gd name="T3" fmla="*/ 20971116 h 52"/>
              <a:gd name="T4" fmla="*/ 77663953 w 30"/>
              <a:gd name="T5" fmla="*/ 5243351 h 52"/>
              <a:gd name="T6" fmla="*/ 51774452 w 30"/>
              <a:gd name="T7" fmla="*/ 20971116 h 52"/>
              <a:gd name="T8" fmla="*/ 5176535 w 30"/>
              <a:gd name="T9" fmla="*/ 230675404 h 52"/>
              <a:gd name="T10" fmla="*/ 20710691 w 30"/>
              <a:gd name="T11" fmla="*/ 251644230 h 52"/>
              <a:gd name="T12" fmla="*/ 77663953 w 30"/>
              <a:gd name="T13" fmla="*/ 267371994 h 52"/>
              <a:gd name="T14" fmla="*/ 103551179 w 30"/>
              <a:gd name="T15" fmla="*/ 251644230 h 52"/>
              <a:gd name="T16" fmla="*/ 150149095 w 30"/>
              <a:gd name="T17" fmla="*/ 41939942 h 5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0" h="52">
                <a:moveTo>
                  <a:pt x="29" y="8"/>
                </a:moveTo>
                <a:cubicBezTo>
                  <a:pt x="30" y="6"/>
                  <a:pt x="29" y="4"/>
                  <a:pt x="27" y="4"/>
                </a:cubicBezTo>
                <a:cubicBezTo>
                  <a:pt x="15" y="1"/>
                  <a:pt x="15" y="1"/>
                  <a:pt x="15" y="1"/>
                </a:cubicBezTo>
                <a:cubicBezTo>
                  <a:pt x="13" y="0"/>
                  <a:pt x="11" y="2"/>
                  <a:pt x="10" y="4"/>
                </a:cubicBezTo>
                <a:cubicBezTo>
                  <a:pt x="1" y="44"/>
                  <a:pt x="1" y="44"/>
                  <a:pt x="1" y="44"/>
                </a:cubicBezTo>
                <a:cubicBezTo>
                  <a:pt x="0" y="46"/>
                  <a:pt x="1" y="48"/>
                  <a:pt x="4" y="48"/>
                </a:cubicBezTo>
                <a:cubicBezTo>
                  <a:pt x="15" y="51"/>
                  <a:pt x="15" y="51"/>
                  <a:pt x="15" y="51"/>
                </a:cubicBezTo>
                <a:cubicBezTo>
                  <a:pt x="17" y="52"/>
                  <a:pt x="19" y="51"/>
                  <a:pt x="20" y="48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66" name="Freeform 123"/>
          <p:cNvSpPr>
            <a:spLocks/>
          </p:cNvSpPr>
          <p:nvPr/>
        </p:nvSpPr>
        <p:spPr bwMode="auto">
          <a:xfrm>
            <a:off x="2294467" y="4237567"/>
            <a:ext cx="273051" cy="444500"/>
          </a:xfrm>
          <a:custGeom>
            <a:avLst/>
            <a:gdLst>
              <a:gd name="T0" fmla="*/ 465979166 w 90"/>
              <a:gd name="T1" fmla="*/ 234625215 h 146"/>
              <a:gd name="T2" fmla="*/ 450447134 w 90"/>
              <a:gd name="T3" fmla="*/ 203340483 h 146"/>
              <a:gd name="T4" fmla="*/ 455623720 w 90"/>
              <a:gd name="T5" fmla="*/ 72993141 h 146"/>
              <a:gd name="T6" fmla="*/ 455623720 w 90"/>
              <a:gd name="T7" fmla="*/ 72993141 h 146"/>
              <a:gd name="T8" fmla="*/ 434912826 w 90"/>
              <a:gd name="T9" fmla="*/ 57351917 h 146"/>
              <a:gd name="T10" fmla="*/ 419380794 w 90"/>
              <a:gd name="T11" fmla="*/ 72993141 h 146"/>
              <a:gd name="T12" fmla="*/ 419380794 w 90"/>
              <a:gd name="T13" fmla="*/ 192912239 h 146"/>
              <a:gd name="T14" fmla="*/ 326186326 w 90"/>
              <a:gd name="T15" fmla="*/ 172058034 h 146"/>
              <a:gd name="T16" fmla="*/ 300296572 w 90"/>
              <a:gd name="T17" fmla="*/ 62567181 h 146"/>
              <a:gd name="T18" fmla="*/ 227812997 w 90"/>
              <a:gd name="T19" fmla="*/ 0 h 146"/>
              <a:gd name="T20" fmla="*/ 155327147 w 90"/>
              <a:gd name="T21" fmla="*/ 57351917 h 146"/>
              <a:gd name="T22" fmla="*/ 0 w 90"/>
              <a:gd name="T23" fmla="*/ 698658098 h 146"/>
              <a:gd name="T24" fmla="*/ 0 w 90"/>
              <a:gd name="T25" fmla="*/ 709086342 h 146"/>
              <a:gd name="T26" fmla="*/ 51774957 w 90"/>
              <a:gd name="T27" fmla="*/ 761225278 h 146"/>
              <a:gd name="T28" fmla="*/ 98373329 w 90"/>
              <a:gd name="T29" fmla="*/ 724727566 h 146"/>
              <a:gd name="T30" fmla="*/ 186391211 w 90"/>
              <a:gd name="T31" fmla="*/ 364970273 h 146"/>
              <a:gd name="T32" fmla="*/ 269232508 w 90"/>
              <a:gd name="T33" fmla="*/ 719514586 h 146"/>
              <a:gd name="T34" fmla="*/ 315830880 w 90"/>
              <a:gd name="T35" fmla="*/ 761225278 h 146"/>
              <a:gd name="T36" fmla="*/ 367605837 w 90"/>
              <a:gd name="T37" fmla="*/ 709086342 h 146"/>
              <a:gd name="T38" fmla="*/ 367605837 w 90"/>
              <a:gd name="T39" fmla="*/ 698658098 h 146"/>
              <a:gd name="T40" fmla="*/ 253700476 w 90"/>
              <a:gd name="T41" fmla="*/ 224196971 h 146"/>
              <a:gd name="T42" fmla="*/ 264055923 w 90"/>
              <a:gd name="T43" fmla="*/ 182486278 h 146"/>
              <a:gd name="T44" fmla="*/ 269232508 w 90"/>
              <a:gd name="T45" fmla="*/ 213768727 h 146"/>
              <a:gd name="T46" fmla="*/ 295119987 w 90"/>
              <a:gd name="T47" fmla="*/ 239838195 h 146"/>
              <a:gd name="T48" fmla="*/ 419380794 w 90"/>
              <a:gd name="T49" fmla="*/ 265907664 h 146"/>
              <a:gd name="T50" fmla="*/ 403848762 w 90"/>
              <a:gd name="T51" fmla="*/ 740368790 h 146"/>
              <a:gd name="T52" fmla="*/ 403848762 w 90"/>
              <a:gd name="T53" fmla="*/ 740368790 h 146"/>
              <a:gd name="T54" fmla="*/ 424559655 w 90"/>
              <a:gd name="T55" fmla="*/ 756012298 h 146"/>
              <a:gd name="T56" fmla="*/ 434912826 w 90"/>
              <a:gd name="T57" fmla="*/ 740368790 h 146"/>
              <a:gd name="T58" fmla="*/ 450447134 w 90"/>
              <a:gd name="T59" fmla="*/ 265907664 h 146"/>
              <a:gd name="T60" fmla="*/ 465979166 w 90"/>
              <a:gd name="T61" fmla="*/ 234625215 h 14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90" h="146">
                <a:moveTo>
                  <a:pt x="90" y="45"/>
                </a:moveTo>
                <a:cubicBezTo>
                  <a:pt x="90" y="42"/>
                  <a:pt x="89" y="40"/>
                  <a:pt x="87" y="39"/>
                </a:cubicBezTo>
                <a:cubicBezTo>
                  <a:pt x="88" y="14"/>
                  <a:pt x="88" y="14"/>
                  <a:pt x="88" y="14"/>
                </a:cubicBezTo>
                <a:cubicBezTo>
                  <a:pt x="88" y="14"/>
                  <a:pt x="88" y="14"/>
                  <a:pt x="88" y="14"/>
                </a:cubicBezTo>
                <a:cubicBezTo>
                  <a:pt x="87" y="12"/>
                  <a:pt x="86" y="11"/>
                  <a:pt x="84" y="11"/>
                </a:cubicBezTo>
                <a:cubicBezTo>
                  <a:pt x="83" y="11"/>
                  <a:pt x="82" y="13"/>
                  <a:pt x="81" y="14"/>
                </a:cubicBezTo>
                <a:cubicBezTo>
                  <a:pt x="81" y="37"/>
                  <a:pt x="81" y="37"/>
                  <a:pt x="81" y="37"/>
                </a:cubicBezTo>
                <a:cubicBezTo>
                  <a:pt x="63" y="33"/>
                  <a:pt x="63" y="33"/>
                  <a:pt x="63" y="33"/>
                </a:cubicBezTo>
                <a:cubicBezTo>
                  <a:pt x="58" y="12"/>
                  <a:pt x="58" y="12"/>
                  <a:pt x="58" y="12"/>
                </a:cubicBezTo>
                <a:cubicBezTo>
                  <a:pt x="55" y="0"/>
                  <a:pt x="44" y="0"/>
                  <a:pt x="44" y="0"/>
                </a:cubicBezTo>
                <a:cubicBezTo>
                  <a:pt x="33" y="0"/>
                  <a:pt x="30" y="11"/>
                  <a:pt x="30" y="11"/>
                </a:cubicBezTo>
                <a:cubicBezTo>
                  <a:pt x="0" y="134"/>
                  <a:pt x="0" y="134"/>
                  <a:pt x="0" y="134"/>
                </a:cubicBezTo>
                <a:cubicBezTo>
                  <a:pt x="0" y="135"/>
                  <a:pt x="0" y="135"/>
                  <a:pt x="0" y="136"/>
                </a:cubicBezTo>
                <a:cubicBezTo>
                  <a:pt x="0" y="141"/>
                  <a:pt x="5" y="146"/>
                  <a:pt x="10" y="146"/>
                </a:cubicBezTo>
                <a:cubicBezTo>
                  <a:pt x="14" y="146"/>
                  <a:pt x="18" y="143"/>
                  <a:pt x="19" y="139"/>
                </a:cubicBezTo>
                <a:cubicBezTo>
                  <a:pt x="36" y="70"/>
                  <a:pt x="36" y="70"/>
                  <a:pt x="36" y="70"/>
                </a:cubicBezTo>
                <a:cubicBezTo>
                  <a:pt x="52" y="138"/>
                  <a:pt x="52" y="138"/>
                  <a:pt x="52" y="138"/>
                </a:cubicBezTo>
                <a:cubicBezTo>
                  <a:pt x="53" y="143"/>
                  <a:pt x="57" y="146"/>
                  <a:pt x="61" y="146"/>
                </a:cubicBezTo>
                <a:cubicBezTo>
                  <a:pt x="67" y="146"/>
                  <a:pt x="71" y="141"/>
                  <a:pt x="71" y="136"/>
                </a:cubicBezTo>
                <a:cubicBezTo>
                  <a:pt x="71" y="135"/>
                  <a:pt x="71" y="135"/>
                  <a:pt x="71" y="134"/>
                </a:cubicBezTo>
                <a:cubicBezTo>
                  <a:pt x="49" y="43"/>
                  <a:pt x="49" y="43"/>
                  <a:pt x="49" y="43"/>
                </a:cubicBezTo>
                <a:cubicBezTo>
                  <a:pt x="51" y="35"/>
                  <a:pt x="51" y="35"/>
                  <a:pt x="51" y="35"/>
                </a:cubicBezTo>
                <a:cubicBezTo>
                  <a:pt x="52" y="41"/>
                  <a:pt x="52" y="41"/>
                  <a:pt x="52" y="41"/>
                </a:cubicBezTo>
                <a:cubicBezTo>
                  <a:pt x="54" y="45"/>
                  <a:pt x="57" y="46"/>
                  <a:pt x="57" y="46"/>
                </a:cubicBezTo>
                <a:cubicBezTo>
                  <a:pt x="81" y="51"/>
                  <a:pt x="81" y="51"/>
                  <a:pt x="81" y="51"/>
                </a:cubicBezTo>
                <a:cubicBezTo>
                  <a:pt x="78" y="142"/>
                  <a:pt x="78" y="142"/>
                  <a:pt x="78" y="142"/>
                </a:cubicBezTo>
                <a:cubicBezTo>
                  <a:pt x="78" y="142"/>
                  <a:pt x="78" y="142"/>
                  <a:pt x="78" y="142"/>
                </a:cubicBezTo>
                <a:cubicBezTo>
                  <a:pt x="78" y="144"/>
                  <a:pt x="80" y="145"/>
                  <a:pt x="82" y="145"/>
                </a:cubicBezTo>
                <a:cubicBezTo>
                  <a:pt x="83" y="144"/>
                  <a:pt x="84" y="143"/>
                  <a:pt x="84" y="142"/>
                </a:cubicBezTo>
                <a:cubicBezTo>
                  <a:pt x="87" y="51"/>
                  <a:pt x="87" y="51"/>
                  <a:pt x="87" y="51"/>
                </a:cubicBezTo>
                <a:cubicBezTo>
                  <a:pt x="89" y="50"/>
                  <a:pt x="90" y="47"/>
                  <a:pt x="90" y="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67" name="Oval 124"/>
          <p:cNvSpPr>
            <a:spLocks noChangeArrowheads="1"/>
          </p:cNvSpPr>
          <p:nvPr/>
        </p:nvSpPr>
        <p:spPr bwMode="auto">
          <a:xfrm>
            <a:off x="3198284" y="4135967"/>
            <a:ext cx="93133" cy="931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68" name="Freeform 125"/>
          <p:cNvSpPr>
            <a:spLocks/>
          </p:cNvSpPr>
          <p:nvPr/>
        </p:nvSpPr>
        <p:spPr bwMode="auto">
          <a:xfrm>
            <a:off x="3200401" y="4235451"/>
            <a:ext cx="325967" cy="361949"/>
          </a:xfrm>
          <a:custGeom>
            <a:avLst/>
            <a:gdLst>
              <a:gd name="T0" fmla="*/ 464612171 w 107"/>
              <a:gd name="T1" fmla="*/ 588036878 h 119"/>
              <a:gd name="T2" fmla="*/ 532477974 w 107"/>
              <a:gd name="T3" fmla="*/ 603647084 h 119"/>
              <a:gd name="T4" fmla="*/ 548138083 w 107"/>
              <a:gd name="T5" fmla="*/ 541201699 h 119"/>
              <a:gd name="T6" fmla="*/ 407187964 w 107"/>
              <a:gd name="T7" fmla="*/ 301824683 h 119"/>
              <a:gd name="T8" fmla="*/ 370646948 w 107"/>
              <a:gd name="T9" fmla="*/ 281008794 h 119"/>
              <a:gd name="T10" fmla="*/ 167051824 w 107"/>
              <a:gd name="T11" fmla="*/ 281008794 h 119"/>
              <a:gd name="T12" fmla="*/ 167051824 w 107"/>
              <a:gd name="T13" fmla="*/ 208154324 h 119"/>
              <a:gd name="T14" fmla="*/ 313222741 w 107"/>
              <a:gd name="T15" fmla="*/ 208154324 h 119"/>
              <a:gd name="T16" fmla="*/ 349763757 w 107"/>
              <a:gd name="T17" fmla="*/ 171728230 h 119"/>
              <a:gd name="T18" fmla="*/ 313222741 w 107"/>
              <a:gd name="T19" fmla="*/ 135299854 h 119"/>
              <a:gd name="T20" fmla="*/ 161831026 w 107"/>
              <a:gd name="T21" fmla="*/ 135299854 h 119"/>
              <a:gd name="T22" fmla="*/ 156610228 w 107"/>
              <a:gd name="T23" fmla="*/ 78057872 h 119"/>
              <a:gd name="T24" fmla="*/ 73084316 w 107"/>
              <a:gd name="T25" fmla="*/ 5203402 h 119"/>
              <a:gd name="T26" fmla="*/ 0 w 107"/>
              <a:gd name="T27" fmla="*/ 88464675 h 119"/>
              <a:gd name="T28" fmla="*/ 15660109 w 107"/>
              <a:gd name="T29" fmla="*/ 333047375 h 119"/>
              <a:gd name="T30" fmla="*/ 99186021 w 107"/>
              <a:gd name="T31" fmla="*/ 405901845 h 119"/>
              <a:gd name="T32" fmla="*/ 360205352 w 107"/>
              <a:gd name="T33" fmla="*/ 405901845 h 119"/>
              <a:gd name="T34" fmla="*/ 464612171 w 107"/>
              <a:gd name="T35" fmla="*/ 588036878 h 11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107" h="119">
                <a:moveTo>
                  <a:pt x="89" y="113"/>
                </a:moveTo>
                <a:cubicBezTo>
                  <a:pt x="92" y="117"/>
                  <a:pt x="97" y="119"/>
                  <a:pt x="102" y="116"/>
                </a:cubicBezTo>
                <a:cubicBezTo>
                  <a:pt x="106" y="114"/>
                  <a:pt x="107" y="108"/>
                  <a:pt x="105" y="104"/>
                </a:cubicBezTo>
                <a:cubicBezTo>
                  <a:pt x="78" y="58"/>
                  <a:pt x="78" y="58"/>
                  <a:pt x="78" y="58"/>
                </a:cubicBezTo>
                <a:cubicBezTo>
                  <a:pt x="77" y="56"/>
                  <a:pt x="74" y="54"/>
                  <a:pt x="71" y="54"/>
                </a:cubicBezTo>
                <a:cubicBezTo>
                  <a:pt x="32" y="54"/>
                  <a:pt x="32" y="54"/>
                  <a:pt x="32" y="54"/>
                </a:cubicBezTo>
                <a:cubicBezTo>
                  <a:pt x="32" y="40"/>
                  <a:pt x="32" y="40"/>
                  <a:pt x="32" y="40"/>
                </a:cubicBezTo>
                <a:cubicBezTo>
                  <a:pt x="60" y="40"/>
                  <a:pt x="60" y="40"/>
                  <a:pt x="60" y="40"/>
                </a:cubicBezTo>
                <a:cubicBezTo>
                  <a:pt x="64" y="40"/>
                  <a:pt x="67" y="37"/>
                  <a:pt x="67" y="33"/>
                </a:cubicBezTo>
                <a:cubicBezTo>
                  <a:pt x="67" y="29"/>
                  <a:pt x="64" y="26"/>
                  <a:pt x="60" y="26"/>
                </a:cubicBezTo>
                <a:cubicBezTo>
                  <a:pt x="31" y="26"/>
                  <a:pt x="31" y="26"/>
                  <a:pt x="31" y="26"/>
                </a:cubicBezTo>
                <a:cubicBezTo>
                  <a:pt x="30" y="15"/>
                  <a:pt x="30" y="15"/>
                  <a:pt x="30" y="15"/>
                </a:cubicBezTo>
                <a:cubicBezTo>
                  <a:pt x="30" y="7"/>
                  <a:pt x="23" y="0"/>
                  <a:pt x="14" y="1"/>
                </a:cubicBezTo>
                <a:cubicBezTo>
                  <a:pt x="6" y="1"/>
                  <a:pt x="0" y="8"/>
                  <a:pt x="0" y="17"/>
                </a:cubicBezTo>
                <a:cubicBezTo>
                  <a:pt x="3" y="64"/>
                  <a:pt x="3" y="64"/>
                  <a:pt x="3" y="64"/>
                </a:cubicBezTo>
                <a:cubicBezTo>
                  <a:pt x="4" y="72"/>
                  <a:pt x="11" y="78"/>
                  <a:pt x="19" y="78"/>
                </a:cubicBezTo>
                <a:cubicBezTo>
                  <a:pt x="69" y="78"/>
                  <a:pt x="69" y="78"/>
                  <a:pt x="69" y="78"/>
                </a:cubicBezTo>
                <a:lnTo>
                  <a:pt x="89" y="1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69" name="Freeform 126"/>
          <p:cNvSpPr>
            <a:spLocks/>
          </p:cNvSpPr>
          <p:nvPr/>
        </p:nvSpPr>
        <p:spPr bwMode="auto">
          <a:xfrm>
            <a:off x="3098801" y="4345518"/>
            <a:ext cx="336551" cy="325967"/>
          </a:xfrm>
          <a:custGeom>
            <a:avLst/>
            <a:gdLst>
              <a:gd name="T0" fmla="*/ 299918946 w 111"/>
              <a:gd name="T1" fmla="*/ 495934674 h 107"/>
              <a:gd name="T2" fmla="*/ 62052666 w 111"/>
              <a:gd name="T3" fmla="*/ 255798534 h 107"/>
              <a:gd name="T4" fmla="*/ 144789554 w 111"/>
              <a:gd name="T5" fmla="*/ 73084316 h 107"/>
              <a:gd name="T6" fmla="*/ 139618499 w 111"/>
              <a:gd name="T7" fmla="*/ 0 h 107"/>
              <a:gd name="T8" fmla="*/ 0 w 111"/>
              <a:gd name="T9" fmla="*/ 255798534 h 107"/>
              <a:gd name="T10" fmla="*/ 299918946 w 111"/>
              <a:gd name="T11" fmla="*/ 558579679 h 107"/>
              <a:gd name="T12" fmla="*/ 573984888 w 111"/>
              <a:gd name="T13" fmla="*/ 375867746 h 107"/>
              <a:gd name="T14" fmla="*/ 532616444 w 111"/>
              <a:gd name="T15" fmla="*/ 302781145 h 107"/>
              <a:gd name="T16" fmla="*/ 299918946 w 111"/>
              <a:gd name="T17" fmla="*/ 495934674 h 10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11" h="107">
                <a:moveTo>
                  <a:pt x="58" y="95"/>
                </a:moveTo>
                <a:cubicBezTo>
                  <a:pt x="33" y="95"/>
                  <a:pt x="12" y="74"/>
                  <a:pt x="12" y="49"/>
                </a:cubicBezTo>
                <a:cubicBezTo>
                  <a:pt x="12" y="35"/>
                  <a:pt x="19" y="22"/>
                  <a:pt x="28" y="14"/>
                </a:cubicBezTo>
                <a:cubicBezTo>
                  <a:pt x="27" y="0"/>
                  <a:pt x="27" y="0"/>
                  <a:pt x="27" y="0"/>
                </a:cubicBezTo>
                <a:cubicBezTo>
                  <a:pt x="11" y="10"/>
                  <a:pt x="0" y="28"/>
                  <a:pt x="0" y="49"/>
                </a:cubicBezTo>
                <a:cubicBezTo>
                  <a:pt x="0" y="81"/>
                  <a:pt x="26" y="107"/>
                  <a:pt x="58" y="107"/>
                </a:cubicBezTo>
                <a:cubicBezTo>
                  <a:pt x="82" y="107"/>
                  <a:pt x="102" y="93"/>
                  <a:pt x="111" y="72"/>
                </a:cubicBezTo>
                <a:cubicBezTo>
                  <a:pt x="103" y="58"/>
                  <a:pt x="103" y="58"/>
                  <a:pt x="103" y="58"/>
                </a:cubicBezTo>
                <a:cubicBezTo>
                  <a:pt x="98" y="79"/>
                  <a:pt x="80" y="95"/>
                  <a:pt x="58" y="95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70" name="Freeform 127"/>
          <p:cNvSpPr>
            <a:spLocks/>
          </p:cNvSpPr>
          <p:nvPr/>
        </p:nvSpPr>
        <p:spPr bwMode="auto">
          <a:xfrm>
            <a:off x="4254500" y="4379385"/>
            <a:ext cx="196851" cy="222249"/>
          </a:xfrm>
          <a:custGeom>
            <a:avLst/>
            <a:gdLst>
              <a:gd name="T0" fmla="*/ 139295317 w 65"/>
              <a:gd name="T1" fmla="*/ 364971462 h 73"/>
              <a:gd name="T2" fmla="*/ 25795766 w 65"/>
              <a:gd name="T3" fmla="*/ 255478653 h 73"/>
              <a:gd name="T4" fmla="*/ 72226781 w 65"/>
              <a:gd name="T5" fmla="*/ 208555121 h 73"/>
              <a:gd name="T6" fmla="*/ 128976557 w 65"/>
              <a:gd name="T7" fmla="*/ 265906866 h 73"/>
              <a:gd name="T8" fmla="*/ 128976557 w 65"/>
              <a:gd name="T9" fmla="*/ 46925816 h 73"/>
              <a:gd name="T10" fmla="*/ 201203338 w 65"/>
              <a:gd name="T11" fmla="*/ 52138780 h 73"/>
              <a:gd name="T12" fmla="*/ 201203338 w 65"/>
              <a:gd name="T13" fmla="*/ 265906866 h 73"/>
              <a:gd name="T14" fmla="*/ 252792598 w 65"/>
              <a:gd name="T15" fmla="*/ 208555121 h 73"/>
              <a:gd name="T16" fmla="*/ 299225884 w 65"/>
              <a:gd name="T17" fmla="*/ 255478653 h 73"/>
              <a:gd name="T18" fmla="*/ 190884577 w 65"/>
              <a:gd name="T19" fmla="*/ 364971462 h 73"/>
              <a:gd name="T20" fmla="*/ 139295317 w 65"/>
              <a:gd name="T21" fmla="*/ 364971462 h 7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65" h="73">
                <a:moveTo>
                  <a:pt x="27" y="70"/>
                </a:moveTo>
                <a:cubicBezTo>
                  <a:pt x="5" y="49"/>
                  <a:pt x="5" y="49"/>
                  <a:pt x="5" y="49"/>
                </a:cubicBezTo>
                <a:cubicBezTo>
                  <a:pt x="0" y="43"/>
                  <a:pt x="8" y="34"/>
                  <a:pt x="14" y="40"/>
                </a:cubicBezTo>
                <a:cubicBezTo>
                  <a:pt x="25" y="51"/>
                  <a:pt x="25" y="51"/>
                  <a:pt x="25" y="51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0"/>
                  <a:pt x="39" y="0"/>
                  <a:pt x="39" y="10"/>
                </a:cubicBezTo>
                <a:cubicBezTo>
                  <a:pt x="39" y="51"/>
                  <a:pt x="39" y="51"/>
                  <a:pt x="39" y="51"/>
                </a:cubicBezTo>
                <a:cubicBezTo>
                  <a:pt x="49" y="40"/>
                  <a:pt x="49" y="40"/>
                  <a:pt x="49" y="40"/>
                </a:cubicBezTo>
                <a:cubicBezTo>
                  <a:pt x="55" y="34"/>
                  <a:pt x="65" y="43"/>
                  <a:pt x="58" y="49"/>
                </a:cubicBezTo>
                <a:cubicBezTo>
                  <a:pt x="37" y="70"/>
                  <a:pt x="37" y="70"/>
                  <a:pt x="37" y="70"/>
                </a:cubicBezTo>
                <a:cubicBezTo>
                  <a:pt x="34" y="73"/>
                  <a:pt x="30" y="73"/>
                  <a:pt x="27" y="7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71" name="Oval 128"/>
          <p:cNvSpPr>
            <a:spLocks noChangeArrowheads="1"/>
          </p:cNvSpPr>
          <p:nvPr/>
        </p:nvSpPr>
        <p:spPr bwMode="auto">
          <a:xfrm>
            <a:off x="4180417" y="4205818"/>
            <a:ext cx="76200" cy="719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72" name="Freeform 129"/>
          <p:cNvSpPr>
            <a:spLocks/>
          </p:cNvSpPr>
          <p:nvPr/>
        </p:nvSpPr>
        <p:spPr bwMode="auto">
          <a:xfrm>
            <a:off x="3879851" y="4250267"/>
            <a:ext cx="431800" cy="351367"/>
          </a:xfrm>
          <a:custGeom>
            <a:avLst/>
            <a:gdLst>
              <a:gd name="T0" fmla="*/ 36408038 w 142"/>
              <a:gd name="T1" fmla="*/ 315063615 h 115"/>
              <a:gd name="T2" fmla="*/ 46812289 w 142"/>
              <a:gd name="T3" fmla="*/ 315063615 h 115"/>
              <a:gd name="T4" fmla="*/ 187246877 w 142"/>
              <a:gd name="T5" fmla="*/ 315063615 h 115"/>
              <a:gd name="T6" fmla="*/ 400499821 w 142"/>
              <a:gd name="T7" fmla="*/ 63012265 h 115"/>
              <a:gd name="T8" fmla="*/ 348485406 w 142"/>
              <a:gd name="T9" fmla="*/ 63012265 h 115"/>
              <a:gd name="T10" fmla="*/ 249660982 w 142"/>
              <a:gd name="T11" fmla="*/ 178537042 h 115"/>
              <a:gd name="T12" fmla="*/ 223654915 w 142"/>
              <a:gd name="T13" fmla="*/ 189039086 h 115"/>
              <a:gd name="T14" fmla="*/ 192446722 w 142"/>
              <a:gd name="T15" fmla="*/ 157532953 h 115"/>
              <a:gd name="T16" fmla="*/ 202850974 w 142"/>
              <a:gd name="T17" fmla="*/ 131276697 h 115"/>
              <a:gd name="T18" fmla="*/ 306875243 w 142"/>
              <a:gd name="T19" fmla="*/ 10502044 h 115"/>
              <a:gd name="T20" fmla="*/ 332883590 w 142"/>
              <a:gd name="T21" fmla="*/ 0 h 115"/>
              <a:gd name="T22" fmla="*/ 483720149 w 142"/>
              <a:gd name="T23" fmla="*/ 0 h 115"/>
              <a:gd name="T24" fmla="*/ 592946544 w 142"/>
              <a:gd name="T25" fmla="*/ 78766477 h 115"/>
              <a:gd name="T26" fmla="*/ 592946544 w 142"/>
              <a:gd name="T27" fmla="*/ 168034998 h 115"/>
              <a:gd name="T28" fmla="*/ 702175219 w 142"/>
              <a:gd name="T29" fmla="*/ 168034998 h 115"/>
              <a:gd name="T30" fmla="*/ 722979161 w 142"/>
              <a:gd name="T31" fmla="*/ 178537042 h 115"/>
              <a:gd name="T32" fmla="*/ 722979161 w 142"/>
              <a:gd name="T33" fmla="*/ 225795095 h 115"/>
              <a:gd name="T34" fmla="*/ 702175219 w 142"/>
              <a:gd name="T35" fmla="*/ 236297139 h 115"/>
              <a:gd name="T36" fmla="*/ 566940476 w 142"/>
              <a:gd name="T37" fmla="*/ 236297139 h 115"/>
              <a:gd name="T38" fmla="*/ 525330313 w 142"/>
              <a:gd name="T39" fmla="*/ 199541130 h 115"/>
              <a:gd name="T40" fmla="*/ 525330313 w 142"/>
              <a:gd name="T41" fmla="*/ 141778742 h 115"/>
              <a:gd name="T42" fmla="*/ 447312111 w 142"/>
              <a:gd name="T43" fmla="*/ 236297139 h 115"/>
              <a:gd name="T44" fmla="*/ 520128187 w 142"/>
              <a:gd name="T45" fmla="*/ 309813739 h 115"/>
              <a:gd name="T46" fmla="*/ 525330313 w 142"/>
              <a:gd name="T47" fmla="*/ 362323960 h 115"/>
              <a:gd name="T48" fmla="*/ 478518023 w 142"/>
              <a:gd name="T49" fmla="*/ 572367134 h 115"/>
              <a:gd name="T50" fmla="*/ 442109985 w 142"/>
              <a:gd name="T51" fmla="*/ 603873266 h 115"/>
              <a:gd name="T52" fmla="*/ 400499821 w 142"/>
              <a:gd name="T53" fmla="*/ 567114966 h 115"/>
              <a:gd name="T54" fmla="*/ 400499821 w 142"/>
              <a:gd name="T55" fmla="*/ 556612922 h 115"/>
              <a:gd name="T56" fmla="*/ 442109985 w 142"/>
              <a:gd name="T57" fmla="*/ 378078172 h 115"/>
              <a:gd name="T58" fmla="*/ 343285561 w 142"/>
              <a:gd name="T59" fmla="*/ 283557483 h 115"/>
              <a:gd name="T60" fmla="*/ 260065234 w 142"/>
              <a:gd name="T61" fmla="*/ 378078172 h 115"/>
              <a:gd name="T62" fmla="*/ 213252944 w 142"/>
              <a:gd name="T63" fmla="*/ 393830092 h 115"/>
              <a:gd name="T64" fmla="*/ 41610164 w 142"/>
              <a:gd name="T65" fmla="*/ 393830092 h 115"/>
              <a:gd name="T66" fmla="*/ 5202126 w 142"/>
              <a:gd name="T67" fmla="*/ 362323960 h 115"/>
              <a:gd name="T68" fmla="*/ 36408038 w 142"/>
              <a:gd name="T69" fmla="*/ 315063615 h 11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42" h="115">
                <a:moveTo>
                  <a:pt x="7" y="60"/>
                </a:moveTo>
                <a:cubicBezTo>
                  <a:pt x="7" y="60"/>
                  <a:pt x="8" y="60"/>
                  <a:pt x="9" y="60"/>
                </a:cubicBezTo>
                <a:cubicBezTo>
                  <a:pt x="36" y="60"/>
                  <a:pt x="36" y="60"/>
                  <a:pt x="36" y="60"/>
                </a:cubicBezTo>
                <a:cubicBezTo>
                  <a:pt x="77" y="12"/>
                  <a:pt x="77" y="12"/>
                  <a:pt x="77" y="12"/>
                </a:cubicBezTo>
                <a:cubicBezTo>
                  <a:pt x="67" y="12"/>
                  <a:pt x="67" y="12"/>
                  <a:pt x="67" y="12"/>
                </a:cubicBezTo>
                <a:cubicBezTo>
                  <a:pt x="48" y="34"/>
                  <a:pt x="48" y="34"/>
                  <a:pt x="48" y="34"/>
                </a:cubicBezTo>
                <a:cubicBezTo>
                  <a:pt x="47" y="35"/>
                  <a:pt x="45" y="36"/>
                  <a:pt x="43" y="36"/>
                </a:cubicBezTo>
                <a:cubicBezTo>
                  <a:pt x="40" y="36"/>
                  <a:pt x="37" y="33"/>
                  <a:pt x="37" y="30"/>
                </a:cubicBezTo>
                <a:cubicBezTo>
                  <a:pt x="37" y="28"/>
                  <a:pt x="38" y="26"/>
                  <a:pt x="39" y="25"/>
                </a:cubicBezTo>
                <a:cubicBezTo>
                  <a:pt x="59" y="2"/>
                  <a:pt x="59" y="2"/>
                  <a:pt x="59" y="2"/>
                </a:cubicBezTo>
                <a:cubicBezTo>
                  <a:pt x="61" y="1"/>
                  <a:pt x="62" y="0"/>
                  <a:pt x="64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93" y="0"/>
                  <a:pt x="112" y="14"/>
                  <a:pt x="114" y="15"/>
                </a:cubicBezTo>
                <a:cubicBezTo>
                  <a:pt x="114" y="32"/>
                  <a:pt x="114" y="32"/>
                  <a:pt x="114" y="32"/>
                </a:cubicBezTo>
                <a:cubicBezTo>
                  <a:pt x="135" y="32"/>
                  <a:pt x="135" y="32"/>
                  <a:pt x="135" y="32"/>
                </a:cubicBezTo>
                <a:cubicBezTo>
                  <a:pt x="137" y="32"/>
                  <a:pt x="138" y="33"/>
                  <a:pt x="139" y="34"/>
                </a:cubicBezTo>
                <a:cubicBezTo>
                  <a:pt x="142" y="36"/>
                  <a:pt x="142" y="40"/>
                  <a:pt x="139" y="43"/>
                </a:cubicBezTo>
                <a:cubicBezTo>
                  <a:pt x="138" y="44"/>
                  <a:pt x="137" y="44"/>
                  <a:pt x="135" y="45"/>
                </a:cubicBezTo>
                <a:cubicBezTo>
                  <a:pt x="109" y="45"/>
                  <a:pt x="109" y="45"/>
                  <a:pt x="109" y="45"/>
                </a:cubicBezTo>
                <a:cubicBezTo>
                  <a:pt x="101" y="44"/>
                  <a:pt x="101" y="38"/>
                  <a:pt x="101" y="38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86" y="45"/>
                  <a:pt x="86" y="45"/>
                  <a:pt x="86" y="45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100" y="59"/>
                  <a:pt x="103" y="62"/>
                  <a:pt x="101" y="69"/>
                </a:cubicBezTo>
                <a:cubicBezTo>
                  <a:pt x="92" y="109"/>
                  <a:pt x="92" y="109"/>
                  <a:pt x="92" y="109"/>
                </a:cubicBezTo>
                <a:cubicBezTo>
                  <a:pt x="92" y="113"/>
                  <a:pt x="88" y="115"/>
                  <a:pt x="85" y="115"/>
                </a:cubicBezTo>
                <a:cubicBezTo>
                  <a:pt x="80" y="115"/>
                  <a:pt x="77" y="112"/>
                  <a:pt x="77" y="108"/>
                </a:cubicBezTo>
                <a:cubicBezTo>
                  <a:pt x="77" y="107"/>
                  <a:pt x="77" y="106"/>
                  <a:pt x="77" y="106"/>
                </a:cubicBezTo>
                <a:cubicBezTo>
                  <a:pt x="85" y="72"/>
                  <a:pt x="85" y="72"/>
                  <a:pt x="85" y="72"/>
                </a:cubicBezTo>
                <a:cubicBezTo>
                  <a:pt x="66" y="54"/>
                  <a:pt x="66" y="54"/>
                  <a:pt x="66" y="54"/>
                </a:cubicBezTo>
                <a:cubicBezTo>
                  <a:pt x="50" y="72"/>
                  <a:pt x="50" y="72"/>
                  <a:pt x="50" y="72"/>
                </a:cubicBezTo>
                <a:cubicBezTo>
                  <a:pt x="50" y="72"/>
                  <a:pt x="48" y="75"/>
                  <a:pt x="41" y="75"/>
                </a:cubicBezTo>
                <a:cubicBezTo>
                  <a:pt x="8" y="75"/>
                  <a:pt x="8" y="75"/>
                  <a:pt x="8" y="75"/>
                </a:cubicBezTo>
                <a:cubicBezTo>
                  <a:pt x="5" y="75"/>
                  <a:pt x="2" y="73"/>
                  <a:pt x="1" y="69"/>
                </a:cubicBezTo>
                <a:cubicBezTo>
                  <a:pt x="0" y="65"/>
                  <a:pt x="2" y="61"/>
                  <a:pt x="7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73" name="Oval 130"/>
          <p:cNvSpPr>
            <a:spLocks noChangeArrowheads="1"/>
          </p:cNvSpPr>
          <p:nvPr/>
        </p:nvSpPr>
        <p:spPr bwMode="auto">
          <a:xfrm>
            <a:off x="4921252" y="4195233"/>
            <a:ext cx="69849" cy="69851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74" name="Freeform 131"/>
          <p:cNvSpPr>
            <a:spLocks/>
          </p:cNvSpPr>
          <p:nvPr/>
        </p:nvSpPr>
        <p:spPr bwMode="auto">
          <a:xfrm>
            <a:off x="5022851" y="4478867"/>
            <a:ext cx="141816" cy="143933"/>
          </a:xfrm>
          <a:custGeom>
            <a:avLst/>
            <a:gdLst>
              <a:gd name="T0" fmla="*/ 209974429 w 47"/>
              <a:gd name="T1" fmla="*/ 0 h 47"/>
              <a:gd name="T2" fmla="*/ 81941737 w 47"/>
              <a:gd name="T3" fmla="*/ 0 h 47"/>
              <a:gd name="T4" fmla="*/ 81941737 w 47"/>
              <a:gd name="T5" fmla="*/ 52753098 h 47"/>
              <a:gd name="T6" fmla="*/ 148517560 w 47"/>
              <a:gd name="T7" fmla="*/ 52753098 h 47"/>
              <a:gd name="T8" fmla="*/ 25606086 w 47"/>
              <a:gd name="T9" fmla="*/ 179360073 h 47"/>
              <a:gd name="T10" fmla="*/ 66578086 w 47"/>
              <a:gd name="T11" fmla="*/ 216288161 h 47"/>
              <a:gd name="T12" fmla="*/ 184368343 w 47"/>
              <a:gd name="T13" fmla="*/ 94956954 h 47"/>
              <a:gd name="T14" fmla="*/ 184368343 w 47"/>
              <a:gd name="T15" fmla="*/ 158259294 h 47"/>
              <a:gd name="T16" fmla="*/ 240701732 w 47"/>
              <a:gd name="T17" fmla="*/ 158259294 h 47"/>
              <a:gd name="T18" fmla="*/ 240701732 w 47"/>
              <a:gd name="T19" fmla="*/ 31652318 h 47"/>
              <a:gd name="T20" fmla="*/ 209974429 w 47"/>
              <a:gd name="T21" fmla="*/ 0 h 4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47" h="47">
                <a:moveTo>
                  <a:pt x="41" y="0"/>
                </a:moveTo>
                <a:cubicBezTo>
                  <a:pt x="16" y="0"/>
                  <a:pt x="16" y="0"/>
                  <a:pt x="16" y="0"/>
                </a:cubicBezTo>
                <a:cubicBezTo>
                  <a:pt x="10" y="0"/>
                  <a:pt x="9" y="10"/>
                  <a:pt x="16" y="10"/>
                </a:cubicBezTo>
                <a:cubicBezTo>
                  <a:pt x="29" y="10"/>
                  <a:pt x="29" y="10"/>
                  <a:pt x="29" y="10"/>
                </a:cubicBezTo>
                <a:cubicBezTo>
                  <a:pt x="5" y="34"/>
                  <a:pt x="5" y="34"/>
                  <a:pt x="5" y="34"/>
                </a:cubicBezTo>
                <a:cubicBezTo>
                  <a:pt x="0" y="39"/>
                  <a:pt x="7" y="47"/>
                  <a:pt x="13" y="41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30"/>
                  <a:pt x="36" y="30"/>
                  <a:pt x="36" y="30"/>
                </a:cubicBezTo>
                <a:cubicBezTo>
                  <a:pt x="36" y="37"/>
                  <a:pt x="47" y="37"/>
                  <a:pt x="47" y="30"/>
                </a:cubicBezTo>
                <a:cubicBezTo>
                  <a:pt x="47" y="6"/>
                  <a:pt x="47" y="6"/>
                  <a:pt x="47" y="6"/>
                </a:cubicBezTo>
                <a:cubicBezTo>
                  <a:pt x="47" y="3"/>
                  <a:pt x="44" y="0"/>
                  <a:pt x="4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75" name="Freeform 132"/>
          <p:cNvSpPr>
            <a:spLocks noEditPoints="1"/>
          </p:cNvSpPr>
          <p:nvPr/>
        </p:nvSpPr>
        <p:spPr bwMode="auto">
          <a:xfrm>
            <a:off x="4730751" y="4233334"/>
            <a:ext cx="533400" cy="376767"/>
          </a:xfrm>
          <a:custGeom>
            <a:avLst/>
            <a:gdLst>
              <a:gd name="T0" fmla="*/ 800820545 w 176"/>
              <a:gd name="T1" fmla="*/ 0 h 124"/>
              <a:gd name="T2" fmla="*/ 661321291 w 176"/>
              <a:gd name="T3" fmla="*/ 0 h 124"/>
              <a:gd name="T4" fmla="*/ 573489859 w 176"/>
              <a:gd name="T5" fmla="*/ 36351906 h 124"/>
              <a:gd name="T6" fmla="*/ 444325988 w 176"/>
              <a:gd name="T7" fmla="*/ 166179167 h 124"/>
              <a:gd name="T8" fmla="*/ 444325988 w 176"/>
              <a:gd name="T9" fmla="*/ 129827261 h 124"/>
              <a:gd name="T10" fmla="*/ 325495227 w 176"/>
              <a:gd name="T11" fmla="*/ 129827261 h 124"/>
              <a:gd name="T12" fmla="*/ 325495227 w 176"/>
              <a:gd name="T13" fmla="*/ 280426063 h 124"/>
              <a:gd name="T14" fmla="*/ 325495227 w 176"/>
              <a:gd name="T15" fmla="*/ 280426063 h 124"/>
              <a:gd name="T16" fmla="*/ 211828748 w 176"/>
              <a:gd name="T17" fmla="*/ 394672958 h 124"/>
              <a:gd name="T18" fmla="*/ 180829419 w 176"/>
              <a:gd name="T19" fmla="*/ 405059868 h 124"/>
              <a:gd name="T20" fmla="*/ 113664206 w 176"/>
              <a:gd name="T21" fmla="*/ 405059868 h 124"/>
              <a:gd name="T22" fmla="*/ 0 w 176"/>
              <a:gd name="T23" fmla="*/ 524500219 h 124"/>
              <a:gd name="T24" fmla="*/ 118830761 w 176"/>
              <a:gd name="T25" fmla="*/ 643940570 h 124"/>
              <a:gd name="T26" fmla="*/ 242830350 w 176"/>
              <a:gd name="T27" fmla="*/ 643940570 h 124"/>
              <a:gd name="T28" fmla="*/ 330661782 w 176"/>
              <a:gd name="T29" fmla="*/ 602395208 h 124"/>
              <a:gd name="T30" fmla="*/ 692322893 w 176"/>
              <a:gd name="T31" fmla="*/ 244074156 h 124"/>
              <a:gd name="T32" fmla="*/ 718155667 w 176"/>
              <a:gd name="T33" fmla="*/ 233687246 h 124"/>
              <a:gd name="T34" fmla="*/ 805987099 w 176"/>
              <a:gd name="T35" fmla="*/ 233687246 h 124"/>
              <a:gd name="T36" fmla="*/ 909318196 w 176"/>
              <a:gd name="T37" fmla="*/ 119440351 h 124"/>
              <a:gd name="T38" fmla="*/ 800820545 w 176"/>
              <a:gd name="T39" fmla="*/ 0 h 124"/>
              <a:gd name="T40" fmla="*/ 795653990 w 176"/>
              <a:gd name="T41" fmla="*/ 176563798 h 124"/>
              <a:gd name="T42" fmla="*/ 718155667 w 176"/>
              <a:gd name="T43" fmla="*/ 176563798 h 124"/>
              <a:gd name="T44" fmla="*/ 656154736 w 176"/>
              <a:gd name="T45" fmla="*/ 197337619 h 124"/>
              <a:gd name="T46" fmla="*/ 294495898 w 176"/>
              <a:gd name="T47" fmla="*/ 560852125 h 124"/>
              <a:gd name="T48" fmla="*/ 237663795 w 176"/>
              <a:gd name="T49" fmla="*/ 581623667 h 124"/>
              <a:gd name="T50" fmla="*/ 118830761 w 176"/>
              <a:gd name="T51" fmla="*/ 581623667 h 124"/>
              <a:gd name="T52" fmla="*/ 61998658 w 176"/>
              <a:gd name="T53" fmla="*/ 519306764 h 124"/>
              <a:gd name="T54" fmla="*/ 113664206 w 176"/>
              <a:gd name="T55" fmla="*/ 467376771 h 124"/>
              <a:gd name="T56" fmla="*/ 196329084 w 176"/>
              <a:gd name="T57" fmla="*/ 467376771 h 124"/>
              <a:gd name="T58" fmla="*/ 247996905 w 176"/>
              <a:gd name="T59" fmla="*/ 446602951 h 124"/>
              <a:gd name="T60" fmla="*/ 614822298 w 176"/>
              <a:gd name="T61" fmla="*/ 77894989 h 124"/>
              <a:gd name="T62" fmla="*/ 671654401 w 176"/>
              <a:gd name="T63" fmla="*/ 62316903 h 124"/>
              <a:gd name="T64" fmla="*/ 795653990 w 176"/>
              <a:gd name="T65" fmla="*/ 62316903 h 124"/>
              <a:gd name="T66" fmla="*/ 847319538 w 176"/>
              <a:gd name="T67" fmla="*/ 114246896 h 124"/>
              <a:gd name="T68" fmla="*/ 795653990 w 176"/>
              <a:gd name="T69" fmla="*/ 176563798 h 12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76" h="124">
                <a:moveTo>
                  <a:pt x="155" y="0"/>
                </a:moveTo>
                <a:cubicBezTo>
                  <a:pt x="128" y="0"/>
                  <a:pt x="128" y="0"/>
                  <a:pt x="128" y="0"/>
                </a:cubicBezTo>
                <a:cubicBezTo>
                  <a:pt x="123" y="0"/>
                  <a:pt x="115" y="3"/>
                  <a:pt x="111" y="7"/>
                </a:cubicBezTo>
                <a:cubicBezTo>
                  <a:pt x="86" y="32"/>
                  <a:pt x="86" y="32"/>
                  <a:pt x="86" y="32"/>
                </a:cubicBezTo>
                <a:cubicBezTo>
                  <a:pt x="86" y="25"/>
                  <a:pt x="86" y="25"/>
                  <a:pt x="86" y="25"/>
                </a:cubicBezTo>
                <a:cubicBezTo>
                  <a:pt x="86" y="9"/>
                  <a:pt x="63" y="9"/>
                  <a:pt x="63" y="25"/>
                </a:cubicBezTo>
                <a:cubicBezTo>
                  <a:pt x="63" y="54"/>
                  <a:pt x="63" y="54"/>
                  <a:pt x="63" y="54"/>
                </a:cubicBezTo>
                <a:cubicBezTo>
                  <a:pt x="63" y="54"/>
                  <a:pt x="63" y="54"/>
                  <a:pt x="63" y="54"/>
                </a:cubicBezTo>
                <a:cubicBezTo>
                  <a:pt x="41" y="76"/>
                  <a:pt x="41" y="76"/>
                  <a:pt x="41" y="76"/>
                </a:cubicBezTo>
                <a:cubicBezTo>
                  <a:pt x="39" y="78"/>
                  <a:pt x="39" y="78"/>
                  <a:pt x="35" y="78"/>
                </a:cubicBezTo>
                <a:cubicBezTo>
                  <a:pt x="35" y="78"/>
                  <a:pt x="22" y="78"/>
                  <a:pt x="22" y="78"/>
                </a:cubicBezTo>
                <a:cubicBezTo>
                  <a:pt x="8" y="78"/>
                  <a:pt x="0" y="90"/>
                  <a:pt x="0" y="101"/>
                </a:cubicBezTo>
                <a:cubicBezTo>
                  <a:pt x="0" y="111"/>
                  <a:pt x="8" y="124"/>
                  <a:pt x="23" y="124"/>
                </a:cubicBezTo>
                <a:cubicBezTo>
                  <a:pt x="23" y="124"/>
                  <a:pt x="41" y="124"/>
                  <a:pt x="47" y="124"/>
                </a:cubicBezTo>
                <a:cubicBezTo>
                  <a:pt x="52" y="124"/>
                  <a:pt x="59" y="122"/>
                  <a:pt x="64" y="116"/>
                </a:cubicBezTo>
                <a:cubicBezTo>
                  <a:pt x="134" y="47"/>
                  <a:pt x="134" y="47"/>
                  <a:pt x="134" y="47"/>
                </a:cubicBezTo>
                <a:cubicBezTo>
                  <a:pt x="135" y="46"/>
                  <a:pt x="136" y="45"/>
                  <a:pt x="139" y="45"/>
                </a:cubicBezTo>
                <a:cubicBezTo>
                  <a:pt x="139" y="45"/>
                  <a:pt x="148" y="45"/>
                  <a:pt x="156" y="45"/>
                </a:cubicBezTo>
                <a:cubicBezTo>
                  <a:pt x="164" y="45"/>
                  <a:pt x="176" y="36"/>
                  <a:pt x="176" y="23"/>
                </a:cubicBezTo>
                <a:cubicBezTo>
                  <a:pt x="176" y="9"/>
                  <a:pt x="164" y="0"/>
                  <a:pt x="155" y="0"/>
                </a:cubicBezTo>
                <a:close/>
                <a:moveTo>
                  <a:pt x="154" y="34"/>
                </a:moveTo>
                <a:cubicBezTo>
                  <a:pt x="139" y="34"/>
                  <a:pt x="139" y="34"/>
                  <a:pt x="139" y="34"/>
                </a:cubicBezTo>
                <a:cubicBezTo>
                  <a:pt x="133" y="34"/>
                  <a:pt x="130" y="35"/>
                  <a:pt x="127" y="38"/>
                </a:cubicBezTo>
                <a:cubicBezTo>
                  <a:pt x="57" y="108"/>
                  <a:pt x="57" y="108"/>
                  <a:pt x="57" y="108"/>
                </a:cubicBezTo>
                <a:cubicBezTo>
                  <a:pt x="54" y="111"/>
                  <a:pt x="50" y="112"/>
                  <a:pt x="46" y="112"/>
                </a:cubicBezTo>
                <a:cubicBezTo>
                  <a:pt x="23" y="112"/>
                  <a:pt x="23" y="112"/>
                  <a:pt x="23" y="112"/>
                </a:cubicBezTo>
                <a:cubicBezTo>
                  <a:pt x="17" y="112"/>
                  <a:pt x="12" y="107"/>
                  <a:pt x="12" y="100"/>
                </a:cubicBezTo>
                <a:cubicBezTo>
                  <a:pt x="12" y="94"/>
                  <a:pt x="17" y="90"/>
                  <a:pt x="22" y="90"/>
                </a:cubicBezTo>
                <a:cubicBezTo>
                  <a:pt x="38" y="90"/>
                  <a:pt x="38" y="90"/>
                  <a:pt x="38" y="90"/>
                </a:cubicBezTo>
                <a:cubicBezTo>
                  <a:pt x="42" y="90"/>
                  <a:pt x="45" y="89"/>
                  <a:pt x="48" y="86"/>
                </a:cubicBezTo>
                <a:cubicBezTo>
                  <a:pt x="119" y="15"/>
                  <a:pt x="119" y="15"/>
                  <a:pt x="119" y="15"/>
                </a:cubicBezTo>
                <a:cubicBezTo>
                  <a:pt x="122" y="12"/>
                  <a:pt x="125" y="12"/>
                  <a:pt x="130" y="12"/>
                </a:cubicBezTo>
                <a:cubicBezTo>
                  <a:pt x="154" y="12"/>
                  <a:pt x="154" y="12"/>
                  <a:pt x="154" y="12"/>
                </a:cubicBezTo>
                <a:cubicBezTo>
                  <a:pt x="160" y="12"/>
                  <a:pt x="164" y="18"/>
                  <a:pt x="164" y="22"/>
                </a:cubicBezTo>
                <a:cubicBezTo>
                  <a:pt x="164" y="26"/>
                  <a:pt x="161" y="34"/>
                  <a:pt x="154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76" name="Oval 133"/>
          <p:cNvSpPr>
            <a:spLocks noChangeArrowheads="1"/>
          </p:cNvSpPr>
          <p:nvPr/>
        </p:nvSpPr>
        <p:spPr bwMode="auto">
          <a:xfrm>
            <a:off x="5746752" y="4184652"/>
            <a:ext cx="69849" cy="69849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77" name="Freeform 134"/>
          <p:cNvSpPr>
            <a:spLocks/>
          </p:cNvSpPr>
          <p:nvPr/>
        </p:nvSpPr>
        <p:spPr bwMode="auto">
          <a:xfrm>
            <a:off x="5856817" y="4457701"/>
            <a:ext cx="141816" cy="139700"/>
          </a:xfrm>
          <a:custGeom>
            <a:avLst/>
            <a:gdLst>
              <a:gd name="T0" fmla="*/ 0 w 47"/>
              <a:gd name="T1" fmla="*/ 207520554 h 46"/>
              <a:gd name="T2" fmla="*/ 0 w 47"/>
              <a:gd name="T3" fmla="*/ 83006855 h 46"/>
              <a:gd name="T4" fmla="*/ 56333389 w 47"/>
              <a:gd name="T5" fmla="*/ 83006855 h 46"/>
              <a:gd name="T6" fmla="*/ 56333389 w 47"/>
              <a:gd name="T7" fmla="*/ 150452345 h 46"/>
              <a:gd name="T8" fmla="*/ 174123646 w 47"/>
              <a:gd name="T9" fmla="*/ 25940923 h 46"/>
              <a:gd name="T10" fmla="*/ 215095646 w 47"/>
              <a:gd name="T11" fmla="*/ 67443212 h 46"/>
              <a:gd name="T12" fmla="*/ 92184172 w 47"/>
              <a:gd name="T13" fmla="*/ 186768271 h 46"/>
              <a:gd name="T14" fmla="*/ 158759995 w 47"/>
              <a:gd name="T15" fmla="*/ 186768271 h 46"/>
              <a:gd name="T16" fmla="*/ 158759995 w 47"/>
              <a:gd name="T17" fmla="*/ 238647840 h 46"/>
              <a:gd name="T18" fmla="*/ 30727303 w 47"/>
              <a:gd name="T19" fmla="*/ 238647840 h 46"/>
              <a:gd name="T20" fmla="*/ 0 w 47"/>
              <a:gd name="T21" fmla="*/ 207520554 h 4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47" h="46">
                <a:moveTo>
                  <a:pt x="0" y="40"/>
                </a:moveTo>
                <a:cubicBezTo>
                  <a:pt x="0" y="16"/>
                  <a:pt x="0" y="16"/>
                  <a:pt x="0" y="16"/>
                </a:cubicBezTo>
                <a:cubicBezTo>
                  <a:pt x="0" y="9"/>
                  <a:pt x="11" y="9"/>
                  <a:pt x="11" y="16"/>
                </a:cubicBezTo>
                <a:cubicBezTo>
                  <a:pt x="11" y="29"/>
                  <a:pt x="11" y="29"/>
                  <a:pt x="11" y="29"/>
                </a:cubicBezTo>
                <a:cubicBezTo>
                  <a:pt x="34" y="5"/>
                  <a:pt x="34" y="5"/>
                  <a:pt x="34" y="5"/>
                </a:cubicBezTo>
                <a:cubicBezTo>
                  <a:pt x="40" y="0"/>
                  <a:pt x="47" y="7"/>
                  <a:pt x="42" y="13"/>
                </a:cubicBezTo>
                <a:cubicBezTo>
                  <a:pt x="18" y="36"/>
                  <a:pt x="18" y="36"/>
                  <a:pt x="18" y="36"/>
                </a:cubicBezTo>
                <a:cubicBezTo>
                  <a:pt x="31" y="36"/>
                  <a:pt x="31" y="36"/>
                  <a:pt x="31" y="36"/>
                </a:cubicBezTo>
                <a:cubicBezTo>
                  <a:pt x="37" y="36"/>
                  <a:pt x="38" y="46"/>
                  <a:pt x="31" y="46"/>
                </a:cubicBezTo>
                <a:cubicBezTo>
                  <a:pt x="6" y="46"/>
                  <a:pt x="6" y="46"/>
                  <a:pt x="6" y="46"/>
                </a:cubicBezTo>
                <a:cubicBezTo>
                  <a:pt x="3" y="46"/>
                  <a:pt x="0" y="44"/>
                  <a:pt x="0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78" name="Freeform 135"/>
          <p:cNvSpPr>
            <a:spLocks noEditPoints="1"/>
          </p:cNvSpPr>
          <p:nvPr/>
        </p:nvSpPr>
        <p:spPr bwMode="auto">
          <a:xfrm>
            <a:off x="5556251" y="4220634"/>
            <a:ext cx="533400" cy="376767"/>
          </a:xfrm>
          <a:custGeom>
            <a:avLst/>
            <a:gdLst>
              <a:gd name="T0" fmla="*/ 800820545 w 176"/>
              <a:gd name="T1" fmla="*/ 0 h 124"/>
              <a:gd name="T2" fmla="*/ 661321291 w 176"/>
              <a:gd name="T3" fmla="*/ 0 h 124"/>
              <a:gd name="T4" fmla="*/ 573489859 w 176"/>
              <a:gd name="T5" fmla="*/ 36351906 h 124"/>
              <a:gd name="T6" fmla="*/ 444325988 w 176"/>
              <a:gd name="T7" fmla="*/ 166179167 h 124"/>
              <a:gd name="T8" fmla="*/ 444325988 w 176"/>
              <a:gd name="T9" fmla="*/ 129827261 h 124"/>
              <a:gd name="T10" fmla="*/ 325495227 w 176"/>
              <a:gd name="T11" fmla="*/ 129827261 h 124"/>
              <a:gd name="T12" fmla="*/ 325495227 w 176"/>
              <a:gd name="T13" fmla="*/ 280426063 h 124"/>
              <a:gd name="T14" fmla="*/ 325495227 w 176"/>
              <a:gd name="T15" fmla="*/ 280426063 h 124"/>
              <a:gd name="T16" fmla="*/ 211828748 w 176"/>
              <a:gd name="T17" fmla="*/ 394672958 h 124"/>
              <a:gd name="T18" fmla="*/ 180829419 w 176"/>
              <a:gd name="T19" fmla="*/ 405059868 h 124"/>
              <a:gd name="T20" fmla="*/ 113664206 w 176"/>
              <a:gd name="T21" fmla="*/ 405059868 h 124"/>
              <a:gd name="T22" fmla="*/ 0 w 176"/>
              <a:gd name="T23" fmla="*/ 524500219 h 124"/>
              <a:gd name="T24" fmla="*/ 118830761 w 176"/>
              <a:gd name="T25" fmla="*/ 643940570 h 124"/>
              <a:gd name="T26" fmla="*/ 242830350 w 176"/>
              <a:gd name="T27" fmla="*/ 643940570 h 124"/>
              <a:gd name="T28" fmla="*/ 330661782 w 176"/>
              <a:gd name="T29" fmla="*/ 602395208 h 124"/>
              <a:gd name="T30" fmla="*/ 692322893 w 176"/>
              <a:gd name="T31" fmla="*/ 244074156 h 124"/>
              <a:gd name="T32" fmla="*/ 718155667 w 176"/>
              <a:gd name="T33" fmla="*/ 233687246 h 124"/>
              <a:gd name="T34" fmla="*/ 805987099 w 176"/>
              <a:gd name="T35" fmla="*/ 233687246 h 124"/>
              <a:gd name="T36" fmla="*/ 909318196 w 176"/>
              <a:gd name="T37" fmla="*/ 119440351 h 124"/>
              <a:gd name="T38" fmla="*/ 800820545 w 176"/>
              <a:gd name="T39" fmla="*/ 0 h 124"/>
              <a:gd name="T40" fmla="*/ 795653990 w 176"/>
              <a:gd name="T41" fmla="*/ 176563798 h 124"/>
              <a:gd name="T42" fmla="*/ 718155667 w 176"/>
              <a:gd name="T43" fmla="*/ 176563798 h 124"/>
              <a:gd name="T44" fmla="*/ 656154736 w 176"/>
              <a:gd name="T45" fmla="*/ 197337619 h 124"/>
              <a:gd name="T46" fmla="*/ 294495898 w 176"/>
              <a:gd name="T47" fmla="*/ 560852125 h 124"/>
              <a:gd name="T48" fmla="*/ 237663795 w 176"/>
              <a:gd name="T49" fmla="*/ 581623667 h 124"/>
              <a:gd name="T50" fmla="*/ 118830761 w 176"/>
              <a:gd name="T51" fmla="*/ 581623667 h 124"/>
              <a:gd name="T52" fmla="*/ 61998658 w 176"/>
              <a:gd name="T53" fmla="*/ 519306764 h 124"/>
              <a:gd name="T54" fmla="*/ 113664206 w 176"/>
              <a:gd name="T55" fmla="*/ 467376771 h 124"/>
              <a:gd name="T56" fmla="*/ 196329084 w 176"/>
              <a:gd name="T57" fmla="*/ 467376771 h 124"/>
              <a:gd name="T58" fmla="*/ 247996905 w 176"/>
              <a:gd name="T59" fmla="*/ 446602951 h 124"/>
              <a:gd name="T60" fmla="*/ 614822298 w 176"/>
              <a:gd name="T61" fmla="*/ 77894989 h 124"/>
              <a:gd name="T62" fmla="*/ 671654401 w 176"/>
              <a:gd name="T63" fmla="*/ 62316903 h 124"/>
              <a:gd name="T64" fmla="*/ 795653990 w 176"/>
              <a:gd name="T65" fmla="*/ 62316903 h 124"/>
              <a:gd name="T66" fmla="*/ 847319538 w 176"/>
              <a:gd name="T67" fmla="*/ 114246896 h 124"/>
              <a:gd name="T68" fmla="*/ 795653990 w 176"/>
              <a:gd name="T69" fmla="*/ 176563798 h 12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76" h="124">
                <a:moveTo>
                  <a:pt x="155" y="0"/>
                </a:moveTo>
                <a:cubicBezTo>
                  <a:pt x="128" y="0"/>
                  <a:pt x="128" y="0"/>
                  <a:pt x="128" y="0"/>
                </a:cubicBezTo>
                <a:cubicBezTo>
                  <a:pt x="123" y="0"/>
                  <a:pt x="115" y="3"/>
                  <a:pt x="111" y="7"/>
                </a:cubicBezTo>
                <a:cubicBezTo>
                  <a:pt x="86" y="32"/>
                  <a:pt x="86" y="32"/>
                  <a:pt x="86" y="32"/>
                </a:cubicBezTo>
                <a:cubicBezTo>
                  <a:pt x="86" y="25"/>
                  <a:pt x="86" y="25"/>
                  <a:pt x="86" y="25"/>
                </a:cubicBezTo>
                <a:cubicBezTo>
                  <a:pt x="86" y="9"/>
                  <a:pt x="63" y="9"/>
                  <a:pt x="63" y="25"/>
                </a:cubicBezTo>
                <a:cubicBezTo>
                  <a:pt x="63" y="54"/>
                  <a:pt x="63" y="54"/>
                  <a:pt x="63" y="54"/>
                </a:cubicBezTo>
                <a:cubicBezTo>
                  <a:pt x="63" y="54"/>
                  <a:pt x="63" y="54"/>
                  <a:pt x="63" y="54"/>
                </a:cubicBezTo>
                <a:cubicBezTo>
                  <a:pt x="41" y="76"/>
                  <a:pt x="41" y="76"/>
                  <a:pt x="41" y="76"/>
                </a:cubicBezTo>
                <a:cubicBezTo>
                  <a:pt x="39" y="78"/>
                  <a:pt x="39" y="78"/>
                  <a:pt x="35" y="78"/>
                </a:cubicBezTo>
                <a:cubicBezTo>
                  <a:pt x="35" y="78"/>
                  <a:pt x="22" y="78"/>
                  <a:pt x="22" y="78"/>
                </a:cubicBezTo>
                <a:cubicBezTo>
                  <a:pt x="8" y="78"/>
                  <a:pt x="0" y="90"/>
                  <a:pt x="0" y="101"/>
                </a:cubicBezTo>
                <a:cubicBezTo>
                  <a:pt x="0" y="111"/>
                  <a:pt x="8" y="124"/>
                  <a:pt x="23" y="124"/>
                </a:cubicBezTo>
                <a:cubicBezTo>
                  <a:pt x="23" y="124"/>
                  <a:pt x="41" y="124"/>
                  <a:pt x="47" y="124"/>
                </a:cubicBezTo>
                <a:cubicBezTo>
                  <a:pt x="52" y="124"/>
                  <a:pt x="59" y="122"/>
                  <a:pt x="64" y="116"/>
                </a:cubicBezTo>
                <a:cubicBezTo>
                  <a:pt x="134" y="47"/>
                  <a:pt x="134" y="47"/>
                  <a:pt x="134" y="47"/>
                </a:cubicBezTo>
                <a:cubicBezTo>
                  <a:pt x="135" y="46"/>
                  <a:pt x="136" y="45"/>
                  <a:pt x="139" y="45"/>
                </a:cubicBezTo>
                <a:cubicBezTo>
                  <a:pt x="139" y="45"/>
                  <a:pt x="148" y="45"/>
                  <a:pt x="156" y="45"/>
                </a:cubicBezTo>
                <a:cubicBezTo>
                  <a:pt x="164" y="45"/>
                  <a:pt x="176" y="36"/>
                  <a:pt x="176" y="23"/>
                </a:cubicBezTo>
                <a:cubicBezTo>
                  <a:pt x="176" y="9"/>
                  <a:pt x="164" y="0"/>
                  <a:pt x="155" y="0"/>
                </a:cubicBezTo>
                <a:close/>
                <a:moveTo>
                  <a:pt x="154" y="34"/>
                </a:moveTo>
                <a:cubicBezTo>
                  <a:pt x="139" y="34"/>
                  <a:pt x="139" y="34"/>
                  <a:pt x="139" y="34"/>
                </a:cubicBezTo>
                <a:cubicBezTo>
                  <a:pt x="133" y="34"/>
                  <a:pt x="130" y="35"/>
                  <a:pt x="127" y="38"/>
                </a:cubicBezTo>
                <a:cubicBezTo>
                  <a:pt x="57" y="108"/>
                  <a:pt x="57" y="108"/>
                  <a:pt x="57" y="108"/>
                </a:cubicBezTo>
                <a:cubicBezTo>
                  <a:pt x="54" y="111"/>
                  <a:pt x="50" y="112"/>
                  <a:pt x="46" y="112"/>
                </a:cubicBezTo>
                <a:cubicBezTo>
                  <a:pt x="23" y="112"/>
                  <a:pt x="23" y="112"/>
                  <a:pt x="23" y="112"/>
                </a:cubicBezTo>
                <a:cubicBezTo>
                  <a:pt x="17" y="112"/>
                  <a:pt x="12" y="107"/>
                  <a:pt x="12" y="100"/>
                </a:cubicBezTo>
                <a:cubicBezTo>
                  <a:pt x="12" y="94"/>
                  <a:pt x="17" y="90"/>
                  <a:pt x="22" y="90"/>
                </a:cubicBezTo>
                <a:cubicBezTo>
                  <a:pt x="38" y="90"/>
                  <a:pt x="38" y="90"/>
                  <a:pt x="38" y="90"/>
                </a:cubicBezTo>
                <a:cubicBezTo>
                  <a:pt x="42" y="90"/>
                  <a:pt x="45" y="89"/>
                  <a:pt x="48" y="86"/>
                </a:cubicBezTo>
                <a:cubicBezTo>
                  <a:pt x="119" y="15"/>
                  <a:pt x="119" y="15"/>
                  <a:pt x="119" y="15"/>
                </a:cubicBezTo>
                <a:cubicBezTo>
                  <a:pt x="122" y="12"/>
                  <a:pt x="125" y="12"/>
                  <a:pt x="130" y="12"/>
                </a:cubicBezTo>
                <a:cubicBezTo>
                  <a:pt x="154" y="12"/>
                  <a:pt x="154" y="12"/>
                  <a:pt x="154" y="12"/>
                </a:cubicBezTo>
                <a:cubicBezTo>
                  <a:pt x="160" y="12"/>
                  <a:pt x="164" y="18"/>
                  <a:pt x="164" y="22"/>
                </a:cubicBezTo>
                <a:cubicBezTo>
                  <a:pt x="164" y="26"/>
                  <a:pt x="161" y="34"/>
                  <a:pt x="154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79" name="Freeform 136"/>
          <p:cNvSpPr>
            <a:spLocks/>
          </p:cNvSpPr>
          <p:nvPr/>
        </p:nvSpPr>
        <p:spPr bwMode="auto">
          <a:xfrm>
            <a:off x="6394451" y="4248152"/>
            <a:ext cx="533400" cy="309033"/>
          </a:xfrm>
          <a:custGeom>
            <a:avLst/>
            <a:gdLst>
              <a:gd name="T0" fmla="*/ 831819874 w 176"/>
              <a:gd name="T1" fmla="*/ 413068496 h 102"/>
              <a:gd name="T2" fmla="*/ 831819874 w 176"/>
              <a:gd name="T3" fmla="*/ 526663241 h 102"/>
              <a:gd name="T4" fmla="*/ 909318196 w 176"/>
              <a:gd name="T5" fmla="*/ 526663241 h 102"/>
              <a:gd name="T6" fmla="*/ 909318196 w 176"/>
              <a:gd name="T7" fmla="*/ 340781964 h 102"/>
              <a:gd name="T8" fmla="*/ 77498322 w 176"/>
              <a:gd name="T9" fmla="*/ 340781964 h 102"/>
              <a:gd name="T10" fmla="*/ 77498322 w 176"/>
              <a:gd name="T11" fmla="*/ 36143266 h 102"/>
              <a:gd name="T12" fmla="*/ 36165884 w 176"/>
              <a:gd name="T13" fmla="*/ 0 h 102"/>
              <a:gd name="T14" fmla="*/ 0 w 176"/>
              <a:gd name="T15" fmla="*/ 36143266 h 102"/>
              <a:gd name="T16" fmla="*/ 0 w 176"/>
              <a:gd name="T17" fmla="*/ 526663241 h 102"/>
              <a:gd name="T18" fmla="*/ 77498322 w 176"/>
              <a:gd name="T19" fmla="*/ 526663241 h 102"/>
              <a:gd name="T20" fmla="*/ 77498322 w 176"/>
              <a:gd name="T21" fmla="*/ 413068496 h 102"/>
              <a:gd name="T22" fmla="*/ 831819874 w 176"/>
              <a:gd name="T23" fmla="*/ 413068496 h 10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76" h="102">
                <a:moveTo>
                  <a:pt x="161" y="80"/>
                </a:moveTo>
                <a:cubicBezTo>
                  <a:pt x="161" y="102"/>
                  <a:pt x="161" y="102"/>
                  <a:pt x="161" y="102"/>
                </a:cubicBezTo>
                <a:cubicBezTo>
                  <a:pt x="176" y="102"/>
                  <a:pt x="176" y="102"/>
                  <a:pt x="176" y="102"/>
                </a:cubicBezTo>
                <a:cubicBezTo>
                  <a:pt x="176" y="66"/>
                  <a:pt x="176" y="66"/>
                  <a:pt x="176" y="66"/>
                </a:cubicBezTo>
                <a:cubicBezTo>
                  <a:pt x="15" y="66"/>
                  <a:pt x="15" y="66"/>
                  <a:pt x="15" y="66"/>
                </a:cubicBezTo>
                <a:cubicBezTo>
                  <a:pt x="15" y="7"/>
                  <a:pt x="15" y="7"/>
                  <a:pt x="15" y="7"/>
                </a:cubicBezTo>
                <a:cubicBezTo>
                  <a:pt x="15" y="3"/>
                  <a:pt x="11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102"/>
                  <a:pt x="0" y="102"/>
                  <a:pt x="0" y="102"/>
                </a:cubicBezTo>
                <a:cubicBezTo>
                  <a:pt x="15" y="102"/>
                  <a:pt x="15" y="102"/>
                  <a:pt x="15" y="102"/>
                </a:cubicBezTo>
                <a:cubicBezTo>
                  <a:pt x="15" y="80"/>
                  <a:pt x="15" y="80"/>
                  <a:pt x="15" y="80"/>
                </a:cubicBezTo>
                <a:lnTo>
                  <a:pt x="161" y="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80" name="Oval 137"/>
          <p:cNvSpPr>
            <a:spLocks noChangeArrowheads="1"/>
          </p:cNvSpPr>
          <p:nvPr/>
        </p:nvSpPr>
        <p:spPr bwMode="auto">
          <a:xfrm>
            <a:off x="6460067" y="4305301"/>
            <a:ext cx="78317" cy="804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81" name="Freeform 138"/>
          <p:cNvSpPr>
            <a:spLocks/>
          </p:cNvSpPr>
          <p:nvPr/>
        </p:nvSpPr>
        <p:spPr bwMode="auto">
          <a:xfrm>
            <a:off x="6451600" y="4345517"/>
            <a:ext cx="476251" cy="84667"/>
          </a:xfrm>
          <a:custGeom>
            <a:avLst/>
            <a:gdLst>
              <a:gd name="T0" fmla="*/ 812632276 w 157"/>
              <a:gd name="T1" fmla="*/ 144008929 h 28"/>
              <a:gd name="T2" fmla="*/ 812632276 w 157"/>
              <a:gd name="T3" fmla="*/ 56573964 h 28"/>
              <a:gd name="T4" fmla="*/ 755696054 w 157"/>
              <a:gd name="T5" fmla="*/ 0 h 28"/>
              <a:gd name="T6" fmla="*/ 181160293 w 157"/>
              <a:gd name="T7" fmla="*/ 0 h 28"/>
              <a:gd name="T8" fmla="*/ 181160293 w 157"/>
              <a:gd name="T9" fmla="*/ 82291464 h 28"/>
              <a:gd name="T10" fmla="*/ 31054880 w 157"/>
              <a:gd name="T11" fmla="*/ 82291464 h 28"/>
              <a:gd name="T12" fmla="*/ 0 w 157"/>
              <a:gd name="T13" fmla="*/ 113150196 h 28"/>
              <a:gd name="T14" fmla="*/ 31054880 w 157"/>
              <a:gd name="T15" fmla="*/ 144008929 h 28"/>
              <a:gd name="T16" fmla="*/ 812632276 w 157"/>
              <a:gd name="T17" fmla="*/ 144008929 h 2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7" h="28">
                <a:moveTo>
                  <a:pt x="157" y="28"/>
                </a:moveTo>
                <a:cubicBezTo>
                  <a:pt x="157" y="11"/>
                  <a:pt x="157" y="11"/>
                  <a:pt x="157" y="11"/>
                </a:cubicBezTo>
                <a:cubicBezTo>
                  <a:pt x="157" y="5"/>
                  <a:pt x="152" y="1"/>
                  <a:pt x="146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35" y="16"/>
                  <a:pt x="35" y="16"/>
                  <a:pt x="35" y="16"/>
                </a:cubicBezTo>
                <a:cubicBezTo>
                  <a:pt x="6" y="16"/>
                  <a:pt x="6" y="16"/>
                  <a:pt x="6" y="16"/>
                </a:cubicBezTo>
                <a:cubicBezTo>
                  <a:pt x="2" y="16"/>
                  <a:pt x="0" y="19"/>
                  <a:pt x="0" y="22"/>
                </a:cubicBezTo>
                <a:cubicBezTo>
                  <a:pt x="0" y="26"/>
                  <a:pt x="2" y="28"/>
                  <a:pt x="6" y="28"/>
                </a:cubicBezTo>
                <a:cubicBezTo>
                  <a:pt x="157" y="28"/>
                  <a:pt x="157" y="28"/>
                  <a:pt x="157" y="2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82" name="Oval 139"/>
          <p:cNvSpPr>
            <a:spLocks noChangeArrowheads="1"/>
          </p:cNvSpPr>
          <p:nvPr/>
        </p:nvSpPr>
        <p:spPr bwMode="auto">
          <a:xfrm>
            <a:off x="7376585" y="4167718"/>
            <a:ext cx="105833" cy="107949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83" name="Line 140"/>
          <p:cNvSpPr>
            <a:spLocks noChangeShapeType="1"/>
          </p:cNvSpPr>
          <p:nvPr/>
        </p:nvSpPr>
        <p:spPr bwMode="auto">
          <a:xfrm>
            <a:off x="7427384" y="4222751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84" name="Line 141"/>
          <p:cNvSpPr>
            <a:spLocks noChangeShapeType="1"/>
          </p:cNvSpPr>
          <p:nvPr/>
        </p:nvSpPr>
        <p:spPr bwMode="auto">
          <a:xfrm>
            <a:off x="7427384" y="4222751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85" name="Freeform 142"/>
          <p:cNvSpPr>
            <a:spLocks/>
          </p:cNvSpPr>
          <p:nvPr/>
        </p:nvSpPr>
        <p:spPr bwMode="auto">
          <a:xfrm>
            <a:off x="7380818" y="4260851"/>
            <a:ext cx="256116" cy="431800"/>
          </a:xfrm>
          <a:custGeom>
            <a:avLst/>
            <a:gdLst>
              <a:gd name="T0" fmla="*/ 15321763 w 85"/>
              <a:gd name="T1" fmla="*/ 140434588 h 142"/>
              <a:gd name="T2" fmla="*/ 173635349 w 85"/>
              <a:gd name="T3" fmla="*/ 109226395 h 142"/>
              <a:gd name="T4" fmla="*/ 214491124 w 85"/>
              <a:gd name="T5" fmla="*/ 317279494 h 142"/>
              <a:gd name="T6" fmla="*/ 367699715 w 85"/>
              <a:gd name="T7" fmla="*/ 317279494 h 142"/>
              <a:gd name="T8" fmla="*/ 434089502 w 85"/>
              <a:gd name="T9" fmla="*/ 390097851 h 142"/>
              <a:gd name="T10" fmla="*/ 434089502 w 85"/>
              <a:gd name="T11" fmla="*/ 670967026 h 142"/>
              <a:gd name="T12" fmla="*/ 337058449 w 85"/>
              <a:gd name="T13" fmla="*/ 670967026 h 142"/>
              <a:gd name="T14" fmla="*/ 331951194 w 85"/>
              <a:gd name="T15" fmla="*/ 457714082 h 142"/>
              <a:gd name="T16" fmla="*/ 142994082 w 85"/>
              <a:gd name="T17" fmla="*/ 447312111 h 142"/>
              <a:gd name="T18" fmla="*/ 61282533 w 85"/>
              <a:gd name="T19" fmla="*/ 379693599 h 142"/>
              <a:gd name="T20" fmla="*/ 15321763 w 85"/>
              <a:gd name="T21" fmla="*/ 140434588 h 14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85" h="142">
                <a:moveTo>
                  <a:pt x="3" y="27"/>
                </a:moveTo>
                <a:cubicBezTo>
                  <a:pt x="0" y="7"/>
                  <a:pt x="29" y="0"/>
                  <a:pt x="34" y="21"/>
                </a:cubicBezTo>
                <a:cubicBezTo>
                  <a:pt x="42" y="61"/>
                  <a:pt x="42" y="61"/>
                  <a:pt x="42" y="61"/>
                </a:cubicBezTo>
                <a:cubicBezTo>
                  <a:pt x="72" y="61"/>
                  <a:pt x="72" y="61"/>
                  <a:pt x="72" y="61"/>
                </a:cubicBezTo>
                <a:cubicBezTo>
                  <a:pt x="80" y="61"/>
                  <a:pt x="85" y="68"/>
                  <a:pt x="85" y="75"/>
                </a:cubicBezTo>
                <a:cubicBezTo>
                  <a:pt x="85" y="129"/>
                  <a:pt x="85" y="129"/>
                  <a:pt x="85" y="129"/>
                </a:cubicBezTo>
                <a:cubicBezTo>
                  <a:pt x="85" y="142"/>
                  <a:pt x="66" y="142"/>
                  <a:pt x="66" y="129"/>
                </a:cubicBezTo>
                <a:cubicBezTo>
                  <a:pt x="66" y="116"/>
                  <a:pt x="68" y="91"/>
                  <a:pt x="65" y="88"/>
                </a:cubicBezTo>
                <a:cubicBezTo>
                  <a:pt x="63" y="85"/>
                  <a:pt x="28" y="86"/>
                  <a:pt x="28" y="86"/>
                </a:cubicBezTo>
                <a:cubicBezTo>
                  <a:pt x="19" y="86"/>
                  <a:pt x="14" y="80"/>
                  <a:pt x="12" y="73"/>
                </a:cubicBezTo>
                <a:lnTo>
                  <a:pt x="3" y="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86" name="Freeform 143"/>
          <p:cNvSpPr>
            <a:spLocks/>
          </p:cNvSpPr>
          <p:nvPr/>
        </p:nvSpPr>
        <p:spPr bwMode="auto">
          <a:xfrm>
            <a:off x="7334252" y="4337051"/>
            <a:ext cx="232833" cy="243416"/>
          </a:xfrm>
          <a:custGeom>
            <a:avLst/>
            <a:gdLst>
              <a:gd name="T0" fmla="*/ 344591821 w 77"/>
              <a:gd name="T1" fmla="*/ 338497332 h 80"/>
              <a:gd name="T2" fmla="*/ 344591821 w 77"/>
              <a:gd name="T3" fmla="*/ 416613330 h 80"/>
              <a:gd name="T4" fmla="*/ 205726393 w 77"/>
              <a:gd name="T5" fmla="*/ 416613330 h 80"/>
              <a:gd name="T6" fmla="*/ 51432732 w 77"/>
              <a:gd name="T7" fmla="*/ 281213941 h 80"/>
              <a:gd name="T8" fmla="*/ 5143500 w 77"/>
              <a:gd name="T9" fmla="*/ 67698554 h 80"/>
              <a:gd name="T10" fmla="*/ 77147964 w 77"/>
              <a:gd name="T11" fmla="*/ 52075811 h 80"/>
              <a:gd name="T12" fmla="*/ 118293696 w 77"/>
              <a:gd name="T13" fmla="*/ 255176036 h 80"/>
              <a:gd name="T14" fmla="*/ 216013393 w 77"/>
              <a:gd name="T15" fmla="*/ 338497332 h 80"/>
              <a:gd name="T16" fmla="*/ 344591821 w 77"/>
              <a:gd name="T17" fmla="*/ 338497332 h 8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7" h="80">
                <a:moveTo>
                  <a:pt x="67" y="65"/>
                </a:moveTo>
                <a:cubicBezTo>
                  <a:pt x="77" y="65"/>
                  <a:pt x="77" y="80"/>
                  <a:pt x="67" y="80"/>
                </a:cubicBezTo>
                <a:cubicBezTo>
                  <a:pt x="67" y="80"/>
                  <a:pt x="47" y="80"/>
                  <a:pt x="40" y="80"/>
                </a:cubicBezTo>
                <a:cubicBezTo>
                  <a:pt x="17" y="80"/>
                  <a:pt x="15" y="78"/>
                  <a:pt x="10" y="54"/>
                </a:cubicBezTo>
                <a:cubicBezTo>
                  <a:pt x="8" y="44"/>
                  <a:pt x="1" y="13"/>
                  <a:pt x="1" y="13"/>
                </a:cubicBezTo>
                <a:cubicBezTo>
                  <a:pt x="0" y="3"/>
                  <a:pt x="13" y="0"/>
                  <a:pt x="15" y="10"/>
                </a:cubicBezTo>
                <a:cubicBezTo>
                  <a:pt x="15" y="10"/>
                  <a:pt x="21" y="40"/>
                  <a:pt x="23" y="49"/>
                </a:cubicBezTo>
                <a:cubicBezTo>
                  <a:pt x="26" y="63"/>
                  <a:pt x="28" y="65"/>
                  <a:pt x="42" y="65"/>
                </a:cubicBezTo>
                <a:lnTo>
                  <a:pt x="67" y="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87" name="Freeform 144"/>
          <p:cNvSpPr>
            <a:spLocks noEditPoints="1"/>
          </p:cNvSpPr>
          <p:nvPr/>
        </p:nvSpPr>
        <p:spPr bwMode="auto">
          <a:xfrm>
            <a:off x="7550152" y="4146551"/>
            <a:ext cx="156633" cy="158749"/>
          </a:xfrm>
          <a:custGeom>
            <a:avLst/>
            <a:gdLst>
              <a:gd name="T0" fmla="*/ 132697049 w 52"/>
              <a:gd name="T1" fmla="*/ 0 h 52"/>
              <a:gd name="T2" fmla="*/ 0 w 52"/>
              <a:gd name="T3" fmla="*/ 136307673 h 52"/>
              <a:gd name="T4" fmla="*/ 132697049 w 52"/>
              <a:gd name="T5" fmla="*/ 272613056 h 52"/>
              <a:gd name="T6" fmla="*/ 265391839 w 52"/>
              <a:gd name="T7" fmla="*/ 136307673 h 52"/>
              <a:gd name="T8" fmla="*/ 132697049 w 52"/>
              <a:gd name="T9" fmla="*/ 0 h 52"/>
              <a:gd name="T10" fmla="*/ 132697049 w 52"/>
              <a:gd name="T11" fmla="*/ 241157791 h 52"/>
              <a:gd name="T12" fmla="*/ 30622570 w 52"/>
              <a:gd name="T13" fmla="*/ 136307673 h 52"/>
              <a:gd name="T14" fmla="*/ 132697049 w 52"/>
              <a:gd name="T15" fmla="*/ 31455265 h 52"/>
              <a:gd name="T16" fmla="*/ 234769269 w 52"/>
              <a:gd name="T17" fmla="*/ 136307673 h 52"/>
              <a:gd name="T18" fmla="*/ 132697049 w 52"/>
              <a:gd name="T19" fmla="*/ 241157791 h 5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2" h="52">
                <a:moveTo>
                  <a:pt x="26" y="0"/>
                </a:moveTo>
                <a:cubicBezTo>
                  <a:pt x="12" y="0"/>
                  <a:pt x="0" y="12"/>
                  <a:pt x="0" y="26"/>
                </a:cubicBezTo>
                <a:cubicBezTo>
                  <a:pt x="0" y="40"/>
                  <a:pt x="12" y="52"/>
                  <a:pt x="26" y="52"/>
                </a:cubicBezTo>
                <a:cubicBezTo>
                  <a:pt x="40" y="52"/>
                  <a:pt x="52" y="40"/>
                  <a:pt x="52" y="26"/>
                </a:cubicBezTo>
                <a:cubicBezTo>
                  <a:pt x="52" y="12"/>
                  <a:pt x="40" y="0"/>
                  <a:pt x="26" y="0"/>
                </a:cubicBezTo>
                <a:close/>
                <a:moveTo>
                  <a:pt x="26" y="46"/>
                </a:moveTo>
                <a:cubicBezTo>
                  <a:pt x="15" y="46"/>
                  <a:pt x="6" y="37"/>
                  <a:pt x="6" y="26"/>
                </a:cubicBezTo>
                <a:cubicBezTo>
                  <a:pt x="6" y="15"/>
                  <a:pt x="15" y="6"/>
                  <a:pt x="26" y="6"/>
                </a:cubicBezTo>
                <a:cubicBezTo>
                  <a:pt x="37" y="6"/>
                  <a:pt x="46" y="15"/>
                  <a:pt x="46" y="26"/>
                </a:cubicBezTo>
                <a:cubicBezTo>
                  <a:pt x="46" y="37"/>
                  <a:pt x="37" y="46"/>
                  <a:pt x="26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88" name="Freeform 145"/>
          <p:cNvSpPr>
            <a:spLocks/>
          </p:cNvSpPr>
          <p:nvPr/>
        </p:nvSpPr>
        <p:spPr bwMode="auto">
          <a:xfrm>
            <a:off x="7626351" y="4174067"/>
            <a:ext cx="42333" cy="59267"/>
          </a:xfrm>
          <a:custGeom>
            <a:avLst/>
            <a:gdLst>
              <a:gd name="T0" fmla="*/ 66860964 w 14"/>
              <a:gd name="T1" fmla="*/ 87571179 h 19"/>
              <a:gd name="T2" fmla="*/ 10287000 w 14"/>
              <a:gd name="T3" fmla="*/ 87571179 h 19"/>
              <a:gd name="T4" fmla="*/ 10287000 w 14"/>
              <a:gd name="T5" fmla="*/ 10946397 h 19"/>
              <a:gd name="T6" fmla="*/ 5143500 w 14"/>
              <a:gd name="T7" fmla="*/ 0 h 19"/>
              <a:gd name="T8" fmla="*/ 0 w 14"/>
              <a:gd name="T9" fmla="*/ 10946397 h 19"/>
              <a:gd name="T10" fmla="*/ 0 w 14"/>
              <a:gd name="T11" fmla="*/ 93043208 h 19"/>
              <a:gd name="T12" fmla="*/ 5143500 w 14"/>
              <a:gd name="T13" fmla="*/ 103989605 h 19"/>
              <a:gd name="T14" fmla="*/ 66860964 w 14"/>
              <a:gd name="T15" fmla="*/ 103989605 h 19"/>
              <a:gd name="T16" fmla="*/ 72004464 w 14"/>
              <a:gd name="T17" fmla="*/ 93043208 h 19"/>
              <a:gd name="T18" fmla="*/ 66860964 w 14"/>
              <a:gd name="T19" fmla="*/ 87571179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4" h="19">
                <a:moveTo>
                  <a:pt x="13" y="16"/>
                </a:moveTo>
                <a:cubicBezTo>
                  <a:pt x="2" y="16"/>
                  <a:pt x="2" y="16"/>
                  <a:pt x="2" y="16"/>
                </a:cubicBezTo>
                <a:cubicBezTo>
                  <a:pt x="2" y="2"/>
                  <a:pt x="2" y="2"/>
                  <a:pt x="2" y="2"/>
                </a:cubicBezTo>
                <a:cubicBezTo>
                  <a:pt x="2" y="1"/>
                  <a:pt x="2" y="0"/>
                  <a:pt x="1" y="0"/>
                </a:cubicBezTo>
                <a:cubicBezTo>
                  <a:pt x="0" y="0"/>
                  <a:pt x="0" y="1"/>
                  <a:pt x="0" y="2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18"/>
                  <a:pt x="0" y="19"/>
                  <a:pt x="1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4" y="19"/>
                  <a:pt x="14" y="18"/>
                  <a:pt x="14" y="17"/>
                </a:cubicBezTo>
                <a:cubicBezTo>
                  <a:pt x="14" y="17"/>
                  <a:pt x="14" y="16"/>
                  <a:pt x="13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89" name="Oval 146"/>
          <p:cNvSpPr>
            <a:spLocks noChangeArrowheads="1"/>
          </p:cNvSpPr>
          <p:nvPr/>
        </p:nvSpPr>
        <p:spPr bwMode="auto">
          <a:xfrm>
            <a:off x="8326967" y="4150785"/>
            <a:ext cx="86784" cy="867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90" name="Line 147"/>
          <p:cNvSpPr>
            <a:spLocks noChangeShapeType="1"/>
          </p:cNvSpPr>
          <p:nvPr/>
        </p:nvSpPr>
        <p:spPr bwMode="auto">
          <a:xfrm>
            <a:off x="8369300" y="419523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91" name="Line 148"/>
          <p:cNvSpPr>
            <a:spLocks noChangeShapeType="1"/>
          </p:cNvSpPr>
          <p:nvPr/>
        </p:nvSpPr>
        <p:spPr bwMode="auto">
          <a:xfrm>
            <a:off x="8369300" y="419523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92" name="Freeform 149"/>
          <p:cNvSpPr>
            <a:spLocks/>
          </p:cNvSpPr>
          <p:nvPr/>
        </p:nvSpPr>
        <p:spPr bwMode="auto">
          <a:xfrm>
            <a:off x="8509001" y="4470400"/>
            <a:ext cx="48684" cy="135467"/>
          </a:xfrm>
          <a:custGeom>
            <a:avLst/>
            <a:gdLst>
              <a:gd name="T0" fmla="*/ 0 w 16"/>
              <a:gd name="T1" fmla="*/ 229390222 h 45"/>
              <a:gd name="T2" fmla="*/ 52078948 w 16"/>
              <a:gd name="T3" fmla="*/ 229390222 h 45"/>
              <a:gd name="T4" fmla="*/ 83324948 w 16"/>
              <a:gd name="T5" fmla="*/ 193708302 h 45"/>
              <a:gd name="T6" fmla="*/ 83324948 w 16"/>
              <a:gd name="T7" fmla="*/ 30586116 h 45"/>
              <a:gd name="T8" fmla="*/ 52078948 w 16"/>
              <a:gd name="T9" fmla="*/ 0 h 45"/>
              <a:gd name="T10" fmla="*/ 0 w 16"/>
              <a:gd name="T11" fmla="*/ 0 h 45"/>
              <a:gd name="T12" fmla="*/ 0 w 16"/>
              <a:gd name="T13" fmla="*/ 229390222 h 4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6" h="45">
                <a:moveTo>
                  <a:pt x="0" y="45"/>
                </a:moveTo>
                <a:cubicBezTo>
                  <a:pt x="10" y="45"/>
                  <a:pt x="10" y="45"/>
                  <a:pt x="10" y="45"/>
                </a:cubicBezTo>
                <a:cubicBezTo>
                  <a:pt x="13" y="45"/>
                  <a:pt x="16" y="42"/>
                  <a:pt x="16" y="38"/>
                </a:cubicBezTo>
                <a:cubicBezTo>
                  <a:pt x="16" y="38"/>
                  <a:pt x="16" y="7"/>
                  <a:pt x="16" y="6"/>
                </a:cubicBezTo>
                <a:cubicBezTo>
                  <a:pt x="16" y="3"/>
                  <a:pt x="13" y="0"/>
                  <a:pt x="10" y="0"/>
                </a:cubicBezTo>
                <a:cubicBezTo>
                  <a:pt x="0" y="0"/>
                  <a:pt x="0" y="0"/>
                  <a:pt x="0" y="0"/>
                </a:cubicBezTo>
                <a:lnTo>
                  <a:pt x="0" y="4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93" name="Freeform 150"/>
          <p:cNvSpPr>
            <a:spLocks noEditPoints="1"/>
          </p:cNvSpPr>
          <p:nvPr/>
        </p:nvSpPr>
        <p:spPr bwMode="auto">
          <a:xfrm>
            <a:off x="8172451" y="4135967"/>
            <a:ext cx="330200" cy="556684"/>
          </a:xfrm>
          <a:custGeom>
            <a:avLst/>
            <a:gdLst>
              <a:gd name="T0" fmla="*/ 562665344 w 109"/>
              <a:gd name="T1" fmla="*/ 572572309 h 183"/>
              <a:gd name="T2" fmla="*/ 531693190 w 109"/>
              <a:gd name="T3" fmla="*/ 572572309 h 183"/>
              <a:gd name="T4" fmla="*/ 531693190 w 109"/>
              <a:gd name="T5" fmla="*/ 541340968 h 183"/>
              <a:gd name="T6" fmla="*/ 516207113 w 109"/>
              <a:gd name="T7" fmla="*/ 525726438 h 183"/>
              <a:gd name="T8" fmla="*/ 516207113 w 109"/>
              <a:gd name="T9" fmla="*/ 525726438 h 183"/>
              <a:gd name="T10" fmla="*/ 516207113 w 109"/>
              <a:gd name="T11" fmla="*/ 291492519 h 183"/>
              <a:gd name="T12" fmla="*/ 418126353 w 109"/>
              <a:gd name="T13" fmla="*/ 192592131 h 183"/>
              <a:gd name="T14" fmla="*/ 242617479 w 109"/>
              <a:gd name="T15" fmla="*/ 192592131 h 183"/>
              <a:gd name="T16" fmla="*/ 87754437 w 109"/>
              <a:gd name="T17" fmla="*/ 31231341 h 183"/>
              <a:gd name="T18" fmla="*/ 36134180 w 109"/>
              <a:gd name="T19" fmla="*/ 83283577 h 183"/>
              <a:gd name="T20" fmla="*/ 242617479 w 109"/>
              <a:gd name="T21" fmla="*/ 312313413 h 183"/>
              <a:gd name="T22" fmla="*/ 242617479 w 109"/>
              <a:gd name="T23" fmla="*/ 890089805 h 183"/>
              <a:gd name="T24" fmla="*/ 325209890 w 109"/>
              <a:gd name="T25" fmla="*/ 890089805 h 183"/>
              <a:gd name="T26" fmla="*/ 330371916 w 109"/>
              <a:gd name="T27" fmla="*/ 556957779 h 183"/>
              <a:gd name="T28" fmla="*/ 345857993 w 109"/>
              <a:gd name="T29" fmla="*/ 556957779 h 183"/>
              <a:gd name="T30" fmla="*/ 351020019 w 109"/>
              <a:gd name="T31" fmla="*/ 890089805 h 183"/>
              <a:gd name="T32" fmla="*/ 433614702 w 109"/>
              <a:gd name="T33" fmla="*/ 890089805 h 183"/>
              <a:gd name="T34" fmla="*/ 433614702 w 109"/>
              <a:gd name="T35" fmla="*/ 806806228 h 183"/>
              <a:gd name="T36" fmla="*/ 562665344 w 109"/>
              <a:gd name="T37" fmla="*/ 806806228 h 183"/>
              <a:gd name="T38" fmla="*/ 562665344 w 109"/>
              <a:gd name="T39" fmla="*/ 572572309 h 183"/>
              <a:gd name="T40" fmla="*/ 433614702 w 109"/>
              <a:gd name="T41" fmla="*/ 541340968 h 183"/>
              <a:gd name="T42" fmla="*/ 433614702 w 109"/>
              <a:gd name="T43" fmla="*/ 572572309 h 183"/>
              <a:gd name="T44" fmla="*/ 433614702 w 109"/>
              <a:gd name="T45" fmla="*/ 572572309 h 183"/>
              <a:gd name="T46" fmla="*/ 433614702 w 109"/>
              <a:gd name="T47" fmla="*/ 312313413 h 183"/>
              <a:gd name="T48" fmla="*/ 449100779 w 109"/>
              <a:gd name="T49" fmla="*/ 312313413 h 183"/>
              <a:gd name="T50" fmla="*/ 454262805 w 109"/>
              <a:gd name="T51" fmla="*/ 525726438 h 183"/>
              <a:gd name="T52" fmla="*/ 454262805 w 109"/>
              <a:gd name="T53" fmla="*/ 525726438 h 183"/>
              <a:gd name="T54" fmla="*/ 433614702 w 109"/>
              <a:gd name="T55" fmla="*/ 541340968 h 183"/>
              <a:gd name="T56" fmla="*/ 516207113 w 109"/>
              <a:gd name="T57" fmla="*/ 572572309 h 183"/>
              <a:gd name="T58" fmla="*/ 454262805 w 109"/>
              <a:gd name="T59" fmla="*/ 572572309 h 183"/>
              <a:gd name="T60" fmla="*/ 454262805 w 109"/>
              <a:gd name="T61" fmla="*/ 541340968 h 183"/>
              <a:gd name="T62" fmla="*/ 459424830 w 109"/>
              <a:gd name="T63" fmla="*/ 541340968 h 183"/>
              <a:gd name="T64" fmla="*/ 511045087 w 109"/>
              <a:gd name="T65" fmla="*/ 541340968 h 183"/>
              <a:gd name="T66" fmla="*/ 516207113 w 109"/>
              <a:gd name="T67" fmla="*/ 541340968 h 183"/>
              <a:gd name="T68" fmla="*/ 516207113 w 109"/>
              <a:gd name="T69" fmla="*/ 572572309 h 183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09" h="183">
                <a:moveTo>
                  <a:pt x="109" y="110"/>
                </a:moveTo>
                <a:cubicBezTo>
                  <a:pt x="103" y="110"/>
                  <a:pt x="103" y="110"/>
                  <a:pt x="103" y="110"/>
                </a:cubicBezTo>
                <a:cubicBezTo>
                  <a:pt x="103" y="104"/>
                  <a:pt x="103" y="104"/>
                  <a:pt x="103" y="104"/>
                </a:cubicBezTo>
                <a:cubicBezTo>
                  <a:pt x="103" y="102"/>
                  <a:pt x="102" y="101"/>
                  <a:pt x="100" y="101"/>
                </a:cubicBezTo>
                <a:cubicBezTo>
                  <a:pt x="100" y="101"/>
                  <a:pt x="100" y="101"/>
                  <a:pt x="100" y="101"/>
                </a:cubicBezTo>
                <a:cubicBezTo>
                  <a:pt x="100" y="56"/>
                  <a:pt x="100" y="56"/>
                  <a:pt x="100" y="56"/>
                </a:cubicBezTo>
                <a:cubicBezTo>
                  <a:pt x="100" y="41"/>
                  <a:pt x="95" y="37"/>
                  <a:pt x="81" y="37"/>
                </a:cubicBezTo>
                <a:cubicBezTo>
                  <a:pt x="47" y="37"/>
                  <a:pt x="47" y="37"/>
                  <a:pt x="47" y="37"/>
                </a:cubicBezTo>
                <a:cubicBezTo>
                  <a:pt x="17" y="6"/>
                  <a:pt x="17" y="6"/>
                  <a:pt x="17" y="6"/>
                </a:cubicBezTo>
                <a:cubicBezTo>
                  <a:pt x="10" y="0"/>
                  <a:pt x="0" y="10"/>
                  <a:pt x="7" y="16"/>
                </a:cubicBezTo>
                <a:cubicBezTo>
                  <a:pt x="47" y="60"/>
                  <a:pt x="47" y="60"/>
                  <a:pt x="47" y="60"/>
                </a:cubicBezTo>
                <a:cubicBezTo>
                  <a:pt x="47" y="171"/>
                  <a:pt x="47" y="171"/>
                  <a:pt x="47" y="171"/>
                </a:cubicBezTo>
                <a:cubicBezTo>
                  <a:pt x="47" y="183"/>
                  <a:pt x="63" y="182"/>
                  <a:pt x="63" y="171"/>
                </a:cubicBezTo>
                <a:cubicBezTo>
                  <a:pt x="64" y="107"/>
                  <a:pt x="64" y="107"/>
                  <a:pt x="64" y="107"/>
                </a:cubicBezTo>
                <a:cubicBezTo>
                  <a:pt x="67" y="107"/>
                  <a:pt x="67" y="107"/>
                  <a:pt x="67" y="107"/>
                </a:cubicBezTo>
                <a:cubicBezTo>
                  <a:pt x="68" y="171"/>
                  <a:pt x="68" y="171"/>
                  <a:pt x="68" y="171"/>
                </a:cubicBezTo>
                <a:cubicBezTo>
                  <a:pt x="68" y="182"/>
                  <a:pt x="84" y="183"/>
                  <a:pt x="84" y="171"/>
                </a:cubicBezTo>
                <a:cubicBezTo>
                  <a:pt x="84" y="155"/>
                  <a:pt x="84" y="155"/>
                  <a:pt x="84" y="155"/>
                </a:cubicBezTo>
                <a:cubicBezTo>
                  <a:pt x="109" y="155"/>
                  <a:pt x="109" y="155"/>
                  <a:pt x="109" y="155"/>
                </a:cubicBezTo>
                <a:cubicBezTo>
                  <a:pt x="109" y="110"/>
                  <a:pt x="109" y="110"/>
                  <a:pt x="109" y="110"/>
                </a:cubicBezTo>
                <a:close/>
                <a:moveTo>
                  <a:pt x="84" y="104"/>
                </a:moveTo>
                <a:cubicBezTo>
                  <a:pt x="84" y="110"/>
                  <a:pt x="84" y="110"/>
                  <a:pt x="84" y="110"/>
                </a:cubicBezTo>
                <a:cubicBezTo>
                  <a:pt x="84" y="110"/>
                  <a:pt x="84" y="110"/>
                  <a:pt x="84" y="110"/>
                </a:cubicBezTo>
                <a:cubicBezTo>
                  <a:pt x="84" y="60"/>
                  <a:pt x="84" y="60"/>
                  <a:pt x="84" y="60"/>
                </a:cubicBezTo>
                <a:cubicBezTo>
                  <a:pt x="87" y="60"/>
                  <a:pt x="87" y="60"/>
                  <a:pt x="87" y="60"/>
                </a:cubicBezTo>
                <a:cubicBezTo>
                  <a:pt x="88" y="101"/>
                  <a:pt x="88" y="101"/>
                  <a:pt x="88" y="101"/>
                </a:cubicBezTo>
                <a:cubicBezTo>
                  <a:pt x="88" y="101"/>
                  <a:pt x="88" y="101"/>
                  <a:pt x="88" y="101"/>
                </a:cubicBezTo>
                <a:cubicBezTo>
                  <a:pt x="86" y="101"/>
                  <a:pt x="84" y="102"/>
                  <a:pt x="84" y="104"/>
                </a:cubicBezTo>
                <a:close/>
                <a:moveTo>
                  <a:pt x="100" y="110"/>
                </a:moveTo>
                <a:cubicBezTo>
                  <a:pt x="88" y="110"/>
                  <a:pt x="88" y="110"/>
                  <a:pt x="88" y="110"/>
                </a:cubicBezTo>
                <a:cubicBezTo>
                  <a:pt x="88" y="104"/>
                  <a:pt x="88" y="104"/>
                  <a:pt x="88" y="104"/>
                </a:cubicBezTo>
                <a:cubicBezTo>
                  <a:pt x="89" y="104"/>
                  <a:pt x="89" y="104"/>
                  <a:pt x="89" y="104"/>
                </a:cubicBezTo>
                <a:cubicBezTo>
                  <a:pt x="91" y="108"/>
                  <a:pt x="96" y="108"/>
                  <a:pt x="99" y="104"/>
                </a:cubicBezTo>
                <a:cubicBezTo>
                  <a:pt x="100" y="104"/>
                  <a:pt x="100" y="104"/>
                  <a:pt x="100" y="104"/>
                </a:cubicBezTo>
                <a:cubicBezTo>
                  <a:pt x="100" y="110"/>
                  <a:pt x="100" y="110"/>
                  <a:pt x="100" y="1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94" name="Oval 151"/>
          <p:cNvSpPr>
            <a:spLocks noChangeArrowheads="1"/>
          </p:cNvSpPr>
          <p:nvPr/>
        </p:nvSpPr>
        <p:spPr bwMode="auto">
          <a:xfrm>
            <a:off x="9294285" y="4135967"/>
            <a:ext cx="88900" cy="86784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95" name="Line 152"/>
          <p:cNvSpPr>
            <a:spLocks noChangeShapeType="1"/>
          </p:cNvSpPr>
          <p:nvPr/>
        </p:nvSpPr>
        <p:spPr bwMode="auto">
          <a:xfrm>
            <a:off x="9336617" y="418041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96" name="Line 153"/>
          <p:cNvSpPr>
            <a:spLocks noChangeShapeType="1"/>
          </p:cNvSpPr>
          <p:nvPr/>
        </p:nvSpPr>
        <p:spPr bwMode="auto">
          <a:xfrm>
            <a:off x="9336617" y="418041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97" name="Freeform 154"/>
          <p:cNvSpPr>
            <a:spLocks/>
          </p:cNvSpPr>
          <p:nvPr/>
        </p:nvSpPr>
        <p:spPr bwMode="auto">
          <a:xfrm>
            <a:off x="9124951" y="4233334"/>
            <a:ext cx="317500" cy="446617"/>
          </a:xfrm>
          <a:custGeom>
            <a:avLst/>
            <a:gdLst>
              <a:gd name="T0" fmla="*/ 267446125 w 105"/>
              <a:gd name="T1" fmla="*/ 119422285 h 147"/>
              <a:gd name="T2" fmla="*/ 267446125 w 105"/>
              <a:gd name="T3" fmla="*/ 700959069 h 147"/>
              <a:gd name="T4" fmla="*/ 349735321 w 105"/>
              <a:gd name="T5" fmla="*/ 700959069 h 147"/>
              <a:gd name="T6" fmla="*/ 354878821 w 105"/>
              <a:gd name="T7" fmla="*/ 363459920 h 147"/>
              <a:gd name="T8" fmla="*/ 370309321 w 105"/>
              <a:gd name="T9" fmla="*/ 363459920 h 147"/>
              <a:gd name="T10" fmla="*/ 375452821 w 105"/>
              <a:gd name="T11" fmla="*/ 700959069 h 147"/>
              <a:gd name="T12" fmla="*/ 457742018 w 105"/>
              <a:gd name="T13" fmla="*/ 700959069 h 147"/>
              <a:gd name="T14" fmla="*/ 457742018 w 105"/>
              <a:gd name="T15" fmla="*/ 119422285 h 147"/>
              <a:gd name="T16" fmla="*/ 473172518 w 105"/>
              <a:gd name="T17" fmla="*/ 119422285 h 147"/>
              <a:gd name="T18" fmla="*/ 478316018 w 105"/>
              <a:gd name="T19" fmla="*/ 332306083 h 147"/>
              <a:gd name="T20" fmla="*/ 540033482 w 105"/>
              <a:gd name="T21" fmla="*/ 332306083 h 147"/>
              <a:gd name="T22" fmla="*/ 540033482 w 105"/>
              <a:gd name="T23" fmla="*/ 98654579 h 147"/>
              <a:gd name="T24" fmla="*/ 442313786 w 105"/>
              <a:gd name="T25" fmla="*/ 0 h 147"/>
              <a:gd name="T26" fmla="*/ 360022321 w 105"/>
              <a:gd name="T27" fmla="*/ 0 h 147"/>
              <a:gd name="T28" fmla="*/ 308589589 w 105"/>
              <a:gd name="T29" fmla="*/ 0 h 147"/>
              <a:gd name="T30" fmla="*/ 221156893 w 105"/>
              <a:gd name="T31" fmla="*/ 41537691 h 147"/>
              <a:gd name="T32" fmla="*/ 164580661 w 105"/>
              <a:gd name="T33" fmla="*/ 145383057 h 147"/>
              <a:gd name="T34" fmla="*/ 46289232 w 105"/>
              <a:gd name="T35" fmla="*/ 145383057 h 147"/>
              <a:gd name="T36" fmla="*/ 46289232 w 105"/>
              <a:gd name="T37" fmla="*/ 212883798 h 147"/>
              <a:gd name="T38" fmla="*/ 180011161 w 105"/>
              <a:gd name="T39" fmla="*/ 212883798 h 147"/>
              <a:gd name="T40" fmla="*/ 210869893 w 105"/>
              <a:gd name="T41" fmla="*/ 197306879 h 147"/>
              <a:gd name="T42" fmla="*/ 267446125 w 105"/>
              <a:gd name="T43" fmla="*/ 119422285 h 14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05" h="147">
                <a:moveTo>
                  <a:pt x="52" y="23"/>
                </a:moveTo>
                <a:cubicBezTo>
                  <a:pt x="52" y="135"/>
                  <a:pt x="52" y="135"/>
                  <a:pt x="52" y="135"/>
                </a:cubicBezTo>
                <a:cubicBezTo>
                  <a:pt x="52" y="147"/>
                  <a:pt x="68" y="146"/>
                  <a:pt x="68" y="135"/>
                </a:cubicBezTo>
                <a:cubicBezTo>
                  <a:pt x="69" y="70"/>
                  <a:pt x="69" y="70"/>
                  <a:pt x="69" y="70"/>
                </a:cubicBezTo>
                <a:cubicBezTo>
                  <a:pt x="72" y="70"/>
                  <a:pt x="72" y="70"/>
                  <a:pt x="72" y="70"/>
                </a:cubicBezTo>
                <a:cubicBezTo>
                  <a:pt x="73" y="135"/>
                  <a:pt x="73" y="135"/>
                  <a:pt x="73" y="135"/>
                </a:cubicBezTo>
                <a:cubicBezTo>
                  <a:pt x="73" y="146"/>
                  <a:pt x="89" y="147"/>
                  <a:pt x="89" y="135"/>
                </a:cubicBezTo>
                <a:cubicBezTo>
                  <a:pt x="89" y="23"/>
                  <a:pt x="89" y="23"/>
                  <a:pt x="89" y="23"/>
                </a:cubicBezTo>
                <a:cubicBezTo>
                  <a:pt x="92" y="23"/>
                  <a:pt x="92" y="23"/>
                  <a:pt x="92" y="23"/>
                </a:cubicBezTo>
                <a:cubicBezTo>
                  <a:pt x="93" y="64"/>
                  <a:pt x="93" y="64"/>
                  <a:pt x="93" y="64"/>
                </a:cubicBezTo>
                <a:cubicBezTo>
                  <a:pt x="93" y="73"/>
                  <a:pt x="105" y="73"/>
                  <a:pt x="105" y="64"/>
                </a:cubicBezTo>
                <a:cubicBezTo>
                  <a:pt x="105" y="19"/>
                  <a:pt x="105" y="19"/>
                  <a:pt x="105" y="19"/>
                </a:cubicBezTo>
                <a:cubicBezTo>
                  <a:pt x="105" y="4"/>
                  <a:pt x="100" y="0"/>
                  <a:pt x="86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50" y="0"/>
                  <a:pt x="47" y="3"/>
                  <a:pt x="43" y="8"/>
                </a:cubicBezTo>
                <a:cubicBezTo>
                  <a:pt x="32" y="28"/>
                  <a:pt x="32" y="28"/>
                  <a:pt x="32" y="28"/>
                </a:cubicBezTo>
                <a:cubicBezTo>
                  <a:pt x="9" y="28"/>
                  <a:pt x="9" y="28"/>
                  <a:pt x="9" y="28"/>
                </a:cubicBezTo>
                <a:cubicBezTo>
                  <a:pt x="0" y="28"/>
                  <a:pt x="0" y="41"/>
                  <a:pt x="9" y="41"/>
                </a:cubicBezTo>
                <a:cubicBezTo>
                  <a:pt x="35" y="41"/>
                  <a:pt x="35" y="41"/>
                  <a:pt x="35" y="41"/>
                </a:cubicBezTo>
                <a:cubicBezTo>
                  <a:pt x="37" y="41"/>
                  <a:pt x="40" y="40"/>
                  <a:pt x="41" y="38"/>
                </a:cubicBezTo>
                <a:lnTo>
                  <a:pt x="52" y="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498" name="Rectangle 155"/>
          <p:cNvSpPr>
            <a:spLocks noChangeArrowheads="1"/>
          </p:cNvSpPr>
          <p:nvPr/>
        </p:nvSpPr>
        <p:spPr bwMode="auto">
          <a:xfrm>
            <a:off x="9120718" y="4478867"/>
            <a:ext cx="27516" cy="338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499" name="Line 156"/>
          <p:cNvSpPr>
            <a:spLocks noChangeShapeType="1"/>
          </p:cNvSpPr>
          <p:nvPr/>
        </p:nvSpPr>
        <p:spPr bwMode="auto">
          <a:xfrm>
            <a:off x="9137651" y="44936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0" name="Line 157"/>
          <p:cNvSpPr>
            <a:spLocks noChangeShapeType="1"/>
          </p:cNvSpPr>
          <p:nvPr/>
        </p:nvSpPr>
        <p:spPr bwMode="auto">
          <a:xfrm>
            <a:off x="9137651" y="44936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1" name="Freeform 158"/>
          <p:cNvSpPr>
            <a:spLocks/>
          </p:cNvSpPr>
          <p:nvPr/>
        </p:nvSpPr>
        <p:spPr bwMode="auto">
          <a:xfrm>
            <a:off x="9137651" y="4434418"/>
            <a:ext cx="42333" cy="42333"/>
          </a:xfrm>
          <a:custGeom>
            <a:avLst/>
            <a:gdLst>
              <a:gd name="T0" fmla="*/ 25201563 w 20"/>
              <a:gd name="T1" fmla="*/ 0 h 20"/>
              <a:gd name="T2" fmla="*/ 50403125 w 20"/>
              <a:gd name="T3" fmla="*/ 25201563 h 20"/>
              <a:gd name="T4" fmla="*/ 27722513 w 20"/>
              <a:gd name="T5" fmla="*/ 50403125 h 20"/>
              <a:gd name="T6" fmla="*/ 0 w 20"/>
              <a:gd name="T7" fmla="*/ 20161250 h 20"/>
              <a:gd name="T8" fmla="*/ 25201563 w 20"/>
              <a:gd name="T9" fmla="*/ 0 h 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20">
                <a:moveTo>
                  <a:pt x="10" y="0"/>
                </a:moveTo>
                <a:lnTo>
                  <a:pt x="20" y="10"/>
                </a:lnTo>
                <a:lnTo>
                  <a:pt x="11" y="20"/>
                </a:lnTo>
                <a:lnTo>
                  <a:pt x="0" y="8"/>
                </a:lnTo>
                <a:lnTo>
                  <a:pt x="1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2" name="Line 159"/>
          <p:cNvSpPr>
            <a:spLocks noChangeShapeType="1"/>
          </p:cNvSpPr>
          <p:nvPr/>
        </p:nvSpPr>
        <p:spPr bwMode="auto">
          <a:xfrm>
            <a:off x="9158817" y="44555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3" name="Line 160"/>
          <p:cNvSpPr>
            <a:spLocks noChangeShapeType="1"/>
          </p:cNvSpPr>
          <p:nvPr/>
        </p:nvSpPr>
        <p:spPr bwMode="auto">
          <a:xfrm>
            <a:off x="9158817" y="44555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4" name="Freeform 161"/>
          <p:cNvSpPr>
            <a:spLocks/>
          </p:cNvSpPr>
          <p:nvPr/>
        </p:nvSpPr>
        <p:spPr bwMode="auto">
          <a:xfrm>
            <a:off x="9118600" y="4389968"/>
            <a:ext cx="42333" cy="40217"/>
          </a:xfrm>
          <a:custGeom>
            <a:avLst/>
            <a:gdLst>
              <a:gd name="T0" fmla="*/ 15120938 w 20"/>
              <a:gd name="T1" fmla="*/ 0 h 19"/>
              <a:gd name="T2" fmla="*/ 50403125 w 20"/>
              <a:gd name="T3" fmla="*/ 20161584 h 19"/>
              <a:gd name="T4" fmla="*/ 32762825 w 20"/>
              <a:gd name="T5" fmla="*/ 47884556 h 19"/>
              <a:gd name="T6" fmla="*/ 0 w 20"/>
              <a:gd name="T7" fmla="*/ 25201980 h 19"/>
              <a:gd name="T8" fmla="*/ 15120938 w 20"/>
              <a:gd name="T9" fmla="*/ 0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9">
                <a:moveTo>
                  <a:pt x="6" y="0"/>
                </a:moveTo>
                <a:lnTo>
                  <a:pt x="20" y="8"/>
                </a:lnTo>
                <a:lnTo>
                  <a:pt x="13" y="19"/>
                </a:lnTo>
                <a:lnTo>
                  <a:pt x="0" y="10"/>
                </a:lnTo>
                <a:lnTo>
                  <a:pt x="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5" name="Line 162"/>
          <p:cNvSpPr>
            <a:spLocks noChangeShapeType="1"/>
          </p:cNvSpPr>
          <p:nvPr/>
        </p:nvSpPr>
        <p:spPr bwMode="auto">
          <a:xfrm>
            <a:off x="9139767" y="440901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6" name="Line 163"/>
          <p:cNvSpPr>
            <a:spLocks noChangeShapeType="1"/>
          </p:cNvSpPr>
          <p:nvPr/>
        </p:nvSpPr>
        <p:spPr bwMode="auto">
          <a:xfrm>
            <a:off x="9139767" y="4409017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7" name="Freeform 164"/>
          <p:cNvSpPr>
            <a:spLocks/>
          </p:cNvSpPr>
          <p:nvPr/>
        </p:nvSpPr>
        <p:spPr bwMode="auto">
          <a:xfrm>
            <a:off x="9048751" y="4442884"/>
            <a:ext cx="194733" cy="228600"/>
          </a:xfrm>
          <a:custGeom>
            <a:avLst/>
            <a:gdLst>
              <a:gd name="T0" fmla="*/ 181451250 w 92"/>
              <a:gd name="T1" fmla="*/ 272176875 h 108"/>
              <a:gd name="T2" fmla="*/ 231854375 w 92"/>
              <a:gd name="T3" fmla="*/ 0 h 108"/>
              <a:gd name="T4" fmla="*/ 194052825 w 92"/>
              <a:gd name="T5" fmla="*/ 0 h 108"/>
              <a:gd name="T6" fmla="*/ 148690013 w 92"/>
              <a:gd name="T7" fmla="*/ 231854375 h 108"/>
              <a:gd name="T8" fmla="*/ 83165950 w 92"/>
              <a:gd name="T9" fmla="*/ 231854375 h 108"/>
              <a:gd name="T10" fmla="*/ 40322500 w 92"/>
              <a:gd name="T11" fmla="*/ 0 h 108"/>
              <a:gd name="T12" fmla="*/ 0 w 92"/>
              <a:gd name="T13" fmla="*/ 0 h 108"/>
              <a:gd name="T14" fmla="*/ 50403125 w 92"/>
              <a:gd name="T15" fmla="*/ 272176875 h 108"/>
              <a:gd name="T16" fmla="*/ 181451250 w 92"/>
              <a:gd name="T17" fmla="*/ 272176875 h 10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92" h="108">
                <a:moveTo>
                  <a:pt x="72" y="108"/>
                </a:moveTo>
                <a:lnTo>
                  <a:pt x="92" y="0"/>
                </a:lnTo>
                <a:lnTo>
                  <a:pt x="77" y="0"/>
                </a:lnTo>
                <a:lnTo>
                  <a:pt x="59" y="92"/>
                </a:lnTo>
                <a:lnTo>
                  <a:pt x="33" y="92"/>
                </a:lnTo>
                <a:lnTo>
                  <a:pt x="16" y="0"/>
                </a:lnTo>
                <a:lnTo>
                  <a:pt x="0" y="0"/>
                </a:lnTo>
                <a:lnTo>
                  <a:pt x="20" y="108"/>
                </a:lnTo>
                <a:lnTo>
                  <a:pt x="72" y="1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8" name="Freeform 165"/>
          <p:cNvSpPr>
            <a:spLocks/>
          </p:cNvSpPr>
          <p:nvPr/>
        </p:nvSpPr>
        <p:spPr bwMode="auto">
          <a:xfrm>
            <a:off x="9916584" y="4140200"/>
            <a:ext cx="455083" cy="245533"/>
          </a:xfrm>
          <a:custGeom>
            <a:avLst/>
            <a:gdLst>
              <a:gd name="T0" fmla="*/ 735208802 w 150"/>
              <a:gd name="T1" fmla="*/ 323215476 h 80"/>
              <a:gd name="T2" fmla="*/ 698966019 w 150"/>
              <a:gd name="T3" fmla="*/ 323215476 h 80"/>
              <a:gd name="T4" fmla="*/ 434911127 w 150"/>
              <a:gd name="T5" fmla="*/ 58285777 h 80"/>
              <a:gd name="T6" fmla="*/ 434911127 w 150"/>
              <a:gd name="T7" fmla="*/ 42389028 h 80"/>
              <a:gd name="T8" fmla="*/ 393491779 w 150"/>
              <a:gd name="T9" fmla="*/ 0 h 80"/>
              <a:gd name="T10" fmla="*/ 377959807 w 150"/>
              <a:gd name="T11" fmla="*/ 0 h 80"/>
              <a:gd name="T12" fmla="*/ 336538183 w 150"/>
              <a:gd name="T13" fmla="*/ 42389028 h 80"/>
              <a:gd name="T14" fmla="*/ 336538183 w 150"/>
              <a:gd name="T15" fmla="*/ 58285777 h 80"/>
              <a:gd name="T16" fmla="*/ 77662132 w 150"/>
              <a:gd name="T17" fmla="*/ 323215476 h 80"/>
              <a:gd name="T18" fmla="*/ 41419349 w 150"/>
              <a:gd name="T19" fmla="*/ 323215476 h 80"/>
              <a:gd name="T20" fmla="*/ 0 w 150"/>
              <a:gd name="T21" fmla="*/ 370903421 h 80"/>
              <a:gd name="T22" fmla="*/ 0 w 150"/>
              <a:gd name="T23" fmla="*/ 381501253 h 80"/>
              <a:gd name="T24" fmla="*/ 41419349 w 150"/>
              <a:gd name="T25" fmla="*/ 423890281 h 80"/>
              <a:gd name="T26" fmla="*/ 735208802 w 150"/>
              <a:gd name="T27" fmla="*/ 423890281 h 80"/>
              <a:gd name="T28" fmla="*/ 776628151 w 150"/>
              <a:gd name="T29" fmla="*/ 381501253 h 80"/>
              <a:gd name="T30" fmla="*/ 776628151 w 150"/>
              <a:gd name="T31" fmla="*/ 370903421 h 80"/>
              <a:gd name="T32" fmla="*/ 735208802 w 150"/>
              <a:gd name="T33" fmla="*/ 323215476 h 8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50" h="80">
                <a:moveTo>
                  <a:pt x="142" y="61"/>
                </a:moveTo>
                <a:cubicBezTo>
                  <a:pt x="135" y="61"/>
                  <a:pt x="135" y="61"/>
                  <a:pt x="135" y="61"/>
                </a:cubicBezTo>
                <a:cubicBezTo>
                  <a:pt x="130" y="36"/>
                  <a:pt x="110" y="15"/>
                  <a:pt x="84" y="11"/>
                </a:cubicBezTo>
                <a:cubicBezTo>
                  <a:pt x="84" y="8"/>
                  <a:pt x="84" y="8"/>
                  <a:pt x="84" y="8"/>
                </a:cubicBezTo>
                <a:cubicBezTo>
                  <a:pt x="84" y="4"/>
                  <a:pt x="80" y="0"/>
                  <a:pt x="76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69" y="0"/>
                  <a:pt x="65" y="4"/>
                  <a:pt x="65" y="8"/>
                </a:cubicBezTo>
                <a:cubicBezTo>
                  <a:pt x="65" y="11"/>
                  <a:pt x="65" y="11"/>
                  <a:pt x="65" y="11"/>
                </a:cubicBezTo>
                <a:cubicBezTo>
                  <a:pt x="39" y="15"/>
                  <a:pt x="19" y="36"/>
                  <a:pt x="15" y="61"/>
                </a:cubicBezTo>
                <a:cubicBezTo>
                  <a:pt x="8" y="61"/>
                  <a:pt x="8" y="61"/>
                  <a:pt x="8" y="61"/>
                </a:cubicBezTo>
                <a:cubicBezTo>
                  <a:pt x="3" y="61"/>
                  <a:pt x="0" y="65"/>
                  <a:pt x="0" y="70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7"/>
                  <a:pt x="3" y="80"/>
                  <a:pt x="8" y="80"/>
                </a:cubicBezTo>
                <a:cubicBezTo>
                  <a:pt x="142" y="80"/>
                  <a:pt x="142" y="80"/>
                  <a:pt x="142" y="80"/>
                </a:cubicBezTo>
                <a:cubicBezTo>
                  <a:pt x="147" y="80"/>
                  <a:pt x="150" y="77"/>
                  <a:pt x="150" y="72"/>
                </a:cubicBezTo>
                <a:cubicBezTo>
                  <a:pt x="150" y="70"/>
                  <a:pt x="150" y="70"/>
                  <a:pt x="150" y="70"/>
                </a:cubicBezTo>
                <a:cubicBezTo>
                  <a:pt x="150" y="65"/>
                  <a:pt x="147" y="61"/>
                  <a:pt x="142" y="6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09" name="Freeform 166"/>
          <p:cNvSpPr>
            <a:spLocks/>
          </p:cNvSpPr>
          <p:nvPr/>
        </p:nvSpPr>
        <p:spPr bwMode="auto">
          <a:xfrm>
            <a:off x="9973734" y="44026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14820297 w 5"/>
              <a:gd name="T3" fmla="*/ 81317042 h 15"/>
              <a:gd name="T4" fmla="*/ 1482029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3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3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0" name="Freeform 167"/>
          <p:cNvSpPr>
            <a:spLocks/>
          </p:cNvSpPr>
          <p:nvPr/>
        </p:nvSpPr>
        <p:spPr bwMode="auto">
          <a:xfrm>
            <a:off x="10028768" y="44026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14820297 w 5"/>
              <a:gd name="T3" fmla="*/ 81317042 h 15"/>
              <a:gd name="T4" fmla="*/ 1482029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3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1" y="15"/>
                  <a:pt x="0" y="13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1" name="Freeform 168"/>
          <p:cNvSpPr>
            <a:spLocks/>
          </p:cNvSpPr>
          <p:nvPr/>
        </p:nvSpPr>
        <p:spPr bwMode="auto">
          <a:xfrm>
            <a:off x="10083801" y="44026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9879457 w 5"/>
              <a:gd name="T3" fmla="*/ 81317042 h 15"/>
              <a:gd name="T4" fmla="*/ 987945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9879457 w 5"/>
              <a:gd name="T11" fmla="*/ 0 h 15"/>
              <a:gd name="T12" fmla="*/ 987945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3"/>
                  <a:pt x="4" y="15"/>
                  <a:pt x="2" y="15"/>
                </a:cubicBezTo>
                <a:cubicBezTo>
                  <a:pt x="2" y="15"/>
                  <a:pt x="2" y="15"/>
                  <a:pt x="2" y="15"/>
                </a:cubicBezTo>
                <a:cubicBezTo>
                  <a:pt x="1" y="15"/>
                  <a:pt x="0" y="13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2" name="Freeform 169"/>
          <p:cNvSpPr>
            <a:spLocks/>
          </p:cNvSpPr>
          <p:nvPr/>
        </p:nvSpPr>
        <p:spPr bwMode="auto">
          <a:xfrm>
            <a:off x="10134600" y="4402667"/>
            <a:ext cx="19051" cy="46567"/>
          </a:xfrm>
          <a:custGeom>
            <a:avLst/>
            <a:gdLst>
              <a:gd name="T0" fmla="*/ 34024491 w 6"/>
              <a:gd name="T1" fmla="*/ 65053633 h 15"/>
              <a:gd name="T2" fmla="*/ 17012245 w 6"/>
              <a:gd name="T3" fmla="*/ 81317042 h 15"/>
              <a:gd name="T4" fmla="*/ 17012245 w 6"/>
              <a:gd name="T5" fmla="*/ 81317042 h 15"/>
              <a:gd name="T6" fmla="*/ 0 w 6"/>
              <a:gd name="T7" fmla="*/ 65053633 h 15"/>
              <a:gd name="T8" fmla="*/ 0 w 6"/>
              <a:gd name="T9" fmla="*/ 10843048 h 15"/>
              <a:gd name="T10" fmla="*/ 17012245 w 6"/>
              <a:gd name="T11" fmla="*/ 0 h 15"/>
              <a:gd name="T12" fmla="*/ 17012245 w 6"/>
              <a:gd name="T13" fmla="*/ 0 h 15"/>
              <a:gd name="T14" fmla="*/ 34024491 w 6"/>
              <a:gd name="T15" fmla="*/ 10843048 h 15"/>
              <a:gd name="T16" fmla="*/ 34024491 w 6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">
                <a:moveTo>
                  <a:pt x="6" y="12"/>
                </a:moveTo>
                <a:cubicBezTo>
                  <a:pt x="6" y="13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3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6" y="1"/>
                  <a:pt x="6" y="2"/>
                </a:cubicBezTo>
                <a:lnTo>
                  <a:pt x="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3" name="Freeform 170"/>
          <p:cNvSpPr>
            <a:spLocks/>
          </p:cNvSpPr>
          <p:nvPr/>
        </p:nvSpPr>
        <p:spPr bwMode="auto">
          <a:xfrm>
            <a:off x="10189634" y="44026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14820297 w 5"/>
              <a:gd name="T3" fmla="*/ 81317042 h 15"/>
              <a:gd name="T4" fmla="*/ 1482029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3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1" y="15"/>
                  <a:pt x="0" y="13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4" name="Freeform 171"/>
          <p:cNvSpPr>
            <a:spLocks/>
          </p:cNvSpPr>
          <p:nvPr/>
        </p:nvSpPr>
        <p:spPr bwMode="auto">
          <a:xfrm>
            <a:off x="10244668" y="44026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9879457 w 5"/>
              <a:gd name="T3" fmla="*/ 81317042 h 15"/>
              <a:gd name="T4" fmla="*/ 987945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9879457 w 5"/>
              <a:gd name="T11" fmla="*/ 0 h 15"/>
              <a:gd name="T12" fmla="*/ 987945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3"/>
                  <a:pt x="4" y="15"/>
                  <a:pt x="2" y="15"/>
                </a:cubicBezTo>
                <a:cubicBezTo>
                  <a:pt x="2" y="15"/>
                  <a:pt x="2" y="15"/>
                  <a:pt x="2" y="15"/>
                </a:cubicBezTo>
                <a:cubicBezTo>
                  <a:pt x="1" y="15"/>
                  <a:pt x="0" y="13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5" name="Freeform 172"/>
          <p:cNvSpPr>
            <a:spLocks/>
          </p:cNvSpPr>
          <p:nvPr/>
        </p:nvSpPr>
        <p:spPr bwMode="auto">
          <a:xfrm>
            <a:off x="10295467" y="4402667"/>
            <a:ext cx="19051" cy="46567"/>
          </a:xfrm>
          <a:custGeom>
            <a:avLst/>
            <a:gdLst>
              <a:gd name="T0" fmla="*/ 34024491 w 6"/>
              <a:gd name="T1" fmla="*/ 65053633 h 15"/>
              <a:gd name="T2" fmla="*/ 17012245 w 6"/>
              <a:gd name="T3" fmla="*/ 81317042 h 15"/>
              <a:gd name="T4" fmla="*/ 17012245 w 6"/>
              <a:gd name="T5" fmla="*/ 81317042 h 15"/>
              <a:gd name="T6" fmla="*/ 0 w 6"/>
              <a:gd name="T7" fmla="*/ 65053633 h 15"/>
              <a:gd name="T8" fmla="*/ 0 w 6"/>
              <a:gd name="T9" fmla="*/ 10843048 h 15"/>
              <a:gd name="T10" fmla="*/ 17012245 w 6"/>
              <a:gd name="T11" fmla="*/ 0 h 15"/>
              <a:gd name="T12" fmla="*/ 17012245 w 6"/>
              <a:gd name="T13" fmla="*/ 0 h 15"/>
              <a:gd name="T14" fmla="*/ 34024491 w 6"/>
              <a:gd name="T15" fmla="*/ 10843048 h 15"/>
              <a:gd name="T16" fmla="*/ 34024491 w 6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">
                <a:moveTo>
                  <a:pt x="6" y="12"/>
                </a:moveTo>
                <a:cubicBezTo>
                  <a:pt x="6" y="13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3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6" y="1"/>
                  <a:pt x="6" y="2"/>
                </a:cubicBezTo>
                <a:lnTo>
                  <a:pt x="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6" name="Freeform 173"/>
          <p:cNvSpPr>
            <a:spLocks/>
          </p:cNvSpPr>
          <p:nvPr/>
        </p:nvSpPr>
        <p:spPr bwMode="auto">
          <a:xfrm>
            <a:off x="9973734" y="44661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14820297 w 5"/>
              <a:gd name="T3" fmla="*/ 81317042 h 15"/>
              <a:gd name="T4" fmla="*/ 1482029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4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7" name="Freeform 174"/>
          <p:cNvSpPr>
            <a:spLocks/>
          </p:cNvSpPr>
          <p:nvPr/>
        </p:nvSpPr>
        <p:spPr bwMode="auto">
          <a:xfrm>
            <a:off x="10028768" y="44661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14820297 w 5"/>
              <a:gd name="T3" fmla="*/ 81317042 h 15"/>
              <a:gd name="T4" fmla="*/ 1482029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8" name="Freeform 175"/>
          <p:cNvSpPr>
            <a:spLocks/>
          </p:cNvSpPr>
          <p:nvPr/>
        </p:nvSpPr>
        <p:spPr bwMode="auto">
          <a:xfrm>
            <a:off x="10083801" y="44661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9879457 w 5"/>
              <a:gd name="T3" fmla="*/ 81317042 h 15"/>
              <a:gd name="T4" fmla="*/ 987945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9879457 w 5"/>
              <a:gd name="T11" fmla="*/ 0 h 15"/>
              <a:gd name="T12" fmla="*/ 987945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2" y="15"/>
                </a:cubicBezTo>
                <a:cubicBezTo>
                  <a:pt x="2" y="15"/>
                  <a:pt x="2" y="15"/>
                  <a:pt x="2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19" name="Freeform 176"/>
          <p:cNvSpPr>
            <a:spLocks/>
          </p:cNvSpPr>
          <p:nvPr/>
        </p:nvSpPr>
        <p:spPr bwMode="auto">
          <a:xfrm>
            <a:off x="10134600" y="4466167"/>
            <a:ext cx="19051" cy="46567"/>
          </a:xfrm>
          <a:custGeom>
            <a:avLst/>
            <a:gdLst>
              <a:gd name="T0" fmla="*/ 34024491 w 6"/>
              <a:gd name="T1" fmla="*/ 65053633 h 15"/>
              <a:gd name="T2" fmla="*/ 17012245 w 6"/>
              <a:gd name="T3" fmla="*/ 81317042 h 15"/>
              <a:gd name="T4" fmla="*/ 17012245 w 6"/>
              <a:gd name="T5" fmla="*/ 81317042 h 15"/>
              <a:gd name="T6" fmla="*/ 0 w 6"/>
              <a:gd name="T7" fmla="*/ 65053633 h 15"/>
              <a:gd name="T8" fmla="*/ 0 w 6"/>
              <a:gd name="T9" fmla="*/ 10843048 h 15"/>
              <a:gd name="T10" fmla="*/ 17012245 w 6"/>
              <a:gd name="T11" fmla="*/ 0 h 15"/>
              <a:gd name="T12" fmla="*/ 17012245 w 6"/>
              <a:gd name="T13" fmla="*/ 0 h 15"/>
              <a:gd name="T14" fmla="*/ 34024491 w 6"/>
              <a:gd name="T15" fmla="*/ 10843048 h 15"/>
              <a:gd name="T16" fmla="*/ 34024491 w 6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">
                <a:moveTo>
                  <a:pt x="6" y="12"/>
                </a:moveTo>
                <a:cubicBezTo>
                  <a:pt x="6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4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6" y="1"/>
                  <a:pt x="6" y="2"/>
                </a:cubicBezTo>
                <a:lnTo>
                  <a:pt x="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0" name="Freeform 177"/>
          <p:cNvSpPr>
            <a:spLocks/>
          </p:cNvSpPr>
          <p:nvPr/>
        </p:nvSpPr>
        <p:spPr bwMode="auto">
          <a:xfrm>
            <a:off x="10189634" y="44661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14820297 w 5"/>
              <a:gd name="T3" fmla="*/ 81317042 h 15"/>
              <a:gd name="T4" fmla="*/ 1482029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1" name="Freeform 178"/>
          <p:cNvSpPr>
            <a:spLocks/>
          </p:cNvSpPr>
          <p:nvPr/>
        </p:nvSpPr>
        <p:spPr bwMode="auto">
          <a:xfrm>
            <a:off x="10244668" y="4466167"/>
            <a:ext cx="14817" cy="46567"/>
          </a:xfrm>
          <a:custGeom>
            <a:avLst/>
            <a:gdLst>
              <a:gd name="T0" fmla="*/ 24699754 w 5"/>
              <a:gd name="T1" fmla="*/ 65053633 h 15"/>
              <a:gd name="T2" fmla="*/ 9879457 w 5"/>
              <a:gd name="T3" fmla="*/ 81317042 h 15"/>
              <a:gd name="T4" fmla="*/ 9879457 w 5"/>
              <a:gd name="T5" fmla="*/ 81317042 h 15"/>
              <a:gd name="T6" fmla="*/ 0 w 5"/>
              <a:gd name="T7" fmla="*/ 65053633 h 15"/>
              <a:gd name="T8" fmla="*/ 0 w 5"/>
              <a:gd name="T9" fmla="*/ 10843048 h 15"/>
              <a:gd name="T10" fmla="*/ 9879457 w 5"/>
              <a:gd name="T11" fmla="*/ 0 h 15"/>
              <a:gd name="T12" fmla="*/ 9879457 w 5"/>
              <a:gd name="T13" fmla="*/ 0 h 15"/>
              <a:gd name="T14" fmla="*/ 24699754 w 5"/>
              <a:gd name="T15" fmla="*/ 10843048 h 15"/>
              <a:gd name="T16" fmla="*/ 24699754 w 5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2" y="15"/>
                </a:cubicBezTo>
                <a:cubicBezTo>
                  <a:pt x="2" y="15"/>
                  <a:pt x="2" y="15"/>
                  <a:pt x="2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4" y="0"/>
                  <a:pt x="5" y="1"/>
                  <a:pt x="5" y="2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2" name="Freeform 179"/>
          <p:cNvSpPr>
            <a:spLocks/>
          </p:cNvSpPr>
          <p:nvPr/>
        </p:nvSpPr>
        <p:spPr bwMode="auto">
          <a:xfrm>
            <a:off x="10295467" y="4466167"/>
            <a:ext cx="19051" cy="46567"/>
          </a:xfrm>
          <a:custGeom>
            <a:avLst/>
            <a:gdLst>
              <a:gd name="T0" fmla="*/ 34024491 w 6"/>
              <a:gd name="T1" fmla="*/ 65053633 h 15"/>
              <a:gd name="T2" fmla="*/ 17012245 w 6"/>
              <a:gd name="T3" fmla="*/ 81317042 h 15"/>
              <a:gd name="T4" fmla="*/ 17012245 w 6"/>
              <a:gd name="T5" fmla="*/ 81317042 h 15"/>
              <a:gd name="T6" fmla="*/ 0 w 6"/>
              <a:gd name="T7" fmla="*/ 65053633 h 15"/>
              <a:gd name="T8" fmla="*/ 0 w 6"/>
              <a:gd name="T9" fmla="*/ 10843048 h 15"/>
              <a:gd name="T10" fmla="*/ 17012245 w 6"/>
              <a:gd name="T11" fmla="*/ 0 h 15"/>
              <a:gd name="T12" fmla="*/ 17012245 w 6"/>
              <a:gd name="T13" fmla="*/ 0 h 15"/>
              <a:gd name="T14" fmla="*/ 34024491 w 6"/>
              <a:gd name="T15" fmla="*/ 10843048 h 15"/>
              <a:gd name="T16" fmla="*/ 34024491 w 6"/>
              <a:gd name="T17" fmla="*/ 65053633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">
                <a:moveTo>
                  <a:pt x="6" y="12"/>
                </a:moveTo>
                <a:cubicBezTo>
                  <a:pt x="6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4"/>
                  <a:pt x="0" y="1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2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6" y="1"/>
                  <a:pt x="6" y="2"/>
                </a:cubicBezTo>
                <a:lnTo>
                  <a:pt x="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3" name="Freeform 180"/>
          <p:cNvSpPr>
            <a:spLocks/>
          </p:cNvSpPr>
          <p:nvPr/>
        </p:nvSpPr>
        <p:spPr bwMode="auto">
          <a:xfrm>
            <a:off x="9973734" y="45317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14820297 w 5"/>
              <a:gd name="T3" fmla="*/ 74092594 h 15"/>
              <a:gd name="T4" fmla="*/ 1482029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4" name="Freeform 181"/>
          <p:cNvSpPr>
            <a:spLocks/>
          </p:cNvSpPr>
          <p:nvPr/>
        </p:nvSpPr>
        <p:spPr bwMode="auto">
          <a:xfrm>
            <a:off x="10028768" y="45317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14820297 w 5"/>
              <a:gd name="T3" fmla="*/ 74092594 h 15"/>
              <a:gd name="T4" fmla="*/ 1482029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5" name="Freeform 182"/>
          <p:cNvSpPr>
            <a:spLocks/>
          </p:cNvSpPr>
          <p:nvPr/>
        </p:nvSpPr>
        <p:spPr bwMode="auto">
          <a:xfrm>
            <a:off x="10083801" y="45317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9879457 w 5"/>
              <a:gd name="T3" fmla="*/ 74092594 h 15"/>
              <a:gd name="T4" fmla="*/ 987945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9879457 w 5"/>
              <a:gd name="T11" fmla="*/ 0 h 15"/>
              <a:gd name="T12" fmla="*/ 987945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2" y="15"/>
                </a:cubicBezTo>
                <a:cubicBezTo>
                  <a:pt x="2" y="15"/>
                  <a:pt x="2" y="15"/>
                  <a:pt x="2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6" name="Freeform 183"/>
          <p:cNvSpPr>
            <a:spLocks/>
          </p:cNvSpPr>
          <p:nvPr/>
        </p:nvSpPr>
        <p:spPr bwMode="auto">
          <a:xfrm>
            <a:off x="10134600" y="4531785"/>
            <a:ext cx="19051" cy="44449"/>
          </a:xfrm>
          <a:custGeom>
            <a:avLst/>
            <a:gdLst>
              <a:gd name="T0" fmla="*/ 34024491 w 6"/>
              <a:gd name="T1" fmla="*/ 59273186 h 15"/>
              <a:gd name="T2" fmla="*/ 17012245 w 6"/>
              <a:gd name="T3" fmla="*/ 74092594 h 15"/>
              <a:gd name="T4" fmla="*/ 17012245 w 6"/>
              <a:gd name="T5" fmla="*/ 74092594 h 15"/>
              <a:gd name="T6" fmla="*/ 0 w 6"/>
              <a:gd name="T7" fmla="*/ 59273186 h 15"/>
              <a:gd name="T8" fmla="*/ 0 w 6"/>
              <a:gd name="T9" fmla="*/ 14819408 h 15"/>
              <a:gd name="T10" fmla="*/ 17012245 w 6"/>
              <a:gd name="T11" fmla="*/ 0 h 15"/>
              <a:gd name="T12" fmla="*/ 17012245 w 6"/>
              <a:gd name="T13" fmla="*/ 0 h 15"/>
              <a:gd name="T14" fmla="*/ 34024491 w 6"/>
              <a:gd name="T15" fmla="*/ 14819408 h 15"/>
              <a:gd name="T16" fmla="*/ 34024491 w 6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">
                <a:moveTo>
                  <a:pt x="6" y="12"/>
                </a:moveTo>
                <a:cubicBezTo>
                  <a:pt x="6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6" y="1"/>
                  <a:pt x="6" y="3"/>
                </a:cubicBezTo>
                <a:lnTo>
                  <a:pt x="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7" name="Freeform 184"/>
          <p:cNvSpPr>
            <a:spLocks/>
          </p:cNvSpPr>
          <p:nvPr/>
        </p:nvSpPr>
        <p:spPr bwMode="auto">
          <a:xfrm>
            <a:off x="10189634" y="45317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14820297 w 5"/>
              <a:gd name="T3" fmla="*/ 74092594 h 15"/>
              <a:gd name="T4" fmla="*/ 1482029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8" name="Freeform 185"/>
          <p:cNvSpPr>
            <a:spLocks/>
          </p:cNvSpPr>
          <p:nvPr/>
        </p:nvSpPr>
        <p:spPr bwMode="auto">
          <a:xfrm>
            <a:off x="10244668" y="45317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9879457 w 5"/>
              <a:gd name="T3" fmla="*/ 74092594 h 15"/>
              <a:gd name="T4" fmla="*/ 987945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9879457 w 5"/>
              <a:gd name="T11" fmla="*/ 0 h 15"/>
              <a:gd name="T12" fmla="*/ 987945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2" y="15"/>
                </a:cubicBezTo>
                <a:cubicBezTo>
                  <a:pt x="2" y="15"/>
                  <a:pt x="2" y="15"/>
                  <a:pt x="2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29" name="Freeform 186"/>
          <p:cNvSpPr>
            <a:spLocks/>
          </p:cNvSpPr>
          <p:nvPr/>
        </p:nvSpPr>
        <p:spPr bwMode="auto">
          <a:xfrm>
            <a:off x="10295467" y="4531785"/>
            <a:ext cx="19051" cy="44449"/>
          </a:xfrm>
          <a:custGeom>
            <a:avLst/>
            <a:gdLst>
              <a:gd name="T0" fmla="*/ 34024491 w 6"/>
              <a:gd name="T1" fmla="*/ 59273186 h 15"/>
              <a:gd name="T2" fmla="*/ 17012245 w 6"/>
              <a:gd name="T3" fmla="*/ 74092594 h 15"/>
              <a:gd name="T4" fmla="*/ 17012245 w 6"/>
              <a:gd name="T5" fmla="*/ 74092594 h 15"/>
              <a:gd name="T6" fmla="*/ 0 w 6"/>
              <a:gd name="T7" fmla="*/ 59273186 h 15"/>
              <a:gd name="T8" fmla="*/ 0 w 6"/>
              <a:gd name="T9" fmla="*/ 14819408 h 15"/>
              <a:gd name="T10" fmla="*/ 17012245 w 6"/>
              <a:gd name="T11" fmla="*/ 0 h 15"/>
              <a:gd name="T12" fmla="*/ 17012245 w 6"/>
              <a:gd name="T13" fmla="*/ 0 h 15"/>
              <a:gd name="T14" fmla="*/ 34024491 w 6"/>
              <a:gd name="T15" fmla="*/ 14819408 h 15"/>
              <a:gd name="T16" fmla="*/ 34024491 w 6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">
                <a:moveTo>
                  <a:pt x="6" y="12"/>
                </a:moveTo>
                <a:cubicBezTo>
                  <a:pt x="6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6" y="1"/>
                  <a:pt x="6" y="3"/>
                </a:cubicBezTo>
                <a:lnTo>
                  <a:pt x="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30" name="Freeform 187"/>
          <p:cNvSpPr>
            <a:spLocks/>
          </p:cNvSpPr>
          <p:nvPr/>
        </p:nvSpPr>
        <p:spPr bwMode="auto">
          <a:xfrm>
            <a:off x="9973734" y="45952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14820297 w 5"/>
              <a:gd name="T3" fmla="*/ 74092594 h 15"/>
              <a:gd name="T4" fmla="*/ 1482029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31" name="Freeform 188"/>
          <p:cNvSpPr>
            <a:spLocks/>
          </p:cNvSpPr>
          <p:nvPr/>
        </p:nvSpPr>
        <p:spPr bwMode="auto">
          <a:xfrm>
            <a:off x="10028768" y="45952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14820297 w 5"/>
              <a:gd name="T3" fmla="*/ 74092594 h 15"/>
              <a:gd name="T4" fmla="*/ 1482029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32" name="Freeform 189"/>
          <p:cNvSpPr>
            <a:spLocks/>
          </p:cNvSpPr>
          <p:nvPr/>
        </p:nvSpPr>
        <p:spPr bwMode="auto">
          <a:xfrm>
            <a:off x="10083801" y="45952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9879457 w 5"/>
              <a:gd name="T3" fmla="*/ 74092594 h 15"/>
              <a:gd name="T4" fmla="*/ 987945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9879457 w 5"/>
              <a:gd name="T11" fmla="*/ 0 h 15"/>
              <a:gd name="T12" fmla="*/ 987945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2" y="15"/>
                </a:cubicBezTo>
                <a:cubicBezTo>
                  <a:pt x="2" y="15"/>
                  <a:pt x="2" y="15"/>
                  <a:pt x="2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33" name="Freeform 190"/>
          <p:cNvSpPr>
            <a:spLocks/>
          </p:cNvSpPr>
          <p:nvPr/>
        </p:nvSpPr>
        <p:spPr bwMode="auto">
          <a:xfrm>
            <a:off x="10134600" y="4595285"/>
            <a:ext cx="19051" cy="44449"/>
          </a:xfrm>
          <a:custGeom>
            <a:avLst/>
            <a:gdLst>
              <a:gd name="T0" fmla="*/ 34024491 w 6"/>
              <a:gd name="T1" fmla="*/ 59273186 h 15"/>
              <a:gd name="T2" fmla="*/ 17012245 w 6"/>
              <a:gd name="T3" fmla="*/ 74092594 h 15"/>
              <a:gd name="T4" fmla="*/ 17012245 w 6"/>
              <a:gd name="T5" fmla="*/ 74092594 h 15"/>
              <a:gd name="T6" fmla="*/ 0 w 6"/>
              <a:gd name="T7" fmla="*/ 59273186 h 15"/>
              <a:gd name="T8" fmla="*/ 0 w 6"/>
              <a:gd name="T9" fmla="*/ 14819408 h 15"/>
              <a:gd name="T10" fmla="*/ 17012245 w 6"/>
              <a:gd name="T11" fmla="*/ 0 h 15"/>
              <a:gd name="T12" fmla="*/ 17012245 w 6"/>
              <a:gd name="T13" fmla="*/ 0 h 15"/>
              <a:gd name="T14" fmla="*/ 34024491 w 6"/>
              <a:gd name="T15" fmla="*/ 14819408 h 15"/>
              <a:gd name="T16" fmla="*/ 34024491 w 6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">
                <a:moveTo>
                  <a:pt x="6" y="12"/>
                </a:moveTo>
                <a:cubicBezTo>
                  <a:pt x="6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6" y="1"/>
                  <a:pt x="6" y="3"/>
                </a:cubicBezTo>
                <a:lnTo>
                  <a:pt x="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34" name="Freeform 191"/>
          <p:cNvSpPr>
            <a:spLocks/>
          </p:cNvSpPr>
          <p:nvPr/>
        </p:nvSpPr>
        <p:spPr bwMode="auto">
          <a:xfrm>
            <a:off x="10189634" y="45952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14820297 w 5"/>
              <a:gd name="T3" fmla="*/ 74092594 h 15"/>
              <a:gd name="T4" fmla="*/ 1482029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14820297 w 5"/>
              <a:gd name="T11" fmla="*/ 0 h 15"/>
              <a:gd name="T12" fmla="*/ 1482029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35" name="Freeform 192"/>
          <p:cNvSpPr>
            <a:spLocks/>
          </p:cNvSpPr>
          <p:nvPr/>
        </p:nvSpPr>
        <p:spPr bwMode="auto">
          <a:xfrm>
            <a:off x="10244668" y="4595285"/>
            <a:ext cx="14817" cy="44449"/>
          </a:xfrm>
          <a:custGeom>
            <a:avLst/>
            <a:gdLst>
              <a:gd name="T0" fmla="*/ 24699754 w 5"/>
              <a:gd name="T1" fmla="*/ 59273186 h 15"/>
              <a:gd name="T2" fmla="*/ 9879457 w 5"/>
              <a:gd name="T3" fmla="*/ 74092594 h 15"/>
              <a:gd name="T4" fmla="*/ 9879457 w 5"/>
              <a:gd name="T5" fmla="*/ 74092594 h 15"/>
              <a:gd name="T6" fmla="*/ 0 w 5"/>
              <a:gd name="T7" fmla="*/ 59273186 h 15"/>
              <a:gd name="T8" fmla="*/ 0 w 5"/>
              <a:gd name="T9" fmla="*/ 14819408 h 15"/>
              <a:gd name="T10" fmla="*/ 9879457 w 5"/>
              <a:gd name="T11" fmla="*/ 0 h 15"/>
              <a:gd name="T12" fmla="*/ 9879457 w 5"/>
              <a:gd name="T13" fmla="*/ 0 h 15"/>
              <a:gd name="T14" fmla="*/ 24699754 w 5"/>
              <a:gd name="T15" fmla="*/ 14819408 h 15"/>
              <a:gd name="T16" fmla="*/ 24699754 w 5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">
                <a:moveTo>
                  <a:pt x="5" y="12"/>
                </a:moveTo>
                <a:cubicBezTo>
                  <a:pt x="5" y="14"/>
                  <a:pt x="4" y="15"/>
                  <a:pt x="2" y="15"/>
                </a:cubicBezTo>
                <a:cubicBezTo>
                  <a:pt x="2" y="15"/>
                  <a:pt x="2" y="15"/>
                  <a:pt x="2" y="15"/>
                </a:cubicBezTo>
                <a:cubicBezTo>
                  <a:pt x="1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4" y="0"/>
                  <a:pt x="5" y="1"/>
                  <a:pt x="5" y="3"/>
                </a:cubicBezTo>
                <a:lnTo>
                  <a:pt x="5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36" name="Freeform 193"/>
          <p:cNvSpPr>
            <a:spLocks/>
          </p:cNvSpPr>
          <p:nvPr/>
        </p:nvSpPr>
        <p:spPr bwMode="auto">
          <a:xfrm>
            <a:off x="10295467" y="4595285"/>
            <a:ext cx="19051" cy="44449"/>
          </a:xfrm>
          <a:custGeom>
            <a:avLst/>
            <a:gdLst>
              <a:gd name="T0" fmla="*/ 34024491 w 6"/>
              <a:gd name="T1" fmla="*/ 59273186 h 15"/>
              <a:gd name="T2" fmla="*/ 17012245 w 6"/>
              <a:gd name="T3" fmla="*/ 74092594 h 15"/>
              <a:gd name="T4" fmla="*/ 17012245 w 6"/>
              <a:gd name="T5" fmla="*/ 74092594 h 15"/>
              <a:gd name="T6" fmla="*/ 0 w 6"/>
              <a:gd name="T7" fmla="*/ 59273186 h 15"/>
              <a:gd name="T8" fmla="*/ 0 w 6"/>
              <a:gd name="T9" fmla="*/ 14819408 h 15"/>
              <a:gd name="T10" fmla="*/ 17012245 w 6"/>
              <a:gd name="T11" fmla="*/ 0 h 15"/>
              <a:gd name="T12" fmla="*/ 17012245 w 6"/>
              <a:gd name="T13" fmla="*/ 0 h 15"/>
              <a:gd name="T14" fmla="*/ 34024491 w 6"/>
              <a:gd name="T15" fmla="*/ 14819408 h 15"/>
              <a:gd name="T16" fmla="*/ 34024491 w 6"/>
              <a:gd name="T17" fmla="*/ 59273186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">
                <a:moveTo>
                  <a:pt x="6" y="12"/>
                </a:moveTo>
                <a:cubicBezTo>
                  <a:pt x="6" y="14"/>
                  <a:pt x="4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4"/>
                  <a:pt x="0" y="12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4" y="0"/>
                  <a:pt x="6" y="1"/>
                  <a:pt x="6" y="3"/>
                </a:cubicBezTo>
                <a:lnTo>
                  <a:pt x="6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37" name="Rectangle 194"/>
          <p:cNvSpPr>
            <a:spLocks noChangeArrowheads="1"/>
          </p:cNvSpPr>
          <p:nvPr/>
        </p:nvSpPr>
        <p:spPr bwMode="auto">
          <a:xfrm>
            <a:off x="10714567" y="4506384"/>
            <a:ext cx="459317" cy="740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38" name="Rectangle 195"/>
          <p:cNvSpPr>
            <a:spLocks noChangeArrowheads="1"/>
          </p:cNvSpPr>
          <p:nvPr/>
        </p:nvSpPr>
        <p:spPr bwMode="auto">
          <a:xfrm>
            <a:off x="11184467" y="4506384"/>
            <a:ext cx="25400" cy="740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39" name="Rectangle 196"/>
          <p:cNvSpPr>
            <a:spLocks noChangeArrowheads="1"/>
          </p:cNvSpPr>
          <p:nvPr/>
        </p:nvSpPr>
        <p:spPr bwMode="auto">
          <a:xfrm>
            <a:off x="11224684" y="4506384"/>
            <a:ext cx="23283" cy="740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40" name="Freeform 197"/>
          <p:cNvSpPr>
            <a:spLocks/>
          </p:cNvSpPr>
          <p:nvPr/>
        </p:nvSpPr>
        <p:spPr bwMode="auto">
          <a:xfrm>
            <a:off x="10953751" y="4201585"/>
            <a:ext cx="256116" cy="292100"/>
          </a:xfrm>
          <a:custGeom>
            <a:avLst/>
            <a:gdLst>
              <a:gd name="T0" fmla="*/ 439257234 w 84"/>
              <a:gd name="T1" fmla="*/ 499935996 h 96"/>
              <a:gd name="T2" fmla="*/ 439257234 w 84"/>
              <a:gd name="T3" fmla="*/ 442652448 h 96"/>
              <a:gd name="T4" fmla="*/ 434027437 w 84"/>
              <a:gd name="T5" fmla="*/ 400989403 h 96"/>
              <a:gd name="T6" fmla="*/ 392193632 w 84"/>
              <a:gd name="T7" fmla="*/ 354121045 h 96"/>
              <a:gd name="T8" fmla="*/ 329442926 w 84"/>
              <a:gd name="T9" fmla="*/ 338498259 h 96"/>
              <a:gd name="T10" fmla="*/ 271922016 w 84"/>
              <a:gd name="T11" fmla="*/ 338498259 h 96"/>
              <a:gd name="T12" fmla="*/ 214398820 w 84"/>
              <a:gd name="T13" fmla="*/ 338498259 h 96"/>
              <a:gd name="T14" fmla="*/ 172565015 w 84"/>
              <a:gd name="T15" fmla="*/ 317667878 h 96"/>
              <a:gd name="T16" fmla="*/ 156877910 w 84"/>
              <a:gd name="T17" fmla="*/ 276007116 h 96"/>
              <a:gd name="T18" fmla="*/ 167335218 w 84"/>
              <a:gd name="T19" fmla="*/ 244759262 h 96"/>
              <a:gd name="T20" fmla="*/ 167335218 w 84"/>
              <a:gd name="T21" fmla="*/ 218721285 h 96"/>
              <a:gd name="T22" fmla="*/ 146418316 w 84"/>
              <a:gd name="T23" fmla="*/ 213513690 h 96"/>
              <a:gd name="T24" fmla="*/ 141190805 w 84"/>
              <a:gd name="T25" fmla="*/ 213513690 h 96"/>
              <a:gd name="T26" fmla="*/ 67980504 w 84"/>
              <a:gd name="T27" fmla="*/ 182268118 h 96"/>
              <a:gd name="T28" fmla="*/ 41833805 w 84"/>
              <a:gd name="T29" fmla="*/ 124984570 h 96"/>
              <a:gd name="T30" fmla="*/ 62750707 w 84"/>
              <a:gd name="T31" fmla="*/ 67698739 h 96"/>
              <a:gd name="T32" fmla="*/ 83667609 w 84"/>
              <a:gd name="T33" fmla="*/ 52075953 h 96"/>
              <a:gd name="T34" fmla="*/ 125501414 w 84"/>
              <a:gd name="T35" fmla="*/ 41660763 h 96"/>
              <a:gd name="T36" fmla="*/ 146418316 w 84"/>
              <a:gd name="T37" fmla="*/ 20830381 h 96"/>
              <a:gd name="T38" fmla="*/ 125501414 w 84"/>
              <a:gd name="T39" fmla="*/ 0 h 96"/>
              <a:gd name="T40" fmla="*/ 67980504 w 84"/>
              <a:gd name="T41" fmla="*/ 10415191 h 96"/>
              <a:gd name="T42" fmla="*/ 15687105 w 84"/>
              <a:gd name="T43" fmla="*/ 62491144 h 96"/>
              <a:gd name="T44" fmla="*/ 0 w 84"/>
              <a:gd name="T45" fmla="*/ 124984570 h 96"/>
              <a:gd name="T46" fmla="*/ 36604007 w 84"/>
              <a:gd name="T47" fmla="*/ 213513690 h 96"/>
              <a:gd name="T48" fmla="*/ 120273903 w 84"/>
              <a:gd name="T49" fmla="*/ 249969139 h 96"/>
              <a:gd name="T50" fmla="*/ 115044106 w 84"/>
              <a:gd name="T51" fmla="*/ 276007116 h 96"/>
              <a:gd name="T52" fmla="*/ 141190805 w 84"/>
              <a:gd name="T53" fmla="*/ 348913450 h 96"/>
              <a:gd name="T54" fmla="*/ 214398820 w 84"/>
              <a:gd name="T55" fmla="*/ 380159022 h 96"/>
              <a:gd name="T56" fmla="*/ 329442926 w 84"/>
              <a:gd name="T57" fmla="*/ 380159022 h 96"/>
              <a:gd name="T58" fmla="*/ 381736325 w 84"/>
              <a:gd name="T59" fmla="*/ 395781808 h 96"/>
              <a:gd name="T60" fmla="*/ 392193632 w 84"/>
              <a:gd name="T61" fmla="*/ 416614471 h 96"/>
              <a:gd name="T62" fmla="*/ 397423430 w 84"/>
              <a:gd name="T63" fmla="*/ 442652448 h 96"/>
              <a:gd name="T64" fmla="*/ 397423430 w 84"/>
              <a:gd name="T65" fmla="*/ 499935996 h 96"/>
              <a:gd name="T66" fmla="*/ 397423430 w 84"/>
              <a:gd name="T67" fmla="*/ 499935996 h 96"/>
              <a:gd name="T68" fmla="*/ 439257234 w 84"/>
              <a:gd name="T69" fmla="*/ 499935996 h 96"/>
              <a:gd name="T70" fmla="*/ 439257234 w 84"/>
              <a:gd name="T71" fmla="*/ 499935996 h 9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84" h="96">
                <a:moveTo>
                  <a:pt x="84" y="96"/>
                </a:moveTo>
                <a:cubicBezTo>
                  <a:pt x="84" y="85"/>
                  <a:pt x="84" y="85"/>
                  <a:pt x="84" y="85"/>
                </a:cubicBezTo>
                <a:cubicBezTo>
                  <a:pt x="84" y="82"/>
                  <a:pt x="84" y="79"/>
                  <a:pt x="83" y="77"/>
                </a:cubicBezTo>
                <a:cubicBezTo>
                  <a:pt x="81" y="73"/>
                  <a:pt x="79" y="70"/>
                  <a:pt x="75" y="68"/>
                </a:cubicBezTo>
                <a:cubicBezTo>
                  <a:pt x="72" y="66"/>
                  <a:pt x="67" y="65"/>
                  <a:pt x="63" y="65"/>
                </a:cubicBezTo>
                <a:cubicBezTo>
                  <a:pt x="63" y="65"/>
                  <a:pt x="57" y="65"/>
                  <a:pt x="52" y="65"/>
                </a:cubicBezTo>
                <a:cubicBezTo>
                  <a:pt x="46" y="65"/>
                  <a:pt x="41" y="65"/>
                  <a:pt x="41" y="65"/>
                </a:cubicBezTo>
                <a:cubicBezTo>
                  <a:pt x="37" y="65"/>
                  <a:pt x="35" y="64"/>
                  <a:pt x="33" y="61"/>
                </a:cubicBezTo>
                <a:cubicBezTo>
                  <a:pt x="31" y="59"/>
                  <a:pt x="30" y="56"/>
                  <a:pt x="30" y="53"/>
                </a:cubicBezTo>
                <a:cubicBezTo>
                  <a:pt x="30" y="51"/>
                  <a:pt x="31" y="48"/>
                  <a:pt x="32" y="47"/>
                </a:cubicBezTo>
                <a:cubicBezTo>
                  <a:pt x="33" y="45"/>
                  <a:pt x="33" y="44"/>
                  <a:pt x="32" y="42"/>
                </a:cubicBezTo>
                <a:cubicBezTo>
                  <a:pt x="31" y="41"/>
                  <a:pt x="30" y="40"/>
                  <a:pt x="28" y="41"/>
                </a:cubicBezTo>
                <a:cubicBezTo>
                  <a:pt x="28" y="41"/>
                  <a:pt x="27" y="41"/>
                  <a:pt x="27" y="41"/>
                </a:cubicBezTo>
                <a:cubicBezTo>
                  <a:pt x="20" y="41"/>
                  <a:pt x="16" y="38"/>
                  <a:pt x="13" y="35"/>
                </a:cubicBezTo>
                <a:cubicBezTo>
                  <a:pt x="10" y="32"/>
                  <a:pt x="8" y="28"/>
                  <a:pt x="8" y="24"/>
                </a:cubicBezTo>
                <a:cubicBezTo>
                  <a:pt x="8" y="21"/>
                  <a:pt x="10" y="16"/>
                  <a:pt x="12" y="13"/>
                </a:cubicBezTo>
                <a:cubicBezTo>
                  <a:pt x="13" y="12"/>
                  <a:pt x="14" y="10"/>
                  <a:pt x="16" y="10"/>
                </a:cubicBezTo>
                <a:cubicBezTo>
                  <a:pt x="18" y="9"/>
                  <a:pt x="20" y="8"/>
                  <a:pt x="24" y="8"/>
                </a:cubicBezTo>
                <a:cubicBezTo>
                  <a:pt x="26" y="8"/>
                  <a:pt x="28" y="6"/>
                  <a:pt x="28" y="4"/>
                </a:cubicBezTo>
                <a:cubicBezTo>
                  <a:pt x="28" y="2"/>
                  <a:pt x="26" y="0"/>
                  <a:pt x="24" y="0"/>
                </a:cubicBezTo>
                <a:cubicBezTo>
                  <a:pt x="19" y="0"/>
                  <a:pt x="16" y="1"/>
                  <a:pt x="13" y="2"/>
                </a:cubicBezTo>
                <a:cubicBezTo>
                  <a:pt x="8" y="5"/>
                  <a:pt x="5" y="8"/>
                  <a:pt x="3" y="12"/>
                </a:cubicBezTo>
                <a:cubicBezTo>
                  <a:pt x="1" y="16"/>
                  <a:pt x="0" y="21"/>
                  <a:pt x="0" y="24"/>
                </a:cubicBezTo>
                <a:cubicBezTo>
                  <a:pt x="0" y="30"/>
                  <a:pt x="3" y="36"/>
                  <a:pt x="7" y="41"/>
                </a:cubicBezTo>
                <a:cubicBezTo>
                  <a:pt x="11" y="45"/>
                  <a:pt x="16" y="48"/>
                  <a:pt x="23" y="48"/>
                </a:cubicBezTo>
                <a:cubicBezTo>
                  <a:pt x="23" y="50"/>
                  <a:pt x="22" y="52"/>
                  <a:pt x="22" y="53"/>
                </a:cubicBezTo>
                <a:cubicBezTo>
                  <a:pt x="22" y="58"/>
                  <a:pt x="24" y="63"/>
                  <a:pt x="27" y="67"/>
                </a:cubicBezTo>
                <a:cubicBezTo>
                  <a:pt x="30" y="70"/>
                  <a:pt x="35" y="73"/>
                  <a:pt x="41" y="73"/>
                </a:cubicBezTo>
                <a:cubicBezTo>
                  <a:pt x="41" y="73"/>
                  <a:pt x="63" y="73"/>
                  <a:pt x="63" y="73"/>
                </a:cubicBezTo>
                <a:cubicBezTo>
                  <a:pt x="68" y="73"/>
                  <a:pt x="71" y="74"/>
                  <a:pt x="73" y="76"/>
                </a:cubicBezTo>
                <a:cubicBezTo>
                  <a:pt x="74" y="77"/>
                  <a:pt x="75" y="78"/>
                  <a:pt x="75" y="80"/>
                </a:cubicBezTo>
                <a:cubicBezTo>
                  <a:pt x="76" y="81"/>
                  <a:pt x="76" y="83"/>
                  <a:pt x="76" y="85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84" y="96"/>
                  <a:pt x="84" y="96"/>
                  <a:pt x="84" y="96"/>
                </a:cubicBezTo>
                <a:cubicBezTo>
                  <a:pt x="84" y="96"/>
                  <a:pt x="84" y="96"/>
                  <a:pt x="84" y="9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41" name="Freeform 198"/>
          <p:cNvSpPr>
            <a:spLocks/>
          </p:cNvSpPr>
          <p:nvPr/>
        </p:nvSpPr>
        <p:spPr bwMode="auto">
          <a:xfrm>
            <a:off x="11040534" y="4226985"/>
            <a:ext cx="207433" cy="266700"/>
          </a:xfrm>
          <a:custGeom>
            <a:avLst/>
            <a:gdLst>
              <a:gd name="T0" fmla="*/ 350776531 w 69"/>
              <a:gd name="T1" fmla="*/ 454659098 h 88"/>
              <a:gd name="T2" fmla="*/ 350776531 w 69"/>
              <a:gd name="T3" fmla="*/ 377160776 h 88"/>
              <a:gd name="T4" fmla="*/ 305023953 w 69"/>
              <a:gd name="T5" fmla="*/ 253163460 h 88"/>
              <a:gd name="T6" fmla="*/ 177930451 w 69"/>
              <a:gd name="T7" fmla="*/ 196329084 h 88"/>
              <a:gd name="T8" fmla="*/ 147428732 w 69"/>
              <a:gd name="T9" fmla="*/ 196329084 h 88"/>
              <a:gd name="T10" fmla="*/ 162679592 w 69"/>
              <a:gd name="T11" fmla="*/ 134330426 h 88"/>
              <a:gd name="T12" fmla="*/ 122009130 w 69"/>
              <a:gd name="T13" fmla="*/ 41332439 h 88"/>
              <a:gd name="T14" fmla="*/ 25419602 w 69"/>
              <a:gd name="T15" fmla="*/ 0 h 88"/>
              <a:gd name="T16" fmla="*/ 0 w 69"/>
              <a:gd name="T17" fmla="*/ 20666219 h 88"/>
              <a:gd name="T18" fmla="*/ 25419602 w 69"/>
              <a:gd name="T19" fmla="*/ 41332439 h 88"/>
              <a:gd name="T20" fmla="*/ 96589528 w 69"/>
              <a:gd name="T21" fmla="*/ 67165213 h 88"/>
              <a:gd name="T22" fmla="*/ 122009130 w 69"/>
              <a:gd name="T23" fmla="*/ 134330426 h 88"/>
              <a:gd name="T24" fmla="*/ 96589528 w 69"/>
              <a:gd name="T25" fmla="*/ 201495638 h 88"/>
              <a:gd name="T26" fmla="*/ 96589528 w 69"/>
              <a:gd name="T27" fmla="*/ 227330686 h 88"/>
              <a:gd name="T28" fmla="*/ 111842642 w 69"/>
              <a:gd name="T29" fmla="*/ 237663795 h 88"/>
              <a:gd name="T30" fmla="*/ 177930451 w 69"/>
              <a:gd name="T31" fmla="*/ 237663795 h 88"/>
              <a:gd name="T32" fmla="*/ 274519979 w 69"/>
              <a:gd name="T33" fmla="*/ 278996234 h 88"/>
              <a:gd name="T34" fmla="*/ 310106069 w 69"/>
              <a:gd name="T35" fmla="*/ 377160776 h 88"/>
              <a:gd name="T36" fmla="*/ 310106069 w 69"/>
              <a:gd name="T37" fmla="*/ 454659098 h 88"/>
              <a:gd name="T38" fmla="*/ 310106069 w 69"/>
              <a:gd name="T39" fmla="*/ 454659098 h 88"/>
              <a:gd name="T40" fmla="*/ 350776531 w 69"/>
              <a:gd name="T41" fmla="*/ 454659098 h 88"/>
              <a:gd name="T42" fmla="*/ 350776531 w 69"/>
              <a:gd name="T43" fmla="*/ 454659098 h 8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9" h="88">
                <a:moveTo>
                  <a:pt x="69" y="88"/>
                </a:moveTo>
                <a:cubicBezTo>
                  <a:pt x="69" y="73"/>
                  <a:pt x="69" y="73"/>
                  <a:pt x="69" y="73"/>
                </a:cubicBezTo>
                <a:cubicBezTo>
                  <a:pt x="69" y="64"/>
                  <a:pt x="66" y="55"/>
                  <a:pt x="60" y="49"/>
                </a:cubicBezTo>
                <a:cubicBezTo>
                  <a:pt x="54" y="42"/>
                  <a:pt x="45" y="38"/>
                  <a:pt x="35" y="38"/>
                </a:cubicBezTo>
                <a:cubicBezTo>
                  <a:pt x="29" y="38"/>
                  <a:pt x="29" y="38"/>
                  <a:pt x="29" y="38"/>
                </a:cubicBezTo>
                <a:cubicBezTo>
                  <a:pt x="31" y="34"/>
                  <a:pt x="32" y="30"/>
                  <a:pt x="32" y="26"/>
                </a:cubicBezTo>
                <a:cubicBezTo>
                  <a:pt x="32" y="19"/>
                  <a:pt x="29" y="12"/>
                  <a:pt x="24" y="8"/>
                </a:cubicBezTo>
                <a:cubicBezTo>
                  <a:pt x="20" y="3"/>
                  <a:pt x="13" y="0"/>
                  <a:pt x="5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5" y="8"/>
                </a:cubicBezTo>
                <a:cubicBezTo>
                  <a:pt x="11" y="8"/>
                  <a:pt x="15" y="10"/>
                  <a:pt x="19" y="13"/>
                </a:cubicBezTo>
                <a:cubicBezTo>
                  <a:pt x="22" y="16"/>
                  <a:pt x="24" y="21"/>
                  <a:pt x="24" y="26"/>
                </a:cubicBezTo>
                <a:cubicBezTo>
                  <a:pt x="24" y="30"/>
                  <a:pt x="22" y="35"/>
                  <a:pt x="19" y="39"/>
                </a:cubicBezTo>
                <a:cubicBezTo>
                  <a:pt x="18" y="41"/>
                  <a:pt x="18" y="42"/>
                  <a:pt x="19" y="44"/>
                </a:cubicBezTo>
                <a:cubicBezTo>
                  <a:pt x="19" y="45"/>
                  <a:pt x="21" y="46"/>
                  <a:pt x="22" y="46"/>
                </a:cubicBezTo>
                <a:cubicBezTo>
                  <a:pt x="35" y="46"/>
                  <a:pt x="35" y="46"/>
                  <a:pt x="35" y="46"/>
                </a:cubicBezTo>
                <a:cubicBezTo>
                  <a:pt x="43" y="46"/>
                  <a:pt x="49" y="49"/>
                  <a:pt x="54" y="54"/>
                </a:cubicBezTo>
                <a:cubicBezTo>
                  <a:pt x="58" y="59"/>
                  <a:pt x="61" y="66"/>
                  <a:pt x="61" y="73"/>
                </a:cubicBezTo>
                <a:cubicBezTo>
                  <a:pt x="61" y="88"/>
                  <a:pt x="61" y="88"/>
                  <a:pt x="61" y="88"/>
                </a:cubicBezTo>
                <a:cubicBezTo>
                  <a:pt x="61" y="88"/>
                  <a:pt x="61" y="88"/>
                  <a:pt x="61" y="88"/>
                </a:cubicBezTo>
                <a:cubicBezTo>
                  <a:pt x="69" y="88"/>
                  <a:pt x="69" y="88"/>
                  <a:pt x="69" y="88"/>
                </a:cubicBezTo>
                <a:cubicBezTo>
                  <a:pt x="69" y="88"/>
                  <a:pt x="69" y="88"/>
                  <a:pt x="69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42" name="Freeform 202"/>
          <p:cNvSpPr>
            <a:spLocks/>
          </p:cNvSpPr>
          <p:nvPr/>
        </p:nvSpPr>
        <p:spPr bwMode="auto">
          <a:xfrm>
            <a:off x="1568451" y="1589618"/>
            <a:ext cx="162983" cy="317500"/>
          </a:xfrm>
          <a:custGeom>
            <a:avLst/>
            <a:gdLst>
              <a:gd name="T0" fmla="*/ 179344315 w 54"/>
              <a:gd name="T1" fmla="*/ 102863196 h 105"/>
              <a:gd name="T2" fmla="*/ 261329124 w 54"/>
              <a:gd name="T3" fmla="*/ 210869893 h 105"/>
              <a:gd name="T4" fmla="*/ 230584255 w 54"/>
              <a:gd name="T5" fmla="*/ 241728625 h 105"/>
              <a:gd name="T6" fmla="*/ 174219416 w 54"/>
              <a:gd name="T7" fmla="*/ 169724161 h 105"/>
              <a:gd name="T8" fmla="*/ 174219416 w 54"/>
              <a:gd name="T9" fmla="*/ 493744250 h 105"/>
              <a:gd name="T10" fmla="*/ 122979477 w 54"/>
              <a:gd name="T11" fmla="*/ 493744250 h 105"/>
              <a:gd name="T12" fmla="*/ 122979477 w 54"/>
              <a:gd name="T13" fmla="*/ 390881054 h 105"/>
              <a:gd name="T14" fmla="*/ 56364839 w 54"/>
              <a:gd name="T15" fmla="*/ 432026786 h 105"/>
              <a:gd name="T16" fmla="*/ 25619970 w 54"/>
              <a:gd name="T17" fmla="*/ 385737554 h 105"/>
              <a:gd name="T18" fmla="*/ 97357243 w 54"/>
              <a:gd name="T19" fmla="*/ 334307089 h 105"/>
              <a:gd name="T20" fmla="*/ 122979477 w 54"/>
              <a:gd name="T21" fmla="*/ 298304857 h 105"/>
              <a:gd name="T22" fmla="*/ 71737273 w 54"/>
              <a:gd name="T23" fmla="*/ 195441661 h 105"/>
              <a:gd name="T24" fmla="*/ 71737273 w 54"/>
              <a:gd name="T25" fmla="*/ 56573964 h 105"/>
              <a:gd name="T26" fmla="*/ 179344315 w 54"/>
              <a:gd name="T27" fmla="*/ 61717464 h 105"/>
              <a:gd name="T28" fmla="*/ 179344315 w 54"/>
              <a:gd name="T29" fmla="*/ 102863196 h 10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54" h="105">
                <a:moveTo>
                  <a:pt x="35" y="20"/>
                </a:moveTo>
                <a:cubicBezTo>
                  <a:pt x="51" y="41"/>
                  <a:pt x="51" y="41"/>
                  <a:pt x="51" y="41"/>
                </a:cubicBezTo>
                <a:cubicBezTo>
                  <a:pt x="54" y="46"/>
                  <a:pt x="49" y="50"/>
                  <a:pt x="45" y="47"/>
                </a:cubicBezTo>
                <a:cubicBezTo>
                  <a:pt x="41" y="43"/>
                  <a:pt x="38" y="37"/>
                  <a:pt x="34" y="33"/>
                </a:cubicBezTo>
                <a:cubicBezTo>
                  <a:pt x="35" y="53"/>
                  <a:pt x="34" y="76"/>
                  <a:pt x="34" y="96"/>
                </a:cubicBezTo>
                <a:cubicBezTo>
                  <a:pt x="34" y="103"/>
                  <a:pt x="24" y="105"/>
                  <a:pt x="24" y="96"/>
                </a:cubicBezTo>
                <a:cubicBezTo>
                  <a:pt x="24" y="89"/>
                  <a:pt x="24" y="82"/>
                  <a:pt x="24" y="76"/>
                </a:cubicBezTo>
                <a:cubicBezTo>
                  <a:pt x="19" y="79"/>
                  <a:pt x="15" y="81"/>
                  <a:pt x="11" y="84"/>
                </a:cubicBezTo>
                <a:cubicBezTo>
                  <a:pt x="7" y="86"/>
                  <a:pt x="0" y="82"/>
                  <a:pt x="5" y="75"/>
                </a:cubicBezTo>
                <a:cubicBezTo>
                  <a:pt x="19" y="65"/>
                  <a:pt x="19" y="65"/>
                  <a:pt x="19" y="65"/>
                </a:cubicBezTo>
                <a:cubicBezTo>
                  <a:pt x="23" y="62"/>
                  <a:pt x="24" y="63"/>
                  <a:pt x="24" y="58"/>
                </a:cubicBezTo>
                <a:cubicBezTo>
                  <a:pt x="18" y="51"/>
                  <a:pt x="14" y="48"/>
                  <a:pt x="14" y="38"/>
                </a:cubicBezTo>
                <a:cubicBezTo>
                  <a:pt x="14" y="29"/>
                  <a:pt x="14" y="20"/>
                  <a:pt x="14" y="11"/>
                </a:cubicBezTo>
                <a:cubicBezTo>
                  <a:pt x="18" y="1"/>
                  <a:pt x="31" y="0"/>
                  <a:pt x="35" y="12"/>
                </a:cubicBezTo>
                <a:lnTo>
                  <a:pt x="35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43" name="Oval 203"/>
          <p:cNvSpPr>
            <a:spLocks noChangeArrowheads="1"/>
          </p:cNvSpPr>
          <p:nvPr/>
        </p:nvSpPr>
        <p:spPr bwMode="auto">
          <a:xfrm>
            <a:off x="1617133" y="1532468"/>
            <a:ext cx="50800" cy="550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44" name="Freeform 204"/>
          <p:cNvSpPr>
            <a:spLocks/>
          </p:cNvSpPr>
          <p:nvPr/>
        </p:nvSpPr>
        <p:spPr bwMode="auto">
          <a:xfrm>
            <a:off x="1380068" y="1528234"/>
            <a:ext cx="105833" cy="283633"/>
          </a:xfrm>
          <a:custGeom>
            <a:avLst/>
            <a:gdLst>
              <a:gd name="T0" fmla="*/ 180011161 w 35"/>
              <a:gd name="T1" fmla="*/ 56333653 h 94"/>
              <a:gd name="T2" fmla="*/ 180011161 w 35"/>
              <a:gd name="T3" fmla="*/ 204851912 h 94"/>
              <a:gd name="T4" fmla="*/ 154295929 w 35"/>
              <a:gd name="T5" fmla="*/ 245824105 h 94"/>
              <a:gd name="T6" fmla="*/ 154295929 w 35"/>
              <a:gd name="T7" fmla="*/ 445554776 h 94"/>
              <a:gd name="T8" fmla="*/ 113150196 w 35"/>
              <a:gd name="T9" fmla="*/ 445554776 h 94"/>
              <a:gd name="T10" fmla="*/ 113150196 w 35"/>
              <a:gd name="T11" fmla="*/ 271430311 h 94"/>
              <a:gd name="T12" fmla="*/ 46289232 w 35"/>
              <a:gd name="T13" fmla="*/ 312400241 h 94"/>
              <a:gd name="T14" fmla="*/ 46289232 w 35"/>
              <a:gd name="T15" fmla="*/ 384097618 h 94"/>
              <a:gd name="T16" fmla="*/ 0 w 35"/>
              <a:gd name="T17" fmla="*/ 389218859 h 94"/>
              <a:gd name="T18" fmla="*/ 0 w 35"/>
              <a:gd name="T19" fmla="*/ 322642723 h 94"/>
              <a:gd name="T20" fmla="*/ 15430500 w 35"/>
              <a:gd name="T21" fmla="*/ 276551552 h 94"/>
              <a:gd name="T22" fmla="*/ 87434964 w 35"/>
              <a:gd name="T23" fmla="*/ 230458118 h 94"/>
              <a:gd name="T24" fmla="*/ 82291464 w 35"/>
              <a:gd name="T25" fmla="*/ 148518259 h 94"/>
              <a:gd name="T26" fmla="*/ 25715232 w 35"/>
              <a:gd name="T27" fmla="*/ 179245706 h 94"/>
              <a:gd name="T28" fmla="*/ 10287000 w 35"/>
              <a:gd name="T29" fmla="*/ 153639500 h 94"/>
              <a:gd name="T30" fmla="*/ 82291464 w 35"/>
              <a:gd name="T31" fmla="*/ 102427088 h 94"/>
              <a:gd name="T32" fmla="*/ 87434964 w 35"/>
              <a:gd name="T33" fmla="*/ 56333653 h 94"/>
              <a:gd name="T34" fmla="*/ 180011161 w 35"/>
              <a:gd name="T35" fmla="*/ 56333653 h 9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94">
                <a:moveTo>
                  <a:pt x="35" y="11"/>
                </a:moveTo>
                <a:cubicBezTo>
                  <a:pt x="35" y="40"/>
                  <a:pt x="35" y="40"/>
                  <a:pt x="35" y="40"/>
                </a:cubicBezTo>
                <a:cubicBezTo>
                  <a:pt x="35" y="43"/>
                  <a:pt x="34" y="46"/>
                  <a:pt x="30" y="48"/>
                </a:cubicBezTo>
                <a:cubicBezTo>
                  <a:pt x="30" y="87"/>
                  <a:pt x="30" y="87"/>
                  <a:pt x="30" y="87"/>
                </a:cubicBezTo>
                <a:cubicBezTo>
                  <a:pt x="29" y="94"/>
                  <a:pt x="21" y="93"/>
                  <a:pt x="22" y="87"/>
                </a:cubicBezTo>
                <a:cubicBezTo>
                  <a:pt x="22" y="53"/>
                  <a:pt x="22" y="53"/>
                  <a:pt x="22" y="53"/>
                </a:cubicBezTo>
                <a:cubicBezTo>
                  <a:pt x="9" y="61"/>
                  <a:pt x="9" y="61"/>
                  <a:pt x="9" y="61"/>
                </a:cubicBezTo>
                <a:cubicBezTo>
                  <a:pt x="9" y="75"/>
                  <a:pt x="9" y="75"/>
                  <a:pt x="9" y="75"/>
                </a:cubicBezTo>
                <a:cubicBezTo>
                  <a:pt x="6" y="81"/>
                  <a:pt x="2" y="80"/>
                  <a:pt x="0" y="76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59"/>
                  <a:pt x="1" y="56"/>
                  <a:pt x="3" y="54"/>
                </a:cubicBezTo>
                <a:cubicBezTo>
                  <a:pt x="17" y="45"/>
                  <a:pt x="17" y="45"/>
                  <a:pt x="17" y="45"/>
                </a:cubicBezTo>
                <a:cubicBezTo>
                  <a:pt x="16" y="29"/>
                  <a:pt x="16" y="29"/>
                  <a:pt x="16" y="29"/>
                </a:cubicBezTo>
                <a:cubicBezTo>
                  <a:pt x="5" y="35"/>
                  <a:pt x="5" y="35"/>
                  <a:pt x="5" y="35"/>
                </a:cubicBezTo>
                <a:cubicBezTo>
                  <a:pt x="1" y="35"/>
                  <a:pt x="0" y="34"/>
                  <a:pt x="2" y="30"/>
                </a:cubicBezTo>
                <a:cubicBezTo>
                  <a:pt x="16" y="20"/>
                  <a:pt x="16" y="20"/>
                  <a:pt x="16" y="20"/>
                </a:cubicBezTo>
                <a:cubicBezTo>
                  <a:pt x="17" y="11"/>
                  <a:pt x="17" y="11"/>
                  <a:pt x="17" y="11"/>
                </a:cubicBezTo>
                <a:cubicBezTo>
                  <a:pt x="17" y="2"/>
                  <a:pt x="32" y="0"/>
                  <a:pt x="35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45" name="Oval 205"/>
          <p:cNvSpPr>
            <a:spLocks noChangeArrowheads="1"/>
          </p:cNvSpPr>
          <p:nvPr/>
        </p:nvSpPr>
        <p:spPr bwMode="auto">
          <a:xfrm>
            <a:off x="1435101" y="1475317"/>
            <a:ext cx="46567" cy="486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46" name="Freeform 206"/>
          <p:cNvSpPr>
            <a:spLocks/>
          </p:cNvSpPr>
          <p:nvPr/>
        </p:nvSpPr>
        <p:spPr bwMode="auto">
          <a:xfrm>
            <a:off x="1200151" y="1699684"/>
            <a:ext cx="618067" cy="294216"/>
          </a:xfrm>
          <a:custGeom>
            <a:avLst/>
            <a:gdLst>
              <a:gd name="T0" fmla="*/ 0 w 292"/>
              <a:gd name="T1" fmla="*/ 0 h 139"/>
              <a:gd name="T2" fmla="*/ 0 w 292"/>
              <a:gd name="T3" fmla="*/ 57964256 h 139"/>
              <a:gd name="T4" fmla="*/ 60483750 w 292"/>
              <a:gd name="T5" fmla="*/ 57964256 h 139"/>
              <a:gd name="T6" fmla="*/ 60483750 w 292"/>
              <a:gd name="T7" fmla="*/ 120967226 h 139"/>
              <a:gd name="T8" fmla="*/ 189012513 w 292"/>
              <a:gd name="T9" fmla="*/ 120967226 h 139"/>
              <a:gd name="T10" fmla="*/ 189012513 w 292"/>
              <a:gd name="T11" fmla="*/ 178931482 h 139"/>
              <a:gd name="T12" fmla="*/ 322580000 w 292"/>
              <a:gd name="T13" fmla="*/ 178931482 h 139"/>
              <a:gd name="T14" fmla="*/ 322580000 w 292"/>
              <a:gd name="T15" fmla="*/ 236894151 h 139"/>
              <a:gd name="T16" fmla="*/ 446068450 w 292"/>
              <a:gd name="T17" fmla="*/ 236894151 h 139"/>
              <a:gd name="T18" fmla="*/ 446068450 w 292"/>
              <a:gd name="T19" fmla="*/ 294858407 h 139"/>
              <a:gd name="T20" fmla="*/ 579635938 w 292"/>
              <a:gd name="T21" fmla="*/ 294858407 h 139"/>
              <a:gd name="T22" fmla="*/ 579635938 w 292"/>
              <a:gd name="T23" fmla="*/ 350301719 h 139"/>
              <a:gd name="T24" fmla="*/ 735885625 w 292"/>
              <a:gd name="T25" fmla="*/ 350301719 h 139"/>
              <a:gd name="T26" fmla="*/ 735885625 w 292"/>
              <a:gd name="T27" fmla="*/ 294858407 h 139"/>
              <a:gd name="T28" fmla="*/ 642640638 w 292"/>
              <a:gd name="T29" fmla="*/ 294858407 h 139"/>
              <a:gd name="T30" fmla="*/ 642640638 w 292"/>
              <a:gd name="T31" fmla="*/ 239415095 h 139"/>
              <a:gd name="T32" fmla="*/ 511592513 w 292"/>
              <a:gd name="T33" fmla="*/ 239415095 h 139"/>
              <a:gd name="T34" fmla="*/ 511592513 w 292"/>
              <a:gd name="T35" fmla="*/ 181450839 h 139"/>
              <a:gd name="T36" fmla="*/ 383063750 w 292"/>
              <a:gd name="T37" fmla="*/ 181450839 h 139"/>
              <a:gd name="T38" fmla="*/ 383063750 w 292"/>
              <a:gd name="T39" fmla="*/ 126007527 h 139"/>
              <a:gd name="T40" fmla="*/ 249496263 w 292"/>
              <a:gd name="T41" fmla="*/ 126007527 h 139"/>
              <a:gd name="T42" fmla="*/ 249496263 w 292"/>
              <a:gd name="T43" fmla="*/ 60483613 h 139"/>
              <a:gd name="T44" fmla="*/ 118448138 w 292"/>
              <a:gd name="T45" fmla="*/ 60483613 h 139"/>
              <a:gd name="T46" fmla="*/ 118448138 w 292"/>
              <a:gd name="T47" fmla="*/ 0 h 139"/>
              <a:gd name="T48" fmla="*/ 0 w 292"/>
              <a:gd name="T49" fmla="*/ 0 h 13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92" h="139">
                <a:moveTo>
                  <a:pt x="0" y="0"/>
                </a:moveTo>
                <a:lnTo>
                  <a:pt x="0" y="23"/>
                </a:lnTo>
                <a:lnTo>
                  <a:pt x="24" y="23"/>
                </a:lnTo>
                <a:lnTo>
                  <a:pt x="24" y="48"/>
                </a:lnTo>
                <a:lnTo>
                  <a:pt x="75" y="48"/>
                </a:lnTo>
                <a:lnTo>
                  <a:pt x="75" y="71"/>
                </a:lnTo>
                <a:lnTo>
                  <a:pt x="128" y="71"/>
                </a:lnTo>
                <a:lnTo>
                  <a:pt x="128" y="94"/>
                </a:lnTo>
                <a:lnTo>
                  <a:pt x="177" y="94"/>
                </a:lnTo>
                <a:lnTo>
                  <a:pt x="177" y="117"/>
                </a:lnTo>
                <a:lnTo>
                  <a:pt x="230" y="117"/>
                </a:lnTo>
                <a:lnTo>
                  <a:pt x="230" y="139"/>
                </a:lnTo>
                <a:lnTo>
                  <a:pt x="292" y="139"/>
                </a:lnTo>
                <a:lnTo>
                  <a:pt x="292" y="117"/>
                </a:lnTo>
                <a:lnTo>
                  <a:pt x="255" y="117"/>
                </a:lnTo>
                <a:lnTo>
                  <a:pt x="255" y="95"/>
                </a:lnTo>
                <a:lnTo>
                  <a:pt x="203" y="95"/>
                </a:lnTo>
                <a:lnTo>
                  <a:pt x="203" y="72"/>
                </a:lnTo>
                <a:lnTo>
                  <a:pt x="152" y="72"/>
                </a:lnTo>
                <a:lnTo>
                  <a:pt x="152" y="50"/>
                </a:lnTo>
                <a:lnTo>
                  <a:pt x="99" y="50"/>
                </a:lnTo>
                <a:lnTo>
                  <a:pt x="99" y="24"/>
                </a:lnTo>
                <a:lnTo>
                  <a:pt x="47" y="24"/>
                </a:lnTo>
                <a:lnTo>
                  <a:pt x="4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47" name="Freeform 207"/>
          <p:cNvSpPr>
            <a:spLocks/>
          </p:cNvSpPr>
          <p:nvPr/>
        </p:nvSpPr>
        <p:spPr bwMode="auto">
          <a:xfrm>
            <a:off x="2175934" y="1521885"/>
            <a:ext cx="131233" cy="129116"/>
          </a:xfrm>
          <a:custGeom>
            <a:avLst/>
            <a:gdLst>
              <a:gd name="T0" fmla="*/ 0 w 62"/>
              <a:gd name="T1" fmla="*/ 0 h 61"/>
              <a:gd name="T2" fmla="*/ 156249688 w 62"/>
              <a:gd name="T3" fmla="*/ 0 h 61"/>
              <a:gd name="T4" fmla="*/ 156249688 w 62"/>
              <a:gd name="T5" fmla="*/ 153729531 h 61"/>
              <a:gd name="T6" fmla="*/ 118448138 w 62"/>
              <a:gd name="T7" fmla="*/ 153729531 h 61"/>
              <a:gd name="T8" fmla="*/ 118448138 w 62"/>
              <a:gd name="T9" fmla="*/ 143648958 h 61"/>
              <a:gd name="T10" fmla="*/ 146169063 w 62"/>
              <a:gd name="T11" fmla="*/ 143648958 h 61"/>
              <a:gd name="T12" fmla="*/ 146169063 w 62"/>
              <a:gd name="T13" fmla="*/ 10080573 h 61"/>
              <a:gd name="T14" fmla="*/ 15120938 w 62"/>
              <a:gd name="T15" fmla="*/ 10080573 h 61"/>
              <a:gd name="T16" fmla="*/ 15120938 w 62"/>
              <a:gd name="T17" fmla="*/ 143648958 h 61"/>
              <a:gd name="T18" fmla="*/ 42843450 w 62"/>
              <a:gd name="T19" fmla="*/ 143648958 h 61"/>
              <a:gd name="T20" fmla="*/ 42843450 w 62"/>
              <a:gd name="T21" fmla="*/ 153729531 h 61"/>
              <a:gd name="T22" fmla="*/ 0 w 62"/>
              <a:gd name="T23" fmla="*/ 153729531 h 61"/>
              <a:gd name="T24" fmla="*/ 0 w 62"/>
              <a:gd name="T25" fmla="*/ 0 h 6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62" h="61">
                <a:moveTo>
                  <a:pt x="0" y="0"/>
                </a:moveTo>
                <a:lnTo>
                  <a:pt x="62" y="0"/>
                </a:lnTo>
                <a:lnTo>
                  <a:pt x="62" y="61"/>
                </a:lnTo>
                <a:lnTo>
                  <a:pt x="47" y="61"/>
                </a:lnTo>
                <a:lnTo>
                  <a:pt x="47" y="57"/>
                </a:lnTo>
                <a:lnTo>
                  <a:pt x="58" y="57"/>
                </a:lnTo>
                <a:lnTo>
                  <a:pt x="58" y="4"/>
                </a:lnTo>
                <a:lnTo>
                  <a:pt x="6" y="4"/>
                </a:lnTo>
                <a:lnTo>
                  <a:pt x="6" y="57"/>
                </a:lnTo>
                <a:lnTo>
                  <a:pt x="17" y="57"/>
                </a:lnTo>
                <a:lnTo>
                  <a:pt x="17" y="61"/>
                </a:lnTo>
                <a:lnTo>
                  <a:pt x="0" y="6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48" name="Oval 208"/>
          <p:cNvSpPr>
            <a:spLocks noChangeArrowheads="1"/>
          </p:cNvSpPr>
          <p:nvPr/>
        </p:nvSpPr>
        <p:spPr bwMode="auto">
          <a:xfrm>
            <a:off x="2211917" y="1553634"/>
            <a:ext cx="59267" cy="635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49" name="Freeform 209"/>
          <p:cNvSpPr>
            <a:spLocks/>
          </p:cNvSpPr>
          <p:nvPr/>
        </p:nvSpPr>
        <p:spPr bwMode="auto">
          <a:xfrm>
            <a:off x="2171701" y="1623485"/>
            <a:ext cx="232833" cy="374649"/>
          </a:xfrm>
          <a:custGeom>
            <a:avLst/>
            <a:gdLst>
              <a:gd name="T0" fmla="*/ 360022321 w 77"/>
              <a:gd name="T1" fmla="*/ 590512309 h 124"/>
              <a:gd name="T2" fmla="*/ 360022321 w 77"/>
              <a:gd name="T3" fmla="*/ 636725606 h 124"/>
              <a:gd name="T4" fmla="*/ 87434964 w 77"/>
              <a:gd name="T5" fmla="*/ 636725606 h 124"/>
              <a:gd name="T6" fmla="*/ 87434964 w 77"/>
              <a:gd name="T7" fmla="*/ 605916741 h 124"/>
              <a:gd name="T8" fmla="*/ 0 w 77"/>
              <a:gd name="T9" fmla="*/ 426196096 h 124"/>
              <a:gd name="T10" fmla="*/ 0 w 77"/>
              <a:gd name="T11" fmla="*/ 421061286 h 124"/>
              <a:gd name="T12" fmla="*/ 0 w 77"/>
              <a:gd name="T13" fmla="*/ 421061286 h 124"/>
              <a:gd name="T14" fmla="*/ 0 w 77"/>
              <a:gd name="T15" fmla="*/ 225933942 h 124"/>
              <a:gd name="T16" fmla="*/ 20571732 w 77"/>
              <a:gd name="T17" fmla="*/ 215664321 h 124"/>
              <a:gd name="T18" fmla="*/ 20571732 w 77"/>
              <a:gd name="T19" fmla="*/ 215664321 h 124"/>
              <a:gd name="T20" fmla="*/ 66860964 w 77"/>
              <a:gd name="T21" fmla="*/ 282419127 h 124"/>
              <a:gd name="T22" fmla="*/ 72004464 w 77"/>
              <a:gd name="T23" fmla="*/ 405656853 h 124"/>
              <a:gd name="T24" fmla="*/ 92576196 w 77"/>
              <a:gd name="T25" fmla="*/ 405656853 h 124"/>
              <a:gd name="T26" fmla="*/ 87434964 w 77"/>
              <a:gd name="T27" fmla="*/ 35943676 h 124"/>
              <a:gd name="T28" fmla="*/ 149152429 w 77"/>
              <a:gd name="T29" fmla="*/ 35943676 h 124"/>
              <a:gd name="T30" fmla="*/ 149152429 w 77"/>
              <a:gd name="T31" fmla="*/ 215664321 h 124"/>
              <a:gd name="T32" fmla="*/ 169724161 w 77"/>
              <a:gd name="T33" fmla="*/ 215664321 h 124"/>
              <a:gd name="T34" fmla="*/ 169724161 w 77"/>
              <a:gd name="T35" fmla="*/ 200259888 h 124"/>
              <a:gd name="T36" fmla="*/ 236585125 w 77"/>
              <a:gd name="T37" fmla="*/ 200259888 h 124"/>
              <a:gd name="T38" fmla="*/ 236585125 w 77"/>
              <a:gd name="T39" fmla="*/ 215664321 h 124"/>
              <a:gd name="T40" fmla="*/ 236585125 w 77"/>
              <a:gd name="T41" fmla="*/ 241340641 h 124"/>
              <a:gd name="T42" fmla="*/ 236585125 w 77"/>
              <a:gd name="T43" fmla="*/ 246475452 h 124"/>
              <a:gd name="T44" fmla="*/ 246872125 w 77"/>
              <a:gd name="T45" fmla="*/ 246475452 h 124"/>
              <a:gd name="T46" fmla="*/ 246872125 w 77"/>
              <a:gd name="T47" fmla="*/ 236203564 h 124"/>
              <a:gd name="T48" fmla="*/ 313733089 w 77"/>
              <a:gd name="T49" fmla="*/ 236203564 h 124"/>
              <a:gd name="T50" fmla="*/ 313733089 w 77"/>
              <a:gd name="T51" fmla="*/ 246475452 h 124"/>
              <a:gd name="T52" fmla="*/ 313733089 w 77"/>
              <a:gd name="T53" fmla="*/ 246475452 h 124"/>
              <a:gd name="T54" fmla="*/ 313733089 w 77"/>
              <a:gd name="T55" fmla="*/ 287553938 h 124"/>
              <a:gd name="T56" fmla="*/ 329163589 w 77"/>
              <a:gd name="T57" fmla="*/ 287553938 h 124"/>
              <a:gd name="T58" fmla="*/ 329163589 w 77"/>
              <a:gd name="T59" fmla="*/ 267014695 h 124"/>
              <a:gd name="T60" fmla="*/ 396024554 w 77"/>
              <a:gd name="T61" fmla="*/ 267014695 h 124"/>
              <a:gd name="T62" fmla="*/ 396024554 w 77"/>
              <a:gd name="T63" fmla="*/ 287553938 h 124"/>
              <a:gd name="T64" fmla="*/ 396024554 w 77"/>
              <a:gd name="T65" fmla="*/ 287553938 h 124"/>
              <a:gd name="T66" fmla="*/ 396024554 w 77"/>
              <a:gd name="T67" fmla="*/ 446735340 h 124"/>
              <a:gd name="T68" fmla="*/ 396024554 w 77"/>
              <a:gd name="T69" fmla="*/ 446735340 h 124"/>
              <a:gd name="T70" fmla="*/ 396024554 w 77"/>
              <a:gd name="T71" fmla="*/ 523757502 h 124"/>
              <a:gd name="T72" fmla="*/ 360022321 w 77"/>
              <a:gd name="T73" fmla="*/ 590512309 h 12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77" h="124">
                <a:moveTo>
                  <a:pt x="70" y="115"/>
                </a:moveTo>
                <a:cubicBezTo>
                  <a:pt x="70" y="124"/>
                  <a:pt x="70" y="124"/>
                  <a:pt x="70" y="124"/>
                </a:cubicBezTo>
                <a:cubicBezTo>
                  <a:pt x="17" y="124"/>
                  <a:pt x="17" y="124"/>
                  <a:pt x="17" y="124"/>
                </a:cubicBezTo>
                <a:cubicBezTo>
                  <a:pt x="17" y="118"/>
                  <a:pt x="17" y="118"/>
                  <a:pt x="17" y="118"/>
                </a:cubicBezTo>
                <a:cubicBezTo>
                  <a:pt x="0" y="83"/>
                  <a:pt x="0" y="83"/>
                  <a:pt x="0" y="83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44"/>
                  <a:pt x="0" y="44"/>
                  <a:pt x="0" y="44"/>
                </a:cubicBezTo>
                <a:cubicBezTo>
                  <a:pt x="1" y="43"/>
                  <a:pt x="2" y="42"/>
                  <a:pt x="4" y="42"/>
                </a:cubicBezTo>
                <a:cubicBezTo>
                  <a:pt x="4" y="42"/>
                  <a:pt x="4" y="42"/>
                  <a:pt x="4" y="42"/>
                </a:cubicBezTo>
                <a:cubicBezTo>
                  <a:pt x="9" y="42"/>
                  <a:pt x="13" y="50"/>
                  <a:pt x="13" y="55"/>
                </a:cubicBezTo>
                <a:cubicBezTo>
                  <a:pt x="14" y="79"/>
                  <a:pt x="14" y="79"/>
                  <a:pt x="14" y="79"/>
                </a:cubicBezTo>
                <a:cubicBezTo>
                  <a:pt x="15" y="81"/>
                  <a:pt x="17" y="81"/>
                  <a:pt x="18" y="79"/>
                </a:cubicBezTo>
                <a:cubicBezTo>
                  <a:pt x="17" y="7"/>
                  <a:pt x="17" y="7"/>
                  <a:pt x="17" y="7"/>
                </a:cubicBezTo>
                <a:cubicBezTo>
                  <a:pt x="20" y="0"/>
                  <a:pt x="27" y="0"/>
                  <a:pt x="29" y="7"/>
                </a:cubicBezTo>
                <a:cubicBezTo>
                  <a:pt x="29" y="42"/>
                  <a:pt x="29" y="42"/>
                  <a:pt x="29" y="42"/>
                </a:cubicBezTo>
                <a:cubicBezTo>
                  <a:pt x="30" y="43"/>
                  <a:pt x="31" y="43"/>
                  <a:pt x="33" y="42"/>
                </a:cubicBezTo>
                <a:cubicBezTo>
                  <a:pt x="33" y="39"/>
                  <a:pt x="33" y="39"/>
                  <a:pt x="33" y="39"/>
                </a:cubicBezTo>
                <a:cubicBezTo>
                  <a:pt x="35" y="33"/>
                  <a:pt x="43" y="32"/>
                  <a:pt x="46" y="39"/>
                </a:cubicBezTo>
                <a:cubicBezTo>
                  <a:pt x="46" y="42"/>
                  <a:pt x="46" y="42"/>
                  <a:pt x="46" y="42"/>
                </a:cubicBezTo>
                <a:cubicBezTo>
                  <a:pt x="46" y="47"/>
                  <a:pt x="46" y="47"/>
                  <a:pt x="46" y="47"/>
                </a:cubicBezTo>
                <a:cubicBezTo>
                  <a:pt x="46" y="48"/>
                  <a:pt x="46" y="48"/>
                  <a:pt x="46" y="48"/>
                </a:cubicBezTo>
                <a:cubicBezTo>
                  <a:pt x="46" y="49"/>
                  <a:pt x="47" y="49"/>
                  <a:pt x="48" y="48"/>
                </a:cubicBezTo>
                <a:cubicBezTo>
                  <a:pt x="48" y="46"/>
                  <a:pt x="48" y="46"/>
                  <a:pt x="48" y="46"/>
                </a:cubicBezTo>
                <a:cubicBezTo>
                  <a:pt x="50" y="40"/>
                  <a:pt x="58" y="39"/>
                  <a:pt x="61" y="46"/>
                </a:cubicBezTo>
                <a:cubicBezTo>
                  <a:pt x="61" y="48"/>
                  <a:pt x="61" y="48"/>
                  <a:pt x="61" y="48"/>
                </a:cubicBezTo>
                <a:cubicBezTo>
                  <a:pt x="61" y="48"/>
                  <a:pt x="61" y="48"/>
                  <a:pt x="61" y="48"/>
                </a:cubicBezTo>
                <a:cubicBezTo>
                  <a:pt x="61" y="56"/>
                  <a:pt x="61" y="56"/>
                  <a:pt x="61" y="56"/>
                </a:cubicBezTo>
                <a:cubicBezTo>
                  <a:pt x="62" y="56"/>
                  <a:pt x="63" y="56"/>
                  <a:pt x="64" y="56"/>
                </a:cubicBezTo>
                <a:cubicBezTo>
                  <a:pt x="64" y="52"/>
                  <a:pt x="64" y="52"/>
                  <a:pt x="64" y="52"/>
                </a:cubicBezTo>
                <a:cubicBezTo>
                  <a:pt x="67" y="46"/>
                  <a:pt x="75" y="46"/>
                  <a:pt x="77" y="52"/>
                </a:cubicBezTo>
                <a:cubicBezTo>
                  <a:pt x="77" y="56"/>
                  <a:pt x="77" y="56"/>
                  <a:pt x="77" y="56"/>
                </a:cubicBezTo>
                <a:cubicBezTo>
                  <a:pt x="77" y="56"/>
                  <a:pt x="77" y="56"/>
                  <a:pt x="77" y="56"/>
                </a:cubicBezTo>
                <a:cubicBezTo>
                  <a:pt x="77" y="87"/>
                  <a:pt x="77" y="87"/>
                  <a:pt x="77" y="87"/>
                </a:cubicBezTo>
                <a:cubicBezTo>
                  <a:pt x="77" y="87"/>
                  <a:pt x="77" y="87"/>
                  <a:pt x="77" y="87"/>
                </a:cubicBezTo>
                <a:cubicBezTo>
                  <a:pt x="77" y="102"/>
                  <a:pt x="77" y="102"/>
                  <a:pt x="77" y="102"/>
                </a:cubicBezTo>
                <a:cubicBezTo>
                  <a:pt x="76" y="108"/>
                  <a:pt x="74" y="111"/>
                  <a:pt x="70" y="1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0" name="Freeform 210"/>
          <p:cNvSpPr>
            <a:spLocks/>
          </p:cNvSpPr>
          <p:nvPr/>
        </p:nvSpPr>
        <p:spPr bwMode="auto">
          <a:xfrm>
            <a:off x="2556933" y="1538818"/>
            <a:ext cx="86784" cy="146049"/>
          </a:xfrm>
          <a:custGeom>
            <a:avLst/>
            <a:gdLst>
              <a:gd name="T0" fmla="*/ 20150347 w 29"/>
              <a:gd name="T1" fmla="*/ 0 h 48"/>
              <a:gd name="T2" fmla="*/ 146082161 w 29"/>
              <a:gd name="T3" fmla="*/ 151021857 h 48"/>
              <a:gd name="T4" fmla="*/ 146082161 w 29"/>
              <a:gd name="T5" fmla="*/ 249967998 h 48"/>
              <a:gd name="T6" fmla="*/ 20150347 w 29"/>
              <a:gd name="T7" fmla="*/ 0 h 4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9" h="48">
                <a:moveTo>
                  <a:pt x="4" y="0"/>
                </a:moveTo>
                <a:cubicBezTo>
                  <a:pt x="8" y="14"/>
                  <a:pt x="16" y="24"/>
                  <a:pt x="29" y="29"/>
                </a:cubicBezTo>
                <a:cubicBezTo>
                  <a:pt x="29" y="48"/>
                  <a:pt x="29" y="48"/>
                  <a:pt x="29" y="48"/>
                </a:cubicBezTo>
                <a:cubicBezTo>
                  <a:pt x="14" y="41"/>
                  <a:pt x="0" y="27"/>
                  <a:pt x="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1" name="Freeform 211"/>
          <p:cNvSpPr>
            <a:spLocks/>
          </p:cNvSpPr>
          <p:nvPr/>
        </p:nvSpPr>
        <p:spPr bwMode="auto">
          <a:xfrm>
            <a:off x="2476500" y="1651000"/>
            <a:ext cx="171451" cy="177800"/>
          </a:xfrm>
          <a:custGeom>
            <a:avLst/>
            <a:gdLst>
              <a:gd name="T0" fmla="*/ 0 w 57"/>
              <a:gd name="T1" fmla="*/ 0 h 59"/>
              <a:gd name="T2" fmla="*/ 290083248 w 57"/>
              <a:gd name="T3" fmla="*/ 204335143 h 59"/>
              <a:gd name="T4" fmla="*/ 290083248 w 57"/>
              <a:gd name="T5" fmla="*/ 301393602 h 59"/>
              <a:gd name="T6" fmla="*/ 0 w 57"/>
              <a:gd name="T7" fmla="*/ 0 h 5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7" h="59">
                <a:moveTo>
                  <a:pt x="0" y="0"/>
                </a:moveTo>
                <a:cubicBezTo>
                  <a:pt x="4" y="15"/>
                  <a:pt x="42" y="39"/>
                  <a:pt x="57" y="40"/>
                </a:cubicBezTo>
                <a:cubicBezTo>
                  <a:pt x="57" y="59"/>
                  <a:pt x="57" y="59"/>
                  <a:pt x="57" y="59"/>
                </a:cubicBezTo>
                <a:cubicBezTo>
                  <a:pt x="28" y="56"/>
                  <a:pt x="5" y="3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2" name="Freeform 212"/>
          <p:cNvSpPr>
            <a:spLocks/>
          </p:cNvSpPr>
          <p:nvPr/>
        </p:nvSpPr>
        <p:spPr bwMode="auto">
          <a:xfrm>
            <a:off x="2476500" y="1862667"/>
            <a:ext cx="171451" cy="101600"/>
          </a:xfrm>
          <a:custGeom>
            <a:avLst/>
            <a:gdLst>
              <a:gd name="T0" fmla="*/ 290083248 w 57"/>
              <a:gd name="T1" fmla="*/ 65296676 h 34"/>
              <a:gd name="T2" fmla="*/ 290083248 w 57"/>
              <a:gd name="T3" fmla="*/ 155707976 h 34"/>
              <a:gd name="T4" fmla="*/ 0 w 57"/>
              <a:gd name="T5" fmla="*/ 0 h 34"/>
              <a:gd name="T6" fmla="*/ 290083248 w 57"/>
              <a:gd name="T7" fmla="*/ 65296676 h 3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7" h="34">
                <a:moveTo>
                  <a:pt x="57" y="13"/>
                </a:moveTo>
                <a:cubicBezTo>
                  <a:pt x="57" y="31"/>
                  <a:pt x="57" y="31"/>
                  <a:pt x="57" y="31"/>
                </a:cubicBezTo>
                <a:cubicBezTo>
                  <a:pt x="41" y="34"/>
                  <a:pt x="11" y="23"/>
                  <a:pt x="0" y="0"/>
                </a:cubicBezTo>
                <a:cubicBezTo>
                  <a:pt x="18" y="10"/>
                  <a:pt x="39" y="19"/>
                  <a:pt x="57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3" name="Freeform 213"/>
          <p:cNvSpPr>
            <a:spLocks/>
          </p:cNvSpPr>
          <p:nvPr/>
        </p:nvSpPr>
        <p:spPr bwMode="auto">
          <a:xfrm>
            <a:off x="2451100" y="1551518"/>
            <a:ext cx="186267" cy="169333"/>
          </a:xfrm>
          <a:custGeom>
            <a:avLst/>
            <a:gdLst>
              <a:gd name="T0" fmla="*/ 0 w 62"/>
              <a:gd name="T1" fmla="*/ 0 h 56"/>
              <a:gd name="T2" fmla="*/ 172619629 w 62"/>
              <a:gd name="T3" fmla="*/ 128578429 h 56"/>
              <a:gd name="T4" fmla="*/ 314775645 w 62"/>
              <a:gd name="T5" fmla="*/ 288017857 h 56"/>
              <a:gd name="T6" fmla="*/ 106618139 w 62"/>
              <a:gd name="T7" fmla="*/ 164580661 h 56"/>
              <a:gd name="T8" fmla="*/ 0 w 62"/>
              <a:gd name="T9" fmla="*/ 0 h 5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" h="56">
                <a:moveTo>
                  <a:pt x="0" y="0"/>
                </a:moveTo>
                <a:cubicBezTo>
                  <a:pt x="17" y="1"/>
                  <a:pt x="29" y="8"/>
                  <a:pt x="34" y="25"/>
                </a:cubicBezTo>
                <a:cubicBezTo>
                  <a:pt x="42" y="43"/>
                  <a:pt x="51" y="55"/>
                  <a:pt x="62" y="56"/>
                </a:cubicBezTo>
                <a:cubicBezTo>
                  <a:pt x="43" y="56"/>
                  <a:pt x="29" y="49"/>
                  <a:pt x="21" y="32"/>
                </a:cubicBezTo>
                <a:cubicBezTo>
                  <a:pt x="16" y="15"/>
                  <a:pt x="11" y="6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4" name="Freeform 214"/>
          <p:cNvSpPr>
            <a:spLocks/>
          </p:cNvSpPr>
          <p:nvPr/>
        </p:nvSpPr>
        <p:spPr bwMode="auto">
          <a:xfrm>
            <a:off x="2434168" y="1784352"/>
            <a:ext cx="207433" cy="105833"/>
          </a:xfrm>
          <a:custGeom>
            <a:avLst/>
            <a:gdLst>
              <a:gd name="T0" fmla="*/ 193181311 w 69"/>
              <a:gd name="T1" fmla="*/ 56573964 h 35"/>
              <a:gd name="T2" fmla="*/ 350776531 w 69"/>
              <a:gd name="T3" fmla="*/ 144008929 h 35"/>
              <a:gd name="T4" fmla="*/ 142344361 w 69"/>
              <a:gd name="T5" fmla="*/ 113150196 h 35"/>
              <a:gd name="T6" fmla="*/ 0 w 69"/>
              <a:gd name="T7" fmla="*/ 36002232 h 35"/>
              <a:gd name="T8" fmla="*/ 193181311 w 69"/>
              <a:gd name="T9" fmla="*/ 56573964 h 3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9" h="35">
                <a:moveTo>
                  <a:pt x="38" y="11"/>
                </a:moveTo>
                <a:cubicBezTo>
                  <a:pt x="47" y="22"/>
                  <a:pt x="58" y="27"/>
                  <a:pt x="69" y="28"/>
                </a:cubicBezTo>
                <a:cubicBezTo>
                  <a:pt x="53" y="35"/>
                  <a:pt x="40" y="34"/>
                  <a:pt x="28" y="22"/>
                </a:cubicBezTo>
                <a:cubicBezTo>
                  <a:pt x="21" y="12"/>
                  <a:pt x="13" y="7"/>
                  <a:pt x="0" y="7"/>
                </a:cubicBezTo>
                <a:cubicBezTo>
                  <a:pt x="14" y="0"/>
                  <a:pt x="26" y="0"/>
                  <a:pt x="38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5" name="Freeform 215"/>
          <p:cNvSpPr>
            <a:spLocks noEditPoints="1"/>
          </p:cNvSpPr>
          <p:nvPr/>
        </p:nvSpPr>
        <p:spPr bwMode="auto">
          <a:xfrm>
            <a:off x="2980267" y="1538817"/>
            <a:ext cx="560917" cy="465667"/>
          </a:xfrm>
          <a:custGeom>
            <a:avLst/>
            <a:gdLst>
              <a:gd name="T0" fmla="*/ 359330543 w 187"/>
              <a:gd name="T1" fmla="*/ 41145732 h 154"/>
              <a:gd name="T2" fmla="*/ 946406271 w 187"/>
              <a:gd name="T3" fmla="*/ 118293696 h 154"/>
              <a:gd name="T4" fmla="*/ 344147530 w 187"/>
              <a:gd name="T5" fmla="*/ 360022321 h 154"/>
              <a:gd name="T6" fmla="*/ 612379999 w 187"/>
              <a:gd name="T7" fmla="*/ 792049107 h 154"/>
              <a:gd name="T8" fmla="*/ 5061754 w 187"/>
              <a:gd name="T9" fmla="*/ 365165821 h 154"/>
              <a:gd name="T10" fmla="*/ 197379161 w 187"/>
              <a:gd name="T11" fmla="*/ 118293696 h 154"/>
              <a:gd name="T12" fmla="*/ 146768370 w 187"/>
              <a:gd name="T13" fmla="*/ 118293696 h 154"/>
              <a:gd name="T14" fmla="*/ 151830124 w 187"/>
              <a:gd name="T15" fmla="*/ 82291464 h 154"/>
              <a:gd name="T16" fmla="*/ 15183012 w 187"/>
              <a:gd name="T17" fmla="*/ 0 h 154"/>
              <a:gd name="T18" fmla="*/ 192317407 w 187"/>
              <a:gd name="T19" fmla="*/ 77147964 h 154"/>
              <a:gd name="T20" fmla="*/ 187257902 w 187"/>
              <a:gd name="T21" fmla="*/ 41145732 h 154"/>
              <a:gd name="T22" fmla="*/ 323902764 w 187"/>
              <a:gd name="T23" fmla="*/ 82291464 h 154"/>
              <a:gd name="T24" fmla="*/ 278353727 w 187"/>
              <a:gd name="T25" fmla="*/ 123437196 h 154"/>
              <a:gd name="T26" fmla="*/ 283415481 w 187"/>
              <a:gd name="T27" fmla="*/ 360022321 h 154"/>
              <a:gd name="T28" fmla="*/ 278353727 w 187"/>
              <a:gd name="T29" fmla="*/ 123437196 h 154"/>
              <a:gd name="T30" fmla="*/ 70853308 w 187"/>
              <a:gd name="T31" fmla="*/ 483459518 h 154"/>
              <a:gd name="T32" fmla="*/ 121464099 w 187"/>
              <a:gd name="T33" fmla="*/ 478316018 h 154"/>
              <a:gd name="T34" fmla="*/ 86036320 w 187"/>
              <a:gd name="T35" fmla="*/ 457742018 h 154"/>
              <a:gd name="T36" fmla="*/ 141708865 w 187"/>
              <a:gd name="T37" fmla="*/ 442313786 h 154"/>
              <a:gd name="T38" fmla="*/ 177134394 w 187"/>
              <a:gd name="T39" fmla="*/ 509174750 h 154"/>
              <a:gd name="T40" fmla="*/ 192317407 w 187"/>
              <a:gd name="T41" fmla="*/ 493744250 h 154"/>
              <a:gd name="T42" fmla="*/ 156891878 w 187"/>
              <a:gd name="T43" fmla="*/ 457742018 h 154"/>
              <a:gd name="T44" fmla="*/ 273294223 w 187"/>
              <a:gd name="T45" fmla="*/ 720044643 h 154"/>
              <a:gd name="T46" fmla="*/ 571892716 w 187"/>
              <a:gd name="T47" fmla="*/ 720044643 h 154"/>
              <a:gd name="T48" fmla="*/ 723722839 w 187"/>
              <a:gd name="T49" fmla="*/ 478316018 h 154"/>
              <a:gd name="T50" fmla="*/ 759148369 w 187"/>
              <a:gd name="T51" fmla="*/ 498887750 h 154"/>
              <a:gd name="T52" fmla="*/ 708539827 w 187"/>
              <a:gd name="T53" fmla="*/ 514318250 h 154"/>
              <a:gd name="T54" fmla="*/ 668052544 w 187"/>
              <a:gd name="T55" fmla="*/ 442313786 h 154"/>
              <a:gd name="T56" fmla="*/ 647807778 w 187"/>
              <a:gd name="T57" fmla="*/ 462885518 h 154"/>
              <a:gd name="T58" fmla="*/ 683235556 w 187"/>
              <a:gd name="T59" fmla="*/ 493744250 h 154"/>
              <a:gd name="T60" fmla="*/ 774331381 w 187"/>
              <a:gd name="T61" fmla="*/ 478316018 h 154"/>
              <a:gd name="T62" fmla="*/ 45549037 w 187"/>
              <a:gd name="T63" fmla="*/ 396024554 h 154"/>
              <a:gd name="T64" fmla="*/ 430183851 w 187"/>
              <a:gd name="T65" fmla="*/ 509174750 h 154"/>
              <a:gd name="T66" fmla="*/ 576954470 w 187"/>
              <a:gd name="T67" fmla="*/ 457742018 h 154"/>
              <a:gd name="T68" fmla="*/ 556709703 w 187"/>
              <a:gd name="T69" fmla="*/ 478316018 h 154"/>
              <a:gd name="T70" fmla="*/ 592137482 w 187"/>
              <a:gd name="T71" fmla="*/ 509174750 h 154"/>
              <a:gd name="T72" fmla="*/ 501039408 w 187"/>
              <a:gd name="T73" fmla="*/ 498887750 h 154"/>
              <a:gd name="T74" fmla="*/ 465611629 w 187"/>
              <a:gd name="T75" fmla="*/ 457742018 h 154"/>
              <a:gd name="T76" fmla="*/ 480794642 w 187"/>
              <a:gd name="T77" fmla="*/ 442313786 h 154"/>
              <a:gd name="T78" fmla="*/ 247987702 w 187"/>
              <a:gd name="T79" fmla="*/ 509174750 h 154"/>
              <a:gd name="T80" fmla="*/ 394758321 w 187"/>
              <a:gd name="T81" fmla="*/ 457742018 h 154"/>
              <a:gd name="T82" fmla="*/ 374513555 w 187"/>
              <a:gd name="T83" fmla="*/ 478316018 h 154"/>
              <a:gd name="T84" fmla="*/ 415000838 w 187"/>
              <a:gd name="T85" fmla="*/ 509174750 h 154"/>
              <a:gd name="T86" fmla="*/ 318843260 w 187"/>
              <a:gd name="T87" fmla="*/ 498887750 h 154"/>
              <a:gd name="T88" fmla="*/ 288477235 w 187"/>
              <a:gd name="T89" fmla="*/ 457742018 h 154"/>
              <a:gd name="T90" fmla="*/ 303660247 w 187"/>
              <a:gd name="T91" fmla="*/ 442313786 h 15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87" h="154">
                <a:moveTo>
                  <a:pt x="187" y="0"/>
                </a:moveTo>
                <a:cubicBezTo>
                  <a:pt x="187" y="8"/>
                  <a:pt x="187" y="8"/>
                  <a:pt x="187" y="8"/>
                </a:cubicBezTo>
                <a:cubicBezTo>
                  <a:pt x="71" y="8"/>
                  <a:pt x="71" y="8"/>
                  <a:pt x="71" y="8"/>
                </a:cubicBezTo>
                <a:cubicBezTo>
                  <a:pt x="71" y="11"/>
                  <a:pt x="72" y="13"/>
                  <a:pt x="72" y="16"/>
                </a:cubicBezTo>
                <a:cubicBezTo>
                  <a:pt x="187" y="15"/>
                  <a:pt x="187" y="15"/>
                  <a:pt x="187" y="15"/>
                </a:cubicBezTo>
                <a:cubicBezTo>
                  <a:pt x="187" y="23"/>
                  <a:pt x="187" y="23"/>
                  <a:pt x="187" y="23"/>
                </a:cubicBezTo>
                <a:cubicBezTo>
                  <a:pt x="71" y="24"/>
                  <a:pt x="71" y="24"/>
                  <a:pt x="71" y="24"/>
                </a:cubicBezTo>
                <a:cubicBezTo>
                  <a:pt x="70" y="31"/>
                  <a:pt x="66" y="35"/>
                  <a:pt x="60" y="45"/>
                </a:cubicBezTo>
                <a:cubicBezTo>
                  <a:pt x="57" y="54"/>
                  <a:pt x="56" y="61"/>
                  <a:pt x="68" y="70"/>
                </a:cubicBezTo>
                <a:cubicBezTo>
                  <a:pt x="168" y="70"/>
                  <a:pt x="168" y="70"/>
                  <a:pt x="168" y="70"/>
                </a:cubicBezTo>
                <a:cubicBezTo>
                  <a:pt x="165" y="108"/>
                  <a:pt x="141" y="134"/>
                  <a:pt x="121" y="144"/>
                </a:cubicBezTo>
                <a:cubicBezTo>
                  <a:pt x="121" y="148"/>
                  <a:pt x="121" y="151"/>
                  <a:pt x="121" y="154"/>
                </a:cubicBezTo>
                <a:cubicBezTo>
                  <a:pt x="96" y="154"/>
                  <a:pt x="71" y="154"/>
                  <a:pt x="46" y="154"/>
                </a:cubicBezTo>
                <a:cubicBezTo>
                  <a:pt x="46" y="151"/>
                  <a:pt x="46" y="148"/>
                  <a:pt x="46" y="145"/>
                </a:cubicBezTo>
                <a:cubicBezTo>
                  <a:pt x="2" y="120"/>
                  <a:pt x="0" y="77"/>
                  <a:pt x="1" y="71"/>
                </a:cubicBezTo>
                <a:cubicBezTo>
                  <a:pt x="38" y="71"/>
                  <a:pt x="38" y="71"/>
                  <a:pt x="38" y="71"/>
                </a:cubicBezTo>
                <a:cubicBezTo>
                  <a:pt x="30" y="53"/>
                  <a:pt x="37" y="36"/>
                  <a:pt x="48" y="23"/>
                </a:cubicBezTo>
                <a:cubicBezTo>
                  <a:pt x="45" y="23"/>
                  <a:pt x="41" y="23"/>
                  <a:pt x="39" y="23"/>
                </a:cubicBezTo>
                <a:cubicBezTo>
                  <a:pt x="29" y="35"/>
                  <a:pt x="23" y="47"/>
                  <a:pt x="28" y="62"/>
                </a:cubicBezTo>
                <a:cubicBezTo>
                  <a:pt x="20" y="62"/>
                  <a:pt x="20" y="62"/>
                  <a:pt x="20" y="62"/>
                </a:cubicBezTo>
                <a:cubicBezTo>
                  <a:pt x="16" y="53"/>
                  <a:pt x="18" y="41"/>
                  <a:pt x="29" y="23"/>
                </a:cubicBezTo>
                <a:cubicBezTo>
                  <a:pt x="3" y="23"/>
                  <a:pt x="3" y="23"/>
                  <a:pt x="3" y="23"/>
                </a:cubicBezTo>
                <a:cubicBezTo>
                  <a:pt x="3" y="17"/>
                  <a:pt x="3" y="17"/>
                  <a:pt x="3" y="17"/>
                </a:cubicBezTo>
                <a:cubicBezTo>
                  <a:pt x="30" y="16"/>
                  <a:pt x="30" y="16"/>
                  <a:pt x="30" y="16"/>
                </a:cubicBezTo>
                <a:cubicBezTo>
                  <a:pt x="30" y="13"/>
                  <a:pt x="30" y="11"/>
                  <a:pt x="30" y="8"/>
                </a:cubicBezTo>
                <a:cubicBezTo>
                  <a:pt x="3" y="8"/>
                  <a:pt x="3" y="8"/>
                  <a:pt x="3" y="8"/>
                </a:cubicBezTo>
                <a:cubicBezTo>
                  <a:pt x="3" y="0"/>
                  <a:pt x="3" y="0"/>
                  <a:pt x="3" y="0"/>
                </a:cubicBezTo>
                <a:cubicBezTo>
                  <a:pt x="187" y="0"/>
                  <a:pt x="187" y="0"/>
                  <a:pt x="187" y="0"/>
                </a:cubicBezTo>
                <a:close/>
                <a:moveTo>
                  <a:pt x="37" y="8"/>
                </a:moveTo>
                <a:cubicBezTo>
                  <a:pt x="37" y="8"/>
                  <a:pt x="38" y="15"/>
                  <a:pt x="38" y="15"/>
                </a:cubicBezTo>
                <a:cubicBezTo>
                  <a:pt x="47" y="15"/>
                  <a:pt x="47" y="15"/>
                  <a:pt x="47" y="15"/>
                </a:cubicBezTo>
                <a:cubicBezTo>
                  <a:pt x="46" y="8"/>
                  <a:pt x="46" y="8"/>
                  <a:pt x="46" y="8"/>
                </a:cubicBezTo>
                <a:cubicBezTo>
                  <a:pt x="37" y="8"/>
                  <a:pt x="37" y="8"/>
                  <a:pt x="37" y="8"/>
                </a:cubicBezTo>
                <a:close/>
                <a:moveTo>
                  <a:pt x="54" y="7"/>
                </a:moveTo>
                <a:cubicBezTo>
                  <a:pt x="53" y="8"/>
                  <a:pt x="54" y="16"/>
                  <a:pt x="55" y="16"/>
                </a:cubicBezTo>
                <a:cubicBezTo>
                  <a:pt x="64" y="16"/>
                  <a:pt x="64" y="16"/>
                  <a:pt x="64" y="16"/>
                </a:cubicBezTo>
                <a:cubicBezTo>
                  <a:pt x="64" y="10"/>
                  <a:pt x="63" y="8"/>
                  <a:pt x="62" y="7"/>
                </a:cubicBezTo>
                <a:cubicBezTo>
                  <a:pt x="54" y="7"/>
                  <a:pt x="54" y="7"/>
                  <a:pt x="54" y="7"/>
                </a:cubicBezTo>
                <a:close/>
                <a:moveTo>
                  <a:pt x="55" y="24"/>
                </a:moveTo>
                <a:cubicBezTo>
                  <a:pt x="53" y="29"/>
                  <a:pt x="46" y="36"/>
                  <a:pt x="43" y="43"/>
                </a:cubicBezTo>
                <a:cubicBezTo>
                  <a:pt x="40" y="51"/>
                  <a:pt x="41" y="61"/>
                  <a:pt x="49" y="70"/>
                </a:cubicBezTo>
                <a:cubicBezTo>
                  <a:pt x="51" y="70"/>
                  <a:pt x="54" y="70"/>
                  <a:pt x="56" y="70"/>
                </a:cubicBezTo>
                <a:cubicBezTo>
                  <a:pt x="50" y="62"/>
                  <a:pt x="47" y="51"/>
                  <a:pt x="52" y="42"/>
                </a:cubicBezTo>
                <a:cubicBezTo>
                  <a:pt x="55" y="37"/>
                  <a:pt x="59" y="33"/>
                  <a:pt x="63" y="24"/>
                </a:cubicBezTo>
                <a:cubicBezTo>
                  <a:pt x="61" y="24"/>
                  <a:pt x="57" y="24"/>
                  <a:pt x="55" y="24"/>
                </a:cubicBezTo>
                <a:close/>
                <a:moveTo>
                  <a:pt x="9" y="77"/>
                </a:moveTo>
                <a:cubicBezTo>
                  <a:pt x="9" y="81"/>
                  <a:pt x="10" y="88"/>
                  <a:pt x="12" y="94"/>
                </a:cubicBezTo>
                <a:cubicBezTo>
                  <a:pt x="14" y="94"/>
                  <a:pt x="14" y="94"/>
                  <a:pt x="14" y="94"/>
                </a:cubicBezTo>
                <a:cubicBezTo>
                  <a:pt x="14" y="86"/>
                  <a:pt x="14" y="86"/>
                  <a:pt x="14" y="86"/>
                </a:cubicBezTo>
                <a:cubicBezTo>
                  <a:pt x="24" y="86"/>
                  <a:pt x="24" y="86"/>
                  <a:pt x="24" y="86"/>
                </a:cubicBezTo>
                <a:cubicBezTo>
                  <a:pt x="24" y="93"/>
                  <a:pt x="24" y="93"/>
                  <a:pt x="24" y="93"/>
                </a:cubicBezTo>
                <a:cubicBezTo>
                  <a:pt x="21" y="93"/>
                  <a:pt x="21" y="93"/>
                  <a:pt x="21" y="93"/>
                </a:cubicBezTo>
                <a:cubicBezTo>
                  <a:pt x="21" y="89"/>
                  <a:pt x="21" y="89"/>
                  <a:pt x="21" y="89"/>
                </a:cubicBezTo>
                <a:cubicBezTo>
                  <a:pt x="17" y="89"/>
                  <a:pt x="17" y="89"/>
                  <a:pt x="17" y="89"/>
                </a:cubicBezTo>
                <a:cubicBezTo>
                  <a:pt x="17" y="96"/>
                  <a:pt x="17" y="96"/>
                  <a:pt x="17" y="96"/>
                </a:cubicBezTo>
                <a:cubicBezTo>
                  <a:pt x="28" y="96"/>
                  <a:pt x="28" y="96"/>
                  <a:pt x="28" y="96"/>
                </a:cubicBezTo>
                <a:cubicBezTo>
                  <a:pt x="28" y="86"/>
                  <a:pt x="28" y="86"/>
                  <a:pt x="28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99"/>
                  <a:pt x="45" y="99"/>
                  <a:pt x="45" y="99"/>
                </a:cubicBezTo>
                <a:cubicBezTo>
                  <a:pt x="35" y="99"/>
                  <a:pt x="35" y="99"/>
                  <a:pt x="35" y="99"/>
                </a:cubicBezTo>
                <a:cubicBezTo>
                  <a:pt x="35" y="93"/>
                  <a:pt x="35" y="93"/>
                  <a:pt x="35" y="93"/>
                </a:cubicBezTo>
                <a:cubicBezTo>
                  <a:pt x="38" y="93"/>
                  <a:pt x="38" y="93"/>
                  <a:pt x="38" y="93"/>
                </a:cubicBezTo>
                <a:cubicBezTo>
                  <a:pt x="38" y="96"/>
                  <a:pt x="38" y="96"/>
                  <a:pt x="38" y="96"/>
                </a:cubicBezTo>
                <a:cubicBezTo>
                  <a:pt x="42" y="96"/>
                  <a:pt x="42" y="96"/>
                  <a:pt x="42" y="96"/>
                </a:cubicBezTo>
                <a:cubicBezTo>
                  <a:pt x="42" y="89"/>
                  <a:pt x="42" y="89"/>
                  <a:pt x="42" y="89"/>
                </a:cubicBezTo>
                <a:cubicBezTo>
                  <a:pt x="31" y="89"/>
                  <a:pt x="31" y="89"/>
                  <a:pt x="31" y="89"/>
                </a:cubicBezTo>
                <a:cubicBezTo>
                  <a:pt x="31" y="99"/>
                  <a:pt x="31" y="99"/>
                  <a:pt x="31" y="99"/>
                </a:cubicBezTo>
                <a:cubicBezTo>
                  <a:pt x="16" y="99"/>
                  <a:pt x="16" y="99"/>
                  <a:pt x="16" y="99"/>
                </a:cubicBezTo>
                <a:cubicBezTo>
                  <a:pt x="22" y="117"/>
                  <a:pt x="35" y="131"/>
                  <a:pt x="54" y="140"/>
                </a:cubicBezTo>
                <a:cubicBezTo>
                  <a:pt x="54" y="147"/>
                  <a:pt x="54" y="147"/>
                  <a:pt x="54" y="147"/>
                </a:cubicBezTo>
                <a:cubicBezTo>
                  <a:pt x="113" y="147"/>
                  <a:pt x="113" y="147"/>
                  <a:pt x="113" y="147"/>
                </a:cubicBezTo>
                <a:cubicBezTo>
                  <a:pt x="113" y="140"/>
                  <a:pt x="113" y="140"/>
                  <a:pt x="113" y="140"/>
                </a:cubicBezTo>
                <a:cubicBezTo>
                  <a:pt x="131" y="130"/>
                  <a:pt x="144" y="117"/>
                  <a:pt x="152" y="100"/>
                </a:cubicBezTo>
                <a:cubicBezTo>
                  <a:pt x="143" y="100"/>
                  <a:pt x="143" y="100"/>
                  <a:pt x="143" y="100"/>
                </a:cubicBezTo>
                <a:cubicBezTo>
                  <a:pt x="143" y="93"/>
                  <a:pt x="143" y="93"/>
                  <a:pt x="143" y="93"/>
                </a:cubicBezTo>
                <a:cubicBezTo>
                  <a:pt x="146" y="93"/>
                  <a:pt x="146" y="93"/>
                  <a:pt x="146" y="93"/>
                </a:cubicBezTo>
                <a:cubicBezTo>
                  <a:pt x="146" y="97"/>
                  <a:pt x="146" y="97"/>
                  <a:pt x="146" y="97"/>
                </a:cubicBezTo>
                <a:cubicBezTo>
                  <a:pt x="150" y="97"/>
                  <a:pt x="150" y="97"/>
                  <a:pt x="150" y="97"/>
                </a:cubicBezTo>
                <a:cubicBezTo>
                  <a:pt x="150" y="90"/>
                  <a:pt x="150" y="90"/>
                  <a:pt x="150" y="90"/>
                </a:cubicBezTo>
                <a:cubicBezTo>
                  <a:pt x="140" y="90"/>
                  <a:pt x="140" y="90"/>
                  <a:pt x="140" y="90"/>
                </a:cubicBezTo>
                <a:cubicBezTo>
                  <a:pt x="140" y="100"/>
                  <a:pt x="140" y="100"/>
                  <a:pt x="140" y="100"/>
                </a:cubicBezTo>
                <a:cubicBezTo>
                  <a:pt x="121" y="100"/>
                  <a:pt x="121" y="100"/>
                  <a:pt x="121" y="100"/>
                </a:cubicBezTo>
                <a:cubicBezTo>
                  <a:pt x="121" y="86"/>
                  <a:pt x="121" y="86"/>
                  <a:pt x="121" y="86"/>
                </a:cubicBezTo>
                <a:cubicBezTo>
                  <a:pt x="132" y="86"/>
                  <a:pt x="132" y="86"/>
                  <a:pt x="132" y="86"/>
                </a:cubicBezTo>
                <a:cubicBezTo>
                  <a:pt x="132" y="92"/>
                  <a:pt x="132" y="92"/>
                  <a:pt x="132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8" y="90"/>
                  <a:pt x="128" y="90"/>
                  <a:pt x="128" y="90"/>
                </a:cubicBezTo>
                <a:cubicBezTo>
                  <a:pt x="124" y="90"/>
                  <a:pt x="124" y="90"/>
                  <a:pt x="124" y="90"/>
                </a:cubicBezTo>
                <a:cubicBezTo>
                  <a:pt x="124" y="96"/>
                  <a:pt x="124" y="96"/>
                  <a:pt x="124" y="96"/>
                </a:cubicBezTo>
                <a:cubicBezTo>
                  <a:pt x="135" y="96"/>
                  <a:pt x="135" y="96"/>
                  <a:pt x="135" y="96"/>
                </a:cubicBezTo>
                <a:cubicBezTo>
                  <a:pt x="135" y="85"/>
                  <a:pt x="135" y="85"/>
                  <a:pt x="135" y="85"/>
                </a:cubicBezTo>
                <a:cubicBezTo>
                  <a:pt x="153" y="85"/>
                  <a:pt x="153" y="85"/>
                  <a:pt x="153" y="85"/>
                </a:cubicBezTo>
                <a:cubicBezTo>
                  <a:pt x="153" y="93"/>
                  <a:pt x="153" y="93"/>
                  <a:pt x="153" y="93"/>
                </a:cubicBezTo>
                <a:cubicBezTo>
                  <a:pt x="156" y="93"/>
                  <a:pt x="156" y="93"/>
                  <a:pt x="156" y="93"/>
                </a:cubicBezTo>
                <a:cubicBezTo>
                  <a:pt x="158" y="88"/>
                  <a:pt x="160" y="82"/>
                  <a:pt x="160" y="77"/>
                </a:cubicBezTo>
                <a:cubicBezTo>
                  <a:pt x="9" y="77"/>
                  <a:pt x="9" y="77"/>
                  <a:pt x="9" y="77"/>
                </a:cubicBezTo>
                <a:close/>
                <a:moveTo>
                  <a:pt x="95" y="86"/>
                </a:moveTo>
                <a:cubicBezTo>
                  <a:pt x="85" y="86"/>
                  <a:pt x="85" y="86"/>
                  <a:pt x="85" y="86"/>
                </a:cubicBezTo>
                <a:cubicBezTo>
                  <a:pt x="85" y="99"/>
                  <a:pt x="85" y="99"/>
                  <a:pt x="85" y="99"/>
                </a:cubicBezTo>
                <a:cubicBezTo>
                  <a:pt x="102" y="99"/>
                  <a:pt x="102" y="99"/>
                  <a:pt x="102" y="99"/>
                </a:cubicBezTo>
                <a:cubicBezTo>
                  <a:pt x="102" y="89"/>
                  <a:pt x="102" y="89"/>
                  <a:pt x="102" y="89"/>
                </a:cubicBezTo>
                <a:cubicBezTo>
                  <a:pt x="114" y="89"/>
                  <a:pt x="114" y="89"/>
                  <a:pt x="114" y="89"/>
                </a:cubicBezTo>
                <a:cubicBezTo>
                  <a:pt x="114" y="97"/>
                  <a:pt x="114" y="97"/>
                  <a:pt x="114" y="97"/>
                </a:cubicBezTo>
                <a:cubicBezTo>
                  <a:pt x="110" y="97"/>
                  <a:pt x="110" y="97"/>
                  <a:pt x="110" y="97"/>
                </a:cubicBezTo>
                <a:cubicBezTo>
                  <a:pt x="110" y="93"/>
                  <a:pt x="110" y="93"/>
                  <a:pt x="110" y="93"/>
                </a:cubicBezTo>
                <a:cubicBezTo>
                  <a:pt x="107" y="93"/>
                  <a:pt x="107" y="93"/>
                  <a:pt x="107" y="93"/>
                </a:cubicBezTo>
                <a:cubicBezTo>
                  <a:pt x="107" y="99"/>
                  <a:pt x="107" y="99"/>
                  <a:pt x="107" y="99"/>
                </a:cubicBezTo>
                <a:cubicBezTo>
                  <a:pt x="117" y="99"/>
                  <a:pt x="117" y="99"/>
                  <a:pt x="117" y="99"/>
                </a:cubicBezTo>
                <a:cubicBezTo>
                  <a:pt x="117" y="86"/>
                  <a:pt x="117" y="86"/>
                  <a:pt x="117" y="86"/>
                </a:cubicBezTo>
                <a:cubicBezTo>
                  <a:pt x="99" y="86"/>
                  <a:pt x="99" y="86"/>
                  <a:pt x="99" y="86"/>
                </a:cubicBezTo>
                <a:cubicBezTo>
                  <a:pt x="99" y="97"/>
                  <a:pt x="99" y="97"/>
                  <a:pt x="99" y="97"/>
                </a:cubicBezTo>
                <a:cubicBezTo>
                  <a:pt x="88" y="97"/>
                  <a:pt x="88" y="97"/>
                  <a:pt x="88" y="97"/>
                </a:cubicBezTo>
                <a:cubicBezTo>
                  <a:pt x="88" y="89"/>
                  <a:pt x="88" y="89"/>
                  <a:pt x="88" y="89"/>
                </a:cubicBezTo>
                <a:cubicBezTo>
                  <a:pt x="92" y="89"/>
                  <a:pt x="92" y="89"/>
                  <a:pt x="92" y="89"/>
                </a:cubicBezTo>
                <a:cubicBezTo>
                  <a:pt x="92" y="92"/>
                  <a:pt x="92" y="92"/>
                  <a:pt x="92" y="92"/>
                </a:cubicBezTo>
                <a:cubicBezTo>
                  <a:pt x="95" y="92"/>
                  <a:pt x="95" y="92"/>
                  <a:pt x="95" y="92"/>
                </a:cubicBezTo>
                <a:cubicBezTo>
                  <a:pt x="95" y="86"/>
                  <a:pt x="95" y="86"/>
                  <a:pt x="95" y="86"/>
                </a:cubicBezTo>
                <a:close/>
                <a:moveTo>
                  <a:pt x="60" y="86"/>
                </a:moveTo>
                <a:cubicBezTo>
                  <a:pt x="49" y="86"/>
                  <a:pt x="49" y="86"/>
                  <a:pt x="49" y="86"/>
                </a:cubicBezTo>
                <a:cubicBezTo>
                  <a:pt x="49" y="99"/>
                  <a:pt x="49" y="99"/>
                  <a:pt x="49" y="99"/>
                </a:cubicBezTo>
                <a:cubicBezTo>
                  <a:pt x="67" y="99"/>
                  <a:pt x="67" y="99"/>
                  <a:pt x="67" y="99"/>
                </a:cubicBezTo>
                <a:cubicBezTo>
                  <a:pt x="67" y="89"/>
                  <a:pt x="67" y="89"/>
                  <a:pt x="67" y="89"/>
                </a:cubicBezTo>
                <a:cubicBezTo>
                  <a:pt x="78" y="89"/>
                  <a:pt x="78" y="89"/>
                  <a:pt x="78" y="89"/>
                </a:cubicBezTo>
                <a:cubicBezTo>
                  <a:pt x="78" y="97"/>
                  <a:pt x="78" y="97"/>
                  <a:pt x="78" y="97"/>
                </a:cubicBezTo>
                <a:cubicBezTo>
                  <a:pt x="74" y="97"/>
                  <a:pt x="74" y="97"/>
                  <a:pt x="74" y="97"/>
                </a:cubicBezTo>
                <a:cubicBezTo>
                  <a:pt x="74" y="93"/>
                  <a:pt x="74" y="93"/>
                  <a:pt x="74" y="93"/>
                </a:cubicBezTo>
                <a:cubicBezTo>
                  <a:pt x="71" y="93"/>
                  <a:pt x="71" y="93"/>
                  <a:pt x="71" y="93"/>
                </a:cubicBezTo>
                <a:cubicBezTo>
                  <a:pt x="71" y="99"/>
                  <a:pt x="71" y="99"/>
                  <a:pt x="71" y="99"/>
                </a:cubicBezTo>
                <a:cubicBezTo>
                  <a:pt x="82" y="99"/>
                  <a:pt x="82" y="99"/>
                  <a:pt x="82" y="99"/>
                </a:cubicBezTo>
                <a:cubicBezTo>
                  <a:pt x="82" y="86"/>
                  <a:pt x="82" y="86"/>
                  <a:pt x="82" y="86"/>
                </a:cubicBezTo>
                <a:cubicBezTo>
                  <a:pt x="63" y="86"/>
                  <a:pt x="63" y="86"/>
                  <a:pt x="63" y="86"/>
                </a:cubicBezTo>
                <a:cubicBezTo>
                  <a:pt x="63" y="97"/>
                  <a:pt x="63" y="97"/>
                  <a:pt x="63" y="97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89"/>
                  <a:pt x="53" y="89"/>
                  <a:pt x="53" y="89"/>
                </a:cubicBezTo>
                <a:cubicBezTo>
                  <a:pt x="57" y="89"/>
                  <a:pt x="57" y="89"/>
                  <a:pt x="57" y="89"/>
                </a:cubicBezTo>
                <a:cubicBezTo>
                  <a:pt x="57" y="92"/>
                  <a:pt x="57" y="92"/>
                  <a:pt x="57" y="92"/>
                </a:cubicBezTo>
                <a:cubicBezTo>
                  <a:pt x="60" y="92"/>
                  <a:pt x="60" y="92"/>
                  <a:pt x="60" y="92"/>
                </a:cubicBezTo>
                <a:lnTo>
                  <a:pt x="60" y="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6" name="Freeform 216"/>
          <p:cNvSpPr>
            <a:spLocks noEditPoints="1"/>
          </p:cNvSpPr>
          <p:nvPr/>
        </p:nvSpPr>
        <p:spPr bwMode="auto">
          <a:xfrm>
            <a:off x="3987801" y="1608668"/>
            <a:ext cx="182033" cy="232833"/>
          </a:xfrm>
          <a:custGeom>
            <a:avLst/>
            <a:gdLst>
              <a:gd name="T0" fmla="*/ 0 w 60"/>
              <a:gd name="T1" fmla="*/ 61717464 h 77"/>
              <a:gd name="T2" fmla="*/ 82841095 w 60"/>
              <a:gd name="T3" fmla="*/ 61717464 h 77"/>
              <a:gd name="T4" fmla="*/ 82841095 w 60"/>
              <a:gd name="T5" fmla="*/ 30858732 h 77"/>
              <a:gd name="T6" fmla="*/ 108728510 w 60"/>
              <a:gd name="T7" fmla="*/ 0 h 77"/>
              <a:gd name="T8" fmla="*/ 191567329 w 60"/>
              <a:gd name="T9" fmla="*/ 0 h 77"/>
              <a:gd name="T10" fmla="*/ 217457020 w 60"/>
              <a:gd name="T11" fmla="*/ 30858732 h 77"/>
              <a:gd name="T12" fmla="*/ 217457020 w 60"/>
              <a:gd name="T13" fmla="*/ 61717464 h 77"/>
              <a:gd name="T14" fmla="*/ 310651260 w 60"/>
              <a:gd name="T15" fmla="*/ 61717464 h 77"/>
              <a:gd name="T16" fmla="*/ 310651260 w 60"/>
              <a:gd name="T17" fmla="*/ 396024554 h 77"/>
              <a:gd name="T18" fmla="*/ 0 w 60"/>
              <a:gd name="T19" fmla="*/ 396024554 h 77"/>
              <a:gd name="T20" fmla="*/ 0 w 60"/>
              <a:gd name="T21" fmla="*/ 61717464 h 77"/>
              <a:gd name="T22" fmla="*/ 108728510 w 60"/>
              <a:gd name="T23" fmla="*/ 61717464 h 77"/>
              <a:gd name="T24" fmla="*/ 191567329 w 60"/>
              <a:gd name="T25" fmla="*/ 61717464 h 77"/>
              <a:gd name="T26" fmla="*/ 196746178 w 60"/>
              <a:gd name="T27" fmla="*/ 56573964 h 77"/>
              <a:gd name="T28" fmla="*/ 196746178 w 60"/>
              <a:gd name="T29" fmla="*/ 25715232 h 77"/>
              <a:gd name="T30" fmla="*/ 186390756 w 60"/>
              <a:gd name="T31" fmla="*/ 20571732 h 77"/>
              <a:gd name="T32" fmla="*/ 113905083 w 60"/>
              <a:gd name="T33" fmla="*/ 20571732 h 77"/>
              <a:gd name="T34" fmla="*/ 108728510 w 60"/>
              <a:gd name="T35" fmla="*/ 25715232 h 77"/>
              <a:gd name="T36" fmla="*/ 108728510 w 60"/>
              <a:gd name="T37" fmla="*/ 56573964 h 77"/>
              <a:gd name="T38" fmla="*/ 108728510 w 60"/>
              <a:gd name="T39" fmla="*/ 61717464 h 7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60" h="77">
                <a:moveTo>
                  <a:pt x="0" y="12"/>
                </a:moveTo>
                <a:cubicBezTo>
                  <a:pt x="16" y="12"/>
                  <a:pt x="16" y="12"/>
                  <a:pt x="16" y="12"/>
                </a:cubicBezTo>
                <a:cubicBezTo>
                  <a:pt x="16" y="6"/>
                  <a:pt x="16" y="6"/>
                  <a:pt x="16" y="6"/>
                </a:cubicBezTo>
                <a:cubicBezTo>
                  <a:pt x="16" y="2"/>
                  <a:pt x="18" y="0"/>
                  <a:pt x="21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40" y="0"/>
                  <a:pt x="42" y="2"/>
                  <a:pt x="42" y="6"/>
                </a:cubicBezTo>
                <a:cubicBezTo>
                  <a:pt x="42" y="12"/>
                  <a:pt x="42" y="12"/>
                  <a:pt x="42" y="12"/>
                </a:cubicBezTo>
                <a:cubicBezTo>
                  <a:pt x="60" y="12"/>
                  <a:pt x="60" y="12"/>
                  <a:pt x="60" y="12"/>
                </a:cubicBezTo>
                <a:cubicBezTo>
                  <a:pt x="60" y="77"/>
                  <a:pt x="60" y="77"/>
                  <a:pt x="60" y="77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2"/>
                  <a:pt x="0" y="12"/>
                  <a:pt x="0" y="12"/>
                </a:cubicBezTo>
                <a:close/>
                <a:moveTo>
                  <a:pt x="21" y="12"/>
                </a:moveTo>
                <a:cubicBezTo>
                  <a:pt x="37" y="12"/>
                  <a:pt x="37" y="12"/>
                  <a:pt x="37" y="12"/>
                </a:cubicBezTo>
                <a:cubicBezTo>
                  <a:pt x="38" y="12"/>
                  <a:pt x="38" y="11"/>
                  <a:pt x="38" y="11"/>
                </a:cubicBezTo>
                <a:cubicBezTo>
                  <a:pt x="38" y="5"/>
                  <a:pt x="38" y="5"/>
                  <a:pt x="38" y="5"/>
                </a:cubicBezTo>
                <a:cubicBezTo>
                  <a:pt x="38" y="5"/>
                  <a:pt x="37" y="4"/>
                  <a:pt x="36" y="4"/>
                </a:cubicBezTo>
                <a:cubicBezTo>
                  <a:pt x="22" y="4"/>
                  <a:pt x="22" y="4"/>
                  <a:pt x="22" y="4"/>
                </a:cubicBezTo>
                <a:cubicBezTo>
                  <a:pt x="21" y="4"/>
                  <a:pt x="21" y="5"/>
                  <a:pt x="21" y="5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11"/>
                  <a:pt x="21" y="12"/>
                  <a:pt x="21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7" name="Freeform 217"/>
          <p:cNvSpPr>
            <a:spLocks noEditPoints="1"/>
          </p:cNvSpPr>
          <p:nvPr/>
        </p:nvSpPr>
        <p:spPr bwMode="auto">
          <a:xfrm>
            <a:off x="3913717" y="1642534"/>
            <a:ext cx="328083" cy="198967"/>
          </a:xfrm>
          <a:custGeom>
            <a:avLst/>
            <a:gdLst>
              <a:gd name="T0" fmla="*/ 66249372 w 109"/>
              <a:gd name="T1" fmla="*/ 5112087 h 66"/>
              <a:gd name="T2" fmla="*/ 96826526 w 109"/>
              <a:gd name="T3" fmla="*/ 5112087 h 66"/>
              <a:gd name="T4" fmla="*/ 96826526 w 109"/>
              <a:gd name="T5" fmla="*/ 337395464 h 66"/>
              <a:gd name="T6" fmla="*/ 71344435 w 109"/>
              <a:gd name="T7" fmla="*/ 337395464 h 66"/>
              <a:gd name="T8" fmla="*/ 10192385 w 109"/>
              <a:gd name="T9" fmla="*/ 276050423 h 66"/>
              <a:gd name="T10" fmla="*/ 5095064 w 109"/>
              <a:gd name="T11" fmla="*/ 76681301 h 66"/>
              <a:gd name="T12" fmla="*/ 66249372 w 109"/>
              <a:gd name="T13" fmla="*/ 5112087 h 66"/>
              <a:gd name="T14" fmla="*/ 458646023 w 109"/>
              <a:gd name="T15" fmla="*/ 5112087 h 66"/>
              <a:gd name="T16" fmla="*/ 499415562 w 109"/>
              <a:gd name="T17" fmla="*/ 5112087 h 66"/>
              <a:gd name="T18" fmla="*/ 555472549 w 109"/>
              <a:gd name="T19" fmla="*/ 76681301 h 66"/>
              <a:gd name="T20" fmla="*/ 555472549 w 109"/>
              <a:gd name="T21" fmla="*/ 276050423 h 66"/>
              <a:gd name="T22" fmla="*/ 499415562 w 109"/>
              <a:gd name="T23" fmla="*/ 337395464 h 66"/>
              <a:gd name="T24" fmla="*/ 458646023 w 109"/>
              <a:gd name="T25" fmla="*/ 337395464 h 66"/>
              <a:gd name="T26" fmla="*/ 458646023 w 109"/>
              <a:gd name="T27" fmla="*/ 5112087 h 6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09" h="66">
                <a:moveTo>
                  <a:pt x="13" y="1"/>
                </a:moveTo>
                <a:cubicBezTo>
                  <a:pt x="19" y="1"/>
                  <a:pt x="19" y="1"/>
                  <a:pt x="19" y="1"/>
                </a:cubicBezTo>
                <a:cubicBezTo>
                  <a:pt x="19" y="66"/>
                  <a:pt x="19" y="66"/>
                  <a:pt x="19" y="66"/>
                </a:cubicBezTo>
                <a:cubicBezTo>
                  <a:pt x="14" y="66"/>
                  <a:pt x="14" y="66"/>
                  <a:pt x="14" y="66"/>
                </a:cubicBezTo>
                <a:cubicBezTo>
                  <a:pt x="7" y="66"/>
                  <a:pt x="2" y="61"/>
                  <a:pt x="2" y="54"/>
                </a:cubicBezTo>
                <a:cubicBezTo>
                  <a:pt x="1" y="15"/>
                  <a:pt x="1" y="15"/>
                  <a:pt x="1" y="15"/>
                </a:cubicBezTo>
                <a:cubicBezTo>
                  <a:pt x="0" y="7"/>
                  <a:pt x="4" y="0"/>
                  <a:pt x="13" y="1"/>
                </a:cubicBezTo>
                <a:close/>
                <a:moveTo>
                  <a:pt x="90" y="1"/>
                </a:moveTo>
                <a:cubicBezTo>
                  <a:pt x="98" y="1"/>
                  <a:pt x="98" y="1"/>
                  <a:pt x="98" y="1"/>
                </a:cubicBezTo>
                <a:cubicBezTo>
                  <a:pt x="104" y="1"/>
                  <a:pt x="109" y="8"/>
                  <a:pt x="109" y="15"/>
                </a:cubicBezTo>
                <a:cubicBezTo>
                  <a:pt x="109" y="54"/>
                  <a:pt x="109" y="54"/>
                  <a:pt x="109" y="54"/>
                </a:cubicBezTo>
                <a:cubicBezTo>
                  <a:pt x="109" y="61"/>
                  <a:pt x="104" y="66"/>
                  <a:pt x="98" y="66"/>
                </a:cubicBezTo>
                <a:cubicBezTo>
                  <a:pt x="90" y="66"/>
                  <a:pt x="90" y="66"/>
                  <a:pt x="90" y="66"/>
                </a:cubicBezTo>
                <a:lnTo>
                  <a:pt x="9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8" name="Freeform 218"/>
          <p:cNvSpPr>
            <a:spLocks/>
          </p:cNvSpPr>
          <p:nvPr/>
        </p:nvSpPr>
        <p:spPr bwMode="auto">
          <a:xfrm>
            <a:off x="3915834" y="1568451"/>
            <a:ext cx="444500" cy="311149"/>
          </a:xfrm>
          <a:custGeom>
            <a:avLst/>
            <a:gdLst>
              <a:gd name="T0" fmla="*/ 0 w 148"/>
              <a:gd name="T1" fmla="*/ 492785778 h 103"/>
              <a:gd name="T2" fmla="*/ 608868892 w 148"/>
              <a:gd name="T3" fmla="*/ 492785778 h 103"/>
              <a:gd name="T4" fmla="*/ 608868892 w 148"/>
              <a:gd name="T5" fmla="*/ 35933217 h 103"/>
              <a:gd name="T6" fmla="*/ 608868892 w 148"/>
              <a:gd name="T7" fmla="*/ 35933217 h 103"/>
              <a:gd name="T8" fmla="*/ 644386845 w 148"/>
              <a:gd name="T9" fmla="*/ 0 h 103"/>
              <a:gd name="T10" fmla="*/ 644386845 w 148"/>
              <a:gd name="T11" fmla="*/ 0 h 103"/>
              <a:gd name="T12" fmla="*/ 644386845 w 148"/>
              <a:gd name="T13" fmla="*/ 0 h 103"/>
              <a:gd name="T14" fmla="*/ 750938450 w 148"/>
              <a:gd name="T15" fmla="*/ 0 h 103"/>
              <a:gd name="T16" fmla="*/ 750938450 w 148"/>
              <a:gd name="T17" fmla="*/ 41064915 h 103"/>
              <a:gd name="T18" fmla="*/ 654534509 w 148"/>
              <a:gd name="T19" fmla="*/ 41064915 h 103"/>
              <a:gd name="T20" fmla="*/ 654534509 w 148"/>
              <a:gd name="T21" fmla="*/ 492785778 h 103"/>
              <a:gd name="T22" fmla="*/ 654534509 w 148"/>
              <a:gd name="T23" fmla="*/ 528718994 h 103"/>
              <a:gd name="T24" fmla="*/ 654534509 w 148"/>
              <a:gd name="T25" fmla="*/ 528718994 h 103"/>
              <a:gd name="T26" fmla="*/ 0 w 148"/>
              <a:gd name="T27" fmla="*/ 528718994 h 103"/>
              <a:gd name="T28" fmla="*/ 0 w 148"/>
              <a:gd name="T29" fmla="*/ 492785778 h 10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48" h="103">
                <a:moveTo>
                  <a:pt x="0" y="96"/>
                </a:moveTo>
                <a:cubicBezTo>
                  <a:pt x="120" y="96"/>
                  <a:pt x="120" y="96"/>
                  <a:pt x="120" y="96"/>
                </a:cubicBezTo>
                <a:cubicBezTo>
                  <a:pt x="120" y="7"/>
                  <a:pt x="120" y="7"/>
                  <a:pt x="120" y="7"/>
                </a:cubicBezTo>
                <a:cubicBezTo>
                  <a:pt x="120" y="7"/>
                  <a:pt x="120" y="7"/>
                  <a:pt x="120" y="7"/>
                </a:cubicBezTo>
                <a:cubicBezTo>
                  <a:pt x="120" y="4"/>
                  <a:pt x="123" y="1"/>
                  <a:pt x="127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48" y="0"/>
                  <a:pt x="148" y="0"/>
                  <a:pt x="148" y="0"/>
                </a:cubicBezTo>
                <a:cubicBezTo>
                  <a:pt x="148" y="8"/>
                  <a:pt x="148" y="8"/>
                  <a:pt x="148" y="8"/>
                </a:cubicBezTo>
                <a:cubicBezTo>
                  <a:pt x="129" y="8"/>
                  <a:pt x="129" y="8"/>
                  <a:pt x="129" y="8"/>
                </a:cubicBezTo>
                <a:cubicBezTo>
                  <a:pt x="129" y="96"/>
                  <a:pt x="129" y="96"/>
                  <a:pt x="129" y="96"/>
                </a:cubicBezTo>
                <a:cubicBezTo>
                  <a:pt x="129" y="103"/>
                  <a:pt x="129" y="103"/>
                  <a:pt x="129" y="103"/>
                </a:cubicBezTo>
                <a:cubicBezTo>
                  <a:pt x="129" y="103"/>
                  <a:pt x="129" y="103"/>
                  <a:pt x="129" y="103"/>
                </a:cubicBezTo>
                <a:cubicBezTo>
                  <a:pt x="0" y="103"/>
                  <a:pt x="0" y="103"/>
                  <a:pt x="0" y="103"/>
                </a:cubicBezTo>
                <a:lnTo>
                  <a:pt x="0" y="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59" name="Freeform 219"/>
          <p:cNvSpPr>
            <a:spLocks noEditPoints="1"/>
          </p:cNvSpPr>
          <p:nvPr/>
        </p:nvSpPr>
        <p:spPr bwMode="auto">
          <a:xfrm>
            <a:off x="3915834" y="1894418"/>
            <a:ext cx="78317" cy="80433"/>
          </a:xfrm>
          <a:custGeom>
            <a:avLst/>
            <a:gdLst>
              <a:gd name="T0" fmla="*/ 66349089 w 26"/>
              <a:gd name="T1" fmla="*/ 0 h 26"/>
              <a:gd name="T2" fmla="*/ 132695919 w 26"/>
              <a:gd name="T3" fmla="*/ 69983961 h 26"/>
              <a:gd name="T4" fmla="*/ 66349089 w 26"/>
              <a:gd name="T5" fmla="*/ 139965601 h 26"/>
              <a:gd name="T6" fmla="*/ 0 w 26"/>
              <a:gd name="T7" fmla="*/ 69983961 h 26"/>
              <a:gd name="T8" fmla="*/ 66349089 w 26"/>
              <a:gd name="T9" fmla="*/ 0 h 26"/>
              <a:gd name="T10" fmla="*/ 66349089 w 26"/>
              <a:gd name="T11" fmla="*/ 32299397 h 26"/>
              <a:gd name="T12" fmla="*/ 30622830 w 26"/>
              <a:gd name="T13" fmla="*/ 69983961 h 26"/>
              <a:gd name="T14" fmla="*/ 66349089 w 26"/>
              <a:gd name="T15" fmla="*/ 107666204 h 26"/>
              <a:gd name="T16" fmla="*/ 102073089 w 26"/>
              <a:gd name="T17" fmla="*/ 69983961 h 26"/>
              <a:gd name="T18" fmla="*/ 66349089 w 26"/>
              <a:gd name="T19" fmla="*/ 32299397 h 2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26">
                <a:moveTo>
                  <a:pt x="13" y="0"/>
                </a:moveTo>
                <a:cubicBezTo>
                  <a:pt x="20" y="0"/>
                  <a:pt x="26" y="6"/>
                  <a:pt x="26" y="13"/>
                </a:cubicBezTo>
                <a:cubicBezTo>
                  <a:pt x="26" y="20"/>
                  <a:pt x="20" y="26"/>
                  <a:pt x="13" y="26"/>
                </a:cubicBezTo>
                <a:cubicBezTo>
                  <a:pt x="6" y="26"/>
                  <a:pt x="0" y="20"/>
                  <a:pt x="0" y="13"/>
                </a:cubicBezTo>
                <a:cubicBezTo>
                  <a:pt x="0" y="6"/>
                  <a:pt x="6" y="0"/>
                  <a:pt x="13" y="0"/>
                </a:cubicBezTo>
                <a:close/>
                <a:moveTo>
                  <a:pt x="13" y="6"/>
                </a:moveTo>
                <a:cubicBezTo>
                  <a:pt x="9" y="6"/>
                  <a:pt x="6" y="9"/>
                  <a:pt x="6" y="13"/>
                </a:cubicBezTo>
                <a:cubicBezTo>
                  <a:pt x="6" y="17"/>
                  <a:pt x="9" y="20"/>
                  <a:pt x="13" y="20"/>
                </a:cubicBezTo>
                <a:cubicBezTo>
                  <a:pt x="17" y="20"/>
                  <a:pt x="20" y="17"/>
                  <a:pt x="20" y="13"/>
                </a:cubicBezTo>
                <a:cubicBezTo>
                  <a:pt x="20" y="9"/>
                  <a:pt x="17" y="6"/>
                  <a:pt x="13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60" name="Freeform 220"/>
          <p:cNvSpPr>
            <a:spLocks noEditPoints="1"/>
          </p:cNvSpPr>
          <p:nvPr/>
        </p:nvSpPr>
        <p:spPr bwMode="auto">
          <a:xfrm>
            <a:off x="4224867" y="1894418"/>
            <a:ext cx="78317" cy="80433"/>
          </a:xfrm>
          <a:custGeom>
            <a:avLst/>
            <a:gdLst>
              <a:gd name="T0" fmla="*/ 66349089 w 26"/>
              <a:gd name="T1" fmla="*/ 0 h 26"/>
              <a:gd name="T2" fmla="*/ 132695919 w 26"/>
              <a:gd name="T3" fmla="*/ 69983961 h 26"/>
              <a:gd name="T4" fmla="*/ 66349089 w 26"/>
              <a:gd name="T5" fmla="*/ 139965601 h 26"/>
              <a:gd name="T6" fmla="*/ 0 w 26"/>
              <a:gd name="T7" fmla="*/ 69983961 h 26"/>
              <a:gd name="T8" fmla="*/ 66349089 w 26"/>
              <a:gd name="T9" fmla="*/ 0 h 26"/>
              <a:gd name="T10" fmla="*/ 66349089 w 26"/>
              <a:gd name="T11" fmla="*/ 32299397 h 26"/>
              <a:gd name="T12" fmla="*/ 30622830 w 26"/>
              <a:gd name="T13" fmla="*/ 69983961 h 26"/>
              <a:gd name="T14" fmla="*/ 66349089 w 26"/>
              <a:gd name="T15" fmla="*/ 107666204 h 26"/>
              <a:gd name="T16" fmla="*/ 102073089 w 26"/>
              <a:gd name="T17" fmla="*/ 69983961 h 26"/>
              <a:gd name="T18" fmla="*/ 66349089 w 26"/>
              <a:gd name="T19" fmla="*/ 32299397 h 2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26">
                <a:moveTo>
                  <a:pt x="13" y="0"/>
                </a:moveTo>
                <a:cubicBezTo>
                  <a:pt x="20" y="0"/>
                  <a:pt x="26" y="6"/>
                  <a:pt x="26" y="13"/>
                </a:cubicBezTo>
                <a:cubicBezTo>
                  <a:pt x="26" y="20"/>
                  <a:pt x="20" y="26"/>
                  <a:pt x="13" y="26"/>
                </a:cubicBezTo>
                <a:cubicBezTo>
                  <a:pt x="6" y="26"/>
                  <a:pt x="0" y="20"/>
                  <a:pt x="0" y="13"/>
                </a:cubicBezTo>
                <a:cubicBezTo>
                  <a:pt x="0" y="6"/>
                  <a:pt x="6" y="0"/>
                  <a:pt x="13" y="0"/>
                </a:cubicBezTo>
                <a:close/>
                <a:moveTo>
                  <a:pt x="13" y="6"/>
                </a:moveTo>
                <a:cubicBezTo>
                  <a:pt x="9" y="6"/>
                  <a:pt x="6" y="9"/>
                  <a:pt x="6" y="13"/>
                </a:cubicBezTo>
                <a:cubicBezTo>
                  <a:pt x="6" y="17"/>
                  <a:pt x="9" y="20"/>
                  <a:pt x="13" y="20"/>
                </a:cubicBezTo>
                <a:cubicBezTo>
                  <a:pt x="17" y="20"/>
                  <a:pt x="20" y="17"/>
                  <a:pt x="20" y="13"/>
                </a:cubicBezTo>
                <a:cubicBezTo>
                  <a:pt x="20" y="9"/>
                  <a:pt x="17" y="6"/>
                  <a:pt x="13" y="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61" name="Freeform 221"/>
          <p:cNvSpPr>
            <a:spLocks noEditPoints="1"/>
          </p:cNvSpPr>
          <p:nvPr/>
        </p:nvSpPr>
        <p:spPr bwMode="auto">
          <a:xfrm>
            <a:off x="4612218" y="1515534"/>
            <a:ext cx="613833" cy="488951"/>
          </a:xfrm>
          <a:custGeom>
            <a:avLst/>
            <a:gdLst>
              <a:gd name="T0" fmla="*/ 555124237 w 204"/>
              <a:gd name="T1" fmla="*/ 594403291 h 162"/>
              <a:gd name="T2" fmla="*/ 1038946768 w 204"/>
              <a:gd name="T3" fmla="*/ 251082958 h 162"/>
              <a:gd name="T4" fmla="*/ 825046162 w 204"/>
              <a:gd name="T5" fmla="*/ 122980147 h 162"/>
              <a:gd name="T6" fmla="*/ 875974018 w 204"/>
              <a:gd name="T7" fmla="*/ 0 h 162"/>
              <a:gd name="T8" fmla="*/ 606052093 w 204"/>
              <a:gd name="T9" fmla="*/ 76862592 h 162"/>
              <a:gd name="T10" fmla="*/ 590773962 w 204"/>
              <a:gd name="T11" fmla="*/ 384312960 h 162"/>
              <a:gd name="T12" fmla="*/ 845417756 w 204"/>
              <a:gd name="T13" fmla="*/ 502168180 h 162"/>
              <a:gd name="T14" fmla="*/ 972738524 w 204"/>
              <a:gd name="T15" fmla="*/ 271580404 h 162"/>
              <a:gd name="T16" fmla="*/ 835230830 w 204"/>
              <a:gd name="T17" fmla="*/ 169097703 h 162"/>
              <a:gd name="T18" fmla="*/ 845417756 w 204"/>
              <a:gd name="T19" fmla="*/ 194717812 h 162"/>
              <a:gd name="T20" fmla="*/ 499102919 w 204"/>
              <a:gd name="T21" fmla="*/ 374063106 h 162"/>
              <a:gd name="T22" fmla="*/ 381966819 w 204"/>
              <a:gd name="T23" fmla="*/ 507290844 h 162"/>
              <a:gd name="T24" fmla="*/ 565308906 w 204"/>
              <a:gd name="T25" fmla="*/ 548285736 h 162"/>
              <a:gd name="T26" fmla="*/ 555124237 w 204"/>
              <a:gd name="T27" fmla="*/ 594403291 h 162"/>
              <a:gd name="T28" fmla="*/ 550030775 w 204"/>
              <a:gd name="T29" fmla="*/ 620023400 h 162"/>
              <a:gd name="T30" fmla="*/ 962553855 w 204"/>
              <a:gd name="T31" fmla="*/ 707133583 h 162"/>
              <a:gd name="T32" fmla="*/ 280108850 w 204"/>
              <a:gd name="T33" fmla="*/ 625148328 h 162"/>
              <a:gd name="T34" fmla="*/ 280108850 w 204"/>
              <a:gd name="T35" fmla="*/ 625148328 h 162"/>
              <a:gd name="T36" fmla="*/ 962553855 w 204"/>
              <a:gd name="T37" fmla="*/ 707133583 h 162"/>
              <a:gd name="T38" fmla="*/ 0 w 204"/>
              <a:gd name="T39" fmla="*/ 625148328 h 162"/>
              <a:gd name="T40" fmla="*/ 249550331 w 204"/>
              <a:gd name="T41" fmla="*/ 707133583 h 162"/>
              <a:gd name="T42" fmla="*/ 402336156 w 204"/>
              <a:gd name="T43" fmla="*/ 620023400 h 162"/>
              <a:gd name="T44" fmla="*/ 402336156 w 204"/>
              <a:gd name="T45" fmla="*/ 620023400 h 162"/>
              <a:gd name="T46" fmla="*/ 249550331 w 204"/>
              <a:gd name="T47" fmla="*/ 702008656 h 162"/>
              <a:gd name="T48" fmla="*/ 122229563 w 204"/>
              <a:gd name="T49" fmla="*/ 117855220 h 162"/>
              <a:gd name="T50" fmla="*/ 280108850 w 204"/>
              <a:gd name="T51" fmla="*/ 502168180 h 162"/>
              <a:gd name="T52" fmla="*/ 280108850 w 204"/>
              <a:gd name="T53" fmla="*/ 702008656 h 162"/>
              <a:gd name="T54" fmla="*/ 366686431 w 204"/>
              <a:gd name="T55" fmla="*/ 235710440 h 162"/>
              <a:gd name="T56" fmla="*/ 249550331 w 204"/>
              <a:gd name="T57" fmla="*/ 502168180 h 162"/>
              <a:gd name="T58" fmla="*/ 249550331 w 204"/>
              <a:gd name="T59" fmla="*/ 702008656 h 162"/>
              <a:gd name="T60" fmla="*/ 249550331 w 204"/>
              <a:gd name="T61" fmla="*/ 794243766 h 162"/>
              <a:gd name="T62" fmla="*/ 376873356 w 204"/>
              <a:gd name="T63" fmla="*/ 830113731 h 162"/>
              <a:gd name="T64" fmla="*/ 280108850 w 204"/>
              <a:gd name="T65" fmla="*/ 702008656 h 162"/>
              <a:gd name="T66" fmla="*/ 280108850 w 204"/>
              <a:gd name="T67" fmla="*/ 799368694 h 162"/>
              <a:gd name="T68" fmla="*/ 157879287 w 204"/>
              <a:gd name="T69" fmla="*/ 830113731 h 162"/>
              <a:gd name="T70" fmla="*/ 249550331 w 204"/>
              <a:gd name="T71" fmla="*/ 702008656 h 16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04" h="162">
                <a:moveTo>
                  <a:pt x="108" y="121"/>
                </a:moveTo>
                <a:cubicBezTo>
                  <a:pt x="109" y="119"/>
                  <a:pt x="109" y="118"/>
                  <a:pt x="109" y="116"/>
                </a:cubicBezTo>
                <a:cubicBezTo>
                  <a:pt x="163" y="116"/>
                  <a:pt x="163" y="116"/>
                  <a:pt x="163" y="116"/>
                </a:cubicBezTo>
                <a:cubicBezTo>
                  <a:pt x="204" y="49"/>
                  <a:pt x="204" y="49"/>
                  <a:pt x="204" y="49"/>
                </a:cubicBezTo>
                <a:cubicBezTo>
                  <a:pt x="204" y="49"/>
                  <a:pt x="204" y="39"/>
                  <a:pt x="203" y="37"/>
                </a:cubicBezTo>
                <a:cubicBezTo>
                  <a:pt x="202" y="35"/>
                  <a:pt x="162" y="24"/>
                  <a:pt x="162" y="24"/>
                </a:cubicBezTo>
                <a:cubicBezTo>
                  <a:pt x="159" y="14"/>
                  <a:pt x="159" y="14"/>
                  <a:pt x="159" y="14"/>
                </a:cubicBezTo>
                <a:cubicBezTo>
                  <a:pt x="172" y="0"/>
                  <a:pt x="172" y="0"/>
                  <a:pt x="172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119" y="15"/>
                  <a:pt x="119" y="15"/>
                  <a:pt x="119" y="15"/>
                </a:cubicBezTo>
                <a:cubicBezTo>
                  <a:pt x="98" y="73"/>
                  <a:pt x="98" y="73"/>
                  <a:pt x="98" y="73"/>
                </a:cubicBezTo>
                <a:cubicBezTo>
                  <a:pt x="105" y="73"/>
                  <a:pt x="111" y="73"/>
                  <a:pt x="116" y="75"/>
                </a:cubicBezTo>
                <a:cubicBezTo>
                  <a:pt x="115" y="81"/>
                  <a:pt x="114" y="90"/>
                  <a:pt x="112" y="98"/>
                </a:cubicBezTo>
                <a:cubicBezTo>
                  <a:pt x="129" y="98"/>
                  <a:pt x="164" y="98"/>
                  <a:pt x="166" y="98"/>
                </a:cubicBezTo>
                <a:cubicBezTo>
                  <a:pt x="168" y="95"/>
                  <a:pt x="177" y="79"/>
                  <a:pt x="178" y="76"/>
                </a:cubicBezTo>
                <a:cubicBezTo>
                  <a:pt x="183" y="69"/>
                  <a:pt x="186" y="61"/>
                  <a:pt x="191" y="53"/>
                </a:cubicBezTo>
                <a:cubicBezTo>
                  <a:pt x="195" y="48"/>
                  <a:pt x="189" y="41"/>
                  <a:pt x="186" y="39"/>
                </a:cubicBezTo>
                <a:cubicBezTo>
                  <a:pt x="183" y="37"/>
                  <a:pt x="164" y="32"/>
                  <a:pt x="164" y="33"/>
                </a:cubicBezTo>
                <a:cubicBezTo>
                  <a:pt x="164" y="33"/>
                  <a:pt x="176" y="68"/>
                  <a:pt x="178" y="76"/>
                </a:cubicBezTo>
                <a:cubicBezTo>
                  <a:pt x="176" y="69"/>
                  <a:pt x="166" y="39"/>
                  <a:pt x="166" y="38"/>
                </a:cubicBezTo>
                <a:cubicBezTo>
                  <a:pt x="147" y="37"/>
                  <a:pt x="128" y="35"/>
                  <a:pt x="110" y="39"/>
                </a:cubicBezTo>
                <a:cubicBezTo>
                  <a:pt x="98" y="73"/>
                  <a:pt x="98" y="73"/>
                  <a:pt x="98" y="73"/>
                </a:cubicBezTo>
                <a:cubicBezTo>
                  <a:pt x="89" y="72"/>
                  <a:pt x="79" y="73"/>
                  <a:pt x="72" y="75"/>
                </a:cubicBezTo>
                <a:cubicBezTo>
                  <a:pt x="73" y="84"/>
                  <a:pt x="74" y="92"/>
                  <a:pt x="75" y="99"/>
                </a:cubicBezTo>
                <a:cubicBezTo>
                  <a:pt x="76" y="97"/>
                  <a:pt x="111" y="97"/>
                  <a:pt x="112" y="98"/>
                </a:cubicBezTo>
                <a:cubicBezTo>
                  <a:pt x="112" y="99"/>
                  <a:pt x="111" y="102"/>
                  <a:pt x="111" y="107"/>
                </a:cubicBezTo>
                <a:cubicBezTo>
                  <a:pt x="110" y="110"/>
                  <a:pt x="110" y="113"/>
                  <a:pt x="109" y="116"/>
                </a:cubicBezTo>
                <a:cubicBezTo>
                  <a:pt x="109" y="116"/>
                  <a:pt x="109" y="116"/>
                  <a:pt x="109" y="116"/>
                </a:cubicBezTo>
                <a:cubicBezTo>
                  <a:pt x="109" y="118"/>
                  <a:pt x="109" y="120"/>
                  <a:pt x="108" y="121"/>
                </a:cubicBezTo>
                <a:cubicBezTo>
                  <a:pt x="108" y="121"/>
                  <a:pt x="108" y="121"/>
                  <a:pt x="108" y="121"/>
                </a:cubicBezTo>
                <a:cubicBezTo>
                  <a:pt x="108" y="121"/>
                  <a:pt x="108" y="121"/>
                  <a:pt x="108" y="121"/>
                </a:cubicBezTo>
                <a:close/>
                <a:moveTo>
                  <a:pt x="189" y="138"/>
                </a:moveTo>
                <a:cubicBezTo>
                  <a:pt x="55" y="138"/>
                  <a:pt x="55" y="138"/>
                  <a:pt x="55" y="138"/>
                </a:cubicBezTo>
                <a:cubicBezTo>
                  <a:pt x="55" y="122"/>
                  <a:pt x="55" y="122"/>
                  <a:pt x="55" y="122"/>
                </a:cubicBezTo>
                <a:cubicBezTo>
                  <a:pt x="55" y="122"/>
                  <a:pt x="55" y="122"/>
                  <a:pt x="55" y="122"/>
                </a:cubicBezTo>
                <a:cubicBezTo>
                  <a:pt x="55" y="122"/>
                  <a:pt x="55" y="122"/>
                  <a:pt x="55" y="122"/>
                </a:cubicBezTo>
                <a:cubicBezTo>
                  <a:pt x="105" y="121"/>
                  <a:pt x="147" y="121"/>
                  <a:pt x="200" y="121"/>
                </a:cubicBezTo>
                <a:cubicBezTo>
                  <a:pt x="200" y="121"/>
                  <a:pt x="189" y="138"/>
                  <a:pt x="189" y="138"/>
                </a:cubicBezTo>
                <a:close/>
                <a:moveTo>
                  <a:pt x="49" y="122"/>
                </a:moveTo>
                <a:cubicBezTo>
                  <a:pt x="33" y="122"/>
                  <a:pt x="17" y="122"/>
                  <a:pt x="0" y="122"/>
                </a:cubicBezTo>
                <a:cubicBezTo>
                  <a:pt x="13" y="137"/>
                  <a:pt x="13" y="137"/>
                  <a:pt x="13" y="137"/>
                </a:cubicBezTo>
                <a:cubicBezTo>
                  <a:pt x="49" y="138"/>
                  <a:pt x="49" y="138"/>
                  <a:pt x="49" y="138"/>
                </a:cubicBezTo>
                <a:cubicBezTo>
                  <a:pt x="49" y="122"/>
                  <a:pt x="49" y="122"/>
                  <a:pt x="49" y="122"/>
                </a:cubicBezTo>
                <a:close/>
                <a:moveTo>
                  <a:pt x="79" y="121"/>
                </a:moveTo>
                <a:cubicBezTo>
                  <a:pt x="77" y="114"/>
                  <a:pt x="76" y="107"/>
                  <a:pt x="75" y="99"/>
                </a:cubicBezTo>
                <a:cubicBezTo>
                  <a:pt x="76" y="104"/>
                  <a:pt x="79" y="121"/>
                  <a:pt x="79" y="121"/>
                </a:cubicBezTo>
                <a:cubicBezTo>
                  <a:pt x="79" y="121"/>
                  <a:pt x="79" y="121"/>
                  <a:pt x="79" y="121"/>
                </a:cubicBezTo>
                <a:close/>
                <a:moveTo>
                  <a:pt x="49" y="137"/>
                </a:moveTo>
                <a:cubicBezTo>
                  <a:pt x="49" y="98"/>
                  <a:pt x="49" y="98"/>
                  <a:pt x="49" y="98"/>
                </a:cubicBezTo>
                <a:cubicBezTo>
                  <a:pt x="24" y="23"/>
                  <a:pt x="24" y="23"/>
                  <a:pt x="24" y="23"/>
                </a:cubicBezTo>
                <a:cubicBezTo>
                  <a:pt x="80" y="23"/>
                  <a:pt x="80" y="23"/>
                  <a:pt x="80" y="23"/>
                </a:cubicBezTo>
                <a:cubicBezTo>
                  <a:pt x="55" y="98"/>
                  <a:pt x="55" y="98"/>
                  <a:pt x="55" y="98"/>
                </a:cubicBezTo>
                <a:cubicBezTo>
                  <a:pt x="55" y="137"/>
                  <a:pt x="55" y="137"/>
                  <a:pt x="55" y="137"/>
                </a:cubicBezTo>
                <a:cubicBezTo>
                  <a:pt x="55" y="137"/>
                  <a:pt x="55" y="137"/>
                  <a:pt x="55" y="137"/>
                </a:cubicBezTo>
                <a:cubicBezTo>
                  <a:pt x="55" y="98"/>
                  <a:pt x="55" y="98"/>
                  <a:pt x="55" y="98"/>
                </a:cubicBezTo>
                <a:cubicBezTo>
                  <a:pt x="72" y="46"/>
                  <a:pt x="72" y="46"/>
                  <a:pt x="72" y="46"/>
                </a:cubicBezTo>
                <a:cubicBezTo>
                  <a:pt x="59" y="43"/>
                  <a:pt x="45" y="43"/>
                  <a:pt x="32" y="46"/>
                </a:cubicBezTo>
                <a:cubicBezTo>
                  <a:pt x="37" y="63"/>
                  <a:pt x="43" y="81"/>
                  <a:pt x="49" y="98"/>
                </a:cubicBezTo>
                <a:cubicBezTo>
                  <a:pt x="49" y="137"/>
                  <a:pt x="49" y="137"/>
                  <a:pt x="49" y="137"/>
                </a:cubicBezTo>
                <a:cubicBezTo>
                  <a:pt x="49" y="137"/>
                  <a:pt x="49" y="137"/>
                  <a:pt x="49" y="137"/>
                </a:cubicBezTo>
                <a:close/>
                <a:moveTo>
                  <a:pt x="49" y="137"/>
                </a:moveTo>
                <a:cubicBezTo>
                  <a:pt x="49" y="155"/>
                  <a:pt x="49" y="155"/>
                  <a:pt x="49" y="155"/>
                </a:cubicBezTo>
                <a:cubicBezTo>
                  <a:pt x="42" y="157"/>
                  <a:pt x="31" y="162"/>
                  <a:pt x="30" y="162"/>
                </a:cubicBezTo>
                <a:cubicBezTo>
                  <a:pt x="74" y="162"/>
                  <a:pt x="74" y="162"/>
                  <a:pt x="74" y="162"/>
                </a:cubicBezTo>
                <a:cubicBezTo>
                  <a:pt x="73" y="162"/>
                  <a:pt x="62" y="157"/>
                  <a:pt x="55" y="156"/>
                </a:cubicBezTo>
                <a:cubicBezTo>
                  <a:pt x="55" y="137"/>
                  <a:pt x="55" y="137"/>
                  <a:pt x="55" y="137"/>
                </a:cubicBezTo>
                <a:cubicBezTo>
                  <a:pt x="55" y="137"/>
                  <a:pt x="55" y="137"/>
                  <a:pt x="55" y="137"/>
                </a:cubicBezTo>
                <a:cubicBezTo>
                  <a:pt x="55" y="156"/>
                  <a:pt x="55" y="156"/>
                  <a:pt x="55" y="156"/>
                </a:cubicBezTo>
                <a:cubicBezTo>
                  <a:pt x="61" y="157"/>
                  <a:pt x="67" y="160"/>
                  <a:pt x="73" y="162"/>
                </a:cubicBezTo>
                <a:cubicBezTo>
                  <a:pt x="59" y="162"/>
                  <a:pt x="45" y="162"/>
                  <a:pt x="31" y="162"/>
                </a:cubicBezTo>
                <a:cubicBezTo>
                  <a:pt x="37" y="159"/>
                  <a:pt x="43" y="157"/>
                  <a:pt x="49" y="156"/>
                </a:cubicBezTo>
                <a:cubicBezTo>
                  <a:pt x="49" y="137"/>
                  <a:pt x="49" y="137"/>
                  <a:pt x="49" y="1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62" name="Freeform 222"/>
          <p:cNvSpPr>
            <a:spLocks noEditPoints="1"/>
          </p:cNvSpPr>
          <p:nvPr/>
        </p:nvSpPr>
        <p:spPr bwMode="auto">
          <a:xfrm>
            <a:off x="5452534" y="1458384"/>
            <a:ext cx="565151" cy="556683"/>
          </a:xfrm>
          <a:custGeom>
            <a:avLst/>
            <a:gdLst>
              <a:gd name="T0" fmla="*/ 391403662 w 188"/>
              <a:gd name="T1" fmla="*/ 356528166 h 185"/>
              <a:gd name="T2" fmla="*/ 193159780 w 188"/>
              <a:gd name="T3" fmla="*/ 529698603 h 185"/>
              <a:gd name="T4" fmla="*/ 386319560 w 188"/>
              <a:gd name="T5" fmla="*/ 534792249 h 185"/>
              <a:gd name="T6" fmla="*/ 391403662 w 188"/>
              <a:gd name="T7" fmla="*/ 590817846 h 185"/>
              <a:gd name="T8" fmla="*/ 30500099 w 188"/>
              <a:gd name="T9" fmla="*/ 774175575 h 185"/>
              <a:gd name="T10" fmla="*/ 40666048 w 188"/>
              <a:gd name="T11" fmla="*/ 835294819 h 185"/>
              <a:gd name="T12" fmla="*/ 182993832 w 188"/>
              <a:gd name="T13" fmla="*/ 748709600 h 185"/>
              <a:gd name="T14" fmla="*/ 198243882 w 188"/>
              <a:gd name="T15" fmla="*/ 901505451 h 185"/>
              <a:gd name="T16" fmla="*/ 279573722 w 188"/>
              <a:gd name="T17" fmla="*/ 901505451 h 185"/>
              <a:gd name="T18" fmla="*/ 284657823 w 188"/>
              <a:gd name="T19" fmla="*/ 702869039 h 185"/>
              <a:gd name="T20" fmla="*/ 559147444 w 188"/>
              <a:gd name="T21" fmla="*/ 631564760 h 185"/>
              <a:gd name="T22" fmla="*/ 513399550 w 188"/>
              <a:gd name="T23" fmla="*/ 275036594 h 185"/>
              <a:gd name="T24" fmla="*/ 589647543 w 188"/>
              <a:gd name="T25" fmla="*/ 341247227 h 185"/>
              <a:gd name="T26" fmla="*/ 655727334 w 188"/>
              <a:gd name="T27" fmla="*/ 692681747 h 185"/>
              <a:gd name="T28" fmla="*/ 869221265 w 188"/>
              <a:gd name="T29" fmla="*/ 697775393 h 185"/>
              <a:gd name="T30" fmla="*/ 914969159 w 188"/>
              <a:gd name="T31" fmla="*/ 937158719 h 185"/>
              <a:gd name="T32" fmla="*/ 950551106 w 188"/>
              <a:gd name="T33" fmla="*/ 636656150 h 185"/>
              <a:gd name="T34" fmla="*/ 777725476 w 188"/>
              <a:gd name="T35" fmla="*/ 590817846 h 185"/>
              <a:gd name="T36" fmla="*/ 757391325 w 188"/>
              <a:gd name="T37" fmla="*/ 331062191 h 185"/>
              <a:gd name="T38" fmla="*/ 589647543 w 188"/>
              <a:gd name="T39" fmla="*/ 341247227 h 185"/>
              <a:gd name="T40" fmla="*/ 137245938 w 188"/>
              <a:gd name="T41" fmla="*/ 162983144 h 185"/>
              <a:gd name="T42" fmla="*/ 157577834 w 188"/>
              <a:gd name="T43" fmla="*/ 40746914 h 185"/>
              <a:gd name="T44" fmla="*/ 137245938 w 188"/>
              <a:gd name="T45" fmla="*/ 117144840 h 185"/>
              <a:gd name="T46" fmla="*/ 76247994 w 188"/>
              <a:gd name="T47" fmla="*/ 101866158 h 185"/>
              <a:gd name="T48" fmla="*/ 467651655 w 188"/>
              <a:gd name="T49" fmla="*/ 91678865 h 185"/>
              <a:gd name="T50" fmla="*/ 467651655 w 188"/>
              <a:gd name="T51" fmla="*/ 249570619 h 185"/>
              <a:gd name="T52" fmla="*/ 467651655 w 188"/>
              <a:gd name="T53" fmla="*/ 91678865 h 185"/>
              <a:gd name="T54" fmla="*/ 752309479 w 188"/>
              <a:gd name="T55" fmla="*/ 173170437 h 185"/>
              <a:gd name="T56" fmla="*/ 599813491 w 188"/>
              <a:gd name="T57" fmla="*/ 173170437 h 185"/>
              <a:gd name="T58" fmla="*/ 142327784 w 188"/>
              <a:gd name="T59" fmla="*/ 0 h 185"/>
              <a:gd name="T60" fmla="*/ 142327784 w 188"/>
              <a:gd name="T61" fmla="*/ 285221630 h 185"/>
              <a:gd name="T62" fmla="*/ 142327784 w 188"/>
              <a:gd name="T63" fmla="*/ 0 h 185"/>
              <a:gd name="T64" fmla="*/ 259241825 w 188"/>
              <a:gd name="T65" fmla="*/ 142610815 h 185"/>
              <a:gd name="T66" fmla="*/ 25415998 w 188"/>
              <a:gd name="T67" fmla="*/ 142610815 h 18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8" h="185">
                <a:moveTo>
                  <a:pt x="77" y="62"/>
                </a:moveTo>
                <a:cubicBezTo>
                  <a:pt x="77" y="63"/>
                  <a:pt x="77" y="69"/>
                  <a:pt x="77" y="70"/>
                </a:cubicBezTo>
                <a:cubicBezTo>
                  <a:pt x="75" y="77"/>
                  <a:pt x="74" y="84"/>
                  <a:pt x="72" y="91"/>
                </a:cubicBezTo>
                <a:cubicBezTo>
                  <a:pt x="70" y="94"/>
                  <a:pt x="43" y="101"/>
                  <a:pt x="38" y="104"/>
                </a:cubicBezTo>
                <a:cubicBezTo>
                  <a:pt x="32" y="107"/>
                  <a:pt x="35" y="118"/>
                  <a:pt x="43" y="116"/>
                </a:cubicBezTo>
                <a:cubicBezTo>
                  <a:pt x="48" y="114"/>
                  <a:pt x="76" y="104"/>
                  <a:pt x="76" y="105"/>
                </a:cubicBezTo>
                <a:cubicBezTo>
                  <a:pt x="77" y="106"/>
                  <a:pt x="77" y="106"/>
                  <a:pt x="77" y="106"/>
                </a:cubicBezTo>
                <a:cubicBezTo>
                  <a:pt x="77" y="116"/>
                  <a:pt x="77" y="116"/>
                  <a:pt x="77" y="116"/>
                </a:cubicBezTo>
                <a:cubicBezTo>
                  <a:pt x="77" y="116"/>
                  <a:pt x="45" y="116"/>
                  <a:pt x="41" y="118"/>
                </a:cubicBezTo>
                <a:cubicBezTo>
                  <a:pt x="38" y="120"/>
                  <a:pt x="6" y="154"/>
                  <a:pt x="6" y="152"/>
                </a:cubicBezTo>
                <a:cubicBezTo>
                  <a:pt x="6" y="152"/>
                  <a:pt x="6" y="153"/>
                  <a:pt x="6" y="154"/>
                </a:cubicBezTo>
                <a:cubicBezTo>
                  <a:pt x="4" y="156"/>
                  <a:pt x="5" y="163"/>
                  <a:pt x="8" y="164"/>
                </a:cubicBezTo>
                <a:cubicBezTo>
                  <a:pt x="12" y="166"/>
                  <a:pt x="16" y="166"/>
                  <a:pt x="19" y="163"/>
                </a:cubicBezTo>
                <a:cubicBezTo>
                  <a:pt x="22" y="160"/>
                  <a:pt x="32" y="150"/>
                  <a:pt x="36" y="147"/>
                </a:cubicBezTo>
                <a:cubicBezTo>
                  <a:pt x="37" y="146"/>
                  <a:pt x="38" y="146"/>
                  <a:pt x="38" y="146"/>
                </a:cubicBezTo>
                <a:cubicBezTo>
                  <a:pt x="39" y="177"/>
                  <a:pt x="39" y="177"/>
                  <a:pt x="39" y="177"/>
                </a:cubicBezTo>
                <a:cubicBezTo>
                  <a:pt x="39" y="177"/>
                  <a:pt x="40" y="183"/>
                  <a:pt x="46" y="183"/>
                </a:cubicBezTo>
                <a:cubicBezTo>
                  <a:pt x="52" y="184"/>
                  <a:pt x="55" y="178"/>
                  <a:pt x="55" y="177"/>
                </a:cubicBezTo>
                <a:cubicBezTo>
                  <a:pt x="55" y="175"/>
                  <a:pt x="54" y="140"/>
                  <a:pt x="55" y="139"/>
                </a:cubicBezTo>
                <a:cubicBezTo>
                  <a:pt x="56" y="138"/>
                  <a:pt x="56" y="138"/>
                  <a:pt x="56" y="138"/>
                </a:cubicBezTo>
                <a:cubicBezTo>
                  <a:pt x="94" y="137"/>
                  <a:pt x="94" y="137"/>
                  <a:pt x="94" y="137"/>
                </a:cubicBezTo>
                <a:cubicBezTo>
                  <a:pt x="94" y="137"/>
                  <a:pt x="109" y="137"/>
                  <a:pt x="110" y="124"/>
                </a:cubicBezTo>
                <a:cubicBezTo>
                  <a:pt x="110" y="111"/>
                  <a:pt x="110" y="72"/>
                  <a:pt x="110" y="67"/>
                </a:cubicBezTo>
                <a:cubicBezTo>
                  <a:pt x="109" y="62"/>
                  <a:pt x="109" y="56"/>
                  <a:pt x="101" y="54"/>
                </a:cubicBezTo>
                <a:cubicBezTo>
                  <a:pt x="96" y="52"/>
                  <a:pt x="79" y="51"/>
                  <a:pt x="77" y="62"/>
                </a:cubicBezTo>
                <a:close/>
                <a:moveTo>
                  <a:pt x="116" y="67"/>
                </a:moveTo>
                <a:cubicBezTo>
                  <a:pt x="116" y="76"/>
                  <a:pt x="116" y="124"/>
                  <a:pt x="116" y="124"/>
                </a:cubicBezTo>
                <a:cubicBezTo>
                  <a:pt x="116" y="124"/>
                  <a:pt x="117" y="135"/>
                  <a:pt x="129" y="136"/>
                </a:cubicBezTo>
                <a:cubicBezTo>
                  <a:pt x="139" y="137"/>
                  <a:pt x="164" y="137"/>
                  <a:pt x="169" y="137"/>
                </a:cubicBezTo>
                <a:cubicBezTo>
                  <a:pt x="170" y="137"/>
                  <a:pt x="171" y="137"/>
                  <a:pt x="171" y="137"/>
                </a:cubicBezTo>
                <a:cubicBezTo>
                  <a:pt x="172" y="178"/>
                  <a:pt x="172" y="178"/>
                  <a:pt x="172" y="178"/>
                </a:cubicBezTo>
                <a:cubicBezTo>
                  <a:pt x="172" y="178"/>
                  <a:pt x="174" y="185"/>
                  <a:pt x="180" y="184"/>
                </a:cubicBezTo>
                <a:cubicBezTo>
                  <a:pt x="186" y="184"/>
                  <a:pt x="188" y="177"/>
                  <a:pt x="188" y="177"/>
                </a:cubicBezTo>
                <a:cubicBezTo>
                  <a:pt x="187" y="125"/>
                  <a:pt x="187" y="125"/>
                  <a:pt x="187" y="125"/>
                </a:cubicBezTo>
                <a:cubicBezTo>
                  <a:pt x="187" y="125"/>
                  <a:pt x="188" y="116"/>
                  <a:pt x="176" y="116"/>
                </a:cubicBezTo>
                <a:cubicBezTo>
                  <a:pt x="164" y="116"/>
                  <a:pt x="155" y="116"/>
                  <a:pt x="153" y="116"/>
                </a:cubicBezTo>
                <a:cubicBezTo>
                  <a:pt x="150" y="115"/>
                  <a:pt x="149" y="116"/>
                  <a:pt x="149" y="112"/>
                </a:cubicBezTo>
                <a:cubicBezTo>
                  <a:pt x="149" y="108"/>
                  <a:pt x="149" y="65"/>
                  <a:pt x="149" y="65"/>
                </a:cubicBezTo>
                <a:cubicBezTo>
                  <a:pt x="149" y="65"/>
                  <a:pt x="147" y="57"/>
                  <a:pt x="138" y="55"/>
                </a:cubicBezTo>
                <a:cubicBezTo>
                  <a:pt x="129" y="52"/>
                  <a:pt x="116" y="57"/>
                  <a:pt x="116" y="67"/>
                </a:cubicBezTo>
                <a:close/>
                <a:moveTo>
                  <a:pt x="13" y="24"/>
                </a:move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31" y="36"/>
                  <a:pt x="31" y="29"/>
                </a:cubicBezTo>
                <a:cubicBezTo>
                  <a:pt x="31" y="23"/>
                  <a:pt x="31" y="8"/>
                  <a:pt x="31" y="8"/>
                </a:cubicBezTo>
                <a:cubicBezTo>
                  <a:pt x="27" y="8"/>
                  <a:pt x="27" y="8"/>
                  <a:pt x="27" y="8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3"/>
                  <a:pt x="27" y="27"/>
                  <a:pt x="23" y="25"/>
                </a:cubicBezTo>
                <a:cubicBezTo>
                  <a:pt x="18" y="22"/>
                  <a:pt x="15" y="20"/>
                  <a:pt x="15" y="20"/>
                </a:cubicBezTo>
                <a:cubicBezTo>
                  <a:pt x="13" y="24"/>
                  <a:pt x="13" y="24"/>
                  <a:pt x="13" y="24"/>
                </a:cubicBezTo>
                <a:close/>
                <a:moveTo>
                  <a:pt x="92" y="18"/>
                </a:moveTo>
                <a:cubicBezTo>
                  <a:pt x="101" y="18"/>
                  <a:pt x="108" y="25"/>
                  <a:pt x="108" y="33"/>
                </a:cubicBezTo>
                <a:cubicBezTo>
                  <a:pt x="108" y="42"/>
                  <a:pt x="101" y="49"/>
                  <a:pt x="92" y="49"/>
                </a:cubicBezTo>
                <a:cubicBezTo>
                  <a:pt x="84" y="49"/>
                  <a:pt x="77" y="42"/>
                  <a:pt x="77" y="33"/>
                </a:cubicBezTo>
                <a:cubicBezTo>
                  <a:pt x="77" y="25"/>
                  <a:pt x="84" y="18"/>
                  <a:pt x="92" y="18"/>
                </a:cubicBezTo>
                <a:close/>
                <a:moveTo>
                  <a:pt x="133" y="19"/>
                </a:moveTo>
                <a:cubicBezTo>
                  <a:pt x="141" y="19"/>
                  <a:pt x="148" y="26"/>
                  <a:pt x="148" y="34"/>
                </a:cubicBezTo>
                <a:cubicBezTo>
                  <a:pt x="148" y="42"/>
                  <a:pt x="141" y="49"/>
                  <a:pt x="133" y="49"/>
                </a:cubicBezTo>
                <a:cubicBezTo>
                  <a:pt x="124" y="49"/>
                  <a:pt x="118" y="42"/>
                  <a:pt x="118" y="34"/>
                </a:cubicBezTo>
                <a:cubicBezTo>
                  <a:pt x="118" y="26"/>
                  <a:pt x="124" y="19"/>
                  <a:pt x="133" y="19"/>
                </a:cubicBezTo>
                <a:close/>
                <a:moveTo>
                  <a:pt x="28" y="0"/>
                </a:moveTo>
                <a:cubicBezTo>
                  <a:pt x="44" y="0"/>
                  <a:pt x="56" y="12"/>
                  <a:pt x="56" y="28"/>
                </a:cubicBezTo>
                <a:cubicBezTo>
                  <a:pt x="56" y="43"/>
                  <a:pt x="44" y="56"/>
                  <a:pt x="28" y="56"/>
                </a:cubicBezTo>
                <a:cubicBezTo>
                  <a:pt x="13" y="56"/>
                  <a:pt x="0" y="43"/>
                  <a:pt x="0" y="28"/>
                </a:cubicBezTo>
                <a:cubicBezTo>
                  <a:pt x="0" y="12"/>
                  <a:pt x="13" y="0"/>
                  <a:pt x="28" y="0"/>
                </a:cubicBezTo>
                <a:close/>
                <a:moveTo>
                  <a:pt x="28" y="5"/>
                </a:moveTo>
                <a:cubicBezTo>
                  <a:pt x="41" y="5"/>
                  <a:pt x="51" y="15"/>
                  <a:pt x="51" y="28"/>
                </a:cubicBezTo>
                <a:cubicBezTo>
                  <a:pt x="51" y="40"/>
                  <a:pt x="41" y="51"/>
                  <a:pt x="28" y="51"/>
                </a:cubicBezTo>
                <a:cubicBezTo>
                  <a:pt x="15" y="51"/>
                  <a:pt x="5" y="40"/>
                  <a:pt x="5" y="28"/>
                </a:cubicBezTo>
                <a:cubicBezTo>
                  <a:pt x="5" y="15"/>
                  <a:pt x="15" y="5"/>
                  <a:pt x="28" y="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63" name="Freeform 223"/>
          <p:cNvSpPr>
            <a:spLocks/>
          </p:cNvSpPr>
          <p:nvPr/>
        </p:nvSpPr>
        <p:spPr bwMode="auto">
          <a:xfrm>
            <a:off x="6278034" y="1411818"/>
            <a:ext cx="548217" cy="565149"/>
          </a:xfrm>
          <a:custGeom>
            <a:avLst/>
            <a:gdLst>
              <a:gd name="T0" fmla="*/ 5103391 w 182"/>
              <a:gd name="T1" fmla="*/ 698724040 h 187"/>
              <a:gd name="T2" fmla="*/ 311324943 w 182"/>
              <a:gd name="T3" fmla="*/ 698724040 h 187"/>
              <a:gd name="T4" fmla="*/ 311324943 w 182"/>
              <a:gd name="T5" fmla="*/ 760376695 h 187"/>
              <a:gd name="T6" fmla="*/ 209250339 w 182"/>
              <a:gd name="T7" fmla="*/ 765512905 h 187"/>
              <a:gd name="T8" fmla="*/ 209250339 w 182"/>
              <a:gd name="T9" fmla="*/ 893956691 h 187"/>
              <a:gd name="T10" fmla="*/ 561406930 w 182"/>
              <a:gd name="T11" fmla="*/ 893956691 h 187"/>
              <a:gd name="T12" fmla="*/ 586923887 w 182"/>
              <a:gd name="T13" fmla="*/ 631935176 h 187"/>
              <a:gd name="T14" fmla="*/ 571613713 w 182"/>
              <a:gd name="T15" fmla="*/ 631935176 h 187"/>
              <a:gd name="T16" fmla="*/ 413399546 w 182"/>
              <a:gd name="T17" fmla="*/ 647348339 h 187"/>
              <a:gd name="T18" fmla="*/ 347050941 w 182"/>
              <a:gd name="T19" fmla="*/ 549730881 h 187"/>
              <a:gd name="T20" fmla="*/ 423606329 w 182"/>
              <a:gd name="T21" fmla="*/ 390463034 h 187"/>
              <a:gd name="T22" fmla="*/ 392983722 w 182"/>
              <a:gd name="T23" fmla="*/ 292847842 h 187"/>
              <a:gd name="T24" fmla="*/ 454228936 w 182"/>
              <a:gd name="T25" fmla="*/ 205507337 h 187"/>
              <a:gd name="T26" fmla="*/ 510368499 w 182"/>
              <a:gd name="T27" fmla="*/ 195232651 h 187"/>
              <a:gd name="T28" fmla="*/ 729827880 w 182"/>
              <a:gd name="T29" fmla="*/ 190094174 h 187"/>
              <a:gd name="T30" fmla="*/ 826796833 w 182"/>
              <a:gd name="T31" fmla="*/ 272296202 h 187"/>
              <a:gd name="T32" fmla="*/ 801279876 w 182"/>
              <a:gd name="T33" fmla="*/ 390463034 h 187"/>
              <a:gd name="T34" fmla="*/ 877835264 w 182"/>
              <a:gd name="T35" fmla="*/ 534317717 h 187"/>
              <a:gd name="T36" fmla="*/ 760450487 w 182"/>
              <a:gd name="T37" fmla="*/ 667897713 h 187"/>
              <a:gd name="T38" fmla="*/ 694101882 w 182"/>
              <a:gd name="T39" fmla="*/ 652484550 h 187"/>
              <a:gd name="T40" fmla="*/ 648169101 w 182"/>
              <a:gd name="T41" fmla="*/ 631935176 h 187"/>
              <a:gd name="T42" fmla="*/ 632856668 w 182"/>
              <a:gd name="T43" fmla="*/ 631935176 h 187"/>
              <a:gd name="T44" fmla="*/ 653272492 w 182"/>
              <a:gd name="T45" fmla="*/ 893956691 h 187"/>
              <a:gd name="T46" fmla="*/ 923768045 w 182"/>
              <a:gd name="T47" fmla="*/ 893956691 h 187"/>
              <a:gd name="T48" fmla="*/ 928871436 w 182"/>
              <a:gd name="T49" fmla="*/ 960745556 h 187"/>
              <a:gd name="T50" fmla="*/ 5103391 w 182"/>
              <a:gd name="T51" fmla="*/ 955607079 h 187"/>
              <a:gd name="T52" fmla="*/ 5103391 w 182"/>
              <a:gd name="T53" fmla="*/ 893956691 h 187"/>
              <a:gd name="T54" fmla="*/ 117384777 w 182"/>
              <a:gd name="T55" fmla="*/ 893956691 h 187"/>
              <a:gd name="T56" fmla="*/ 117384777 w 182"/>
              <a:gd name="T57" fmla="*/ 760376695 h 187"/>
              <a:gd name="T58" fmla="*/ 0 w 182"/>
              <a:gd name="T59" fmla="*/ 760376695 h 187"/>
              <a:gd name="T60" fmla="*/ 5103391 w 182"/>
              <a:gd name="T61" fmla="*/ 698724040 h 1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2" h="187">
                <a:moveTo>
                  <a:pt x="1" y="136"/>
                </a:moveTo>
                <a:cubicBezTo>
                  <a:pt x="61" y="136"/>
                  <a:pt x="61" y="136"/>
                  <a:pt x="61" y="136"/>
                </a:cubicBezTo>
                <a:cubicBezTo>
                  <a:pt x="61" y="148"/>
                  <a:pt x="61" y="148"/>
                  <a:pt x="61" y="148"/>
                </a:cubicBezTo>
                <a:cubicBezTo>
                  <a:pt x="41" y="149"/>
                  <a:pt x="41" y="149"/>
                  <a:pt x="41" y="149"/>
                </a:cubicBezTo>
                <a:cubicBezTo>
                  <a:pt x="41" y="174"/>
                  <a:pt x="41" y="174"/>
                  <a:pt x="41" y="174"/>
                </a:cubicBezTo>
                <a:cubicBezTo>
                  <a:pt x="110" y="174"/>
                  <a:pt x="110" y="174"/>
                  <a:pt x="110" y="174"/>
                </a:cubicBezTo>
                <a:cubicBezTo>
                  <a:pt x="115" y="123"/>
                  <a:pt x="115" y="123"/>
                  <a:pt x="115" y="123"/>
                </a:cubicBezTo>
                <a:cubicBezTo>
                  <a:pt x="112" y="123"/>
                  <a:pt x="112" y="123"/>
                  <a:pt x="112" y="123"/>
                </a:cubicBezTo>
                <a:cubicBezTo>
                  <a:pt x="112" y="123"/>
                  <a:pt x="100" y="134"/>
                  <a:pt x="81" y="126"/>
                </a:cubicBezTo>
                <a:cubicBezTo>
                  <a:pt x="72" y="122"/>
                  <a:pt x="68" y="114"/>
                  <a:pt x="68" y="107"/>
                </a:cubicBezTo>
                <a:cubicBezTo>
                  <a:pt x="65" y="87"/>
                  <a:pt x="84" y="79"/>
                  <a:pt x="83" y="76"/>
                </a:cubicBezTo>
                <a:cubicBezTo>
                  <a:pt x="83" y="74"/>
                  <a:pt x="75" y="67"/>
                  <a:pt x="77" y="57"/>
                </a:cubicBezTo>
                <a:cubicBezTo>
                  <a:pt x="79" y="48"/>
                  <a:pt x="83" y="43"/>
                  <a:pt x="89" y="40"/>
                </a:cubicBezTo>
                <a:cubicBezTo>
                  <a:pt x="95" y="37"/>
                  <a:pt x="100" y="38"/>
                  <a:pt x="100" y="38"/>
                </a:cubicBezTo>
                <a:cubicBezTo>
                  <a:pt x="95" y="0"/>
                  <a:pt x="152" y="5"/>
                  <a:pt x="143" y="37"/>
                </a:cubicBezTo>
                <a:cubicBezTo>
                  <a:pt x="143" y="37"/>
                  <a:pt x="158" y="38"/>
                  <a:pt x="162" y="53"/>
                </a:cubicBezTo>
                <a:cubicBezTo>
                  <a:pt x="166" y="67"/>
                  <a:pt x="157" y="76"/>
                  <a:pt x="157" y="76"/>
                </a:cubicBezTo>
                <a:cubicBezTo>
                  <a:pt x="157" y="76"/>
                  <a:pt x="173" y="85"/>
                  <a:pt x="172" y="104"/>
                </a:cubicBezTo>
                <a:cubicBezTo>
                  <a:pt x="172" y="122"/>
                  <a:pt x="157" y="130"/>
                  <a:pt x="149" y="130"/>
                </a:cubicBezTo>
                <a:cubicBezTo>
                  <a:pt x="142" y="130"/>
                  <a:pt x="136" y="127"/>
                  <a:pt x="136" y="127"/>
                </a:cubicBezTo>
                <a:cubicBezTo>
                  <a:pt x="127" y="123"/>
                  <a:pt x="127" y="123"/>
                  <a:pt x="127" y="123"/>
                </a:cubicBezTo>
                <a:cubicBezTo>
                  <a:pt x="124" y="123"/>
                  <a:pt x="124" y="123"/>
                  <a:pt x="124" y="123"/>
                </a:cubicBezTo>
                <a:cubicBezTo>
                  <a:pt x="128" y="174"/>
                  <a:pt x="128" y="174"/>
                  <a:pt x="128" y="174"/>
                </a:cubicBezTo>
                <a:cubicBezTo>
                  <a:pt x="181" y="174"/>
                  <a:pt x="181" y="174"/>
                  <a:pt x="181" y="174"/>
                </a:cubicBezTo>
                <a:cubicBezTo>
                  <a:pt x="182" y="187"/>
                  <a:pt x="182" y="187"/>
                  <a:pt x="182" y="187"/>
                </a:cubicBezTo>
                <a:cubicBezTo>
                  <a:pt x="1" y="186"/>
                  <a:pt x="1" y="186"/>
                  <a:pt x="1" y="186"/>
                </a:cubicBezTo>
                <a:cubicBezTo>
                  <a:pt x="1" y="174"/>
                  <a:pt x="1" y="174"/>
                  <a:pt x="1" y="174"/>
                </a:cubicBezTo>
                <a:cubicBezTo>
                  <a:pt x="23" y="174"/>
                  <a:pt x="23" y="174"/>
                  <a:pt x="23" y="174"/>
                </a:cubicBezTo>
                <a:cubicBezTo>
                  <a:pt x="23" y="148"/>
                  <a:pt x="23" y="148"/>
                  <a:pt x="23" y="148"/>
                </a:cubicBezTo>
                <a:cubicBezTo>
                  <a:pt x="0" y="148"/>
                  <a:pt x="0" y="148"/>
                  <a:pt x="0" y="148"/>
                </a:cubicBezTo>
                <a:lnTo>
                  <a:pt x="1" y="1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64" name="Freeform 224"/>
          <p:cNvSpPr>
            <a:spLocks/>
          </p:cNvSpPr>
          <p:nvPr/>
        </p:nvSpPr>
        <p:spPr bwMode="auto">
          <a:xfrm>
            <a:off x="7315200" y="1722967"/>
            <a:ext cx="78317" cy="46567"/>
          </a:xfrm>
          <a:custGeom>
            <a:avLst/>
            <a:gdLst>
              <a:gd name="T0" fmla="*/ 0 w 26"/>
              <a:gd name="T1" fmla="*/ 81317042 h 15"/>
              <a:gd name="T2" fmla="*/ 132695919 w 26"/>
              <a:gd name="T3" fmla="*/ 59633273 h 15"/>
              <a:gd name="T4" fmla="*/ 0 w 26"/>
              <a:gd name="T5" fmla="*/ 81317042 h 1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15">
                <a:moveTo>
                  <a:pt x="0" y="15"/>
                </a:moveTo>
                <a:cubicBezTo>
                  <a:pt x="1" y="0"/>
                  <a:pt x="11" y="1"/>
                  <a:pt x="26" y="11"/>
                </a:cubicBezTo>
                <a:lnTo>
                  <a:pt x="0" y="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65" name="Freeform 225"/>
          <p:cNvSpPr>
            <a:spLocks noEditPoints="1"/>
          </p:cNvSpPr>
          <p:nvPr/>
        </p:nvSpPr>
        <p:spPr bwMode="auto">
          <a:xfrm>
            <a:off x="7167034" y="1568451"/>
            <a:ext cx="573617" cy="338667"/>
          </a:xfrm>
          <a:custGeom>
            <a:avLst/>
            <a:gdLst>
              <a:gd name="T0" fmla="*/ 598660535 w 191"/>
              <a:gd name="T1" fmla="*/ 36002232 h 112"/>
              <a:gd name="T2" fmla="*/ 791450017 w 191"/>
              <a:gd name="T3" fmla="*/ 138865429 h 112"/>
              <a:gd name="T4" fmla="*/ 583440906 w 191"/>
              <a:gd name="T5" fmla="*/ 534889982 h 112"/>
              <a:gd name="T6" fmla="*/ 380504253 w 191"/>
              <a:gd name="T7" fmla="*/ 432026786 h 112"/>
              <a:gd name="T8" fmla="*/ 385578964 w 191"/>
              <a:gd name="T9" fmla="*/ 426883286 h 112"/>
              <a:gd name="T10" fmla="*/ 492120876 w 191"/>
              <a:gd name="T11" fmla="*/ 406311554 h 112"/>
              <a:gd name="T12" fmla="*/ 476898994 w 191"/>
              <a:gd name="T13" fmla="*/ 303448357 h 112"/>
              <a:gd name="T14" fmla="*/ 451532194 w 191"/>
              <a:gd name="T15" fmla="*/ 308589589 h 112"/>
              <a:gd name="T16" fmla="*/ 598660535 w 191"/>
              <a:gd name="T17" fmla="*/ 36002232 h 112"/>
              <a:gd name="T18" fmla="*/ 755936047 w 191"/>
              <a:gd name="T19" fmla="*/ 92576196 h 112"/>
              <a:gd name="T20" fmla="*/ 755936047 w 191"/>
              <a:gd name="T21" fmla="*/ 92576196 h 112"/>
              <a:gd name="T22" fmla="*/ 588515617 w 191"/>
              <a:gd name="T23" fmla="*/ 0 h 112"/>
              <a:gd name="T24" fmla="*/ 476898994 w 191"/>
              <a:gd name="T25" fmla="*/ 205726393 h 112"/>
              <a:gd name="T26" fmla="*/ 279037053 w 191"/>
              <a:gd name="T27" fmla="*/ 97719696 h 112"/>
              <a:gd name="T28" fmla="*/ 0 w 191"/>
              <a:gd name="T29" fmla="*/ 257159125 h 112"/>
              <a:gd name="T30" fmla="*/ 0 w 191"/>
              <a:gd name="T31" fmla="*/ 550320482 h 112"/>
              <a:gd name="T32" fmla="*/ 228303453 w 191"/>
              <a:gd name="T33" fmla="*/ 462885518 h 112"/>
              <a:gd name="T34" fmla="*/ 355137453 w 191"/>
              <a:gd name="T35" fmla="*/ 432026786 h 112"/>
              <a:gd name="T36" fmla="*/ 385578964 w 191"/>
              <a:gd name="T37" fmla="*/ 452598518 h 112"/>
              <a:gd name="T38" fmla="*/ 370359335 w 191"/>
              <a:gd name="T39" fmla="*/ 488600750 h 112"/>
              <a:gd name="T40" fmla="*/ 436312564 w 191"/>
              <a:gd name="T41" fmla="*/ 524602982 h 112"/>
              <a:gd name="T42" fmla="*/ 497193335 w 191"/>
              <a:gd name="T43" fmla="*/ 555463982 h 112"/>
              <a:gd name="T44" fmla="*/ 507340505 w 191"/>
              <a:gd name="T45" fmla="*/ 524602982 h 112"/>
              <a:gd name="T46" fmla="*/ 522560135 w 191"/>
              <a:gd name="T47" fmla="*/ 529746482 h 112"/>
              <a:gd name="T48" fmla="*/ 588515617 w 191"/>
              <a:gd name="T49" fmla="*/ 565748714 h 112"/>
              <a:gd name="T50" fmla="*/ 644321676 w 191"/>
              <a:gd name="T51" fmla="*/ 462885518 h 112"/>
              <a:gd name="T52" fmla="*/ 969019870 w 191"/>
              <a:gd name="T53" fmla="*/ 267446125 h 112"/>
              <a:gd name="T54" fmla="*/ 832038699 w 191"/>
              <a:gd name="T55" fmla="*/ 41145732 h 112"/>
              <a:gd name="T56" fmla="*/ 755936047 w 191"/>
              <a:gd name="T57" fmla="*/ 92576196 h 112"/>
              <a:gd name="T58" fmla="*/ 776230388 w 191"/>
              <a:gd name="T59" fmla="*/ 102863196 h 112"/>
              <a:gd name="T60" fmla="*/ 821891529 w 191"/>
              <a:gd name="T61" fmla="*/ 128578429 h 112"/>
              <a:gd name="T62" fmla="*/ 664616017 w 191"/>
              <a:gd name="T63" fmla="*/ 421739786 h 112"/>
              <a:gd name="T64" fmla="*/ 933505899 w 191"/>
              <a:gd name="T65" fmla="*/ 257159125 h 112"/>
              <a:gd name="T66" fmla="*/ 821891529 w 191"/>
              <a:gd name="T67" fmla="*/ 72004464 h 112"/>
              <a:gd name="T68" fmla="*/ 776230388 w 191"/>
              <a:gd name="T69" fmla="*/ 102863196 h 11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1" h="112">
                <a:moveTo>
                  <a:pt x="118" y="7"/>
                </a:moveTo>
                <a:cubicBezTo>
                  <a:pt x="156" y="27"/>
                  <a:pt x="156" y="27"/>
                  <a:pt x="156" y="27"/>
                </a:cubicBezTo>
                <a:cubicBezTo>
                  <a:pt x="115" y="104"/>
                  <a:pt x="115" y="104"/>
                  <a:pt x="115" y="104"/>
                </a:cubicBezTo>
                <a:cubicBezTo>
                  <a:pt x="75" y="84"/>
                  <a:pt x="75" y="84"/>
                  <a:pt x="75" y="84"/>
                </a:cubicBezTo>
                <a:cubicBezTo>
                  <a:pt x="76" y="83"/>
                  <a:pt x="76" y="83"/>
                  <a:pt x="76" y="83"/>
                </a:cubicBezTo>
                <a:cubicBezTo>
                  <a:pt x="97" y="79"/>
                  <a:pt x="97" y="79"/>
                  <a:pt x="97" y="79"/>
                </a:cubicBezTo>
                <a:cubicBezTo>
                  <a:pt x="108" y="75"/>
                  <a:pt x="105" y="61"/>
                  <a:pt x="94" y="59"/>
                </a:cubicBezTo>
                <a:cubicBezTo>
                  <a:pt x="89" y="60"/>
                  <a:pt x="89" y="60"/>
                  <a:pt x="89" y="60"/>
                </a:cubicBezTo>
                <a:cubicBezTo>
                  <a:pt x="118" y="7"/>
                  <a:pt x="118" y="7"/>
                  <a:pt x="118" y="7"/>
                </a:cubicBezTo>
                <a:close/>
                <a:moveTo>
                  <a:pt x="149" y="18"/>
                </a:moveTo>
                <a:cubicBezTo>
                  <a:pt x="149" y="18"/>
                  <a:pt x="149" y="18"/>
                  <a:pt x="149" y="18"/>
                </a:cubicBezTo>
                <a:cubicBezTo>
                  <a:pt x="116" y="0"/>
                  <a:pt x="116" y="0"/>
                  <a:pt x="116" y="0"/>
                </a:cubicBezTo>
                <a:cubicBezTo>
                  <a:pt x="94" y="40"/>
                  <a:pt x="94" y="40"/>
                  <a:pt x="94" y="40"/>
                </a:cubicBezTo>
                <a:cubicBezTo>
                  <a:pt x="55" y="19"/>
                  <a:pt x="55" y="19"/>
                  <a:pt x="55" y="19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107"/>
                  <a:pt x="0" y="107"/>
                  <a:pt x="0" y="107"/>
                </a:cubicBezTo>
                <a:cubicBezTo>
                  <a:pt x="26" y="106"/>
                  <a:pt x="40" y="92"/>
                  <a:pt x="45" y="90"/>
                </a:cubicBezTo>
                <a:cubicBezTo>
                  <a:pt x="70" y="84"/>
                  <a:pt x="70" y="84"/>
                  <a:pt x="70" y="84"/>
                </a:cubicBezTo>
                <a:cubicBezTo>
                  <a:pt x="76" y="88"/>
                  <a:pt x="76" y="88"/>
                  <a:pt x="76" y="88"/>
                </a:cubicBezTo>
                <a:cubicBezTo>
                  <a:pt x="73" y="95"/>
                  <a:pt x="73" y="95"/>
                  <a:pt x="73" y="95"/>
                </a:cubicBezTo>
                <a:cubicBezTo>
                  <a:pt x="72" y="102"/>
                  <a:pt x="78" y="106"/>
                  <a:pt x="86" y="102"/>
                </a:cubicBezTo>
                <a:cubicBezTo>
                  <a:pt x="86" y="107"/>
                  <a:pt x="92" y="112"/>
                  <a:pt x="98" y="108"/>
                </a:cubicBezTo>
                <a:cubicBezTo>
                  <a:pt x="100" y="102"/>
                  <a:pt x="100" y="102"/>
                  <a:pt x="100" y="102"/>
                </a:cubicBezTo>
                <a:cubicBezTo>
                  <a:pt x="103" y="103"/>
                  <a:pt x="103" y="103"/>
                  <a:pt x="103" y="103"/>
                </a:cubicBezTo>
                <a:cubicBezTo>
                  <a:pt x="116" y="110"/>
                  <a:pt x="116" y="110"/>
                  <a:pt x="116" y="110"/>
                </a:cubicBezTo>
                <a:cubicBezTo>
                  <a:pt x="127" y="90"/>
                  <a:pt x="127" y="90"/>
                  <a:pt x="127" y="90"/>
                </a:cubicBezTo>
                <a:cubicBezTo>
                  <a:pt x="191" y="52"/>
                  <a:pt x="191" y="52"/>
                  <a:pt x="191" y="52"/>
                </a:cubicBezTo>
                <a:cubicBezTo>
                  <a:pt x="164" y="8"/>
                  <a:pt x="164" y="8"/>
                  <a:pt x="164" y="8"/>
                </a:cubicBezTo>
                <a:cubicBezTo>
                  <a:pt x="149" y="18"/>
                  <a:pt x="149" y="18"/>
                  <a:pt x="149" y="18"/>
                </a:cubicBezTo>
                <a:close/>
                <a:moveTo>
                  <a:pt x="153" y="20"/>
                </a:moveTo>
                <a:cubicBezTo>
                  <a:pt x="162" y="25"/>
                  <a:pt x="162" y="25"/>
                  <a:pt x="162" y="25"/>
                </a:cubicBezTo>
                <a:cubicBezTo>
                  <a:pt x="131" y="82"/>
                  <a:pt x="131" y="82"/>
                  <a:pt x="131" y="82"/>
                </a:cubicBezTo>
                <a:cubicBezTo>
                  <a:pt x="184" y="50"/>
                  <a:pt x="184" y="50"/>
                  <a:pt x="184" y="50"/>
                </a:cubicBezTo>
                <a:cubicBezTo>
                  <a:pt x="162" y="14"/>
                  <a:pt x="162" y="14"/>
                  <a:pt x="162" y="14"/>
                </a:cubicBezTo>
                <a:lnTo>
                  <a:pt x="153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66" name="Oval 226"/>
          <p:cNvSpPr>
            <a:spLocks noChangeArrowheads="1"/>
          </p:cNvSpPr>
          <p:nvPr/>
        </p:nvSpPr>
        <p:spPr bwMode="auto">
          <a:xfrm>
            <a:off x="7505700" y="1642533"/>
            <a:ext cx="16933" cy="10584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67" name="Oval 227"/>
          <p:cNvSpPr>
            <a:spLocks noChangeArrowheads="1"/>
          </p:cNvSpPr>
          <p:nvPr/>
        </p:nvSpPr>
        <p:spPr bwMode="auto">
          <a:xfrm>
            <a:off x="7533217" y="1653118"/>
            <a:ext cx="14816" cy="169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68" name="Oval 228"/>
          <p:cNvSpPr>
            <a:spLocks noChangeArrowheads="1"/>
          </p:cNvSpPr>
          <p:nvPr/>
        </p:nvSpPr>
        <p:spPr bwMode="auto">
          <a:xfrm>
            <a:off x="7558617" y="1670051"/>
            <a:ext cx="14816" cy="105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69" name="Oval 229"/>
          <p:cNvSpPr>
            <a:spLocks noChangeArrowheads="1"/>
          </p:cNvSpPr>
          <p:nvPr/>
        </p:nvSpPr>
        <p:spPr bwMode="auto">
          <a:xfrm>
            <a:off x="7584017" y="1680634"/>
            <a:ext cx="14816" cy="1481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70" name="Oval 230"/>
          <p:cNvSpPr>
            <a:spLocks noChangeArrowheads="1"/>
          </p:cNvSpPr>
          <p:nvPr/>
        </p:nvSpPr>
        <p:spPr bwMode="auto">
          <a:xfrm>
            <a:off x="7639051" y="1699685"/>
            <a:ext cx="14816" cy="1058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71" name="Oval 231"/>
          <p:cNvSpPr>
            <a:spLocks noChangeArrowheads="1"/>
          </p:cNvSpPr>
          <p:nvPr/>
        </p:nvSpPr>
        <p:spPr bwMode="auto">
          <a:xfrm>
            <a:off x="7653867" y="1722968"/>
            <a:ext cx="12700" cy="1481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72" name="Freeform 232"/>
          <p:cNvSpPr>
            <a:spLocks noEditPoints="1"/>
          </p:cNvSpPr>
          <p:nvPr/>
        </p:nvSpPr>
        <p:spPr bwMode="auto">
          <a:xfrm>
            <a:off x="8113185" y="1460501"/>
            <a:ext cx="357716" cy="582084"/>
          </a:xfrm>
          <a:custGeom>
            <a:avLst/>
            <a:gdLst>
              <a:gd name="T0" fmla="*/ 147402289 w 119"/>
              <a:gd name="T1" fmla="*/ 0 h 193"/>
              <a:gd name="T2" fmla="*/ 462538061 w 119"/>
              <a:gd name="T3" fmla="*/ 0 h 193"/>
              <a:gd name="T4" fmla="*/ 401542222 w 119"/>
              <a:gd name="T5" fmla="*/ 92098959 h 193"/>
              <a:gd name="T6" fmla="*/ 203314201 w 119"/>
              <a:gd name="T7" fmla="*/ 92098959 h 193"/>
              <a:gd name="T8" fmla="*/ 147402289 w 119"/>
              <a:gd name="T9" fmla="*/ 0 h 193"/>
              <a:gd name="T10" fmla="*/ 203314201 w 119"/>
              <a:gd name="T11" fmla="*/ 107448786 h 193"/>
              <a:gd name="T12" fmla="*/ 401542222 w 119"/>
              <a:gd name="T13" fmla="*/ 107448786 h 193"/>
              <a:gd name="T14" fmla="*/ 340548638 w 119"/>
              <a:gd name="T15" fmla="*/ 255828180 h 193"/>
              <a:gd name="T16" fmla="*/ 249058262 w 119"/>
              <a:gd name="T17" fmla="*/ 250711571 h 193"/>
              <a:gd name="T18" fmla="*/ 203314201 w 119"/>
              <a:gd name="T19" fmla="*/ 107448786 h 193"/>
              <a:gd name="T20" fmla="*/ 5083926 w 119"/>
              <a:gd name="T21" fmla="*/ 409326445 h 193"/>
              <a:gd name="T22" fmla="*/ 5083926 w 119"/>
              <a:gd name="T23" fmla="*/ 946565849 h 193"/>
              <a:gd name="T24" fmla="*/ 30496792 w 119"/>
              <a:gd name="T25" fmla="*/ 931216023 h 193"/>
              <a:gd name="T26" fmla="*/ 111821571 w 119"/>
              <a:gd name="T27" fmla="*/ 777720020 h 193"/>
              <a:gd name="T28" fmla="*/ 111821571 w 119"/>
              <a:gd name="T29" fmla="*/ 578172275 h 193"/>
              <a:gd name="T30" fmla="*/ 137236691 w 119"/>
              <a:gd name="T31" fmla="*/ 721437322 h 193"/>
              <a:gd name="T32" fmla="*/ 172815155 w 119"/>
              <a:gd name="T33" fmla="*/ 721437322 h 193"/>
              <a:gd name="T34" fmla="*/ 442206866 w 119"/>
              <a:gd name="T35" fmla="*/ 312110877 h 193"/>
              <a:gd name="T36" fmla="*/ 86408705 w 119"/>
              <a:gd name="T37" fmla="*/ 312110877 h 193"/>
              <a:gd name="T38" fmla="*/ 5083926 w 119"/>
              <a:gd name="T39" fmla="*/ 409326445 h 193"/>
              <a:gd name="T40" fmla="*/ 498116524 w 119"/>
              <a:gd name="T41" fmla="*/ 312110877 h 193"/>
              <a:gd name="T42" fmla="*/ 599772497 w 119"/>
              <a:gd name="T43" fmla="*/ 388860010 h 193"/>
              <a:gd name="T44" fmla="*/ 604856423 w 119"/>
              <a:gd name="T45" fmla="*/ 951682458 h 193"/>
              <a:gd name="T46" fmla="*/ 594690826 w 119"/>
              <a:gd name="T47" fmla="*/ 946565849 h 193"/>
              <a:gd name="T48" fmla="*/ 498116524 w 119"/>
              <a:gd name="T49" fmla="*/ 777720020 h 193"/>
              <a:gd name="T50" fmla="*/ 498116524 w 119"/>
              <a:gd name="T51" fmla="*/ 573055666 h 193"/>
              <a:gd name="T52" fmla="*/ 482869255 w 119"/>
              <a:gd name="T53" fmla="*/ 644688190 h 193"/>
              <a:gd name="T54" fmla="*/ 467619732 w 119"/>
              <a:gd name="T55" fmla="*/ 721437322 h 193"/>
              <a:gd name="T56" fmla="*/ 218561470 w 119"/>
              <a:gd name="T57" fmla="*/ 721437322 h 193"/>
              <a:gd name="T58" fmla="*/ 498116524 w 119"/>
              <a:gd name="T59" fmla="*/ 312110877 h 193"/>
              <a:gd name="T60" fmla="*/ 142318363 w 119"/>
              <a:gd name="T61" fmla="*/ 767486802 h 193"/>
              <a:gd name="T62" fmla="*/ 467619732 w 119"/>
              <a:gd name="T63" fmla="*/ 767486802 h 193"/>
              <a:gd name="T64" fmla="*/ 579441303 w 119"/>
              <a:gd name="T65" fmla="*/ 972148894 h 193"/>
              <a:gd name="T66" fmla="*/ 50827987 w 119"/>
              <a:gd name="T67" fmla="*/ 972148894 h 193"/>
              <a:gd name="T68" fmla="*/ 50827987 w 119"/>
              <a:gd name="T69" fmla="*/ 946565849 h 193"/>
              <a:gd name="T70" fmla="*/ 142318363 w 119"/>
              <a:gd name="T71" fmla="*/ 767486802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19" h="193">
                <a:moveTo>
                  <a:pt x="29" y="0"/>
                </a:moveTo>
                <a:cubicBezTo>
                  <a:pt x="91" y="0"/>
                  <a:pt x="91" y="0"/>
                  <a:pt x="91" y="0"/>
                </a:cubicBezTo>
                <a:cubicBezTo>
                  <a:pt x="79" y="18"/>
                  <a:pt x="79" y="18"/>
                  <a:pt x="79" y="18"/>
                </a:cubicBezTo>
                <a:cubicBezTo>
                  <a:pt x="40" y="18"/>
                  <a:pt x="40" y="18"/>
                  <a:pt x="40" y="18"/>
                </a:cubicBezTo>
                <a:cubicBezTo>
                  <a:pt x="29" y="0"/>
                  <a:pt x="29" y="0"/>
                  <a:pt x="29" y="0"/>
                </a:cubicBezTo>
                <a:close/>
                <a:moveTo>
                  <a:pt x="40" y="21"/>
                </a:moveTo>
                <a:cubicBezTo>
                  <a:pt x="79" y="21"/>
                  <a:pt x="79" y="21"/>
                  <a:pt x="79" y="21"/>
                </a:cubicBezTo>
                <a:cubicBezTo>
                  <a:pt x="79" y="32"/>
                  <a:pt x="80" y="44"/>
                  <a:pt x="67" y="50"/>
                </a:cubicBezTo>
                <a:cubicBezTo>
                  <a:pt x="59" y="53"/>
                  <a:pt x="52" y="51"/>
                  <a:pt x="49" y="49"/>
                </a:cubicBezTo>
                <a:cubicBezTo>
                  <a:pt x="40" y="41"/>
                  <a:pt x="40" y="31"/>
                  <a:pt x="40" y="21"/>
                </a:cubicBezTo>
                <a:close/>
                <a:moveTo>
                  <a:pt x="1" y="80"/>
                </a:moveTo>
                <a:cubicBezTo>
                  <a:pt x="1" y="185"/>
                  <a:pt x="1" y="185"/>
                  <a:pt x="1" y="185"/>
                </a:cubicBezTo>
                <a:cubicBezTo>
                  <a:pt x="1" y="185"/>
                  <a:pt x="0" y="193"/>
                  <a:pt x="6" y="182"/>
                </a:cubicBezTo>
                <a:cubicBezTo>
                  <a:pt x="22" y="152"/>
                  <a:pt x="22" y="152"/>
                  <a:pt x="22" y="152"/>
                </a:cubicBezTo>
                <a:cubicBezTo>
                  <a:pt x="23" y="150"/>
                  <a:pt x="22" y="111"/>
                  <a:pt x="22" y="113"/>
                </a:cubicBezTo>
                <a:cubicBezTo>
                  <a:pt x="23" y="117"/>
                  <a:pt x="26" y="141"/>
                  <a:pt x="27" y="141"/>
                </a:cubicBezTo>
                <a:cubicBezTo>
                  <a:pt x="34" y="141"/>
                  <a:pt x="34" y="141"/>
                  <a:pt x="34" y="141"/>
                </a:cubicBezTo>
                <a:cubicBezTo>
                  <a:pt x="87" y="61"/>
                  <a:pt x="87" y="61"/>
                  <a:pt x="87" y="61"/>
                </a:cubicBezTo>
                <a:cubicBezTo>
                  <a:pt x="17" y="61"/>
                  <a:pt x="17" y="61"/>
                  <a:pt x="17" y="61"/>
                </a:cubicBezTo>
                <a:cubicBezTo>
                  <a:pt x="5" y="61"/>
                  <a:pt x="0" y="70"/>
                  <a:pt x="1" y="80"/>
                </a:cubicBezTo>
                <a:close/>
                <a:moveTo>
                  <a:pt x="98" y="61"/>
                </a:moveTo>
                <a:cubicBezTo>
                  <a:pt x="98" y="61"/>
                  <a:pt x="118" y="59"/>
                  <a:pt x="118" y="76"/>
                </a:cubicBezTo>
                <a:cubicBezTo>
                  <a:pt x="118" y="86"/>
                  <a:pt x="119" y="186"/>
                  <a:pt x="119" y="186"/>
                </a:cubicBezTo>
                <a:cubicBezTo>
                  <a:pt x="119" y="186"/>
                  <a:pt x="119" y="189"/>
                  <a:pt x="117" y="185"/>
                </a:cubicBezTo>
                <a:cubicBezTo>
                  <a:pt x="114" y="181"/>
                  <a:pt x="98" y="152"/>
                  <a:pt x="98" y="152"/>
                </a:cubicBezTo>
                <a:cubicBezTo>
                  <a:pt x="98" y="112"/>
                  <a:pt x="98" y="112"/>
                  <a:pt x="98" y="112"/>
                </a:cubicBezTo>
                <a:cubicBezTo>
                  <a:pt x="98" y="112"/>
                  <a:pt x="97" y="116"/>
                  <a:pt x="95" y="126"/>
                </a:cubicBezTo>
                <a:cubicBezTo>
                  <a:pt x="93" y="135"/>
                  <a:pt x="92" y="141"/>
                  <a:pt x="92" y="141"/>
                </a:cubicBezTo>
                <a:cubicBezTo>
                  <a:pt x="43" y="141"/>
                  <a:pt x="43" y="141"/>
                  <a:pt x="43" y="141"/>
                </a:cubicBezTo>
                <a:cubicBezTo>
                  <a:pt x="98" y="61"/>
                  <a:pt x="98" y="61"/>
                  <a:pt x="98" y="61"/>
                </a:cubicBezTo>
                <a:close/>
                <a:moveTo>
                  <a:pt x="28" y="150"/>
                </a:moveTo>
                <a:cubicBezTo>
                  <a:pt x="92" y="150"/>
                  <a:pt x="92" y="150"/>
                  <a:pt x="92" y="150"/>
                </a:cubicBezTo>
                <a:cubicBezTo>
                  <a:pt x="114" y="190"/>
                  <a:pt x="114" y="190"/>
                  <a:pt x="114" y="190"/>
                </a:cubicBezTo>
                <a:cubicBezTo>
                  <a:pt x="10" y="190"/>
                  <a:pt x="10" y="190"/>
                  <a:pt x="10" y="190"/>
                </a:cubicBezTo>
                <a:cubicBezTo>
                  <a:pt x="9" y="190"/>
                  <a:pt x="9" y="188"/>
                  <a:pt x="10" y="185"/>
                </a:cubicBezTo>
                <a:lnTo>
                  <a:pt x="28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73" name="Freeform 233"/>
          <p:cNvSpPr>
            <a:spLocks noEditPoints="1"/>
          </p:cNvSpPr>
          <p:nvPr/>
        </p:nvSpPr>
        <p:spPr bwMode="auto">
          <a:xfrm>
            <a:off x="8919634" y="1502833"/>
            <a:ext cx="469900" cy="476251"/>
          </a:xfrm>
          <a:custGeom>
            <a:avLst/>
            <a:gdLst>
              <a:gd name="T0" fmla="*/ 234769269 w 156"/>
              <a:gd name="T1" fmla="*/ 0 h 158"/>
              <a:gd name="T2" fmla="*/ 454228383 w 156"/>
              <a:gd name="T3" fmla="*/ 117546502 h 158"/>
              <a:gd name="T4" fmla="*/ 444021613 w 156"/>
              <a:gd name="T5" fmla="*/ 352637244 h 158"/>
              <a:gd name="T6" fmla="*/ 275598609 w 156"/>
              <a:gd name="T7" fmla="*/ 495736252 h 158"/>
              <a:gd name="T8" fmla="*/ 204146700 w 156"/>
              <a:gd name="T9" fmla="*/ 802377628 h 158"/>
              <a:gd name="T10" fmla="*/ 148007204 w 156"/>
              <a:gd name="T11" fmla="*/ 398633111 h 158"/>
              <a:gd name="T12" fmla="*/ 30622570 w 156"/>
              <a:gd name="T13" fmla="*/ 224870192 h 158"/>
              <a:gd name="T14" fmla="*/ 137800434 w 156"/>
              <a:gd name="T15" fmla="*/ 61327823 h 158"/>
              <a:gd name="T16" fmla="*/ 546093833 w 156"/>
              <a:gd name="T17" fmla="*/ 321973332 h 158"/>
              <a:gd name="T18" fmla="*/ 688997652 w 156"/>
              <a:gd name="T19" fmla="*/ 388412561 h 158"/>
              <a:gd name="T20" fmla="*/ 648168313 w 156"/>
              <a:gd name="T21" fmla="*/ 408855922 h 158"/>
              <a:gd name="T22" fmla="*/ 678790882 w 156"/>
              <a:gd name="T23" fmla="*/ 434408429 h 158"/>
              <a:gd name="T24" fmla="*/ 438918228 w 156"/>
              <a:gd name="T25" fmla="*/ 505959063 h 158"/>
              <a:gd name="T26" fmla="*/ 408295658 w 156"/>
              <a:gd name="T27" fmla="*/ 628614709 h 158"/>
              <a:gd name="T28" fmla="*/ 372569703 w 156"/>
              <a:gd name="T29" fmla="*/ 802377628 h 158"/>
              <a:gd name="T30" fmla="*/ 398088888 w 156"/>
              <a:gd name="T31" fmla="*/ 679721982 h 158"/>
              <a:gd name="T32" fmla="*/ 479747568 w 156"/>
              <a:gd name="T33" fmla="*/ 802377628 h 158"/>
              <a:gd name="T34" fmla="*/ 454228383 w 156"/>
              <a:gd name="T35" fmla="*/ 659278621 h 158"/>
              <a:gd name="T36" fmla="*/ 612442358 w 156"/>
              <a:gd name="T37" fmla="*/ 628614709 h 158"/>
              <a:gd name="T38" fmla="*/ 576716403 w 156"/>
              <a:gd name="T39" fmla="*/ 807489034 h 158"/>
              <a:gd name="T40" fmla="*/ 632858157 w 156"/>
              <a:gd name="T41" fmla="*/ 669501432 h 158"/>
              <a:gd name="T42" fmla="*/ 678790882 w 156"/>
              <a:gd name="T43" fmla="*/ 807489034 h 158"/>
              <a:gd name="T44" fmla="*/ 658375083 w 156"/>
              <a:gd name="T45" fmla="*/ 638835259 h 158"/>
              <a:gd name="T46" fmla="*/ 673687497 w 156"/>
              <a:gd name="T47" fmla="*/ 618394159 h 158"/>
              <a:gd name="T48" fmla="*/ 796175517 w 156"/>
              <a:gd name="T49" fmla="*/ 424187878 h 158"/>
              <a:gd name="T50" fmla="*/ 709413452 w 156"/>
              <a:gd name="T51" fmla="*/ 408855922 h 158"/>
              <a:gd name="T52" fmla="*/ 750242792 w 156"/>
              <a:gd name="T53" fmla="*/ 357748650 h 158"/>
              <a:gd name="T54" fmla="*/ 637961542 w 156"/>
              <a:gd name="T55" fmla="*/ 332193883 h 158"/>
              <a:gd name="T56" fmla="*/ 637961542 w 156"/>
              <a:gd name="T57" fmla="*/ 362860055 h 158"/>
              <a:gd name="T58" fmla="*/ 556302863 w 156"/>
              <a:gd name="T59" fmla="*/ 321973332 h 158"/>
              <a:gd name="T60" fmla="*/ 199043314 w 156"/>
              <a:gd name="T61" fmla="*/ 413965067 h 158"/>
              <a:gd name="T62" fmla="*/ 244976039 w 156"/>
              <a:gd name="T63" fmla="*/ 475295151 h 158"/>
              <a:gd name="T64" fmla="*/ 275598609 w 156"/>
              <a:gd name="T65" fmla="*/ 413965067 h 15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6" h="158">
                <a:moveTo>
                  <a:pt x="27" y="12"/>
                </a:moveTo>
                <a:cubicBezTo>
                  <a:pt x="27" y="12"/>
                  <a:pt x="33" y="1"/>
                  <a:pt x="46" y="0"/>
                </a:cubicBezTo>
                <a:cubicBezTo>
                  <a:pt x="59" y="0"/>
                  <a:pt x="64" y="12"/>
                  <a:pt x="64" y="12"/>
                </a:cubicBezTo>
                <a:cubicBezTo>
                  <a:pt x="64" y="11"/>
                  <a:pt x="79" y="6"/>
                  <a:pt x="89" y="23"/>
                </a:cubicBezTo>
                <a:cubicBezTo>
                  <a:pt x="93" y="32"/>
                  <a:pt x="88" y="43"/>
                  <a:pt x="87" y="44"/>
                </a:cubicBezTo>
                <a:cubicBezTo>
                  <a:pt x="91" y="49"/>
                  <a:pt x="93" y="59"/>
                  <a:pt x="87" y="69"/>
                </a:cubicBezTo>
                <a:cubicBezTo>
                  <a:pt x="79" y="82"/>
                  <a:pt x="63" y="78"/>
                  <a:pt x="63" y="78"/>
                </a:cubicBezTo>
                <a:cubicBezTo>
                  <a:pt x="54" y="97"/>
                  <a:pt x="54" y="97"/>
                  <a:pt x="54" y="97"/>
                </a:cubicBezTo>
                <a:cubicBezTo>
                  <a:pt x="55" y="157"/>
                  <a:pt x="55" y="157"/>
                  <a:pt x="55" y="157"/>
                </a:cubicBezTo>
                <a:cubicBezTo>
                  <a:pt x="40" y="157"/>
                  <a:pt x="40" y="157"/>
                  <a:pt x="40" y="157"/>
                </a:cubicBezTo>
                <a:cubicBezTo>
                  <a:pt x="39" y="97"/>
                  <a:pt x="39" y="97"/>
                  <a:pt x="39" y="97"/>
                </a:cubicBezTo>
                <a:cubicBezTo>
                  <a:pt x="29" y="78"/>
                  <a:pt x="29" y="78"/>
                  <a:pt x="29" y="78"/>
                </a:cubicBezTo>
                <a:cubicBezTo>
                  <a:pt x="15" y="79"/>
                  <a:pt x="6" y="73"/>
                  <a:pt x="3" y="60"/>
                </a:cubicBezTo>
                <a:cubicBezTo>
                  <a:pt x="2" y="55"/>
                  <a:pt x="3" y="50"/>
                  <a:pt x="6" y="44"/>
                </a:cubicBezTo>
                <a:cubicBezTo>
                  <a:pt x="1" y="37"/>
                  <a:pt x="0" y="30"/>
                  <a:pt x="5" y="21"/>
                </a:cubicBezTo>
                <a:cubicBezTo>
                  <a:pt x="11" y="11"/>
                  <a:pt x="19" y="10"/>
                  <a:pt x="27" y="12"/>
                </a:cubicBezTo>
                <a:close/>
                <a:moveTo>
                  <a:pt x="109" y="63"/>
                </a:moveTo>
                <a:cubicBezTo>
                  <a:pt x="109" y="63"/>
                  <a:pt x="108" y="62"/>
                  <a:pt x="107" y="63"/>
                </a:cubicBezTo>
                <a:cubicBezTo>
                  <a:pt x="107" y="70"/>
                  <a:pt x="112" y="74"/>
                  <a:pt x="118" y="75"/>
                </a:cubicBezTo>
                <a:cubicBezTo>
                  <a:pt x="135" y="76"/>
                  <a:pt x="135" y="76"/>
                  <a:pt x="135" y="76"/>
                </a:cubicBezTo>
                <a:cubicBezTo>
                  <a:pt x="135" y="80"/>
                  <a:pt x="135" y="80"/>
                  <a:pt x="135" y="80"/>
                </a:cubicBezTo>
                <a:cubicBezTo>
                  <a:pt x="127" y="80"/>
                  <a:pt x="127" y="80"/>
                  <a:pt x="127" y="80"/>
                </a:cubicBezTo>
                <a:cubicBezTo>
                  <a:pt x="127" y="85"/>
                  <a:pt x="132" y="84"/>
                  <a:pt x="132" y="84"/>
                </a:cubicBezTo>
                <a:cubicBezTo>
                  <a:pt x="133" y="84"/>
                  <a:pt x="133" y="85"/>
                  <a:pt x="133" y="85"/>
                </a:cubicBezTo>
                <a:cubicBezTo>
                  <a:pt x="129" y="90"/>
                  <a:pt x="126" y="94"/>
                  <a:pt x="123" y="99"/>
                </a:cubicBezTo>
                <a:cubicBezTo>
                  <a:pt x="86" y="99"/>
                  <a:pt x="86" y="99"/>
                  <a:pt x="86" y="99"/>
                </a:cubicBezTo>
                <a:cubicBezTo>
                  <a:pt x="76" y="109"/>
                  <a:pt x="76" y="109"/>
                  <a:pt x="76" y="109"/>
                </a:cubicBezTo>
                <a:cubicBezTo>
                  <a:pt x="80" y="123"/>
                  <a:pt x="80" y="123"/>
                  <a:pt x="80" y="123"/>
                </a:cubicBezTo>
                <a:cubicBezTo>
                  <a:pt x="73" y="130"/>
                  <a:pt x="73" y="130"/>
                  <a:pt x="73" y="130"/>
                </a:cubicBezTo>
                <a:cubicBezTo>
                  <a:pt x="73" y="157"/>
                  <a:pt x="73" y="157"/>
                  <a:pt x="73" y="157"/>
                </a:cubicBezTo>
                <a:cubicBezTo>
                  <a:pt x="78" y="157"/>
                  <a:pt x="78" y="157"/>
                  <a:pt x="78" y="157"/>
                </a:cubicBezTo>
                <a:cubicBezTo>
                  <a:pt x="78" y="133"/>
                  <a:pt x="78" y="133"/>
                  <a:pt x="78" y="133"/>
                </a:cubicBezTo>
                <a:cubicBezTo>
                  <a:pt x="84" y="132"/>
                  <a:pt x="84" y="132"/>
                  <a:pt x="84" y="132"/>
                </a:cubicBezTo>
                <a:cubicBezTo>
                  <a:pt x="94" y="157"/>
                  <a:pt x="94" y="157"/>
                  <a:pt x="94" y="157"/>
                </a:cubicBezTo>
                <a:cubicBezTo>
                  <a:pt x="98" y="157"/>
                  <a:pt x="98" y="157"/>
                  <a:pt x="98" y="157"/>
                </a:cubicBezTo>
                <a:cubicBezTo>
                  <a:pt x="89" y="129"/>
                  <a:pt x="89" y="129"/>
                  <a:pt x="89" y="129"/>
                </a:cubicBezTo>
                <a:cubicBezTo>
                  <a:pt x="94" y="123"/>
                  <a:pt x="94" y="123"/>
                  <a:pt x="94" y="123"/>
                </a:cubicBezTo>
                <a:cubicBezTo>
                  <a:pt x="120" y="123"/>
                  <a:pt x="120" y="123"/>
                  <a:pt x="120" y="123"/>
                </a:cubicBezTo>
                <a:cubicBezTo>
                  <a:pt x="121" y="124"/>
                  <a:pt x="121" y="124"/>
                  <a:pt x="121" y="124"/>
                </a:cubicBezTo>
                <a:cubicBezTo>
                  <a:pt x="113" y="158"/>
                  <a:pt x="113" y="158"/>
                  <a:pt x="113" y="158"/>
                </a:cubicBezTo>
                <a:cubicBezTo>
                  <a:pt x="119" y="158"/>
                  <a:pt x="119" y="158"/>
                  <a:pt x="119" y="158"/>
                </a:cubicBezTo>
                <a:cubicBezTo>
                  <a:pt x="124" y="131"/>
                  <a:pt x="124" y="131"/>
                  <a:pt x="124" y="131"/>
                </a:cubicBezTo>
                <a:cubicBezTo>
                  <a:pt x="125" y="132"/>
                  <a:pt x="125" y="132"/>
                  <a:pt x="125" y="132"/>
                </a:cubicBezTo>
                <a:cubicBezTo>
                  <a:pt x="133" y="158"/>
                  <a:pt x="133" y="158"/>
                  <a:pt x="133" y="158"/>
                </a:cubicBezTo>
                <a:cubicBezTo>
                  <a:pt x="138" y="157"/>
                  <a:pt x="138" y="157"/>
                  <a:pt x="138" y="157"/>
                </a:cubicBezTo>
                <a:cubicBezTo>
                  <a:pt x="129" y="125"/>
                  <a:pt x="129" y="125"/>
                  <a:pt x="129" y="125"/>
                </a:cubicBezTo>
                <a:cubicBezTo>
                  <a:pt x="128" y="123"/>
                  <a:pt x="128" y="123"/>
                  <a:pt x="128" y="123"/>
                </a:cubicBezTo>
                <a:cubicBezTo>
                  <a:pt x="132" y="121"/>
                  <a:pt x="132" y="121"/>
                  <a:pt x="132" y="121"/>
                </a:cubicBezTo>
                <a:cubicBezTo>
                  <a:pt x="140" y="94"/>
                  <a:pt x="140" y="94"/>
                  <a:pt x="140" y="94"/>
                </a:cubicBezTo>
                <a:cubicBezTo>
                  <a:pt x="156" y="83"/>
                  <a:pt x="156" y="83"/>
                  <a:pt x="156" y="83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39" y="80"/>
                  <a:pt x="139" y="80"/>
                  <a:pt x="139" y="80"/>
                </a:cubicBezTo>
                <a:cubicBezTo>
                  <a:pt x="139" y="76"/>
                  <a:pt x="139" y="76"/>
                  <a:pt x="139" y="76"/>
                </a:cubicBezTo>
                <a:cubicBezTo>
                  <a:pt x="143" y="75"/>
                  <a:pt x="146" y="74"/>
                  <a:pt x="147" y="70"/>
                </a:cubicBezTo>
                <a:cubicBezTo>
                  <a:pt x="148" y="70"/>
                  <a:pt x="147" y="67"/>
                  <a:pt x="145" y="68"/>
                </a:cubicBezTo>
                <a:cubicBezTo>
                  <a:pt x="130" y="79"/>
                  <a:pt x="126" y="66"/>
                  <a:pt x="125" y="65"/>
                </a:cubicBezTo>
                <a:cubicBezTo>
                  <a:pt x="125" y="64"/>
                  <a:pt x="123" y="64"/>
                  <a:pt x="123" y="65"/>
                </a:cubicBezTo>
                <a:cubicBezTo>
                  <a:pt x="122" y="66"/>
                  <a:pt x="122" y="67"/>
                  <a:pt x="125" y="71"/>
                </a:cubicBezTo>
                <a:cubicBezTo>
                  <a:pt x="126" y="72"/>
                  <a:pt x="125" y="72"/>
                  <a:pt x="125" y="72"/>
                </a:cubicBezTo>
                <a:cubicBezTo>
                  <a:pt x="119" y="73"/>
                  <a:pt x="109" y="72"/>
                  <a:pt x="109" y="63"/>
                </a:cubicBezTo>
                <a:close/>
                <a:moveTo>
                  <a:pt x="39" y="81"/>
                </a:moveTo>
                <a:cubicBezTo>
                  <a:pt x="39" y="81"/>
                  <a:pt x="39" y="81"/>
                  <a:pt x="39" y="81"/>
                </a:cubicBezTo>
                <a:cubicBezTo>
                  <a:pt x="47" y="93"/>
                  <a:pt x="47" y="93"/>
                  <a:pt x="47" y="93"/>
                </a:cubicBezTo>
                <a:cubicBezTo>
                  <a:pt x="47" y="93"/>
                  <a:pt x="47" y="93"/>
                  <a:pt x="48" y="93"/>
                </a:cubicBezTo>
                <a:cubicBezTo>
                  <a:pt x="54" y="82"/>
                  <a:pt x="54" y="82"/>
                  <a:pt x="54" y="82"/>
                </a:cubicBezTo>
                <a:cubicBezTo>
                  <a:pt x="54" y="81"/>
                  <a:pt x="54" y="81"/>
                  <a:pt x="54" y="81"/>
                </a:cubicBezTo>
                <a:cubicBezTo>
                  <a:pt x="49" y="83"/>
                  <a:pt x="40" y="81"/>
                  <a:pt x="39" y="8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74" name="Freeform 234"/>
          <p:cNvSpPr>
            <a:spLocks noEditPoints="1"/>
          </p:cNvSpPr>
          <p:nvPr/>
        </p:nvSpPr>
        <p:spPr bwMode="auto">
          <a:xfrm>
            <a:off x="9795934" y="1524000"/>
            <a:ext cx="499533" cy="459317"/>
          </a:xfrm>
          <a:custGeom>
            <a:avLst/>
            <a:gdLst>
              <a:gd name="T0" fmla="*/ 295436351 w 166"/>
              <a:gd name="T1" fmla="*/ 133548026 h 152"/>
              <a:gd name="T2" fmla="*/ 331091295 w 166"/>
              <a:gd name="T3" fmla="*/ 35955935 h 152"/>
              <a:gd name="T4" fmla="*/ 575591045 w 166"/>
              <a:gd name="T5" fmla="*/ 5135591 h 152"/>
              <a:gd name="T6" fmla="*/ 397309554 w 166"/>
              <a:gd name="T7" fmla="*/ 41091526 h 152"/>
              <a:gd name="T8" fmla="*/ 351466839 w 166"/>
              <a:gd name="T9" fmla="*/ 118136720 h 152"/>
              <a:gd name="T10" fmla="*/ 422778983 w 166"/>
              <a:gd name="T11" fmla="*/ 133548026 h 152"/>
              <a:gd name="T12" fmla="*/ 45842716 w 166"/>
              <a:gd name="T13" fmla="*/ 703689264 h 152"/>
              <a:gd name="T14" fmla="*/ 96781574 w 166"/>
              <a:gd name="T15" fmla="*/ 775601134 h 152"/>
              <a:gd name="T16" fmla="*/ 845557967 w 166"/>
              <a:gd name="T17" fmla="*/ 719100569 h 152"/>
              <a:gd name="T18" fmla="*/ 96781574 w 166"/>
              <a:gd name="T19" fmla="*/ 775601134 h 152"/>
              <a:gd name="T20" fmla="*/ 753870279 w 166"/>
              <a:gd name="T21" fmla="*/ 698553673 h 152"/>
              <a:gd name="T22" fmla="*/ 427872869 w 166"/>
              <a:gd name="T23" fmla="*/ 611235030 h 152"/>
              <a:gd name="T24" fmla="*/ 468621699 w 166"/>
              <a:gd name="T25" fmla="*/ 472551414 h 152"/>
              <a:gd name="T26" fmla="*/ 468621699 w 166"/>
              <a:gd name="T27" fmla="*/ 585552543 h 152"/>
              <a:gd name="T28" fmla="*/ 550121616 w 166"/>
              <a:gd name="T29" fmla="*/ 585552543 h 152"/>
              <a:gd name="T30" fmla="*/ 621433761 w 166"/>
              <a:gd name="T31" fmla="*/ 580416953 h 152"/>
              <a:gd name="T32" fmla="*/ 697839791 w 166"/>
              <a:gd name="T33" fmla="*/ 585552543 h 152"/>
              <a:gd name="T34" fmla="*/ 774245822 w 166"/>
              <a:gd name="T35" fmla="*/ 585552543 h 152"/>
              <a:gd name="T36" fmla="*/ 774245822 w 166"/>
              <a:gd name="T37" fmla="*/ 472551414 h 152"/>
              <a:gd name="T38" fmla="*/ 692745905 w 166"/>
              <a:gd name="T39" fmla="*/ 477687005 h 152"/>
              <a:gd name="T40" fmla="*/ 626527646 w 166"/>
              <a:gd name="T41" fmla="*/ 472551414 h 152"/>
              <a:gd name="T42" fmla="*/ 585778817 w 166"/>
              <a:gd name="T43" fmla="*/ 487960453 h 152"/>
              <a:gd name="T44" fmla="*/ 509372786 w 166"/>
              <a:gd name="T45" fmla="*/ 493096044 h 152"/>
              <a:gd name="T46" fmla="*/ 509372786 w 166"/>
              <a:gd name="T47" fmla="*/ 354412427 h 152"/>
              <a:gd name="T48" fmla="*/ 814994652 w 166"/>
              <a:gd name="T49" fmla="*/ 446868927 h 152"/>
              <a:gd name="T50" fmla="*/ 509372786 w 166"/>
              <a:gd name="T51" fmla="*/ 354412427 h 152"/>
              <a:gd name="T52" fmla="*/ 56030487 w 166"/>
              <a:gd name="T53" fmla="*/ 282502824 h 152"/>
              <a:gd name="T54" fmla="*/ 254685264 w 166"/>
              <a:gd name="T55" fmla="*/ 292776272 h 152"/>
              <a:gd name="T56" fmla="*/ 290342465 w 166"/>
              <a:gd name="T57" fmla="*/ 179775142 h 152"/>
              <a:gd name="T58" fmla="*/ 56030487 w 166"/>
              <a:gd name="T59" fmla="*/ 174639551 h 152"/>
              <a:gd name="T60" fmla="*/ 376936268 w 166"/>
              <a:gd name="T61" fmla="*/ 282502824 h 152"/>
              <a:gd name="T62" fmla="*/ 371842382 w 166"/>
              <a:gd name="T63" fmla="*/ 174639551 h 152"/>
              <a:gd name="T64" fmla="*/ 336185181 w 166"/>
              <a:gd name="T65" fmla="*/ 179775142 h 152"/>
              <a:gd name="T66" fmla="*/ 310718009 w 166"/>
              <a:gd name="T67" fmla="*/ 287640681 h 152"/>
              <a:gd name="T68" fmla="*/ 376936268 w 166"/>
              <a:gd name="T69" fmla="*/ 282502824 h 1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66" h="152">
                <a:moveTo>
                  <a:pt x="1" y="26"/>
                </a:moveTo>
                <a:cubicBezTo>
                  <a:pt x="58" y="26"/>
                  <a:pt x="58" y="26"/>
                  <a:pt x="58" y="26"/>
                </a:cubicBezTo>
                <a:cubicBezTo>
                  <a:pt x="59" y="26"/>
                  <a:pt x="60" y="25"/>
                  <a:pt x="60" y="24"/>
                </a:cubicBezTo>
                <a:cubicBezTo>
                  <a:pt x="65" y="7"/>
                  <a:pt x="65" y="7"/>
                  <a:pt x="65" y="7"/>
                </a:cubicBezTo>
                <a:cubicBezTo>
                  <a:pt x="68" y="3"/>
                  <a:pt x="71" y="0"/>
                  <a:pt x="76" y="1"/>
                </a:cubicBezTo>
                <a:cubicBezTo>
                  <a:pt x="113" y="1"/>
                  <a:pt x="113" y="1"/>
                  <a:pt x="113" y="1"/>
                </a:cubicBezTo>
                <a:cubicBezTo>
                  <a:pt x="113" y="8"/>
                  <a:pt x="113" y="8"/>
                  <a:pt x="113" y="8"/>
                </a:cubicBezTo>
                <a:cubicBezTo>
                  <a:pt x="78" y="8"/>
                  <a:pt x="78" y="8"/>
                  <a:pt x="78" y="8"/>
                </a:cubicBezTo>
                <a:cubicBezTo>
                  <a:pt x="75" y="8"/>
                  <a:pt x="74" y="10"/>
                  <a:pt x="73" y="12"/>
                </a:cubicBezTo>
                <a:cubicBezTo>
                  <a:pt x="69" y="23"/>
                  <a:pt x="69" y="23"/>
                  <a:pt x="69" y="23"/>
                </a:cubicBezTo>
                <a:cubicBezTo>
                  <a:pt x="69" y="25"/>
                  <a:pt x="69" y="26"/>
                  <a:pt x="71" y="26"/>
                </a:cubicBezTo>
                <a:cubicBezTo>
                  <a:pt x="83" y="26"/>
                  <a:pt x="83" y="26"/>
                  <a:pt x="83" y="26"/>
                </a:cubicBezTo>
                <a:cubicBezTo>
                  <a:pt x="76" y="137"/>
                  <a:pt x="76" y="137"/>
                  <a:pt x="76" y="137"/>
                </a:cubicBezTo>
                <a:cubicBezTo>
                  <a:pt x="9" y="137"/>
                  <a:pt x="9" y="137"/>
                  <a:pt x="9" y="137"/>
                </a:cubicBezTo>
                <a:cubicBezTo>
                  <a:pt x="1" y="26"/>
                  <a:pt x="1" y="26"/>
                  <a:pt x="1" y="26"/>
                </a:cubicBezTo>
                <a:close/>
                <a:moveTo>
                  <a:pt x="19" y="151"/>
                </a:moveTo>
                <a:cubicBezTo>
                  <a:pt x="152" y="151"/>
                  <a:pt x="152" y="151"/>
                  <a:pt x="152" y="151"/>
                </a:cubicBezTo>
                <a:cubicBezTo>
                  <a:pt x="161" y="150"/>
                  <a:pt x="166" y="152"/>
                  <a:pt x="166" y="140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1"/>
                  <a:pt x="8" y="151"/>
                  <a:pt x="19" y="151"/>
                </a:cubicBezTo>
                <a:close/>
                <a:moveTo>
                  <a:pt x="96" y="136"/>
                </a:moveTo>
                <a:cubicBezTo>
                  <a:pt x="148" y="136"/>
                  <a:pt x="148" y="136"/>
                  <a:pt x="148" y="136"/>
                </a:cubicBezTo>
                <a:cubicBezTo>
                  <a:pt x="158" y="135"/>
                  <a:pt x="160" y="130"/>
                  <a:pt x="160" y="119"/>
                </a:cubicBezTo>
                <a:cubicBezTo>
                  <a:pt x="84" y="119"/>
                  <a:pt x="84" y="119"/>
                  <a:pt x="84" y="119"/>
                </a:cubicBezTo>
                <a:cubicBezTo>
                  <a:pt x="83" y="130"/>
                  <a:pt x="85" y="135"/>
                  <a:pt x="96" y="136"/>
                </a:cubicBezTo>
                <a:close/>
                <a:moveTo>
                  <a:pt x="92" y="92"/>
                </a:moveTo>
                <a:cubicBezTo>
                  <a:pt x="86" y="93"/>
                  <a:pt x="82" y="96"/>
                  <a:pt x="81" y="103"/>
                </a:cubicBezTo>
                <a:cubicBezTo>
                  <a:pt x="82" y="110"/>
                  <a:pt x="86" y="113"/>
                  <a:pt x="92" y="114"/>
                </a:cubicBezTo>
                <a:cubicBezTo>
                  <a:pt x="95" y="113"/>
                  <a:pt x="98" y="112"/>
                  <a:pt x="100" y="110"/>
                </a:cubicBezTo>
                <a:cubicBezTo>
                  <a:pt x="102" y="112"/>
                  <a:pt x="105" y="113"/>
                  <a:pt x="108" y="114"/>
                </a:cubicBezTo>
                <a:cubicBezTo>
                  <a:pt x="111" y="114"/>
                  <a:pt x="113" y="113"/>
                  <a:pt x="115" y="111"/>
                </a:cubicBezTo>
                <a:cubicBezTo>
                  <a:pt x="116" y="113"/>
                  <a:pt x="119" y="114"/>
                  <a:pt x="122" y="113"/>
                </a:cubicBezTo>
                <a:cubicBezTo>
                  <a:pt x="126" y="113"/>
                  <a:pt x="128" y="112"/>
                  <a:pt x="130" y="111"/>
                </a:cubicBezTo>
                <a:cubicBezTo>
                  <a:pt x="132" y="113"/>
                  <a:pt x="134" y="114"/>
                  <a:pt x="137" y="114"/>
                </a:cubicBezTo>
                <a:cubicBezTo>
                  <a:pt x="140" y="113"/>
                  <a:pt x="142" y="112"/>
                  <a:pt x="144" y="111"/>
                </a:cubicBezTo>
                <a:cubicBezTo>
                  <a:pt x="146" y="113"/>
                  <a:pt x="149" y="114"/>
                  <a:pt x="152" y="114"/>
                </a:cubicBezTo>
                <a:cubicBezTo>
                  <a:pt x="159" y="112"/>
                  <a:pt x="162" y="108"/>
                  <a:pt x="162" y="102"/>
                </a:cubicBezTo>
                <a:cubicBezTo>
                  <a:pt x="161" y="95"/>
                  <a:pt x="157" y="93"/>
                  <a:pt x="152" y="92"/>
                </a:cubicBezTo>
                <a:cubicBezTo>
                  <a:pt x="149" y="92"/>
                  <a:pt x="146" y="93"/>
                  <a:pt x="144" y="95"/>
                </a:cubicBezTo>
                <a:cubicBezTo>
                  <a:pt x="142" y="93"/>
                  <a:pt x="139" y="92"/>
                  <a:pt x="136" y="93"/>
                </a:cubicBezTo>
                <a:cubicBezTo>
                  <a:pt x="134" y="92"/>
                  <a:pt x="131" y="93"/>
                  <a:pt x="129" y="95"/>
                </a:cubicBezTo>
                <a:cubicBezTo>
                  <a:pt x="128" y="93"/>
                  <a:pt x="125" y="93"/>
                  <a:pt x="123" y="92"/>
                </a:cubicBezTo>
                <a:cubicBezTo>
                  <a:pt x="120" y="92"/>
                  <a:pt x="118" y="93"/>
                  <a:pt x="115" y="95"/>
                </a:cubicBezTo>
                <a:cubicBezTo>
                  <a:pt x="115" y="95"/>
                  <a:pt x="115" y="95"/>
                  <a:pt x="115" y="95"/>
                </a:cubicBezTo>
                <a:cubicBezTo>
                  <a:pt x="113" y="93"/>
                  <a:pt x="110" y="92"/>
                  <a:pt x="107" y="92"/>
                </a:cubicBezTo>
                <a:cubicBezTo>
                  <a:pt x="104" y="92"/>
                  <a:pt x="102" y="93"/>
                  <a:pt x="100" y="96"/>
                </a:cubicBezTo>
                <a:cubicBezTo>
                  <a:pt x="98" y="93"/>
                  <a:pt x="95" y="92"/>
                  <a:pt x="92" y="92"/>
                </a:cubicBezTo>
                <a:close/>
                <a:moveTo>
                  <a:pt x="100" y="69"/>
                </a:moveTo>
                <a:cubicBezTo>
                  <a:pt x="89" y="70"/>
                  <a:pt x="83" y="76"/>
                  <a:pt x="84" y="87"/>
                </a:cubicBezTo>
                <a:cubicBezTo>
                  <a:pt x="160" y="87"/>
                  <a:pt x="160" y="87"/>
                  <a:pt x="160" y="87"/>
                </a:cubicBezTo>
                <a:cubicBezTo>
                  <a:pt x="160" y="76"/>
                  <a:pt x="154" y="70"/>
                  <a:pt x="145" y="69"/>
                </a:cubicBezTo>
                <a:cubicBezTo>
                  <a:pt x="100" y="69"/>
                  <a:pt x="100" y="69"/>
                  <a:pt x="100" y="69"/>
                </a:cubicBezTo>
                <a:close/>
                <a:moveTo>
                  <a:pt x="10" y="34"/>
                </a:moveTo>
                <a:cubicBezTo>
                  <a:pt x="11" y="55"/>
                  <a:pt x="11" y="55"/>
                  <a:pt x="11" y="55"/>
                </a:cubicBezTo>
                <a:cubicBezTo>
                  <a:pt x="11" y="57"/>
                  <a:pt x="12" y="57"/>
                  <a:pt x="13" y="57"/>
                </a:cubicBezTo>
                <a:cubicBezTo>
                  <a:pt x="50" y="57"/>
                  <a:pt x="50" y="57"/>
                  <a:pt x="50" y="57"/>
                </a:cubicBezTo>
                <a:cubicBezTo>
                  <a:pt x="51" y="57"/>
                  <a:pt x="51" y="56"/>
                  <a:pt x="52" y="55"/>
                </a:cubicBezTo>
                <a:cubicBezTo>
                  <a:pt x="57" y="35"/>
                  <a:pt x="57" y="35"/>
                  <a:pt x="57" y="35"/>
                </a:cubicBezTo>
                <a:cubicBezTo>
                  <a:pt x="57" y="34"/>
                  <a:pt x="57" y="34"/>
                  <a:pt x="56" y="34"/>
                </a:cubicBezTo>
                <a:cubicBezTo>
                  <a:pt x="11" y="34"/>
                  <a:pt x="11" y="34"/>
                  <a:pt x="11" y="34"/>
                </a:cubicBezTo>
                <a:cubicBezTo>
                  <a:pt x="10" y="34"/>
                  <a:pt x="10" y="34"/>
                  <a:pt x="10" y="34"/>
                </a:cubicBezTo>
                <a:close/>
                <a:moveTo>
                  <a:pt x="74" y="55"/>
                </a:moveTo>
                <a:cubicBezTo>
                  <a:pt x="75" y="35"/>
                  <a:pt x="75" y="35"/>
                  <a:pt x="75" y="35"/>
                </a:cubicBezTo>
                <a:cubicBezTo>
                  <a:pt x="74" y="34"/>
                  <a:pt x="74" y="34"/>
                  <a:pt x="73" y="34"/>
                </a:cubicBezTo>
                <a:cubicBezTo>
                  <a:pt x="68" y="33"/>
                  <a:pt x="68" y="33"/>
                  <a:pt x="68" y="33"/>
                </a:cubicBezTo>
                <a:cubicBezTo>
                  <a:pt x="67" y="33"/>
                  <a:pt x="66" y="34"/>
                  <a:pt x="66" y="35"/>
                </a:cubicBezTo>
                <a:cubicBezTo>
                  <a:pt x="60" y="55"/>
                  <a:pt x="60" y="55"/>
                  <a:pt x="60" y="55"/>
                </a:cubicBezTo>
                <a:cubicBezTo>
                  <a:pt x="60" y="56"/>
                  <a:pt x="61" y="56"/>
                  <a:pt x="61" y="56"/>
                </a:cubicBezTo>
                <a:cubicBezTo>
                  <a:pt x="73" y="56"/>
                  <a:pt x="73" y="56"/>
                  <a:pt x="73" y="56"/>
                </a:cubicBezTo>
                <a:cubicBezTo>
                  <a:pt x="73" y="56"/>
                  <a:pt x="74" y="56"/>
                  <a:pt x="74" y="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75" name="Freeform 235"/>
          <p:cNvSpPr>
            <a:spLocks noEditPoints="1"/>
          </p:cNvSpPr>
          <p:nvPr/>
        </p:nvSpPr>
        <p:spPr bwMode="auto">
          <a:xfrm>
            <a:off x="10598152" y="1517651"/>
            <a:ext cx="552449" cy="423333"/>
          </a:xfrm>
          <a:custGeom>
            <a:avLst/>
            <a:gdLst>
              <a:gd name="T0" fmla="*/ 263678212 w 184"/>
              <a:gd name="T1" fmla="*/ 25715232 h 140"/>
              <a:gd name="T2" fmla="*/ 294102708 w 184"/>
              <a:gd name="T3" fmla="*/ 0 h 140"/>
              <a:gd name="T4" fmla="*/ 507074178 w 184"/>
              <a:gd name="T5" fmla="*/ 0 h 140"/>
              <a:gd name="T6" fmla="*/ 643985534 w 184"/>
              <a:gd name="T7" fmla="*/ 56573964 h 140"/>
              <a:gd name="T8" fmla="*/ 851885879 w 184"/>
              <a:gd name="T9" fmla="*/ 318876589 h 140"/>
              <a:gd name="T10" fmla="*/ 856957004 w 184"/>
              <a:gd name="T11" fmla="*/ 385737554 h 140"/>
              <a:gd name="T12" fmla="*/ 862025877 w 184"/>
              <a:gd name="T13" fmla="*/ 396024554 h 140"/>
              <a:gd name="T14" fmla="*/ 897521497 w 184"/>
              <a:gd name="T15" fmla="*/ 421739786 h 140"/>
              <a:gd name="T16" fmla="*/ 922874868 w 184"/>
              <a:gd name="T17" fmla="*/ 421739786 h 140"/>
              <a:gd name="T18" fmla="*/ 922874868 w 184"/>
              <a:gd name="T19" fmla="*/ 457742018 h 140"/>
              <a:gd name="T20" fmla="*/ 897521497 w 184"/>
              <a:gd name="T21" fmla="*/ 457742018 h 140"/>
              <a:gd name="T22" fmla="*/ 856957004 w 184"/>
              <a:gd name="T23" fmla="*/ 483459518 h 140"/>
              <a:gd name="T24" fmla="*/ 851885879 w 184"/>
              <a:gd name="T25" fmla="*/ 488600750 h 140"/>
              <a:gd name="T26" fmla="*/ 851885879 w 184"/>
              <a:gd name="T27" fmla="*/ 514318250 h 140"/>
              <a:gd name="T28" fmla="*/ 76060113 w 184"/>
              <a:gd name="T29" fmla="*/ 514318250 h 140"/>
              <a:gd name="T30" fmla="*/ 76060113 w 184"/>
              <a:gd name="T31" fmla="*/ 462885518 h 140"/>
              <a:gd name="T32" fmla="*/ 263678212 w 184"/>
              <a:gd name="T33" fmla="*/ 277730857 h 140"/>
              <a:gd name="T34" fmla="*/ 263678212 w 184"/>
              <a:gd name="T35" fmla="*/ 216013393 h 140"/>
              <a:gd name="T36" fmla="*/ 238324841 w 184"/>
              <a:gd name="T37" fmla="*/ 216013393 h 140"/>
              <a:gd name="T38" fmla="*/ 238324841 w 184"/>
              <a:gd name="T39" fmla="*/ 102863196 h 140"/>
              <a:gd name="T40" fmla="*/ 263678212 w 184"/>
              <a:gd name="T41" fmla="*/ 102863196 h 140"/>
              <a:gd name="T42" fmla="*/ 263678212 w 184"/>
              <a:gd name="T43" fmla="*/ 25715232 h 140"/>
              <a:gd name="T44" fmla="*/ 25353371 w 184"/>
              <a:gd name="T45" fmla="*/ 540033482 h 140"/>
              <a:gd name="T46" fmla="*/ 902592622 w 184"/>
              <a:gd name="T47" fmla="*/ 540033482 h 140"/>
              <a:gd name="T48" fmla="*/ 902592622 w 184"/>
              <a:gd name="T49" fmla="*/ 596607446 h 140"/>
              <a:gd name="T50" fmla="*/ 25353371 w 184"/>
              <a:gd name="T51" fmla="*/ 596607446 h 140"/>
              <a:gd name="T52" fmla="*/ 25353371 w 184"/>
              <a:gd name="T53" fmla="*/ 540033482 h 140"/>
              <a:gd name="T54" fmla="*/ 0 w 184"/>
              <a:gd name="T55" fmla="*/ 658327179 h 140"/>
              <a:gd name="T56" fmla="*/ 933017117 w 184"/>
              <a:gd name="T57" fmla="*/ 658327179 h 140"/>
              <a:gd name="T58" fmla="*/ 933017117 w 184"/>
              <a:gd name="T59" fmla="*/ 720044643 h 140"/>
              <a:gd name="T60" fmla="*/ 0 w 184"/>
              <a:gd name="T61" fmla="*/ 720044643 h 140"/>
              <a:gd name="T62" fmla="*/ 0 w 184"/>
              <a:gd name="T63" fmla="*/ 658327179 h 140"/>
              <a:gd name="T64" fmla="*/ 385376195 w 184"/>
              <a:gd name="T65" fmla="*/ 77147964 h 140"/>
              <a:gd name="T66" fmla="*/ 354951699 w 184"/>
              <a:gd name="T67" fmla="*/ 97719696 h 140"/>
              <a:gd name="T68" fmla="*/ 360022824 w 184"/>
              <a:gd name="T69" fmla="*/ 241728625 h 140"/>
              <a:gd name="T70" fmla="*/ 370165073 w 184"/>
              <a:gd name="T71" fmla="*/ 257159125 h 140"/>
              <a:gd name="T72" fmla="*/ 476649682 w 184"/>
              <a:gd name="T73" fmla="*/ 257159125 h 140"/>
              <a:gd name="T74" fmla="*/ 486791931 w 184"/>
              <a:gd name="T75" fmla="*/ 267446125 h 140"/>
              <a:gd name="T76" fmla="*/ 486791931 w 184"/>
              <a:gd name="T77" fmla="*/ 303448357 h 140"/>
              <a:gd name="T78" fmla="*/ 491863056 w 184"/>
              <a:gd name="T79" fmla="*/ 308589589 h 140"/>
              <a:gd name="T80" fmla="*/ 730187897 w 184"/>
              <a:gd name="T81" fmla="*/ 308589589 h 140"/>
              <a:gd name="T82" fmla="*/ 740327894 w 184"/>
              <a:gd name="T83" fmla="*/ 293161357 h 140"/>
              <a:gd name="T84" fmla="*/ 598347665 w 184"/>
              <a:gd name="T85" fmla="*/ 118293696 h 140"/>
              <a:gd name="T86" fmla="*/ 385376195 w 184"/>
              <a:gd name="T87" fmla="*/ 77147964 h 14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84" h="140">
                <a:moveTo>
                  <a:pt x="52" y="5"/>
                </a:moveTo>
                <a:cubicBezTo>
                  <a:pt x="52" y="2"/>
                  <a:pt x="54" y="0"/>
                  <a:pt x="58" y="0"/>
                </a:cubicBezTo>
                <a:cubicBezTo>
                  <a:pt x="100" y="0"/>
                  <a:pt x="100" y="0"/>
                  <a:pt x="100" y="0"/>
                </a:cubicBezTo>
                <a:cubicBezTo>
                  <a:pt x="113" y="1"/>
                  <a:pt x="121" y="5"/>
                  <a:pt x="127" y="11"/>
                </a:cubicBezTo>
                <a:cubicBezTo>
                  <a:pt x="168" y="62"/>
                  <a:pt x="168" y="62"/>
                  <a:pt x="168" y="62"/>
                </a:cubicBezTo>
                <a:cubicBezTo>
                  <a:pt x="169" y="67"/>
                  <a:pt x="169" y="70"/>
                  <a:pt x="169" y="75"/>
                </a:cubicBezTo>
                <a:cubicBezTo>
                  <a:pt x="169" y="76"/>
                  <a:pt x="169" y="77"/>
                  <a:pt x="170" y="77"/>
                </a:cubicBezTo>
                <a:cubicBezTo>
                  <a:pt x="176" y="77"/>
                  <a:pt x="178" y="78"/>
                  <a:pt x="177" y="82"/>
                </a:cubicBezTo>
                <a:cubicBezTo>
                  <a:pt x="182" y="82"/>
                  <a:pt x="182" y="82"/>
                  <a:pt x="182" y="82"/>
                </a:cubicBezTo>
                <a:cubicBezTo>
                  <a:pt x="182" y="89"/>
                  <a:pt x="182" y="89"/>
                  <a:pt x="182" y="89"/>
                </a:cubicBezTo>
                <a:cubicBezTo>
                  <a:pt x="177" y="89"/>
                  <a:pt x="177" y="89"/>
                  <a:pt x="177" y="89"/>
                </a:cubicBezTo>
                <a:cubicBezTo>
                  <a:pt x="178" y="93"/>
                  <a:pt x="175" y="95"/>
                  <a:pt x="169" y="94"/>
                </a:cubicBezTo>
                <a:cubicBezTo>
                  <a:pt x="169" y="94"/>
                  <a:pt x="168" y="94"/>
                  <a:pt x="168" y="95"/>
                </a:cubicBezTo>
                <a:cubicBezTo>
                  <a:pt x="168" y="100"/>
                  <a:pt x="168" y="100"/>
                  <a:pt x="168" y="100"/>
                </a:cubicBezTo>
                <a:cubicBezTo>
                  <a:pt x="15" y="100"/>
                  <a:pt x="15" y="100"/>
                  <a:pt x="15" y="100"/>
                </a:cubicBezTo>
                <a:cubicBezTo>
                  <a:pt x="15" y="90"/>
                  <a:pt x="15" y="90"/>
                  <a:pt x="15" y="90"/>
                </a:cubicBezTo>
                <a:cubicBezTo>
                  <a:pt x="52" y="54"/>
                  <a:pt x="52" y="54"/>
                  <a:pt x="52" y="54"/>
                </a:cubicBezTo>
                <a:cubicBezTo>
                  <a:pt x="52" y="42"/>
                  <a:pt x="52" y="42"/>
                  <a:pt x="52" y="42"/>
                </a:cubicBezTo>
                <a:cubicBezTo>
                  <a:pt x="47" y="42"/>
                  <a:pt x="47" y="42"/>
                  <a:pt x="47" y="42"/>
                </a:cubicBezTo>
                <a:cubicBezTo>
                  <a:pt x="47" y="20"/>
                  <a:pt x="47" y="20"/>
                  <a:pt x="47" y="20"/>
                </a:cubicBezTo>
                <a:cubicBezTo>
                  <a:pt x="52" y="20"/>
                  <a:pt x="52" y="20"/>
                  <a:pt x="52" y="20"/>
                </a:cubicBezTo>
                <a:cubicBezTo>
                  <a:pt x="52" y="5"/>
                  <a:pt x="52" y="5"/>
                  <a:pt x="52" y="5"/>
                </a:cubicBezTo>
                <a:close/>
                <a:moveTo>
                  <a:pt x="5" y="105"/>
                </a:moveTo>
                <a:cubicBezTo>
                  <a:pt x="178" y="105"/>
                  <a:pt x="178" y="105"/>
                  <a:pt x="178" y="105"/>
                </a:cubicBezTo>
                <a:cubicBezTo>
                  <a:pt x="178" y="116"/>
                  <a:pt x="178" y="116"/>
                  <a:pt x="178" y="116"/>
                </a:cubicBezTo>
                <a:cubicBezTo>
                  <a:pt x="5" y="116"/>
                  <a:pt x="5" y="116"/>
                  <a:pt x="5" y="116"/>
                </a:cubicBezTo>
                <a:cubicBezTo>
                  <a:pt x="5" y="105"/>
                  <a:pt x="5" y="105"/>
                  <a:pt x="5" y="105"/>
                </a:cubicBezTo>
                <a:close/>
                <a:moveTo>
                  <a:pt x="0" y="128"/>
                </a:moveTo>
                <a:cubicBezTo>
                  <a:pt x="184" y="128"/>
                  <a:pt x="184" y="128"/>
                  <a:pt x="184" y="128"/>
                </a:cubicBezTo>
                <a:cubicBezTo>
                  <a:pt x="184" y="140"/>
                  <a:pt x="184" y="140"/>
                  <a:pt x="184" y="140"/>
                </a:cubicBezTo>
                <a:cubicBezTo>
                  <a:pt x="0" y="140"/>
                  <a:pt x="0" y="140"/>
                  <a:pt x="0" y="140"/>
                </a:cubicBezTo>
                <a:cubicBezTo>
                  <a:pt x="0" y="128"/>
                  <a:pt x="0" y="128"/>
                  <a:pt x="0" y="128"/>
                </a:cubicBezTo>
                <a:close/>
                <a:moveTo>
                  <a:pt x="76" y="15"/>
                </a:moveTo>
                <a:cubicBezTo>
                  <a:pt x="72" y="15"/>
                  <a:pt x="71" y="16"/>
                  <a:pt x="70" y="19"/>
                </a:cubicBezTo>
                <a:cubicBezTo>
                  <a:pt x="71" y="47"/>
                  <a:pt x="71" y="47"/>
                  <a:pt x="71" y="47"/>
                </a:cubicBezTo>
                <a:cubicBezTo>
                  <a:pt x="71" y="49"/>
                  <a:pt x="71" y="50"/>
                  <a:pt x="73" y="50"/>
                </a:cubicBezTo>
                <a:cubicBezTo>
                  <a:pt x="94" y="50"/>
                  <a:pt x="94" y="50"/>
                  <a:pt x="94" y="50"/>
                </a:cubicBezTo>
                <a:cubicBezTo>
                  <a:pt x="96" y="50"/>
                  <a:pt x="96" y="51"/>
                  <a:pt x="96" y="52"/>
                </a:cubicBezTo>
                <a:cubicBezTo>
                  <a:pt x="96" y="59"/>
                  <a:pt x="96" y="59"/>
                  <a:pt x="96" y="59"/>
                </a:cubicBezTo>
                <a:cubicBezTo>
                  <a:pt x="96" y="60"/>
                  <a:pt x="97" y="60"/>
                  <a:pt x="97" y="60"/>
                </a:cubicBezTo>
                <a:cubicBezTo>
                  <a:pt x="144" y="60"/>
                  <a:pt x="144" y="60"/>
                  <a:pt x="144" y="60"/>
                </a:cubicBezTo>
                <a:cubicBezTo>
                  <a:pt x="146" y="60"/>
                  <a:pt x="147" y="59"/>
                  <a:pt x="146" y="57"/>
                </a:cubicBezTo>
                <a:cubicBezTo>
                  <a:pt x="118" y="23"/>
                  <a:pt x="118" y="23"/>
                  <a:pt x="118" y="23"/>
                </a:cubicBezTo>
                <a:cubicBezTo>
                  <a:pt x="109" y="14"/>
                  <a:pt x="95" y="14"/>
                  <a:pt x="76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76" name="Freeform 236"/>
          <p:cNvSpPr>
            <a:spLocks/>
          </p:cNvSpPr>
          <p:nvPr/>
        </p:nvSpPr>
        <p:spPr bwMode="auto">
          <a:xfrm>
            <a:off x="1348318" y="2520951"/>
            <a:ext cx="16933" cy="21167"/>
          </a:xfrm>
          <a:custGeom>
            <a:avLst/>
            <a:gdLst>
              <a:gd name="T0" fmla="*/ 26881667 w 6"/>
              <a:gd name="T1" fmla="*/ 36002232 h 7"/>
              <a:gd name="T2" fmla="*/ 0 w 6"/>
              <a:gd name="T3" fmla="*/ 36002232 h 7"/>
              <a:gd name="T4" fmla="*/ 13440833 w 6"/>
              <a:gd name="T5" fmla="*/ 0 h 7"/>
              <a:gd name="T6" fmla="*/ 26881667 w 6"/>
              <a:gd name="T7" fmla="*/ 36002232 h 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7">
                <a:moveTo>
                  <a:pt x="6" y="7"/>
                </a:moveTo>
                <a:cubicBezTo>
                  <a:pt x="0" y="7"/>
                  <a:pt x="0" y="7"/>
                  <a:pt x="0" y="7"/>
                </a:cubicBezTo>
                <a:cubicBezTo>
                  <a:pt x="1" y="5"/>
                  <a:pt x="2" y="3"/>
                  <a:pt x="3" y="0"/>
                </a:cubicBezTo>
                <a:cubicBezTo>
                  <a:pt x="3" y="3"/>
                  <a:pt x="4" y="5"/>
                  <a:pt x="6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77" name="Freeform 237"/>
          <p:cNvSpPr>
            <a:spLocks/>
          </p:cNvSpPr>
          <p:nvPr/>
        </p:nvSpPr>
        <p:spPr bwMode="auto">
          <a:xfrm>
            <a:off x="1399118" y="2520951"/>
            <a:ext cx="16933" cy="21167"/>
          </a:xfrm>
          <a:custGeom>
            <a:avLst/>
            <a:gdLst>
              <a:gd name="T0" fmla="*/ 26881667 w 6"/>
              <a:gd name="T1" fmla="*/ 36002232 h 7"/>
              <a:gd name="T2" fmla="*/ 0 w 6"/>
              <a:gd name="T3" fmla="*/ 36002232 h 7"/>
              <a:gd name="T4" fmla="*/ 13440833 w 6"/>
              <a:gd name="T5" fmla="*/ 0 h 7"/>
              <a:gd name="T6" fmla="*/ 26881667 w 6"/>
              <a:gd name="T7" fmla="*/ 36002232 h 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7">
                <a:moveTo>
                  <a:pt x="6" y="7"/>
                </a:moveTo>
                <a:cubicBezTo>
                  <a:pt x="0" y="7"/>
                  <a:pt x="0" y="7"/>
                  <a:pt x="0" y="7"/>
                </a:cubicBezTo>
                <a:cubicBezTo>
                  <a:pt x="1" y="5"/>
                  <a:pt x="2" y="3"/>
                  <a:pt x="3" y="0"/>
                </a:cubicBezTo>
                <a:cubicBezTo>
                  <a:pt x="4" y="3"/>
                  <a:pt x="5" y="5"/>
                  <a:pt x="6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78" name="Freeform 238"/>
          <p:cNvSpPr>
            <a:spLocks/>
          </p:cNvSpPr>
          <p:nvPr/>
        </p:nvSpPr>
        <p:spPr bwMode="auto">
          <a:xfrm>
            <a:off x="1449918" y="2520951"/>
            <a:ext cx="16933" cy="21167"/>
          </a:xfrm>
          <a:custGeom>
            <a:avLst/>
            <a:gdLst>
              <a:gd name="T0" fmla="*/ 26881667 w 6"/>
              <a:gd name="T1" fmla="*/ 36002232 h 7"/>
              <a:gd name="T2" fmla="*/ 0 w 6"/>
              <a:gd name="T3" fmla="*/ 36002232 h 7"/>
              <a:gd name="T4" fmla="*/ 13440833 w 6"/>
              <a:gd name="T5" fmla="*/ 0 h 7"/>
              <a:gd name="T6" fmla="*/ 26881667 w 6"/>
              <a:gd name="T7" fmla="*/ 36002232 h 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7">
                <a:moveTo>
                  <a:pt x="6" y="7"/>
                </a:moveTo>
                <a:cubicBezTo>
                  <a:pt x="0" y="7"/>
                  <a:pt x="0" y="7"/>
                  <a:pt x="0" y="7"/>
                </a:cubicBezTo>
                <a:cubicBezTo>
                  <a:pt x="2" y="5"/>
                  <a:pt x="3" y="3"/>
                  <a:pt x="3" y="0"/>
                </a:cubicBezTo>
                <a:cubicBezTo>
                  <a:pt x="4" y="3"/>
                  <a:pt x="5" y="5"/>
                  <a:pt x="6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79" name="Freeform 239"/>
          <p:cNvSpPr>
            <a:spLocks/>
          </p:cNvSpPr>
          <p:nvPr/>
        </p:nvSpPr>
        <p:spPr bwMode="auto">
          <a:xfrm>
            <a:off x="1250951" y="2381251"/>
            <a:ext cx="493183" cy="160867"/>
          </a:xfrm>
          <a:custGeom>
            <a:avLst/>
            <a:gdLst>
              <a:gd name="T0" fmla="*/ 0 w 164"/>
              <a:gd name="T1" fmla="*/ 0 h 53"/>
              <a:gd name="T2" fmla="*/ 834246297 w 164"/>
              <a:gd name="T3" fmla="*/ 0 h 53"/>
              <a:gd name="T4" fmla="*/ 834246297 w 164"/>
              <a:gd name="T5" fmla="*/ 274649481 h 53"/>
              <a:gd name="T6" fmla="*/ 427296169 w 164"/>
              <a:gd name="T7" fmla="*/ 274649481 h 53"/>
              <a:gd name="T8" fmla="*/ 442558518 w 164"/>
              <a:gd name="T9" fmla="*/ 202100132 h 53"/>
              <a:gd name="T10" fmla="*/ 422210223 w 164"/>
              <a:gd name="T11" fmla="*/ 139915301 h 53"/>
              <a:gd name="T12" fmla="*/ 417124276 w 164"/>
              <a:gd name="T13" fmla="*/ 82913867 h 53"/>
              <a:gd name="T14" fmla="*/ 417124276 w 164"/>
              <a:gd name="T15" fmla="*/ 62184831 h 53"/>
              <a:gd name="T16" fmla="*/ 406950128 w 164"/>
              <a:gd name="T17" fmla="*/ 51820313 h 53"/>
              <a:gd name="T18" fmla="*/ 381515886 w 164"/>
              <a:gd name="T19" fmla="*/ 51820313 h 53"/>
              <a:gd name="T20" fmla="*/ 371341739 w 164"/>
              <a:gd name="T21" fmla="*/ 62184831 h 53"/>
              <a:gd name="T22" fmla="*/ 376427685 w 164"/>
              <a:gd name="T23" fmla="*/ 82913867 h 53"/>
              <a:gd name="T24" fmla="*/ 371341739 w 164"/>
              <a:gd name="T25" fmla="*/ 139915301 h 53"/>
              <a:gd name="T26" fmla="*/ 350993443 w 164"/>
              <a:gd name="T27" fmla="*/ 181373373 h 53"/>
              <a:gd name="T28" fmla="*/ 330647402 w 164"/>
              <a:gd name="T29" fmla="*/ 139915301 h 53"/>
              <a:gd name="T30" fmla="*/ 325559201 w 164"/>
              <a:gd name="T31" fmla="*/ 88094988 h 53"/>
              <a:gd name="T32" fmla="*/ 325559201 w 164"/>
              <a:gd name="T33" fmla="*/ 62184831 h 53"/>
              <a:gd name="T34" fmla="*/ 320473254 w 164"/>
              <a:gd name="T35" fmla="*/ 51820313 h 53"/>
              <a:gd name="T36" fmla="*/ 289950811 w 164"/>
              <a:gd name="T37" fmla="*/ 51820313 h 53"/>
              <a:gd name="T38" fmla="*/ 284864864 w 164"/>
              <a:gd name="T39" fmla="*/ 62184831 h 53"/>
              <a:gd name="T40" fmla="*/ 284864864 w 164"/>
              <a:gd name="T41" fmla="*/ 82913867 h 53"/>
              <a:gd name="T42" fmla="*/ 279776663 w 164"/>
              <a:gd name="T43" fmla="*/ 139915301 h 53"/>
              <a:gd name="T44" fmla="*/ 264516569 w 164"/>
              <a:gd name="T45" fmla="*/ 181373373 h 53"/>
              <a:gd name="T46" fmla="*/ 244170528 w 164"/>
              <a:gd name="T47" fmla="*/ 139915301 h 53"/>
              <a:gd name="T48" fmla="*/ 239082327 w 164"/>
              <a:gd name="T49" fmla="*/ 82913867 h 53"/>
              <a:gd name="T50" fmla="*/ 239082327 w 164"/>
              <a:gd name="T51" fmla="*/ 62184831 h 53"/>
              <a:gd name="T52" fmla="*/ 233996380 w 164"/>
              <a:gd name="T53" fmla="*/ 51820313 h 53"/>
              <a:gd name="T54" fmla="*/ 203473937 w 164"/>
              <a:gd name="T55" fmla="*/ 51820313 h 53"/>
              <a:gd name="T56" fmla="*/ 198387990 w 164"/>
              <a:gd name="T57" fmla="*/ 62184831 h 53"/>
              <a:gd name="T58" fmla="*/ 198387990 w 164"/>
              <a:gd name="T59" fmla="*/ 82913867 h 53"/>
              <a:gd name="T60" fmla="*/ 193302044 w 164"/>
              <a:gd name="T61" fmla="*/ 139915301 h 53"/>
              <a:gd name="T62" fmla="*/ 178039694 w 164"/>
              <a:gd name="T63" fmla="*/ 181373373 h 53"/>
              <a:gd name="T64" fmla="*/ 157693654 w 164"/>
              <a:gd name="T65" fmla="*/ 139915301 h 53"/>
              <a:gd name="T66" fmla="*/ 152605452 w 164"/>
              <a:gd name="T67" fmla="*/ 82913867 h 53"/>
              <a:gd name="T68" fmla="*/ 152605452 w 164"/>
              <a:gd name="T69" fmla="*/ 62184831 h 53"/>
              <a:gd name="T70" fmla="*/ 142431304 w 164"/>
              <a:gd name="T71" fmla="*/ 51820313 h 53"/>
              <a:gd name="T72" fmla="*/ 116997062 w 164"/>
              <a:gd name="T73" fmla="*/ 51820313 h 53"/>
              <a:gd name="T74" fmla="*/ 106825170 w 164"/>
              <a:gd name="T75" fmla="*/ 62184831 h 53"/>
              <a:gd name="T76" fmla="*/ 111911116 w 164"/>
              <a:gd name="T77" fmla="*/ 88094988 h 53"/>
              <a:gd name="T78" fmla="*/ 106825170 w 164"/>
              <a:gd name="T79" fmla="*/ 139915301 h 53"/>
              <a:gd name="T80" fmla="*/ 81390928 w 164"/>
              <a:gd name="T81" fmla="*/ 196919011 h 53"/>
              <a:gd name="T82" fmla="*/ 101736968 w 164"/>
              <a:gd name="T83" fmla="*/ 274649481 h 53"/>
              <a:gd name="T84" fmla="*/ 0 w 164"/>
              <a:gd name="T85" fmla="*/ 274649481 h 53"/>
              <a:gd name="T86" fmla="*/ 0 w 164"/>
              <a:gd name="T87" fmla="*/ 0 h 5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64" h="53">
                <a:moveTo>
                  <a:pt x="0" y="0"/>
                </a:moveTo>
                <a:cubicBezTo>
                  <a:pt x="164" y="0"/>
                  <a:pt x="164" y="0"/>
                  <a:pt x="164" y="0"/>
                </a:cubicBezTo>
                <a:cubicBezTo>
                  <a:pt x="164" y="53"/>
                  <a:pt x="164" y="53"/>
                  <a:pt x="164" y="53"/>
                </a:cubicBezTo>
                <a:cubicBezTo>
                  <a:pt x="84" y="53"/>
                  <a:pt x="84" y="53"/>
                  <a:pt x="84" y="53"/>
                </a:cubicBezTo>
                <a:cubicBezTo>
                  <a:pt x="86" y="49"/>
                  <a:pt x="88" y="44"/>
                  <a:pt x="87" y="39"/>
                </a:cubicBezTo>
                <a:cubicBezTo>
                  <a:pt x="87" y="34"/>
                  <a:pt x="85" y="30"/>
                  <a:pt x="83" y="27"/>
                </a:cubicBezTo>
                <a:cubicBezTo>
                  <a:pt x="81" y="23"/>
                  <a:pt x="81" y="18"/>
                  <a:pt x="82" y="16"/>
                </a:cubicBezTo>
                <a:cubicBezTo>
                  <a:pt x="82" y="15"/>
                  <a:pt x="82" y="13"/>
                  <a:pt x="82" y="12"/>
                </a:cubicBezTo>
                <a:cubicBezTo>
                  <a:pt x="81" y="11"/>
                  <a:pt x="81" y="10"/>
                  <a:pt x="80" y="10"/>
                </a:cubicBezTo>
                <a:cubicBezTo>
                  <a:pt x="79" y="9"/>
                  <a:pt x="77" y="9"/>
                  <a:pt x="75" y="10"/>
                </a:cubicBezTo>
                <a:cubicBezTo>
                  <a:pt x="74" y="10"/>
                  <a:pt x="74" y="11"/>
                  <a:pt x="73" y="12"/>
                </a:cubicBezTo>
                <a:cubicBezTo>
                  <a:pt x="73" y="14"/>
                  <a:pt x="73" y="15"/>
                  <a:pt x="74" y="16"/>
                </a:cubicBezTo>
                <a:cubicBezTo>
                  <a:pt x="75" y="20"/>
                  <a:pt x="74" y="24"/>
                  <a:pt x="73" y="27"/>
                </a:cubicBezTo>
                <a:cubicBezTo>
                  <a:pt x="71" y="29"/>
                  <a:pt x="70" y="32"/>
                  <a:pt x="69" y="35"/>
                </a:cubicBezTo>
                <a:cubicBezTo>
                  <a:pt x="68" y="32"/>
                  <a:pt x="67" y="29"/>
                  <a:pt x="65" y="27"/>
                </a:cubicBezTo>
                <a:cubicBezTo>
                  <a:pt x="64" y="23"/>
                  <a:pt x="63" y="19"/>
                  <a:pt x="64" y="17"/>
                </a:cubicBezTo>
                <a:cubicBezTo>
                  <a:pt x="65" y="16"/>
                  <a:pt x="65" y="12"/>
                  <a:pt x="64" y="12"/>
                </a:cubicBezTo>
                <a:cubicBezTo>
                  <a:pt x="64" y="11"/>
                  <a:pt x="64" y="10"/>
                  <a:pt x="63" y="10"/>
                </a:cubicBezTo>
                <a:cubicBezTo>
                  <a:pt x="61" y="9"/>
                  <a:pt x="59" y="9"/>
                  <a:pt x="57" y="10"/>
                </a:cubicBezTo>
                <a:cubicBezTo>
                  <a:pt x="57" y="10"/>
                  <a:pt x="56" y="11"/>
                  <a:pt x="56" y="12"/>
                </a:cubicBezTo>
                <a:cubicBezTo>
                  <a:pt x="56" y="13"/>
                  <a:pt x="56" y="15"/>
                  <a:pt x="56" y="16"/>
                </a:cubicBezTo>
                <a:cubicBezTo>
                  <a:pt x="57" y="20"/>
                  <a:pt x="57" y="24"/>
                  <a:pt x="55" y="27"/>
                </a:cubicBezTo>
                <a:cubicBezTo>
                  <a:pt x="54" y="29"/>
                  <a:pt x="53" y="32"/>
                  <a:pt x="52" y="35"/>
                </a:cubicBezTo>
                <a:cubicBezTo>
                  <a:pt x="51" y="32"/>
                  <a:pt x="50" y="29"/>
                  <a:pt x="48" y="27"/>
                </a:cubicBezTo>
                <a:cubicBezTo>
                  <a:pt x="46" y="23"/>
                  <a:pt x="46" y="18"/>
                  <a:pt x="47" y="16"/>
                </a:cubicBezTo>
                <a:cubicBezTo>
                  <a:pt x="48" y="15"/>
                  <a:pt x="47" y="13"/>
                  <a:pt x="47" y="12"/>
                </a:cubicBezTo>
                <a:cubicBezTo>
                  <a:pt x="47" y="11"/>
                  <a:pt x="46" y="10"/>
                  <a:pt x="46" y="10"/>
                </a:cubicBezTo>
                <a:cubicBezTo>
                  <a:pt x="44" y="9"/>
                  <a:pt x="42" y="9"/>
                  <a:pt x="40" y="10"/>
                </a:cubicBezTo>
                <a:cubicBezTo>
                  <a:pt x="39" y="10"/>
                  <a:pt x="39" y="11"/>
                  <a:pt x="39" y="12"/>
                </a:cubicBezTo>
                <a:cubicBezTo>
                  <a:pt x="38" y="13"/>
                  <a:pt x="38" y="15"/>
                  <a:pt x="39" y="16"/>
                </a:cubicBezTo>
                <a:cubicBezTo>
                  <a:pt x="40" y="20"/>
                  <a:pt x="39" y="24"/>
                  <a:pt x="38" y="27"/>
                </a:cubicBezTo>
                <a:cubicBezTo>
                  <a:pt x="36" y="29"/>
                  <a:pt x="35" y="32"/>
                  <a:pt x="35" y="35"/>
                </a:cubicBezTo>
                <a:cubicBezTo>
                  <a:pt x="34" y="32"/>
                  <a:pt x="32" y="29"/>
                  <a:pt x="31" y="27"/>
                </a:cubicBezTo>
                <a:cubicBezTo>
                  <a:pt x="29" y="23"/>
                  <a:pt x="29" y="18"/>
                  <a:pt x="30" y="16"/>
                </a:cubicBezTo>
                <a:cubicBezTo>
                  <a:pt x="30" y="15"/>
                  <a:pt x="30" y="13"/>
                  <a:pt x="30" y="12"/>
                </a:cubicBezTo>
                <a:cubicBezTo>
                  <a:pt x="29" y="11"/>
                  <a:pt x="29" y="10"/>
                  <a:pt x="28" y="10"/>
                </a:cubicBezTo>
                <a:cubicBezTo>
                  <a:pt x="26" y="9"/>
                  <a:pt x="25" y="9"/>
                  <a:pt x="23" y="10"/>
                </a:cubicBezTo>
                <a:cubicBezTo>
                  <a:pt x="22" y="10"/>
                  <a:pt x="22" y="11"/>
                  <a:pt x="21" y="12"/>
                </a:cubicBezTo>
                <a:cubicBezTo>
                  <a:pt x="21" y="13"/>
                  <a:pt x="21" y="15"/>
                  <a:pt x="22" y="17"/>
                </a:cubicBezTo>
                <a:cubicBezTo>
                  <a:pt x="23" y="21"/>
                  <a:pt x="22" y="24"/>
                  <a:pt x="21" y="27"/>
                </a:cubicBezTo>
                <a:cubicBezTo>
                  <a:pt x="19" y="30"/>
                  <a:pt x="17" y="34"/>
                  <a:pt x="16" y="38"/>
                </a:cubicBezTo>
                <a:cubicBezTo>
                  <a:pt x="16" y="45"/>
                  <a:pt x="18" y="50"/>
                  <a:pt x="20" y="53"/>
                </a:cubicBezTo>
                <a:cubicBezTo>
                  <a:pt x="0" y="53"/>
                  <a:pt x="0" y="53"/>
                  <a:pt x="0" y="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80" name="Oval 240"/>
          <p:cNvSpPr>
            <a:spLocks noChangeArrowheads="1"/>
          </p:cNvSpPr>
          <p:nvPr/>
        </p:nvSpPr>
        <p:spPr bwMode="auto">
          <a:xfrm>
            <a:off x="1595968" y="2652184"/>
            <a:ext cx="40217" cy="423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81" name="Oval 241"/>
          <p:cNvSpPr>
            <a:spLocks noChangeArrowheads="1"/>
          </p:cNvSpPr>
          <p:nvPr/>
        </p:nvSpPr>
        <p:spPr bwMode="auto">
          <a:xfrm>
            <a:off x="1661584" y="2694518"/>
            <a:ext cx="42333" cy="423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582" name="Freeform 242"/>
          <p:cNvSpPr>
            <a:spLocks noEditPoints="1"/>
          </p:cNvSpPr>
          <p:nvPr/>
        </p:nvSpPr>
        <p:spPr bwMode="auto">
          <a:xfrm>
            <a:off x="1437218" y="2578101"/>
            <a:ext cx="285749" cy="285751"/>
          </a:xfrm>
          <a:custGeom>
            <a:avLst/>
            <a:gdLst>
              <a:gd name="T0" fmla="*/ 239190239 w 95"/>
              <a:gd name="T1" fmla="*/ 0 h 95"/>
              <a:gd name="T2" fmla="*/ 422399928 w 95"/>
              <a:gd name="T3" fmla="*/ 81427660 h 95"/>
              <a:gd name="T4" fmla="*/ 417310582 w 95"/>
              <a:gd name="T5" fmla="*/ 132319102 h 95"/>
              <a:gd name="T6" fmla="*/ 463112441 w 95"/>
              <a:gd name="T7" fmla="*/ 142497842 h 95"/>
              <a:gd name="T8" fmla="*/ 483469825 w 95"/>
              <a:gd name="T9" fmla="*/ 244280725 h 95"/>
              <a:gd name="T10" fmla="*/ 239190239 w 95"/>
              <a:gd name="T11" fmla="*/ 483474337 h 95"/>
              <a:gd name="T12" fmla="*/ 0 w 95"/>
              <a:gd name="T13" fmla="*/ 244280725 h 95"/>
              <a:gd name="T14" fmla="*/ 239190239 w 95"/>
              <a:gd name="T15" fmla="*/ 0 h 95"/>
              <a:gd name="T16" fmla="*/ 300260136 w 95"/>
              <a:gd name="T17" fmla="*/ 127229732 h 95"/>
              <a:gd name="T18" fmla="*/ 269726315 w 95"/>
              <a:gd name="T19" fmla="*/ 162855321 h 95"/>
              <a:gd name="T20" fmla="*/ 300260136 w 95"/>
              <a:gd name="T21" fmla="*/ 198478653 h 95"/>
              <a:gd name="T22" fmla="*/ 335883302 w 95"/>
              <a:gd name="T23" fmla="*/ 162855321 h 95"/>
              <a:gd name="T24" fmla="*/ 300260136 w 95"/>
              <a:gd name="T25" fmla="*/ 127229732 h 95"/>
              <a:gd name="T26" fmla="*/ 417310582 w 95"/>
              <a:gd name="T27" fmla="*/ 198478653 h 95"/>
              <a:gd name="T28" fmla="*/ 381687416 w 95"/>
              <a:gd name="T29" fmla="*/ 234104242 h 95"/>
              <a:gd name="T30" fmla="*/ 417310582 w 95"/>
              <a:gd name="T31" fmla="*/ 269727574 h 95"/>
              <a:gd name="T32" fmla="*/ 452936004 w 95"/>
              <a:gd name="T33" fmla="*/ 234104242 h 95"/>
              <a:gd name="T34" fmla="*/ 417310582 w 95"/>
              <a:gd name="T35" fmla="*/ 198478653 h 9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95" h="95">
                <a:moveTo>
                  <a:pt x="47" y="0"/>
                </a:moveTo>
                <a:cubicBezTo>
                  <a:pt x="62" y="0"/>
                  <a:pt x="74" y="5"/>
                  <a:pt x="83" y="16"/>
                </a:cubicBezTo>
                <a:cubicBezTo>
                  <a:pt x="78" y="21"/>
                  <a:pt x="81" y="24"/>
                  <a:pt x="82" y="26"/>
                </a:cubicBezTo>
                <a:cubicBezTo>
                  <a:pt x="84" y="28"/>
                  <a:pt x="87" y="29"/>
                  <a:pt x="91" y="28"/>
                </a:cubicBezTo>
                <a:cubicBezTo>
                  <a:pt x="93" y="34"/>
                  <a:pt x="95" y="41"/>
                  <a:pt x="95" y="48"/>
                </a:cubicBezTo>
                <a:cubicBezTo>
                  <a:pt x="95" y="74"/>
                  <a:pt x="73" y="95"/>
                  <a:pt x="47" y="95"/>
                </a:cubicBezTo>
                <a:cubicBezTo>
                  <a:pt x="21" y="95"/>
                  <a:pt x="0" y="74"/>
                  <a:pt x="0" y="48"/>
                </a:cubicBezTo>
                <a:cubicBezTo>
                  <a:pt x="0" y="21"/>
                  <a:pt x="21" y="0"/>
                  <a:pt x="47" y="0"/>
                </a:cubicBezTo>
                <a:close/>
                <a:moveTo>
                  <a:pt x="59" y="25"/>
                </a:moveTo>
                <a:cubicBezTo>
                  <a:pt x="56" y="25"/>
                  <a:pt x="53" y="28"/>
                  <a:pt x="53" y="32"/>
                </a:cubicBezTo>
                <a:cubicBezTo>
                  <a:pt x="53" y="36"/>
                  <a:pt x="56" y="39"/>
                  <a:pt x="59" y="39"/>
                </a:cubicBezTo>
                <a:cubicBezTo>
                  <a:pt x="63" y="39"/>
                  <a:pt x="66" y="36"/>
                  <a:pt x="66" y="32"/>
                </a:cubicBezTo>
                <a:cubicBezTo>
                  <a:pt x="66" y="28"/>
                  <a:pt x="63" y="25"/>
                  <a:pt x="59" y="25"/>
                </a:cubicBezTo>
                <a:close/>
                <a:moveTo>
                  <a:pt x="82" y="39"/>
                </a:moveTo>
                <a:cubicBezTo>
                  <a:pt x="79" y="39"/>
                  <a:pt x="75" y="42"/>
                  <a:pt x="75" y="46"/>
                </a:cubicBezTo>
                <a:cubicBezTo>
                  <a:pt x="75" y="50"/>
                  <a:pt x="79" y="53"/>
                  <a:pt x="82" y="53"/>
                </a:cubicBezTo>
                <a:cubicBezTo>
                  <a:pt x="86" y="53"/>
                  <a:pt x="89" y="50"/>
                  <a:pt x="89" y="46"/>
                </a:cubicBezTo>
                <a:cubicBezTo>
                  <a:pt x="89" y="42"/>
                  <a:pt x="86" y="39"/>
                  <a:pt x="82" y="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83" name="Freeform 243"/>
          <p:cNvSpPr>
            <a:spLocks noEditPoints="1"/>
          </p:cNvSpPr>
          <p:nvPr/>
        </p:nvSpPr>
        <p:spPr bwMode="auto">
          <a:xfrm>
            <a:off x="2192868" y="2317752"/>
            <a:ext cx="385233" cy="537633"/>
          </a:xfrm>
          <a:custGeom>
            <a:avLst/>
            <a:gdLst>
              <a:gd name="T0" fmla="*/ 264944225 w 128"/>
              <a:gd name="T1" fmla="*/ 287370302 h 178"/>
              <a:gd name="T2" fmla="*/ 91711115 w 128"/>
              <a:gd name="T3" fmla="*/ 533688675 h 178"/>
              <a:gd name="T4" fmla="*/ 86616555 w 128"/>
              <a:gd name="T5" fmla="*/ 769742933 h 178"/>
              <a:gd name="T6" fmla="*/ 315894343 w 128"/>
              <a:gd name="T7" fmla="*/ 898034177 h 178"/>
              <a:gd name="T8" fmla="*/ 575744008 w 128"/>
              <a:gd name="T9" fmla="*/ 631189839 h 178"/>
              <a:gd name="T10" fmla="*/ 499316573 w 128"/>
              <a:gd name="T11" fmla="*/ 282239378 h 178"/>
              <a:gd name="T12" fmla="*/ 392319520 w 128"/>
              <a:gd name="T13" fmla="*/ 384871467 h 178"/>
              <a:gd name="T14" fmla="*/ 652169185 w 128"/>
              <a:gd name="T15" fmla="*/ 138553094 h 178"/>
              <a:gd name="T16" fmla="*/ 397416338 w 128"/>
              <a:gd name="T17" fmla="*/ 5130925 h 178"/>
              <a:gd name="T18" fmla="*/ 315894343 w 128"/>
              <a:gd name="T19" fmla="*/ 35921005 h 178"/>
              <a:gd name="T20" fmla="*/ 224183228 w 128"/>
              <a:gd name="T21" fmla="*/ 5130925 h 178"/>
              <a:gd name="T22" fmla="*/ 575744008 w 128"/>
              <a:gd name="T23" fmla="*/ 164212249 h 178"/>
              <a:gd name="T24" fmla="*/ 387224960 w 128"/>
              <a:gd name="T25" fmla="*/ 256580223 h 178"/>
              <a:gd name="T26" fmla="*/ 575744008 w 128"/>
              <a:gd name="T27" fmla="*/ 164212249 h 178"/>
              <a:gd name="T28" fmla="*/ 275133346 w 128"/>
              <a:gd name="T29" fmla="*/ 420792471 h 178"/>
              <a:gd name="T30" fmla="*/ 438175078 w 128"/>
              <a:gd name="T31" fmla="*/ 436187511 h 178"/>
              <a:gd name="T32" fmla="*/ 412700019 w 128"/>
              <a:gd name="T33" fmla="*/ 605530685 h 178"/>
              <a:gd name="T34" fmla="*/ 377035839 w 128"/>
              <a:gd name="T35" fmla="*/ 451582551 h 178"/>
              <a:gd name="T36" fmla="*/ 163041732 w 128"/>
              <a:gd name="T37" fmla="*/ 518293635 h 178"/>
              <a:gd name="T38" fmla="*/ 366844461 w 128"/>
              <a:gd name="T39" fmla="*/ 492636746 h 178"/>
              <a:gd name="T40" fmla="*/ 371941279 w 128"/>
              <a:gd name="T41" fmla="*/ 626058915 h 178"/>
              <a:gd name="T42" fmla="*/ 341369402 w 128"/>
              <a:gd name="T43" fmla="*/ 543952790 h 178"/>
              <a:gd name="T44" fmla="*/ 163041732 w 128"/>
              <a:gd name="T45" fmla="*/ 518293635 h 178"/>
              <a:gd name="T46" fmla="*/ 219088667 w 128"/>
              <a:gd name="T47" fmla="*/ 641453954 h 178"/>
              <a:gd name="T48" fmla="*/ 315894343 w 128"/>
              <a:gd name="T49" fmla="*/ 728691004 h 178"/>
              <a:gd name="T50" fmla="*/ 377035839 w 128"/>
              <a:gd name="T51" fmla="*/ 677374959 h 178"/>
              <a:gd name="T52" fmla="*/ 443271895 w 128"/>
              <a:gd name="T53" fmla="*/ 636320764 h 178"/>
              <a:gd name="T54" fmla="*/ 468746954 w 128"/>
              <a:gd name="T55" fmla="*/ 400266506 h 178"/>
              <a:gd name="T56" fmla="*/ 494222013 w 128"/>
              <a:gd name="T57" fmla="*/ 323291307 h 178"/>
              <a:gd name="T58" fmla="*/ 540077571 w 128"/>
              <a:gd name="T59" fmla="*/ 646584879 h 178"/>
              <a:gd name="T60" fmla="*/ 300608405 w 128"/>
              <a:gd name="T61" fmla="*/ 862113172 h 178"/>
              <a:gd name="T62" fmla="*/ 198708169 w 128"/>
              <a:gd name="T63" fmla="*/ 862113172 h 178"/>
              <a:gd name="T64" fmla="*/ 117186174 w 128"/>
              <a:gd name="T65" fmla="*/ 569609680 h 178"/>
              <a:gd name="T66" fmla="*/ 300608405 w 128"/>
              <a:gd name="T67" fmla="*/ 554214640 h 178"/>
              <a:gd name="T68" fmla="*/ 310799783 w 128"/>
              <a:gd name="T69" fmla="*/ 677374959 h 178"/>
              <a:gd name="T70" fmla="*/ 254752847 w 128"/>
              <a:gd name="T71" fmla="*/ 687636809 h 178"/>
              <a:gd name="T72" fmla="*/ 81521995 w 128"/>
              <a:gd name="T73" fmla="*/ 138553094 h 178"/>
              <a:gd name="T74" fmla="*/ 234372348 w 128"/>
              <a:gd name="T75" fmla="*/ 41051929 h 178"/>
              <a:gd name="T76" fmla="*/ 315894343 w 128"/>
              <a:gd name="T77" fmla="*/ 71842009 h 178"/>
              <a:gd name="T78" fmla="*/ 407605458 w 128"/>
              <a:gd name="T79" fmla="*/ 41051929 h 178"/>
              <a:gd name="T80" fmla="*/ 575744008 w 128"/>
              <a:gd name="T81" fmla="*/ 133422169 h 178"/>
              <a:gd name="T82" fmla="*/ 387224960 w 128"/>
              <a:gd name="T83" fmla="*/ 138553094 h 178"/>
              <a:gd name="T84" fmla="*/ 264944225 w 128"/>
              <a:gd name="T85" fmla="*/ 138553094 h 178"/>
              <a:gd name="T86" fmla="*/ 326085721 w 128"/>
              <a:gd name="T87" fmla="*/ 123158054 h 178"/>
              <a:gd name="T88" fmla="*/ 351560780 w 128"/>
              <a:gd name="T89" fmla="*/ 153948134 h 178"/>
              <a:gd name="T90" fmla="*/ 295513844 w 128"/>
              <a:gd name="T91" fmla="*/ 384871467 h 178"/>
              <a:gd name="T92" fmla="*/ 326085721 w 128"/>
              <a:gd name="T93" fmla="*/ 123158054 h 178"/>
              <a:gd name="T94" fmla="*/ 259849665 w 128"/>
              <a:gd name="T95" fmla="*/ 159081324 h 178"/>
              <a:gd name="T96" fmla="*/ 71330617 w 128"/>
              <a:gd name="T97" fmla="*/ 169343173 h 17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28" h="178">
                <a:moveTo>
                  <a:pt x="0" y="27"/>
                </a:moveTo>
                <a:cubicBezTo>
                  <a:pt x="0" y="27"/>
                  <a:pt x="17" y="52"/>
                  <a:pt x="52" y="56"/>
                </a:cubicBezTo>
                <a:cubicBezTo>
                  <a:pt x="52" y="64"/>
                  <a:pt x="52" y="74"/>
                  <a:pt x="52" y="74"/>
                </a:cubicBezTo>
                <a:cubicBezTo>
                  <a:pt x="18" y="104"/>
                  <a:pt x="18" y="104"/>
                  <a:pt x="18" y="104"/>
                </a:cubicBezTo>
                <a:cubicBezTo>
                  <a:pt x="17" y="104"/>
                  <a:pt x="16" y="106"/>
                  <a:pt x="16" y="108"/>
                </a:cubicBezTo>
                <a:cubicBezTo>
                  <a:pt x="17" y="150"/>
                  <a:pt x="17" y="150"/>
                  <a:pt x="17" y="150"/>
                </a:cubicBezTo>
                <a:cubicBezTo>
                  <a:pt x="20" y="167"/>
                  <a:pt x="30" y="177"/>
                  <a:pt x="49" y="177"/>
                </a:cubicBezTo>
                <a:cubicBezTo>
                  <a:pt x="51" y="178"/>
                  <a:pt x="58" y="177"/>
                  <a:pt x="62" y="175"/>
                </a:cubicBezTo>
                <a:cubicBezTo>
                  <a:pt x="78" y="162"/>
                  <a:pt x="94" y="150"/>
                  <a:pt x="109" y="135"/>
                </a:cubicBezTo>
                <a:cubicBezTo>
                  <a:pt x="111" y="133"/>
                  <a:pt x="112" y="128"/>
                  <a:pt x="113" y="123"/>
                </a:cubicBezTo>
                <a:cubicBezTo>
                  <a:pt x="113" y="70"/>
                  <a:pt x="113" y="70"/>
                  <a:pt x="113" y="70"/>
                </a:cubicBezTo>
                <a:cubicBezTo>
                  <a:pt x="111" y="60"/>
                  <a:pt x="106" y="56"/>
                  <a:pt x="98" y="55"/>
                </a:cubicBezTo>
                <a:cubicBezTo>
                  <a:pt x="88" y="56"/>
                  <a:pt x="81" y="61"/>
                  <a:pt x="82" y="75"/>
                </a:cubicBezTo>
                <a:cubicBezTo>
                  <a:pt x="77" y="75"/>
                  <a:pt x="77" y="75"/>
                  <a:pt x="77" y="75"/>
                </a:cubicBezTo>
                <a:cubicBezTo>
                  <a:pt x="77" y="57"/>
                  <a:pt x="77" y="57"/>
                  <a:pt x="77" y="57"/>
                </a:cubicBezTo>
                <a:cubicBezTo>
                  <a:pt x="77" y="57"/>
                  <a:pt x="102" y="57"/>
                  <a:pt x="128" y="27"/>
                </a:cubicBezTo>
                <a:cubicBezTo>
                  <a:pt x="82" y="1"/>
                  <a:pt x="82" y="1"/>
                  <a:pt x="82" y="1"/>
                </a:cubicBezTo>
                <a:cubicBezTo>
                  <a:pt x="81" y="0"/>
                  <a:pt x="79" y="1"/>
                  <a:pt x="78" y="1"/>
                </a:cubicBezTo>
                <a:cubicBezTo>
                  <a:pt x="64" y="7"/>
                  <a:pt x="64" y="7"/>
                  <a:pt x="64" y="7"/>
                </a:cubicBezTo>
                <a:cubicBezTo>
                  <a:pt x="63" y="8"/>
                  <a:pt x="63" y="8"/>
                  <a:pt x="62" y="7"/>
                </a:cubicBezTo>
                <a:cubicBezTo>
                  <a:pt x="47" y="1"/>
                  <a:pt x="47" y="1"/>
                  <a:pt x="47" y="1"/>
                </a:cubicBezTo>
                <a:cubicBezTo>
                  <a:pt x="46" y="0"/>
                  <a:pt x="45" y="0"/>
                  <a:pt x="44" y="1"/>
                </a:cubicBezTo>
                <a:cubicBezTo>
                  <a:pt x="0" y="27"/>
                  <a:pt x="0" y="27"/>
                  <a:pt x="0" y="27"/>
                </a:cubicBezTo>
                <a:close/>
                <a:moveTo>
                  <a:pt x="113" y="32"/>
                </a:moveTo>
                <a:cubicBezTo>
                  <a:pt x="113" y="32"/>
                  <a:pt x="113" y="32"/>
                  <a:pt x="113" y="33"/>
                </a:cubicBezTo>
                <a:cubicBezTo>
                  <a:pt x="101" y="45"/>
                  <a:pt x="76" y="50"/>
                  <a:pt x="76" y="50"/>
                </a:cubicBezTo>
                <a:cubicBezTo>
                  <a:pt x="76" y="31"/>
                  <a:pt x="76" y="31"/>
                  <a:pt x="76" y="31"/>
                </a:cubicBezTo>
                <a:cubicBezTo>
                  <a:pt x="113" y="32"/>
                  <a:pt x="113" y="32"/>
                  <a:pt x="113" y="32"/>
                </a:cubicBezTo>
                <a:close/>
                <a:moveTo>
                  <a:pt x="47" y="88"/>
                </a:moveTo>
                <a:cubicBezTo>
                  <a:pt x="49" y="86"/>
                  <a:pt x="51" y="84"/>
                  <a:pt x="54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5" y="82"/>
                  <a:pt x="86" y="83"/>
                  <a:pt x="86" y="85"/>
                </a:cubicBezTo>
                <a:cubicBezTo>
                  <a:pt x="86" y="114"/>
                  <a:pt x="86" y="114"/>
                  <a:pt x="86" y="114"/>
                </a:cubicBezTo>
                <a:cubicBezTo>
                  <a:pt x="85" y="117"/>
                  <a:pt x="83" y="118"/>
                  <a:pt x="81" y="118"/>
                </a:cubicBezTo>
                <a:cubicBezTo>
                  <a:pt x="80" y="95"/>
                  <a:pt x="80" y="95"/>
                  <a:pt x="80" y="95"/>
                </a:cubicBezTo>
                <a:cubicBezTo>
                  <a:pt x="80" y="91"/>
                  <a:pt x="78" y="89"/>
                  <a:pt x="74" y="88"/>
                </a:cubicBezTo>
                <a:cubicBezTo>
                  <a:pt x="47" y="88"/>
                  <a:pt x="47" y="88"/>
                  <a:pt x="47" y="88"/>
                </a:cubicBezTo>
                <a:close/>
                <a:moveTo>
                  <a:pt x="32" y="101"/>
                </a:moveTo>
                <a:cubicBezTo>
                  <a:pt x="34" y="99"/>
                  <a:pt x="36" y="97"/>
                  <a:pt x="38" y="96"/>
                </a:cubicBezTo>
                <a:cubicBezTo>
                  <a:pt x="49" y="96"/>
                  <a:pt x="60" y="96"/>
                  <a:pt x="72" y="96"/>
                </a:cubicBezTo>
                <a:cubicBezTo>
                  <a:pt x="72" y="96"/>
                  <a:pt x="73" y="97"/>
                  <a:pt x="73" y="98"/>
                </a:cubicBezTo>
                <a:cubicBezTo>
                  <a:pt x="73" y="122"/>
                  <a:pt x="73" y="122"/>
                  <a:pt x="73" y="122"/>
                </a:cubicBezTo>
                <a:cubicBezTo>
                  <a:pt x="72" y="125"/>
                  <a:pt x="71" y="127"/>
                  <a:pt x="68" y="126"/>
                </a:cubicBezTo>
                <a:cubicBezTo>
                  <a:pt x="67" y="106"/>
                  <a:pt x="67" y="106"/>
                  <a:pt x="67" y="106"/>
                </a:cubicBezTo>
                <a:cubicBezTo>
                  <a:pt x="66" y="103"/>
                  <a:pt x="65" y="102"/>
                  <a:pt x="62" y="101"/>
                </a:cubicBezTo>
                <a:cubicBezTo>
                  <a:pt x="32" y="101"/>
                  <a:pt x="32" y="101"/>
                  <a:pt x="32" y="101"/>
                </a:cubicBezTo>
                <a:close/>
                <a:moveTo>
                  <a:pt x="50" y="125"/>
                </a:moveTo>
                <a:cubicBezTo>
                  <a:pt x="43" y="125"/>
                  <a:pt x="43" y="125"/>
                  <a:pt x="43" y="125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45" y="144"/>
                  <a:pt x="54" y="147"/>
                  <a:pt x="62" y="142"/>
                </a:cubicBezTo>
                <a:cubicBezTo>
                  <a:pt x="66" y="140"/>
                  <a:pt x="67" y="136"/>
                  <a:pt x="67" y="134"/>
                </a:cubicBezTo>
                <a:cubicBezTo>
                  <a:pt x="69" y="133"/>
                  <a:pt x="71" y="133"/>
                  <a:pt x="74" y="132"/>
                </a:cubicBezTo>
                <a:cubicBezTo>
                  <a:pt x="76" y="131"/>
                  <a:pt x="78" y="129"/>
                  <a:pt x="79" y="126"/>
                </a:cubicBezTo>
                <a:cubicBezTo>
                  <a:pt x="82" y="126"/>
                  <a:pt x="85" y="126"/>
                  <a:pt x="87" y="124"/>
                </a:cubicBezTo>
                <a:cubicBezTo>
                  <a:pt x="90" y="123"/>
                  <a:pt x="92" y="120"/>
                  <a:pt x="93" y="117"/>
                </a:cubicBezTo>
                <a:cubicBezTo>
                  <a:pt x="92" y="78"/>
                  <a:pt x="92" y="78"/>
                  <a:pt x="92" y="78"/>
                </a:cubicBezTo>
                <a:cubicBezTo>
                  <a:pt x="89" y="76"/>
                  <a:pt x="89" y="76"/>
                  <a:pt x="89" y="76"/>
                </a:cubicBezTo>
                <a:cubicBezTo>
                  <a:pt x="89" y="67"/>
                  <a:pt x="91" y="63"/>
                  <a:pt x="97" y="63"/>
                </a:cubicBezTo>
                <a:cubicBezTo>
                  <a:pt x="102" y="63"/>
                  <a:pt x="105" y="64"/>
                  <a:pt x="106" y="70"/>
                </a:cubicBezTo>
                <a:cubicBezTo>
                  <a:pt x="106" y="126"/>
                  <a:pt x="106" y="126"/>
                  <a:pt x="106" y="126"/>
                </a:cubicBezTo>
                <a:cubicBezTo>
                  <a:pt x="105" y="128"/>
                  <a:pt x="105" y="130"/>
                  <a:pt x="103" y="132"/>
                </a:cubicBezTo>
                <a:cubicBezTo>
                  <a:pt x="59" y="168"/>
                  <a:pt x="59" y="168"/>
                  <a:pt x="59" y="168"/>
                </a:cubicBezTo>
                <a:cubicBezTo>
                  <a:pt x="49" y="170"/>
                  <a:pt x="49" y="170"/>
                  <a:pt x="49" y="170"/>
                </a:cubicBezTo>
                <a:cubicBezTo>
                  <a:pt x="39" y="168"/>
                  <a:pt x="39" y="168"/>
                  <a:pt x="39" y="168"/>
                </a:cubicBezTo>
                <a:cubicBezTo>
                  <a:pt x="30" y="164"/>
                  <a:pt x="24" y="157"/>
                  <a:pt x="24" y="147"/>
                </a:cubicBezTo>
                <a:cubicBezTo>
                  <a:pt x="23" y="111"/>
                  <a:pt x="23" y="111"/>
                  <a:pt x="23" y="111"/>
                </a:cubicBezTo>
                <a:cubicBezTo>
                  <a:pt x="26" y="108"/>
                  <a:pt x="26" y="108"/>
                  <a:pt x="26" y="108"/>
                </a:cubicBezTo>
                <a:cubicBezTo>
                  <a:pt x="59" y="108"/>
                  <a:pt x="59" y="108"/>
                  <a:pt x="59" y="108"/>
                </a:cubicBezTo>
                <a:cubicBezTo>
                  <a:pt x="60" y="111"/>
                  <a:pt x="60" y="111"/>
                  <a:pt x="60" y="111"/>
                </a:cubicBezTo>
                <a:cubicBezTo>
                  <a:pt x="61" y="132"/>
                  <a:pt x="61" y="132"/>
                  <a:pt x="61" y="132"/>
                </a:cubicBezTo>
                <a:cubicBezTo>
                  <a:pt x="60" y="135"/>
                  <a:pt x="59" y="137"/>
                  <a:pt x="56" y="138"/>
                </a:cubicBezTo>
                <a:cubicBezTo>
                  <a:pt x="53" y="138"/>
                  <a:pt x="51" y="136"/>
                  <a:pt x="50" y="134"/>
                </a:cubicBezTo>
                <a:cubicBezTo>
                  <a:pt x="50" y="125"/>
                  <a:pt x="50" y="125"/>
                  <a:pt x="50" y="125"/>
                </a:cubicBezTo>
                <a:close/>
                <a:moveTo>
                  <a:pt x="16" y="27"/>
                </a:moveTo>
                <a:cubicBezTo>
                  <a:pt x="16" y="27"/>
                  <a:pt x="15" y="26"/>
                  <a:pt x="16" y="26"/>
                </a:cubicBezTo>
                <a:cubicBezTo>
                  <a:pt x="46" y="8"/>
                  <a:pt x="46" y="8"/>
                  <a:pt x="46" y="8"/>
                </a:cubicBezTo>
                <a:cubicBezTo>
                  <a:pt x="46" y="8"/>
                  <a:pt x="47" y="8"/>
                  <a:pt x="48" y="8"/>
                </a:cubicBezTo>
                <a:cubicBezTo>
                  <a:pt x="62" y="14"/>
                  <a:pt x="62" y="14"/>
                  <a:pt x="62" y="14"/>
                </a:cubicBezTo>
                <a:cubicBezTo>
                  <a:pt x="63" y="14"/>
                  <a:pt x="64" y="14"/>
                  <a:pt x="65" y="14"/>
                </a:cubicBezTo>
                <a:cubicBezTo>
                  <a:pt x="80" y="8"/>
                  <a:pt x="80" y="8"/>
                  <a:pt x="80" y="8"/>
                </a:cubicBezTo>
                <a:cubicBezTo>
                  <a:pt x="80" y="7"/>
                  <a:pt x="81" y="7"/>
                  <a:pt x="81" y="8"/>
                </a:cubicBezTo>
                <a:cubicBezTo>
                  <a:pt x="113" y="26"/>
                  <a:pt x="113" y="26"/>
                  <a:pt x="113" y="26"/>
                </a:cubicBezTo>
                <a:cubicBezTo>
                  <a:pt x="113" y="26"/>
                  <a:pt x="113" y="26"/>
                  <a:pt x="113" y="27"/>
                </a:cubicBezTo>
                <a:cubicBezTo>
                  <a:pt x="76" y="27"/>
                  <a:pt x="76" y="27"/>
                  <a:pt x="76" y="27"/>
                </a:cubicBezTo>
                <a:cubicBezTo>
                  <a:pt x="74" y="21"/>
                  <a:pt x="70" y="18"/>
                  <a:pt x="63" y="18"/>
                </a:cubicBezTo>
                <a:cubicBezTo>
                  <a:pt x="57" y="19"/>
                  <a:pt x="53" y="21"/>
                  <a:pt x="52" y="27"/>
                </a:cubicBezTo>
                <a:cubicBezTo>
                  <a:pt x="16" y="27"/>
                  <a:pt x="16" y="27"/>
                  <a:pt x="16" y="27"/>
                </a:cubicBezTo>
                <a:close/>
                <a:moveTo>
                  <a:pt x="64" y="24"/>
                </a:moveTo>
                <a:cubicBezTo>
                  <a:pt x="64" y="24"/>
                  <a:pt x="64" y="24"/>
                  <a:pt x="64" y="24"/>
                </a:cubicBezTo>
                <a:cubicBezTo>
                  <a:pt x="67" y="24"/>
                  <a:pt x="69" y="27"/>
                  <a:pt x="69" y="30"/>
                </a:cubicBezTo>
                <a:cubicBezTo>
                  <a:pt x="69" y="75"/>
                  <a:pt x="69" y="75"/>
                  <a:pt x="69" y="75"/>
                </a:cubicBezTo>
                <a:cubicBezTo>
                  <a:pt x="58" y="75"/>
                  <a:pt x="58" y="75"/>
                  <a:pt x="58" y="75"/>
                </a:cubicBezTo>
                <a:cubicBezTo>
                  <a:pt x="58" y="30"/>
                  <a:pt x="58" y="30"/>
                  <a:pt x="58" y="30"/>
                </a:cubicBezTo>
                <a:cubicBezTo>
                  <a:pt x="58" y="27"/>
                  <a:pt x="61" y="24"/>
                  <a:pt x="64" y="24"/>
                </a:cubicBezTo>
                <a:close/>
                <a:moveTo>
                  <a:pt x="15" y="32"/>
                </a:moveTo>
                <a:cubicBezTo>
                  <a:pt x="51" y="31"/>
                  <a:pt x="51" y="31"/>
                  <a:pt x="51" y="31"/>
                </a:cubicBezTo>
                <a:cubicBezTo>
                  <a:pt x="51" y="50"/>
                  <a:pt x="51" y="50"/>
                  <a:pt x="51" y="50"/>
                </a:cubicBezTo>
                <a:cubicBezTo>
                  <a:pt x="51" y="50"/>
                  <a:pt x="26" y="45"/>
                  <a:pt x="14" y="33"/>
                </a:cubicBezTo>
                <a:cubicBezTo>
                  <a:pt x="14" y="32"/>
                  <a:pt x="14" y="32"/>
                  <a:pt x="15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84" name="Freeform 244"/>
          <p:cNvSpPr>
            <a:spLocks noEditPoints="1"/>
          </p:cNvSpPr>
          <p:nvPr/>
        </p:nvSpPr>
        <p:spPr bwMode="auto">
          <a:xfrm>
            <a:off x="2988734" y="2283885"/>
            <a:ext cx="522817" cy="603249"/>
          </a:xfrm>
          <a:custGeom>
            <a:avLst/>
            <a:gdLst>
              <a:gd name="T0" fmla="*/ 624638263 w 174"/>
              <a:gd name="T1" fmla="*/ 460574079 h 200"/>
              <a:gd name="T2" fmla="*/ 782067125 w 174"/>
              <a:gd name="T3" fmla="*/ 644804164 h 200"/>
              <a:gd name="T4" fmla="*/ 766831056 w 174"/>
              <a:gd name="T5" fmla="*/ 859738885 h 200"/>
              <a:gd name="T6" fmla="*/ 589088937 w 174"/>
              <a:gd name="T7" fmla="*/ 936501608 h 200"/>
              <a:gd name="T8" fmla="*/ 563696240 w 174"/>
              <a:gd name="T9" fmla="*/ 946735733 h 200"/>
              <a:gd name="T10" fmla="*/ 497679284 w 174"/>
              <a:gd name="T11" fmla="*/ 859738885 h 200"/>
              <a:gd name="T12" fmla="*/ 319937166 w 174"/>
              <a:gd name="T13" fmla="*/ 875090072 h 200"/>
              <a:gd name="T14" fmla="*/ 177742119 w 174"/>
              <a:gd name="T15" fmla="*/ 916031096 h 200"/>
              <a:gd name="T16" fmla="*/ 182821559 w 174"/>
              <a:gd name="T17" fmla="*/ 905796971 h 200"/>
              <a:gd name="T18" fmla="*/ 223448072 w 174"/>
              <a:gd name="T19" fmla="*/ 793210286 h 200"/>
              <a:gd name="T20" fmla="*/ 233604700 w 174"/>
              <a:gd name="T21" fmla="*/ 670391738 h 200"/>
              <a:gd name="T22" fmla="*/ 258995144 w 174"/>
              <a:gd name="T23" fmla="*/ 532219741 h 200"/>
              <a:gd name="T24" fmla="*/ 360563678 w 174"/>
              <a:gd name="T25" fmla="*/ 445222892 h 200"/>
              <a:gd name="T26" fmla="*/ 472286587 w 174"/>
              <a:gd name="T27" fmla="*/ 429869442 h 200"/>
              <a:gd name="T28" fmla="*/ 548462425 w 174"/>
              <a:gd name="T29" fmla="*/ 342872594 h 200"/>
              <a:gd name="T30" fmla="*/ 0 w 174"/>
              <a:gd name="T31" fmla="*/ 271226933 h 200"/>
              <a:gd name="T32" fmla="*/ 55862581 w 174"/>
              <a:gd name="T33" fmla="*/ 434986505 h 200"/>
              <a:gd name="T34" fmla="*/ 55862581 w 174"/>
              <a:gd name="T35" fmla="*/ 450339955 h 200"/>
              <a:gd name="T36" fmla="*/ 182821559 w 174"/>
              <a:gd name="T37" fmla="*/ 291697445 h 200"/>
              <a:gd name="T38" fmla="*/ 152351675 w 174"/>
              <a:gd name="T39" fmla="*/ 66526336 h 200"/>
              <a:gd name="T40" fmla="*/ 121879537 w 174"/>
              <a:gd name="T41" fmla="*/ 10234125 h 200"/>
              <a:gd name="T42" fmla="*/ 96489094 w 174"/>
              <a:gd name="T43" fmla="*/ 127937873 h 200"/>
              <a:gd name="T44" fmla="*/ 162508303 w 174"/>
              <a:gd name="T45" fmla="*/ 266109870 h 200"/>
              <a:gd name="T46" fmla="*/ 91409653 w 174"/>
              <a:gd name="T47" fmla="*/ 332636207 h 200"/>
              <a:gd name="T48" fmla="*/ 86332466 w 174"/>
              <a:gd name="T49" fmla="*/ 209817659 h 200"/>
              <a:gd name="T50" fmla="*/ 86332466 w 174"/>
              <a:gd name="T51" fmla="*/ 230288171 h 200"/>
              <a:gd name="T52" fmla="*/ 573852868 w 174"/>
              <a:gd name="T53" fmla="*/ 194464209 h 200"/>
              <a:gd name="T54" fmla="*/ 599245565 w 174"/>
              <a:gd name="T55" fmla="*/ 378694293 h 200"/>
              <a:gd name="T56" fmla="*/ 599245565 w 174"/>
              <a:gd name="T57" fmla="*/ 378694293 h 200"/>
              <a:gd name="T58" fmla="*/ 517992541 w 174"/>
              <a:gd name="T59" fmla="*/ 849504760 h 200"/>
              <a:gd name="T60" fmla="*/ 741440613 w 174"/>
              <a:gd name="T61" fmla="*/ 701096375 h 200"/>
              <a:gd name="T62" fmla="*/ 650028706 w 174"/>
              <a:gd name="T63" fmla="*/ 501515104 h 200"/>
              <a:gd name="T64" fmla="*/ 573852868 w 174"/>
              <a:gd name="T65" fmla="*/ 547570928 h 200"/>
              <a:gd name="T66" fmla="*/ 558619053 w 174"/>
              <a:gd name="T67" fmla="*/ 562924378 h 200"/>
              <a:gd name="T68" fmla="*/ 238681887 w 174"/>
              <a:gd name="T69" fmla="*/ 614099527 h 200"/>
              <a:gd name="T70" fmla="*/ 335170981 w 174"/>
              <a:gd name="T71" fmla="*/ 701096375 h 200"/>
              <a:gd name="T72" fmla="*/ 274231212 w 174"/>
              <a:gd name="T73" fmla="*/ 619216589 h 200"/>
              <a:gd name="T74" fmla="*/ 385954122 w 174"/>
              <a:gd name="T75" fmla="*/ 460574079 h 200"/>
              <a:gd name="T76" fmla="*/ 497679284 w 174"/>
              <a:gd name="T77" fmla="*/ 511749229 h 200"/>
              <a:gd name="T78" fmla="*/ 380876934 w 174"/>
              <a:gd name="T79" fmla="*/ 414515993 h 200"/>
              <a:gd name="T80" fmla="*/ 457052772 w 174"/>
              <a:gd name="T81" fmla="*/ 542453866 h 200"/>
              <a:gd name="T82" fmla="*/ 314857725 w 174"/>
              <a:gd name="T83" fmla="*/ 511749229 h 200"/>
              <a:gd name="T84" fmla="*/ 462129959 w 174"/>
              <a:gd name="T85" fmla="*/ 583394890 h 200"/>
              <a:gd name="T86" fmla="*/ 345327609 w 174"/>
              <a:gd name="T87" fmla="*/ 649921226 h 200"/>
              <a:gd name="T88" fmla="*/ 385954122 w 174"/>
              <a:gd name="T89" fmla="*/ 593629015 h 20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74" h="200">
                <a:moveTo>
                  <a:pt x="108" y="67"/>
                </a:moveTo>
                <a:cubicBezTo>
                  <a:pt x="109" y="67"/>
                  <a:pt x="113" y="78"/>
                  <a:pt x="129" y="82"/>
                </a:cubicBezTo>
                <a:cubicBezTo>
                  <a:pt x="127" y="85"/>
                  <a:pt x="124" y="88"/>
                  <a:pt x="123" y="90"/>
                </a:cubicBezTo>
                <a:cubicBezTo>
                  <a:pt x="129" y="94"/>
                  <a:pt x="134" y="99"/>
                  <a:pt x="136" y="112"/>
                </a:cubicBezTo>
                <a:cubicBezTo>
                  <a:pt x="138" y="122"/>
                  <a:pt x="141" y="130"/>
                  <a:pt x="148" y="134"/>
                </a:cubicBezTo>
                <a:cubicBezTo>
                  <a:pt x="154" y="126"/>
                  <a:pt x="154" y="126"/>
                  <a:pt x="154" y="126"/>
                </a:cubicBezTo>
                <a:cubicBezTo>
                  <a:pt x="174" y="142"/>
                  <a:pt x="174" y="142"/>
                  <a:pt x="174" y="142"/>
                </a:cubicBezTo>
                <a:cubicBezTo>
                  <a:pt x="154" y="170"/>
                  <a:pt x="154" y="170"/>
                  <a:pt x="154" y="170"/>
                </a:cubicBezTo>
                <a:cubicBezTo>
                  <a:pt x="151" y="168"/>
                  <a:pt x="151" y="168"/>
                  <a:pt x="151" y="168"/>
                </a:cubicBezTo>
                <a:cubicBezTo>
                  <a:pt x="169" y="142"/>
                  <a:pt x="169" y="142"/>
                  <a:pt x="169" y="142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16" y="183"/>
                  <a:pt x="116" y="183"/>
                  <a:pt x="116" y="183"/>
                </a:cubicBezTo>
                <a:cubicBezTo>
                  <a:pt x="133" y="197"/>
                  <a:pt x="133" y="197"/>
                  <a:pt x="133" y="197"/>
                </a:cubicBezTo>
                <a:cubicBezTo>
                  <a:pt x="131" y="200"/>
                  <a:pt x="131" y="200"/>
                  <a:pt x="131" y="200"/>
                </a:cubicBezTo>
                <a:cubicBezTo>
                  <a:pt x="111" y="185"/>
                  <a:pt x="111" y="185"/>
                  <a:pt x="111" y="185"/>
                </a:cubicBezTo>
                <a:cubicBezTo>
                  <a:pt x="118" y="175"/>
                  <a:pt x="118" y="175"/>
                  <a:pt x="118" y="175"/>
                </a:cubicBezTo>
                <a:cubicBezTo>
                  <a:pt x="107" y="167"/>
                  <a:pt x="107" y="167"/>
                  <a:pt x="107" y="167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5" y="168"/>
                  <a:pt x="95" y="168"/>
                  <a:pt x="95" y="168"/>
                </a:cubicBezTo>
                <a:cubicBezTo>
                  <a:pt x="76" y="154"/>
                  <a:pt x="76" y="154"/>
                  <a:pt x="76" y="154"/>
                </a:cubicBezTo>
                <a:cubicBezTo>
                  <a:pt x="63" y="171"/>
                  <a:pt x="63" y="171"/>
                  <a:pt x="63" y="171"/>
                </a:cubicBezTo>
                <a:cubicBezTo>
                  <a:pt x="61" y="173"/>
                  <a:pt x="59" y="173"/>
                  <a:pt x="56" y="173"/>
                </a:cubicBezTo>
                <a:cubicBezTo>
                  <a:pt x="49" y="172"/>
                  <a:pt x="49" y="172"/>
                  <a:pt x="49" y="172"/>
                </a:cubicBezTo>
                <a:cubicBezTo>
                  <a:pt x="44" y="177"/>
                  <a:pt x="39" y="179"/>
                  <a:pt x="35" y="179"/>
                </a:cubicBezTo>
                <a:cubicBezTo>
                  <a:pt x="32" y="179"/>
                  <a:pt x="29" y="179"/>
                  <a:pt x="26" y="178"/>
                </a:cubicBezTo>
                <a:cubicBezTo>
                  <a:pt x="26" y="175"/>
                  <a:pt x="26" y="175"/>
                  <a:pt x="26" y="175"/>
                </a:cubicBezTo>
                <a:cubicBezTo>
                  <a:pt x="29" y="176"/>
                  <a:pt x="32" y="177"/>
                  <a:pt x="36" y="177"/>
                </a:cubicBezTo>
                <a:cubicBezTo>
                  <a:pt x="39" y="176"/>
                  <a:pt x="42" y="175"/>
                  <a:pt x="45" y="172"/>
                </a:cubicBezTo>
                <a:cubicBezTo>
                  <a:pt x="45" y="171"/>
                  <a:pt x="46" y="170"/>
                  <a:pt x="45" y="168"/>
                </a:cubicBezTo>
                <a:cubicBezTo>
                  <a:pt x="42" y="162"/>
                  <a:pt x="41" y="158"/>
                  <a:pt x="44" y="155"/>
                </a:cubicBezTo>
                <a:cubicBezTo>
                  <a:pt x="55" y="140"/>
                  <a:pt x="55" y="140"/>
                  <a:pt x="55" y="140"/>
                </a:cubicBezTo>
                <a:cubicBezTo>
                  <a:pt x="55" y="140"/>
                  <a:pt x="55" y="139"/>
                  <a:pt x="55" y="138"/>
                </a:cubicBezTo>
                <a:cubicBezTo>
                  <a:pt x="46" y="131"/>
                  <a:pt x="46" y="131"/>
                  <a:pt x="46" y="131"/>
                </a:cubicBezTo>
                <a:cubicBezTo>
                  <a:pt x="43" y="127"/>
                  <a:pt x="42" y="124"/>
                  <a:pt x="44" y="120"/>
                </a:cubicBezTo>
                <a:cubicBezTo>
                  <a:pt x="46" y="117"/>
                  <a:pt x="48" y="116"/>
                  <a:pt x="51" y="116"/>
                </a:cubicBezTo>
                <a:cubicBezTo>
                  <a:pt x="48" y="111"/>
                  <a:pt x="49" y="108"/>
                  <a:pt x="51" y="104"/>
                </a:cubicBezTo>
                <a:cubicBezTo>
                  <a:pt x="53" y="102"/>
                  <a:pt x="55" y="101"/>
                  <a:pt x="59" y="101"/>
                </a:cubicBezTo>
                <a:cubicBezTo>
                  <a:pt x="57" y="97"/>
                  <a:pt x="57" y="93"/>
                  <a:pt x="60" y="89"/>
                </a:cubicBezTo>
                <a:cubicBezTo>
                  <a:pt x="63" y="87"/>
                  <a:pt x="66" y="86"/>
                  <a:pt x="71" y="87"/>
                </a:cubicBezTo>
                <a:cubicBezTo>
                  <a:pt x="70" y="83"/>
                  <a:pt x="72" y="79"/>
                  <a:pt x="75" y="77"/>
                </a:cubicBezTo>
                <a:cubicBezTo>
                  <a:pt x="77" y="76"/>
                  <a:pt x="79" y="75"/>
                  <a:pt x="82" y="76"/>
                </a:cubicBezTo>
                <a:cubicBezTo>
                  <a:pt x="93" y="84"/>
                  <a:pt x="93" y="84"/>
                  <a:pt x="93" y="84"/>
                </a:cubicBezTo>
                <a:cubicBezTo>
                  <a:pt x="95" y="78"/>
                  <a:pt x="97" y="75"/>
                  <a:pt x="100" y="75"/>
                </a:cubicBezTo>
                <a:cubicBezTo>
                  <a:pt x="103" y="75"/>
                  <a:pt x="103" y="75"/>
                  <a:pt x="103" y="75"/>
                </a:cubicBezTo>
                <a:cubicBezTo>
                  <a:pt x="103" y="75"/>
                  <a:pt x="108" y="67"/>
                  <a:pt x="108" y="67"/>
                </a:cubicBezTo>
                <a:close/>
                <a:moveTo>
                  <a:pt x="16" y="14"/>
                </a:moveTo>
                <a:cubicBezTo>
                  <a:pt x="16" y="29"/>
                  <a:pt x="16" y="29"/>
                  <a:pt x="16" y="29"/>
                </a:cubicBezTo>
                <a:cubicBezTo>
                  <a:pt x="6" y="35"/>
                  <a:pt x="0" y="42"/>
                  <a:pt x="0" y="53"/>
                </a:cubicBezTo>
                <a:cubicBezTo>
                  <a:pt x="2" y="64"/>
                  <a:pt x="9" y="68"/>
                  <a:pt x="18" y="68"/>
                </a:cubicBezTo>
                <a:cubicBezTo>
                  <a:pt x="18" y="76"/>
                  <a:pt x="18" y="83"/>
                  <a:pt x="12" y="86"/>
                </a:cubicBezTo>
                <a:cubicBezTo>
                  <a:pt x="11" y="85"/>
                  <a:pt x="11" y="85"/>
                  <a:pt x="11" y="85"/>
                </a:cubicBezTo>
                <a:cubicBezTo>
                  <a:pt x="8" y="78"/>
                  <a:pt x="8" y="78"/>
                  <a:pt x="8" y="78"/>
                </a:cubicBezTo>
                <a:cubicBezTo>
                  <a:pt x="3" y="85"/>
                  <a:pt x="3" y="85"/>
                  <a:pt x="3" y="85"/>
                </a:cubicBezTo>
                <a:cubicBezTo>
                  <a:pt x="11" y="88"/>
                  <a:pt x="11" y="88"/>
                  <a:pt x="11" y="88"/>
                </a:cubicBezTo>
                <a:cubicBezTo>
                  <a:pt x="19" y="81"/>
                  <a:pt x="19" y="81"/>
                  <a:pt x="19" y="81"/>
                </a:cubicBezTo>
                <a:cubicBezTo>
                  <a:pt x="21" y="78"/>
                  <a:pt x="22" y="73"/>
                  <a:pt x="22" y="68"/>
                </a:cubicBezTo>
                <a:cubicBezTo>
                  <a:pt x="29" y="67"/>
                  <a:pt x="34" y="63"/>
                  <a:pt x="36" y="57"/>
                </a:cubicBezTo>
                <a:cubicBezTo>
                  <a:pt x="38" y="44"/>
                  <a:pt x="31" y="38"/>
                  <a:pt x="20" y="39"/>
                </a:cubicBezTo>
                <a:cubicBezTo>
                  <a:pt x="20" y="30"/>
                  <a:pt x="20" y="30"/>
                  <a:pt x="20" y="30"/>
                </a:cubicBezTo>
                <a:cubicBezTo>
                  <a:pt x="26" y="26"/>
                  <a:pt x="30" y="21"/>
                  <a:pt x="30" y="13"/>
                </a:cubicBezTo>
                <a:cubicBezTo>
                  <a:pt x="30" y="6"/>
                  <a:pt x="27" y="1"/>
                  <a:pt x="24" y="0"/>
                </a:cubicBezTo>
                <a:cubicBezTo>
                  <a:pt x="19" y="0"/>
                  <a:pt x="16" y="7"/>
                  <a:pt x="16" y="14"/>
                </a:cubicBezTo>
                <a:close/>
                <a:moveTo>
                  <a:pt x="24" y="2"/>
                </a:moveTo>
                <a:cubicBezTo>
                  <a:pt x="26" y="4"/>
                  <a:pt x="27" y="7"/>
                  <a:pt x="27" y="11"/>
                </a:cubicBezTo>
                <a:cubicBezTo>
                  <a:pt x="26" y="16"/>
                  <a:pt x="24" y="21"/>
                  <a:pt x="20" y="25"/>
                </a:cubicBezTo>
                <a:cubicBezTo>
                  <a:pt x="20" y="25"/>
                  <a:pt x="19" y="25"/>
                  <a:pt x="19" y="25"/>
                </a:cubicBezTo>
                <a:cubicBezTo>
                  <a:pt x="18" y="12"/>
                  <a:pt x="19" y="3"/>
                  <a:pt x="24" y="2"/>
                </a:cubicBezTo>
                <a:close/>
                <a:moveTo>
                  <a:pt x="20" y="42"/>
                </a:moveTo>
                <a:cubicBezTo>
                  <a:pt x="27" y="42"/>
                  <a:pt x="31" y="44"/>
                  <a:pt x="32" y="52"/>
                </a:cubicBezTo>
                <a:cubicBezTo>
                  <a:pt x="31" y="58"/>
                  <a:pt x="28" y="62"/>
                  <a:pt x="22" y="65"/>
                </a:cubicBezTo>
                <a:cubicBezTo>
                  <a:pt x="20" y="42"/>
                  <a:pt x="20" y="42"/>
                  <a:pt x="20" y="42"/>
                </a:cubicBezTo>
                <a:close/>
                <a:moveTo>
                  <a:pt x="18" y="65"/>
                </a:moveTo>
                <a:cubicBezTo>
                  <a:pt x="13" y="65"/>
                  <a:pt x="8" y="62"/>
                  <a:pt x="6" y="53"/>
                </a:cubicBezTo>
                <a:cubicBezTo>
                  <a:pt x="5" y="44"/>
                  <a:pt x="8" y="38"/>
                  <a:pt x="16" y="33"/>
                </a:cubicBezTo>
                <a:cubicBezTo>
                  <a:pt x="17" y="41"/>
                  <a:pt x="17" y="41"/>
                  <a:pt x="17" y="41"/>
                </a:cubicBezTo>
                <a:cubicBezTo>
                  <a:pt x="14" y="43"/>
                  <a:pt x="13" y="45"/>
                  <a:pt x="13" y="47"/>
                </a:cubicBezTo>
                <a:cubicBezTo>
                  <a:pt x="12" y="50"/>
                  <a:pt x="14" y="52"/>
                  <a:pt x="15" y="54"/>
                </a:cubicBezTo>
                <a:cubicBezTo>
                  <a:pt x="14" y="50"/>
                  <a:pt x="14" y="46"/>
                  <a:pt x="17" y="45"/>
                </a:cubicBezTo>
                <a:cubicBezTo>
                  <a:pt x="18" y="65"/>
                  <a:pt x="18" y="65"/>
                  <a:pt x="18" y="65"/>
                </a:cubicBezTo>
                <a:close/>
                <a:moveTo>
                  <a:pt x="150" y="32"/>
                </a:moveTo>
                <a:cubicBezTo>
                  <a:pt x="136" y="21"/>
                  <a:pt x="122" y="28"/>
                  <a:pt x="113" y="38"/>
                </a:cubicBezTo>
                <a:cubicBezTo>
                  <a:pt x="153" y="69"/>
                  <a:pt x="153" y="69"/>
                  <a:pt x="153" y="69"/>
                </a:cubicBezTo>
                <a:cubicBezTo>
                  <a:pt x="162" y="58"/>
                  <a:pt x="163" y="43"/>
                  <a:pt x="150" y="32"/>
                </a:cubicBezTo>
                <a:close/>
                <a:moveTo>
                  <a:pt x="118" y="74"/>
                </a:moveTo>
                <a:cubicBezTo>
                  <a:pt x="132" y="85"/>
                  <a:pt x="149" y="78"/>
                  <a:pt x="151" y="73"/>
                </a:cubicBezTo>
                <a:cubicBezTo>
                  <a:pt x="111" y="42"/>
                  <a:pt x="111" y="42"/>
                  <a:pt x="111" y="42"/>
                </a:cubicBezTo>
                <a:cubicBezTo>
                  <a:pt x="106" y="43"/>
                  <a:pt x="104" y="63"/>
                  <a:pt x="118" y="74"/>
                </a:cubicBezTo>
                <a:close/>
                <a:moveTo>
                  <a:pt x="77" y="152"/>
                </a:moveTo>
                <a:cubicBezTo>
                  <a:pt x="96" y="165"/>
                  <a:pt x="96" y="165"/>
                  <a:pt x="96" y="165"/>
                </a:cubicBezTo>
                <a:cubicBezTo>
                  <a:pt x="102" y="166"/>
                  <a:pt x="102" y="166"/>
                  <a:pt x="102" y="166"/>
                </a:cubicBezTo>
                <a:cubicBezTo>
                  <a:pt x="108" y="165"/>
                  <a:pt x="108" y="165"/>
                  <a:pt x="108" y="165"/>
                </a:cubicBezTo>
                <a:cubicBezTo>
                  <a:pt x="120" y="172"/>
                  <a:pt x="120" y="172"/>
                  <a:pt x="120" y="172"/>
                </a:cubicBezTo>
                <a:cubicBezTo>
                  <a:pt x="146" y="137"/>
                  <a:pt x="146" y="137"/>
                  <a:pt x="146" y="137"/>
                </a:cubicBezTo>
                <a:cubicBezTo>
                  <a:pt x="147" y="136"/>
                  <a:pt x="147" y="136"/>
                  <a:pt x="146" y="135"/>
                </a:cubicBezTo>
                <a:cubicBezTo>
                  <a:pt x="140" y="131"/>
                  <a:pt x="136" y="125"/>
                  <a:pt x="134" y="116"/>
                </a:cubicBezTo>
                <a:cubicBezTo>
                  <a:pt x="134" y="110"/>
                  <a:pt x="132" y="104"/>
                  <a:pt x="128" y="98"/>
                </a:cubicBezTo>
                <a:cubicBezTo>
                  <a:pt x="101" y="77"/>
                  <a:pt x="101" y="77"/>
                  <a:pt x="101" y="77"/>
                </a:cubicBezTo>
                <a:cubicBezTo>
                  <a:pt x="97" y="78"/>
                  <a:pt x="96" y="83"/>
                  <a:pt x="98" y="89"/>
                </a:cubicBezTo>
                <a:cubicBezTo>
                  <a:pt x="102" y="96"/>
                  <a:pt x="107" y="102"/>
                  <a:pt x="113" y="107"/>
                </a:cubicBezTo>
                <a:cubicBezTo>
                  <a:pt x="109" y="118"/>
                  <a:pt x="109" y="127"/>
                  <a:pt x="115" y="137"/>
                </a:cubicBezTo>
                <a:cubicBezTo>
                  <a:pt x="115" y="138"/>
                  <a:pt x="114" y="138"/>
                  <a:pt x="113" y="137"/>
                </a:cubicBezTo>
                <a:cubicBezTo>
                  <a:pt x="108" y="129"/>
                  <a:pt x="106" y="121"/>
                  <a:pt x="110" y="110"/>
                </a:cubicBezTo>
                <a:cubicBezTo>
                  <a:pt x="110" y="110"/>
                  <a:pt x="109" y="109"/>
                  <a:pt x="109" y="110"/>
                </a:cubicBezTo>
                <a:cubicBezTo>
                  <a:pt x="104" y="116"/>
                  <a:pt x="78" y="152"/>
                  <a:pt x="77" y="152"/>
                </a:cubicBezTo>
                <a:close/>
                <a:moveTo>
                  <a:pt x="47" y="120"/>
                </a:moveTo>
                <a:cubicBezTo>
                  <a:pt x="45" y="122"/>
                  <a:pt x="45" y="127"/>
                  <a:pt x="48" y="129"/>
                </a:cubicBezTo>
                <a:cubicBezTo>
                  <a:pt x="58" y="137"/>
                  <a:pt x="58" y="137"/>
                  <a:pt x="58" y="137"/>
                </a:cubicBezTo>
                <a:cubicBezTo>
                  <a:pt x="59" y="138"/>
                  <a:pt x="63" y="140"/>
                  <a:pt x="66" y="137"/>
                </a:cubicBezTo>
                <a:cubicBezTo>
                  <a:pt x="66" y="137"/>
                  <a:pt x="66" y="137"/>
                  <a:pt x="66" y="137"/>
                </a:cubicBezTo>
                <a:cubicBezTo>
                  <a:pt x="68" y="135"/>
                  <a:pt x="68" y="132"/>
                  <a:pt x="65" y="129"/>
                </a:cubicBezTo>
                <a:cubicBezTo>
                  <a:pt x="54" y="121"/>
                  <a:pt x="54" y="121"/>
                  <a:pt x="54" y="121"/>
                </a:cubicBezTo>
                <a:cubicBezTo>
                  <a:pt x="51" y="118"/>
                  <a:pt x="50" y="118"/>
                  <a:pt x="47" y="120"/>
                </a:cubicBezTo>
                <a:close/>
                <a:moveTo>
                  <a:pt x="75" y="81"/>
                </a:moveTo>
                <a:cubicBezTo>
                  <a:pt x="73" y="84"/>
                  <a:pt x="73" y="88"/>
                  <a:pt x="76" y="90"/>
                </a:cubicBezTo>
                <a:cubicBezTo>
                  <a:pt x="88" y="101"/>
                  <a:pt x="88" y="101"/>
                  <a:pt x="88" y="101"/>
                </a:cubicBezTo>
                <a:cubicBezTo>
                  <a:pt x="91" y="103"/>
                  <a:pt x="96" y="103"/>
                  <a:pt x="98" y="100"/>
                </a:cubicBezTo>
                <a:cubicBezTo>
                  <a:pt x="98" y="100"/>
                  <a:pt x="98" y="100"/>
                  <a:pt x="98" y="100"/>
                </a:cubicBezTo>
                <a:cubicBezTo>
                  <a:pt x="100" y="97"/>
                  <a:pt x="100" y="93"/>
                  <a:pt x="97" y="90"/>
                </a:cubicBezTo>
                <a:cubicBezTo>
                  <a:pt x="85" y="80"/>
                  <a:pt x="85" y="80"/>
                  <a:pt x="85" y="80"/>
                </a:cubicBezTo>
                <a:cubicBezTo>
                  <a:pt x="82" y="78"/>
                  <a:pt x="78" y="78"/>
                  <a:pt x="75" y="81"/>
                </a:cubicBezTo>
                <a:cubicBezTo>
                  <a:pt x="75" y="81"/>
                  <a:pt x="75" y="81"/>
                  <a:pt x="75" y="81"/>
                </a:cubicBezTo>
                <a:close/>
                <a:moveTo>
                  <a:pt x="91" y="114"/>
                </a:moveTo>
                <a:cubicBezTo>
                  <a:pt x="92" y="112"/>
                  <a:pt x="92" y="107"/>
                  <a:pt x="90" y="106"/>
                </a:cubicBezTo>
                <a:cubicBezTo>
                  <a:pt x="70" y="90"/>
                  <a:pt x="70" y="90"/>
                  <a:pt x="70" y="90"/>
                </a:cubicBezTo>
                <a:cubicBezTo>
                  <a:pt x="69" y="89"/>
                  <a:pt x="64" y="89"/>
                  <a:pt x="63" y="90"/>
                </a:cubicBezTo>
                <a:cubicBezTo>
                  <a:pt x="61" y="93"/>
                  <a:pt x="59" y="95"/>
                  <a:pt x="62" y="100"/>
                </a:cubicBezTo>
                <a:cubicBezTo>
                  <a:pt x="81" y="116"/>
                  <a:pt x="81" y="116"/>
                  <a:pt x="81" y="116"/>
                </a:cubicBezTo>
                <a:cubicBezTo>
                  <a:pt x="83" y="117"/>
                  <a:pt x="87" y="117"/>
                  <a:pt x="88" y="116"/>
                </a:cubicBezTo>
                <a:cubicBezTo>
                  <a:pt x="91" y="114"/>
                  <a:pt x="91" y="114"/>
                  <a:pt x="91" y="114"/>
                </a:cubicBezTo>
                <a:close/>
                <a:moveTo>
                  <a:pt x="53" y="106"/>
                </a:moveTo>
                <a:cubicBezTo>
                  <a:pt x="51" y="109"/>
                  <a:pt x="51" y="114"/>
                  <a:pt x="54" y="116"/>
                </a:cubicBezTo>
                <a:cubicBezTo>
                  <a:pt x="68" y="127"/>
                  <a:pt x="68" y="127"/>
                  <a:pt x="68" y="127"/>
                </a:cubicBezTo>
                <a:cubicBezTo>
                  <a:pt x="71" y="129"/>
                  <a:pt x="75" y="129"/>
                  <a:pt x="77" y="126"/>
                </a:cubicBezTo>
                <a:cubicBezTo>
                  <a:pt x="77" y="126"/>
                  <a:pt x="77" y="126"/>
                  <a:pt x="77" y="126"/>
                </a:cubicBezTo>
                <a:cubicBezTo>
                  <a:pt x="80" y="123"/>
                  <a:pt x="79" y="119"/>
                  <a:pt x="76" y="116"/>
                </a:cubicBezTo>
                <a:cubicBezTo>
                  <a:pt x="63" y="105"/>
                  <a:pt x="63" y="105"/>
                  <a:pt x="63" y="105"/>
                </a:cubicBezTo>
                <a:cubicBezTo>
                  <a:pt x="60" y="103"/>
                  <a:pt x="56" y="103"/>
                  <a:pt x="53" y="10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85" name="Freeform 245"/>
          <p:cNvSpPr>
            <a:spLocks noEditPoints="1"/>
          </p:cNvSpPr>
          <p:nvPr/>
        </p:nvSpPr>
        <p:spPr bwMode="auto">
          <a:xfrm>
            <a:off x="3892552" y="2345267"/>
            <a:ext cx="400049" cy="484717"/>
          </a:xfrm>
          <a:custGeom>
            <a:avLst/>
            <a:gdLst>
              <a:gd name="T0" fmla="*/ 5089349 w 133"/>
              <a:gd name="T1" fmla="*/ 61182768 h 161"/>
              <a:gd name="T2" fmla="*/ 45801889 w 133"/>
              <a:gd name="T3" fmla="*/ 35689948 h 161"/>
              <a:gd name="T4" fmla="*/ 81427335 w 133"/>
              <a:gd name="T5" fmla="*/ 10197128 h 161"/>
              <a:gd name="T6" fmla="*/ 203567209 w 133"/>
              <a:gd name="T7" fmla="*/ 137661228 h 161"/>
              <a:gd name="T8" fmla="*/ 366419622 w 133"/>
              <a:gd name="T9" fmla="*/ 137661228 h 161"/>
              <a:gd name="T10" fmla="*/ 452936306 w 133"/>
              <a:gd name="T11" fmla="*/ 147858356 h 161"/>
              <a:gd name="T12" fmla="*/ 524182686 w 133"/>
              <a:gd name="T13" fmla="*/ 260026764 h 161"/>
              <a:gd name="T14" fmla="*/ 636146118 w 133"/>
              <a:gd name="T15" fmla="*/ 265125328 h 161"/>
              <a:gd name="T16" fmla="*/ 656501259 w 133"/>
              <a:gd name="T17" fmla="*/ 311012404 h 161"/>
              <a:gd name="T18" fmla="*/ 631056768 w 133"/>
              <a:gd name="T19" fmla="*/ 316110968 h 161"/>
              <a:gd name="T20" fmla="*/ 620878069 w 133"/>
              <a:gd name="T21" fmla="*/ 356899480 h 161"/>
              <a:gd name="T22" fmla="*/ 519095593 w 133"/>
              <a:gd name="T23" fmla="*/ 356899480 h 161"/>
              <a:gd name="T24" fmla="*/ 620878069 w 133"/>
              <a:gd name="T25" fmla="*/ 499659272 h 161"/>
              <a:gd name="T26" fmla="*/ 488559496 w 133"/>
              <a:gd name="T27" fmla="*/ 499659272 h 161"/>
              <a:gd name="T28" fmla="*/ 488559496 w 133"/>
              <a:gd name="T29" fmla="*/ 611827680 h 161"/>
              <a:gd name="T30" fmla="*/ 590341973 w 133"/>
              <a:gd name="T31" fmla="*/ 713798960 h 161"/>
              <a:gd name="T32" fmla="*/ 585252623 w 133"/>
              <a:gd name="T33" fmla="*/ 774981728 h 161"/>
              <a:gd name="T34" fmla="*/ 493648846 w 133"/>
              <a:gd name="T35" fmla="*/ 683207576 h 161"/>
              <a:gd name="T36" fmla="*/ 493648846 w 133"/>
              <a:gd name="T37" fmla="*/ 790277420 h 161"/>
              <a:gd name="T38" fmla="*/ 437668258 w 133"/>
              <a:gd name="T39" fmla="*/ 790277420 h 161"/>
              <a:gd name="T40" fmla="*/ 432578909 w 133"/>
              <a:gd name="T41" fmla="*/ 499659272 h 161"/>
              <a:gd name="T42" fmla="*/ 381687671 w 133"/>
              <a:gd name="T43" fmla="*/ 499659272 h 161"/>
              <a:gd name="T44" fmla="*/ 381687671 w 133"/>
              <a:gd name="T45" fmla="*/ 790277420 h 161"/>
              <a:gd name="T46" fmla="*/ 325707083 w 133"/>
              <a:gd name="T47" fmla="*/ 790277420 h 161"/>
              <a:gd name="T48" fmla="*/ 320617733 w 133"/>
              <a:gd name="T49" fmla="*/ 484363580 h 161"/>
              <a:gd name="T50" fmla="*/ 290081637 w 133"/>
              <a:gd name="T51" fmla="*/ 484363580 h 161"/>
              <a:gd name="T52" fmla="*/ 290081637 w 133"/>
              <a:gd name="T53" fmla="*/ 606729116 h 161"/>
              <a:gd name="T54" fmla="*/ 162852413 w 133"/>
              <a:gd name="T55" fmla="*/ 774981728 h 161"/>
              <a:gd name="T56" fmla="*/ 167941763 w 133"/>
              <a:gd name="T57" fmla="*/ 683207576 h 161"/>
              <a:gd name="T58" fmla="*/ 229011700 w 133"/>
              <a:gd name="T59" fmla="*/ 596531988 h 161"/>
              <a:gd name="T60" fmla="*/ 234101049 w 133"/>
              <a:gd name="T61" fmla="*/ 214139688 h 161"/>
              <a:gd name="T62" fmla="*/ 213745908 w 133"/>
              <a:gd name="T63" fmla="*/ 188646868 h 161"/>
              <a:gd name="T64" fmla="*/ 117050525 w 133"/>
              <a:gd name="T65" fmla="*/ 188646868 h 161"/>
              <a:gd name="T66" fmla="*/ 5089349 w 133"/>
              <a:gd name="T67" fmla="*/ 61182768 h 161"/>
              <a:gd name="T68" fmla="*/ 437668258 w 133"/>
              <a:gd name="T69" fmla="*/ 10197128 h 161"/>
              <a:gd name="T70" fmla="*/ 381687671 w 133"/>
              <a:gd name="T71" fmla="*/ 66281332 h 161"/>
              <a:gd name="T72" fmla="*/ 437668258 w 133"/>
              <a:gd name="T73" fmla="*/ 117266972 h 161"/>
              <a:gd name="T74" fmla="*/ 493648846 w 133"/>
              <a:gd name="T75" fmla="*/ 66281332 h 161"/>
              <a:gd name="T76" fmla="*/ 437668258 w 133"/>
              <a:gd name="T77" fmla="*/ 10197128 h 161"/>
              <a:gd name="T78" fmla="*/ 300260336 w 133"/>
              <a:gd name="T79" fmla="*/ 0 h 161"/>
              <a:gd name="T80" fmla="*/ 244279748 w 133"/>
              <a:gd name="T81" fmla="*/ 56084204 h 161"/>
              <a:gd name="T82" fmla="*/ 300260336 w 133"/>
              <a:gd name="T83" fmla="*/ 112168408 h 161"/>
              <a:gd name="T84" fmla="*/ 356240923 w 133"/>
              <a:gd name="T85" fmla="*/ 56084204 h 161"/>
              <a:gd name="T86" fmla="*/ 300260336 w 133"/>
              <a:gd name="T87" fmla="*/ 0 h 161"/>
              <a:gd name="T88" fmla="*/ 50891238 w 133"/>
              <a:gd name="T89" fmla="*/ 45887076 h 161"/>
              <a:gd name="T90" fmla="*/ 137407922 w 133"/>
              <a:gd name="T91" fmla="*/ 137661228 h 161"/>
              <a:gd name="T92" fmla="*/ 188299161 w 133"/>
              <a:gd name="T93" fmla="*/ 137661228 h 161"/>
              <a:gd name="T94" fmla="*/ 188299161 w 133"/>
              <a:gd name="T95" fmla="*/ 132562664 h 161"/>
              <a:gd name="T96" fmla="*/ 81427335 w 133"/>
              <a:gd name="T97" fmla="*/ 20394256 h 161"/>
              <a:gd name="T98" fmla="*/ 50891238 w 133"/>
              <a:gd name="T99" fmla="*/ 45887076 h 161"/>
              <a:gd name="T100" fmla="*/ 376598321 w 133"/>
              <a:gd name="T101" fmla="*/ 137661228 h 161"/>
              <a:gd name="T102" fmla="*/ 478380798 w 133"/>
              <a:gd name="T103" fmla="*/ 311012404 h 161"/>
              <a:gd name="T104" fmla="*/ 651411910 w 133"/>
              <a:gd name="T105" fmla="*/ 311012404 h 161"/>
              <a:gd name="T106" fmla="*/ 651411910 w 133"/>
              <a:gd name="T107" fmla="*/ 270223892 h 161"/>
              <a:gd name="T108" fmla="*/ 524182686 w 133"/>
              <a:gd name="T109" fmla="*/ 270223892 h 161"/>
              <a:gd name="T110" fmla="*/ 447846957 w 133"/>
              <a:gd name="T111" fmla="*/ 147858356 h 161"/>
              <a:gd name="T112" fmla="*/ 376598321 w 133"/>
              <a:gd name="T113" fmla="*/ 137661228 h 161"/>
              <a:gd name="T114" fmla="*/ 381687671 w 133"/>
              <a:gd name="T115" fmla="*/ 239632508 h 161"/>
              <a:gd name="T116" fmla="*/ 381687671 w 133"/>
              <a:gd name="T117" fmla="*/ 489462144 h 161"/>
              <a:gd name="T118" fmla="*/ 605610021 w 133"/>
              <a:gd name="T119" fmla="*/ 489462144 h 161"/>
              <a:gd name="T120" fmla="*/ 508916894 w 133"/>
              <a:gd name="T121" fmla="*/ 356899480 h 161"/>
              <a:gd name="T122" fmla="*/ 452936306 w 133"/>
              <a:gd name="T123" fmla="*/ 356899480 h 161"/>
              <a:gd name="T124" fmla="*/ 381687671 w 133"/>
              <a:gd name="T125" fmla="*/ 239632508 h 16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33" h="161">
                <a:moveTo>
                  <a:pt x="1" y="12"/>
                </a:moveTo>
                <a:cubicBezTo>
                  <a:pt x="0" y="7"/>
                  <a:pt x="4" y="5"/>
                  <a:pt x="9" y="7"/>
                </a:cubicBezTo>
                <a:cubicBezTo>
                  <a:pt x="8" y="3"/>
                  <a:pt x="12" y="2"/>
                  <a:pt x="16" y="2"/>
                </a:cubicBezTo>
                <a:cubicBezTo>
                  <a:pt x="40" y="27"/>
                  <a:pt x="40" y="27"/>
                  <a:pt x="40" y="27"/>
                </a:cubicBezTo>
                <a:cubicBezTo>
                  <a:pt x="72" y="27"/>
                  <a:pt x="72" y="27"/>
                  <a:pt x="72" y="27"/>
                </a:cubicBezTo>
                <a:cubicBezTo>
                  <a:pt x="79" y="25"/>
                  <a:pt x="85" y="25"/>
                  <a:pt x="89" y="29"/>
                </a:cubicBezTo>
                <a:cubicBezTo>
                  <a:pt x="103" y="51"/>
                  <a:pt x="103" y="51"/>
                  <a:pt x="103" y="51"/>
                </a:cubicBezTo>
                <a:cubicBezTo>
                  <a:pt x="125" y="52"/>
                  <a:pt x="125" y="52"/>
                  <a:pt x="125" y="52"/>
                </a:cubicBezTo>
                <a:cubicBezTo>
                  <a:pt x="132" y="51"/>
                  <a:pt x="133" y="59"/>
                  <a:pt x="129" y="61"/>
                </a:cubicBezTo>
                <a:cubicBezTo>
                  <a:pt x="124" y="62"/>
                  <a:pt x="124" y="62"/>
                  <a:pt x="124" y="62"/>
                </a:cubicBezTo>
                <a:cubicBezTo>
                  <a:pt x="126" y="65"/>
                  <a:pt x="125" y="67"/>
                  <a:pt x="122" y="70"/>
                </a:cubicBezTo>
                <a:cubicBezTo>
                  <a:pt x="102" y="70"/>
                  <a:pt x="102" y="70"/>
                  <a:pt x="102" y="70"/>
                </a:cubicBezTo>
                <a:cubicBezTo>
                  <a:pt x="122" y="98"/>
                  <a:pt x="122" y="98"/>
                  <a:pt x="122" y="98"/>
                </a:cubicBezTo>
                <a:cubicBezTo>
                  <a:pt x="96" y="98"/>
                  <a:pt x="96" y="98"/>
                  <a:pt x="96" y="98"/>
                </a:cubicBezTo>
                <a:cubicBezTo>
                  <a:pt x="96" y="120"/>
                  <a:pt x="96" y="120"/>
                  <a:pt x="96" y="120"/>
                </a:cubicBezTo>
                <a:cubicBezTo>
                  <a:pt x="116" y="140"/>
                  <a:pt x="116" y="140"/>
                  <a:pt x="116" y="140"/>
                </a:cubicBezTo>
                <a:cubicBezTo>
                  <a:pt x="118" y="145"/>
                  <a:pt x="118" y="148"/>
                  <a:pt x="115" y="152"/>
                </a:cubicBezTo>
                <a:cubicBezTo>
                  <a:pt x="97" y="134"/>
                  <a:pt x="97" y="134"/>
                  <a:pt x="97" y="134"/>
                </a:cubicBezTo>
                <a:cubicBezTo>
                  <a:pt x="97" y="155"/>
                  <a:pt x="97" y="155"/>
                  <a:pt x="97" y="155"/>
                </a:cubicBezTo>
                <a:cubicBezTo>
                  <a:pt x="95" y="160"/>
                  <a:pt x="87" y="160"/>
                  <a:pt x="86" y="155"/>
                </a:cubicBezTo>
                <a:cubicBezTo>
                  <a:pt x="85" y="98"/>
                  <a:pt x="85" y="98"/>
                  <a:pt x="85" y="98"/>
                </a:cubicBezTo>
                <a:cubicBezTo>
                  <a:pt x="75" y="98"/>
                  <a:pt x="75" y="98"/>
                  <a:pt x="75" y="98"/>
                </a:cubicBezTo>
                <a:cubicBezTo>
                  <a:pt x="75" y="155"/>
                  <a:pt x="75" y="155"/>
                  <a:pt x="75" y="155"/>
                </a:cubicBezTo>
                <a:cubicBezTo>
                  <a:pt x="73" y="161"/>
                  <a:pt x="65" y="161"/>
                  <a:pt x="64" y="155"/>
                </a:cubicBezTo>
                <a:cubicBezTo>
                  <a:pt x="63" y="95"/>
                  <a:pt x="63" y="95"/>
                  <a:pt x="63" y="95"/>
                </a:cubicBezTo>
                <a:cubicBezTo>
                  <a:pt x="61" y="93"/>
                  <a:pt x="59" y="93"/>
                  <a:pt x="57" y="95"/>
                </a:cubicBezTo>
                <a:cubicBezTo>
                  <a:pt x="57" y="119"/>
                  <a:pt x="57" y="119"/>
                  <a:pt x="57" y="119"/>
                </a:cubicBezTo>
                <a:cubicBezTo>
                  <a:pt x="32" y="152"/>
                  <a:pt x="32" y="152"/>
                  <a:pt x="32" y="152"/>
                </a:cubicBezTo>
                <a:cubicBezTo>
                  <a:pt x="28" y="148"/>
                  <a:pt x="27" y="142"/>
                  <a:pt x="33" y="134"/>
                </a:cubicBezTo>
                <a:cubicBezTo>
                  <a:pt x="45" y="117"/>
                  <a:pt x="45" y="117"/>
                  <a:pt x="45" y="117"/>
                </a:cubicBezTo>
                <a:cubicBezTo>
                  <a:pt x="46" y="42"/>
                  <a:pt x="46" y="42"/>
                  <a:pt x="46" y="42"/>
                </a:cubicBezTo>
                <a:cubicBezTo>
                  <a:pt x="45" y="40"/>
                  <a:pt x="45" y="38"/>
                  <a:pt x="42" y="37"/>
                </a:cubicBezTo>
                <a:cubicBezTo>
                  <a:pt x="23" y="37"/>
                  <a:pt x="23" y="37"/>
                  <a:pt x="23" y="37"/>
                </a:cubicBezTo>
                <a:cubicBezTo>
                  <a:pt x="1" y="12"/>
                  <a:pt x="1" y="12"/>
                  <a:pt x="1" y="12"/>
                </a:cubicBezTo>
                <a:close/>
                <a:moveTo>
                  <a:pt x="86" y="2"/>
                </a:moveTo>
                <a:cubicBezTo>
                  <a:pt x="80" y="2"/>
                  <a:pt x="75" y="7"/>
                  <a:pt x="75" y="13"/>
                </a:cubicBezTo>
                <a:cubicBezTo>
                  <a:pt x="75" y="18"/>
                  <a:pt x="80" y="23"/>
                  <a:pt x="86" y="23"/>
                </a:cubicBezTo>
                <a:cubicBezTo>
                  <a:pt x="92" y="23"/>
                  <a:pt x="97" y="18"/>
                  <a:pt x="97" y="13"/>
                </a:cubicBezTo>
                <a:cubicBezTo>
                  <a:pt x="97" y="7"/>
                  <a:pt x="92" y="2"/>
                  <a:pt x="86" y="2"/>
                </a:cubicBezTo>
                <a:close/>
                <a:moveTo>
                  <a:pt x="59" y="0"/>
                </a:moveTo>
                <a:cubicBezTo>
                  <a:pt x="53" y="0"/>
                  <a:pt x="48" y="5"/>
                  <a:pt x="48" y="11"/>
                </a:cubicBezTo>
                <a:cubicBezTo>
                  <a:pt x="48" y="17"/>
                  <a:pt x="53" y="22"/>
                  <a:pt x="59" y="22"/>
                </a:cubicBezTo>
                <a:cubicBezTo>
                  <a:pt x="65" y="22"/>
                  <a:pt x="70" y="17"/>
                  <a:pt x="70" y="11"/>
                </a:cubicBezTo>
                <a:cubicBezTo>
                  <a:pt x="70" y="5"/>
                  <a:pt x="65" y="0"/>
                  <a:pt x="59" y="0"/>
                </a:cubicBezTo>
                <a:close/>
                <a:moveTo>
                  <a:pt x="10" y="9"/>
                </a:moveTo>
                <a:cubicBezTo>
                  <a:pt x="27" y="27"/>
                  <a:pt x="27" y="27"/>
                  <a:pt x="27" y="27"/>
                </a:cubicBezTo>
                <a:cubicBezTo>
                  <a:pt x="37" y="27"/>
                  <a:pt x="37" y="27"/>
                  <a:pt x="37" y="27"/>
                </a:cubicBezTo>
                <a:cubicBezTo>
                  <a:pt x="37" y="27"/>
                  <a:pt x="38" y="26"/>
                  <a:pt x="37" y="26"/>
                </a:cubicBezTo>
                <a:cubicBezTo>
                  <a:pt x="16" y="4"/>
                  <a:pt x="16" y="4"/>
                  <a:pt x="16" y="4"/>
                </a:cubicBezTo>
                <a:cubicBezTo>
                  <a:pt x="13" y="2"/>
                  <a:pt x="9" y="6"/>
                  <a:pt x="10" y="9"/>
                </a:cubicBezTo>
                <a:close/>
                <a:moveTo>
                  <a:pt x="74" y="27"/>
                </a:moveTo>
                <a:cubicBezTo>
                  <a:pt x="94" y="61"/>
                  <a:pt x="94" y="61"/>
                  <a:pt x="94" y="61"/>
                </a:cubicBezTo>
                <a:cubicBezTo>
                  <a:pt x="128" y="61"/>
                  <a:pt x="128" y="61"/>
                  <a:pt x="128" y="61"/>
                </a:cubicBezTo>
                <a:cubicBezTo>
                  <a:pt x="131" y="58"/>
                  <a:pt x="131" y="56"/>
                  <a:pt x="128" y="53"/>
                </a:cubicBezTo>
                <a:cubicBezTo>
                  <a:pt x="103" y="53"/>
                  <a:pt x="103" y="53"/>
                  <a:pt x="103" y="53"/>
                </a:cubicBezTo>
                <a:cubicBezTo>
                  <a:pt x="88" y="29"/>
                  <a:pt x="88" y="29"/>
                  <a:pt x="88" y="29"/>
                </a:cubicBezTo>
                <a:cubicBezTo>
                  <a:pt x="84" y="27"/>
                  <a:pt x="80" y="26"/>
                  <a:pt x="74" y="27"/>
                </a:cubicBezTo>
                <a:close/>
                <a:moveTo>
                  <a:pt x="75" y="47"/>
                </a:moveTo>
                <a:cubicBezTo>
                  <a:pt x="75" y="96"/>
                  <a:pt x="75" y="96"/>
                  <a:pt x="75" y="96"/>
                </a:cubicBezTo>
                <a:cubicBezTo>
                  <a:pt x="119" y="96"/>
                  <a:pt x="119" y="96"/>
                  <a:pt x="119" y="96"/>
                </a:cubicBezTo>
                <a:cubicBezTo>
                  <a:pt x="100" y="70"/>
                  <a:pt x="100" y="70"/>
                  <a:pt x="100" y="70"/>
                </a:cubicBezTo>
                <a:cubicBezTo>
                  <a:pt x="89" y="70"/>
                  <a:pt x="89" y="70"/>
                  <a:pt x="89" y="70"/>
                </a:cubicBezTo>
                <a:lnTo>
                  <a:pt x="75" y="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86" name="Freeform 246"/>
          <p:cNvSpPr>
            <a:spLocks noEditPoints="1"/>
          </p:cNvSpPr>
          <p:nvPr/>
        </p:nvSpPr>
        <p:spPr bwMode="auto">
          <a:xfrm>
            <a:off x="4826001" y="2525184"/>
            <a:ext cx="224367" cy="226483"/>
          </a:xfrm>
          <a:custGeom>
            <a:avLst/>
            <a:gdLst>
              <a:gd name="T0" fmla="*/ 377553008 w 75"/>
              <a:gd name="T1" fmla="*/ 189790210 h 75"/>
              <a:gd name="T2" fmla="*/ 0 w 75"/>
              <a:gd name="T3" fmla="*/ 189790210 h 75"/>
              <a:gd name="T4" fmla="*/ 70475814 w 75"/>
              <a:gd name="T5" fmla="*/ 61553459 h 75"/>
              <a:gd name="T6" fmla="*/ 85577934 w 75"/>
              <a:gd name="T7" fmla="*/ 87200356 h 75"/>
              <a:gd name="T8" fmla="*/ 191292776 w 75"/>
              <a:gd name="T9" fmla="*/ 46166227 h 75"/>
              <a:gd name="T10" fmla="*/ 70475814 w 75"/>
              <a:gd name="T11" fmla="*/ 61553459 h 75"/>
              <a:gd name="T12" fmla="*/ 201362352 w 75"/>
              <a:gd name="T13" fmla="*/ 51293794 h 75"/>
              <a:gd name="T14" fmla="*/ 297007619 w 75"/>
              <a:gd name="T15" fmla="*/ 82070524 h 75"/>
              <a:gd name="T16" fmla="*/ 201362352 w 75"/>
              <a:gd name="T17" fmla="*/ 10259665 h 75"/>
              <a:gd name="T18" fmla="*/ 226531805 w 75"/>
              <a:gd name="T19" fmla="*/ 343673858 h 75"/>
              <a:gd name="T20" fmla="*/ 332246647 w 75"/>
              <a:gd name="T21" fmla="*/ 292380063 h 75"/>
              <a:gd name="T22" fmla="*/ 261770834 w 75"/>
              <a:gd name="T23" fmla="*/ 287250231 h 75"/>
              <a:gd name="T24" fmla="*/ 50341149 w 75"/>
              <a:gd name="T25" fmla="*/ 292380063 h 75"/>
              <a:gd name="T26" fmla="*/ 156055991 w 75"/>
              <a:gd name="T27" fmla="*/ 348803690 h 75"/>
              <a:gd name="T28" fmla="*/ 70475814 w 75"/>
              <a:gd name="T29" fmla="*/ 276990566 h 75"/>
              <a:gd name="T30" fmla="*/ 140953871 w 75"/>
              <a:gd name="T31" fmla="*/ 292380063 h 75"/>
              <a:gd name="T32" fmla="*/ 216464473 w 75"/>
              <a:gd name="T33" fmla="*/ 343673858 h 75"/>
              <a:gd name="T34" fmla="*/ 236599137 w 75"/>
              <a:gd name="T35" fmla="*/ 256473501 h 75"/>
              <a:gd name="T36" fmla="*/ 15102120 w 75"/>
              <a:gd name="T37" fmla="*/ 164143313 h 75"/>
              <a:gd name="T38" fmla="*/ 65443269 w 75"/>
              <a:gd name="T39" fmla="*/ 271862999 h 75"/>
              <a:gd name="T40" fmla="*/ 40271573 w 75"/>
              <a:gd name="T41" fmla="*/ 153883648 h 75"/>
              <a:gd name="T42" fmla="*/ 362450888 w 75"/>
              <a:gd name="T43" fmla="*/ 159013480 h 75"/>
              <a:gd name="T44" fmla="*/ 322179315 w 75"/>
              <a:gd name="T45" fmla="*/ 184660377 h 75"/>
              <a:gd name="T46" fmla="*/ 342313980 w 75"/>
              <a:gd name="T47" fmla="*/ 282120399 h 75"/>
              <a:gd name="T48" fmla="*/ 256736046 w 75"/>
              <a:gd name="T49" fmla="*/ 87200356 h 75"/>
              <a:gd name="T50" fmla="*/ 271838166 w 75"/>
              <a:gd name="T51" fmla="*/ 184660377 h 75"/>
              <a:gd name="T52" fmla="*/ 332246647 w 75"/>
              <a:gd name="T53" fmla="*/ 138496415 h 75"/>
              <a:gd name="T54" fmla="*/ 256736046 w 75"/>
              <a:gd name="T55" fmla="*/ 87200356 h 75"/>
              <a:gd name="T56" fmla="*/ 140953871 w 75"/>
              <a:gd name="T57" fmla="*/ 200049875 h 75"/>
              <a:gd name="T58" fmla="*/ 231566593 w 75"/>
              <a:gd name="T59" fmla="*/ 246213837 h 75"/>
              <a:gd name="T60" fmla="*/ 236599137 w 75"/>
              <a:gd name="T61" fmla="*/ 128236751 h 75"/>
              <a:gd name="T62" fmla="*/ 171158112 w 75"/>
              <a:gd name="T63" fmla="*/ 128236751 h 75"/>
              <a:gd name="T64" fmla="*/ 75510602 w 75"/>
              <a:gd name="T65" fmla="*/ 102589854 h 75"/>
              <a:gd name="T66" fmla="*/ 75510602 w 75"/>
              <a:gd name="T67" fmla="*/ 205179707 h 75"/>
              <a:gd name="T68" fmla="*/ 156055991 w 75"/>
              <a:gd name="T69" fmla="*/ 123106918 h 7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75" h="75">
                <a:moveTo>
                  <a:pt x="38" y="0"/>
                </a:moveTo>
                <a:cubicBezTo>
                  <a:pt x="58" y="0"/>
                  <a:pt x="75" y="16"/>
                  <a:pt x="75" y="37"/>
                </a:cubicBezTo>
                <a:cubicBezTo>
                  <a:pt x="75" y="58"/>
                  <a:pt x="58" y="75"/>
                  <a:pt x="38" y="75"/>
                </a:cubicBezTo>
                <a:cubicBezTo>
                  <a:pt x="17" y="75"/>
                  <a:pt x="0" y="58"/>
                  <a:pt x="0" y="37"/>
                </a:cubicBezTo>
                <a:cubicBezTo>
                  <a:pt x="0" y="16"/>
                  <a:pt x="17" y="0"/>
                  <a:pt x="38" y="0"/>
                </a:cubicBezTo>
                <a:close/>
                <a:moveTo>
                  <a:pt x="14" y="12"/>
                </a:moveTo>
                <a:cubicBezTo>
                  <a:pt x="14" y="14"/>
                  <a:pt x="14" y="17"/>
                  <a:pt x="16" y="17"/>
                </a:cubicBezTo>
                <a:cubicBezTo>
                  <a:pt x="16" y="17"/>
                  <a:pt x="17" y="17"/>
                  <a:pt x="17" y="17"/>
                </a:cubicBezTo>
                <a:cubicBezTo>
                  <a:pt x="20" y="16"/>
                  <a:pt x="23" y="15"/>
                  <a:pt x="28" y="15"/>
                </a:cubicBezTo>
                <a:cubicBezTo>
                  <a:pt x="38" y="9"/>
                  <a:pt x="38" y="9"/>
                  <a:pt x="38" y="9"/>
                </a:cubicBezTo>
                <a:cubicBezTo>
                  <a:pt x="38" y="8"/>
                  <a:pt x="37" y="4"/>
                  <a:pt x="37" y="2"/>
                </a:cubicBezTo>
                <a:cubicBezTo>
                  <a:pt x="30" y="1"/>
                  <a:pt x="19" y="6"/>
                  <a:pt x="14" y="12"/>
                </a:cubicBezTo>
                <a:close/>
                <a:moveTo>
                  <a:pt x="40" y="2"/>
                </a:moveTo>
                <a:cubicBezTo>
                  <a:pt x="39" y="4"/>
                  <a:pt x="40" y="7"/>
                  <a:pt x="40" y="10"/>
                </a:cubicBezTo>
                <a:cubicBezTo>
                  <a:pt x="44" y="11"/>
                  <a:pt x="48" y="13"/>
                  <a:pt x="50" y="15"/>
                </a:cubicBezTo>
                <a:cubicBezTo>
                  <a:pt x="53" y="15"/>
                  <a:pt x="56" y="15"/>
                  <a:pt x="59" y="16"/>
                </a:cubicBezTo>
                <a:cubicBezTo>
                  <a:pt x="59" y="14"/>
                  <a:pt x="60" y="11"/>
                  <a:pt x="59" y="10"/>
                </a:cubicBezTo>
                <a:cubicBezTo>
                  <a:pt x="55" y="5"/>
                  <a:pt x="47" y="2"/>
                  <a:pt x="40" y="2"/>
                </a:cubicBezTo>
                <a:close/>
                <a:moveTo>
                  <a:pt x="52" y="56"/>
                </a:moveTo>
                <a:cubicBezTo>
                  <a:pt x="51" y="59"/>
                  <a:pt x="49" y="63"/>
                  <a:pt x="45" y="67"/>
                </a:cubicBezTo>
                <a:cubicBezTo>
                  <a:pt x="46" y="69"/>
                  <a:pt x="48" y="70"/>
                  <a:pt x="49" y="71"/>
                </a:cubicBezTo>
                <a:cubicBezTo>
                  <a:pt x="56" y="67"/>
                  <a:pt x="63" y="63"/>
                  <a:pt x="66" y="57"/>
                </a:cubicBezTo>
                <a:cubicBezTo>
                  <a:pt x="65" y="54"/>
                  <a:pt x="64" y="53"/>
                  <a:pt x="62" y="51"/>
                </a:cubicBezTo>
                <a:cubicBezTo>
                  <a:pt x="59" y="53"/>
                  <a:pt x="56" y="55"/>
                  <a:pt x="52" y="56"/>
                </a:cubicBezTo>
                <a:close/>
                <a:moveTo>
                  <a:pt x="14" y="54"/>
                </a:moveTo>
                <a:cubicBezTo>
                  <a:pt x="10" y="57"/>
                  <a:pt x="10" y="57"/>
                  <a:pt x="10" y="57"/>
                </a:cubicBezTo>
                <a:cubicBezTo>
                  <a:pt x="14" y="64"/>
                  <a:pt x="20" y="69"/>
                  <a:pt x="29" y="71"/>
                </a:cubicBezTo>
                <a:cubicBezTo>
                  <a:pt x="31" y="68"/>
                  <a:pt x="31" y="68"/>
                  <a:pt x="31" y="68"/>
                </a:cubicBezTo>
                <a:cubicBezTo>
                  <a:pt x="29" y="64"/>
                  <a:pt x="27" y="61"/>
                  <a:pt x="25" y="58"/>
                </a:cubicBezTo>
                <a:cubicBezTo>
                  <a:pt x="21" y="58"/>
                  <a:pt x="18" y="56"/>
                  <a:pt x="14" y="54"/>
                </a:cubicBezTo>
                <a:close/>
                <a:moveTo>
                  <a:pt x="32" y="49"/>
                </a:moveTo>
                <a:cubicBezTo>
                  <a:pt x="28" y="57"/>
                  <a:pt x="28" y="57"/>
                  <a:pt x="28" y="57"/>
                </a:cubicBezTo>
                <a:cubicBezTo>
                  <a:pt x="29" y="60"/>
                  <a:pt x="30" y="64"/>
                  <a:pt x="33" y="67"/>
                </a:cubicBezTo>
                <a:cubicBezTo>
                  <a:pt x="37" y="67"/>
                  <a:pt x="40" y="67"/>
                  <a:pt x="43" y="67"/>
                </a:cubicBezTo>
                <a:cubicBezTo>
                  <a:pt x="45" y="64"/>
                  <a:pt x="47" y="60"/>
                  <a:pt x="50" y="57"/>
                </a:cubicBezTo>
                <a:cubicBezTo>
                  <a:pt x="49" y="54"/>
                  <a:pt x="48" y="52"/>
                  <a:pt x="47" y="50"/>
                </a:cubicBezTo>
                <a:cubicBezTo>
                  <a:pt x="42" y="51"/>
                  <a:pt x="37" y="51"/>
                  <a:pt x="32" y="49"/>
                </a:cubicBezTo>
                <a:close/>
                <a:moveTo>
                  <a:pt x="3" y="32"/>
                </a:moveTo>
                <a:cubicBezTo>
                  <a:pt x="3" y="47"/>
                  <a:pt x="5" y="53"/>
                  <a:pt x="8" y="55"/>
                </a:cubicBezTo>
                <a:cubicBezTo>
                  <a:pt x="13" y="53"/>
                  <a:pt x="13" y="53"/>
                  <a:pt x="13" y="53"/>
                </a:cubicBezTo>
                <a:cubicBezTo>
                  <a:pt x="13" y="49"/>
                  <a:pt x="12" y="45"/>
                  <a:pt x="13" y="41"/>
                </a:cubicBezTo>
                <a:cubicBezTo>
                  <a:pt x="11" y="37"/>
                  <a:pt x="9" y="34"/>
                  <a:pt x="8" y="30"/>
                </a:cubicBezTo>
                <a:cubicBezTo>
                  <a:pt x="6" y="30"/>
                  <a:pt x="4" y="31"/>
                  <a:pt x="3" y="32"/>
                </a:cubicBezTo>
                <a:close/>
                <a:moveTo>
                  <a:pt x="72" y="31"/>
                </a:moveTo>
                <a:cubicBezTo>
                  <a:pt x="71" y="30"/>
                  <a:pt x="69" y="30"/>
                  <a:pt x="67" y="30"/>
                </a:cubicBezTo>
                <a:cubicBezTo>
                  <a:pt x="66" y="32"/>
                  <a:pt x="65" y="34"/>
                  <a:pt x="64" y="36"/>
                </a:cubicBezTo>
                <a:cubicBezTo>
                  <a:pt x="63" y="50"/>
                  <a:pt x="63" y="50"/>
                  <a:pt x="63" y="50"/>
                </a:cubicBezTo>
                <a:cubicBezTo>
                  <a:pt x="65" y="51"/>
                  <a:pt x="66" y="53"/>
                  <a:pt x="68" y="55"/>
                </a:cubicBezTo>
                <a:cubicBezTo>
                  <a:pt x="71" y="47"/>
                  <a:pt x="73" y="40"/>
                  <a:pt x="72" y="31"/>
                </a:cubicBezTo>
                <a:close/>
                <a:moveTo>
                  <a:pt x="51" y="17"/>
                </a:moveTo>
                <a:cubicBezTo>
                  <a:pt x="48" y="24"/>
                  <a:pt x="48" y="24"/>
                  <a:pt x="48" y="24"/>
                </a:cubicBezTo>
                <a:cubicBezTo>
                  <a:pt x="52" y="27"/>
                  <a:pt x="53" y="32"/>
                  <a:pt x="54" y="36"/>
                </a:cubicBezTo>
                <a:cubicBezTo>
                  <a:pt x="63" y="36"/>
                  <a:pt x="63" y="36"/>
                  <a:pt x="63" y="36"/>
                </a:cubicBezTo>
                <a:cubicBezTo>
                  <a:pt x="63" y="33"/>
                  <a:pt x="64" y="30"/>
                  <a:pt x="66" y="27"/>
                </a:cubicBezTo>
                <a:cubicBezTo>
                  <a:pt x="61" y="18"/>
                  <a:pt x="61" y="18"/>
                  <a:pt x="61" y="18"/>
                </a:cubicBezTo>
                <a:cubicBezTo>
                  <a:pt x="58" y="18"/>
                  <a:pt x="54" y="17"/>
                  <a:pt x="51" y="17"/>
                </a:cubicBezTo>
                <a:close/>
                <a:moveTo>
                  <a:pt x="34" y="25"/>
                </a:moveTo>
                <a:cubicBezTo>
                  <a:pt x="31" y="29"/>
                  <a:pt x="29" y="33"/>
                  <a:pt x="28" y="39"/>
                </a:cubicBezTo>
                <a:cubicBezTo>
                  <a:pt x="29" y="42"/>
                  <a:pt x="31" y="45"/>
                  <a:pt x="33" y="48"/>
                </a:cubicBezTo>
                <a:cubicBezTo>
                  <a:pt x="38" y="48"/>
                  <a:pt x="42" y="48"/>
                  <a:pt x="46" y="48"/>
                </a:cubicBezTo>
                <a:cubicBezTo>
                  <a:pt x="49" y="45"/>
                  <a:pt x="51" y="42"/>
                  <a:pt x="52" y="37"/>
                </a:cubicBezTo>
                <a:cubicBezTo>
                  <a:pt x="51" y="33"/>
                  <a:pt x="49" y="28"/>
                  <a:pt x="47" y="25"/>
                </a:cubicBezTo>
                <a:cubicBezTo>
                  <a:pt x="40" y="25"/>
                  <a:pt x="40" y="25"/>
                  <a:pt x="40" y="25"/>
                </a:cubicBezTo>
                <a:cubicBezTo>
                  <a:pt x="34" y="25"/>
                  <a:pt x="34" y="25"/>
                  <a:pt x="34" y="25"/>
                </a:cubicBezTo>
                <a:close/>
                <a:moveTo>
                  <a:pt x="29" y="17"/>
                </a:moveTo>
                <a:cubicBezTo>
                  <a:pt x="24" y="17"/>
                  <a:pt x="17" y="18"/>
                  <a:pt x="15" y="20"/>
                </a:cubicBezTo>
                <a:cubicBezTo>
                  <a:pt x="13" y="22"/>
                  <a:pt x="11" y="26"/>
                  <a:pt x="10" y="29"/>
                </a:cubicBezTo>
                <a:cubicBezTo>
                  <a:pt x="11" y="33"/>
                  <a:pt x="13" y="37"/>
                  <a:pt x="15" y="40"/>
                </a:cubicBezTo>
                <a:cubicBezTo>
                  <a:pt x="18" y="38"/>
                  <a:pt x="22" y="38"/>
                  <a:pt x="27" y="37"/>
                </a:cubicBezTo>
                <a:cubicBezTo>
                  <a:pt x="27" y="32"/>
                  <a:pt x="29" y="28"/>
                  <a:pt x="31" y="24"/>
                </a:cubicBezTo>
                <a:cubicBezTo>
                  <a:pt x="31" y="21"/>
                  <a:pt x="30" y="19"/>
                  <a:pt x="29" y="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87" name="Freeform 247"/>
          <p:cNvSpPr>
            <a:spLocks noEditPoints="1"/>
          </p:cNvSpPr>
          <p:nvPr/>
        </p:nvSpPr>
        <p:spPr bwMode="auto">
          <a:xfrm>
            <a:off x="4679951" y="2362200"/>
            <a:ext cx="167216" cy="482600"/>
          </a:xfrm>
          <a:custGeom>
            <a:avLst/>
            <a:gdLst>
              <a:gd name="T0" fmla="*/ 155477288 w 56"/>
              <a:gd name="T1" fmla="*/ 0 h 160"/>
              <a:gd name="T2" fmla="*/ 0 w 56"/>
              <a:gd name="T3" fmla="*/ 173993889 h 160"/>
              <a:gd name="T4" fmla="*/ 105323685 w 56"/>
              <a:gd name="T5" fmla="*/ 342872973 h 160"/>
              <a:gd name="T6" fmla="*/ 120368646 w 56"/>
              <a:gd name="T7" fmla="*/ 368460576 h 160"/>
              <a:gd name="T8" fmla="*/ 120368646 w 56"/>
              <a:gd name="T9" fmla="*/ 573159136 h 160"/>
              <a:gd name="T10" fmla="*/ 110337926 w 56"/>
              <a:gd name="T11" fmla="*/ 583393272 h 160"/>
              <a:gd name="T12" fmla="*/ 110337926 w 56"/>
              <a:gd name="T13" fmla="*/ 818798766 h 160"/>
              <a:gd name="T14" fmla="*/ 170522249 w 56"/>
              <a:gd name="T15" fmla="*/ 818798766 h 160"/>
              <a:gd name="T16" fmla="*/ 170522249 w 56"/>
              <a:gd name="T17" fmla="*/ 588512603 h 160"/>
              <a:gd name="T18" fmla="*/ 160491528 w 56"/>
              <a:gd name="T19" fmla="*/ 578276204 h 160"/>
              <a:gd name="T20" fmla="*/ 160491528 w 56"/>
              <a:gd name="T21" fmla="*/ 363341245 h 160"/>
              <a:gd name="T22" fmla="*/ 175538729 w 56"/>
              <a:gd name="T23" fmla="*/ 342872973 h 160"/>
              <a:gd name="T24" fmla="*/ 280860174 w 56"/>
              <a:gd name="T25" fmla="*/ 184230288 h 160"/>
              <a:gd name="T26" fmla="*/ 155477288 w 56"/>
              <a:gd name="T27" fmla="*/ 0 h 160"/>
              <a:gd name="T28" fmla="*/ 145446567 w 56"/>
              <a:gd name="T29" fmla="*/ 25587603 h 160"/>
              <a:gd name="T30" fmla="*/ 255784493 w 56"/>
              <a:gd name="T31" fmla="*/ 173993889 h 160"/>
              <a:gd name="T32" fmla="*/ 140430087 w 56"/>
              <a:gd name="T33" fmla="*/ 317285370 h 160"/>
              <a:gd name="T34" fmla="*/ 25077921 w 56"/>
              <a:gd name="T35" fmla="*/ 173993889 h 160"/>
              <a:gd name="T36" fmla="*/ 145446567 w 56"/>
              <a:gd name="T37" fmla="*/ 25587603 h 16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56" h="160">
                <a:moveTo>
                  <a:pt x="31" y="0"/>
                </a:moveTo>
                <a:cubicBezTo>
                  <a:pt x="15" y="2"/>
                  <a:pt x="3" y="10"/>
                  <a:pt x="0" y="34"/>
                </a:cubicBezTo>
                <a:cubicBezTo>
                  <a:pt x="0" y="52"/>
                  <a:pt x="8" y="61"/>
                  <a:pt x="21" y="67"/>
                </a:cubicBezTo>
                <a:cubicBezTo>
                  <a:pt x="23" y="68"/>
                  <a:pt x="24" y="70"/>
                  <a:pt x="24" y="72"/>
                </a:cubicBezTo>
                <a:cubicBezTo>
                  <a:pt x="24" y="112"/>
                  <a:pt x="24" y="112"/>
                  <a:pt x="24" y="112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60"/>
                  <a:pt x="22" y="160"/>
                  <a:pt x="22" y="160"/>
                </a:cubicBezTo>
                <a:cubicBezTo>
                  <a:pt x="34" y="160"/>
                  <a:pt x="34" y="160"/>
                  <a:pt x="34" y="160"/>
                </a:cubicBezTo>
                <a:cubicBezTo>
                  <a:pt x="34" y="115"/>
                  <a:pt x="34" y="115"/>
                  <a:pt x="34" y="115"/>
                </a:cubicBezTo>
                <a:cubicBezTo>
                  <a:pt x="32" y="113"/>
                  <a:pt x="32" y="113"/>
                  <a:pt x="32" y="113"/>
                </a:cubicBezTo>
                <a:cubicBezTo>
                  <a:pt x="32" y="71"/>
                  <a:pt x="32" y="71"/>
                  <a:pt x="32" y="71"/>
                </a:cubicBezTo>
                <a:cubicBezTo>
                  <a:pt x="32" y="69"/>
                  <a:pt x="33" y="68"/>
                  <a:pt x="35" y="67"/>
                </a:cubicBezTo>
                <a:cubicBezTo>
                  <a:pt x="48" y="62"/>
                  <a:pt x="54" y="50"/>
                  <a:pt x="56" y="36"/>
                </a:cubicBezTo>
                <a:cubicBezTo>
                  <a:pt x="54" y="12"/>
                  <a:pt x="43" y="1"/>
                  <a:pt x="31" y="0"/>
                </a:cubicBezTo>
                <a:close/>
                <a:moveTo>
                  <a:pt x="29" y="5"/>
                </a:moveTo>
                <a:cubicBezTo>
                  <a:pt x="41" y="5"/>
                  <a:pt x="51" y="18"/>
                  <a:pt x="51" y="34"/>
                </a:cubicBezTo>
                <a:cubicBezTo>
                  <a:pt x="51" y="50"/>
                  <a:pt x="41" y="62"/>
                  <a:pt x="28" y="62"/>
                </a:cubicBezTo>
                <a:cubicBezTo>
                  <a:pt x="15" y="62"/>
                  <a:pt x="5" y="50"/>
                  <a:pt x="5" y="34"/>
                </a:cubicBezTo>
                <a:cubicBezTo>
                  <a:pt x="5" y="18"/>
                  <a:pt x="16" y="5"/>
                  <a:pt x="29" y="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88" name="Freeform 248"/>
          <p:cNvSpPr>
            <a:spLocks/>
          </p:cNvSpPr>
          <p:nvPr/>
        </p:nvSpPr>
        <p:spPr bwMode="auto">
          <a:xfrm>
            <a:off x="4948767" y="2351618"/>
            <a:ext cx="211667" cy="493183"/>
          </a:xfrm>
          <a:custGeom>
            <a:avLst/>
            <a:gdLst>
              <a:gd name="T0" fmla="*/ 7561263 w 100"/>
              <a:gd name="T1" fmla="*/ 524191791 h 233"/>
              <a:gd name="T2" fmla="*/ 136088438 w 100"/>
              <a:gd name="T3" fmla="*/ 531753044 h 233"/>
              <a:gd name="T4" fmla="*/ 151209375 w 100"/>
              <a:gd name="T5" fmla="*/ 519151486 h 233"/>
              <a:gd name="T6" fmla="*/ 229335013 w 100"/>
              <a:gd name="T7" fmla="*/ 0 h 233"/>
              <a:gd name="T8" fmla="*/ 252015625 w 100"/>
              <a:gd name="T9" fmla="*/ 2520947 h 233"/>
              <a:gd name="T10" fmla="*/ 171370625 w 100"/>
              <a:gd name="T11" fmla="*/ 561994878 h 233"/>
              <a:gd name="T12" fmla="*/ 146169063 w 100"/>
              <a:gd name="T13" fmla="*/ 587196406 h 233"/>
              <a:gd name="T14" fmla="*/ 15120938 w 100"/>
              <a:gd name="T15" fmla="*/ 584675460 h 233"/>
              <a:gd name="T16" fmla="*/ 7561263 w 100"/>
              <a:gd name="T17" fmla="*/ 582156101 h 233"/>
              <a:gd name="T18" fmla="*/ 0 w 100"/>
              <a:gd name="T19" fmla="*/ 531753044 h 233"/>
              <a:gd name="T20" fmla="*/ 7561263 w 100"/>
              <a:gd name="T21" fmla="*/ 524191791 h 23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233">
                <a:moveTo>
                  <a:pt x="3" y="208"/>
                </a:moveTo>
                <a:lnTo>
                  <a:pt x="54" y="211"/>
                </a:lnTo>
                <a:lnTo>
                  <a:pt x="60" y="206"/>
                </a:lnTo>
                <a:lnTo>
                  <a:pt x="91" y="0"/>
                </a:lnTo>
                <a:lnTo>
                  <a:pt x="100" y="1"/>
                </a:lnTo>
                <a:lnTo>
                  <a:pt x="68" y="223"/>
                </a:lnTo>
                <a:lnTo>
                  <a:pt x="58" y="233"/>
                </a:lnTo>
                <a:lnTo>
                  <a:pt x="6" y="232"/>
                </a:lnTo>
                <a:lnTo>
                  <a:pt x="3" y="231"/>
                </a:lnTo>
                <a:lnTo>
                  <a:pt x="0" y="211"/>
                </a:lnTo>
                <a:lnTo>
                  <a:pt x="3" y="2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89" name="Freeform 249"/>
          <p:cNvSpPr>
            <a:spLocks/>
          </p:cNvSpPr>
          <p:nvPr/>
        </p:nvSpPr>
        <p:spPr bwMode="auto">
          <a:xfrm>
            <a:off x="5588000" y="2573867"/>
            <a:ext cx="135467" cy="135467"/>
          </a:xfrm>
          <a:custGeom>
            <a:avLst/>
            <a:gdLst>
              <a:gd name="T0" fmla="*/ 0 w 45"/>
              <a:gd name="T1" fmla="*/ 122342204 h 45"/>
              <a:gd name="T2" fmla="*/ 66268036 w 45"/>
              <a:gd name="T3" fmla="*/ 40779982 h 45"/>
              <a:gd name="T4" fmla="*/ 183512178 w 45"/>
              <a:gd name="T5" fmla="*/ 30586116 h 45"/>
              <a:gd name="T6" fmla="*/ 183512178 w 45"/>
              <a:gd name="T7" fmla="*/ 30586116 h 45"/>
              <a:gd name="T8" fmla="*/ 188610240 w 45"/>
              <a:gd name="T9" fmla="*/ 147830258 h 45"/>
              <a:gd name="T10" fmla="*/ 122342204 w 45"/>
              <a:gd name="T11" fmla="*/ 229390222 h 45"/>
              <a:gd name="T12" fmla="*/ 0 w 45"/>
              <a:gd name="T13" fmla="*/ 122342204 h 4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5" h="45">
                <a:moveTo>
                  <a:pt x="0" y="24"/>
                </a:moveTo>
                <a:cubicBezTo>
                  <a:pt x="13" y="8"/>
                  <a:pt x="13" y="8"/>
                  <a:pt x="13" y="8"/>
                </a:cubicBezTo>
                <a:cubicBezTo>
                  <a:pt x="19" y="2"/>
                  <a:pt x="29" y="0"/>
                  <a:pt x="36" y="6"/>
                </a:cubicBezTo>
                <a:cubicBezTo>
                  <a:pt x="36" y="6"/>
                  <a:pt x="36" y="6"/>
                  <a:pt x="36" y="6"/>
                </a:cubicBezTo>
                <a:cubicBezTo>
                  <a:pt x="45" y="11"/>
                  <a:pt x="43" y="22"/>
                  <a:pt x="37" y="29"/>
                </a:cubicBezTo>
                <a:cubicBezTo>
                  <a:pt x="33" y="34"/>
                  <a:pt x="28" y="39"/>
                  <a:pt x="24" y="45"/>
                </a:cubicBezTo>
                <a:cubicBezTo>
                  <a:pt x="23" y="44"/>
                  <a:pt x="0" y="24"/>
                  <a:pt x="0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0" name="Freeform 250"/>
          <p:cNvSpPr>
            <a:spLocks/>
          </p:cNvSpPr>
          <p:nvPr/>
        </p:nvSpPr>
        <p:spPr bwMode="auto">
          <a:xfrm>
            <a:off x="5492751" y="2667000"/>
            <a:ext cx="150283" cy="160867"/>
          </a:xfrm>
          <a:custGeom>
            <a:avLst/>
            <a:gdLst>
              <a:gd name="T0" fmla="*/ 30488596 w 50"/>
              <a:gd name="T1" fmla="*/ 124369662 h 53"/>
              <a:gd name="T2" fmla="*/ 132121006 w 50"/>
              <a:gd name="T3" fmla="*/ 0 h 53"/>
              <a:gd name="T4" fmla="*/ 254079899 w 50"/>
              <a:gd name="T5" fmla="*/ 103640626 h 53"/>
              <a:gd name="T6" fmla="*/ 152447488 w 50"/>
              <a:gd name="T7" fmla="*/ 228010289 h 53"/>
              <a:gd name="T8" fmla="*/ 30488596 w 50"/>
              <a:gd name="T9" fmla="*/ 243558204 h 53"/>
              <a:gd name="T10" fmla="*/ 30488596 w 50"/>
              <a:gd name="T11" fmla="*/ 243558204 h 53"/>
              <a:gd name="T12" fmla="*/ 30488596 w 50"/>
              <a:gd name="T13" fmla="*/ 124369662 h 5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0" h="53">
                <a:moveTo>
                  <a:pt x="6" y="24"/>
                </a:moveTo>
                <a:cubicBezTo>
                  <a:pt x="13" y="15"/>
                  <a:pt x="18" y="9"/>
                  <a:pt x="26" y="0"/>
                </a:cubicBezTo>
                <a:cubicBezTo>
                  <a:pt x="26" y="0"/>
                  <a:pt x="50" y="20"/>
                  <a:pt x="50" y="20"/>
                </a:cubicBezTo>
                <a:cubicBezTo>
                  <a:pt x="30" y="44"/>
                  <a:pt x="30" y="44"/>
                  <a:pt x="30" y="44"/>
                </a:cubicBezTo>
                <a:cubicBezTo>
                  <a:pt x="25" y="51"/>
                  <a:pt x="13" y="53"/>
                  <a:pt x="6" y="47"/>
                </a:cubicBezTo>
                <a:cubicBezTo>
                  <a:pt x="6" y="47"/>
                  <a:pt x="6" y="47"/>
                  <a:pt x="6" y="47"/>
                </a:cubicBezTo>
                <a:cubicBezTo>
                  <a:pt x="0" y="42"/>
                  <a:pt x="0" y="30"/>
                  <a:pt x="6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1" name="Freeform 251"/>
          <p:cNvSpPr>
            <a:spLocks noEditPoints="1"/>
          </p:cNvSpPr>
          <p:nvPr/>
        </p:nvSpPr>
        <p:spPr bwMode="auto">
          <a:xfrm>
            <a:off x="5674784" y="2283885"/>
            <a:ext cx="277283" cy="543983"/>
          </a:xfrm>
          <a:custGeom>
            <a:avLst/>
            <a:gdLst>
              <a:gd name="T0" fmla="*/ 413882808 w 92"/>
              <a:gd name="T1" fmla="*/ 313386148 h 180"/>
              <a:gd name="T2" fmla="*/ 56206251 w 92"/>
              <a:gd name="T3" fmla="*/ 385309723 h 180"/>
              <a:gd name="T4" fmla="*/ 255483577 w 92"/>
              <a:gd name="T5" fmla="*/ 159262259 h 180"/>
              <a:gd name="T6" fmla="*/ 229935898 w 92"/>
              <a:gd name="T7" fmla="*/ 205498519 h 180"/>
              <a:gd name="T8" fmla="*/ 255483577 w 92"/>
              <a:gd name="T9" fmla="*/ 313386148 h 180"/>
              <a:gd name="T10" fmla="*/ 459869535 w 92"/>
              <a:gd name="T11" fmla="*/ 71923575 h 180"/>
              <a:gd name="T12" fmla="*/ 255483577 w 92"/>
              <a:gd name="T13" fmla="*/ 159262259 h 180"/>
              <a:gd name="T14" fmla="*/ 434321856 w 92"/>
              <a:gd name="T15" fmla="*/ 92474787 h 180"/>
              <a:gd name="T16" fmla="*/ 235044530 w 92"/>
              <a:gd name="T17" fmla="*/ 184949573 h 180"/>
              <a:gd name="T18" fmla="*/ 235044530 w 92"/>
              <a:gd name="T19" fmla="*/ 184949573 h 180"/>
              <a:gd name="T20" fmla="*/ 76645299 w 92"/>
              <a:gd name="T21" fmla="*/ 883643177 h 180"/>
              <a:gd name="T22" fmla="*/ 30658572 w 92"/>
              <a:gd name="T23" fmla="*/ 883643177 h 180"/>
              <a:gd name="T24" fmla="*/ 112412503 w 92"/>
              <a:gd name="T25" fmla="*/ 852819759 h 180"/>
              <a:gd name="T26" fmla="*/ 112412503 w 92"/>
              <a:gd name="T27" fmla="*/ 893917650 h 180"/>
              <a:gd name="T28" fmla="*/ 112412503 w 92"/>
              <a:gd name="T29" fmla="*/ 852819759 h 180"/>
              <a:gd name="T30" fmla="*/ 291250781 w 92"/>
              <a:gd name="T31" fmla="*/ 863094232 h 180"/>
              <a:gd name="T32" fmla="*/ 255483577 w 92"/>
              <a:gd name="T33" fmla="*/ 857955862 h 180"/>
              <a:gd name="T34" fmla="*/ 245264054 w 92"/>
              <a:gd name="T35" fmla="*/ 821994075 h 180"/>
              <a:gd name="T36" fmla="*/ 209496850 w 92"/>
              <a:gd name="T37" fmla="*/ 801445130 h 180"/>
              <a:gd name="T38" fmla="*/ 173729646 w 92"/>
              <a:gd name="T39" fmla="*/ 806581233 h 180"/>
              <a:gd name="T40" fmla="*/ 153290599 w 92"/>
              <a:gd name="T41" fmla="*/ 863094232 h 180"/>
              <a:gd name="T42" fmla="*/ 209496850 w 92"/>
              <a:gd name="T43" fmla="*/ 852819759 h 180"/>
              <a:gd name="T44" fmla="*/ 235044530 w 92"/>
              <a:gd name="T45" fmla="*/ 857955862 h 180"/>
              <a:gd name="T46" fmla="*/ 255483577 w 92"/>
              <a:gd name="T47" fmla="*/ 899056019 h 180"/>
              <a:gd name="T48" fmla="*/ 316798461 w 92"/>
              <a:gd name="T49" fmla="*/ 878507074 h 180"/>
              <a:gd name="T50" fmla="*/ 337237508 w 92"/>
              <a:gd name="T51" fmla="*/ 878507074 h 180"/>
              <a:gd name="T52" fmla="*/ 388335128 w 92"/>
              <a:gd name="T53" fmla="*/ 899056019 h 180"/>
              <a:gd name="T54" fmla="*/ 367896080 w 92"/>
              <a:gd name="T55" fmla="*/ 847681390 h 180"/>
              <a:gd name="T56" fmla="*/ 362785188 w 92"/>
              <a:gd name="T57" fmla="*/ 847681390 h 180"/>
              <a:gd name="T58" fmla="*/ 352567925 w 92"/>
              <a:gd name="T59" fmla="*/ 780893918 h 180"/>
              <a:gd name="T60" fmla="*/ 342348401 w 92"/>
              <a:gd name="T61" fmla="*/ 842543020 h 180"/>
              <a:gd name="T62" fmla="*/ 143071075 w 92"/>
              <a:gd name="T63" fmla="*/ 431545983 h 180"/>
              <a:gd name="T64" fmla="*/ 61314883 w 92"/>
              <a:gd name="T65" fmla="*/ 524020769 h 180"/>
              <a:gd name="T66" fmla="*/ 0 w 92"/>
              <a:gd name="T67" fmla="*/ 714106446 h 180"/>
              <a:gd name="T68" fmla="*/ 464980427 w 92"/>
              <a:gd name="T69" fmla="*/ 924743334 h 180"/>
              <a:gd name="T70" fmla="*/ 429210963 w 92"/>
              <a:gd name="T71" fmla="*/ 544571981 h 180"/>
              <a:gd name="T72" fmla="*/ 327017985 w 92"/>
              <a:gd name="T73" fmla="*/ 431545983 h 180"/>
              <a:gd name="T74" fmla="*/ 199277326 w 92"/>
              <a:gd name="T75" fmla="*/ 544571981 h 180"/>
              <a:gd name="T76" fmla="*/ 270811733 w 92"/>
              <a:gd name="T77" fmla="*/ 631908398 h 180"/>
              <a:gd name="T78" fmla="*/ 357676556 w 92"/>
              <a:gd name="T79" fmla="*/ 703831973 h 180"/>
              <a:gd name="T80" fmla="*/ 270811733 w 92"/>
              <a:gd name="T81" fmla="*/ 796306760 h 180"/>
              <a:gd name="T82" fmla="*/ 199277326 w 92"/>
              <a:gd name="T83" fmla="*/ 703831973 h 180"/>
              <a:gd name="T84" fmla="*/ 112412503 w 92"/>
              <a:gd name="T85" fmla="*/ 631908398 h 180"/>
              <a:gd name="T86" fmla="*/ 199277326 w 92"/>
              <a:gd name="T87" fmla="*/ 544571981 h 18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92" h="180">
                <a:moveTo>
                  <a:pt x="11" y="61"/>
                </a:moveTo>
                <a:cubicBezTo>
                  <a:pt x="81" y="61"/>
                  <a:pt x="81" y="61"/>
                  <a:pt x="81" y="61"/>
                </a:cubicBezTo>
                <a:cubicBezTo>
                  <a:pt x="81" y="75"/>
                  <a:pt x="81" y="75"/>
                  <a:pt x="81" y="75"/>
                </a:cubicBezTo>
                <a:cubicBezTo>
                  <a:pt x="11" y="75"/>
                  <a:pt x="11" y="75"/>
                  <a:pt x="11" y="75"/>
                </a:cubicBezTo>
                <a:cubicBezTo>
                  <a:pt x="11" y="61"/>
                  <a:pt x="11" y="61"/>
                  <a:pt x="11" y="61"/>
                </a:cubicBezTo>
                <a:close/>
                <a:moveTo>
                  <a:pt x="50" y="31"/>
                </a:moveTo>
                <a:cubicBezTo>
                  <a:pt x="45" y="17"/>
                  <a:pt x="18" y="0"/>
                  <a:pt x="7" y="4"/>
                </a:cubicBezTo>
                <a:cubicBezTo>
                  <a:pt x="4" y="18"/>
                  <a:pt x="25" y="43"/>
                  <a:pt x="45" y="40"/>
                </a:cubicBezTo>
                <a:cubicBezTo>
                  <a:pt x="45" y="61"/>
                  <a:pt x="45" y="61"/>
                  <a:pt x="45" y="61"/>
                </a:cubicBezTo>
                <a:cubicBezTo>
                  <a:pt x="50" y="61"/>
                  <a:pt x="50" y="61"/>
                  <a:pt x="50" y="61"/>
                </a:cubicBezTo>
                <a:cubicBezTo>
                  <a:pt x="50" y="49"/>
                  <a:pt x="50" y="49"/>
                  <a:pt x="50" y="49"/>
                </a:cubicBezTo>
                <a:cubicBezTo>
                  <a:pt x="70" y="53"/>
                  <a:pt x="92" y="21"/>
                  <a:pt x="90" y="14"/>
                </a:cubicBezTo>
                <a:cubicBezTo>
                  <a:pt x="78" y="11"/>
                  <a:pt x="54" y="26"/>
                  <a:pt x="50" y="39"/>
                </a:cubicBezTo>
                <a:cubicBezTo>
                  <a:pt x="50" y="41"/>
                  <a:pt x="50" y="34"/>
                  <a:pt x="50" y="31"/>
                </a:cubicBezTo>
                <a:close/>
                <a:moveTo>
                  <a:pt x="51" y="46"/>
                </a:moveTo>
                <a:cubicBezTo>
                  <a:pt x="51" y="38"/>
                  <a:pt x="76" y="16"/>
                  <a:pt x="85" y="18"/>
                </a:cubicBezTo>
                <a:cubicBezTo>
                  <a:pt x="86" y="22"/>
                  <a:pt x="64" y="50"/>
                  <a:pt x="51" y="46"/>
                </a:cubicBezTo>
                <a:close/>
                <a:moveTo>
                  <a:pt x="46" y="36"/>
                </a:moveTo>
                <a:cubicBezTo>
                  <a:pt x="30" y="36"/>
                  <a:pt x="13" y="18"/>
                  <a:pt x="13" y="10"/>
                </a:cubicBezTo>
                <a:cubicBezTo>
                  <a:pt x="20" y="9"/>
                  <a:pt x="48" y="27"/>
                  <a:pt x="46" y="36"/>
                </a:cubicBezTo>
                <a:close/>
                <a:moveTo>
                  <a:pt x="10" y="169"/>
                </a:moveTo>
                <a:cubicBezTo>
                  <a:pt x="13" y="169"/>
                  <a:pt x="15" y="171"/>
                  <a:pt x="15" y="172"/>
                </a:cubicBezTo>
                <a:cubicBezTo>
                  <a:pt x="15" y="174"/>
                  <a:pt x="13" y="175"/>
                  <a:pt x="10" y="175"/>
                </a:cubicBezTo>
                <a:cubicBezTo>
                  <a:pt x="8" y="175"/>
                  <a:pt x="6" y="174"/>
                  <a:pt x="6" y="172"/>
                </a:cubicBezTo>
                <a:cubicBezTo>
                  <a:pt x="6" y="171"/>
                  <a:pt x="8" y="169"/>
                  <a:pt x="10" y="169"/>
                </a:cubicBezTo>
                <a:close/>
                <a:moveTo>
                  <a:pt x="22" y="166"/>
                </a:moveTo>
                <a:cubicBezTo>
                  <a:pt x="25" y="166"/>
                  <a:pt x="28" y="168"/>
                  <a:pt x="28" y="170"/>
                </a:cubicBezTo>
                <a:cubicBezTo>
                  <a:pt x="28" y="172"/>
                  <a:pt x="25" y="174"/>
                  <a:pt x="22" y="174"/>
                </a:cubicBezTo>
                <a:cubicBezTo>
                  <a:pt x="19" y="174"/>
                  <a:pt x="17" y="172"/>
                  <a:pt x="17" y="170"/>
                </a:cubicBezTo>
                <a:cubicBezTo>
                  <a:pt x="17" y="168"/>
                  <a:pt x="19" y="166"/>
                  <a:pt x="22" y="166"/>
                </a:cubicBezTo>
                <a:close/>
                <a:moveTo>
                  <a:pt x="65" y="164"/>
                </a:moveTo>
                <a:cubicBezTo>
                  <a:pt x="61" y="164"/>
                  <a:pt x="57" y="166"/>
                  <a:pt x="57" y="168"/>
                </a:cubicBezTo>
                <a:cubicBezTo>
                  <a:pt x="57" y="168"/>
                  <a:pt x="57" y="168"/>
                  <a:pt x="57" y="168"/>
                </a:cubicBezTo>
                <a:cubicBezTo>
                  <a:pt x="55" y="167"/>
                  <a:pt x="53" y="167"/>
                  <a:pt x="50" y="167"/>
                </a:cubicBezTo>
                <a:cubicBezTo>
                  <a:pt x="52" y="166"/>
                  <a:pt x="53" y="165"/>
                  <a:pt x="53" y="164"/>
                </a:cubicBezTo>
                <a:cubicBezTo>
                  <a:pt x="53" y="162"/>
                  <a:pt x="51" y="160"/>
                  <a:pt x="48" y="160"/>
                </a:cubicBezTo>
                <a:cubicBezTo>
                  <a:pt x="47" y="160"/>
                  <a:pt x="47" y="160"/>
                  <a:pt x="47" y="161"/>
                </a:cubicBezTo>
                <a:cubicBezTo>
                  <a:pt x="47" y="158"/>
                  <a:pt x="44" y="156"/>
                  <a:pt x="41" y="156"/>
                </a:cubicBezTo>
                <a:cubicBezTo>
                  <a:pt x="39" y="156"/>
                  <a:pt x="37" y="157"/>
                  <a:pt x="36" y="158"/>
                </a:cubicBezTo>
                <a:cubicBezTo>
                  <a:pt x="35" y="157"/>
                  <a:pt x="35" y="157"/>
                  <a:pt x="34" y="157"/>
                </a:cubicBezTo>
                <a:cubicBezTo>
                  <a:pt x="32" y="156"/>
                  <a:pt x="30" y="158"/>
                  <a:pt x="29" y="161"/>
                </a:cubicBezTo>
                <a:cubicBezTo>
                  <a:pt x="28" y="165"/>
                  <a:pt x="28" y="168"/>
                  <a:pt x="30" y="168"/>
                </a:cubicBezTo>
                <a:cubicBezTo>
                  <a:pt x="32" y="169"/>
                  <a:pt x="35" y="167"/>
                  <a:pt x="36" y="164"/>
                </a:cubicBezTo>
                <a:cubicBezTo>
                  <a:pt x="37" y="165"/>
                  <a:pt x="39" y="166"/>
                  <a:pt x="41" y="166"/>
                </a:cubicBezTo>
                <a:cubicBezTo>
                  <a:pt x="42" y="166"/>
                  <a:pt x="42" y="166"/>
                  <a:pt x="43" y="166"/>
                </a:cubicBezTo>
                <a:cubicBezTo>
                  <a:pt x="44" y="166"/>
                  <a:pt x="45" y="167"/>
                  <a:pt x="46" y="167"/>
                </a:cubicBezTo>
                <a:cubicBezTo>
                  <a:pt x="41" y="167"/>
                  <a:pt x="38" y="169"/>
                  <a:pt x="38" y="171"/>
                </a:cubicBezTo>
                <a:cubicBezTo>
                  <a:pt x="38" y="173"/>
                  <a:pt x="43" y="175"/>
                  <a:pt x="50" y="175"/>
                </a:cubicBezTo>
                <a:cubicBezTo>
                  <a:pt x="56" y="175"/>
                  <a:pt x="62" y="173"/>
                  <a:pt x="62" y="171"/>
                </a:cubicBezTo>
                <a:cubicBezTo>
                  <a:pt x="62" y="171"/>
                  <a:pt x="62" y="171"/>
                  <a:pt x="62" y="171"/>
                </a:cubicBezTo>
                <a:cubicBezTo>
                  <a:pt x="63" y="171"/>
                  <a:pt x="64" y="171"/>
                  <a:pt x="65" y="171"/>
                </a:cubicBezTo>
                <a:cubicBezTo>
                  <a:pt x="65" y="171"/>
                  <a:pt x="65" y="171"/>
                  <a:pt x="66" y="171"/>
                </a:cubicBezTo>
                <a:cubicBezTo>
                  <a:pt x="65" y="172"/>
                  <a:pt x="65" y="173"/>
                  <a:pt x="66" y="174"/>
                </a:cubicBezTo>
                <a:cubicBezTo>
                  <a:pt x="67" y="176"/>
                  <a:pt x="71" y="177"/>
                  <a:pt x="76" y="175"/>
                </a:cubicBezTo>
                <a:cubicBezTo>
                  <a:pt x="81" y="173"/>
                  <a:pt x="84" y="169"/>
                  <a:pt x="83" y="167"/>
                </a:cubicBezTo>
                <a:cubicBezTo>
                  <a:pt x="82" y="164"/>
                  <a:pt x="77" y="163"/>
                  <a:pt x="72" y="165"/>
                </a:cubicBezTo>
                <a:cubicBezTo>
                  <a:pt x="72" y="165"/>
                  <a:pt x="72" y="166"/>
                  <a:pt x="71" y="166"/>
                </a:cubicBezTo>
                <a:cubicBezTo>
                  <a:pt x="71" y="166"/>
                  <a:pt x="71" y="165"/>
                  <a:pt x="71" y="165"/>
                </a:cubicBezTo>
                <a:cubicBezTo>
                  <a:pt x="71" y="164"/>
                  <a:pt x="71" y="163"/>
                  <a:pt x="71" y="161"/>
                </a:cubicBezTo>
                <a:cubicBezTo>
                  <a:pt x="71" y="156"/>
                  <a:pt x="70" y="152"/>
                  <a:pt x="69" y="152"/>
                </a:cubicBezTo>
                <a:cubicBezTo>
                  <a:pt x="68" y="152"/>
                  <a:pt x="67" y="156"/>
                  <a:pt x="67" y="161"/>
                </a:cubicBezTo>
                <a:cubicBezTo>
                  <a:pt x="67" y="162"/>
                  <a:pt x="67" y="163"/>
                  <a:pt x="67" y="164"/>
                </a:cubicBezTo>
                <a:cubicBezTo>
                  <a:pt x="66" y="164"/>
                  <a:pt x="66" y="164"/>
                  <a:pt x="65" y="164"/>
                </a:cubicBezTo>
                <a:close/>
                <a:moveTo>
                  <a:pt x="28" y="84"/>
                </a:moveTo>
                <a:cubicBezTo>
                  <a:pt x="28" y="97"/>
                  <a:pt x="28" y="97"/>
                  <a:pt x="28" y="97"/>
                </a:cubicBezTo>
                <a:cubicBezTo>
                  <a:pt x="22" y="97"/>
                  <a:pt x="16" y="99"/>
                  <a:pt x="12" y="102"/>
                </a:cubicBezTo>
                <a:cubicBezTo>
                  <a:pt x="19" y="109"/>
                  <a:pt x="17" y="120"/>
                  <a:pt x="11" y="126"/>
                </a:cubicBezTo>
                <a:cubicBezTo>
                  <a:pt x="7" y="131"/>
                  <a:pt x="4" y="135"/>
                  <a:pt x="0" y="139"/>
                </a:cubicBezTo>
                <a:cubicBezTo>
                  <a:pt x="0" y="180"/>
                  <a:pt x="0" y="180"/>
                  <a:pt x="0" y="180"/>
                </a:cubicBezTo>
                <a:cubicBezTo>
                  <a:pt x="91" y="180"/>
                  <a:pt x="91" y="180"/>
                  <a:pt x="91" y="180"/>
                </a:cubicBezTo>
                <a:cubicBezTo>
                  <a:pt x="91" y="128"/>
                  <a:pt x="91" y="128"/>
                  <a:pt x="91" y="128"/>
                </a:cubicBezTo>
                <a:cubicBezTo>
                  <a:pt x="91" y="119"/>
                  <a:pt x="89" y="112"/>
                  <a:pt x="84" y="106"/>
                </a:cubicBezTo>
                <a:cubicBezTo>
                  <a:pt x="79" y="100"/>
                  <a:pt x="72" y="97"/>
                  <a:pt x="64" y="97"/>
                </a:cubicBezTo>
                <a:cubicBezTo>
                  <a:pt x="64" y="84"/>
                  <a:pt x="64" y="84"/>
                  <a:pt x="64" y="84"/>
                </a:cubicBezTo>
                <a:cubicBezTo>
                  <a:pt x="28" y="84"/>
                  <a:pt x="28" y="84"/>
                  <a:pt x="28" y="84"/>
                </a:cubicBezTo>
                <a:close/>
                <a:moveTo>
                  <a:pt x="39" y="106"/>
                </a:moveTo>
                <a:cubicBezTo>
                  <a:pt x="53" y="106"/>
                  <a:pt x="53" y="106"/>
                  <a:pt x="53" y="106"/>
                </a:cubicBezTo>
                <a:cubicBezTo>
                  <a:pt x="53" y="123"/>
                  <a:pt x="53" y="123"/>
                  <a:pt x="53" y="123"/>
                </a:cubicBezTo>
                <a:cubicBezTo>
                  <a:pt x="70" y="123"/>
                  <a:pt x="70" y="123"/>
                  <a:pt x="70" y="123"/>
                </a:cubicBezTo>
                <a:cubicBezTo>
                  <a:pt x="70" y="137"/>
                  <a:pt x="70" y="137"/>
                  <a:pt x="70" y="137"/>
                </a:cubicBezTo>
                <a:cubicBezTo>
                  <a:pt x="53" y="137"/>
                  <a:pt x="53" y="137"/>
                  <a:pt x="53" y="137"/>
                </a:cubicBezTo>
                <a:cubicBezTo>
                  <a:pt x="53" y="155"/>
                  <a:pt x="53" y="155"/>
                  <a:pt x="53" y="155"/>
                </a:cubicBezTo>
                <a:cubicBezTo>
                  <a:pt x="39" y="155"/>
                  <a:pt x="39" y="155"/>
                  <a:pt x="39" y="155"/>
                </a:cubicBezTo>
                <a:cubicBezTo>
                  <a:pt x="39" y="137"/>
                  <a:pt x="39" y="137"/>
                  <a:pt x="39" y="137"/>
                </a:cubicBezTo>
                <a:cubicBezTo>
                  <a:pt x="22" y="137"/>
                  <a:pt x="22" y="137"/>
                  <a:pt x="22" y="137"/>
                </a:cubicBezTo>
                <a:cubicBezTo>
                  <a:pt x="22" y="123"/>
                  <a:pt x="22" y="123"/>
                  <a:pt x="22" y="123"/>
                </a:cubicBezTo>
                <a:cubicBezTo>
                  <a:pt x="39" y="123"/>
                  <a:pt x="39" y="123"/>
                  <a:pt x="39" y="123"/>
                </a:cubicBezTo>
                <a:lnTo>
                  <a:pt x="39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2" name="Freeform 252"/>
          <p:cNvSpPr>
            <a:spLocks noEditPoints="1"/>
          </p:cNvSpPr>
          <p:nvPr/>
        </p:nvSpPr>
        <p:spPr bwMode="auto">
          <a:xfrm>
            <a:off x="6314017" y="2288118"/>
            <a:ext cx="505883" cy="535516"/>
          </a:xfrm>
          <a:custGeom>
            <a:avLst/>
            <a:gdLst>
              <a:gd name="T0" fmla="*/ 805862054 w 168"/>
              <a:gd name="T1" fmla="*/ 325842683 h 178"/>
              <a:gd name="T2" fmla="*/ 652850615 w 168"/>
              <a:gd name="T3" fmla="*/ 875704043 h 178"/>
              <a:gd name="T4" fmla="*/ 627348708 w 168"/>
              <a:gd name="T5" fmla="*/ 875704043 h 178"/>
              <a:gd name="T6" fmla="*/ 627348708 w 168"/>
              <a:gd name="T7" fmla="*/ 875704043 h 178"/>
              <a:gd name="T8" fmla="*/ 188714560 w 168"/>
              <a:gd name="T9" fmla="*/ 875704043 h 178"/>
              <a:gd name="T10" fmla="*/ 188714560 w 168"/>
              <a:gd name="T11" fmla="*/ 875704043 h 178"/>
              <a:gd name="T12" fmla="*/ 168312132 w 168"/>
              <a:gd name="T13" fmla="*/ 875704043 h 178"/>
              <a:gd name="T14" fmla="*/ 15300692 w 168"/>
              <a:gd name="T15" fmla="*/ 325842683 h 178"/>
              <a:gd name="T16" fmla="*/ 805862054 w 168"/>
              <a:gd name="T17" fmla="*/ 325842683 h 178"/>
              <a:gd name="T18" fmla="*/ 606946280 w 168"/>
              <a:gd name="T19" fmla="*/ 880794454 h 178"/>
              <a:gd name="T20" fmla="*/ 606946280 w 168"/>
              <a:gd name="T21" fmla="*/ 906251019 h 178"/>
              <a:gd name="T22" fmla="*/ 209116989 w 168"/>
              <a:gd name="T23" fmla="*/ 906251019 h 178"/>
              <a:gd name="T24" fmla="*/ 209116989 w 168"/>
              <a:gd name="T25" fmla="*/ 880794454 h 178"/>
              <a:gd name="T26" fmla="*/ 606946280 w 168"/>
              <a:gd name="T27" fmla="*/ 880794454 h 178"/>
              <a:gd name="T28" fmla="*/ 770158934 w 168"/>
              <a:gd name="T29" fmla="*/ 30546976 h 178"/>
              <a:gd name="T30" fmla="*/ 826264483 w 168"/>
              <a:gd name="T31" fmla="*/ 198559856 h 178"/>
              <a:gd name="T32" fmla="*/ 754858241 w 168"/>
              <a:gd name="T33" fmla="*/ 259656064 h 178"/>
              <a:gd name="T34" fmla="*/ 729356335 w 168"/>
              <a:gd name="T35" fmla="*/ 310569195 h 178"/>
              <a:gd name="T36" fmla="*/ 520239346 w 168"/>
              <a:gd name="T37" fmla="*/ 310569195 h 178"/>
              <a:gd name="T38" fmla="*/ 596745065 w 168"/>
              <a:gd name="T39" fmla="*/ 173103291 h 178"/>
              <a:gd name="T40" fmla="*/ 601846802 w 168"/>
              <a:gd name="T41" fmla="*/ 86552774 h 178"/>
              <a:gd name="T42" fmla="*/ 770158934 w 168"/>
              <a:gd name="T43" fmla="*/ 30546976 h 178"/>
              <a:gd name="T44" fmla="*/ 351927214 w 168"/>
              <a:gd name="T45" fmla="*/ 412395456 h 178"/>
              <a:gd name="T46" fmla="*/ 351927214 w 168"/>
              <a:gd name="T47" fmla="*/ 544768694 h 178"/>
              <a:gd name="T48" fmla="*/ 219315945 w 168"/>
              <a:gd name="T49" fmla="*/ 544768694 h 178"/>
              <a:gd name="T50" fmla="*/ 219315945 w 168"/>
              <a:gd name="T51" fmla="*/ 651685366 h 178"/>
              <a:gd name="T52" fmla="*/ 351927214 w 168"/>
              <a:gd name="T53" fmla="*/ 651685366 h 178"/>
              <a:gd name="T54" fmla="*/ 351927214 w 168"/>
              <a:gd name="T55" fmla="*/ 789151270 h 178"/>
              <a:gd name="T56" fmla="*/ 464136055 w 168"/>
              <a:gd name="T57" fmla="*/ 789151270 h 178"/>
              <a:gd name="T58" fmla="*/ 464136055 w 168"/>
              <a:gd name="T59" fmla="*/ 651685366 h 178"/>
              <a:gd name="T60" fmla="*/ 596745065 w 168"/>
              <a:gd name="T61" fmla="*/ 651685366 h 178"/>
              <a:gd name="T62" fmla="*/ 596745065 w 168"/>
              <a:gd name="T63" fmla="*/ 544768694 h 178"/>
              <a:gd name="T64" fmla="*/ 464136055 w 168"/>
              <a:gd name="T65" fmla="*/ 544768694 h 178"/>
              <a:gd name="T66" fmla="*/ 464136055 w 168"/>
              <a:gd name="T67" fmla="*/ 412395456 h 178"/>
              <a:gd name="T68" fmla="*/ 351927214 w 168"/>
              <a:gd name="T69" fmla="*/ 412395456 h 17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68" h="178">
                <a:moveTo>
                  <a:pt x="158" y="64"/>
                </a:moveTo>
                <a:cubicBezTo>
                  <a:pt x="159" y="88"/>
                  <a:pt x="159" y="143"/>
                  <a:pt x="128" y="172"/>
                </a:cubicBezTo>
                <a:cubicBezTo>
                  <a:pt x="123" y="172"/>
                  <a:pt x="123" y="172"/>
                  <a:pt x="123" y="172"/>
                </a:cubicBezTo>
                <a:cubicBezTo>
                  <a:pt x="123" y="172"/>
                  <a:pt x="123" y="172"/>
                  <a:pt x="123" y="172"/>
                </a:cubicBezTo>
                <a:cubicBezTo>
                  <a:pt x="37" y="172"/>
                  <a:pt x="37" y="172"/>
                  <a:pt x="37" y="172"/>
                </a:cubicBezTo>
                <a:cubicBezTo>
                  <a:pt x="37" y="172"/>
                  <a:pt x="37" y="172"/>
                  <a:pt x="37" y="172"/>
                </a:cubicBezTo>
                <a:cubicBezTo>
                  <a:pt x="33" y="172"/>
                  <a:pt x="33" y="172"/>
                  <a:pt x="33" y="172"/>
                </a:cubicBezTo>
                <a:cubicBezTo>
                  <a:pt x="1" y="137"/>
                  <a:pt x="0" y="91"/>
                  <a:pt x="3" y="64"/>
                </a:cubicBezTo>
                <a:cubicBezTo>
                  <a:pt x="158" y="64"/>
                  <a:pt x="158" y="64"/>
                  <a:pt x="158" y="64"/>
                </a:cubicBezTo>
                <a:close/>
                <a:moveTo>
                  <a:pt x="119" y="173"/>
                </a:moveTo>
                <a:cubicBezTo>
                  <a:pt x="119" y="178"/>
                  <a:pt x="119" y="178"/>
                  <a:pt x="119" y="178"/>
                </a:cubicBezTo>
                <a:cubicBezTo>
                  <a:pt x="41" y="178"/>
                  <a:pt x="41" y="178"/>
                  <a:pt x="41" y="178"/>
                </a:cubicBezTo>
                <a:cubicBezTo>
                  <a:pt x="41" y="173"/>
                  <a:pt x="41" y="173"/>
                  <a:pt x="41" y="173"/>
                </a:cubicBezTo>
                <a:cubicBezTo>
                  <a:pt x="119" y="173"/>
                  <a:pt x="119" y="173"/>
                  <a:pt x="119" y="173"/>
                </a:cubicBezTo>
                <a:close/>
                <a:moveTo>
                  <a:pt x="151" y="6"/>
                </a:moveTo>
                <a:cubicBezTo>
                  <a:pt x="163" y="12"/>
                  <a:pt x="168" y="27"/>
                  <a:pt x="162" y="39"/>
                </a:cubicBezTo>
                <a:cubicBezTo>
                  <a:pt x="159" y="45"/>
                  <a:pt x="154" y="49"/>
                  <a:pt x="148" y="51"/>
                </a:cubicBezTo>
                <a:cubicBezTo>
                  <a:pt x="143" y="61"/>
                  <a:pt x="143" y="61"/>
                  <a:pt x="143" y="61"/>
                </a:cubicBezTo>
                <a:cubicBezTo>
                  <a:pt x="102" y="61"/>
                  <a:pt x="102" y="61"/>
                  <a:pt x="102" y="61"/>
                </a:cubicBezTo>
                <a:cubicBezTo>
                  <a:pt x="117" y="34"/>
                  <a:pt x="117" y="34"/>
                  <a:pt x="117" y="34"/>
                </a:cubicBezTo>
                <a:cubicBezTo>
                  <a:pt x="115" y="28"/>
                  <a:pt x="116" y="22"/>
                  <a:pt x="118" y="17"/>
                </a:cubicBezTo>
                <a:cubicBezTo>
                  <a:pt x="125" y="5"/>
                  <a:pt x="139" y="0"/>
                  <a:pt x="151" y="6"/>
                </a:cubicBezTo>
                <a:close/>
                <a:moveTo>
                  <a:pt x="69" y="81"/>
                </a:moveTo>
                <a:cubicBezTo>
                  <a:pt x="69" y="107"/>
                  <a:pt x="69" y="107"/>
                  <a:pt x="69" y="107"/>
                </a:cubicBezTo>
                <a:cubicBezTo>
                  <a:pt x="43" y="107"/>
                  <a:pt x="43" y="107"/>
                  <a:pt x="43" y="107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69" y="128"/>
                  <a:pt x="69" y="128"/>
                  <a:pt x="69" y="128"/>
                </a:cubicBezTo>
                <a:cubicBezTo>
                  <a:pt x="69" y="155"/>
                  <a:pt x="69" y="155"/>
                  <a:pt x="69" y="155"/>
                </a:cubicBezTo>
                <a:cubicBezTo>
                  <a:pt x="91" y="155"/>
                  <a:pt x="91" y="155"/>
                  <a:pt x="91" y="155"/>
                </a:cubicBezTo>
                <a:cubicBezTo>
                  <a:pt x="91" y="128"/>
                  <a:pt x="91" y="128"/>
                  <a:pt x="91" y="128"/>
                </a:cubicBezTo>
                <a:cubicBezTo>
                  <a:pt x="117" y="128"/>
                  <a:pt x="117" y="128"/>
                  <a:pt x="117" y="128"/>
                </a:cubicBezTo>
                <a:cubicBezTo>
                  <a:pt x="117" y="107"/>
                  <a:pt x="117" y="107"/>
                  <a:pt x="117" y="107"/>
                </a:cubicBezTo>
                <a:cubicBezTo>
                  <a:pt x="91" y="107"/>
                  <a:pt x="91" y="107"/>
                  <a:pt x="91" y="107"/>
                </a:cubicBezTo>
                <a:cubicBezTo>
                  <a:pt x="91" y="81"/>
                  <a:pt x="91" y="81"/>
                  <a:pt x="91" y="81"/>
                </a:cubicBezTo>
                <a:lnTo>
                  <a:pt x="69" y="8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3" name="Freeform 253"/>
          <p:cNvSpPr>
            <a:spLocks noEditPoints="1"/>
          </p:cNvSpPr>
          <p:nvPr/>
        </p:nvSpPr>
        <p:spPr bwMode="auto">
          <a:xfrm>
            <a:off x="7173385" y="2283884"/>
            <a:ext cx="486833" cy="573616"/>
          </a:xfrm>
          <a:custGeom>
            <a:avLst/>
            <a:gdLst>
              <a:gd name="T0" fmla="*/ 147316668 w 162"/>
              <a:gd name="T1" fmla="*/ 117918845 h 190"/>
              <a:gd name="T2" fmla="*/ 147316668 w 162"/>
              <a:gd name="T3" fmla="*/ 240966270 h 190"/>
              <a:gd name="T4" fmla="*/ 0 w 162"/>
              <a:gd name="T5" fmla="*/ 240966270 h 190"/>
              <a:gd name="T6" fmla="*/ 0 w 162"/>
              <a:gd name="T7" fmla="*/ 692138651 h 190"/>
              <a:gd name="T8" fmla="*/ 152396864 w 162"/>
              <a:gd name="T9" fmla="*/ 692138651 h 190"/>
              <a:gd name="T10" fmla="*/ 416549025 w 162"/>
              <a:gd name="T11" fmla="*/ 974119975 h 190"/>
              <a:gd name="T12" fmla="*/ 685783635 w 162"/>
              <a:gd name="T13" fmla="*/ 692138651 h 190"/>
              <a:gd name="T14" fmla="*/ 822939911 w 162"/>
              <a:gd name="T15" fmla="*/ 692138651 h 190"/>
              <a:gd name="T16" fmla="*/ 822939911 w 162"/>
              <a:gd name="T17" fmla="*/ 240966270 h 190"/>
              <a:gd name="T18" fmla="*/ 584186477 w 162"/>
              <a:gd name="T19" fmla="*/ 240966270 h 190"/>
              <a:gd name="T20" fmla="*/ 584186477 w 162"/>
              <a:gd name="T21" fmla="*/ 82030107 h 190"/>
              <a:gd name="T22" fmla="*/ 497827653 w 162"/>
              <a:gd name="T23" fmla="*/ 82030107 h 190"/>
              <a:gd name="T24" fmla="*/ 497827653 w 162"/>
              <a:gd name="T25" fmla="*/ 240966270 h 190"/>
              <a:gd name="T26" fmla="*/ 467348731 w 162"/>
              <a:gd name="T27" fmla="*/ 240966270 h 190"/>
              <a:gd name="T28" fmla="*/ 467348731 w 162"/>
              <a:gd name="T29" fmla="*/ 46143633 h 190"/>
              <a:gd name="T30" fmla="*/ 380989907 w 162"/>
              <a:gd name="T31" fmla="*/ 46143633 h 190"/>
              <a:gd name="T32" fmla="*/ 380989907 w 162"/>
              <a:gd name="T33" fmla="*/ 240966270 h 190"/>
              <a:gd name="T34" fmla="*/ 350510985 w 162"/>
              <a:gd name="T35" fmla="*/ 240966270 h 190"/>
              <a:gd name="T36" fmla="*/ 350510985 w 162"/>
              <a:gd name="T37" fmla="*/ 82030107 h 190"/>
              <a:gd name="T38" fmla="*/ 264154414 w 162"/>
              <a:gd name="T39" fmla="*/ 82030107 h 190"/>
              <a:gd name="T40" fmla="*/ 264154414 w 162"/>
              <a:gd name="T41" fmla="*/ 240966270 h 190"/>
              <a:gd name="T42" fmla="*/ 233673238 w 162"/>
              <a:gd name="T43" fmla="*/ 240966270 h 190"/>
              <a:gd name="T44" fmla="*/ 233673238 w 162"/>
              <a:gd name="T45" fmla="*/ 117918845 h 190"/>
              <a:gd name="T46" fmla="*/ 147316668 w 162"/>
              <a:gd name="T47" fmla="*/ 117918845 h 190"/>
              <a:gd name="T48" fmla="*/ 594344615 w 162"/>
              <a:gd name="T49" fmla="*/ 461425013 h 190"/>
              <a:gd name="T50" fmla="*/ 680703439 w 162"/>
              <a:gd name="T51" fmla="*/ 461425013 h 190"/>
              <a:gd name="T52" fmla="*/ 680703439 w 162"/>
              <a:gd name="T53" fmla="*/ 666502545 h 190"/>
              <a:gd name="T54" fmla="*/ 792460989 w 162"/>
              <a:gd name="T55" fmla="*/ 666502545 h 190"/>
              <a:gd name="T56" fmla="*/ 792460989 w 162"/>
              <a:gd name="T57" fmla="*/ 266602376 h 190"/>
              <a:gd name="T58" fmla="*/ 25398726 w 162"/>
              <a:gd name="T59" fmla="*/ 266602376 h 190"/>
              <a:gd name="T60" fmla="*/ 25398726 w 162"/>
              <a:gd name="T61" fmla="*/ 666502545 h 190"/>
              <a:gd name="T62" fmla="*/ 594344615 w 162"/>
              <a:gd name="T63" fmla="*/ 666502545 h 190"/>
              <a:gd name="T64" fmla="*/ 594344615 w 162"/>
              <a:gd name="T65" fmla="*/ 461425013 h 19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2" h="190">
                <a:moveTo>
                  <a:pt x="29" y="23"/>
                </a:moveTo>
                <a:cubicBezTo>
                  <a:pt x="29" y="47"/>
                  <a:pt x="29" y="47"/>
                  <a:pt x="29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135"/>
                  <a:pt x="0" y="135"/>
                  <a:pt x="0" y="135"/>
                </a:cubicBezTo>
                <a:cubicBezTo>
                  <a:pt x="30" y="135"/>
                  <a:pt x="30" y="135"/>
                  <a:pt x="30" y="135"/>
                </a:cubicBezTo>
                <a:cubicBezTo>
                  <a:pt x="31" y="165"/>
                  <a:pt x="54" y="190"/>
                  <a:pt x="82" y="190"/>
                </a:cubicBezTo>
                <a:cubicBezTo>
                  <a:pt x="111" y="190"/>
                  <a:pt x="134" y="165"/>
                  <a:pt x="135" y="135"/>
                </a:cubicBezTo>
                <a:cubicBezTo>
                  <a:pt x="162" y="135"/>
                  <a:pt x="162" y="135"/>
                  <a:pt x="162" y="135"/>
                </a:cubicBezTo>
                <a:cubicBezTo>
                  <a:pt x="162" y="47"/>
                  <a:pt x="162" y="47"/>
                  <a:pt x="162" y="47"/>
                </a:cubicBezTo>
                <a:cubicBezTo>
                  <a:pt x="115" y="47"/>
                  <a:pt x="115" y="47"/>
                  <a:pt x="115" y="47"/>
                </a:cubicBezTo>
                <a:cubicBezTo>
                  <a:pt x="115" y="16"/>
                  <a:pt x="115" y="16"/>
                  <a:pt x="115" y="16"/>
                </a:cubicBezTo>
                <a:cubicBezTo>
                  <a:pt x="113" y="6"/>
                  <a:pt x="100" y="7"/>
                  <a:pt x="98" y="16"/>
                </a:cubicBezTo>
                <a:cubicBezTo>
                  <a:pt x="98" y="47"/>
                  <a:pt x="98" y="47"/>
                  <a:pt x="98" y="47"/>
                </a:cubicBezTo>
                <a:cubicBezTo>
                  <a:pt x="92" y="47"/>
                  <a:pt x="92" y="47"/>
                  <a:pt x="92" y="47"/>
                </a:cubicBezTo>
                <a:cubicBezTo>
                  <a:pt x="92" y="9"/>
                  <a:pt x="92" y="9"/>
                  <a:pt x="92" y="9"/>
                </a:cubicBezTo>
                <a:cubicBezTo>
                  <a:pt x="88" y="0"/>
                  <a:pt x="79" y="0"/>
                  <a:pt x="75" y="9"/>
                </a:cubicBezTo>
                <a:cubicBezTo>
                  <a:pt x="75" y="47"/>
                  <a:pt x="75" y="47"/>
                  <a:pt x="75" y="47"/>
                </a:cubicBezTo>
                <a:cubicBezTo>
                  <a:pt x="69" y="47"/>
                  <a:pt x="69" y="47"/>
                  <a:pt x="69" y="47"/>
                </a:cubicBezTo>
                <a:cubicBezTo>
                  <a:pt x="69" y="16"/>
                  <a:pt x="69" y="16"/>
                  <a:pt x="69" y="16"/>
                </a:cubicBezTo>
                <a:cubicBezTo>
                  <a:pt x="65" y="8"/>
                  <a:pt x="56" y="6"/>
                  <a:pt x="52" y="16"/>
                </a:cubicBezTo>
                <a:cubicBezTo>
                  <a:pt x="52" y="47"/>
                  <a:pt x="52" y="47"/>
                  <a:pt x="52" y="47"/>
                </a:cubicBezTo>
                <a:cubicBezTo>
                  <a:pt x="46" y="47"/>
                  <a:pt x="46" y="47"/>
                  <a:pt x="46" y="47"/>
                </a:cubicBezTo>
                <a:cubicBezTo>
                  <a:pt x="46" y="23"/>
                  <a:pt x="46" y="23"/>
                  <a:pt x="46" y="23"/>
                </a:cubicBezTo>
                <a:cubicBezTo>
                  <a:pt x="43" y="15"/>
                  <a:pt x="33" y="13"/>
                  <a:pt x="29" y="23"/>
                </a:cubicBezTo>
                <a:close/>
                <a:moveTo>
                  <a:pt x="117" y="90"/>
                </a:moveTo>
                <a:cubicBezTo>
                  <a:pt x="122" y="70"/>
                  <a:pt x="131" y="75"/>
                  <a:pt x="134" y="90"/>
                </a:cubicBezTo>
                <a:cubicBezTo>
                  <a:pt x="134" y="130"/>
                  <a:pt x="134" y="130"/>
                  <a:pt x="134" y="130"/>
                </a:cubicBezTo>
                <a:cubicBezTo>
                  <a:pt x="156" y="130"/>
                  <a:pt x="156" y="130"/>
                  <a:pt x="156" y="130"/>
                </a:cubicBezTo>
                <a:cubicBezTo>
                  <a:pt x="156" y="52"/>
                  <a:pt x="156" y="52"/>
                  <a:pt x="156" y="52"/>
                </a:cubicBezTo>
                <a:cubicBezTo>
                  <a:pt x="5" y="52"/>
                  <a:pt x="5" y="52"/>
                  <a:pt x="5" y="52"/>
                </a:cubicBezTo>
                <a:cubicBezTo>
                  <a:pt x="5" y="130"/>
                  <a:pt x="5" y="130"/>
                  <a:pt x="5" y="130"/>
                </a:cubicBezTo>
                <a:cubicBezTo>
                  <a:pt x="117" y="130"/>
                  <a:pt x="117" y="130"/>
                  <a:pt x="117" y="130"/>
                </a:cubicBezTo>
                <a:lnTo>
                  <a:pt x="117" y="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4" name="Freeform 254"/>
          <p:cNvSpPr>
            <a:spLocks noEditPoints="1"/>
          </p:cNvSpPr>
          <p:nvPr/>
        </p:nvSpPr>
        <p:spPr bwMode="auto">
          <a:xfrm>
            <a:off x="7294034" y="2457452"/>
            <a:ext cx="207433" cy="207433"/>
          </a:xfrm>
          <a:custGeom>
            <a:avLst/>
            <a:gdLst>
              <a:gd name="T0" fmla="*/ 0 w 69"/>
              <a:gd name="T1" fmla="*/ 147428732 h 69"/>
              <a:gd name="T2" fmla="*/ 0 w 69"/>
              <a:gd name="T3" fmla="*/ 208432170 h 69"/>
              <a:gd name="T4" fmla="*/ 86423040 w 69"/>
              <a:gd name="T5" fmla="*/ 208432170 h 69"/>
              <a:gd name="T6" fmla="*/ 61005692 w 69"/>
              <a:gd name="T7" fmla="*/ 223683029 h 69"/>
              <a:gd name="T8" fmla="*/ 61005692 w 69"/>
              <a:gd name="T9" fmla="*/ 269437862 h 69"/>
              <a:gd name="T10" fmla="*/ 238933889 w 69"/>
              <a:gd name="T11" fmla="*/ 269437862 h 69"/>
              <a:gd name="T12" fmla="*/ 111842642 w 69"/>
              <a:gd name="T13" fmla="*/ 294855210 h 69"/>
              <a:gd name="T14" fmla="*/ 132175618 w 69"/>
              <a:gd name="T15" fmla="*/ 345692159 h 69"/>
              <a:gd name="T16" fmla="*/ 289770838 w 69"/>
              <a:gd name="T17" fmla="*/ 325356929 h 69"/>
              <a:gd name="T18" fmla="*/ 320274812 w 69"/>
              <a:gd name="T19" fmla="*/ 218600913 h 69"/>
              <a:gd name="T20" fmla="*/ 157595220 w 69"/>
              <a:gd name="T21" fmla="*/ 218600913 h 69"/>
              <a:gd name="T22" fmla="*/ 167761708 w 69"/>
              <a:gd name="T23" fmla="*/ 208432170 h 69"/>
              <a:gd name="T24" fmla="*/ 350776531 w 69"/>
              <a:gd name="T25" fmla="*/ 208432170 h 69"/>
              <a:gd name="T26" fmla="*/ 350776531 w 69"/>
              <a:gd name="T27" fmla="*/ 147428732 h 69"/>
              <a:gd name="T28" fmla="*/ 0 w 69"/>
              <a:gd name="T29" fmla="*/ 147428732 h 69"/>
              <a:gd name="T30" fmla="*/ 30501719 w 69"/>
              <a:gd name="T31" fmla="*/ 0 h 69"/>
              <a:gd name="T32" fmla="*/ 30501719 w 69"/>
              <a:gd name="T33" fmla="*/ 137259989 h 69"/>
              <a:gd name="T34" fmla="*/ 320274812 w 69"/>
              <a:gd name="T35" fmla="*/ 137259989 h 69"/>
              <a:gd name="T36" fmla="*/ 320274812 w 69"/>
              <a:gd name="T37" fmla="*/ 0 h 69"/>
              <a:gd name="T38" fmla="*/ 30501719 w 69"/>
              <a:gd name="T39" fmla="*/ 0 h 69"/>
              <a:gd name="T40" fmla="*/ 249102632 w 69"/>
              <a:gd name="T41" fmla="*/ 81338668 h 69"/>
              <a:gd name="T42" fmla="*/ 101673899 w 69"/>
              <a:gd name="T43" fmla="*/ 81338668 h 69"/>
              <a:gd name="T44" fmla="*/ 101673899 w 69"/>
              <a:gd name="T45" fmla="*/ 61005692 h 69"/>
              <a:gd name="T46" fmla="*/ 249102632 w 69"/>
              <a:gd name="T47" fmla="*/ 61005692 h 69"/>
              <a:gd name="T48" fmla="*/ 249102632 w 69"/>
              <a:gd name="T49" fmla="*/ 81338668 h 6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9" h="69">
                <a:moveTo>
                  <a:pt x="0" y="29"/>
                </a:moveTo>
                <a:cubicBezTo>
                  <a:pt x="0" y="41"/>
                  <a:pt x="0" y="41"/>
                  <a:pt x="0" y="41"/>
                </a:cubicBezTo>
                <a:cubicBezTo>
                  <a:pt x="17" y="41"/>
                  <a:pt x="17" y="41"/>
                  <a:pt x="17" y="41"/>
                </a:cubicBezTo>
                <a:cubicBezTo>
                  <a:pt x="16" y="42"/>
                  <a:pt x="14" y="43"/>
                  <a:pt x="12" y="44"/>
                </a:cubicBezTo>
                <a:cubicBezTo>
                  <a:pt x="12" y="53"/>
                  <a:pt x="12" y="53"/>
                  <a:pt x="12" y="53"/>
                </a:cubicBezTo>
                <a:cubicBezTo>
                  <a:pt x="47" y="53"/>
                  <a:pt x="47" y="53"/>
                  <a:pt x="47" y="53"/>
                </a:cubicBezTo>
                <a:cubicBezTo>
                  <a:pt x="50" y="57"/>
                  <a:pt x="41" y="58"/>
                  <a:pt x="22" y="58"/>
                </a:cubicBezTo>
                <a:cubicBezTo>
                  <a:pt x="26" y="68"/>
                  <a:pt x="26" y="68"/>
                  <a:pt x="26" y="68"/>
                </a:cubicBezTo>
                <a:cubicBezTo>
                  <a:pt x="43" y="69"/>
                  <a:pt x="54" y="67"/>
                  <a:pt x="57" y="64"/>
                </a:cubicBezTo>
                <a:cubicBezTo>
                  <a:pt x="61" y="62"/>
                  <a:pt x="63" y="55"/>
                  <a:pt x="63" y="43"/>
                </a:cubicBezTo>
                <a:cubicBezTo>
                  <a:pt x="31" y="43"/>
                  <a:pt x="31" y="43"/>
                  <a:pt x="31" y="43"/>
                </a:cubicBezTo>
                <a:cubicBezTo>
                  <a:pt x="33" y="41"/>
                  <a:pt x="33" y="41"/>
                  <a:pt x="33" y="41"/>
                </a:cubicBezTo>
                <a:cubicBezTo>
                  <a:pt x="69" y="41"/>
                  <a:pt x="69" y="41"/>
                  <a:pt x="69" y="41"/>
                </a:cubicBezTo>
                <a:cubicBezTo>
                  <a:pt x="69" y="29"/>
                  <a:pt x="69" y="29"/>
                  <a:pt x="69" y="29"/>
                </a:cubicBezTo>
                <a:lnTo>
                  <a:pt x="0" y="29"/>
                </a:lnTo>
                <a:close/>
                <a:moveTo>
                  <a:pt x="6" y="0"/>
                </a:moveTo>
                <a:cubicBezTo>
                  <a:pt x="6" y="27"/>
                  <a:pt x="6" y="27"/>
                  <a:pt x="6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3" y="0"/>
                  <a:pt x="63" y="0"/>
                  <a:pt x="63" y="0"/>
                </a:cubicBezTo>
                <a:lnTo>
                  <a:pt x="6" y="0"/>
                </a:lnTo>
                <a:close/>
                <a:moveTo>
                  <a:pt x="49" y="16"/>
                </a:moveTo>
                <a:cubicBezTo>
                  <a:pt x="20" y="16"/>
                  <a:pt x="20" y="16"/>
                  <a:pt x="20" y="16"/>
                </a:cubicBezTo>
                <a:cubicBezTo>
                  <a:pt x="20" y="12"/>
                  <a:pt x="20" y="12"/>
                  <a:pt x="20" y="12"/>
                </a:cubicBezTo>
                <a:cubicBezTo>
                  <a:pt x="49" y="12"/>
                  <a:pt x="49" y="12"/>
                  <a:pt x="49" y="12"/>
                </a:cubicBezTo>
                <a:lnTo>
                  <a:pt x="49" y="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5" name="Freeform 255"/>
          <p:cNvSpPr>
            <a:spLocks noEditPoints="1"/>
          </p:cNvSpPr>
          <p:nvPr/>
        </p:nvSpPr>
        <p:spPr bwMode="auto">
          <a:xfrm>
            <a:off x="7992534" y="2283885"/>
            <a:ext cx="575733" cy="579967"/>
          </a:xfrm>
          <a:custGeom>
            <a:avLst/>
            <a:gdLst>
              <a:gd name="T0" fmla="*/ 622111352 w 192"/>
              <a:gd name="T1" fmla="*/ 246358966 h 192"/>
              <a:gd name="T2" fmla="*/ 692919805 w 192"/>
              <a:gd name="T3" fmla="*/ 174504267 h 192"/>
              <a:gd name="T4" fmla="*/ 682803991 w 192"/>
              <a:gd name="T5" fmla="*/ 297683750 h 192"/>
              <a:gd name="T6" fmla="*/ 617053445 w 192"/>
              <a:gd name="T7" fmla="*/ 338743578 h 192"/>
              <a:gd name="T8" fmla="*/ 161850784 w 192"/>
              <a:gd name="T9" fmla="*/ 800664373 h 192"/>
              <a:gd name="T10" fmla="*/ 40463258 w 192"/>
              <a:gd name="T11" fmla="*/ 492717931 h 192"/>
              <a:gd name="T12" fmla="*/ 171966599 w 192"/>
              <a:gd name="T13" fmla="*/ 174504267 h 192"/>
              <a:gd name="T14" fmla="*/ 485550104 w 192"/>
              <a:gd name="T15" fmla="*/ 41059828 h 192"/>
              <a:gd name="T16" fmla="*/ 799133609 w 192"/>
              <a:gd name="T17" fmla="*/ 174504267 h 192"/>
              <a:gd name="T18" fmla="*/ 930636950 w 192"/>
              <a:gd name="T19" fmla="*/ 492717931 h 192"/>
              <a:gd name="T20" fmla="*/ 799133609 w 192"/>
              <a:gd name="T21" fmla="*/ 810929330 h 192"/>
              <a:gd name="T22" fmla="*/ 485550104 w 192"/>
              <a:gd name="T23" fmla="*/ 944373769 h 192"/>
              <a:gd name="T24" fmla="*/ 247832959 w 192"/>
              <a:gd name="T25" fmla="*/ 816062941 h 192"/>
              <a:gd name="T26" fmla="*/ 268064589 w 192"/>
              <a:gd name="T27" fmla="*/ 769869502 h 192"/>
              <a:gd name="T28" fmla="*/ 298412032 w 192"/>
              <a:gd name="T29" fmla="*/ 785268070 h 192"/>
              <a:gd name="T30" fmla="*/ 369220485 w 192"/>
              <a:gd name="T31" fmla="*/ 723678329 h 192"/>
              <a:gd name="T32" fmla="*/ 409683744 w 192"/>
              <a:gd name="T33" fmla="*/ 636425062 h 192"/>
              <a:gd name="T34" fmla="*/ 384394207 w 192"/>
              <a:gd name="T35" fmla="*/ 585100278 h 192"/>
              <a:gd name="T36" fmla="*/ 429913124 w 192"/>
              <a:gd name="T37" fmla="*/ 436259536 h 192"/>
              <a:gd name="T38" fmla="*/ 515897548 w 192"/>
              <a:gd name="T39" fmla="*/ 323345010 h 192"/>
              <a:gd name="T40" fmla="*/ 576590186 w 192"/>
              <a:gd name="T41" fmla="*/ 292550139 h 192"/>
              <a:gd name="T42" fmla="*/ 611995538 w 192"/>
              <a:gd name="T43" fmla="*/ 159105699 h 192"/>
              <a:gd name="T44" fmla="*/ 576590186 w 192"/>
              <a:gd name="T45" fmla="*/ 123179483 h 192"/>
              <a:gd name="T46" fmla="*/ 480492197 w 192"/>
              <a:gd name="T47" fmla="*/ 143709397 h 192"/>
              <a:gd name="T48" fmla="*/ 364162578 w 192"/>
              <a:gd name="T49" fmla="*/ 297683750 h 192"/>
              <a:gd name="T50" fmla="*/ 217485516 w 192"/>
              <a:gd name="T51" fmla="*/ 682618501 h 192"/>
              <a:gd name="T52" fmla="*/ 242775052 w 192"/>
              <a:gd name="T53" fmla="*/ 739074631 h 192"/>
              <a:gd name="T54" fmla="*/ 207369701 w 192"/>
              <a:gd name="T55" fmla="*/ 826327898 h 192"/>
              <a:gd name="T56" fmla="*/ 485550104 w 192"/>
              <a:gd name="T57" fmla="*/ 985433597 h 192"/>
              <a:gd name="T58" fmla="*/ 829481053 w 192"/>
              <a:gd name="T59" fmla="*/ 841724200 h 192"/>
              <a:gd name="T60" fmla="*/ 971100208 w 192"/>
              <a:gd name="T61" fmla="*/ 492717931 h 192"/>
              <a:gd name="T62" fmla="*/ 829481053 w 192"/>
              <a:gd name="T63" fmla="*/ 143709397 h 192"/>
              <a:gd name="T64" fmla="*/ 485550104 w 192"/>
              <a:gd name="T65" fmla="*/ 0 h 192"/>
              <a:gd name="T66" fmla="*/ 141619155 w 192"/>
              <a:gd name="T67" fmla="*/ 143709397 h 192"/>
              <a:gd name="T68" fmla="*/ 0 w 192"/>
              <a:gd name="T69" fmla="*/ 492717931 h 192"/>
              <a:gd name="T70" fmla="*/ 101155897 w 192"/>
              <a:gd name="T71" fmla="*/ 780134459 h 192"/>
              <a:gd name="T72" fmla="*/ 136561248 w 192"/>
              <a:gd name="T73" fmla="*/ 805797984 h 192"/>
              <a:gd name="T74" fmla="*/ 161850784 w 192"/>
              <a:gd name="T75" fmla="*/ 800664373 h 192"/>
              <a:gd name="T76" fmla="*/ 394510022 w 192"/>
              <a:gd name="T77" fmla="*/ 733943286 h 192"/>
              <a:gd name="T78" fmla="*/ 470376382 w 192"/>
              <a:gd name="T79" fmla="*/ 677484890 h 192"/>
              <a:gd name="T80" fmla="*/ 445086846 w 192"/>
              <a:gd name="T81" fmla="*/ 785268070 h 192"/>
              <a:gd name="T82" fmla="*/ 359104671 w 192"/>
              <a:gd name="T83" fmla="*/ 821194287 h 19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92" h="192">
                <a:moveTo>
                  <a:pt x="115" y="64"/>
                </a:moveTo>
                <a:cubicBezTo>
                  <a:pt x="118" y="59"/>
                  <a:pt x="121" y="54"/>
                  <a:pt x="123" y="48"/>
                </a:cubicBezTo>
                <a:cubicBezTo>
                  <a:pt x="125" y="42"/>
                  <a:pt x="126" y="35"/>
                  <a:pt x="126" y="28"/>
                </a:cubicBezTo>
                <a:cubicBezTo>
                  <a:pt x="131" y="30"/>
                  <a:pt x="135" y="32"/>
                  <a:pt x="137" y="34"/>
                </a:cubicBezTo>
                <a:cubicBezTo>
                  <a:pt x="139" y="36"/>
                  <a:pt x="139" y="38"/>
                  <a:pt x="139" y="42"/>
                </a:cubicBezTo>
                <a:cubicBezTo>
                  <a:pt x="139" y="47"/>
                  <a:pt x="138" y="53"/>
                  <a:pt x="135" y="58"/>
                </a:cubicBezTo>
                <a:cubicBezTo>
                  <a:pt x="133" y="64"/>
                  <a:pt x="130" y="67"/>
                  <a:pt x="127" y="67"/>
                </a:cubicBezTo>
                <a:cubicBezTo>
                  <a:pt x="126" y="67"/>
                  <a:pt x="124" y="66"/>
                  <a:pt x="122" y="66"/>
                </a:cubicBezTo>
                <a:cubicBezTo>
                  <a:pt x="120" y="65"/>
                  <a:pt x="118" y="65"/>
                  <a:pt x="115" y="64"/>
                </a:cubicBezTo>
                <a:close/>
                <a:moveTo>
                  <a:pt x="32" y="156"/>
                </a:moveTo>
                <a:cubicBezTo>
                  <a:pt x="23" y="145"/>
                  <a:pt x="17" y="135"/>
                  <a:pt x="14" y="126"/>
                </a:cubicBezTo>
                <a:cubicBezTo>
                  <a:pt x="10" y="117"/>
                  <a:pt x="8" y="106"/>
                  <a:pt x="8" y="96"/>
                </a:cubicBezTo>
                <a:cubicBezTo>
                  <a:pt x="8" y="84"/>
                  <a:pt x="10" y="73"/>
                  <a:pt x="15" y="62"/>
                </a:cubicBezTo>
                <a:cubicBezTo>
                  <a:pt x="19" y="52"/>
                  <a:pt x="26" y="42"/>
                  <a:pt x="34" y="34"/>
                </a:cubicBezTo>
                <a:cubicBezTo>
                  <a:pt x="42" y="26"/>
                  <a:pt x="52" y="19"/>
                  <a:pt x="62" y="15"/>
                </a:cubicBezTo>
                <a:cubicBezTo>
                  <a:pt x="73" y="10"/>
                  <a:pt x="84" y="8"/>
                  <a:pt x="96" y="8"/>
                </a:cubicBezTo>
                <a:cubicBezTo>
                  <a:pt x="108" y="8"/>
                  <a:pt x="119" y="10"/>
                  <a:pt x="129" y="15"/>
                </a:cubicBezTo>
                <a:cubicBezTo>
                  <a:pt x="140" y="19"/>
                  <a:pt x="150" y="25"/>
                  <a:pt x="158" y="34"/>
                </a:cubicBezTo>
                <a:cubicBezTo>
                  <a:pt x="166" y="42"/>
                  <a:pt x="173" y="52"/>
                  <a:pt x="177" y="62"/>
                </a:cubicBezTo>
                <a:cubicBezTo>
                  <a:pt x="182" y="73"/>
                  <a:pt x="184" y="84"/>
                  <a:pt x="184" y="96"/>
                </a:cubicBezTo>
                <a:cubicBezTo>
                  <a:pt x="184" y="107"/>
                  <a:pt x="182" y="119"/>
                  <a:pt x="177" y="129"/>
                </a:cubicBezTo>
                <a:cubicBezTo>
                  <a:pt x="173" y="140"/>
                  <a:pt x="166" y="150"/>
                  <a:pt x="158" y="158"/>
                </a:cubicBezTo>
                <a:cubicBezTo>
                  <a:pt x="150" y="166"/>
                  <a:pt x="140" y="173"/>
                  <a:pt x="129" y="177"/>
                </a:cubicBezTo>
                <a:cubicBezTo>
                  <a:pt x="119" y="182"/>
                  <a:pt x="107" y="184"/>
                  <a:pt x="96" y="184"/>
                </a:cubicBezTo>
                <a:cubicBezTo>
                  <a:pt x="82" y="184"/>
                  <a:pt x="71" y="182"/>
                  <a:pt x="62" y="177"/>
                </a:cubicBezTo>
                <a:cubicBezTo>
                  <a:pt x="54" y="173"/>
                  <a:pt x="49" y="167"/>
                  <a:pt x="49" y="159"/>
                </a:cubicBezTo>
                <a:cubicBezTo>
                  <a:pt x="49" y="158"/>
                  <a:pt x="50" y="156"/>
                  <a:pt x="50" y="155"/>
                </a:cubicBezTo>
                <a:cubicBezTo>
                  <a:pt x="51" y="153"/>
                  <a:pt x="52" y="151"/>
                  <a:pt x="53" y="150"/>
                </a:cubicBezTo>
                <a:cubicBezTo>
                  <a:pt x="54" y="151"/>
                  <a:pt x="55" y="152"/>
                  <a:pt x="56" y="152"/>
                </a:cubicBezTo>
                <a:cubicBezTo>
                  <a:pt x="58" y="153"/>
                  <a:pt x="58" y="153"/>
                  <a:pt x="59" y="153"/>
                </a:cubicBezTo>
                <a:cubicBezTo>
                  <a:pt x="61" y="153"/>
                  <a:pt x="62" y="152"/>
                  <a:pt x="65" y="150"/>
                </a:cubicBezTo>
                <a:cubicBezTo>
                  <a:pt x="68" y="148"/>
                  <a:pt x="70" y="145"/>
                  <a:pt x="73" y="141"/>
                </a:cubicBezTo>
                <a:cubicBezTo>
                  <a:pt x="75" y="138"/>
                  <a:pt x="77" y="135"/>
                  <a:pt x="79" y="131"/>
                </a:cubicBezTo>
                <a:cubicBezTo>
                  <a:pt x="80" y="128"/>
                  <a:pt x="81" y="125"/>
                  <a:pt x="81" y="124"/>
                </a:cubicBezTo>
                <a:cubicBezTo>
                  <a:pt x="81" y="124"/>
                  <a:pt x="80" y="122"/>
                  <a:pt x="78" y="120"/>
                </a:cubicBezTo>
                <a:cubicBezTo>
                  <a:pt x="76" y="118"/>
                  <a:pt x="76" y="116"/>
                  <a:pt x="76" y="114"/>
                </a:cubicBezTo>
                <a:cubicBezTo>
                  <a:pt x="76" y="111"/>
                  <a:pt x="76" y="107"/>
                  <a:pt x="78" y="102"/>
                </a:cubicBezTo>
                <a:cubicBezTo>
                  <a:pt x="80" y="97"/>
                  <a:pt x="82" y="91"/>
                  <a:pt x="85" y="85"/>
                </a:cubicBezTo>
                <a:cubicBezTo>
                  <a:pt x="89" y="77"/>
                  <a:pt x="92" y="72"/>
                  <a:pt x="95" y="69"/>
                </a:cubicBezTo>
                <a:cubicBezTo>
                  <a:pt x="97" y="66"/>
                  <a:pt x="99" y="64"/>
                  <a:pt x="102" y="63"/>
                </a:cubicBezTo>
                <a:cubicBezTo>
                  <a:pt x="102" y="63"/>
                  <a:pt x="103" y="62"/>
                  <a:pt x="105" y="62"/>
                </a:cubicBezTo>
                <a:cubicBezTo>
                  <a:pt x="109" y="62"/>
                  <a:pt x="112" y="60"/>
                  <a:pt x="114" y="57"/>
                </a:cubicBezTo>
                <a:cubicBezTo>
                  <a:pt x="116" y="54"/>
                  <a:pt x="118" y="49"/>
                  <a:pt x="119" y="44"/>
                </a:cubicBezTo>
                <a:cubicBezTo>
                  <a:pt x="121" y="39"/>
                  <a:pt x="121" y="35"/>
                  <a:pt x="121" y="31"/>
                </a:cubicBezTo>
                <a:cubicBezTo>
                  <a:pt x="121" y="29"/>
                  <a:pt x="121" y="27"/>
                  <a:pt x="120" y="26"/>
                </a:cubicBezTo>
                <a:cubicBezTo>
                  <a:pt x="119" y="25"/>
                  <a:pt x="117" y="24"/>
                  <a:pt x="114" y="24"/>
                </a:cubicBezTo>
                <a:cubicBezTo>
                  <a:pt x="110" y="24"/>
                  <a:pt x="106" y="24"/>
                  <a:pt x="103" y="25"/>
                </a:cubicBezTo>
                <a:cubicBezTo>
                  <a:pt x="100" y="26"/>
                  <a:pt x="97" y="27"/>
                  <a:pt x="95" y="28"/>
                </a:cubicBezTo>
                <a:cubicBezTo>
                  <a:pt x="93" y="29"/>
                  <a:pt x="90" y="33"/>
                  <a:pt x="86" y="38"/>
                </a:cubicBezTo>
                <a:cubicBezTo>
                  <a:pt x="81" y="44"/>
                  <a:pt x="77" y="50"/>
                  <a:pt x="72" y="58"/>
                </a:cubicBezTo>
                <a:cubicBezTo>
                  <a:pt x="64" y="71"/>
                  <a:pt x="57" y="85"/>
                  <a:pt x="52" y="100"/>
                </a:cubicBezTo>
                <a:cubicBezTo>
                  <a:pt x="46" y="115"/>
                  <a:pt x="43" y="126"/>
                  <a:pt x="43" y="133"/>
                </a:cubicBezTo>
                <a:cubicBezTo>
                  <a:pt x="43" y="135"/>
                  <a:pt x="44" y="136"/>
                  <a:pt x="44" y="138"/>
                </a:cubicBezTo>
                <a:cubicBezTo>
                  <a:pt x="45" y="139"/>
                  <a:pt x="46" y="142"/>
                  <a:pt x="48" y="144"/>
                </a:cubicBezTo>
                <a:cubicBezTo>
                  <a:pt x="46" y="147"/>
                  <a:pt x="44" y="150"/>
                  <a:pt x="43" y="153"/>
                </a:cubicBezTo>
                <a:cubicBezTo>
                  <a:pt x="42" y="155"/>
                  <a:pt x="41" y="158"/>
                  <a:pt x="41" y="161"/>
                </a:cubicBezTo>
                <a:cubicBezTo>
                  <a:pt x="41" y="170"/>
                  <a:pt x="46" y="178"/>
                  <a:pt x="56" y="184"/>
                </a:cubicBezTo>
                <a:cubicBezTo>
                  <a:pt x="66" y="189"/>
                  <a:pt x="80" y="192"/>
                  <a:pt x="96" y="192"/>
                </a:cubicBezTo>
                <a:cubicBezTo>
                  <a:pt x="108" y="192"/>
                  <a:pt x="121" y="190"/>
                  <a:pt x="133" y="185"/>
                </a:cubicBezTo>
                <a:cubicBezTo>
                  <a:pt x="145" y="180"/>
                  <a:pt x="155" y="173"/>
                  <a:pt x="164" y="164"/>
                </a:cubicBezTo>
                <a:cubicBezTo>
                  <a:pt x="173" y="155"/>
                  <a:pt x="180" y="145"/>
                  <a:pt x="185" y="133"/>
                </a:cubicBezTo>
                <a:cubicBezTo>
                  <a:pt x="190" y="121"/>
                  <a:pt x="192" y="109"/>
                  <a:pt x="192" y="96"/>
                </a:cubicBezTo>
                <a:cubicBezTo>
                  <a:pt x="192" y="83"/>
                  <a:pt x="190" y="71"/>
                  <a:pt x="185" y="59"/>
                </a:cubicBezTo>
                <a:cubicBezTo>
                  <a:pt x="180" y="48"/>
                  <a:pt x="173" y="37"/>
                  <a:pt x="164" y="28"/>
                </a:cubicBezTo>
                <a:cubicBezTo>
                  <a:pt x="155" y="19"/>
                  <a:pt x="145" y="12"/>
                  <a:pt x="133" y="7"/>
                </a:cubicBezTo>
                <a:cubicBezTo>
                  <a:pt x="121" y="2"/>
                  <a:pt x="109" y="0"/>
                  <a:pt x="96" y="0"/>
                </a:cubicBezTo>
                <a:cubicBezTo>
                  <a:pt x="83" y="0"/>
                  <a:pt x="71" y="2"/>
                  <a:pt x="59" y="7"/>
                </a:cubicBezTo>
                <a:cubicBezTo>
                  <a:pt x="47" y="12"/>
                  <a:pt x="37" y="19"/>
                  <a:pt x="28" y="28"/>
                </a:cubicBezTo>
                <a:cubicBezTo>
                  <a:pt x="19" y="37"/>
                  <a:pt x="12" y="47"/>
                  <a:pt x="7" y="59"/>
                </a:cubicBezTo>
                <a:cubicBezTo>
                  <a:pt x="2" y="71"/>
                  <a:pt x="0" y="83"/>
                  <a:pt x="0" y="96"/>
                </a:cubicBezTo>
                <a:cubicBezTo>
                  <a:pt x="0" y="107"/>
                  <a:pt x="1" y="117"/>
                  <a:pt x="5" y="127"/>
                </a:cubicBezTo>
                <a:cubicBezTo>
                  <a:pt x="8" y="136"/>
                  <a:pt x="13" y="145"/>
                  <a:pt x="20" y="152"/>
                </a:cubicBezTo>
                <a:cubicBezTo>
                  <a:pt x="21" y="154"/>
                  <a:pt x="22" y="155"/>
                  <a:pt x="24" y="156"/>
                </a:cubicBezTo>
                <a:cubicBezTo>
                  <a:pt x="25" y="157"/>
                  <a:pt x="26" y="157"/>
                  <a:pt x="27" y="157"/>
                </a:cubicBezTo>
                <a:cubicBezTo>
                  <a:pt x="28" y="157"/>
                  <a:pt x="28" y="157"/>
                  <a:pt x="29" y="157"/>
                </a:cubicBezTo>
                <a:cubicBezTo>
                  <a:pt x="30" y="157"/>
                  <a:pt x="31" y="156"/>
                  <a:pt x="32" y="156"/>
                </a:cubicBezTo>
                <a:close/>
                <a:moveTo>
                  <a:pt x="64" y="156"/>
                </a:moveTo>
                <a:cubicBezTo>
                  <a:pt x="70" y="152"/>
                  <a:pt x="74" y="148"/>
                  <a:pt x="78" y="143"/>
                </a:cubicBezTo>
                <a:cubicBezTo>
                  <a:pt x="81" y="138"/>
                  <a:pt x="84" y="132"/>
                  <a:pt x="85" y="126"/>
                </a:cubicBezTo>
                <a:cubicBezTo>
                  <a:pt x="89" y="129"/>
                  <a:pt x="92" y="131"/>
                  <a:pt x="93" y="132"/>
                </a:cubicBezTo>
                <a:cubicBezTo>
                  <a:pt x="94" y="134"/>
                  <a:pt x="95" y="135"/>
                  <a:pt x="95" y="137"/>
                </a:cubicBezTo>
                <a:cubicBezTo>
                  <a:pt x="95" y="141"/>
                  <a:pt x="93" y="147"/>
                  <a:pt x="88" y="153"/>
                </a:cubicBezTo>
                <a:cubicBezTo>
                  <a:pt x="84" y="159"/>
                  <a:pt x="80" y="162"/>
                  <a:pt x="76" y="162"/>
                </a:cubicBezTo>
                <a:cubicBezTo>
                  <a:pt x="74" y="162"/>
                  <a:pt x="73" y="161"/>
                  <a:pt x="71" y="160"/>
                </a:cubicBezTo>
                <a:cubicBezTo>
                  <a:pt x="69" y="159"/>
                  <a:pt x="67" y="158"/>
                  <a:pt x="64" y="1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6" name="Freeform 256"/>
          <p:cNvSpPr>
            <a:spLocks noEditPoints="1"/>
          </p:cNvSpPr>
          <p:nvPr/>
        </p:nvSpPr>
        <p:spPr bwMode="auto">
          <a:xfrm>
            <a:off x="8843434" y="2360084"/>
            <a:ext cx="605367" cy="381000"/>
          </a:xfrm>
          <a:custGeom>
            <a:avLst/>
            <a:gdLst>
              <a:gd name="T0" fmla="*/ 217232981 w 202"/>
              <a:gd name="T1" fmla="*/ 648040179 h 126"/>
              <a:gd name="T2" fmla="*/ 0 w 202"/>
              <a:gd name="T3" fmla="*/ 411455054 h 126"/>
              <a:gd name="T4" fmla="*/ 106091258 w 202"/>
              <a:gd name="T5" fmla="*/ 329163589 h 126"/>
              <a:gd name="T6" fmla="*/ 217232981 w 202"/>
              <a:gd name="T7" fmla="*/ 349735321 h 126"/>
              <a:gd name="T8" fmla="*/ 348583313 w 202"/>
              <a:gd name="T9" fmla="*/ 180011161 h 126"/>
              <a:gd name="T10" fmla="*/ 626437622 w 202"/>
              <a:gd name="T11" fmla="*/ 46289232 h 126"/>
              <a:gd name="T12" fmla="*/ 803255636 w 202"/>
              <a:gd name="T13" fmla="*/ 66860964 h 126"/>
              <a:gd name="T14" fmla="*/ 969970469 w 202"/>
              <a:gd name="T15" fmla="*/ 113150196 h 126"/>
              <a:gd name="T16" fmla="*/ 1020488617 w 202"/>
              <a:gd name="T17" fmla="*/ 529746482 h 126"/>
              <a:gd name="T18" fmla="*/ 510245432 w 202"/>
              <a:gd name="T19" fmla="*/ 627468446 h 126"/>
              <a:gd name="T20" fmla="*/ 106091258 w 202"/>
              <a:gd name="T21" fmla="*/ 349735321 h 126"/>
              <a:gd name="T22" fmla="*/ 20208608 w 202"/>
              <a:gd name="T23" fmla="*/ 406311554 h 126"/>
              <a:gd name="T24" fmla="*/ 227336161 w 202"/>
              <a:gd name="T25" fmla="*/ 627468446 h 126"/>
              <a:gd name="T26" fmla="*/ 227336161 w 202"/>
              <a:gd name="T27" fmla="*/ 483459518 h 126"/>
              <a:gd name="T28" fmla="*/ 171765300 w 202"/>
              <a:gd name="T29" fmla="*/ 457742018 h 126"/>
              <a:gd name="T30" fmla="*/ 121247151 w 202"/>
              <a:gd name="T31" fmla="*/ 442313786 h 126"/>
              <a:gd name="T32" fmla="*/ 156609406 w 202"/>
              <a:gd name="T33" fmla="*/ 498887750 h 126"/>
              <a:gd name="T34" fmla="*/ 227336161 w 202"/>
              <a:gd name="T35" fmla="*/ 483459518 h 126"/>
              <a:gd name="T36" fmla="*/ 388998281 w 202"/>
              <a:gd name="T37" fmla="*/ 200582893 h 126"/>
              <a:gd name="T38" fmla="*/ 237439341 w 202"/>
              <a:gd name="T39" fmla="*/ 354878821 h 126"/>
              <a:gd name="T40" fmla="*/ 313218811 w 202"/>
              <a:gd name="T41" fmla="*/ 432026786 h 126"/>
              <a:gd name="T42" fmla="*/ 388998281 w 202"/>
              <a:gd name="T43" fmla="*/ 313733089 h 126"/>
              <a:gd name="T44" fmla="*/ 545607686 w 202"/>
              <a:gd name="T45" fmla="*/ 354878821 h 126"/>
              <a:gd name="T46" fmla="*/ 404154175 w 202"/>
              <a:gd name="T47" fmla="*/ 329163589 h 126"/>
              <a:gd name="T48" fmla="*/ 414257355 w 202"/>
              <a:gd name="T49" fmla="*/ 519461750 h 126"/>
              <a:gd name="T50" fmla="*/ 545607686 w 202"/>
              <a:gd name="T51" fmla="*/ 354878821 h 126"/>
              <a:gd name="T52" fmla="*/ 545607686 w 202"/>
              <a:gd name="T53" fmla="*/ 375452821 h 126"/>
              <a:gd name="T54" fmla="*/ 429413249 w 202"/>
              <a:gd name="T55" fmla="*/ 529746482 h 126"/>
              <a:gd name="T56" fmla="*/ 545607686 w 202"/>
              <a:gd name="T57" fmla="*/ 555463982 h 126"/>
              <a:gd name="T58" fmla="*/ 545607686 w 202"/>
              <a:gd name="T59" fmla="*/ 576035714 h 126"/>
              <a:gd name="T60" fmla="*/ 545607686 w 202"/>
              <a:gd name="T61" fmla="*/ 627468446 h 126"/>
              <a:gd name="T62" fmla="*/ 1000280009 w 202"/>
              <a:gd name="T63" fmla="*/ 236585125 h 126"/>
              <a:gd name="T64" fmla="*/ 843670604 w 202"/>
              <a:gd name="T65" fmla="*/ 77147964 h 126"/>
              <a:gd name="T66" fmla="*/ 803255636 w 202"/>
              <a:gd name="T67" fmla="*/ 164580661 h 126"/>
              <a:gd name="T68" fmla="*/ 692113912 w 202"/>
              <a:gd name="T69" fmla="*/ 432026786 h 126"/>
              <a:gd name="T70" fmla="*/ 626437622 w 202"/>
              <a:gd name="T71" fmla="*/ 128578429 h 126"/>
              <a:gd name="T72" fmla="*/ 525399079 w 202"/>
              <a:gd name="T73" fmla="*/ 246872125 h 126"/>
              <a:gd name="T74" fmla="*/ 565816294 w 202"/>
              <a:gd name="T75" fmla="*/ 627468446 h 1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02" h="126">
                <a:moveTo>
                  <a:pt x="112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14" y="102"/>
                  <a:pt x="14" y="102"/>
                  <a:pt x="14" y="102"/>
                </a:cubicBezTo>
                <a:cubicBezTo>
                  <a:pt x="5" y="94"/>
                  <a:pt x="0" y="87"/>
                  <a:pt x="0" y="80"/>
                </a:cubicBezTo>
                <a:cubicBezTo>
                  <a:pt x="0" y="75"/>
                  <a:pt x="2" y="71"/>
                  <a:pt x="6" y="68"/>
                </a:cubicBezTo>
                <a:cubicBezTo>
                  <a:pt x="10" y="65"/>
                  <a:pt x="15" y="64"/>
                  <a:pt x="21" y="64"/>
                </a:cubicBezTo>
                <a:cubicBezTo>
                  <a:pt x="28" y="64"/>
                  <a:pt x="35" y="66"/>
                  <a:pt x="43" y="70"/>
                </a:cubicBezTo>
                <a:cubicBezTo>
                  <a:pt x="43" y="68"/>
                  <a:pt x="43" y="68"/>
                  <a:pt x="43" y="68"/>
                </a:cubicBezTo>
                <a:cubicBezTo>
                  <a:pt x="43" y="60"/>
                  <a:pt x="45" y="53"/>
                  <a:pt x="50" y="47"/>
                </a:cubicBezTo>
                <a:cubicBezTo>
                  <a:pt x="55" y="41"/>
                  <a:pt x="61" y="37"/>
                  <a:pt x="69" y="35"/>
                </a:cubicBezTo>
                <a:cubicBezTo>
                  <a:pt x="124" y="21"/>
                  <a:pt x="124" y="21"/>
                  <a:pt x="124" y="21"/>
                </a:cubicBezTo>
                <a:cubicBezTo>
                  <a:pt x="124" y="9"/>
                  <a:pt x="124" y="9"/>
                  <a:pt x="124" y="9"/>
                </a:cubicBezTo>
                <a:cubicBezTo>
                  <a:pt x="159" y="0"/>
                  <a:pt x="159" y="0"/>
                  <a:pt x="159" y="0"/>
                </a:cubicBezTo>
                <a:cubicBezTo>
                  <a:pt x="159" y="13"/>
                  <a:pt x="159" y="13"/>
                  <a:pt x="159" y="13"/>
                </a:cubicBezTo>
                <a:cubicBezTo>
                  <a:pt x="162" y="12"/>
                  <a:pt x="165" y="11"/>
                  <a:pt x="168" y="11"/>
                </a:cubicBezTo>
                <a:cubicBezTo>
                  <a:pt x="177" y="11"/>
                  <a:pt x="185" y="15"/>
                  <a:pt x="192" y="22"/>
                </a:cubicBezTo>
                <a:cubicBezTo>
                  <a:pt x="198" y="29"/>
                  <a:pt x="202" y="37"/>
                  <a:pt x="202" y="46"/>
                </a:cubicBezTo>
                <a:cubicBezTo>
                  <a:pt x="202" y="103"/>
                  <a:pt x="202" y="103"/>
                  <a:pt x="202" y="103"/>
                </a:cubicBezTo>
                <a:cubicBezTo>
                  <a:pt x="112" y="126"/>
                  <a:pt x="112" y="126"/>
                  <a:pt x="112" y="126"/>
                </a:cubicBezTo>
                <a:close/>
                <a:moveTo>
                  <a:pt x="101" y="122"/>
                </a:moveTo>
                <a:cubicBezTo>
                  <a:pt x="59" y="87"/>
                  <a:pt x="59" y="87"/>
                  <a:pt x="59" y="87"/>
                </a:cubicBezTo>
                <a:cubicBezTo>
                  <a:pt x="44" y="74"/>
                  <a:pt x="31" y="68"/>
                  <a:pt x="21" y="68"/>
                </a:cubicBezTo>
                <a:cubicBezTo>
                  <a:pt x="16" y="68"/>
                  <a:pt x="12" y="69"/>
                  <a:pt x="9" y="71"/>
                </a:cubicBezTo>
                <a:cubicBezTo>
                  <a:pt x="6" y="73"/>
                  <a:pt x="4" y="76"/>
                  <a:pt x="4" y="79"/>
                </a:cubicBezTo>
                <a:cubicBezTo>
                  <a:pt x="4" y="86"/>
                  <a:pt x="10" y="93"/>
                  <a:pt x="22" y="103"/>
                </a:cubicBezTo>
                <a:cubicBezTo>
                  <a:pt x="45" y="122"/>
                  <a:pt x="45" y="122"/>
                  <a:pt x="45" y="122"/>
                </a:cubicBezTo>
                <a:cubicBezTo>
                  <a:pt x="101" y="122"/>
                  <a:pt x="101" y="122"/>
                  <a:pt x="101" y="122"/>
                </a:cubicBezTo>
                <a:close/>
                <a:moveTo>
                  <a:pt x="45" y="94"/>
                </a:moveTo>
                <a:cubicBezTo>
                  <a:pt x="36" y="87"/>
                  <a:pt x="36" y="87"/>
                  <a:pt x="36" y="87"/>
                </a:cubicBezTo>
                <a:cubicBezTo>
                  <a:pt x="34" y="89"/>
                  <a:pt x="34" y="89"/>
                  <a:pt x="34" y="89"/>
                </a:cubicBezTo>
                <a:cubicBezTo>
                  <a:pt x="28" y="89"/>
                  <a:pt x="28" y="89"/>
                  <a:pt x="28" y="89"/>
                </a:cubicBezTo>
                <a:cubicBezTo>
                  <a:pt x="24" y="86"/>
                  <a:pt x="24" y="86"/>
                  <a:pt x="24" y="86"/>
                </a:cubicBezTo>
                <a:cubicBezTo>
                  <a:pt x="22" y="90"/>
                  <a:pt x="22" y="90"/>
                  <a:pt x="22" y="90"/>
                </a:cubicBezTo>
                <a:cubicBezTo>
                  <a:pt x="31" y="97"/>
                  <a:pt x="31" y="97"/>
                  <a:pt x="31" y="97"/>
                </a:cubicBezTo>
                <a:cubicBezTo>
                  <a:pt x="42" y="97"/>
                  <a:pt x="42" y="97"/>
                  <a:pt x="42" y="97"/>
                </a:cubicBezTo>
                <a:cubicBezTo>
                  <a:pt x="45" y="94"/>
                  <a:pt x="45" y="94"/>
                  <a:pt x="45" y="94"/>
                </a:cubicBezTo>
                <a:close/>
                <a:moveTo>
                  <a:pt x="104" y="54"/>
                </a:moveTo>
                <a:cubicBezTo>
                  <a:pt x="98" y="44"/>
                  <a:pt x="88" y="39"/>
                  <a:pt x="77" y="39"/>
                </a:cubicBezTo>
                <a:cubicBezTo>
                  <a:pt x="68" y="39"/>
                  <a:pt x="61" y="42"/>
                  <a:pt x="55" y="47"/>
                </a:cubicBezTo>
                <a:cubicBezTo>
                  <a:pt x="50" y="53"/>
                  <a:pt x="47" y="60"/>
                  <a:pt x="47" y="69"/>
                </a:cubicBezTo>
                <a:cubicBezTo>
                  <a:pt x="47" y="73"/>
                  <a:pt x="47" y="73"/>
                  <a:pt x="47" y="73"/>
                </a:cubicBezTo>
                <a:cubicBezTo>
                  <a:pt x="53" y="76"/>
                  <a:pt x="58" y="80"/>
                  <a:pt x="62" y="84"/>
                </a:cubicBezTo>
                <a:cubicBezTo>
                  <a:pt x="65" y="87"/>
                  <a:pt x="65" y="87"/>
                  <a:pt x="65" y="87"/>
                </a:cubicBezTo>
                <a:cubicBezTo>
                  <a:pt x="77" y="61"/>
                  <a:pt x="77" y="61"/>
                  <a:pt x="77" y="61"/>
                </a:cubicBezTo>
                <a:cubicBezTo>
                  <a:pt x="104" y="54"/>
                  <a:pt x="104" y="54"/>
                  <a:pt x="104" y="54"/>
                </a:cubicBezTo>
                <a:close/>
                <a:moveTo>
                  <a:pt x="108" y="69"/>
                </a:moveTo>
                <a:cubicBezTo>
                  <a:pt x="108" y="65"/>
                  <a:pt x="107" y="61"/>
                  <a:pt x="106" y="57"/>
                </a:cubicBezTo>
                <a:cubicBezTo>
                  <a:pt x="80" y="64"/>
                  <a:pt x="80" y="64"/>
                  <a:pt x="80" y="64"/>
                </a:cubicBezTo>
                <a:cubicBezTo>
                  <a:pt x="68" y="89"/>
                  <a:pt x="68" y="89"/>
                  <a:pt x="68" y="89"/>
                </a:cubicBezTo>
                <a:cubicBezTo>
                  <a:pt x="82" y="101"/>
                  <a:pt x="82" y="101"/>
                  <a:pt x="82" y="101"/>
                </a:cubicBezTo>
                <a:cubicBezTo>
                  <a:pt x="88" y="74"/>
                  <a:pt x="88" y="74"/>
                  <a:pt x="88" y="74"/>
                </a:cubicBezTo>
                <a:cubicBezTo>
                  <a:pt x="108" y="69"/>
                  <a:pt x="108" y="69"/>
                  <a:pt x="108" y="69"/>
                </a:cubicBezTo>
                <a:close/>
                <a:moveTo>
                  <a:pt x="108" y="108"/>
                </a:moveTo>
                <a:cubicBezTo>
                  <a:pt x="108" y="73"/>
                  <a:pt x="108" y="73"/>
                  <a:pt x="108" y="73"/>
                </a:cubicBezTo>
                <a:cubicBezTo>
                  <a:pt x="91" y="77"/>
                  <a:pt x="91" y="77"/>
                  <a:pt x="91" y="77"/>
                </a:cubicBezTo>
                <a:cubicBezTo>
                  <a:pt x="85" y="103"/>
                  <a:pt x="85" y="103"/>
                  <a:pt x="85" y="103"/>
                </a:cubicBezTo>
                <a:cubicBezTo>
                  <a:pt x="95" y="111"/>
                  <a:pt x="95" y="111"/>
                  <a:pt x="95" y="111"/>
                </a:cubicBezTo>
                <a:cubicBezTo>
                  <a:pt x="108" y="108"/>
                  <a:pt x="108" y="108"/>
                  <a:pt x="108" y="108"/>
                </a:cubicBezTo>
                <a:close/>
                <a:moveTo>
                  <a:pt x="108" y="122"/>
                </a:moveTo>
                <a:cubicBezTo>
                  <a:pt x="108" y="112"/>
                  <a:pt x="108" y="112"/>
                  <a:pt x="108" y="112"/>
                </a:cubicBezTo>
                <a:cubicBezTo>
                  <a:pt x="99" y="114"/>
                  <a:pt x="99" y="114"/>
                  <a:pt x="99" y="114"/>
                </a:cubicBezTo>
                <a:cubicBezTo>
                  <a:pt x="108" y="122"/>
                  <a:pt x="108" y="122"/>
                  <a:pt x="108" y="122"/>
                </a:cubicBezTo>
                <a:close/>
                <a:moveTo>
                  <a:pt x="198" y="100"/>
                </a:moveTo>
                <a:cubicBezTo>
                  <a:pt x="198" y="46"/>
                  <a:pt x="198" y="46"/>
                  <a:pt x="198" y="46"/>
                </a:cubicBezTo>
                <a:cubicBezTo>
                  <a:pt x="198" y="38"/>
                  <a:pt x="195" y="30"/>
                  <a:pt x="189" y="24"/>
                </a:cubicBezTo>
                <a:cubicBezTo>
                  <a:pt x="183" y="18"/>
                  <a:pt x="176" y="15"/>
                  <a:pt x="167" y="15"/>
                </a:cubicBezTo>
                <a:cubicBezTo>
                  <a:pt x="165" y="15"/>
                  <a:pt x="162" y="15"/>
                  <a:pt x="159" y="16"/>
                </a:cubicBezTo>
                <a:cubicBezTo>
                  <a:pt x="159" y="32"/>
                  <a:pt x="159" y="32"/>
                  <a:pt x="159" y="32"/>
                </a:cubicBezTo>
                <a:cubicBezTo>
                  <a:pt x="137" y="38"/>
                  <a:pt x="137" y="38"/>
                  <a:pt x="137" y="38"/>
                </a:cubicBezTo>
                <a:cubicBezTo>
                  <a:pt x="137" y="84"/>
                  <a:pt x="137" y="84"/>
                  <a:pt x="137" y="84"/>
                </a:cubicBezTo>
                <a:cubicBezTo>
                  <a:pt x="124" y="87"/>
                  <a:pt x="124" y="87"/>
                  <a:pt x="124" y="87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85" y="35"/>
                  <a:pt x="85" y="35"/>
                  <a:pt x="85" y="35"/>
                </a:cubicBezTo>
                <a:cubicBezTo>
                  <a:pt x="93" y="38"/>
                  <a:pt x="100" y="42"/>
                  <a:pt x="104" y="48"/>
                </a:cubicBezTo>
                <a:cubicBezTo>
                  <a:pt x="109" y="54"/>
                  <a:pt x="112" y="61"/>
                  <a:pt x="112" y="69"/>
                </a:cubicBezTo>
                <a:cubicBezTo>
                  <a:pt x="112" y="122"/>
                  <a:pt x="112" y="122"/>
                  <a:pt x="112" y="122"/>
                </a:cubicBezTo>
                <a:lnTo>
                  <a:pt x="198" y="1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7" name="Freeform 257"/>
          <p:cNvSpPr>
            <a:spLocks noEditPoints="1"/>
          </p:cNvSpPr>
          <p:nvPr/>
        </p:nvSpPr>
        <p:spPr bwMode="auto">
          <a:xfrm>
            <a:off x="9836151" y="2351618"/>
            <a:ext cx="395816" cy="510116"/>
          </a:xfrm>
          <a:custGeom>
            <a:avLst/>
            <a:gdLst>
              <a:gd name="T0" fmla="*/ 146676815 w 132"/>
              <a:gd name="T1" fmla="*/ 568868384 h 169"/>
              <a:gd name="T2" fmla="*/ 146676815 w 132"/>
              <a:gd name="T3" fmla="*/ 445870059 h 169"/>
              <a:gd name="T4" fmla="*/ 232658846 w 132"/>
              <a:gd name="T5" fmla="*/ 384370897 h 169"/>
              <a:gd name="T6" fmla="*/ 323698775 w 132"/>
              <a:gd name="T7" fmla="*/ 440744752 h 169"/>
              <a:gd name="T8" fmla="*/ 308525078 w 132"/>
              <a:gd name="T9" fmla="*/ 543241846 h 169"/>
              <a:gd name="T10" fmla="*/ 146676815 w 132"/>
              <a:gd name="T11" fmla="*/ 568868384 h 169"/>
              <a:gd name="T12" fmla="*/ 207369352 w 132"/>
              <a:gd name="T13" fmla="*/ 15375923 h 169"/>
              <a:gd name="T14" fmla="*/ 313582977 w 132"/>
              <a:gd name="T15" fmla="*/ 81998129 h 169"/>
              <a:gd name="T16" fmla="*/ 323698775 w 132"/>
              <a:gd name="T17" fmla="*/ 179372180 h 169"/>
              <a:gd name="T18" fmla="*/ 232658846 w 132"/>
              <a:gd name="T19" fmla="*/ 235746035 h 169"/>
              <a:gd name="T20" fmla="*/ 151734714 w 132"/>
              <a:gd name="T21" fmla="*/ 174246872 h 169"/>
              <a:gd name="T22" fmla="*/ 207369352 w 132"/>
              <a:gd name="T23" fmla="*/ 15375923 h 169"/>
              <a:gd name="T24" fmla="*/ 627165954 w 132"/>
              <a:gd name="T25" fmla="*/ 640615897 h 169"/>
              <a:gd name="T26" fmla="*/ 379335661 w 132"/>
              <a:gd name="T27" fmla="*/ 860988273 h 169"/>
              <a:gd name="T28" fmla="*/ 627165954 w 132"/>
              <a:gd name="T29" fmla="*/ 640615897 h 169"/>
              <a:gd name="T30" fmla="*/ 50578988 w 132"/>
              <a:gd name="T31" fmla="*/ 640615897 h 169"/>
              <a:gd name="T32" fmla="*/ 298409281 w 132"/>
              <a:gd name="T33" fmla="*/ 860988273 h 169"/>
              <a:gd name="T34" fmla="*/ 50578988 w 132"/>
              <a:gd name="T35" fmla="*/ 640615897 h 169"/>
              <a:gd name="T36" fmla="*/ 323698775 w 132"/>
              <a:gd name="T37" fmla="*/ 599617965 h 169"/>
              <a:gd name="T38" fmla="*/ 323698775 w 132"/>
              <a:gd name="T39" fmla="*/ 866113581 h 169"/>
              <a:gd name="T40" fmla="*/ 354046167 w 132"/>
              <a:gd name="T41" fmla="*/ 866113581 h 169"/>
              <a:gd name="T42" fmla="*/ 354046167 w 132"/>
              <a:gd name="T43" fmla="*/ 599617965 h 169"/>
              <a:gd name="T44" fmla="*/ 323698775 w 132"/>
              <a:gd name="T45" fmla="*/ 599617965 h 169"/>
              <a:gd name="T46" fmla="*/ 20231595 w 132"/>
              <a:gd name="T47" fmla="*/ 271620923 h 169"/>
              <a:gd name="T48" fmla="*/ 131503119 w 132"/>
              <a:gd name="T49" fmla="*/ 399744555 h 169"/>
              <a:gd name="T50" fmla="*/ 217485149 w 132"/>
              <a:gd name="T51" fmla="*/ 363869667 h 169"/>
              <a:gd name="T52" fmla="*/ 222543048 w 132"/>
              <a:gd name="T53" fmla="*/ 251121957 h 169"/>
              <a:gd name="T54" fmla="*/ 126445220 w 132"/>
              <a:gd name="T55" fmla="*/ 210121761 h 169"/>
              <a:gd name="T56" fmla="*/ 20231595 w 132"/>
              <a:gd name="T57" fmla="*/ 271620923 h 169"/>
              <a:gd name="T58" fmla="*/ 647397549 w 132"/>
              <a:gd name="T59" fmla="*/ 286996846 h 169"/>
              <a:gd name="T60" fmla="*/ 541183924 w 132"/>
              <a:gd name="T61" fmla="*/ 220372376 h 169"/>
              <a:gd name="T62" fmla="*/ 450143995 w 132"/>
              <a:gd name="T63" fmla="*/ 261372572 h 169"/>
              <a:gd name="T64" fmla="*/ 445086096 w 132"/>
              <a:gd name="T65" fmla="*/ 368994974 h 169"/>
              <a:gd name="T66" fmla="*/ 536126025 w 132"/>
              <a:gd name="T67" fmla="*/ 409995170 h 169"/>
              <a:gd name="T68" fmla="*/ 647397549 w 132"/>
              <a:gd name="T69" fmla="*/ 286996846 h 169"/>
              <a:gd name="T70" fmla="*/ 520952329 w 132"/>
              <a:gd name="T71" fmla="*/ 568868384 h 169"/>
              <a:gd name="T72" fmla="*/ 354046167 w 132"/>
              <a:gd name="T73" fmla="*/ 543241846 h 169"/>
              <a:gd name="T74" fmla="*/ 348988268 w 132"/>
              <a:gd name="T75" fmla="*/ 440744752 h 169"/>
              <a:gd name="T76" fmla="*/ 440028197 w 132"/>
              <a:gd name="T77" fmla="*/ 389493940 h 169"/>
              <a:gd name="T78" fmla="*/ 515894430 w 132"/>
              <a:gd name="T79" fmla="*/ 445870059 h 169"/>
              <a:gd name="T80" fmla="*/ 520952329 w 132"/>
              <a:gd name="T81" fmla="*/ 568868384 h 169"/>
              <a:gd name="T82" fmla="*/ 526010228 w 132"/>
              <a:gd name="T83" fmla="*/ 61499162 h 169"/>
              <a:gd name="T84" fmla="*/ 520952329 w 132"/>
              <a:gd name="T85" fmla="*/ 184497487 h 169"/>
              <a:gd name="T86" fmla="*/ 440028197 w 132"/>
              <a:gd name="T87" fmla="*/ 235746035 h 169"/>
              <a:gd name="T88" fmla="*/ 348988268 w 132"/>
              <a:gd name="T89" fmla="*/ 179372180 h 169"/>
              <a:gd name="T90" fmla="*/ 359104066 w 132"/>
              <a:gd name="T91" fmla="*/ 87123436 h 169"/>
              <a:gd name="T92" fmla="*/ 526010228 w 132"/>
              <a:gd name="T93" fmla="*/ 61499162 h 16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32" h="169">
                <a:moveTo>
                  <a:pt x="29" y="111"/>
                </a:moveTo>
                <a:cubicBezTo>
                  <a:pt x="23" y="102"/>
                  <a:pt x="23" y="94"/>
                  <a:pt x="29" y="87"/>
                </a:cubicBezTo>
                <a:cubicBezTo>
                  <a:pt x="35" y="83"/>
                  <a:pt x="40" y="79"/>
                  <a:pt x="46" y="75"/>
                </a:cubicBezTo>
                <a:cubicBezTo>
                  <a:pt x="49" y="80"/>
                  <a:pt x="55" y="85"/>
                  <a:pt x="64" y="86"/>
                </a:cubicBezTo>
                <a:cubicBezTo>
                  <a:pt x="64" y="94"/>
                  <a:pt x="64" y="102"/>
                  <a:pt x="61" y="106"/>
                </a:cubicBezTo>
                <a:cubicBezTo>
                  <a:pt x="55" y="120"/>
                  <a:pt x="39" y="123"/>
                  <a:pt x="29" y="111"/>
                </a:cubicBezTo>
                <a:close/>
                <a:moveTo>
                  <a:pt x="41" y="3"/>
                </a:moveTo>
                <a:cubicBezTo>
                  <a:pt x="52" y="2"/>
                  <a:pt x="59" y="7"/>
                  <a:pt x="62" y="16"/>
                </a:cubicBezTo>
                <a:cubicBezTo>
                  <a:pt x="63" y="22"/>
                  <a:pt x="63" y="29"/>
                  <a:pt x="64" y="35"/>
                </a:cubicBezTo>
                <a:cubicBezTo>
                  <a:pt x="58" y="36"/>
                  <a:pt x="51" y="38"/>
                  <a:pt x="46" y="46"/>
                </a:cubicBezTo>
                <a:cubicBezTo>
                  <a:pt x="41" y="41"/>
                  <a:pt x="36" y="38"/>
                  <a:pt x="30" y="34"/>
                </a:cubicBezTo>
                <a:cubicBezTo>
                  <a:pt x="21" y="21"/>
                  <a:pt x="26" y="6"/>
                  <a:pt x="41" y="3"/>
                </a:cubicBezTo>
                <a:close/>
                <a:moveTo>
                  <a:pt x="124" y="125"/>
                </a:moveTo>
                <a:cubicBezTo>
                  <a:pt x="98" y="122"/>
                  <a:pt x="75" y="140"/>
                  <a:pt x="75" y="168"/>
                </a:cubicBezTo>
                <a:cubicBezTo>
                  <a:pt x="103" y="169"/>
                  <a:pt x="121" y="156"/>
                  <a:pt x="124" y="125"/>
                </a:cubicBezTo>
                <a:close/>
                <a:moveTo>
                  <a:pt x="10" y="125"/>
                </a:moveTo>
                <a:cubicBezTo>
                  <a:pt x="13" y="156"/>
                  <a:pt x="31" y="169"/>
                  <a:pt x="59" y="168"/>
                </a:cubicBezTo>
                <a:cubicBezTo>
                  <a:pt x="58" y="140"/>
                  <a:pt x="36" y="122"/>
                  <a:pt x="10" y="125"/>
                </a:cubicBezTo>
                <a:close/>
                <a:moveTo>
                  <a:pt x="64" y="117"/>
                </a:moveTo>
                <a:cubicBezTo>
                  <a:pt x="64" y="169"/>
                  <a:pt x="64" y="169"/>
                  <a:pt x="64" y="169"/>
                </a:cubicBezTo>
                <a:cubicBezTo>
                  <a:pt x="70" y="169"/>
                  <a:pt x="70" y="169"/>
                  <a:pt x="70" y="169"/>
                </a:cubicBezTo>
                <a:cubicBezTo>
                  <a:pt x="70" y="117"/>
                  <a:pt x="70" y="117"/>
                  <a:pt x="70" y="117"/>
                </a:cubicBezTo>
                <a:cubicBezTo>
                  <a:pt x="64" y="117"/>
                  <a:pt x="64" y="117"/>
                  <a:pt x="64" y="117"/>
                </a:cubicBezTo>
                <a:close/>
                <a:moveTo>
                  <a:pt x="4" y="53"/>
                </a:moveTo>
                <a:cubicBezTo>
                  <a:pt x="0" y="69"/>
                  <a:pt x="11" y="80"/>
                  <a:pt x="26" y="78"/>
                </a:cubicBezTo>
                <a:cubicBezTo>
                  <a:pt x="33" y="75"/>
                  <a:pt x="38" y="73"/>
                  <a:pt x="43" y="71"/>
                </a:cubicBezTo>
                <a:cubicBezTo>
                  <a:pt x="39" y="63"/>
                  <a:pt x="41" y="54"/>
                  <a:pt x="44" y="49"/>
                </a:cubicBezTo>
                <a:cubicBezTo>
                  <a:pt x="37" y="46"/>
                  <a:pt x="31" y="44"/>
                  <a:pt x="25" y="41"/>
                </a:cubicBezTo>
                <a:cubicBezTo>
                  <a:pt x="16" y="40"/>
                  <a:pt x="8" y="44"/>
                  <a:pt x="4" y="53"/>
                </a:cubicBezTo>
                <a:close/>
                <a:moveTo>
                  <a:pt x="128" y="56"/>
                </a:moveTo>
                <a:cubicBezTo>
                  <a:pt x="124" y="46"/>
                  <a:pt x="116" y="42"/>
                  <a:pt x="107" y="43"/>
                </a:cubicBezTo>
                <a:cubicBezTo>
                  <a:pt x="101" y="46"/>
                  <a:pt x="95" y="48"/>
                  <a:pt x="89" y="51"/>
                </a:cubicBezTo>
                <a:cubicBezTo>
                  <a:pt x="92" y="56"/>
                  <a:pt x="93" y="65"/>
                  <a:pt x="88" y="72"/>
                </a:cubicBezTo>
                <a:cubicBezTo>
                  <a:pt x="94" y="74"/>
                  <a:pt x="100" y="77"/>
                  <a:pt x="106" y="80"/>
                </a:cubicBezTo>
                <a:cubicBezTo>
                  <a:pt x="121" y="82"/>
                  <a:pt x="132" y="71"/>
                  <a:pt x="128" y="56"/>
                </a:cubicBezTo>
                <a:close/>
                <a:moveTo>
                  <a:pt x="103" y="111"/>
                </a:moveTo>
                <a:cubicBezTo>
                  <a:pt x="92" y="123"/>
                  <a:pt x="77" y="120"/>
                  <a:pt x="70" y="106"/>
                </a:cubicBezTo>
                <a:cubicBezTo>
                  <a:pt x="70" y="101"/>
                  <a:pt x="69" y="92"/>
                  <a:pt x="69" y="86"/>
                </a:cubicBezTo>
                <a:cubicBezTo>
                  <a:pt x="78" y="85"/>
                  <a:pt x="83" y="80"/>
                  <a:pt x="87" y="76"/>
                </a:cubicBezTo>
                <a:cubicBezTo>
                  <a:pt x="93" y="79"/>
                  <a:pt x="98" y="83"/>
                  <a:pt x="102" y="87"/>
                </a:cubicBezTo>
                <a:cubicBezTo>
                  <a:pt x="108" y="95"/>
                  <a:pt x="109" y="103"/>
                  <a:pt x="103" y="111"/>
                </a:cubicBezTo>
                <a:close/>
                <a:moveTo>
                  <a:pt x="104" y="12"/>
                </a:moveTo>
                <a:cubicBezTo>
                  <a:pt x="110" y="20"/>
                  <a:pt x="109" y="29"/>
                  <a:pt x="103" y="36"/>
                </a:cubicBezTo>
                <a:cubicBezTo>
                  <a:pt x="98" y="40"/>
                  <a:pt x="92" y="43"/>
                  <a:pt x="87" y="46"/>
                </a:cubicBezTo>
                <a:cubicBezTo>
                  <a:pt x="84" y="42"/>
                  <a:pt x="77" y="36"/>
                  <a:pt x="69" y="35"/>
                </a:cubicBezTo>
                <a:cubicBezTo>
                  <a:pt x="70" y="29"/>
                  <a:pt x="71" y="24"/>
                  <a:pt x="71" y="17"/>
                </a:cubicBezTo>
                <a:cubicBezTo>
                  <a:pt x="78" y="3"/>
                  <a:pt x="93" y="0"/>
                  <a:pt x="104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8" name="Freeform 258"/>
          <p:cNvSpPr>
            <a:spLocks noEditPoints="1"/>
          </p:cNvSpPr>
          <p:nvPr/>
        </p:nvSpPr>
        <p:spPr bwMode="auto">
          <a:xfrm>
            <a:off x="10634134" y="2347385"/>
            <a:ext cx="480484" cy="501649"/>
          </a:xfrm>
          <a:custGeom>
            <a:avLst/>
            <a:gdLst>
              <a:gd name="T0" fmla="*/ 0 w 160"/>
              <a:gd name="T1" fmla="*/ 744863133 h 166"/>
              <a:gd name="T2" fmla="*/ 111599917 w 160"/>
              <a:gd name="T3" fmla="*/ 852738894 h 166"/>
              <a:gd name="T4" fmla="*/ 238416161 w 160"/>
              <a:gd name="T5" fmla="*/ 714041164 h 166"/>
              <a:gd name="T6" fmla="*/ 365234657 w 160"/>
              <a:gd name="T7" fmla="*/ 734589144 h 166"/>
              <a:gd name="T8" fmla="*/ 588432238 w 160"/>
              <a:gd name="T9" fmla="*/ 688355056 h 166"/>
              <a:gd name="T10" fmla="*/ 613797289 w 160"/>
              <a:gd name="T11" fmla="*/ 467465407 h 166"/>
              <a:gd name="T12" fmla="*/ 776122802 w 160"/>
              <a:gd name="T13" fmla="*/ 462327278 h 166"/>
              <a:gd name="T14" fmla="*/ 700032155 w 160"/>
              <a:gd name="T15" fmla="*/ 133561869 h 166"/>
              <a:gd name="T16" fmla="*/ 218125472 w 160"/>
              <a:gd name="T17" fmla="*/ 174657828 h 166"/>
              <a:gd name="T18" fmla="*/ 126818497 w 160"/>
              <a:gd name="T19" fmla="*/ 503423238 h 166"/>
              <a:gd name="T20" fmla="*/ 126818497 w 160"/>
              <a:gd name="T21" fmla="*/ 626711117 h 166"/>
              <a:gd name="T22" fmla="*/ 0 w 160"/>
              <a:gd name="T23" fmla="*/ 744863133 h 166"/>
              <a:gd name="T24" fmla="*/ 694960046 w 160"/>
              <a:gd name="T25" fmla="*/ 472601268 h 166"/>
              <a:gd name="T26" fmla="*/ 811632071 w 160"/>
              <a:gd name="T27" fmla="*/ 590753285 h 166"/>
              <a:gd name="T28" fmla="*/ 694960046 w 160"/>
              <a:gd name="T29" fmla="*/ 708903036 h 166"/>
              <a:gd name="T30" fmla="*/ 578288020 w 160"/>
              <a:gd name="T31" fmla="*/ 590753285 h 166"/>
              <a:gd name="T32" fmla="*/ 694960046 w 160"/>
              <a:gd name="T33" fmla="*/ 472601268 h 166"/>
              <a:gd name="T34" fmla="*/ 694960046 w 160"/>
              <a:gd name="T35" fmla="*/ 513697228 h 166"/>
              <a:gd name="T36" fmla="*/ 771050693 w 160"/>
              <a:gd name="T37" fmla="*/ 590753285 h 166"/>
              <a:gd name="T38" fmla="*/ 694960046 w 160"/>
              <a:gd name="T39" fmla="*/ 667807076 h 166"/>
              <a:gd name="T40" fmla="*/ 618869398 w 160"/>
              <a:gd name="T41" fmla="*/ 590753285 h 166"/>
              <a:gd name="T42" fmla="*/ 694960046 w 160"/>
              <a:gd name="T43" fmla="*/ 513697228 h 166"/>
              <a:gd name="T44" fmla="*/ 167399875 w 160"/>
              <a:gd name="T45" fmla="*/ 395547477 h 166"/>
              <a:gd name="T46" fmla="*/ 167399875 w 160"/>
              <a:gd name="T47" fmla="*/ 395547477 h 166"/>
              <a:gd name="T48" fmla="*/ 451469523 w 160"/>
              <a:gd name="T49" fmla="*/ 688355056 h 166"/>
              <a:gd name="T50" fmla="*/ 314506808 w 160"/>
              <a:gd name="T51" fmla="*/ 662671214 h 166"/>
              <a:gd name="T52" fmla="*/ 284071901 w 160"/>
              <a:gd name="T53" fmla="*/ 657533086 h 166"/>
              <a:gd name="T54" fmla="*/ 339871859 w 160"/>
              <a:gd name="T55" fmla="*/ 601027275 h 166"/>
              <a:gd name="T56" fmla="*/ 248562632 w 160"/>
              <a:gd name="T57" fmla="*/ 508561366 h 166"/>
              <a:gd name="T58" fmla="*/ 187690564 w 160"/>
              <a:gd name="T59" fmla="*/ 565067177 h 166"/>
              <a:gd name="T60" fmla="*/ 182616203 w 160"/>
              <a:gd name="T61" fmla="*/ 529109346 h 166"/>
              <a:gd name="T62" fmla="*/ 167399875 w 160"/>
              <a:gd name="T63" fmla="*/ 395547477 h 166"/>
              <a:gd name="T64" fmla="*/ 243490522 w 160"/>
              <a:gd name="T65" fmla="*/ 554793187 h 166"/>
              <a:gd name="T66" fmla="*/ 289144010 w 160"/>
              <a:gd name="T67" fmla="*/ 606163137 h 166"/>
              <a:gd name="T68" fmla="*/ 243490522 w 160"/>
              <a:gd name="T69" fmla="*/ 611301265 h 166"/>
              <a:gd name="T70" fmla="*/ 243490522 w 160"/>
              <a:gd name="T71" fmla="*/ 554793187 h 16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60" h="166">
                <a:moveTo>
                  <a:pt x="0" y="145"/>
                </a:moveTo>
                <a:cubicBezTo>
                  <a:pt x="22" y="166"/>
                  <a:pt x="22" y="166"/>
                  <a:pt x="22" y="166"/>
                </a:cubicBezTo>
                <a:cubicBezTo>
                  <a:pt x="47" y="139"/>
                  <a:pt x="47" y="139"/>
                  <a:pt x="47" y="139"/>
                </a:cubicBezTo>
                <a:cubicBezTo>
                  <a:pt x="51" y="136"/>
                  <a:pt x="61" y="139"/>
                  <a:pt x="72" y="143"/>
                </a:cubicBezTo>
                <a:cubicBezTo>
                  <a:pt x="89" y="146"/>
                  <a:pt x="104" y="143"/>
                  <a:pt x="116" y="134"/>
                </a:cubicBezTo>
                <a:cubicBezTo>
                  <a:pt x="106" y="123"/>
                  <a:pt x="106" y="101"/>
                  <a:pt x="121" y="91"/>
                </a:cubicBezTo>
                <a:cubicBezTo>
                  <a:pt x="130" y="84"/>
                  <a:pt x="141" y="84"/>
                  <a:pt x="153" y="90"/>
                </a:cubicBezTo>
                <a:cubicBezTo>
                  <a:pt x="159" y="67"/>
                  <a:pt x="157" y="45"/>
                  <a:pt x="138" y="26"/>
                </a:cubicBezTo>
                <a:cubicBezTo>
                  <a:pt x="106" y="0"/>
                  <a:pt x="74" y="2"/>
                  <a:pt x="43" y="34"/>
                </a:cubicBezTo>
                <a:cubicBezTo>
                  <a:pt x="25" y="54"/>
                  <a:pt x="20" y="75"/>
                  <a:pt x="25" y="98"/>
                </a:cubicBezTo>
                <a:cubicBezTo>
                  <a:pt x="28" y="106"/>
                  <a:pt x="28" y="115"/>
                  <a:pt x="25" y="122"/>
                </a:cubicBezTo>
                <a:cubicBezTo>
                  <a:pt x="0" y="145"/>
                  <a:pt x="0" y="145"/>
                  <a:pt x="0" y="145"/>
                </a:cubicBezTo>
                <a:close/>
                <a:moveTo>
                  <a:pt x="137" y="92"/>
                </a:moveTo>
                <a:cubicBezTo>
                  <a:pt x="150" y="92"/>
                  <a:pt x="160" y="102"/>
                  <a:pt x="160" y="115"/>
                </a:cubicBezTo>
                <a:cubicBezTo>
                  <a:pt x="160" y="128"/>
                  <a:pt x="150" y="138"/>
                  <a:pt x="137" y="138"/>
                </a:cubicBezTo>
                <a:cubicBezTo>
                  <a:pt x="124" y="138"/>
                  <a:pt x="114" y="128"/>
                  <a:pt x="114" y="115"/>
                </a:cubicBezTo>
                <a:cubicBezTo>
                  <a:pt x="114" y="102"/>
                  <a:pt x="124" y="92"/>
                  <a:pt x="137" y="92"/>
                </a:cubicBezTo>
                <a:close/>
                <a:moveTo>
                  <a:pt x="137" y="100"/>
                </a:moveTo>
                <a:cubicBezTo>
                  <a:pt x="145" y="100"/>
                  <a:pt x="152" y="107"/>
                  <a:pt x="152" y="115"/>
                </a:cubicBezTo>
                <a:cubicBezTo>
                  <a:pt x="152" y="123"/>
                  <a:pt x="145" y="130"/>
                  <a:pt x="137" y="130"/>
                </a:cubicBezTo>
                <a:cubicBezTo>
                  <a:pt x="129" y="130"/>
                  <a:pt x="122" y="123"/>
                  <a:pt x="122" y="115"/>
                </a:cubicBezTo>
                <a:cubicBezTo>
                  <a:pt x="122" y="107"/>
                  <a:pt x="129" y="100"/>
                  <a:pt x="137" y="100"/>
                </a:cubicBezTo>
                <a:close/>
                <a:moveTo>
                  <a:pt x="33" y="77"/>
                </a:moveTo>
                <a:cubicBezTo>
                  <a:pt x="33" y="77"/>
                  <a:pt x="33" y="77"/>
                  <a:pt x="33" y="77"/>
                </a:cubicBezTo>
                <a:cubicBezTo>
                  <a:pt x="89" y="134"/>
                  <a:pt x="89" y="134"/>
                  <a:pt x="89" y="134"/>
                </a:cubicBezTo>
                <a:cubicBezTo>
                  <a:pt x="81" y="135"/>
                  <a:pt x="70" y="133"/>
                  <a:pt x="62" y="129"/>
                </a:cubicBezTo>
                <a:cubicBezTo>
                  <a:pt x="60" y="128"/>
                  <a:pt x="58" y="129"/>
                  <a:pt x="56" y="128"/>
                </a:cubicBezTo>
                <a:cubicBezTo>
                  <a:pt x="67" y="117"/>
                  <a:pt x="67" y="117"/>
                  <a:pt x="67" y="117"/>
                </a:cubicBezTo>
                <a:cubicBezTo>
                  <a:pt x="49" y="99"/>
                  <a:pt x="49" y="99"/>
                  <a:pt x="49" y="99"/>
                </a:cubicBezTo>
                <a:cubicBezTo>
                  <a:pt x="37" y="110"/>
                  <a:pt x="37" y="110"/>
                  <a:pt x="37" y="110"/>
                </a:cubicBezTo>
                <a:cubicBezTo>
                  <a:pt x="37" y="107"/>
                  <a:pt x="37" y="105"/>
                  <a:pt x="36" y="103"/>
                </a:cubicBezTo>
                <a:cubicBezTo>
                  <a:pt x="33" y="94"/>
                  <a:pt x="32" y="86"/>
                  <a:pt x="33" y="77"/>
                </a:cubicBezTo>
                <a:close/>
                <a:moveTo>
                  <a:pt x="48" y="108"/>
                </a:moveTo>
                <a:cubicBezTo>
                  <a:pt x="57" y="118"/>
                  <a:pt x="57" y="118"/>
                  <a:pt x="57" y="118"/>
                </a:cubicBezTo>
                <a:cubicBezTo>
                  <a:pt x="55" y="120"/>
                  <a:pt x="52" y="120"/>
                  <a:pt x="48" y="119"/>
                </a:cubicBezTo>
                <a:cubicBezTo>
                  <a:pt x="44" y="115"/>
                  <a:pt x="46" y="110"/>
                  <a:pt x="48" y="10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599" name="Freeform 262"/>
          <p:cNvSpPr>
            <a:spLocks/>
          </p:cNvSpPr>
          <p:nvPr/>
        </p:nvSpPr>
        <p:spPr bwMode="auto">
          <a:xfrm>
            <a:off x="1365251" y="4974168"/>
            <a:ext cx="78316" cy="91017"/>
          </a:xfrm>
          <a:custGeom>
            <a:avLst/>
            <a:gdLst>
              <a:gd name="T0" fmla="*/ 4753060 w 38"/>
              <a:gd name="T1" fmla="*/ 0 h 45"/>
              <a:gd name="T2" fmla="*/ 0 w 38"/>
              <a:gd name="T3" fmla="*/ 20738299 h 45"/>
              <a:gd name="T4" fmla="*/ 11884968 w 38"/>
              <a:gd name="T5" fmla="*/ 16129788 h 45"/>
              <a:gd name="T6" fmla="*/ 4753060 w 38"/>
              <a:gd name="T7" fmla="*/ 41475082 h 45"/>
              <a:gd name="T8" fmla="*/ 21392634 w 38"/>
              <a:gd name="T9" fmla="*/ 36866571 h 45"/>
              <a:gd name="T10" fmla="*/ 16638028 w 38"/>
              <a:gd name="T11" fmla="*/ 66821892 h 45"/>
              <a:gd name="T12" fmla="*/ 26145694 w 38"/>
              <a:gd name="T13" fmla="*/ 62213381 h 45"/>
              <a:gd name="T14" fmla="*/ 21392634 w 38"/>
              <a:gd name="T15" fmla="*/ 94471441 h 45"/>
              <a:gd name="T16" fmla="*/ 54668690 w 38"/>
              <a:gd name="T17" fmla="*/ 78341653 h 45"/>
              <a:gd name="T18" fmla="*/ 76061324 w 38"/>
              <a:gd name="T19" fmla="*/ 103688463 h 45"/>
              <a:gd name="T20" fmla="*/ 80814383 w 38"/>
              <a:gd name="T21" fmla="*/ 103688463 h 45"/>
              <a:gd name="T22" fmla="*/ 59421750 w 38"/>
              <a:gd name="T23" fmla="*/ 73734659 h 45"/>
              <a:gd name="T24" fmla="*/ 90322049 w 38"/>
              <a:gd name="T25" fmla="*/ 52996359 h 45"/>
              <a:gd name="T26" fmla="*/ 54668690 w 38"/>
              <a:gd name="T27" fmla="*/ 41475082 h 45"/>
              <a:gd name="T28" fmla="*/ 68929415 w 38"/>
              <a:gd name="T29" fmla="*/ 36866571 h 45"/>
              <a:gd name="T30" fmla="*/ 33276056 w 38"/>
              <a:gd name="T31" fmla="*/ 25346810 h 45"/>
              <a:gd name="T32" fmla="*/ 47538327 w 38"/>
              <a:gd name="T33" fmla="*/ 16129788 h 45"/>
              <a:gd name="T34" fmla="*/ 16638028 w 38"/>
              <a:gd name="T35" fmla="*/ 9217022 h 45"/>
              <a:gd name="T36" fmla="*/ 26145694 w 38"/>
              <a:gd name="T37" fmla="*/ 4608511 h 45"/>
              <a:gd name="T38" fmla="*/ 4753060 w 38"/>
              <a:gd name="T39" fmla="*/ 0 h 4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8" h="45">
                <a:moveTo>
                  <a:pt x="2" y="0"/>
                </a:moveTo>
                <a:lnTo>
                  <a:pt x="0" y="9"/>
                </a:lnTo>
                <a:lnTo>
                  <a:pt x="5" y="7"/>
                </a:lnTo>
                <a:lnTo>
                  <a:pt x="2" y="18"/>
                </a:lnTo>
                <a:lnTo>
                  <a:pt x="9" y="16"/>
                </a:lnTo>
                <a:lnTo>
                  <a:pt x="7" y="29"/>
                </a:lnTo>
                <a:lnTo>
                  <a:pt x="11" y="27"/>
                </a:lnTo>
                <a:lnTo>
                  <a:pt x="9" y="41"/>
                </a:lnTo>
                <a:lnTo>
                  <a:pt x="23" y="34"/>
                </a:lnTo>
                <a:lnTo>
                  <a:pt x="32" y="45"/>
                </a:lnTo>
                <a:lnTo>
                  <a:pt x="34" y="45"/>
                </a:lnTo>
                <a:lnTo>
                  <a:pt x="25" y="32"/>
                </a:lnTo>
                <a:lnTo>
                  <a:pt x="38" y="23"/>
                </a:lnTo>
                <a:lnTo>
                  <a:pt x="23" y="18"/>
                </a:lnTo>
                <a:lnTo>
                  <a:pt x="29" y="16"/>
                </a:lnTo>
                <a:lnTo>
                  <a:pt x="14" y="11"/>
                </a:lnTo>
                <a:lnTo>
                  <a:pt x="20" y="7"/>
                </a:lnTo>
                <a:lnTo>
                  <a:pt x="7" y="4"/>
                </a:lnTo>
                <a:lnTo>
                  <a:pt x="11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0" name="Freeform 263"/>
          <p:cNvSpPr>
            <a:spLocks/>
          </p:cNvSpPr>
          <p:nvPr/>
        </p:nvSpPr>
        <p:spPr bwMode="auto">
          <a:xfrm>
            <a:off x="1365251" y="4974168"/>
            <a:ext cx="78316" cy="91017"/>
          </a:xfrm>
          <a:custGeom>
            <a:avLst/>
            <a:gdLst>
              <a:gd name="T0" fmla="*/ 4753060 w 38"/>
              <a:gd name="T1" fmla="*/ 0 h 45"/>
              <a:gd name="T2" fmla="*/ 0 w 38"/>
              <a:gd name="T3" fmla="*/ 20738299 h 45"/>
              <a:gd name="T4" fmla="*/ 11884968 w 38"/>
              <a:gd name="T5" fmla="*/ 16129788 h 45"/>
              <a:gd name="T6" fmla="*/ 4753060 w 38"/>
              <a:gd name="T7" fmla="*/ 41475082 h 45"/>
              <a:gd name="T8" fmla="*/ 21392634 w 38"/>
              <a:gd name="T9" fmla="*/ 36866571 h 45"/>
              <a:gd name="T10" fmla="*/ 16638028 w 38"/>
              <a:gd name="T11" fmla="*/ 66821892 h 45"/>
              <a:gd name="T12" fmla="*/ 26145694 w 38"/>
              <a:gd name="T13" fmla="*/ 62213381 h 45"/>
              <a:gd name="T14" fmla="*/ 21392634 w 38"/>
              <a:gd name="T15" fmla="*/ 94471441 h 45"/>
              <a:gd name="T16" fmla="*/ 54668690 w 38"/>
              <a:gd name="T17" fmla="*/ 78341653 h 45"/>
              <a:gd name="T18" fmla="*/ 76061324 w 38"/>
              <a:gd name="T19" fmla="*/ 103688463 h 45"/>
              <a:gd name="T20" fmla="*/ 80814383 w 38"/>
              <a:gd name="T21" fmla="*/ 103688463 h 45"/>
              <a:gd name="T22" fmla="*/ 59421750 w 38"/>
              <a:gd name="T23" fmla="*/ 73734659 h 45"/>
              <a:gd name="T24" fmla="*/ 90322049 w 38"/>
              <a:gd name="T25" fmla="*/ 52996359 h 45"/>
              <a:gd name="T26" fmla="*/ 54668690 w 38"/>
              <a:gd name="T27" fmla="*/ 41475082 h 45"/>
              <a:gd name="T28" fmla="*/ 68929415 w 38"/>
              <a:gd name="T29" fmla="*/ 36866571 h 45"/>
              <a:gd name="T30" fmla="*/ 33276056 w 38"/>
              <a:gd name="T31" fmla="*/ 25346810 h 45"/>
              <a:gd name="T32" fmla="*/ 47538327 w 38"/>
              <a:gd name="T33" fmla="*/ 16129788 h 45"/>
              <a:gd name="T34" fmla="*/ 16638028 w 38"/>
              <a:gd name="T35" fmla="*/ 9217022 h 45"/>
              <a:gd name="T36" fmla="*/ 26145694 w 38"/>
              <a:gd name="T37" fmla="*/ 4608511 h 45"/>
              <a:gd name="T38" fmla="*/ 4753060 w 38"/>
              <a:gd name="T39" fmla="*/ 0 h 4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8" h="45">
                <a:moveTo>
                  <a:pt x="2" y="0"/>
                </a:moveTo>
                <a:lnTo>
                  <a:pt x="0" y="9"/>
                </a:lnTo>
                <a:lnTo>
                  <a:pt x="5" y="7"/>
                </a:lnTo>
                <a:lnTo>
                  <a:pt x="2" y="18"/>
                </a:lnTo>
                <a:lnTo>
                  <a:pt x="9" y="16"/>
                </a:lnTo>
                <a:lnTo>
                  <a:pt x="7" y="29"/>
                </a:lnTo>
                <a:lnTo>
                  <a:pt x="11" y="27"/>
                </a:lnTo>
                <a:lnTo>
                  <a:pt x="9" y="41"/>
                </a:lnTo>
                <a:lnTo>
                  <a:pt x="23" y="34"/>
                </a:lnTo>
                <a:lnTo>
                  <a:pt x="32" y="45"/>
                </a:lnTo>
                <a:lnTo>
                  <a:pt x="34" y="45"/>
                </a:lnTo>
                <a:lnTo>
                  <a:pt x="25" y="32"/>
                </a:lnTo>
                <a:lnTo>
                  <a:pt x="38" y="23"/>
                </a:lnTo>
                <a:lnTo>
                  <a:pt x="23" y="18"/>
                </a:lnTo>
                <a:lnTo>
                  <a:pt x="29" y="16"/>
                </a:lnTo>
                <a:lnTo>
                  <a:pt x="14" y="11"/>
                </a:lnTo>
                <a:lnTo>
                  <a:pt x="20" y="7"/>
                </a:lnTo>
                <a:lnTo>
                  <a:pt x="7" y="4"/>
                </a:lnTo>
                <a:lnTo>
                  <a:pt x="11" y="2"/>
                </a:lnTo>
                <a:lnTo>
                  <a:pt x="2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1" name="Freeform 264"/>
          <p:cNvSpPr>
            <a:spLocks noEditPoints="1"/>
          </p:cNvSpPr>
          <p:nvPr/>
        </p:nvSpPr>
        <p:spPr bwMode="auto">
          <a:xfrm>
            <a:off x="1200151" y="4893733"/>
            <a:ext cx="518583" cy="482600"/>
          </a:xfrm>
          <a:custGeom>
            <a:avLst/>
            <a:gdLst>
              <a:gd name="T0" fmla="*/ 394781816 w 253"/>
              <a:gd name="T1" fmla="*/ 173250865 h 238"/>
              <a:gd name="T2" fmla="*/ 203301828 w 253"/>
              <a:gd name="T3" fmla="*/ 378841507 h 238"/>
              <a:gd name="T4" fmla="*/ 245852766 w 253"/>
              <a:gd name="T5" fmla="*/ 288750935 h 238"/>
              <a:gd name="T6" fmla="*/ 106378113 w 253"/>
              <a:gd name="T7" fmla="*/ 330331082 h 238"/>
              <a:gd name="T8" fmla="*/ 267129003 w 253"/>
              <a:gd name="T9" fmla="*/ 247170788 h 238"/>
              <a:gd name="T10" fmla="*/ 267129003 w 253"/>
              <a:gd name="T11" fmla="*/ 288750935 h 238"/>
              <a:gd name="T12" fmla="*/ 352230878 w 253"/>
              <a:gd name="T13" fmla="*/ 168630680 h 238"/>
              <a:gd name="T14" fmla="*/ 203301828 w 253"/>
              <a:gd name="T15" fmla="*/ 194040178 h 238"/>
              <a:gd name="T16" fmla="*/ 0 w 253"/>
              <a:gd name="T17" fmla="*/ 194040178 h 238"/>
              <a:gd name="T18" fmla="*/ 0 w 253"/>
              <a:gd name="T19" fmla="*/ 549782280 h 238"/>
              <a:gd name="T20" fmla="*/ 598083644 w 253"/>
              <a:gd name="T21" fmla="*/ 549782280 h 238"/>
              <a:gd name="T22" fmla="*/ 598083644 w 253"/>
              <a:gd name="T23" fmla="*/ 200970456 h 238"/>
              <a:gd name="T24" fmla="*/ 394781816 w 253"/>
              <a:gd name="T25" fmla="*/ 173250865 h 238"/>
              <a:gd name="T26" fmla="*/ 378234315 w 253"/>
              <a:gd name="T27" fmla="*/ 346501731 h 238"/>
              <a:gd name="T28" fmla="*/ 340410576 w 253"/>
              <a:gd name="T29" fmla="*/ 392702063 h 238"/>
              <a:gd name="T30" fmla="*/ 281312137 w 253"/>
              <a:gd name="T31" fmla="*/ 304921584 h 238"/>
              <a:gd name="T32" fmla="*/ 297859638 w 253"/>
              <a:gd name="T33" fmla="*/ 304921584 h 238"/>
              <a:gd name="T34" fmla="*/ 340410576 w 253"/>
              <a:gd name="T35" fmla="*/ 341881545 h 238"/>
              <a:gd name="T36" fmla="*/ 394781816 w 253"/>
              <a:gd name="T37" fmla="*/ 300301399 h 238"/>
              <a:gd name="T38" fmla="*/ 432605555 w 253"/>
              <a:gd name="T39" fmla="*/ 503581947 h 238"/>
              <a:gd name="T40" fmla="*/ 378234315 w 253"/>
              <a:gd name="T41" fmla="*/ 346501731 h 238"/>
              <a:gd name="T42" fmla="*/ 347503680 w 253"/>
              <a:gd name="T43" fmla="*/ 131670718 h 238"/>
              <a:gd name="T44" fmla="*/ 297859638 w 253"/>
              <a:gd name="T45" fmla="*/ 94710757 h 238"/>
              <a:gd name="T46" fmla="*/ 319135876 w 253"/>
              <a:gd name="T47" fmla="*/ 90090572 h 238"/>
              <a:gd name="T48" fmla="*/ 276583401 w 253"/>
              <a:gd name="T49" fmla="*/ 57750795 h 238"/>
              <a:gd name="T50" fmla="*/ 297859638 w 253"/>
              <a:gd name="T51" fmla="*/ 53130610 h 238"/>
              <a:gd name="T52" fmla="*/ 260035899 w 253"/>
              <a:gd name="T53" fmla="*/ 27719591 h 238"/>
              <a:gd name="T54" fmla="*/ 271856202 w 253"/>
              <a:gd name="T55" fmla="*/ 20790834 h 238"/>
              <a:gd name="T56" fmla="*/ 245852766 w 253"/>
              <a:gd name="T57" fmla="*/ 0 h 238"/>
              <a:gd name="T58" fmla="*/ 234032463 w 253"/>
              <a:gd name="T59" fmla="*/ 32339776 h 238"/>
              <a:gd name="T60" fmla="*/ 245852766 w 253"/>
              <a:gd name="T61" fmla="*/ 32339776 h 238"/>
              <a:gd name="T62" fmla="*/ 229305264 w 253"/>
              <a:gd name="T63" fmla="*/ 69299738 h 238"/>
              <a:gd name="T64" fmla="*/ 250579964 w 253"/>
              <a:gd name="T65" fmla="*/ 64679553 h 238"/>
              <a:gd name="T66" fmla="*/ 224576528 w 253"/>
              <a:gd name="T67" fmla="*/ 110879885 h 238"/>
              <a:gd name="T68" fmla="*/ 245852766 w 253"/>
              <a:gd name="T69" fmla="*/ 106259699 h 238"/>
              <a:gd name="T70" fmla="*/ 217484962 w 253"/>
              <a:gd name="T71" fmla="*/ 157080217 h 238"/>
              <a:gd name="T72" fmla="*/ 276583401 w 253"/>
              <a:gd name="T73" fmla="*/ 147841367 h 238"/>
              <a:gd name="T74" fmla="*/ 288403703 w 253"/>
              <a:gd name="T75" fmla="*/ 200970456 h 238"/>
              <a:gd name="T76" fmla="*/ 297859638 w 253"/>
              <a:gd name="T77" fmla="*/ 194040178 h 238"/>
              <a:gd name="T78" fmla="*/ 288403703 w 253"/>
              <a:gd name="T79" fmla="*/ 143221182 h 238"/>
              <a:gd name="T80" fmla="*/ 347503680 w 253"/>
              <a:gd name="T81" fmla="*/ 131670718 h 23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53" h="238">
                <a:moveTo>
                  <a:pt x="167" y="75"/>
                </a:moveTo>
                <a:lnTo>
                  <a:pt x="86" y="164"/>
                </a:lnTo>
                <a:lnTo>
                  <a:pt x="104" y="125"/>
                </a:lnTo>
                <a:lnTo>
                  <a:pt x="45" y="143"/>
                </a:lnTo>
                <a:lnTo>
                  <a:pt x="113" y="107"/>
                </a:lnTo>
                <a:lnTo>
                  <a:pt x="113" y="125"/>
                </a:lnTo>
                <a:lnTo>
                  <a:pt x="149" y="73"/>
                </a:lnTo>
                <a:lnTo>
                  <a:pt x="86" y="84"/>
                </a:lnTo>
                <a:lnTo>
                  <a:pt x="0" y="84"/>
                </a:lnTo>
                <a:lnTo>
                  <a:pt x="0" y="238"/>
                </a:lnTo>
                <a:lnTo>
                  <a:pt x="253" y="238"/>
                </a:lnTo>
                <a:lnTo>
                  <a:pt x="253" y="87"/>
                </a:lnTo>
                <a:lnTo>
                  <a:pt x="167" y="75"/>
                </a:lnTo>
                <a:close/>
                <a:moveTo>
                  <a:pt x="160" y="150"/>
                </a:moveTo>
                <a:lnTo>
                  <a:pt x="144" y="170"/>
                </a:lnTo>
                <a:lnTo>
                  <a:pt x="119" y="132"/>
                </a:lnTo>
                <a:lnTo>
                  <a:pt x="126" y="132"/>
                </a:lnTo>
                <a:lnTo>
                  <a:pt x="144" y="148"/>
                </a:lnTo>
                <a:lnTo>
                  <a:pt x="167" y="130"/>
                </a:lnTo>
                <a:lnTo>
                  <a:pt x="183" y="218"/>
                </a:lnTo>
                <a:lnTo>
                  <a:pt x="160" y="150"/>
                </a:lnTo>
                <a:close/>
                <a:moveTo>
                  <a:pt x="147" y="57"/>
                </a:moveTo>
                <a:lnTo>
                  <a:pt x="126" y="41"/>
                </a:lnTo>
                <a:lnTo>
                  <a:pt x="135" y="39"/>
                </a:lnTo>
                <a:lnTo>
                  <a:pt x="117" y="25"/>
                </a:lnTo>
                <a:lnTo>
                  <a:pt x="126" y="23"/>
                </a:lnTo>
                <a:lnTo>
                  <a:pt x="110" y="12"/>
                </a:lnTo>
                <a:lnTo>
                  <a:pt x="115" y="9"/>
                </a:lnTo>
                <a:lnTo>
                  <a:pt x="104" y="0"/>
                </a:lnTo>
                <a:lnTo>
                  <a:pt x="99" y="14"/>
                </a:lnTo>
                <a:lnTo>
                  <a:pt x="104" y="14"/>
                </a:lnTo>
                <a:lnTo>
                  <a:pt x="97" y="30"/>
                </a:lnTo>
                <a:lnTo>
                  <a:pt x="106" y="28"/>
                </a:lnTo>
                <a:lnTo>
                  <a:pt x="95" y="48"/>
                </a:lnTo>
                <a:lnTo>
                  <a:pt x="104" y="46"/>
                </a:lnTo>
                <a:lnTo>
                  <a:pt x="92" y="68"/>
                </a:lnTo>
                <a:lnTo>
                  <a:pt x="117" y="64"/>
                </a:lnTo>
                <a:lnTo>
                  <a:pt x="122" y="87"/>
                </a:lnTo>
                <a:lnTo>
                  <a:pt x="126" y="84"/>
                </a:lnTo>
                <a:lnTo>
                  <a:pt x="122" y="62"/>
                </a:lnTo>
                <a:lnTo>
                  <a:pt x="147" y="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2" name="Freeform 265"/>
          <p:cNvSpPr>
            <a:spLocks/>
          </p:cNvSpPr>
          <p:nvPr/>
        </p:nvSpPr>
        <p:spPr bwMode="auto">
          <a:xfrm>
            <a:off x="2021417" y="5001685"/>
            <a:ext cx="709083" cy="442383"/>
          </a:xfrm>
          <a:custGeom>
            <a:avLst/>
            <a:gdLst>
              <a:gd name="T0" fmla="*/ 192839202 w 153"/>
              <a:gd name="T1" fmla="*/ 973599877 h 97"/>
              <a:gd name="T2" fmla="*/ 1000355751 w 153"/>
              <a:gd name="T3" fmla="*/ 914948829 h 97"/>
              <a:gd name="T4" fmla="*/ 1844032041 w 153"/>
              <a:gd name="T5" fmla="*/ 914948829 h 97"/>
              <a:gd name="T6" fmla="*/ 1844032041 w 153"/>
              <a:gd name="T7" fmla="*/ 293251821 h 97"/>
              <a:gd name="T8" fmla="*/ 1482455495 w 153"/>
              <a:gd name="T9" fmla="*/ 551313698 h 97"/>
              <a:gd name="T10" fmla="*/ 1361932297 w 153"/>
              <a:gd name="T11" fmla="*/ 387092814 h 97"/>
              <a:gd name="T12" fmla="*/ 1518615235 w 153"/>
              <a:gd name="T13" fmla="*/ 328441766 h 97"/>
              <a:gd name="T14" fmla="*/ 1217303764 w 153"/>
              <a:gd name="T15" fmla="*/ 351902870 h 97"/>
              <a:gd name="T16" fmla="*/ 1024461086 w 153"/>
              <a:gd name="T17" fmla="*/ 516123753 h 97"/>
              <a:gd name="T18" fmla="*/ 759305880 w 153"/>
              <a:gd name="T19" fmla="*/ 269794138 h 97"/>
              <a:gd name="T20" fmla="*/ 940094152 w 153"/>
              <a:gd name="T21" fmla="*/ 199410828 h 97"/>
              <a:gd name="T22" fmla="*/ 988304822 w 153"/>
              <a:gd name="T23" fmla="*/ 258061876 h 97"/>
              <a:gd name="T24" fmla="*/ 614677347 w 153"/>
              <a:gd name="T25" fmla="*/ 46918786 h 97"/>
              <a:gd name="T26" fmla="*/ 192839202 w 153"/>
              <a:gd name="T27" fmla="*/ 973599877 h 9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53" h="97">
                <a:moveTo>
                  <a:pt x="16" y="83"/>
                </a:moveTo>
                <a:cubicBezTo>
                  <a:pt x="16" y="83"/>
                  <a:pt x="51" y="63"/>
                  <a:pt x="83" y="78"/>
                </a:cubicBezTo>
                <a:cubicBezTo>
                  <a:pt x="83" y="78"/>
                  <a:pt x="131" y="97"/>
                  <a:pt x="153" y="78"/>
                </a:cubicBezTo>
                <a:cubicBezTo>
                  <a:pt x="153" y="25"/>
                  <a:pt x="153" y="25"/>
                  <a:pt x="153" y="25"/>
                </a:cubicBezTo>
                <a:cubicBezTo>
                  <a:pt x="153" y="25"/>
                  <a:pt x="144" y="49"/>
                  <a:pt x="123" y="47"/>
                </a:cubicBezTo>
                <a:cubicBezTo>
                  <a:pt x="123" y="47"/>
                  <a:pt x="110" y="46"/>
                  <a:pt x="113" y="33"/>
                </a:cubicBezTo>
                <a:cubicBezTo>
                  <a:pt x="113" y="33"/>
                  <a:pt x="117" y="24"/>
                  <a:pt x="126" y="28"/>
                </a:cubicBezTo>
                <a:cubicBezTo>
                  <a:pt x="126" y="23"/>
                  <a:pt x="111" y="15"/>
                  <a:pt x="101" y="30"/>
                </a:cubicBezTo>
                <a:cubicBezTo>
                  <a:pt x="101" y="30"/>
                  <a:pt x="95" y="44"/>
                  <a:pt x="85" y="44"/>
                </a:cubicBezTo>
                <a:cubicBezTo>
                  <a:pt x="74" y="46"/>
                  <a:pt x="59" y="34"/>
                  <a:pt x="63" y="23"/>
                </a:cubicBezTo>
                <a:cubicBezTo>
                  <a:pt x="63" y="23"/>
                  <a:pt x="66" y="13"/>
                  <a:pt x="78" y="17"/>
                </a:cubicBezTo>
                <a:cubicBezTo>
                  <a:pt x="78" y="17"/>
                  <a:pt x="81" y="19"/>
                  <a:pt x="82" y="22"/>
                </a:cubicBezTo>
                <a:cubicBezTo>
                  <a:pt x="83" y="22"/>
                  <a:pt x="81" y="0"/>
                  <a:pt x="51" y="4"/>
                </a:cubicBezTo>
                <a:cubicBezTo>
                  <a:pt x="20" y="8"/>
                  <a:pt x="0" y="47"/>
                  <a:pt x="16" y="8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3" name="Freeform 266"/>
          <p:cNvSpPr>
            <a:spLocks/>
          </p:cNvSpPr>
          <p:nvPr/>
        </p:nvSpPr>
        <p:spPr bwMode="auto">
          <a:xfrm>
            <a:off x="3145368" y="5005918"/>
            <a:ext cx="283633" cy="315383"/>
          </a:xfrm>
          <a:custGeom>
            <a:avLst/>
            <a:gdLst>
              <a:gd name="T0" fmla="*/ 618715893 w 61"/>
              <a:gd name="T1" fmla="*/ 612168040 h 69"/>
              <a:gd name="T2" fmla="*/ 740031915 w 61"/>
              <a:gd name="T3" fmla="*/ 659256044 h 69"/>
              <a:gd name="T4" fmla="*/ 740031915 w 61"/>
              <a:gd name="T5" fmla="*/ 270766304 h 69"/>
              <a:gd name="T6" fmla="*/ 351819252 w 61"/>
              <a:gd name="T7" fmla="*/ 0 h 69"/>
              <a:gd name="T8" fmla="*/ 0 w 61"/>
              <a:gd name="T9" fmla="*/ 270766304 h 69"/>
              <a:gd name="T10" fmla="*/ 0 w 61"/>
              <a:gd name="T11" fmla="*/ 659256044 h 69"/>
              <a:gd name="T12" fmla="*/ 169841732 w 61"/>
              <a:gd name="T13" fmla="*/ 612168040 h 69"/>
              <a:gd name="T14" fmla="*/ 618715893 w 61"/>
              <a:gd name="T15" fmla="*/ 612168040 h 6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1" h="69">
                <a:moveTo>
                  <a:pt x="51" y="52"/>
                </a:moveTo>
                <a:cubicBezTo>
                  <a:pt x="51" y="52"/>
                  <a:pt x="54" y="55"/>
                  <a:pt x="61" y="56"/>
                </a:cubicBezTo>
                <a:cubicBezTo>
                  <a:pt x="61" y="23"/>
                  <a:pt x="61" y="23"/>
                  <a:pt x="61" y="23"/>
                </a:cubicBezTo>
                <a:cubicBezTo>
                  <a:pt x="29" y="0"/>
                  <a:pt x="29" y="0"/>
                  <a:pt x="29" y="0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56"/>
                  <a:pt x="0" y="56"/>
                  <a:pt x="0" y="56"/>
                </a:cubicBezTo>
                <a:cubicBezTo>
                  <a:pt x="3" y="56"/>
                  <a:pt x="8" y="55"/>
                  <a:pt x="14" y="52"/>
                </a:cubicBezTo>
                <a:cubicBezTo>
                  <a:pt x="14" y="52"/>
                  <a:pt x="34" y="69"/>
                  <a:pt x="51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4" name="Freeform 267"/>
          <p:cNvSpPr>
            <a:spLocks/>
          </p:cNvSpPr>
          <p:nvPr/>
        </p:nvSpPr>
        <p:spPr bwMode="auto">
          <a:xfrm>
            <a:off x="3094568" y="4853518"/>
            <a:ext cx="573617" cy="408516"/>
          </a:xfrm>
          <a:custGeom>
            <a:avLst/>
            <a:gdLst>
              <a:gd name="T0" fmla="*/ 1457690014 w 124"/>
              <a:gd name="T1" fmla="*/ 308573020 h 89"/>
              <a:gd name="T2" fmla="*/ 1349265930 w 124"/>
              <a:gd name="T3" fmla="*/ 130548402 h 89"/>
              <a:gd name="T4" fmla="*/ 1289032640 w 124"/>
              <a:gd name="T5" fmla="*/ 130548402 h 89"/>
              <a:gd name="T6" fmla="*/ 1144467194 w 124"/>
              <a:gd name="T7" fmla="*/ 23736386 h 89"/>
              <a:gd name="T8" fmla="*/ 927622495 w 124"/>
              <a:gd name="T9" fmla="*/ 142418317 h 89"/>
              <a:gd name="T10" fmla="*/ 867385736 w 124"/>
              <a:gd name="T11" fmla="*/ 249230333 h 89"/>
              <a:gd name="T12" fmla="*/ 734869724 w 124"/>
              <a:gd name="T13" fmla="*/ 249230333 h 89"/>
              <a:gd name="T14" fmla="*/ 734869724 w 124"/>
              <a:gd name="T15" fmla="*/ 427254950 h 89"/>
              <a:gd name="T16" fmla="*/ 469834230 w 124"/>
              <a:gd name="T17" fmla="*/ 237363861 h 89"/>
              <a:gd name="T18" fmla="*/ 0 w 124"/>
              <a:gd name="T19" fmla="*/ 605276125 h 89"/>
              <a:gd name="T20" fmla="*/ 0 w 124"/>
              <a:gd name="T21" fmla="*/ 712091584 h 89"/>
              <a:gd name="T22" fmla="*/ 469834230 w 124"/>
              <a:gd name="T23" fmla="*/ 332309406 h 89"/>
              <a:gd name="T24" fmla="*/ 999901748 w 124"/>
              <a:gd name="T25" fmla="*/ 712091584 h 89"/>
              <a:gd name="T26" fmla="*/ 999901748 w 124"/>
              <a:gd name="T27" fmla="*/ 605276125 h 89"/>
              <a:gd name="T28" fmla="*/ 999901748 w 124"/>
              <a:gd name="T29" fmla="*/ 605276125 h 89"/>
              <a:gd name="T30" fmla="*/ 1120375266 w 124"/>
              <a:gd name="T31" fmla="*/ 593409653 h 89"/>
              <a:gd name="T32" fmla="*/ 1120375266 w 124"/>
              <a:gd name="T33" fmla="*/ 1044400989 h 89"/>
              <a:gd name="T34" fmla="*/ 1216749917 w 124"/>
              <a:gd name="T35" fmla="*/ 1056267461 h 89"/>
              <a:gd name="T36" fmla="*/ 1216749917 w 124"/>
              <a:gd name="T37" fmla="*/ 593409653 h 89"/>
              <a:gd name="T38" fmla="*/ 1264937243 w 124"/>
              <a:gd name="T39" fmla="*/ 605276125 h 89"/>
              <a:gd name="T40" fmla="*/ 1481785411 w 124"/>
              <a:gd name="T41" fmla="*/ 439121422 h 89"/>
              <a:gd name="T42" fmla="*/ 1457690014 w 124"/>
              <a:gd name="T43" fmla="*/ 308573020 h 8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24" h="89">
                <a:moveTo>
                  <a:pt x="121" y="26"/>
                </a:moveTo>
                <a:cubicBezTo>
                  <a:pt x="122" y="20"/>
                  <a:pt x="118" y="13"/>
                  <a:pt x="112" y="11"/>
                </a:cubicBezTo>
                <a:cubicBezTo>
                  <a:pt x="110" y="11"/>
                  <a:pt x="109" y="11"/>
                  <a:pt x="107" y="11"/>
                </a:cubicBezTo>
                <a:cubicBezTo>
                  <a:pt x="105" y="6"/>
                  <a:pt x="101" y="2"/>
                  <a:pt x="95" y="2"/>
                </a:cubicBezTo>
                <a:cubicBezTo>
                  <a:pt x="87" y="0"/>
                  <a:pt x="80" y="5"/>
                  <a:pt x="77" y="12"/>
                </a:cubicBezTo>
                <a:cubicBezTo>
                  <a:pt x="74" y="14"/>
                  <a:pt x="72" y="17"/>
                  <a:pt x="72" y="21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36"/>
                  <a:pt x="61" y="36"/>
                  <a:pt x="61" y="36"/>
                </a:cubicBezTo>
                <a:cubicBezTo>
                  <a:pt x="39" y="20"/>
                  <a:pt x="39" y="20"/>
                  <a:pt x="39" y="20"/>
                </a:cubicBezTo>
                <a:cubicBezTo>
                  <a:pt x="0" y="51"/>
                  <a:pt x="0" y="51"/>
                  <a:pt x="0" y="51"/>
                </a:cubicBezTo>
                <a:cubicBezTo>
                  <a:pt x="0" y="60"/>
                  <a:pt x="0" y="60"/>
                  <a:pt x="0" y="60"/>
                </a:cubicBezTo>
                <a:cubicBezTo>
                  <a:pt x="39" y="28"/>
                  <a:pt x="39" y="28"/>
                  <a:pt x="39" y="28"/>
                </a:cubicBezTo>
                <a:cubicBezTo>
                  <a:pt x="83" y="60"/>
                  <a:pt x="83" y="60"/>
                  <a:pt x="83" y="60"/>
                </a:cubicBezTo>
                <a:cubicBezTo>
                  <a:pt x="83" y="51"/>
                  <a:pt x="83" y="51"/>
                  <a:pt x="83" y="51"/>
                </a:cubicBezTo>
                <a:cubicBezTo>
                  <a:pt x="83" y="51"/>
                  <a:pt x="83" y="51"/>
                  <a:pt x="83" y="51"/>
                </a:cubicBezTo>
                <a:cubicBezTo>
                  <a:pt x="87" y="52"/>
                  <a:pt x="90" y="51"/>
                  <a:pt x="93" y="50"/>
                </a:cubicBezTo>
                <a:cubicBezTo>
                  <a:pt x="93" y="88"/>
                  <a:pt x="93" y="88"/>
                  <a:pt x="93" y="88"/>
                </a:cubicBezTo>
                <a:cubicBezTo>
                  <a:pt x="97" y="88"/>
                  <a:pt x="97" y="89"/>
                  <a:pt x="101" y="89"/>
                </a:cubicBezTo>
                <a:cubicBezTo>
                  <a:pt x="101" y="50"/>
                  <a:pt x="101" y="50"/>
                  <a:pt x="101" y="50"/>
                </a:cubicBezTo>
                <a:cubicBezTo>
                  <a:pt x="102" y="50"/>
                  <a:pt x="103" y="51"/>
                  <a:pt x="105" y="51"/>
                </a:cubicBezTo>
                <a:cubicBezTo>
                  <a:pt x="114" y="52"/>
                  <a:pt x="122" y="46"/>
                  <a:pt x="123" y="37"/>
                </a:cubicBezTo>
                <a:cubicBezTo>
                  <a:pt x="124" y="33"/>
                  <a:pt x="123" y="29"/>
                  <a:pt x="121" y="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5" name="Freeform 268"/>
          <p:cNvSpPr>
            <a:spLocks/>
          </p:cNvSpPr>
          <p:nvPr/>
        </p:nvSpPr>
        <p:spPr bwMode="auto">
          <a:xfrm>
            <a:off x="3094567" y="5281084"/>
            <a:ext cx="533400" cy="116416"/>
          </a:xfrm>
          <a:custGeom>
            <a:avLst/>
            <a:gdLst>
              <a:gd name="T0" fmla="*/ 1221505713 w 115"/>
              <a:gd name="T1" fmla="*/ 36286867 h 25"/>
              <a:gd name="T2" fmla="*/ 1124752750 w 115"/>
              <a:gd name="T3" fmla="*/ 24188916 h 25"/>
              <a:gd name="T4" fmla="*/ 1040095213 w 115"/>
              <a:gd name="T5" fmla="*/ 0 h 25"/>
              <a:gd name="T6" fmla="*/ 870776660 w 115"/>
              <a:gd name="T7" fmla="*/ 36286867 h 25"/>
              <a:gd name="T8" fmla="*/ 749836327 w 115"/>
              <a:gd name="T9" fmla="*/ 0 h 25"/>
              <a:gd name="T10" fmla="*/ 314446257 w 115"/>
              <a:gd name="T11" fmla="*/ 0 h 25"/>
              <a:gd name="T12" fmla="*/ 133035758 w 115"/>
              <a:gd name="T13" fmla="*/ 36286867 h 25"/>
              <a:gd name="T14" fmla="*/ 0 w 115"/>
              <a:gd name="T15" fmla="*/ 0 h 25"/>
              <a:gd name="T16" fmla="*/ 0 w 115"/>
              <a:gd name="T17" fmla="*/ 169332893 h 25"/>
              <a:gd name="T18" fmla="*/ 0 w 115"/>
              <a:gd name="T19" fmla="*/ 302378918 h 25"/>
              <a:gd name="T20" fmla="*/ 1390824266 w 115"/>
              <a:gd name="T21" fmla="*/ 302378918 h 25"/>
              <a:gd name="T22" fmla="*/ 1390824266 w 115"/>
              <a:gd name="T23" fmla="*/ 169332893 h 25"/>
              <a:gd name="T24" fmla="*/ 1390824266 w 115"/>
              <a:gd name="T25" fmla="*/ 0 h 25"/>
              <a:gd name="T26" fmla="*/ 1221505713 w 115"/>
              <a:gd name="T27" fmla="*/ 36286867 h 2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15" h="25">
                <a:moveTo>
                  <a:pt x="101" y="3"/>
                </a:moveTo>
                <a:cubicBezTo>
                  <a:pt x="97" y="3"/>
                  <a:pt x="97" y="2"/>
                  <a:pt x="93" y="2"/>
                </a:cubicBezTo>
                <a:cubicBezTo>
                  <a:pt x="90" y="1"/>
                  <a:pt x="86" y="0"/>
                  <a:pt x="86" y="0"/>
                </a:cubicBezTo>
                <a:cubicBezTo>
                  <a:pt x="81" y="4"/>
                  <a:pt x="75" y="5"/>
                  <a:pt x="72" y="3"/>
                </a:cubicBezTo>
                <a:cubicBezTo>
                  <a:pt x="65" y="2"/>
                  <a:pt x="62" y="0"/>
                  <a:pt x="62" y="0"/>
                </a:cubicBezTo>
                <a:cubicBezTo>
                  <a:pt x="46" y="16"/>
                  <a:pt x="26" y="0"/>
                  <a:pt x="26" y="0"/>
                </a:cubicBezTo>
                <a:cubicBezTo>
                  <a:pt x="20" y="2"/>
                  <a:pt x="14" y="3"/>
                  <a:pt x="11" y="3"/>
                </a:cubicBezTo>
                <a:cubicBezTo>
                  <a:pt x="4" y="2"/>
                  <a:pt x="0" y="0"/>
                  <a:pt x="0" y="0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25"/>
                  <a:pt x="0" y="25"/>
                  <a:pt x="0" y="25"/>
                </a:cubicBezTo>
                <a:cubicBezTo>
                  <a:pt x="115" y="25"/>
                  <a:pt x="115" y="25"/>
                  <a:pt x="115" y="25"/>
                </a:cubicBezTo>
                <a:cubicBezTo>
                  <a:pt x="115" y="14"/>
                  <a:pt x="115" y="14"/>
                  <a:pt x="115" y="14"/>
                </a:cubicBezTo>
                <a:cubicBezTo>
                  <a:pt x="115" y="0"/>
                  <a:pt x="115" y="0"/>
                  <a:pt x="115" y="0"/>
                </a:cubicBezTo>
                <a:cubicBezTo>
                  <a:pt x="112" y="4"/>
                  <a:pt x="104" y="4"/>
                  <a:pt x="101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6" name="Freeform 269"/>
          <p:cNvSpPr>
            <a:spLocks noEditPoints="1"/>
          </p:cNvSpPr>
          <p:nvPr/>
        </p:nvSpPr>
        <p:spPr bwMode="auto">
          <a:xfrm>
            <a:off x="3987801" y="4931834"/>
            <a:ext cx="514351" cy="495300"/>
          </a:xfrm>
          <a:custGeom>
            <a:avLst/>
            <a:gdLst>
              <a:gd name="T0" fmla="*/ 1336039758 w 111"/>
              <a:gd name="T1" fmla="*/ 129840831 h 108"/>
              <a:gd name="T2" fmla="*/ 1336039758 w 111"/>
              <a:gd name="T3" fmla="*/ 129840831 h 108"/>
              <a:gd name="T4" fmla="*/ 722183089 w 111"/>
              <a:gd name="T5" fmla="*/ 0 h 108"/>
              <a:gd name="T6" fmla="*/ 96291310 w 111"/>
              <a:gd name="T7" fmla="*/ 129840831 h 108"/>
              <a:gd name="T8" fmla="*/ 96291310 w 111"/>
              <a:gd name="T9" fmla="*/ 129840831 h 108"/>
              <a:gd name="T10" fmla="*/ 601818083 w 111"/>
              <a:gd name="T11" fmla="*/ 755428808 h 108"/>
              <a:gd name="T12" fmla="*/ 517565358 w 111"/>
              <a:gd name="T13" fmla="*/ 1274788694 h 108"/>
              <a:gd name="T14" fmla="*/ 1155492248 w 111"/>
              <a:gd name="T15" fmla="*/ 814448619 h 108"/>
              <a:gd name="T16" fmla="*/ 854583207 w 111"/>
              <a:gd name="T17" fmla="*/ 790842758 h 108"/>
              <a:gd name="T18" fmla="*/ 1167530834 w 111"/>
              <a:gd name="T19" fmla="*/ 779038108 h 108"/>
              <a:gd name="T20" fmla="*/ 1167530834 w 111"/>
              <a:gd name="T21" fmla="*/ 684607788 h 108"/>
              <a:gd name="T22" fmla="*/ 1167530834 w 111"/>
              <a:gd name="T23" fmla="*/ 625591417 h 108"/>
              <a:gd name="T24" fmla="*/ 734221675 w 111"/>
              <a:gd name="T25" fmla="*/ 601982117 h 108"/>
              <a:gd name="T26" fmla="*/ 1167530834 w 111"/>
              <a:gd name="T27" fmla="*/ 578376256 h 108"/>
              <a:gd name="T28" fmla="*/ 1179565944 w 111"/>
              <a:gd name="T29" fmla="*/ 483945935 h 108"/>
              <a:gd name="T30" fmla="*/ 1035130717 w 111"/>
              <a:gd name="T31" fmla="*/ 483945935 h 108"/>
              <a:gd name="T32" fmla="*/ 541639055 w 111"/>
              <a:gd name="T33" fmla="*/ 460340075 h 108"/>
              <a:gd name="T34" fmla="*/ 1035130717 w 111"/>
              <a:gd name="T35" fmla="*/ 436734215 h 108"/>
              <a:gd name="T36" fmla="*/ 1191604530 w 111"/>
              <a:gd name="T37" fmla="*/ 436734215 h 108"/>
              <a:gd name="T38" fmla="*/ 1227713337 w 111"/>
              <a:gd name="T39" fmla="*/ 330499244 h 108"/>
              <a:gd name="T40" fmla="*/ 1035130717 w 111"/>
              <a:gd name="T41" fmla="*/ 330499244 h 108"/>
              <a:gd name="T42" fmla="*/ 541639055 w 111"/>
              <a:gd name="T43" fmla="*/ 306893383 h 108"/>
              <a:gd name="T44" fmla="*/ 1035130717 w 111"/>
              <a:gd name="T45" fmla="*/ 283287523 h 108"/>
              <a:gd name="T46" fmla="*/ 1251783558 w 111"/>
              <a:gd name="T47" fmla="*/ 283287523 h 108"/>
              <a:gd name="T48" fmla="*/ 1311966062 w 111"/>
              <a:gd name="T49" fmla="*/ 141642042 h 108"/>
              <a:gd name="T50" fmla="*/ 1336039758 w 111"/>
              <a:gd name="T51" fmla="*/ 106231531 h 108"/>
              <a:gd name="T52" fmla="*/ 1336039758 w 111"/>
              <a:gd name="T53" fmla="*/ 118036181 h 108"/>
              <a:gd name="T54" fmla="*/ 1336039758 w 111"/>
              <a:gd name="T55" fmla="*/ 129840831 h 108"/>
              <a:gd name="T56" fmla="*/ 722183089 w 111"/>
              <a:gd name="T57" fmla="*/ 141642042 h 108"/>
              <a:gd name="T58" fmla="*/ 337017848 w 111"/>
              <a:gd name="T59" fmla="*/ 106231531 h 108"/>
              <a:gd name="T60" fmla="*/ 722183089 w 111"/>
              <a:gd name="T61" fmla="*/ 59016371 h 108"/>
              <a:gd name="T62" fmla="*/ 1107348331 w 111"/>
              <a:gd name="T63" fmla="*/ 106231531 h 108"/>
              <a:gd name="T64" fmla="*/ 722183089 w 111"/>
              <a:gd name="T65" fmla="*/ 141642042 h 10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11" h="108">
                <a:moveTo>
                  <a:pt x="111" y="11"/>
                </a:moveTo>
                <a:cubicBezTo>
                  <a:pt x="111" y="11"/>
                  <a:pt x="111" y="11"/>
                  <a:pt x="111" y="11"/>
                </a:cubicBezTo>
                <a:cubicBezTo>
                  <a:pt x="109" y="4"/>
                  <a:pt x="87" y="0"/>
                  <a:pt x="60" y="0"/>
                </a:cubicBezTo>
                <a:cubicBezTo>
                  <a:pt x="33" y="0"/>
                  <a:pt x="10" y="4"/>
                  <a:pt x="8" y="11"/>
                </a:cubicBezTo>
                <a:cubicBezTo>
                  <a:pt x="8" y="11"/>
                  <a:pt x="8" y="11"/>
                  <a:pt x="8" y="11"/>
                </a:cubicBezTo>
                <a:cubicBezTo>
                  <a:pt x="8" y="11"/>
                  <a:pt x="0" y="39"/>
                  <a:pt x="50" y="64"/>
                </a:cubicBezTo>
                <a:cubicBezTo>
                  <a:pt x="50" y="64"/>
                  <a:pt x="82" y="81"/>
                  <a:pt x="43" y="108"/>
                </a:cubicBezTo>
                <a:cubicBezTo>
                  <a:pt x="43" y="108"/>
                  <a:pt x="89" y="94"/>
                  <a:pt x="96" y="69"/>
                </a:cubicBezTo>
                <a:cubicBezTo>
                  <a:pt x="81" y="69"/>
                  <a:pt x="71" y="68"/>
                  <a:pt x="71" y="67"/>
                </a:cubicBezTo>
                <a:cubicBezTo>
                  <a:pt x="71" y="67"/>
                  <a:pt x="82" y="66"/>
                  <a:pt x="97" y="66"/>
                </a:cubicBezTo>
                <a:cubicBezTo>
                  <a:pt x="97" y="63"/>
                  <a:pt x="97" y="61"/>
                  <a:pt x="97" y="58"/>
                </a:cubicBezTo>
                <a:cubicBezTo>
                  <a:pt x="97" y="58"/>
                  <a:pt x="97" y="56"/>
                  <a:pt x="97" y="53"/>
                </a:cubicBezTo>
                <a:cubicBezTo>
                  <a:pt x="77" y="53"/>
                  <a:pt x="61" y="52"/>
                  <a:pt x="61" y="51"/>
                </a:cubicBezTo>
                <a:cubicBezTo>
                  <a:pt x="61" y="50"/>
                  <a:pt x="77" y="50"/>
                  <a:pt x="97" y="49"/>
                </a:cubicBezTo>
                <a:cubicBezTo>
                  <a:pt x="97" y="47"/>
                  <a:pt x="98" y="44"/>
                  <a:pt x="98" y="41"/>
                </a:cubicBezTo>
                <a:cubicBezTo>
                  <a:pt x="94" y="41"/>
                  <a:pt x="90" y="41"/>
                  <a:pt x="86" y="41"/>
                </a:cubicBezTo>
                <a:cubicBezTo>
                  <a:pt x="63" y="41"/>
                  <a:pt x="45" y="40"/>
                  <a:pt x="45" y="39"/>
                </a:cubicBezTo>
                <a:cubicBezTo>
                  <a:pt x="45" y="38"/>
                  <a:pt x="63" y="37"/>
                  <a:pt x="86" y="37"/>
                </a:cubicBezTo>
                <a:cubicBezTo>
                  <a:pt x="90" y="37"/>
                  <a:pt x="95" y="37"/>
                  <a:pt x="99" y="37"/>
                </a:cubicBezTo>
                <a:cubicBezTo>
                  <a:pt x="100" y="34"/>
                  <a:pt x="101" y="31"/>
                  <a:pt x="102" y="28"/>
                </a:cubicBezTo>
                <a:cubicBezTo>
                  <a:pt x="97" y="28"/>
                  <a:pt x="92" y="28"/>
                  <a:pt x="86" y="28"/>
                </a:cubicBezTo>
                <a:cubicBezTo>
                  <a:pt x="63" y="28"/>
                  <a:pt x="45" y="27"/>
                  <a:pt x="45" y="26"/>
                </a:cubicBezTo>
                <a:cubicBezTo>
                  <a:pt x="45" y="25"/>
                  <a:pt x="63" y="24"/>
                  <a:pt x="86" y="24"/>
                </a:cubicBezTo>
                <a:cubicBezTo>
                  <a:pt x="92" y="24"/>
                  <a:pt x="98" y="23"/>
                  <a:pt x="104" y="24"/>
                </a:cubicBezTo>
                <a:cubicBezTo>
                  <a:pt x="105" y="20"/>
                  <a:pt x="107" y="16"/>
                  <a:pt x="109" y="12"/>
                </a:cubicBezTo>
                <a:cubicBezTo>
                  <a:pt x="111" y="11"/>
                  <a:pt x="111" y="10"/>
                  <a:pt x="111" y="9"/>
                </a:cubicBezTo>
                <a:cubicBezTo>
                  <a:pt x="111" y="10"/>
                  <a:pt x="111" y="10"/>
                  <a:pt x="111" y="10"/>
                </a:cubicBezTo>
                <a:lnTo>
                  <a:pt x="111" y="11"/>
                </a:lnTo>
                <a:close/>
                <a:moveTo>
                  <a:pt x="60" y="12"/>
                </a:moveTo>
                <a:cubicBezTo>
                  <a:pt x="42" y="12"/>
                  <a:pt x="28" y="10"/>
                  <a:pt x="28" y="9"/>
                </a:cubicBezTo>
                <a:cubicBezTo>
                  <a:pt x="28" y="7"/>
                  <a:pt x="42" y="5"/>
                  <a:pt x="60" y="5"/>
                </a:cubicBezTo>
                <a:cubicBezTo>
                  <a:pt x="77" y="5"/>
                  <a:pt x="92" y="7"/>
                  <a:pt x="92" y="9"/>
                </a:cubicBezTo>
                <a:cubicBezTo>
                  <a:pt x="92" y="10"/>
                  <a:pt x="77" y="12"/>
                  <a:pt x="60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7" name="Freeform 270"/>
          <p:cNvSpPr>
            <a:spLocks/>
          </p:cNvSpPr>
          <p:nvPr/>
        </p:nvSpPr>
        <p:spPr bwMode="auto">
          <a:xfrm>
            <a:off x="4838701" y="5096933"/>
            <a:ext cx="258233" cy="330200"/>
          </a:xfrm>
          <a:custGeom>
            <a:avLst/>
            <a:gdLst>
              <a:gd name="T0" fmla="*/ 574370880 w 56"/>
              <a:gd name="T1" fmla="*/ 709665152 h 72"/>
              <a:gd name="T2" fmla="*/ 538471836 w 56"/>
              <a:gd name="T3" fmla="*/ 354834296 h 72"/>
              <a:gd name="T4" fmla="*/ 538471836 w 56"/>
              <a:gd name="T5" fmla="*/ 0 h 72"/>
              <a:gd name="T6" fmla="*/ 538471836 w 56"/>
              <a:gd name="T7" fmla="*/ 0 h 72"/>
              <a:gd name="T8" fmla="*/ 478640095 w 56"/>
              <a:gd name="T9" fmla="*/ 0 h 72"/>
              <a:gd name="T10" fmla="*/ 0 w 56"/>
              <a:gd name="T11" fmla="*/ 851599558 h 72"/>
              <a:gd name="T12" fmla="*/ 658131859 w 56"/>
              <a:gd name="T13" fmla="*/ 851599558 h 72"/>
              <a:gd name="T14" fmla="*/ 574370880 w 56"/>
              <a:gd name="T15" fmla="*/ 709665152 h 7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6" h="72">
                <a:moveTo>
                  <a:pt x="48" y="60"/>
                </a:moveTo>
                <a:cubicBezTo>
                  <a:pt x="33" y="45"/>
                  <a:pt x="45" y="30"/>
                  <a:pt x="45" y="30"/>
                </a:cubicBezTo>
                <a:cubicBezTo>
                  <a:pt x="56" y="12"/>
                  <a:pt x="45" y="0"/>
                  <a:pt x="45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0" y="72"/>
                  <a:pt x="0" y="72"/>
                  <a:pt x="0" y="72"/>
                </a:cubicBezTo>
                <a:cubicBezTo>
                  <a:pt x="55" y="72"/>
                  <a:pt x="55" y="72"/>
                  <a:pt x="55" y="72"/>
                </a:cubicBezTo>
                <a:cubicBezTo>
                  <a:pt x="54" y="65"/>
                  <a:pt x="48" y="60"/>
                  <a:pt x="48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8" name="Freeform 271"/>
          <p:cNvSpPr>
            <a:spLocks/>
          </p:cNvSpPr>
          <p:nvPr/>
        </p:nvSpPr>
        <p:spPr bwMode="auto">
          <a:xfrm>
            <a:off x="5014385" y="5096933"/>
            <a:ext cx="273049" cy="330200"/>
          </a:xfrm>
          <a:custGeom>
            <a:avLst/>
            <a:gdLst>
              <a:gd name="T0" fmla="*/ 120317569 w 59"/>
              <a:gd name="T1" fmla="*/ 378488310 h 72"/>
              <a:gd name="T2" fmla="*/ 144381777 w 59"/>
              <a:gd name="T3" fmla="*/ 674182410 h 72"/>
              <a:gd name="T4" fmla="*/ 252668977 w 59"/>
              <a:gd name="T5" fmla="*/ 851599558 h 72"/>
              <a:gd name="T6" fmla="*/ 709881987 w 59"/>
              <a:gd name="T7" fmla="*/ 851599558 h 72"/>
              <a:gd name="T8" fmla="*/ 240638609 w 59"/>
              <a:gd name="T9" fmla="*/ 0 h 72"/>
              <a:gd name="T10" fmla="*/ 144381777 w 59"/>
              <a:gd name="T11" fmla="*/ 0 h 72"/>
              <a:gd name="T12" fmla="*/ 120317569 w 59"/>
              <a:gd name="T13" fmla="*/ 378488310 h 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" h="72">
                <a:moveTo>
                  <a:pt x="10" y="32"/>
                </a:moveTo>
                <a:cubicBezTo>
                  <a:pt x="10" y="33"/>
                  <a:pt x="0" y="45"/>
                  <a:pt x="12" y="57"/>
                </a:cubicBezTo>
                <a:cubicBezTo>
                  <a:pt x="13" y="58"/>
                  <a:pt x="20" y="64"/>
                  <a:pt x="21" y="72"/>
                </a:cubicBezTo>
                <a:cubicBezTo>
                  <a:pt x="59" y="72"/>
                  <a:pt x="59" y="72"/>
                  <a:pt x="59" y="72"/>
                </a:cubicBezTo>
                <a:cubicBezTo>
                  <a:pt x="20" y="0"/>
                  <a:pt x="20" y="0"/>
                  <a:pt x="20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5" y="5"/>
                  <a:pt x="19" y="16"/>
                  <a:pt x="10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09" name="Freeform 272"/>
          <p:cNvSpPr>
            <a:spLocks/>
          </p:cNvSpPr>
          <p:nvPr/>
        </p:nvSpPr>
        <p:spPr bwMode="auto">
          <a:xfrm>
            <a:off x="5037667" y="4991101"/>
            <a:ext cx="241300" cy="82551"/>
          </a:xfrm>
          <a:custGeom>
            <a:avLst/>
            <a:gdLst>
              <a:gd name="T0" fmla="*/ 48167192 w 52"/>
              <a:gd name="T1" fmla="*/ 214208661 h 18"/>
              <a:gd name="T2" fmla="*/ 0 w 52"/>
              <a:gd name="T3" fmla="*/ 202307607 h 18"/>
              <a:gd name="T4" fmla="*/ 84289106 w 52"/>
              <a:gd name="T5" fmla="*/ 83303942 h 18"/>
              <a:gd name="T6" fmla="*/ 264912597 w 52"/>
              <a:gd name="T7" fmla="*/ 59501833 h 18"/>
              <a:gd name="T8" fmla="*/ 529828675 w 52"/>
              <a:gd name="T9" fmla="*/ 71402887 h 18"/>
              <a:gd name="T10" fmla="*/ 590034185 w 52"/>
              <a:gd name="T11" fmla="*/ 0 h 18"/>
              <a:gd name="T12" fmla="*/ 626159579 w 52"/>
              <a:gd name="T13" fmla="*/ 11901054 h 18"/>
              <a:gd name="T14" fmla="*/ 553908790 w 52"/>
              <a:gd name="T15" fmla="*/ 107106050 h 18"/>
              <a:gd name="T16" fmla="*/ 252870799 w 52"/>
              <a:gd name="T17" fmla="*/ 95204996 h 18"/>
              <a:gd name="T18" fmla="*/ 108372702 w 52"/>
              <a:gd name="T19" fmla="*/ 119003665 h 18"/>
              <a:gd name="T20" fmla="*/ 48167192 w 52"/>
              <a:gd name="T21" fmla="*/ 214208661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2" h="18">
                <a:moveTo>
                  <a:pt x="4" y="18"/>
                </a:moveTo>
                <a:cubicBezTo>
                  <a:pt x="0" y="17"/>
                  <a:pt x="0" y="17"/>
                  <a:pt x="0" y="17"/>
                </a:cubicBezTo>
                <a:cubicBezTo>
                  <a:pt x="0" y="17"/>
                  <a:pt x="1" y="11"/>
                  <a:pt x="7" y="7"/>
                </a:cubicBezTo>
                <a:cubicBezTo>
                  <a:pt x="11" y="4"/>
                  <a:pt x="16" y="4"/>
                  <a:pt x="22" y="5"/>
                </a:cubicBezTo>
                <a:cubicBezTo>
                  <a:pt x="23" y="5"/>
                  <a:pt x="36" y="10"/>
                  <a:pt x="44" y="6"/>
                </a:cubicBezTo>
                <a:cubicBezTo>
                  <a:pt x="47" y="4"/>
                  <a:pt x="48" y="2"/>
                  <a:pt x="49" y="0"/>
                </a:cubicBezTo>
                <a:cubicBezTo>
                  <a:pt x="52" y="1"/>
                  <a:pt x="52" y="1"/>
                  <a:pt x="52" y="1"/>
                </a:cubicBezTo>
                <a:cubicBezTo>
                  <a:pt x="51" y="4"/>
                  <a:pt x="49" y="7"/>
                  <a:pt x="46" y="9"/>
                </a:cubicBezTo>
                <a:cubicBezTo>
                  <a:pt x="37" y="14"/>
                  <a:pt x="22" y="9"/>
                  <a:pt x="21" y="8"/>
                </a:cubicBezTo>
                <a:cubicBezTo>
                  <a:pt x="16" y="7"/>
                  <a:pt x="12" y="8"/>
                  <a:pt x="9" y="10"/>
                </a:cubicBezTo>
                <a:cubicBezTo>
                  <a:pt x="5" y="13"/>
                  <a:pt x="4" y="18"/>
                  <a:pt x="4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10" name="Freeform 273"/>
          <p:cNvSpPr>
            <a:spLocks/>
          </p:cNvSpPr>
          <p:nvPr/>
        </p:nvSpPr>
        <p:spPr bwMode="auto">
          <a:xfrm>
            <a:off x="5088467" y="5027085"/>
            <a:ext cx="133351" cy="46567"/>
          </a:xfrm>
          <a:custGeom>
            <a:avLst/>
            <a:gdLst>
              <a:gd name="T0" fmla="*/ 48278689 w 29"/>
              <a:gd name="T1" fmla="*/ 122013980 h 10"/>
              <a:gd name="T2" fmla="*/ 0 w 29"/>
              <a:gd name="T3" fmla="*/ 109811185 h 10"/>
              <a:gd name="T4" fmla="*/ 48278689 w 29"/>
              <a:gd name="T5" fmla="*/ 36604893 h 10"/>
              <a:gd name="T6" fmla="*/ 144832619 w 29"/>
              <a:gd name="T7" fmla="*/ 24402098 h 10"/>
              <a:gd name="T8" fmla="*/ 277598152 w 29"/>
              <a:gd name="T9" fmla="*/ 36604893 h 10"/>
              <a:gd name="T10" fmla="*/ 301735772 w 29"/>
              <a:gd name="T11" fmla="*/ 0 h 10"/>
              <a:gd name="T12" fmla="*/ 350014461 w 29"/>
              <a:gd name="T13" fmla="*/ 12202795 h 10"/>
              <a:gd name="T14" fmla="*/ 301735772 w 29"/>
              <a:gd name="T15" fmla="*/ 73209785 h 10"/>
              <a:gd name="T16" fmla="*/ 132765533 w 29"/>
              <a:gd name="T17" fmla="*/ 73209785 h 10"/>
              <a:gd name="T18" fmla="*/ 72416309 w 29"/>
              <a:gd name="T19" fmla="*/ 73209785 h 10"/>
              <a:gd name="T20" fmla="*/ 48278689 w 29"/>
              <a:gd name="T21" fmla="*/ 122013980 h 1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9" h="10">
                <a:moveTo>
                  <a:pt x="4" y="10"/>
                </a:moveTo>
                <a:cubicBezTo>
                  <a:pt x="0" y="9"/>
                  <a:pt x="0" y="9"/>
                  <a:pt x="0" y="9"/>
                </a:cubicBezTo>
                <a:cubicBezTo>
                  <a:pt x="0" y="9"/>
                  <a:pt x="1" y="6"/>
                  <a:pt x="4" y="3"/>
                </a:cubicBezTo>
                <a:cubicBezTo>
                  <a:pt x="6" y="2"/>
                  <a:pt x="9" y="1"/>
                  <a:pt x="12" y="2"/>
                </a:cubicBezTo>
                <a:cubicBezTo>
                  <a:pt x="15" y="3"/>
                  <a:pt x="20" y="4"/>
                  <a:pt x="23" y="3"/>
                </a:cubicBezTo>
                <a:cubicBezTo>
                  <a:pt x="24" y="2"/>
                  <a:pt x="25" y="1"/>
                  <a:pt x="25" y="0"/>
                </a:cubicBezTo>
                <a:cubicBezTo>
                  <a:pt x="29" y="1"/>
                  <a:pt x="29" y="1"/>
                  <a:pt x="29" y="1"/>
                </a:cubicBezTo>
                <a:cubicBezTo>
                  <a:pt x="28" y="3"/>
                  <a:pt x="27" y="5"/>
                  <a:pt x="25" y="6"/>
                </a:cubicBezTo>
                <a:cubicBezTo>
                  <a:pt x="20" y="8"/>
                  <a:pt x="12" y="6"/>
                  <a:pt x="11" y="6"/>
                </a:cubicBezTo>
                <a:cubicBezTo>
                  <a:pt x="9" y="5"/>
                  <a:pt x="7" y="5"/>
                  <a:pt x="6" y="6"/>
                </a:cubicBezTo>
                <a:cubicBezTo>
                  <a:pt x="4" y="8"/>
                  <a:pt x="4" y="10"/>
                  <a:pt x="4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11" name="Freeform 274"/>
          <p:cNvSpPr>
            <a:spLocks noEditPoints="1"/>
          </p:cNvSpPr>
          <p:nvPr/>
        </p:nvSpPr>
        <p:spPr bwMode="auto">
          <a:xfrm>
            <a:off x="5647267" y="5060951"/>
            <a:ext cx="239184" cy="306916"/>
          </a:xfrm>
          <a:custGeom>
            <a:avLst/>
            <a:gdLst>
              <a:gd name="T0" fmla="*/ 441629108 w 52"/>
              <a:gd name="T1" fmla="*/ 118391702 h 67"/>
              <a:gd name="T2" fmla="*/ 322270542 w 52"/>
              <a:gd name="T3" fmla="*/ 94713361 h 67"/>
              <a:gd name="T4" fmla="*/ 167103372 w 52"/>
              <a:gd name="T5" fmla="*/ 142070042 h 67"/>
              <a:gd name="T6" fmla="*/ 23872403 w 52"/>
              <a:gd name="T7" fmla="*/ 390689180 h 67"/>
              <a:gd name="T8" fmla="*/ 155167170 w 52"/>
              <a:gd name="T9" fmla="*/ 651147489 h 67"/>
              <a:gd name="T10" fmla="*/ 322270542 w 52"/>
              <a:gd name="T11" fmla="*/ 698504169 h 67"/>
              <a:gd name="T12" fmla="*/ 572923875 w 52"/>
              <a:gd name="T13" fmla="*/ 556437563 h 67"/>
              <a:gd name="T14" fmla="*/ 620668681 w 52"/>
              <a:gd name="T15" fmla="*/ 390689180 h 67"/>
              <a:gd name="T16" fmla="*/ 441629108 w 52"/>
              <a:gd name="T17" fmla="*/ 118391702 h 67"/>
              <a:gd name="T18" fmla="*/ 143230969 w 52"/>
              <a:gd name="T19" fmla="*/ 331493329 h 67"/>
              <a:gd name="T20" fmla="*/ 95486163 w 52"/>
              <a:gd name="T21" fmla="*/ 284136649 h 67"/>
              <a:gd name="T22" fmla="*/ 143230969 w 52"/>
              <a:gd name="T23" fmla="*/ 248619138 h 67"/>
              <a:gd name="T24" fmla="*/ 179039573 w 52"/>
              <a:gd name="T25" fmla="*/ 284136649 h 67"/>
              <a:gd name="T26" fmla="*/ 143230969 w 52"/>
              <a:gd name="T27" fmla="*/ 331493329 h 67"/>
              <a:gd name="T28" fmla="*/ 370015348 w 52"/>
              <a:gd name="T29" fmla="*/ 497241712 h 67"/>
              <a:gd name="T30" fmla="*/ 322270542 w 52"/>
              <a:gd name="T31" fmla="*/ 449885031 h 67"/>
              <a:gd name="T32" fmla="*/ 370015348 w 52"/>
              <a:gd name="T33" fmla="*/ 390689180 h 67"/>
              <a:gd name="T34" fmla="*/ 429692906 w 52"/>
              <a:gd name="T35" fmla="*/ 449885031 h 67"/>
              <a:gd name="T36" fmla="*/ 370015348 w 52"/>
              <a:gd name="T37" fmla="*/ 497241712 h 67"/>
              <a:gd name="T38" fmla="*/ 429692906 w 52"/>
              <a:gd name="T39" fmla="*/ 355171670 h 67"/>
              <a:gd name="T40" fmla="*/ 370015348 w 52"/>
              <a:gd name="T41" fmla="*/ 295975819 h 67"/>
              <a:gd name="T42" fmla="*/ 429692906 w 52"/>
              <a:gd name="T43" fmla="*/ 248619138 h 67"/>
              <a:gd name="T44" fmla="*/ 477437712 w 52"/>
              <a:gd name="T45" fmla="*/ 295975819 h 67"/>
              <a:gd name="T46" fmla="*/ 429692906 w 52"/>
              <a:gd name="T47" fmla="*/ 355171670 h 6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52" h="67">
                <a:moveTo>
                  <a:pt x="37" y="10"/>
                </a:moveTo>
                <a:cubicBezTo>
                  <a:pt x="36" y="0"/>
                  <a:pt x="30" y="8"/>
                  <a:pt x="27" y="8"/>
                </a:cubicBezTo>
                <a:cubicBezTo>
                  <a:pt x="22" y="8"/>
                  <a:pt x="26" y="16"/>
                  <a:pt x="14" y="12"/>
                </a:cubicBezTo>
                <a:cubicBezTo>
                  <a:pt x="1" y="8"/>
                  <a:pt x="0" y="20"/>
                  <a:pt x="2" y="33"/>
                </a:cubicBezTo>
                <a:cubicBezTo>
                  <a:pt x="3" y="46"/>
                  <a:pt x="17" y="43"/>
                  <a:pt x="13" y="55"/>
                </a:cubicBezTo>
                <a:cubicBezTo>
                  <a:pt x="10" y="67"/>
                  <a:pt x="22" y="59"/>
                  <a:pt x="27" y="59"/>
                </a:cubicBezTo>
                <a:cubicBezTo>
                  <a:pt x="36" y="59"/>
                  <a:pt x="45" y="51"/>
                  <a:pt x="48" y="47"/>
                </a:cubicBezTo>
                <a:cubicBezTo>
                  <a:pt x="52" y="43"/>
                  <a:pt x="52" y="38"/>
                  <a:pt x="52" y="33"/>
                </a:cubicBezTo>
                <a:cubicBezTo>
                  <a:pt x="52" y="23"/>
                  <a:pt x="38" y="20"/>
                  <a:pt x="37" y="10"/>
                </a:cubicBezTo>
                <a:close/>
                <a:moveTo>
                  <a:pt x="12" y="28"/>
                </a:moveTo>
                <a:cubicBezTo>
                  <a:pt x="10" y="28"/>
                  <a:pt x="8" y="26"/>
                  <a:pt x="8" y="24"/>
                </a:cubicBezTo>
                <a:cubicBezTo>
                  <a:pt x="8" y="22"/>
                  <a:pt x="10" y="21"/>
                  <a:pt x="12" y="21"/>
                </a:cubicBezTo>
                <a:cubicBezTo>
                  <a:pt x="14" y="21"/>
                  <a:pt x="15" y="22"/>
                  <a:pt x="15" y="24"/>
                </a:cubicBezTo>
                <a:cubicBezTo>
                  <a:pt x="15" y="26"/>
                  <a:pt x="14" y="28"/>
                  <a:pt x="12" y="28"/>
                </a:cubicBezTo>
                <a:close/>
                <a:moveTo>
                  <a:pt x="31" y="42"/>
                </a:moveTo>
                <a:cubicBezTo>
                  <a:pt x="29" y="42"/>
                  <a:pt x="27" y="40"/>
                  <a:pt x="27" y="38"/>
                </a:cubicBezTo>
                <a:cubicBezTo>
                  <a:pt x="27" y="35"/>
                  <a:pt x="29" y="33"/>
                  <a:pt x="31" y="33"/>
                </a:cubicBezTo>
                <a:cubicBezTo>
                  <a:pt x="34" y="33"/>
                  <a:pt x="36" y="35"/>
                  <a:pt x="36" y="38"/>
                </a:cubicBezTo>
                <a:cubicBezTo>
                  <a:pt x="36" y="40"/>
                  <a:pt x="34" y="42"/>
                  <a:pt x="31" y="42"/>
                </a:cubicBezTo>
                <a:close/>
                <a:moveTo>
                  <a:pt x="36" y="30"/>
                </a:moveTo>
                <a:cubicBezTo>
                  <a:pt x="33" y="30"/>
                  <a:pt x="31" y="28"/>
                  <a:pt x="31" y="25"/>
                </a:cubicBezTo>
                <a:cubicBezTo>
                  <a:pt x="31" y="23"/>
                  <a:pt x="33" y="21"/>
                  <a:pt x="36" y="21"/>
                </a:cubicBezTo>
                <a:cubicBezTo>
                  <a:pt x="38" y="21"/>
                  <a:pt x="40" y="23"/>
                  <a:pt x="40" y="25"/>
                </a:cubicBezTo>
                <a:cubicBezTo>
                  <a:pt x="40" y="28"/>
                  <a:pt x="38" y="30"/>
                  <a:pt x="36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12" name="Freeform 275"/>
          <p:cNvSpPr>
            <a:spLocks/>
          </p:cNvSpPr>
          <p:nvPr/>
        </p:nvSpPr>
        <p:spPr bwMode="auto">
          <a:xfrm>
            <a:off x="5592234" y="4927601"/>
            <a:ext cx="480484" cy="469900"/>
          </a:xfrm>
          <a:custGeom>
            <a:avLst/>
            <a:gdLst>
              <a:gd name="T0" fmla="*/ 999314319 w 104"/>
              <a:gd name="T1" fmla="*/ 11937533 h 102"/>
              <a:gd name="T2" fmla="*/ 782597555 w 104"/>
              <a:gd name="T3" fmla="*/ 214865230 h 102"/>
              <a:gd name="T4" fmla="*/ 662198198 w 104"/>
              <a:gd name="T5" fmla="*/ 298424507 h 102"/>
              <a:gd name="T6" fmla="*/ 505675915 w 104"/>
              <a:gd name="T7" fmla="*/ 322299573 h 102"/>
              <a:gd name="T8" fmla="*/ 505675915 w 104"/>
              <a:gd name="T9" fmla="*/ 322299573 h 102"/>
              <a:gd name="T10" fmla="*/ 252839690 w 104"/>
              <a:gd name="T11" fmla="*/ 405858849 h 102"/>
              <a:gd name="T12" fmla="*/ 96320872 w 104"/>
              <a:gd name="T13" fmla="*/ 608790001 h 102"/>
              <a:gd name="T14" fmla="*/ 60201411 w 104"/>
              <a:gd name="T15" fmla="*/ 871401909 h 102"/>
              <a:gd name="T16" fmla="*/ 192638279 w 104"/>
              <a:gd name="T17" fmla="*/ 1086270594 h 102"/>
              <a:gd name="T18" fmla="*/ 421399483 w 104"/>
              <a:gd name="T19" fmla="*/ 1157892338 h 102"/>
              <a:gd name="T20" fmla="*/ 674235708 w 104"/>
              <a:gd name="T21" fmla="*/ 1074333061 h 102"/>
              <a:gd name="T22" fmla="*/ 770556580 w 104"/>
              <a:gd name="T23" fmla="*/ 978836251 h 102"/>
              <a:gd name="T24" fmla="*/ 806676041 w 104"/>
              <a:gd name="T25" fmla="*/ 931089574 h 102"/>
              <a:gd name="T26" fmla="*/ 830754526 w 104"/>
              <a:gd name="T27" fmla="*/ 871401909 h 102"/>
              <a:gd name="T28" fmla="*/ 866877452 w 104"/>
              <a:gd name="T29" fmla="*/ 608790001 h 102"/>
              <a:gd name="T30" fmla="*/ 866877452 w 104"/>
              <a:gd name="T31" fmla="*/ 608790001 h 102"/>
              <a:gd name="T32" fmla="*/ 866877452 w 104"/>
              <a:gd name="T33" fmla="*/ 549102336 h 102"/>
              <a:gd name="T34" fmla="*/ 890955937 w 104"/>
              <a:gd name="T35" fmla="*/ 489418126 h 102"/>
              <a:gd name="T36" fmla="*/ 987276809 w 104"/>
              <a:gd name="T37" fmla="*/ 429733915 h 102"/>
              <a:gd name="T38" fmla="*/ 987276809 w 104"/>
              <a:gd name="T39" fmla="*/ 429733915 h 102"/>
              <a:gd name="T40" fmla="*/ 1252154009 w 104"/>
              <a:gd name="T41" fmla="*/ 274552896 h 102"/>
              <a:gd name="T42" fmla="*/ 1252154009 w 104"/>
              <a:gd name="T43" fmla="*/ 274552896 h 102"/>
              <a:gd name="T44" fmla="*/ 999314319 w 104"/>
              <a:gd name="T45" fmla="*/ 441671449 h 102"/>
              <a:gd name="T46" fmla="*/ 999314319 w 104"/>
              <a:gd name="T47" fmla="*/ 441671449 h 102"/>
              <a:gd name="T48" fmla="*/ 999314319 w 104"/>
              <a:gd name="T49" fmla="*/ 441671449 h 102"/>
              <a:gd name="T50" fmla="*/ 915034423 w 104"/>
              <a:gd name="T51" fmla="*/ 501355659 h 102"/>
              <a:gd name="T52" fmla="*/ 890955937 w 104"/>
              <a:gd name="T53" fmla="*/ 549102336 h 102"/>
              <a:gd name="T54" fmla="*/ 890955937 w 104"/>
              <a:gd name="T55" fmla="*/ 596852468 h 102"/>
              <a:gd name="T56" fmla="*/ 890955937 w 104"/>
              <a:gd name="T57" fmla="*/ 596852468 h 102"/>
              <a:gd name="T58" fmla="*/ 890955937 w 104"/>
              <a:gd name="T59" fmla="*/ 596852468 h 102"/>
              <a:gd name="T60" fmla="*/ 698317658 w 104"/>
              <a:gd name="T61" fmla="*/ 1110142205 h 102"/>
              <a:gd name="T62" fmla="*/ 433436993 w 104"/>
              <a:gd name="T63" fmla="*/ 1205639015 h 102"/>
              <a:gd name="T64" fmla="*/ 156518818 w 104"/>
              <a:gd name="T65" fmla="*/ 1122079738 h 102"/>
              <a:gd name="T66" fmla="*/ 12040975 w 104"/>
              <a:gd name="T67" fmla="*/ 871401909 h 102"/>
              <a:gd name="T68" fmla="*/ 48160436 w 104"/>
              <a:gd name="T69" fmla="*/ 584914935 h 102"/>
              <a:gd name="T70" fmla="*/ 505675915 w 104"/>
              <a:gd name="T71" fmla="*/ 274552896 h 102"/>
              <a:gd name="T72" fmla="*/ 505675915 w 104"/>
              <a:gd name="T73" fmla="*/ 274552896 h 102"/>
              <a:gd name="T74" fmla="*/ 505675915 w 104"/>
              <a:gd name="T75" fmla="*/ 274552896 h 102"/>
              <a:gd name="T76" fmla="*/ 650157223 w 104"/>
              <a:gd name="T77" fmla="*/ 262615363 h 102"/>
              <a:gd name="T78" fmla="*/ 770556580 w 104"/>
              <a:gd name="T79" fmla="*/ 190993619 h 102"/>
              <a:gd name="T80" fmla="*/ 987276809 w 104"/>
              <a:gd name="T81" fmla="*/ 0 h 102"/>
              <a:gd name="T82" fmla="*/ 999314319 w 104"/>
              <a:gd name="T83" fmla="*/ 11937533 h 10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04" h="102">
                <a:moveTo>
                  <a:pt x="83" y="1"/>
                </a:moveTo>
                <a:cubicBezTo>
                  <a:pt x="77" y="7"/>
                  <a:pt x="72" y="13"/>
                  <a:pt x="65" y="18"/>
                </a:cubicBezTo>
                <a:cubicBezTo>
                  <a:pt x="62" y="21"/>
                  <a:pt x="59" y="23"/>
                  <a:pt x="55" y="25"/>
                </a:cubicBezTo>
                <a:cubicBezTo>
                  <a:pt x="51" y="26"/>
                  <a:pt x="46" y="27"/>
                  <a:pt x="42" y="27"/>
                </a:cubicBezTo>
                <a:cubicBezTo>
                  <a:pt x="42" y="27"/>
                  <a:pt x="42" y="27"/>
                  <a:pt x="42" y="27"/>
                </a:cubicBezTo>
                <a:cubicBezTo>
                  <a:pt x="35" y="27"/>
                  <a:pt x="27" y="30"/>
                  <a:pt x="21" y="34"/>
                </a:cubicBezTo>
                <a:cubicBezTo>
                  <a:pt x="15" y="39"/>
                  <a:pt x="11" y="45"/>
                  <a:pt x="8" y="51"/>
                </a:cubicBezTo>
                <a:cubicBezTo>
                  <a:pt x="5" y="58"/>
                  <a:pt x="4" y="66"/>
                  <a:pt x="5" y="73"/>
                </a:cubicBezTo>
                <a:cubicBezTo>
                  <a:pt x="6" y="80"/>
                  <a:pt x="10" y="86"/>
                  <a:pt x="16" y="91"/>
                </a:cubicBezTo>
                <a:cubicBezTo>
                  <a:pt x="21" y="95"/>
                  <a:pt x="28" y="98"/>
                  <a:pt x="35" y="97"/>
                </a:cubicBezTo>
                <a:cubicBezTo>
                  <a:pt x="43" y="97"/>
                  <a:pt x="50" y="94"/>
                  <a:pt x="56" y="90"/>
                </a:cubicBezTo>
                <a:cubicBezTo>
                  <a:pt x="59" y="88"/>
                  <a:pt x="61" y="85"/>
                  <a:pt x="64" y="82"/>
                </a:cubicBezTo>
                <a:cubicBezTo>
                  <a:pt x="65" y="81"/>
                  <a:pt x="66" y="79"/>
                  <a:pt x="67" y="78"/>
                </a:cubicBezTo>
                <a:cubicBezTo>
                  <a:pt x="68" y="76"/>
                  <a:pt x="69" y="74"/>
                  <a:pt x="69" y="73"/>
                </a:cubicBezTo>
                <a:cubicBezTo>
                  <a:pt x="72" y="66"/>
                  <a:pt x="73" y="58"/>
                  <a:pt x="72" y="51"/>
                </a:cubicBezTo>
                <a:cubicBezTo>
                  <a:pt x="72" y="51"/>
                  <a:pt x="72" y="51"/>
                  <a:pt x="72" y="51"/>
                </a:cubicBezTo>
                <a:cubicBezTo>
                  <a:pt x="71" y="49"/>
                  <a:pt x="71" y="47"/>
                  <a:pt x="72" y="46"/>
                </a:cubicBezTo>
                <a:cubicBezTo>
                  <a:pt x="72" y="44"/>
                  <a:pt x="73" y="42"/>
                  <a:pt x="74" y="41"/>
                </a:cubicBezTo>
                <a:cubicBezTo>
                  <a:pt x="76" y="39"/>
                  <a:pt x="79" y="37"/>
                  <a:pt x="82" y="36"/>
                </a:cubicBezTo>
                <a:cubicBezTo>
                  <a:pt x="82" y="36"/>
                  <a:pt x="82" y="36"/>
                  <a:pt x="82" y="36"/>
                </a:cubicBezTo>
                <a:cubicBezTo>
                  <a:pt x="89" y="31"/>
                  <a:pt x="96" y="27"/>
                  <a:pt x="104" y="23"/>
                </a:cubicBezTo>
                <a:cubicBezTo>
                  <a:pt x="104" y="23"/>
                  <a:pt x="104" y="23"/>
                  <a:pt x="104" y="23"/>
                </a:cubicBezTo>
                <a:cubicBezTo>
                  <a:pt x="83" y="37"/>
                  <a:pt x="83" y="37"/>
                  <a:pt x="83" y="37"/>
                </a:cubicBezTo>
                <a:cubicBezTo>
                  <a:pt x="83" y="37"/>
                  <a:pt x="83" y="37"/>
                  <a:pt x="83" y="37"/>
                </a:cubicBezTo>
                <a:cubicBezTo>
                  <a:pt x="83" y="37"/>
                  <a:pt x="83" y="37"/>
                  <a:pt x="83" y="37"/>
                </a:cubicBezTo>
                <a:cubicBezTo>
                  <a:pt x="80" y="39"/>
                  <a:pt x="78" y="40"/>
                  <a:pt x="76" y="42"/>
                </a:cubicBezTo>
                <a:cubicBezTo>
                  <a:pt x="75" y="43"/>
                  <a:pt x="75" y="45"/>
                  <a:pt x="74" y="46"/>
                </a:cubicBezTo>
                <a:cubicBezTo>
                  <a:pt x="74" y="47"/>
                  <a:pt x="74" y="49"/>
                  <a:pt x="74" y="50"/>
                </a:cubicBezTo>
                <a:cubicBezTo>
                  <a:pt x="74" y="50"/>
                  <a:pt x="74" y="50"/>
                  <a:pt x="74" y="50"/>
                </a:cubicBezTo>
                <a:cubicBezTo>
                  <a:pt x="74" y="50"/>
                  <a:pt x="74" y="50"/>
                  <a:pt x="74" y="50"/>
                </a:cubicBezTo>
                <a:cubicBezTo>
                  <a:pt x="78" y="66"/>
                  <a:pt x="71" y="83"/>
                  <a:pt x="58" y="93"/>
                </a:cubicBezTo>
                <a:cubicBezTo>
                  <a:pt x="52" y="98"/>
                  <a:pt x="44" y="101"/>
                  <a:pt x="36" y="101"/>
                </a:cubicBezTo>
                <a:cubicBezTo>
                  <a:pt x="27" y="102"/>
                  <a:pt x="19" y="99"/>
                  <a:pt x="13" y="94"/>
                </a:cubicBezTo>
                <a:cubicBezTo>
                  <a:pt x="6" y="89"/>
                  <a:pt x="2" y="81"/>
                  <a:pt x="1" y="73"/>
                </a:cubicBezTo>
                <a:cubicBezTo>
                  <a:pt x="0" y="65"/>
                  <a:pt x="1" y="56"/>
                  <a:pt x="4" y="49"/>
                </a:cubicBezTo>
                <a:cubicBezTo>
                  <a:pt x="11" y="34"/>
                  <a:pt x="26" y="23"/>
                  <a:pt x="42" y="23"/>
                </a:cubicBezTo>
                <a:cubicBezTo>
                  <a:pt x="42" y="23"/>
                  <a:pt x="42" y="23"/>
                  <a:pt x="42" y="23"/>
                </a:cubicBezTo>
                <a:cubicBezTo>
                  <a:pt x="42" y="23"/>
                  <a:pt x="42" y="23"/>
                  <a:pt x="42" y="23"/>
                </a:cubicBezTo>
                <a:cubicBezTo>
                  <a:pt x="46" y="23"/>
                  <a:pt x="50" y="23"/>
                  <a:pt x="54" y="22"/>
                </a:cubicBezTo>
                <a:cubicBezTo>
                  <a:pt x="58" y="21"/>
                  <a:pt x="61" y="19"/>
                  <a:pt x="64" y="16"/>
                </a:cubicBezTo>
                <a:cubicBezTo>
                  <a:pt x="71" y="11"/>
                  <a:pt x="77" y="6"/>
                  <a:pt x="82" y="0"/>
                </a:cubicBezTo>
                <a:lnTo>
                  <a:pt x="83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13" name="Freeform 276"/>
          <p:cNvSpPr>
            <a:spLocks/>
          </p:cNvSpPr>
          <p:nvPr/>
        </p:nvSpPr>
        <p:spPr bwMode="auto">
          <a:xfrm>
            <a:off x="5810251" y="5069417"/>
            <a:ext cx="21167" cy="23283"/>
          </a:xfrm>
          <a:custGeom>
            <a:avLst/>
            <a:gdLst>
              <a:gd name="T0" fmla="*/ 24412864 w 11"/>
              <a:gd name="T1" fmla="*/ 21702091 h 11"/>
              <a:gd name="T2" fmla="*/ 15535852 w 11"/>
              <a:gd name="T3" fmla="*/ 21702091 h 11"/>
              <a:gd name="T4" fmla="*/ 11096625 w 11"/>
              <a:gd name="T5" fmla="*/ 26524778 h 11"/>
              <a:gd name="T6" fmla="*/ 11096625 w 11"/>
              <a:gd name="T7" fmla="*/ 14468061 h 11"/>
              <a:gd name="T8" fmla="*/ 0 w 11"/>
              <a:gd name="T9" fmla="*/ 9645374 h 11"/>
              <a:gd name="T10" fmla="*/ 11096625 w 11"/>
              <a:gd name="T11" fmla="*/ 9645374 h 11"/>
              <a:gd name="T12" fmla="*/ 11096625 w 11"/>
              <a:gd name="T13" fmla="*/ 0 h 11"/>
              <a:gd name="T14" fmla="*/ 15535852 w 11"/>
              <a:gd name="T15" fmla="*/ 4822687 h 11"/>
              <a:gd name="T16" fmla="*/ 24412864 w 11"/>
              <a:gd name="T17" fmla="*/ 4822687 h 11"/>
              <a:gd name="T18" fmla="*/ 19973636 w 11"/>
              <a:gd name="T19" fmla="*/ 9645374 h 11"/>
              <a:gd name="T20" fmla="*/ 24412864 w 11"/>
              <a:gd name="T21" fmla="*/ 21702091 h 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1" h="11">
                <a:moveTo>
                  <a:pt x="11" y="9"/>
                </a:moveTo>
                <a:lnTo>
                  <a:pt x="7" y="9"/>
                </a:lnTo>
                <a:lnTo>
                  <a:pt x="5" y="11"/>
                </a:lnTo>
                <a:lnTo>
                  <a:pt x="5" y="6"/>
                </a:lnTo>
                <a:lnTo>
                  <a:pt x="0" y="4"/>
                </a:lnTo>
                <a:lnTo>
                  <a:pt x="5" y="4"/>
                </a:lnTo>
                <a:lnTo>
                  <a:pt x="5" y="0"/>
                </a:lnTo>
                <a:lnTo>
                  <a:pt x="7" y="2"/>
                </a:lnTo>
                <a:lnTo>
                  <a:pt x="11" y="2"/>
                </a:lnTo>
                <a:lnTo>
                  <a:pt x="9" y="4"/>
                </a:lnTo>
                <a:lnTo>
                  <a:pt x="11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14" name="Freeform 277"/>
          <p:cNvSpPr>
            <a:spLocks/>
          </p:cNvSpPr>
          <p:nvPr/>
        </p:nvSpPr>
        <p:spPr bwMode="auto">
          <a:xfrm>
            <a:off x="5651500" y="5249334"/>
            <a:ext cx="19051" cy="21167"/>
          </a:xfrm>
          <a:custGeom>
            <a:avLst/>
            <a:gdLst>
              <a:gd name="T0" fmla="*/ 21971769 w 9"/>
              <a:gd name="T1" fmla="*/ 19729739 h 11"/>
              <a:gd name="T2" fmla="*/ 17088448 w 9"/>
              <a:gd name="T3" fmla="*/ 19729739 h 11"/>
              <a:gd name="T4" fmla="*/ 7323394 w 9"/>
              <a:gd name="T5" fmla="*/ 24114125 h 11"/>
              <a:gd name="T6" fmla="*/ 7323394 w 9"/>
              <a:gd name="T7" fmla="*/ 15345352 h 11"/>
              <a:gd name="T8" fmla="*/ 0 w 9"/>
              <a:gd name="T9" fmla="*/ 8768773 h 11"/>
              <a:gd name="T10" fmla="*/ 7323394 w 9"/>
              <a:gd name="T11" fmla="*/ 8768773 h 11"/>
              <a:gd name="T12" fmla="*/ 7323394 w 9"/>
              <a:gd name="T13" fmla="*/ 0 h 11"/>
              <a:gd name="T14" fmla="*/ 17088448 w 9"/>
              <a:gd name="T15" fmla="*/ 4384386 h 11"/>
              <a:gd name="T16" fmla="*/ 21971769 w 9"/>
              <a:gd name="T17" fmla="*/ 4384386 h 11"/>
              <a:gd name="T18" fmla="*/ 17088448 w 9"/>
              <a:gd name="T19" fmla="*/ 15345352 h 11"/>
              <a:gd name="T20" fmla="*/ 21971769 w 9"/>
              <a:gd name="T21" fmla="*/ 19729739 h 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9" h="11">
                <a:moveTo>
                  <a:pt x="9" y="9"/>
                </a:moveTo>
                <a:lnTo>
                  <a:pt x="7" y="9"/>
                </a:lnTo>
                <a:lnTo>
                  <a:pt x="3" y="11"/>
                </a:lnTo>
                <a:lnTo>
                  <a:pt x="3" y="7"/>
                </a:lnTo>
                <a:lnTo>
                  <a:pt x="0" y="4"/>
                </a:lnTo>
                <a:lnTo>
                  <a:pt x="3" y="4"/>
                </a:lnTo>
                <a:lnTo>
                  <a:pt x="3" y="0"/>
                </a:lnTo>
                <a:lnTo>
                  <a:pt x="7" y="2"/>
                </a:lnTo>
                <a:lnTo>
                  <a:pt x="9" y="2"/>
                </a:lnTo>
                <a:lnTo>
                  <a:pt x="7" y="7"/>
                </a:lnTo>
                <a:lnTo>
                  <a:pt x="9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15" name="Freeform 278"/>
          <p:cNvSpPr>
            <a:spLocks/>
          </p:cNvSpPr>
          <p:nvPr/>
        </p:nvSpPr>
        <p:spPr bwMode="auto">
          <a:xfrm>
            <a:off x="5869517" y="5209118"/>
            <a:ext cx="23283" cy="21167"/>
          </a:xfrm>
          <a:custGeom>
            <a:avLst/>
            <a:gdLst>
              <a:gd name="T0" fmla="*/ 26852191 w 12"/>
              <a:gd name="T1" fmla="*/ 19729739 h 11"/>
              <a:gd name="T2" fmla="*/ 15663414 w 12"/>
              <a:gd name="T3" fmla="*/ 19729739 h 11"/>
              <a:gd name="T4" fmla="*/ 11188777 w 12"/>
              <a:gd name="T5" fmla="*/ 24114125 h 11"/>
              <a:gd name="T6" fmla="*/ 11188777 w 12"/>
              <a:gd name="T7" fmla="*/ 19729739 h 11"/>
              <a:gd name="T8" fmla="*/ 0 w 12"/>
              <a:gd name="T9" fmla="*/ 13153159 h 11"/>
              <a:gd name="T10" fmla="*/ 11188777 w 12"/>
              <a:gd name="T11" fmla="*/ 8768773 h 11"/>
              <a:gd name="T12" fmla="*/ 11188777 w 12"/>
              <a:gd name="T13" fmla="*/ 0 h 11"/>
              <a:gd name="T14" fmla="*/ 15663414 w 12"/>
              <a:gd name="T15" fmla="*/ 8768773 h 11"/>
              <a:gd name="T16" fmla="*/ 26852191 w 12"/>
              <a:gd name="T17" fmla="*/ 4384386 h 11"/>
              <a:gd name="T18" fmla="*/ 20139507 w 12"/>
              <a:gd name="T19" fmla="*/ 13153159 h 11"/>
              <a:gd name="T20" fmla="*/ 26852191 w 12"/>
              <a:gd name="T21" fmla="*/ 19729739 h 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2" h="11">
                <a:moveTo>
                  <a:pt x="12" y="9"/>
                </a:moveTo>
                <a:lnTo>
                  <a:pt x="7" y="9"/>
                </a:lnTo>
                <a:lnTo>
                  <a:pt x="5" y="11"/>
                </a:lnTo>
                <a:lnTo>
                  <a:pt x="5" y="9"/>
                </a:lnTo>
                <a:lnTo>
                  <a:pt x="0" y="6"/>
                </a:lnTo>
                <a:lnTo>
                  <a:pt x="5" y="4"/>
                </a:lnTo>
                <a:lnTo>
                  <a:pt x="5" y="0"/>
                </a:lnTo>
                <a:lnTo>
                  <a:pt x="7" y="4"/>
                </a:lnTo>
                <a:lnTo>
                  <a:pt x="12" y="2"/>
                </a:lnTo>
                <a:lnTo>
                  <a:pt x="9" y="6"/>
                </a:lnTo>
                <a:lnTo>
                  <a:pt x="12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16" name="Oval 279"/>
          <p:cNvSpPr>
            <a:spLocks noChangeArrowheads="1"/>
          </p:cNvSpPr>
          <p:nvPr/>
        </p:nvSpPr>
        <p:spPr bwMode="auto">
          <a:xfrm>
            <a:off x="5846233" y="5128685"/>
            <a:ext cx="10584" cy="42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17" name="Freeform 280"/>
          <p:cNvSpPr>
            <a:spLocks/>
          </p:cNvSpPr>
          <p:nvPr/>
        </p:nvSpPr>
        <p:spPr bwMode="auto">
          <a:xfrm>
            <a:off x="5681134" y="5285318"/>
            <a:ext cx="2117" cy="4233"/>
          </a:xfrm>
          <a:custGeom>
            <a:avLst/>
            <a:gdLst>
              <a:gd name="T0" fmla="*/ 2441550 w 2"/>
              <a:gd name="T1" fmla="*/ 0 h 2"/>
              <a:gd name="T2" fmla="*/ 2441550 w 2"/>
              <a:gd name="T3" fmla="*/ 4822825 h 2"/>
              <a:gd name="T4" fmla="*/ 0 w 2"/>
              <a:gd name="T5" fmla="*/ 0 h 2"/>
              <a:gd name="T6" fmla="*/ 2441550 w 2"/>
              <a:gd name="T7" fmla="*/ 0 h 2"/>
              <a:gd name="T8" fmla="*/ 2441550 w 2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2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18" name="Oval 281"/>
          <p:cNvSpPr>
            <a:spLocks noChangeArrowheads="1"/>
          </p:cNvSpPr>
          <p:nvPr/>
        </p:nvSpPr>
        <p:spPr bwMode="auto">
          <a:xfrm>
            <a:off x="5623984" y="5187951"/>
            <a:ext cx="8467" cy="1481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19" name="Freeform 282"/>
          <p:cNvSpPr>
            <a:spLocks/>
          </p:cNvSpPr>
          <p:nvPr/>
        </p:nvSpPr>
        <p:spPr bwMode="auto">
          <a:xfrm>
            <a:off x="5791201" y="5340351"/>
            <a:ext cx="4233" cy="0"/>
          </a:xfrm>
          <a:custGeom>
            <a:avLst/>
            <a:gdLst>
              <a:gd name="T0" fmla="*/ 4881563 w 2"/>
              <a:gd name="T1" fmla="*/ 4881563 w 2"/>
              <a:gd name="T2" fmla="*/ 0 w 2"/>
              <a:gd name="T3" fmla="*/ 4881563 w 2"/>
              <a:gd name="T4" fmla="*/ 4881563 w 2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T0" y="0"/>
              </a:cxn>
              <a:cxn ang="T6">
                <a:pos x="T1" y="0"/>
              </a:cxn>
              <a:cxn ang="T7">
                <a:pos x="T2" y="0"/>
              </a:cxn>
              <a:cxn ang="T8">
                <a:pos x="T3" y="0"/>
              </a:cxn>
              <a:cxn ang="T9">
                <a:pos x="T4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20" name="Oval 283"/>
          <p:cNvSpPr>
            <a:spLocks noChangeArrowheads="1"/>
          </p:cNvSpPr>
          <p:nvPr/>
        </p:nvSpPr>
        <p:spPr bwMode="auto">
          <a:xfrm>
            <a:off x="5643033" y="5302252"/>
            <a:ext cx="19051" cy="19049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21" name="Freeform 284"/>
          <p:cNvSpPr>
            <a:spLocks/>
          </p:cNvSpPr>
          <p:nvPr/>
        </p:nvSpPr>
        <p:spPr bwMode="auto">
          <a:xfrm>
            <a:off x="5850467" y="5312833"/>
            <a:ext cx="6351" cy="0"/>
          </a:xfrm>
          <a:custGeom>
            <a:avLst/>
            <a:gdLst>
              <a:gd name="T0" fmla="*/ 7325494 w 3"/>
              <a:gd name="T1" fmla="*/ 0 w 3"/>
              <a:gd name="T2" fmla="*/ 0 w 3"/>
              <a:gd name="T3" fmla="*/ 0 w 3"/>
              <a:gd name="T4" fmla="*/ 7325494 w 3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T0" y="0"/>
              </a:cxn>
              <a:cxn ang="T6">
                <a:pos x="T1" y="0"/>
              </a:cxn>
              <a:cxn ang="T7">
                <a:pos x="T2" y="0"/>
              </a:cxn>
              <a:cxn ang="T8">
                <a:pos x="T3" y="0"/>
              </a:cxn>
              <a:cxn ang="T9">
                <a:pos x="T4" y="0"/>
              </a:cxn>
            </a:cxnLst>
            <a:rect l="0" t="0" r="r" b="b"/>
            <a:pathLst>
              <a:path w="3">
                <a:moveTo>
                  <a:pt x="3" y="0"/>
                </a:move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22" name="Freeform 285"/>
          <p:cNvSpPr>
            <a:spLocks/>
          </p:cNvSpPr>
          <p:nvPr/>
        </p:nvSpPr>
        <p:spPr bwMode="auto">
          <a:xfrm>
            <a:off x="5865284" y="4950885"/>
            <a:ext cx="194733" cy="146049"/>
          </a:xfrm>
          <a:custGeom>
            <a:avLst/>
            <a:gdLst>
              <a:gd name="T0" fmla="*/ 0 w 95"/>
              <a:gd name="T1" fmla="*/ 150204133 h 72"/>
              <a:gd name="T2" fmla="*/ 224588003 w 95"/>
              <a:gd name="T3" fmla="*/ 0 h 72"/>
              <a:gd name="T4" fmla="*/ 16548234 w 95"/>
              <a:gd name="T5" fmla="*/ 166380618 h 72"/>
              <a:gd name="T6" fmla="*/ 0 w 95"/>
              <a:gd name="T7" fmla="*/ 150204133 h 7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95" h="72">
                <a:moveTo>
                  <a:pt x="0" y="65"/>
                </a:moveTo>
                <a:lnTo>
                  <a:pt x="95" y="0"/>
                </a:lnTo>
                <a:lnTo>
                  <a:pt x="7" y="72"/>
                </a:lnTo>
                <a:lnTo>
                  <a:pt x="0" y="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23" name="Freeform 286"/>
          <p:cNvSpPr>
            <a:spLocks/>
          </p:cNvSpPr>
          <p:nvPr/>
        </p:nvSpPr>
        <p:spPr bwMode="auto">
          <a:xfrm>
            <a:off x="6383867" y="4936067"/>
            <a:ext cx="423333" cy="431800"/>
          </a:xfrm>
          <a:custGeom>
            <a:avLst/>
            <a:gdLst>
              <a:gd name="T0" fmla="*/ 0 w 92"/>
              <a:gd name="T1" fmla="*/ 0 h 94"/>
              <a:gd name="T2" fmla="*/ 0 w 92"/>
              <a:gd name="T3" fmla="*/ 1102791935 h 94"/>
              <a:gd name="T4" fmla="*/ 1098522391 w 92"/>
              <a:gd name="T5" fmla="*/ 1102791935 h 94"/>
              <a:gd name="T6" fmla="*/ 979118234 w 92"/>
              <a:gd name="T7" fmla="*/ 924922490 h 94"/>
              <a:gd name="T8" fmla="*/ 800010272 w 92"/>
              <a:gd name="T9" fmla="*/ 794483290 h 94"/>
              <a:gd name="T10" fmla="*/ 394034755 w 92"/>
              <a:gd name="T11" fmla="*/ 391314156 h 94"/>
              <a:gd name="T12" fmla="*/ 143285679 w 92"/>
              <a:gd name="T13" fmla="*/ 142294178 h 94"/>
              <a:gd name="T14" fmla="*/ 0 w 92"/>
              <a:gd name="T15" fmla="*/ 0 h 9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92" h="94">
                <a:moveTo>
                  <a:pt x="0" y="0"/>
                </a:moveTo>
                <a:cubicBezTo>
                  <a:pt x="0" y="93"/>
                  <a:pt x="0" y="93"/>
                  <a:pt x="0" y="93"/>
                </a:cubicBezTo>
                <a:cubicBezTo>
                  <a:pt x="92" y="93"/>
                  <a:pt x="92" y="93"/>
                  <a:pt x="92" y="93"/>
                </a:cubicBezTo>
                <a:cubicBezTo>
                  <a:pt x="92" y="93"/>
                  <a:pt x="89" y="80"/>
                  <a:pt x="82" y="78"/>
                </a:cubicBezTo>
                <a:cubicBezTo>
                  <a:pt x="74" y="76"/>
                  <a:pt x="81" y="94"/>
                  <a:pt x="67" y="67"/>
                </a:cubicBezTo>
                <a:cubicBezTo>
                  <a:pt x="53" y="40"/>
                  <a:pt x="33" y="33"/>
                  <a:pt x="33" y="33"/>
                </a:cubicBezTo>
                <a:cubicBezTo>
                  <a:pt x="33" y="33"/>
                  <a:pt x="23" y="13"/>
                  <a:pt x="12" y="12"/>
                </a:cubicBezTo>
                <a:cubicBezTo>
                  <a:pt x="0" y="11"/>
                  <a:pt x="11" y="1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24" name="Freeform 287"/>
          <p:cNvSpPr>
            <a:spLocks/>
          </p:cNvSpPr>
          <p:nvPr/>
        </p:nvSpPr>
        <p:spPr bwMode="auto">
          <a:xfrm>
            <a:off x="6498168" y="4980517"/>
            <a:ext cx="4233" cy="0"/>
          </a:xfrm>
          <a:custGeom>
            <a:avLst/>
            <a:gdLst>
              <a:gd name="T0" fmla="*/ 4881563 w 2"/>
              <a:gd name="T1" fmla="*/ 4881563 w 2"/>
              <a:gd name="T2" fmla="*/ 0 w 2"/>
              <a:gd name="T3" fmla="*/ 4881563 w 2"/>
              <a:gd name="T4" fmla="*/ 4881563 w 2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T0" y="0"/>
              </a:cxn>
              <a:cxn ang="T6">
                <a:pos x="T1" y="0"/>
              </a:cxn>
              <a:cxn ang="T7">
                <a:pos x="T2" y="0"/>
              </a:cxn>
              <a:cxn ang="T8">
                <a:pos x="T3" y="0"/>
              </a:cxn>
              <a:cxn ang="T9">
                <a:pos x="T4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25" name="Oval 288"/>
          <p:cNvSpPr>
            <a:spLocks noChangeArrowheads="1"/>
          </p:cNvSpPr>
          <p:nvPr/>
        </p:nvSpPr>
        <p:spPr bwMode="auto">
          <a:xfrm>
            <a:off x="6527800" y="5037667"/>
            <a:ext cx="16933" cy="23284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26" name="Oval 289"/>
          <p:cNvSpPr>
            <a:spLocks noChangeArrowheads="1"/>
          </p:cNvSpPr>
          <p:nvPr/>
        </p:nvSpPr>
        <p:spPr bwMode="auto">
          <a:xfrm>
            <a:off x="6563785" y="5001685"/>
            <a:ext cx="35983" cy="296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27" name="Oval 290"/>
          <p:cNvSpPr>
            <a:spLocks noChangeArrowheads="1"/>
          </p:cNvSpPr>
          <p:nvPr/>
        </p:nvSpPr>
        <p:spPr bwMode="auto">
          <a:xfrm>
            <a:off x="6548967" y="5020734"/>
            <a:ext cx="23284" cy="211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28" name="Oval 291"/>
          <p:cNvSpPr>
            <a:spLocks noChangeArrowheads="1"/>
          </p:cNvSpPr>
          <p:nvPr/>
        </p:nvSpPr>
        <p:spPr bwMode="auto">
          <a:xfrm>
            <a:off x="6663267" y="5147734"/>
            <a:ext cx="44451" cy="465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29" name="Oval 292"/>
          <p:cNvSpPr>
            <a:spLocks noChangeArrowheads="1"/>
          </p:cNvSpPr>
          <p:nvPr/>
        </p:nvSpPr>
        <p:spPr bwMode="auto">
          <a:xfrm>
            <a:off x="6737352" y="5215467"/>
            <a:ext cx="29633" cy="23284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30" name="Oval 293"/>
          <p:cNvSpPr>
            <a:spLocks noChangeArrowheads="1"/>
          </p:cNvSpPr>
          <p:nvPr/>
        </p:nvSpPr>
        <p:spPr bwMode="auto">
          <a:xfrm>
            <a:off x="6720418" y="5255684"/>
            <a:ext cx="12700" cy="1481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31" name="Oval 294"/>
          <p:cNvSpPr>
            <a:spLocks noChangeArrowheads="1"/>
          </p:cNvSpPr>
          <p:nvPr/>
        </p:nvSpPr>
        <p:spPr bwMode="auto">
          <a:xfrm>
            <a:off x="6587067" y="5056717"/>
            <a:ext cx="59267" cy="592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32" name="Oval 295"/>
          <p:cNvSpPr>
            <a:spLocks noChangeArrowheads="1"/>
          </p:cNvSpPr>
          <p:nvPr/>
        </p:nvSpPr>
        <p:spPr bwMode="auto">
          <a:xfrm>
            <a:off x="6438900" y="4923367"/>
            <a:ext cx="69851" cy="677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33" name="Freeform 296"/>
          <p:cNvSpPr>
            <a:spLocks/>
          </p:cNvSpPr>
          <p:nvPr/>
        </p:nvSpPr>
        <p:spPr bwMode="auto">
          <a:xfrm>
            <a:off x="7219951" y="5300133"/>
            <a:ext cx="522816" cy="50800"/>
          </a:xfrm>
          <a:custGeom>
            <a:avLst/>
            <a:gdLst>
              <a:gd name="T0" fmla="*/ 0 w 113"/>
              <a:gd name="T1" fmla="*/ 59785827 h 11"/>
              <a:gd name="T2" fmla="*/ 168580400 w 113"/>
              <a:gd name="T3" fmla="*/ 11956473 h 11"/>
              <a:gd name="T4" fmla="*/ 337157330 w 113"/>
              <a:gd name="T5" fmla="*/ 0 h 11"/>
              <a:gd name="T6" fmla="*/ 686359091 w 113"/>
              <a:gd name="T7" fmla="*/ 47829355 h 11"/>
              <a:gd name="T8" fmla="*/ 1023519891 w 113"/>
              <a:gd name="T9" fmla="*/ 95655245 h 11"/>
              <a:gd name="T10" fmla="*/ 1192096820 w 113"/>
              <a:gd name="T11" fmla="*/ 95655245 h 11"/>
              <a:gd name="T12" fmla="*/ 1276387020 w 113"/>
              <a:gd name="T13" fmla="*/ 95655245 h 11"/>
              <a:gd name="T14" fmla="*/ 1360677220 w 113"/>
              <a:gd name="T15" fmla="*/ 59785827 h 11"/>
              <a:gd name="T16" fmla="*/ 1360677220 w 113"/>
              <a:gd name="T17" fmla="*/ 71742300 h 11"/>
              <a:gd name="T18" fmla="*/ 1288427982 w 113"/>
              <a:gd name="T19" fmla="*/ 107615182 h 11"/>
              <a:gd name="T20" fmla="*/ 1204137782 w 113"/>
              <a:gd name="T21" fmla="*/ 131528127 h 11"/>
              <a:gd name="T22" fmla="*/ 1023519891 w 113"/>
              <a:gd name="T23" fmla="*/ 131528127 h 11"/>
              <a:gd name="T24" fmla="*/ 674318129 w 113"/>
              <a:gd name="T25" fmla="*/ 83698773 h 11"/>
              <a:gd name="T26" fmla="*/ 337157330 w 113"/>
              <a:gd name="T27" fmla="*/ 23912945 h 11"/>
              <a:gd name="T28" fmla="*/ 168580400 w 113"/>
              <a:gd name="T29" fmla="*/ 23912945 h 11"/>
              <a:gd name="T30" fmla="*/ 0 w 113"/>
              <a:gd name="T31" fmla="*/ 71742300 h 11"/>
              <a:gd name="T32" fmla="*/ 0 w 113"/>
              <a:gd name="T33" fmla="*/ 5978582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13" h="11">
                <a:moveTo>
                  <a:pt x="0" y="5"/>
                </a:moveTo>
                <a:cubicBezTo>
                  <a:pt x="4" y="3"/>
                  <a:pt x="9" y="2"/>
                  <a:pt x="14" y="1"/>
                </a:cubicBezTo>
                <a:cubicBezTo>
                  <a:pt x="18" y="1"/>
                  <a:pt x="23" y="0"/>
                  <a:pt x="28" y="0"/>
                </a:cubicBezTo>
                <a:cubicBezTo>
                  <a:pt x="38" y="1"/>
                  <a:pt x="47" y="2"/>
                  <a:pt x="57" y="4"/>
                </a:cubicBezTo>
                <a:cubicBezTo>
                  <a:pt x="66" y="6"/>
                  <a:pt x="76" y="7"/>
                  <a:pt x="85" y="8"/>
                </a:cubicBezTo>
                <a:cubicBezTo>
                  <a:pt x="90" y="8"/>
                  <a:pt x="95" y="8"/>
                  <a:pt x="99" y="8"/>
                </a:cubicBezTo>
                <a:cubicBezTo>
                  <a:pt x="102" y="8"/>
                  <a:pt x="104" y="8"/>
                  <a:pt x="106" y="8"/>
                </a:cubicBezTo>
                <a:cubicBezTo>
                  <a:pt x="109" y="7"/>
                  <a:pt x="111" y="7"/>
                  <a:pt x="113" y="5"/>
                </a:cubicBezTo>
                <a:cubicBezTo>
                  <a:pt x="113" y="6"/>
                  <a:pt x="113" y="6"/>
                  <a:pt x="113" y="6"/>
                </a:cubicBezTo>
                <a:cubicBezTo>
                  <a:pt x="111" y="8"/>
                  <a:pt x="109" y="9"/>
                  <a:pt x="107" y="9"/>
                </a:cubicBezTo>
                <a:cubicBezTo>
                  <a:pt x="104" y="10"/>
                  <a:pt x="102" y="10"/>
                  <a:pt x="100" y="11"/>
                </a:cubicBezTo>
                <a:cubicBezTo>
                  <a:pt x="95" y="11"/>
                  <a:pt x="90" y="11"/>
                  <a:pt x="85" y="11"/>
                </a:cubicBezTo>
                <a:cubicBezTo>
                  <a:pt x="75" y="11"/>
                  <a:pt x="66" y="9"/>
                  <a:pt x="56" y="7"/>
                </a:cubicBezTo>
                <a:cubicBezTo>
                  <a:pt x="47" y="5"/>
                  <a:pt x="38" y="3"/>
                  <a:pt x="28" y="2"/>
                </a:cubicBezTo>
                <a:cubicBezTo>
                  <a:pt x="23" y="2"/>
                  <a:pt x="18" y="2"/>
                  <a:pt x="14" y="2"/>
                </a:cubicBezTo>
                <a:cubicBezTo>
                  <a:pt x="9" y="3"/>
                  <a:pt x="4" y="4"/>
                  <a:pt x="0" y="6"/>
                </a:cubicBezTo>
                <a:lnTo>
                  <a:pt x="0" y="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34" name="Freeform 297"/>
          <p:cNvSpPr>
            <a:spLocks/>
          </p:cNvSpPr>
          <p:nvPr/>
        </p:nvSpPr>
        <p:spPr bwMode="auto">
          <a:xfrm>
            <a:off x="7219951" y="5331884"/>
            <a:ext cx="522816" cy="50800"/>
          </a:xfrm>
          <a:custGeom>
            <a:avLst/>
            <a:gdLst>
              <a:gd name="T0" fmla="*/ 0 w 113"/>
              <a:gd name="T1" fmla="*/ 59785827 h 11"/>
              <a:gd name="T2" fmla="*/ 168580400 w 113"/>
              <a:gd name="T3" fmla="*/ 11956473 h 11"/>
              <a:gd name="T4" fmla="*/ 337157330 w 113"/>
              <a:gd name="T5" fmla="*/ 0 h 11"/>
              <a:gd name="T6" fmla="*/ 686359091 w 113"/>
              <a:gd name="T7" fmla="*/ 47829355 h 11"/>
              <a:gd name="T8" fmla="*/ 1023519891 w 113"/>
              <a:gd name="T9" fmla="*/ 83698773 h 11"/>
              <a:gd name="T10" fmla="*/ 1192096820 w 113"/>
              <a:gd name="T11" fmla="*/ 95655245 h 11"/>
              <a:gd name="T12" fmla="*/ 1276387020 w 113"/>
              <a:gd name="T13" fmla="*/ 83698773 h 11"/>
              <a:gd name="T14" fmla="*/ 1360677220 w 113"/>
              <a:gd name="T15" fmla="*/ 59785827 h 11"/>
              <a:gd name="T16" fmla="*/ 1360677220 w 113"/>
              <a:gd name="T17" fmla="*/ 59785827 h 11"/>
              <a:gd name="T18" fmla="*/ 1288427982 w 113"/>
              <a:gd name="T19" fmla="*/ 107615182 h 11"/>
              <a:gd name="T20" fmla="*/ 1204137782 w 113"/>
              <a:gd name="T21" fmla="*/ 119571655 h 11"/>
              <a:gd name="T22" fmla="*/ 1023519891 w 113"/>
              <a:gd name="T23" fmla="*/ 131528127 h 11"/>
              <a:gd name="T24" fmla="*/ 674318129 w 113"/>
              <a:gd name="T25" fmla="*/ 83698773 h 11"/>
              <a:gd name="T26" fmla="*/ 337157330 w 113"/>
              <a:gd name="T27" fmla="*/ 23912945 h 11"/>
              <a:gd name="T28" fmla="*/ 168580400 w 113"/>
              <a:gd name="T29" fmla="*/ 23912945 h 11"/>
              <a:gd name="T30" fmla="*/ 0 w 113"/>
              <a:gd name="T31" fmla="*/ 59785827 h 1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13" h="11">
                <a:moveTo>
                  <a:pt x="0" y="5"/>
                </a:moveTo>
                <a:cubicBezTo>
                  <a:pt x="4" y="3"/>
                  <a:pt x="9" y="2"/>
                  <a:pt x="14" y="1"/>
                </a:cubicBezTo>
                <a:cubicBezTo>
                  <a:pt x="18" y="0"/>
                  <a:pt x="23" y="0"/>
                  <a:pt x="28" y="0"/>
                </a:cubicBezTo>
                <a:cubicBezTo>
                  <a:pt x="38" y="0"/>
                  <a:pt x="47" y="2"/>
                  <a:pt x="57" y="4"/>
                </a:cubicBezTo>
                <a:cubicBezTo>
                  <a:pt x="66" y="6"/>
                  <a:pt x="76" y="7"/>
                  <a:pt x="85" y="7"/>
                </a:cubicBezTo>
                <a:cubicBezTo>
                  <a:pt x="90" y="8"/>
                  <a:pt x="95" y="8"/>
                  <a:pt x="99" y="8"/>
                </a:cubicBezTo>
                <a:cubicBezTo>
                  <a:pt x="102" y="8"/>
                  <a:pt x="104" y="8"/>
                  <a:pt x="106" y="7"/>
                </a:cubicBezTo>
                <a:cubicBezTo>
                  <a:pt x="109" y="7"/>
                  <a:pt x="111" y="7"/>
                  <a:pt x="113" y="5"/>
                </a:cubicBezTo>
                <a:cubicBezTo>
                  <a:pt x="113" y="5"/>
                  <a:pt x="113" y="5"/>
                  <a:pt x="113" y="5"/>
                </a:cubicBezTo>
                <a:cubicBezTo>
                  <a:pt x="111" y="7"/>
                  <a:pt x="109" y="8"/>
                  <a:pt x="107" y="9"/>
                </a:cubicBezTo>
                <a:cubicBezTo>
                  <a:pt x="104" y="10"/>
                  <a:pt x="102" y="10"/>
                  <a:pt x="100" y="10"/>
                </a:cubicBezTo>
                <a:cubicBezTo>
                  <a:pt x="95" y="11"/>
                  <a:pt x="90" y="11"/>
                  <a:pt x="85" y="11"/>
                </a:cubicBezTo>
                <a:cubicBezTo>
                  <a:pt x="75" y="10"/>
                  <a:pt x="66" y="9"/>
                  <a:pt x="56" y="7"/>
                </a:cubicBezTo>
                <a:cubicBezTo>
                  <a:pt x="47" y="4"/>
                  <a:pt x="38" y="2"/>
                  <a:pt x="28" y="2"/>
                </a:cubicBezTo>
                <a:cubicBezTo>
                  <a:pt x="23" y="1"/>
                  <a:pt x="18" y="1"/>
                  <a:pt x="14" y="2"/>
                </a:cubicBezTo>
                <a:cubicBezTo>
                  <a:pt x="9" y="2"/>
                  <a:pt x="4" y="3"/>
                  <a:pt x="0" y="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35" name="Freeform 298"/>
          <p:cNvSpPr>
            <a:spLocks/>
          </p:cNvSpPr>
          <p:nvPr/>
        </p:nvSpPr>
        <p:spPr bwMode="auto">
          <a:xfrm>
            <a:off x="7228417" y="4959351"/>
            <a:ext cx="414867" cy="209549"/>
          </a:xfrm>
          <a:custGeom>
            <a:avLst/>
            <a:gdLst>
              <a:gd name="T0" fmla="*/ 478467464 w 203"/>
              <a:gd name="T1" fmla="*/ 238720011 h 104"/>
              <a:gd name="T2" fmla="*/ 478467464 w 203"/>
              <a:gd name="T3" fmla="*/ 188221140 h 104"/>
              <a:gd name="T4" fmla="*/ 240411657 w 203"/>
              <a:gd name="T5" fmla="*/ 0 h 104"/>
              <a:gd name="T6" fmla="*/ 0 w 203"/>
              <a:gd name="T7" fmla="*/ 188221140 h 104"/>
              <a:gd name="T8" fmla="*/ 0 w 203"/>
              <a:gd name="T9" fmla="*/ 238720011 h 104"/>
              <a:gd name="T10" fmla="*/ 240411657 w 203"/>
              <a:gd name="T11" fmla="*/ 52794343 h 104"/>
              <a:gd name="T12" fmla="*/ 478467464 w 203"/>
              <a:gd name="T13" fmla="*/ 238720011 h 10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3" h="104">
                <a:moveTo>
                  <a:pt x="203" y="104"/>
                </a:moveTo>
                <a:lnTo>
                  <a:pt x="203" y="82"/>
                </a:lnTo>
                <a:lnTo>
                  <a:pt x="102" y="0"/>
                </a:lnTo>
                <a:lnTo>
                  <a:pt x="0" y="82"/>
                </a:lnTo>
                <a:lnTo>
                  <a:pt x="0" y="104"/>
                </a:lnTo>
                <a:lnTo>
                  <a:pt x="102" y="23"/>
                </a:lnTo>
                <a:lnTo>
                  <a:pt x="203" y="1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36" name="Freeform 299"/>
          <p:cNvSpPr>
            <a:spLocks/>
          </p:cNvSpPr>
          <p:nvPr/>
        </p:nvSpPr>
        <p:spPr bwMode="auto">
          <a:xfrm>
            <a:off x="7279217" y="5027085"/>
            <a:ext cx="319616" cy="289983"/>
          </a:xfrm>
          <a:custGeom>
            <a:avLst/>
            <a:gdLst>
              <a:gd name="T0" fmla="*/ 144935434 w 69"/>
              <a:gd name="T1" fmla="*/ 666532064 h 63"/>
              <a:gd name="T2" fmla="*/ 495203303 w 69"/>
              <a:gd name="T3" fmla="*/ 714141004 h 63"/>
              <a:gd name="T4" fmla="*/ 833388298 w 69"/>
              <a:gd name="T5" fmla="*/ 749846846 h 63"/>
              <a:gd name="T6" fmla="*/ 833388298 w 69"/>
              <a:gd name="T7" fmla="*/ 309459836 h 63"/>
              <a:gd name="T8" fmla="*/ 398578522 w 69"/>
              <a:gd name="T9" fmla="*/ 0 h 63"/>
              <a:gd name="T10" fmla="*/ 0 w 69"/>
              <a:gd name="T11" fmla="*/ 309459836 h 63"/>
              <a:gd name="T12" fmla="*/ 0 w 69"/>
              <a:gd name="T13" fmla="*/ 678431710 h 63"/>
              <a:gd name="T14" fmla="*/ 144935434 w 69"/>
              <a:gd name="T15" fmla="*/ 666532064 h 6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69" h="63">
                <a:moveTo>
                  <a:pt x="12" y="56"/>
                </a:moveTo>
                <a:cubicBezTo>
                  <a:pt x="22" y="56"/>
                  <a:pt x="32" y="58"/>
                  <a:pt x="41" y="60"/>
                </a:cubicBezTo>
                <a:cubicBezTo>
                  <a:pt x="50" y="62"/>
                  <a:pt x="61" y="62"/>
                  <a:pt x="69" y="63"/>
                </a:cubicBezTo>
                <a:cubicBezTo>
                  <a:pt x="69" y="26"/>
                  <a:pt x="69" y="26"/>
                  <a:pt x="69" y="26"/>
                </a:cubicBezTo>
                <a:cubicBezTo>
                  <a:pt x="33" y="0"/>
                  <a:pt x="33" y="0"/>
                  <a:pt x="33" y="0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57"/>
                  <a:pt x="0" y="57"/>
                  <a:pt x="0" y="57"/>
                </a:cubicBezTo>
                <a:cubicBezTo>
                  <a:pt x="4" y="56"/>
                  <a:pt x="8" y="56"/>
                  <a:pt x="12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37" name="Freeform 300"/>
          <p:cNvSpPr>
            <a:spLocks/>
          </p:cNvSpPr>
          <p:nvPr/>
        </p:nvSpPr>
        <p:spPr bwMode="auto">
          <a:xfrm>
            <a:off x="7579784" y="4950885"/>
            <a:ext cx="31749" cy="114300"/>
          </a:xfrm>
          <a:custGeom>
            <a:avLst/>
            <a:gdLst>
              <a:gd name="T0" fmla="*/ 36618094 w 15"/>
              <a:gd name="T1" fmla="*/ 0 h 56"/>
              <a:gd name="T2" fmla="*/ 0 w 15"/>
              <a:gd name="T3" fmla="*/ 0 h 56"/>
              <a:gd name="T4" fmla="*/ 0 w 15"/>
              <a:gd name="T5" fmla="*/ 88357982 h 56"/>
              <a:gd name="T6" fmla="*/ 36618094 w 15"/>
              <a:gd name="T7" fmla="*/ 130211683 h 56"/>
              <a:gd name="T8" fmla="*/ 36618094 w 15"/>
              <a:gd name="T9" fmla="*/ 0 h 5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" h="56">
                <a:moveTo>
                  <a:pt x="15" y="0"/>
                </a:moveTo>
                <a:lnTo>
                  <a:pt x="0" y="0"/>
                </a:lnTo>
                <a:lnTo>
                  <a:pt x="0" y="38"/>
                </a:lnTo>
                <a:lnTo>
                  <a:pt x="15" y="56"/>
                </a:lnTo>
                <a:lnTo>
                  <a:pt x="1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38" name="Oval 301"/>
          <p:cNvSpPr>
            <a:spLocks noChangeArrowheads="1"/>
          </p:cNvSpPr>
          <p:nvPr/>
        </p:nvSpPr>
        <p:spPr bwMode="auto">
          <a:xfrm>
            <a:off x="7325785" y="4950884"/>
            <a:ext cx="12700" cy="84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39" name="Oval 302"/>
          <p:cNvSpPr>
            <a:spLocks noChangeArrowheads="1"/>
          </p:cNvSpPr>
          <p:nvPr/>
        </p:nvSpPr>
        <p:spPr bwMode="auto">
          <a:xfrm>
            <a:off x="7395634" y="4889500"/>
            <a:ext cx="12700" cy="10584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40" name="Oval 303"/>
          <p:cNvSpPr>
            <a:spLocks noChangeArrowheads="1"/>
          </p:cNvSpPr>
          <p:nvPr/>
        </p:nvSpPr>
        <p:spPr bwMode="auto">
          <a:xfrm>
            <a:off x="7469718" y="4900084"/>
            <a:ext cx="44449" cy="508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41" name="Oval 304"/>
          <p:cNvSpPr>
            <a:spLocks noChangeArrowheads="1"/>
          </p:cNvSpPr>
          <p:nvPr/>
        </p:nvSpPr>
        <p:spPr bwMode="auto">
          <a:xfrm>
            <a:off x="7279218" y="5020733"/>
            <a:ext cx="29633" cy="254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42" name="Oval 305"/>
          <p:cNvSpPr>
            <a:spLocks noChangeArrowheads="1"/>
          </p:cNvSpPr>
          <p:nvPr/>
        </p:nvSpPr>
        <p:spPr bwMode="auto">
          <a:xfrm>
            <a:off x="7205133" y="5020734"/>
            <a:ext cx="19051" cy="211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43" name="Line 306"/>
          <p:cNvSpPr>
            <a:spLocks noChangeShapeType="1"/>
          </p:cNvSpPr>
          <p:nvPr/>
        </p:nvSpPr>
        <p:spPr bwMode="auto">
          <a:xfrm>
            <a:off x="7234767" y="4959351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44" name="Line 307"/>
          <p:cNvSpPr>
            <a:spLocks noChangeShapeType="1"/>
          </p:cNvSpPr>
          <p:nvPr/>
        </p:nvSpPr>
        <p:spPr bwMode="auto">
          <a:xfrm>
            <a:off x="7234767" y="4959351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45" name="Oval 308"/>
          <p:cNvSpPr>
            <a:spLocks noChangeArrowheads="1"/>
          </p:cNvSpPr>
          <p:nvPr/>
        </p:nvSpPr>
        <p:spPr bwMode="auto">
          <a:xfrm>
            <a:off x="7677151" y="5050368"/>
            <a:ext cx="10583" cy="1481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46" name="Oval 309"/>
          <p:cNvSpPr>
            <a:spLocks noChangeArrowheads="1"/>
          </p:cNvSpPr>
          <p:nvPr/>
        </p:nvSpPr>
        <p:spPr bwMode="auto">
          <a:xfrm>
            <a:off x="7677151" y="4955117"/>
            <a:ext cx="10583" cy="14816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47" name="Oval 310"/>
          <p:cNvSpPr>
            <a:spLocks noChangeArrowheads="1"/>
          </p:cNvSpPr>
          <p:nvPr/>
        </p:nvSpPr>
        <p:spPr bwMode="auto">
          <a:xfrm>
            <a:off x="7736418" y="5151967"/>
            <a:ext cx="2116" cy="127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48" name="Oval 311"/>
          <p:cNvSpPr>
            <a:spLocks noChangeArrowheads="1"/>
          </p:cNvSpPr>
          <p:nvPr/>
        </p:nvSpPr>
        <p:spPr bwMode="auto">
          <a:xfrm>
            <a:off x="7662334" y="5234518"/>
            <a:ext cx="46567" cy="46567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49" name="Oval 312"/>
          <p:cNvSpPr>
            <a:spLocks noChangeArrowheads="1"/>
          </p:cNvSpPr>
          <p:nvPr/>
        </p:nvSpPr>
        <p:spPr bwMode="auto">
          <a:xfrm>
            <a:off x="7717367" y="5151967"/>
            <a:ext cx="19051" cy="1693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50" name="Freeform 313"/>
          <p:cNvSpPr>
            <a:spLocks/>
          </p:cNvSpPr>
          <p:nvPr/>
        </p:nvSpPr>
        <p:spPr bwMode="auto">
          <a:xfrm>
            <a:off x="8269818" y="5156200"/>
            <a:ext cx="143933" cy="188384"/>
          </a:xfrm>
          <a:custGeom>
            <a:avLst/>
            <a:gdLst>
              <a:gd name="T0" fmla="*/ 157189129 w 31"/>
              <a:gd name="T1" fmla="*/ 0 h 41"/>
              <a:gd name="T2" fmla="*/ 84639765 w 31"/>
              <a:gd name="T3" fmla="*/ 59365082 h 41"/>
              <a:gd name="T4" fmla="*/ 12090400 w 31"/>
              <a:gd name="T5" fmla="*/ 118730165 h 41"/>
              <a:gd name="T6" fmla="*/ 24184282 w 31"/>
              <a:gd name="T7" fmla="*/ 166223609 h 41"/>
              <a:gd name="T8" fmla="*/ 0 w 31"/>
              <a:gd name="T9" fmla="*/ 225588691 h 41"/>
              <a:gd name="T10" fmla="*/ 36274682 w 31"/>
              <a:gd name="T11" fmla="*/ 284953774 h 41"/>
              <a:gd name="T12" fmla="*/ 36274682 w 31"/>
              <a:gd name="T13" fmla="*/ 308700496 h 41"/>
              <a:gd name="T14" fmla="*/ 84639765 w 31"/>
              <a:gd name="T15" fmla="*/ 379937216 h 41"/>
              <a:gd name="T16" fmla="*/ 145098729 w 31"/>
              <a:gd name="T17" fmla="*/ 403683938 h 41"/>
              <a:gd name="T18" fmla="*/ 193463811 w 31"/>
              <a:gd name="T19" fmla="*/ 391812300 h 41"/>
              <a:gd name="T20" fmla="*/ 193463811 w 31"/>
              <a:gd name="T21" fmla="*/ 486795743 h 41"/>
              <a:gd name="T22" fmla="*/ 193463811 w 31"/>
              <a:gd name="T23" fmla="*/ 391812300 h 41"/>
              <a:gd name="T24" fmla="*/ 193463811 w 31"/>
              <a:gd name="T25" fmla="*/ 391812300 h 41"/>
              <a:gd name="T26" fmla="*/ 193463811 w 31"/>
              <a:gd name="T27" fmla="*/ 391812300 h 41"/>
              <a:gd name="T28" fmla="*/ 241828894 w 31"/>
              <a:gd name="T29" fmla="*/ 403683938 h 41"/>
              <a:gd name="T30" fmla="*/ 314378258 w 31"/>
              <a:gd name="T31" fmla="*/ 344318856 h 41"/>
              <a:gd name="T32" fmla="*/ 374837223 w 31"/>
              <a:gd name="T33" fmla="*/ 273082136 h 41"/>
              <a:gd name="T34" fmla="*/ 362746823 w 31"/>
              <a:gd name="T35" fmla="*/ 237460329 h 41"/>
              <a:gd name="T36" fmla="*/ 374837223 w 31"/>
              <a:gd name="T37" fmla="*/ 201841969 h 41"/>
              <a:gd name="T38" fmla="*/ 326472140 w 31"/>
              <a:gd name="T39" fmla="*/ 130605249 h 41"/>
              <a:gd name="T40" fmla="*/ 338562540 w 31"/>
              <a:gd name="T41" fmla="*/ 94983443 h 41"/>
              <a:gd name="T42" fmla="*/ 253922776 w 31"/>
              <a:gd name="T43" fmla="*/ 23746722 h 41"/>
              <a:gd name="T44" fmla="*/ 217648094 w 31"/>
              <a:gd name="T45" fmla="*/ 35618360 h 41"/>
              <a:gd name="T46" fmla="*/ 157189129 w 31"/>
              <a:gd name="T47" fmla="*/ 0 h 4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31" h="41">
                <a:moveTo>
                  <a:pt x="13" y="0"/>
                </a:moveTo>
                <a:cubicBezTo>
                  <a:pt x="10" y="0"/>
                  <a:pt x="7" y="2"/>
                  <a:pt x="7" y="5"/>
                </a:cubicBezTo>
                <a:cubicBezTo>
                  <a:pt x="4" y="5"/>
                  <a:pt x="2" y="7"/>
                  <a:pt x="1" y="10"/>
                </a:cubicBezTo>
                <a:cubicBezTo>
                  <a:pt x="1" y="12"/>
                  <a:pt x="2" y="13"/>
                  <a:pt x="2" y="14"/>
                </a:cubicBezTo>
                <a:cubicBezTo>
                  <a:pt x="1" y="15"/>
                  <a:pt x="0" y="17"/>
                  <a:pt x="0" y="19"/>
                </a:cubicBezTo>
                <a:cubicBezTo>
                  <a:pt x="0" y="21"/>
                  <a:pt x="1" y="23"/>
                  <a:pt x="3" y="24"/>
                </a:cubicBezTo>
                <a:cubicBezTo>
                  <a:pt x="3" y="25"/>
                  <a:pt x="3" y="26"/>
                  <a:pt x="3" y="26"/>
                </a:cubicBezTo>
                <a:cubicBezTo>
                  <a:pt x="3" y="29"/>
                  <a:pt x="4" y="31"/>
                  <a:pt x="7" y="32"/>
                </a:cubicBezTo>
                <a:cubicBezTo>
                  <a:pt x="8" y="33"/>
                  <a:pt x="10" y="34"/>
                  <a:pt x="12" y="34"/>
                </a:cubicBezTo>
                <a:cubicBezTo>
                  <a:pt x="13" y="34"/>
                  <a:pt x="12" y="34"/>
                  <a:pt x="16" y="33"/>
                </a:cubicBezTo>
                <a:cubicBezTo>
                  <a:pt x="16" y="41"/>
                  <a:pt x="16" y="41"/>
                  <a:pt x="16" y="41"/>
                </a:cubicBezTo>
                <a:cubicBezTo>
                  <a:pt x="16" y="33"/>
                  <a:pt x="16" y="33"/>
                  <a:pt x="16" y="33"/>
                </a:cubicBezTo>
                <a:cubicBezTo>
                  <a:pt x="16" y="33"/>
                  <a:pt x="16" y="33"/>
                  <a:pt x="16" y="33"/>
                </a:cubicBezTo>
                <a:cubicBezTo>
                  <a:pt x="16" y="33"/>
                  <a:pt x="16" y="33"/>
                  <a:pt x="16" y="33"/>
                </a:cubicBezTo>
                <a:cubicBezTo>
                  <a:pt x="19" y="34"/>
                  <a:pt x="18" y="34"/>
                  <a:pt x="20" y="34"/>
                </a:cubicBezTo>
                <a:cubicBezTo>
                  <a:pt x="23" y="34"/>
                  <a:pt x="25" y="32"/>
                  <a:pt x="26" y="29"/>
                </a:cubicBezTo>
                <a:cubicBezTo>
                  <a:pt x="29" y="29"/>
                  <a:pt x="31" y="26"/>
                  <a:pt x="31" y="23"/>
                </a:cubicBezTo>
                <a:cubicBezTo>
                  <a:pt x="31" y="22"/>
                  <a:pt x="31" y="21"/>
                  <a:pt x="30" y="20"/>
                </a:cubicBezTo>
                <a:cubicBezTo>
                  <a:pt x="31" y="19"/>
                  <a:pt x="31" y="18"/>
                  <a:pt x="31" y="17"/>
                </a:cubicBezTo>
                <a:cubicBezTo>
                  <a:pt x="31" y="14"/>
                  <a:pt x="29" y="12"/>
                  <a:pt x="27" y="11"/>
                </a:cubicBezTo>
                <a:cubicBezTo>
                  <a:pt x="27" y="10"/>
                  <a:pt x="28" y="9"/>
                  <a:pt x="28" y="8"/>
                </a:cubicBezTo>
                <a:cubicBezTo>
                  <a:pt x="28" y="5"/>
                  <a:pt x="25" y="2"/>
                  <a:pt x="21" y="2"/>
                </a:cubicBezTo>
                <a:cubicBezTo>
                  <a:pt x="20" y="2"/>
                  <a:pt x="19" y="2"/>
                  <a:pt x="18" y="3"/>
                </a:cubicBezTo>
                <a:cubicBezTo>
                  <a:pt x="17" y="1"/>
                  <a:pt x="15" y="0"/>
                  <a:pt x="13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51" name="Freeform 314"/>
          <p:cNvSpPr>
            <a:spLocks/>
          </p:cNvSpPr>
          <p:nvPr/>
        </p:nvSpPr>
        <p:spPr bwMode="auto">
          <a:xfrm>
            <a:off x="8445500" y="5156200"/>
            <a:ext cx="143933" cy="188384"/>
          </a:xfrm>
          <a:custGeom>
            <a:avLst/>
            <a:gdLst>
              <a:gd name="T0" fmla="*/ 145098729 w 31"/>
              <a:gd name="T1" fmla="*/ 0 h 41"/>
              <a:gd name="T2" fmla="*/ 72549365 w 31"/>
              <a:gd name="T3" fmla="*/ 59365082 h 41"/>
              <a:gd name="T4" fmla="*/ 12090400 w 31"/>
              <a:gd name="T5" fmla="*/ 118730165 h 41"/>
              <a:gd name="T6" fmla="*/ 24184282 w 31"/>
              <a:gd name="T7" fmla="*/ 166223609 h 41"/>
              <a:gd name="T8" fmla="*/ 0 w 31"/>
              <a:gd name="T9" fmla="*/ 225588691 h 41"/>
              <a:gd name="T10" fmla="*/ 36274682 w 31"/>
              <a:gd name="T11" fmla="*/ 284953774 h 41"/>
              <a:gd name="T12" fmla="*/ 24184282 w 31"/>
              <a:gd name="T13" fmla="*/ 308700496 h 41"/>
              <a:gd name="T14" fmla="*/ 72549365 w 31"/>
              <a:gd name="T15" fmla="*/ 379937216 h 41"/>
              <a:gd name="T16" fmla="*/ 133008329 w 31"/>
              <a:gd name="T17" fmla="*/ 403683938 h 41"/>
              <a:gd name="T18" fmla="*/ 157189129 w 31"/>
              <a:gd name="T19" fmla="*/ 391812300 h 41"/>
              <a:gd name="T20" fmla="*/ 157189129 w 31"/>
              <a:gd name="T21" fmla="*/ 486795743 h 41"/>
              <a:gd name="T22" fmla="*/ 205554211 w 31"/>
              <a:gd name="T23" fmla="*/ 486795743 h 41"/>
              <a:gd name="T24" fmla="*/ 205554211 w 31"/>
              <a:gd name="T25" fmla="*/ 391812300 h 41"/>
              <a:gd name="T26" fmla="*/ 241828894 w 31"/>
              <a:gd name="T27" fmla="*/ 403683938 h 41"/>
              <a:gd name="T28" fmla="*/ 314378258 w 31"/>
              <a:gd name="T29" fmla="*/ 344318856 h 41"/>
              <a:gd name="T30" fmla="*/ 374837223 w 31"/>
              <a:gd name="T31" fmla="*/ 273082136 h 41"/>
              <a:gd name="T32" fmla="*/ 362746823 w 31"/>
              <a:gd name="T33" fmla="*/ 237460329 h 41"/>
              <a:gd name="T34" fmla="*/ 374837223 w 31"/>
              <a:gd name="T35" fmla="*/ 201841969 h 41"/>
              <a:gd name="T36" fmla="*/ 326472140 w 31"/>
              <a:gd name="T37" fmla="*/ 130605249 h 41"/>
              <a:gd name="T38" fmla="*/ 326472140 w 31"/>
              <a:gd name="T39" fmla="*/ 94983443 h 41"/>
              <a:gd name="T40" fmla="*/ 253922776 w 31"/>
              <a:gd name="T41" fmla="*/ 23746722 h 41"/>
              <a:gd name="T42" fmla="*/ 217648094 w 31"/>
              <a:gd name="T43" fmla="*/ 35618360 h 41"/>
              <a:gd name="T44" fmla="*/ 145098729 w 31"/>
              <a:gd name="T45" fmla="*/ 0 h 4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1" h="41">
                <a:moveTo>
                  <a:pt x="12" y="0"/>
                </a:moveTo>
                <a:cubicBezTo>
                  <a:pt x="9" y="0"/>
                  <a:pt x="7" y="2"/>
                  <a:pt x="6" y="5"/>
                </a:cubicBezTo>
                <a:cubicBezTo>
                  <a:pt x="4" y="5"/>
                  <a:pt x="1" y="7"/>
                  <a:pt x="1" y="10"/>
                </a:cubicBezTo>
                <a:cubicBezTo>
                  <a:pt x="1" y="12"/>
                  <a:pt x="1" y="13"/>
                  <a:pt x="2" y="14"/>
                </a:cubicBezTo>
                <a:cubicBezTo>
                  <a:pt x="1" y="15"/>
                  <a:pt x="0" y="17"/>
                  <a:pt x="0" y="19"/>
                </a:cubicBezTo>
                <a:cubicBezTo>
                  <a:pt x="0" y="21"/>
                  <a:pt x="1" y="23"/>
                  <a:pt x="3" y="24"/>
                </a:cubicBezTo>
                <a:cubicBezTo>
                  <a:pt x="3" y="25"/>
                  <a:pt x="2" y="26"/>
                  <a:pt x="2" y="26"/>
                </a:cubicBezTo>
                <a:cubicBezTo>
                  <a:pt x="2" y="29"/>
                  <a:pt x="4" y="31"/>
                  <a:pt x="6" y="32"/>
                </a:cubicBezTo>
                <a:cubicBezTo>
                  <a:pt x="8" y="33"/>
                  <a:pt x="9" y="34"/>
                  <a:pt x="11" y="34"/>
                </a:cubicBezTo>
                <a:cubicBezTo>
                  <a:pt x="12" y="34"/>
                  <a:pt x="13" y="34"/>
                  <a:pt x="13" y="33"/>
                </a:cubicBezTo>
                <a:cubicBezTo>
                  <a:pt x="13" y="41"/>
                  <a:pt x="13" y="41"/>
                  <a:pt x="13" y="41"/>
                </a:cubicBezTo>
                <a:cubicBezTo>
                  <a:pt x="17" y="41"/>
                  <a:pt x="17" y="41"/>
                  <a:pt x="17" y="41"/>
                </a:cubicBezTo>
                <a:cubicBezTo>
                  <a:pt x="17" y="33"/>
                  <a:pt x="17" y="33"/>
                  <a:pt x="17" y="33"/>
                </a:cubicBezTo>
                <a:cubicBezTo>
                  <a:pt x="17" y="34"/>
                  <a:pt x="19" y="34"/>
                  <a:pt x="20" y="34"/>
                </a:cubicBezTo>
                <a:cubicBezTo>
                  <a:pt x="23" y="34"/>
                  <a:pt x="25" y="32"/>
                  <a:pt x="26" y="29"/>
                </a:cubicBezTo>
                <a:cubicBezTo>
                  <a:pt x="29" y="29"/>
                  <a:pt x="31" y="26"/>
                  <a:pt x="31" y="23"/>
                </a:cubicBezTo>
                <a:cubicBezTo>
                  <a:pt x="31" y="22"/>
                  <a:pt x="31" y="21"/>
                  <a:pt x="30" y="20"/>
                </a:cubicBezTo>
                <a:cubicBezTo>
                  <a:pt x="30" y="19"/>
                  <a:pt x="31" y="18"/>
                  <a:pt x="31" y="17"/>
                </a:cubicBezTo>
                <a:cubicBezTo>
                  <a:pt x="31" y="14"/>
                  <a:pt x="29" y="12"/>
                  <a:pt x="27" y="11"/>
                </a:cubicBezTo>
                <a:cubicBezTo>
                  <a:pt x="27" y="10"/>
                  <a:pt x="27" y="9"/>
                  <a:pt x="27" y="8"/>
                </a:cubicBezTo>
                <a:cubicBezTo>
                  <a:pt x="27" y="5"/>
                  <a:pt x="25" y="2"/>
                  <a:pt x="21" y="2"/>
                </a:cubicBezTo>
                <a:cubicBezTo>
                  <a:pt x="20" y="2"/>
                  <a:pt x="19" y="2"/>
                  <a:pt x="18" y="3"/>
                </a:cubicBezTo>
                <a:cubicBezTo>
                  <a:pt x="17" y="1"/>
                  <a:pt x="15" y="0"/>
                  <a:pt x="12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52" name="Freeform 315"/>
          <p:cNvSpPr>
            <a:spLocks/>
          </p:cNvSpPr>
          <p:nvPr/>
        </p:nvSpPr>
        <p:spPr bwMode="auto">
          <a:xfrm>
            <a:off x="8269817" y="4917017"/>
            <a:ext cx="319616" cy="446616"/>
          </a:xfrm>
          <a:custGeom>
            <a:avLst/>
            <a:gdLst>
              <a:gd name="T0" fmla="*/ 543513956 w 69"/>
              <a:gd name="T1" fmla="*/ 904128049 h 97"/>
              <a:gd name="T2" fmla="*/ 700528790 w 69"/>
              <a:gd name="T3" fmla="*/ 773268410 h 97"/>
              <a:gd name="T4" fmla="*/ 833388298 w 69"/>
              <a:gd name="T5" fmla="*/ 606719778 h 97"/>
              <a:gd name="T6" fmla="*/ 809232971 w 69"/>
              <a:gd name="T7" fmla="*/ 523442010 h 97"/>
              <a:gd name="T8" fmla="*/ 821308897 w 69"/>
              <a:gd name="T9" fmla="*/ 452064025 h 97"/>
              <a:gd name="T10" fmla="*/ 712608191 w 69"/>
              <a:gd name="T11" fmla="*/ 297411724 h 97"/>
              <a:gd name="T12" fmla="*/ 736763517 w 69"/>
              <a:gd name="T13" fmla="*/ 214137408 h 97"/>
              <a:gd name="T14" fmla="*/ 567669283 w 69"/>
              <a:gd name="T15" fmla="*/ 59481654 h 97"/>
              <a:gd name="T16" fmla="*/ 483123903 w 69"/>
              <a:gd name="T17" fmla="*/ 83274316 h 97"/>
              <a:gd name="T18" fmla="*/ 338184995 w 69"/>
              <a:gd name="T19" fmla="*/ 0 h 97"/>
              <a:gd name="T20" fmla="*/ 169094234 w 69"/>
              <a:gd name="T21" fmla="*/ 130859639 h 97"/>
              <a:gd name="T22" fmla="*/ 36234727 w 69"/>
              <a:gd name="T23" fmla="*/ 261722731 h 97"/>
              <a:gd name="T24" fmla="*/ 60390054 w 69"/>
              <a:gd name="T25" fmla="*/ 368789709 h 97"/>
              <a:gd name="T26" fmla="*/ 0 w 69"/>
              <a:gd name="T27" fmla="*/ 499649348 h 97"/>
              <a:gd name="T28" fmla="*/ 84545380 w 69"/>
              <a:gd name="T29" fmla="*/ 630512440 h 97"/>
              <a:gd name="T30" fmla="*/ 72469454 w 69"/>
              <a:gd name="T31" fmla="*/ 689994094 h 97"/>
              <a:gd name="T32" fmla="*/ 181170161 w 69"/>
              <a:gd name="T33" fmla="*/ 844646395 h 97"/>
              <a:gd name="T34" fmla="*/ 289874342 w 69"/>
              <a:gd name="T35" fmla="*/ 904128049 h 97"/>
              <a:gd name="T36" fmla="*/ 362343795 w 69"/>
              <a:gd name="T37" fmla="*/ 880335387 h 97"/>
              <a:gd name="T38" fmla="*/ 362343795 w 69"/>
              <a:gd name="T39" fmla="*/ 1106369126 h 97"/>
              <a:gd name="T40" fmla="*/ 60390054 w 69"/>
              <a:gd name="T41" fmla="*/ 1106369126 h 97"/>
              <a:gd name="T42" fmla="*/ 60390054 w 69"/>
              <a:gd name="T43" fmla="*/ 1153954450 h 97"/>
              <a:gd name="T44" fmla="*/ 748842918 w 69"/>
              <a:gd name="T45" fmla="*/ 1153954450 h 97"/>
              <a:gd name="T46" fmla="*/ 748842918 w 69"/>
              <a:gd name="T47" fmla="*/ 1106369126 h 97"/>
              <a:gd name="T48" fmla="*/ 446889176 w 69"/>
              <a:gd name="T49" fmla="*/ 1106369126 h 97"/>
              <a:gd name="T50" fmla="*/ 446889176 w 69"/>
              <a:gd name="T51" fmla="*/ 868439057 h 97"/>
              <a:gd name="T52" fmla="*/ 543513956 w 69"/>
              <a:gd name="T53" fmla="*/ 904128049 h 9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9" h="97">
                <a:moveTo>
                  <a:pt x="45" y="76"/>
                </a:moveTo>
                <a:cubicBezTo>
                  <a:pt x="51" y="76"/>
                  <a:pt x="56" y="71"/>
                  <a:pt x="58" y="65"/>
                </a:cubicBezTo>
                <a:cubicBezTo>
                  <a:pt x="64" y="64"/>
                  <a:pt x="69" y="58"/>
                  <a:pt x="69" y="51"/>
                </a:cubicBezTo>
                <a:cubicBezTo>
                  <a:pt x="69" y="48"/>
                  <a:pt x="68" y="46"/>
                  <a:pt x="67" y="44"/>
                </a:cubicBezTo>
                <a:cubicBezTo>
                  <a:pt x="68" y="42"/>
                  <a:pt x="68" y="40"/>
                  <a:pt x="68" y="38"/>
                </a:cubicBezTo>
                <a:cubicBezTo>
                  <a:pt x="68" y="32"/>
                  <a:pt x="64" y="27"/>
                  <a:pt x="59" y="25"/>
                </a:cubicBezTo>
                <a:cubicBezTo>
                  <a:pt x="60" y="23"/>
                  <a:pt x="61" y="21"/>
                  <a:pt x="61" y="18"/>
                </a:cubicBezTo>
                <a:cubicBezTo>
                  <a:pt x="61" y="11"/>
                  <a:pt x="55" y="5"/>
                  <a:pt x="47" y="5"/>
                </a:cubicBezTo>
                <a:cubicBezTo>
                  <a:pt x="44" y="5"/>
                  <a:pt x="42" y="6"/>
                  <a:pt x="40" y="7"/>
                </a:cubicBezTo>
                <a:cubicBezTo>
                  <a:pt x="37" y="3"/>
                  <a:pt x="33" y="0"/>
                  <a:pt x="28" y="0"/>
                </a:cubicBezTo>
                <a:cubicBezTo>
                  <a:pt x="21" y="0"/>
                  <a:pt x="16" y="5"/>
                  <a:pt x="14" y="11"/>
                </a:cubicBezTo>
                <a:cubicBezTo>
                  <a:pt x="9" y="12"/>
                  <a:pt x="4" y="16"/>
                  <a:pt x="3" y="22"/>
                </a:cubicBezTo>
                <a:cubicBezTo>
                  <a:pt x="2" y="26"/>
                  <a:pt x="3" y="29"/>
                  <a:pt x="5" y="31"/>
                </a:cubicBezTo>
                <a:cubicBezTo>
                  <a:pt x="2" y="34"/>
                  <a:pt x="0" y="38"/>
                  <a:pt x="0" y="42"/>
                </a:cubicBezTo>
                <a:cubicBezTo>
                  <a:pt x="0" y="47"/>
                  <a:pt x="3" y="51"/>
                  <a:pt x="7" y="53"/>
                </a:cubicBezTo>
                <a:cubicBezTo>
                  <a:pt x="6" y="55"/>
                  <a:pt x="6" y="56"/>
                  <a:pt x="6" y="58"/>
                </a:cubicBezTo>
                <a:cubicBezTo>
                  <a:pt x="6" y="64"/>
                  <a:pt x="9" y="69"/>
                  <a:pt x="15" y="71"/>
                </a:cubicBezTo>
                <a:cubicBezTo>
                  <a:pt x="17" y="74"/>
                  <a:pt x="20" y="76"/>
                  <a:pt x="24" y="76"/>
                </a:cubicBezTo>
                <a:cubicBezTo>
                  <a:pt x="26" y="76"/>
                  <a:pt x="30" y="75"/>
                  <a:pt x="30" y="74"/>
                </a:cubicBezTo>
                <a:cubicBezTo>
                  <a:pt x="30" y="93"/>
                  <a:pt x="30" y="93"/>
                  <a:pt x="30" y="93"/>
                </a:cubicBezTo>
                <a:cubicBezTo>
                  <a:pt x="5" y="93"/>
                  <a:pt x="5" y="93"/>
                  <a:pt x="5" y="93"/>
                </a:cubicBezTo>
                <a:cubicBezTo>
                  <a:pt x="5" y="97"/>
                  <a:pt x="5" y="97"/>
                  <a:pt x="5" y="97"/>
                </a:cubicBezTo>
                <a:cubicBezTo>
                  <a:pt x="62" y="97"/>
                  <a:pt x="62" y="97"/>
                  <a:pt x="62" y="97"/>
                </a:cubicBezTo>
                <a:cubicBezTo>
                  <a:pt x="62" y="93"/>
                  <a:pt x="62" y="93"/>
                  <a:pt x="62" y="93"/>
                </a:cubicBezTo>
                <a:cubicBezTo>
                  <a:pt x="37" y="93"/>
                  <a:pt x="37" y="93"/>
                  <a:pt x="37" y="93"/>
                </a:cubicBezTo>
                <a:cubicBezTo>
                  <a:pt x="37" y="73"/>
                  <a:pt x="37" y="73"/>
                  <a:pt x="37" y="73"/>
                </a:cubicBezTo>
                <a:cubicBezTo>
                  <a:pt x="37" y="75"/>
                  <a:pt x="42" y="76"/>
                  <a:pt x="45" y="7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53" name="Freeform 316"/>
          <p:cNvSpPr>
            <a:spLocks noEditPoints="1"/>
          </p:cNvSpPr>
          <p:nvPr/>
        </p:nvSpPr>
        <p:spPr bwMode="auto">
          <a:xfrm>
            <a:off x="8265585" y="5181601"/>
            <a:ext cx="332316" cy="175684"/>
          </a:xfrm>
          <a:custGeom>
            <a:avLst/>
            <a:gdLst>
              <a:gd name="T0" fmla="*/ 790475915 w 72"/>
              <a:gd name="T1" fmla="*/ 274153726 h 38"/>
              <a:gd name="T2" fmla="*/ 790475915 w 72"/>
              <a:gd name="T3" fmla="*/ 238393941 h 38"/>
              <a:gd name="T4" fmla="*/ 814426899 w 72"/>
              <a:gd name="T5" fmla="*/ 0 h 38"/>
              <a:gd name="T6" fmla="*/ 694658135 w 72"/>
              <a:gd name="T7" fmla="*/ 250315026 h 38"/>
              <a:gd name="T8" fmla="*/ 658729929 w 72"/>
              <a:gd name="T9" fmla="*/ 226476325 h 38"/>
              <a:gd name="T10" fmla="*/ 598843817 w 72"/>
              <a:gd name="T11" fmla="*/ 214555241 h 38"/>
              <a:gd name="T12" fmla="*/ 646752707 w 72"/>
              <a:gd name="T13" fmla="*/ 321831128 h 38"/>
              <a:gd name="T14" fmla="*/ 610821039 w 72"/>
              <a:gd name="T15" fmla="*/ 333752212 h 38"/>
              <a:gd name="T16" fmla="*/ 538961166 w 72"/>
              <a:gd name="T17" fmla="*/ 381429613 h 38"/>
              <a:gd name="T18" fmla="*/ 550938389 w 72"/>
              <a:gd name="T19" fmla="*/ 250315026 h 38"/>
              <a:gd name="T20" fmla="*/ 526983944 w 72"/>
              <a:gd name="T21" fmla="*/ 250315026 h 38"/>
              <a:gd name="T22" fmla="*/ 479075054 w 72"/>
              <a:gd name="T23" fmla="*/ 238393941 h 38"/>
              <a:gd name="T24" fmla="*/ 455120609 w 72"/>
              <a:gd name="T25" fmla="*/ 107275887 h 38"/>
              <a:gd name="T26" fmla="*/ 419192403 w 72"/>
              <a:gd name="T27" fmla="*/ 95358270 h 38"/>
              <a:gd name="T28" fmla="*/ 431169625 w 72"/>
              <a:gd name="T29" fmla="*/ 143035671 h 38"/>
              <a:gd name="T30" fmla="*/ 335351845 w 72"/>
              <a:gd name="T31" fmla="*/ 23838701 h 38"/>
              <a:gd name="T32" fmla="*/ 431169625 w 72"/>
              <a:gd name="T33" fmla="*/ 178795456 h 38"/>
              <a:gd name="T34" fmla="*/ 371283513 w 72"/>
              <a:gd name="T35" fmla="*/ 178795456 h 38"/>
              <a:gd name="T36" fmla="*/ 419192403 w 72"/>
              <a:gd name="T37" fmla="*/ 297992427 h 38"/>
              <a:gd name="T38" fmla="*/ 347329068 w 72"/>
              <a:gd name="T39" fmla="*/ 262232642 h 38"/>
              <a:gd name="T40" fmla="*/ 215583082 w 72"/>
              <a:gd name="T41" fmla="*/ 143035671 h 38"/>
              <a:gd name="T42" fmla="*/ 191628637 w 72"/>
              <a:gd name="T43" fmla="*/ 131118055 h 38"/>
              <a:gd name="T44" fmla="*/ 299423639 w 72"/>
              <a:gd name="T45" fmla="*/ 250315026 h 38"/>
              <a:gd name="T46" fmla="*/ 239537527 w 72"/>
              <a:gd name="T47" fmla="*/ 238393941 h 38"/>
              <a:gd name="T48" fmla="*/ 203605859 w 72"/>
              <a:gd name="T49" fmla="*/ 369511996 h 38"/>
              <a:gd name="T50" fmla="*/ 203605859 w 72"/>
              <a:gd name="T51" fmla="*/ 286074810 h 38"/>
              <a:gd name="T52" fmla="*/ 203605859 w 72"/>
              <a:gd name="T53" fmla="*/ 214555241 h 38"/>
              <a:gd name="T54" fmla="*/ 167677653 w 72"/>
              <a:gd name="T55" fmla="*/ 238393941 h 38"/>
              <a:gd name="T56" fmla="*/ 47908890 w 72"/>
              <a:gd name="T57" fmla="*/ 0 h 38"/>
              <a:gd name="T58" fmla="*/ 83837096 w 72"/>
              <a:gd name="T59" fmla="*/ 226476325 h 38"/>
              <a:gd name="T60" fmla="*/ 71859873 w 72"/>
              <a:gd name="T61" fmla="*/ 262232642 h 38"/>
              <a:gd name="T62" fmla="*/ 35931668 w 72"/>
              <a:gd name="T63" fmla="*/ 321831128 h 38"/>
              <a:gd name="T64" fmla="*/ 754544248 w 72"/>
              <a:gd name="T65" fmla="*/ 452949182 h 38"/>
              <a:gd name="T66" fmla="*/ 862335789 w 72"/>
              <a:gd name="T67" fmla="*/ 238393941 h 38"/>
              <a:gd name="T68" fmla="*/ 191628637 w 72"/>
              <a:gd name="T69" fmla="*/ 297992427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72" h="38">
                <a:moveTo>
                  <a:pt x="72" y="20"/>
                </a:moveTo>
                <a:cubicBezTo>
                  <a:pt x="72" y="20"/>
                  <a:pt x="66" y="19"/>
                  <a:pt x="66" y="23"/>
                </a:cubicBezTo>
                <a:cubicBezTo>
                  <a:pt x="66" y="23"/>
                  <a:pt x="66" y="27"/>
                  <a:pt x="62" y="26"/>
                </a:cubicBezTo>
                <a:cubicBezTo>
                  <a:pt x="58" y="25"/>
                  <a:pt x="63" y="22"/>
                  <a:pt x="66" y="20"/>
                </a:cubicBezTo>
                <a:cubicBezTo>
                  <a:pt x="67" y="19"/>
                  <a:pt x="72" y="16"/>
                  <a:pt x="67" y="10"/>
                </a:cubicBezTo>
                <a:cubicBezTo>
                  <a:pt x="63" y="5"/>
                  <a:pt x="66" y="3"/>
                  <a:pt x="68" y="0"/>
                </a:cubicBezTo>
                <a:cubicBezTo>
                  <a:pt x="61" y="5"/>
                  <a:pt x="64" y="9"/>
                  <a:pt x="66" y="12"/>
                </a:cubicBezTo>
                <a:cubicBezTo>
                  <a:pt x="69" y="16"/>
                  <a:pt x="61" y="22"/>
                  <a:pt x="58" y="21"/>
                </a:cubicBezTo>
                <a:cubicBezTo>
                  <a:pt x="55" y="19"/>
                  <a:pt x="63" y="19"/>
                  <a:pt x="64" y="15"/>
                </a:cubicBezTo>
                <a:cubicBezTo>
                  <a:pt x="62" y="18"/>
                  <a:pt x="58" y="17"/>
                  <a:pt x="55" y="19"/>
                </a:cubicBezTo>
                <a:cubicBezTo>
                  <a:pt x="53" y="20"/>
                  <a:pt x="53" y="21"/>
                  <a:pt x="54" y="22"/>
                </a:cubicBezTo>
                <a:cubicBezTo>
                  <a:pt x="49" y="19"/>
                  <a:pt x="50" y="18"/>
                  <a:pt x="50" y="18"/>
                </a:cubicBezTo>
                <a:cubicBezTo>
                  <a:pt x="48" y="19"/>
                  <a:pt x="51" y="22"/>
                  <a:pt x="52" y="23"/>
                </a:cubicBezTo>
                <a:cubicBezTo>
                  <a:pt x="53" y="24"/>
                  <a:pt x="57" y="26"/>
                  <a:pt x="54" y="27"/>
                </a:cubicBezTo>
                <a:cubicBezTo>
                  <a:pt x="51" y="28"/>
                  <a:pt x="51" y="26"/>
                  <a:pt x="50" y="26"/>
                </a:cubicBezTo>
                <a:cubicBezTo>
                  <a:pt x="50" y="26"/>
                  <a:pt x="49" y="26"/>
                  <a:pt x="51" y="28"/>
                </a:cubicBezTo>
                <a:cubicBezTo>
                  <a:pt x="52" y="29"/>
                  <a:pt x="52" y="30"/>
                  <a:pt x="51" y="31"/>
                </a:cubicBezTo>
                <a:cubicBezTo>
                  <a:pt x="51" y="32"/>
                  <a:pt x="48" y="34"/>
                  <a:pt x="45" y="32"/>
                </a:cubicBezTo>
                <a:cubicBezTo>
                  <a:pt x="42" y="31"/>
                  <a:pt x="42" y="29"/>
                  <a:pt x="47" y="27"/>
                </a:cubicBezTo>
                <a:cubicBezTo>
                  <a:pt x="51" y="24"/>
                  <a:pt x="49" y="21"/>
                  <a:pt x="46" y="21"/>
                </a:cubicBezTo>
                <a:cubicBezTo>
                  <a:pt x="45" y="21"/>
                  <a:pt x="44" y="20"/>
                  <a:pt x="42" y="19"/>
                </a:cubicBezTo>
                <a:cubicBezTo>
                  <a:pt x="42" y="20"/>
                  <a:pt x="44" y="21"/>
                  <a:pt x="44" y="21"/>
                </a:cubicBezTo>
                <a:cubicBezTo>
                  <a:pt x="44" y="21"/>
                  <a:pt x="46" y="23"/>
                  <a:pt x="44" y="24"/>
                </a:cubicBezTo>
                <a:cubicBezTo>
                  <a:pt x="39" y="25"/>
                  <a:pt x="39" y="21"/>
                  <a:pt x="40" y="20"/>
                </a:cubicBezTo>
                <a:cubicBezTo>
                  <a:pt x="40" y="19"/>
                  <a:pt x="43" y="14"/>
                  <a:pt x="43" y="14"/>
                </a:cubicBezTo>
                <a:cubicBezTo>
                  <a:pt x="44" y="11"/>
                  <a:pt x="41" y="10"/>
                  <a:pt x="38" y="9"/>
                </a:cubicBezTo>
                <a:cubicBezTo>
                  <a:pt x="33" y="8"/>
                  <a:pt x="33" y="6"/>
                  <a:pt x="33" y="6"/>
                </a:cubicBezTo>
                <a:cubicBezTo>
                  <a:pt x="33" y="6"/>
                  <a:pt x="33" y="7"/>
                  <a:pt x="35" y="8"/>
                </a:cubicBezTo>
                <a:cubicBezTo>
                  <a:pt x="37" y="9"/>
                  <a:pt x="37" y="10"/>
                  <a:pt x="37" y="10"/>
                </a:cubicBezTo>
                <a:cubicBezTo>
                  <a:pt x="37" y="10"/>
                  <a:pt x="38" y="12"/>
                  <a:pt x="36" y="12"/>
                </a:cubicBezTo>
                <a:cubicBezTo>
                  <a:pt x="32" y="12"/>
                  <a:pt x="31" y="10"/>
                  <a:pt x="30" y="8"/>
                </a:cubicBezTo>
                <a:cubicBezTo>
                  <a:pt x="28" y="6"/>
                  <a:pt x="31" y="4"/>
                  <a:pt x="28" y="2"/>
                </a:cubicBezTo>
                <a:cubicBezTo>
                  <a:pt x="30" y="4"/>
                  <a:pt x="28" y="4"/>
                  <a:pt x="28" y="7"/>
                </a:cubicBezTo>
                <a:cubicBezTo>
                  <a:pt x="27" y="10"/>
                  <a:pt x="32" y="12"/>
                  <a:pt x="36" y="15"/>
                </a:cubicBezTo>
                <a:cubicBezTo>
                  <a:pt x="39" y="17"/>
                  <a:pt x="38" y="19"/>
                  <a:pt x="35" y="19"/>
                </a:cubicBezTo>
                <a:cubicBezTo>
                  <a:pt x="33" y="19"/>
                  <a:pt x="30" y="17"/>
                  <a:pt x="31" y="15"/>
                </a:cubicBezTo>
                <a:cubicBezTo>
                  <a:pt x="28" y="17"/>
                  <a:pt x="32" y="21"/>
                  <a:pt x="34" y="22"/>
                </a:cubicBezTo>
                <a:cubicBezTo>
                  <a:pt x="36" y="24"/>
                  <a:pt x="35" y="25"/>
                  <a:pt x="35" y="25"/>
                </a:cubicBezTo>
                <a:cubicBezTo>
                  <a:pt x="35" y="27"/>
                  <a:pt x="33" y="30"/>
                  <a:pt x="28" y="29"/>
                </a:cubicBezTo>
                <a:cubicBezTo>
                  <a:pt x="24" y="27"/>
                  <a:pt x="29" y="22"/>
                  <a:pt x="29" y="22"/>
                </a:cubicBezTo>
                <a:cubicBezTo>
                  <a:pt x="29" y="22"/>
                  <a:pt x="31" y="19"/>
                  <a:pt x="24" y="17"/>
                </a:cubicBezTo>
                <a:cubicBezTo>
                  <a:pt x="18" y="15"/>
                  <a:pt x="18" y="12"/>
                  <a:pt x="18" y="12"/>
                </a:cubicBezTo>
                <a:cubicBezTo>
                  <a:pt x="18" y="11"/>
                  <a:pt x="19" y="9"/>
                  <a:pt x="17" y="7"/>
                </a:cubicBezTo>
                <a:cubicBezTo>
                  <a:pt x="18" y="9"/>
                  <a:pt x="17" y="10"/>
                  <a:pt x="16" y="11"/>
                </a:cubicBezTo>
                <a:cubicBezTo>
                  <a:pt x="16" y="12"/>
                  <a:pt x="16" y="13"/>
                  <a:pt x="16" y="13"/>
                </a:cubicBezTo>
                <a:cubicBezTo>
                  <a:pt x="15" y="17"/>
                  <a:pt x="24" y="19"/>
                  <a:pt x="25" y="21"/>
                </a:cubicBezTo>
                <a:cubicBezTo>
                  <a:pt x="26" y="24"/>
                  <a:pt x="23" y="24"/>
                  <a:pt x="21" y="24"/>
                </a:cubicBezTo>
                <a:cubicBezTo>
                  <a:pt x="19" y="23"/>
                  <a:pt x="19" y="22"/>
                  <a:pt x="20" y="20"/>
                </a:cubicBezTo>
                <a:cubicBezTo>
                  <a:pt x="15" y="24"/>
                  <a:pt x="24" y="27"/>
                  <a:pt x="22" y="30"/>
                </a:cubicBezTo>
                <a:cubicBezTo>
                  <a:pt x="20" y="32"/>
                  <a:pt x="17" y="31"/>
                  <a:pt x="17" y="31"/>
                </a:cubicBezTo>
                <a:cubicBezTo>
                  <a:pt x="14" y="29"/>
                  <a:pt x="17" y="26"/>
                  <a:pt x="17" y="26"/>
                </a:cubicBezTo>
                <a:cubicBezTo>
                  <a:pt x="17" y="25"/>
                  <a:pt x="17" y="24"/>
                  <a:pt x="17" y="24"/>
                </a:cubicBezTo>
                <a:cubicBezTo>
                  <a:pt x="17" y="23"/>
                  <a:pt x="17" y="23"/>
                  <a:pt x="17" y="23"/>
                </a:cubicBezTo>
                <a:cubicBezTo>
                  <a:pt x="19" y="22"/>
                  <a:pt x="20" y="20"/>
                  <a:pt x="17" y="18"/>
                </a:cubicBezTo>
                <a:cubicBezTo>
                  <a:pt x="15" y="16"/>
                  <a:pt x="11" y="17"/>
                  <a:pt x="9" y="14"/>
                </a:cubicBezTo>
                <a:cubicBezTo>
                  <a:pt x="9" y="18"/>
                  <a:pt x="18" y="18"/>
                  <a:pt x="14" y="20"/>
                </a:cubicBezTo>
                <a:cubicBezTo>
                  <a:pt x="11" y="22"/>
                  <a:pt x="4" y="15"/>
                  <a:pt x="6" y="12"/>
                </a:cubicBezTo>
                <a:cubicBezTo>
                  <a:pt x="8" y="9"/>
                  <a:pt x="12" y="5"/>
                  <a:pt x="4" y="0"/>
                </a:cubicBezTo>
                <a:cubicBezTo>
                  <a:pt x="7" y="2"/>
                  <a:pt x="9" y="5"/>
                  <a:pt x="5" y="10"/>
                </a:cubicBezTo>
                <a:cubicBezTo>
                  <a:pt x="0" y="15"/>
                  <a:pt x="6" y="18"/>
                  <a:pt x="7" y="19"/>
                </a:cubicBezTo>
                <a:cubicBezTo>
                  <a:pt x="10" y="21"/>
                  <a:pt x="15" y="24"/>
                  <a:pt x="10" y="26"/>
                </a:cubicBezTo>
                <a:cubicBezTo>
                  <a:pt x="6" y="26"/>
                  <a:pt x="6" y="22"/>
                  <a:pt x="6" y="22"/>
                </a:cubicBezTo>
                <a:cubicBezTo>
                  <a:pt x="6" y="18"/>
                  <a:pt x="1" y="19"/>
                  <a:pt x="1" y="19"/>
                </a:cubicBezTo>
                <a:cubicBezTo>
                  <a:pt x="8" y="19"/>
                  <a:pt x="1" y="23"/>
                  <a:pt x="3" y="27"/>
                </a:cubicBezTo>
                <a:cubicBezTo>
                  <a:pt x="4" y="31"/>
                  <a:pt x="5" y="37"/>
                  <a:pt x="9" y="38"/>
                </a:cubicBezTo>
                <a:cubicBezTo>
                  <a:pt x="63" y="38"/>
                  <a:pt x="63" y="38"/>
                  <a:pt x="63" y="38"/>
                </a:cubicBezTo>
                <a:cubicBezTo>
                  <a:pt x="63" y="38"/>
                  <a:pt x="67" y="35"/>
                  <a:pt x="70" y="28"/>
                </a:cubicBezTo>
                <a:cubicBezTo>
                  <a:pt x="71" y="24"/>
                  <a:pt x="65" y="20"/>
                  <a:pt x="72" y="20"/>
                </a:cubicBezTo>
                <a:close/>
                <a:moveTo>
                  <a:pt x="14" y="27"/>
                </a:moveTo>
                <a:cubicBezTo>
                  <a:pt x="14" y="26"/>
                  <a:pt x="15" y="25"/>
                  <a:pt x="16" y="25"/>
                </a:cubicBezTo>
                <a:cubicBezTo>
                  <a:pt x="16" y="25"/>
                  <a:pt x="15" y="26"/>
                  <a:pt x="14" y="2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54" name="Freeform 317"/>
          <p:cNvSpPr>
            <a:spLocks/>
          </p:cNvSpPr>
          <p:nvPr/>
        </p:nvSpPr>
        <p:spPr bwMode="auto">
          <a:xfrm>
            <a:off x="9010651" y="5054600"/>
            <a:ext cx="215900" cy="247651"/>
          </a:xfrm>
          <a:custGeom>
            <a:avLst/>
            <a:gdLst>
              <a:gd name="T0" fmla="*/ 0 w 47"/>
              <a:gd name="T1" fmla="*/ 212463634 h 54"/>
              <a:gd name="T2" fmla="*/ 0 w 47"/>
              <a:gd name="T3" fmla="*/ 507553162 h 54"/>
              <a:gd name="T4" fmla="*/ 131431422 w 47"/>
              <a:gd name="T5" fmla="*/ 483947238 h 54"/>
              <a:gd name="T6" fmla="*/ 477930251 w 47"/>
              <a:gd name="T7" fmla="*/ 483947238 h 54"/>
              <a:gd name="T8" fmla="*/ 561569681 w 47"/>
              <a:gd name="T9" fmla="*/ 519357844 h 54"/>
              <a:gd name="T10" fmla="*/ 561569681 w 47"/>
              <a:gd name="T11" fmla="*/ 212463634 h 54"/>
              <a:gd name="T12" fmla="*/ 274810841 w 47"/>
              <a:gd name="T13" fmla="*/ 0 h 54"/>
              <a:gd name="T14" fmla="*/ 0 w 47"/>
              <a:gd name="T15" fmla="*/ 212463634 h 5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7" h="54">
                <a:moveTo>
                  <a:pt x="0" y="18"/>
                </a:moveTo>
                <a:cubicBezTo>
                  <a:pt x="0" y="43"/>
                  <a:pt x="0" y="43"/>
                  <a:pt x="0" y="43"/>
                </a:cubicBezTo>
                <a:cubicBezTo>
                  <a:pt x="3" y="44"/>
                  <a:pt x="6" y="43"/>
                  <a:pt x="11" y="41"/>
                </a:cubicBezTo>
                <a:cubicBezTo>
                  <a:pt x="11" y="41"/>
                  <a:pt x="27" y="54"/>
                  <a:pt x="40" y="41"/>
                </a:cubicBezTo>
                <a:cubicBezTo>
                  <a:pt x="40" y="41"/>
                  <a:pt x="42" y="43"/>
                  <a:pt x="47" y="44"/>
                </a:cubicBezTo>
                <a:cubicBezTo>
                  <a:pt x="47" y="18"/>
                  <a:pt x="47" y="18"/>
                  <a:pt x="47" y="18"/>
                </a:cubicBezTo>
                <a:cubicBezTo>
                  <a:pt x="23" y="0"/>
                  <a:pt x="23" y="0"/>
                  <a:pt x="23" y="0"/>
                </a:cubicBezTo>
                <a:lnTo>
                  <a:pt x="0" y="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55" name="Freeform 318"/>
          <p:cNvSpPr>
            <a:spLocks/>
          </p:cNvSpPr>
          <p:nvPr/>
        </p:nvSpPr>
        <p:spPr bwMode="auto">
          <a:xfrm>
            <a:off x="8972551" y="5270500"/>
            <a:ext cx="412749" cy="86784"/>
          </a:xfrm>
          <a:custGeom>
            <a:avLst/>
            <a:gdLst>
              <a:gd name="T0" fmla="*/ 942195425 w 89"/>
              <a:gd name="T1" fmla="*/ 23551579 h 19"/>
              <a:gd name="T2" fmla="*/ 869719656 w 89"/>
              <a:gd name="T3" fmla="*/ 23551579 h 19"/>
              <a:gd name="T4" fmla="*/ 809323762 w 89"/>
              <a:gd name="T5" fmla="*/ 0 h 19"/>
              <a:gd name="T6" fmla="*/ 676448622 w 89"/>
              <a:gd name="T7" fmla="*/ 35329081 h 19"/>
              <a:gd name="T8" fmla="*/ 579813104 w 89"/>
              <a:gd name="T9" fmla="*/ 0 h 19"/>
              <a:gd name="T10" fmla="*/ 241590533 w 89"/>
              <a:gd name="T11" fmla="*/ 0 h 19"/>
              <a:gd name="T12" fmla="*/ 96635517 w 89"/>
              <a:gd name="T13" fmla="*/ 23551579 h 19"/>
              <a:gd name="T14" fmla="*/ 0 w 89"/>
              <a:gd name="T15" fmla="*/ 0 h 19"/>
              <a:gd name="T16" fmla="*/ 0 w 89"/>
              <a:gd name="T17" fmla="*/ 129538823 h 19"/>
              <a:gd name="T18" fmla="*/ 0 w 89"/>
              <a:gd name="T19" fmla="*/ 223748564 h 19"/>
              <a:gd name="T20" fmla="*/ 1075070566 w 89"/>
              <a:gd name="T21" fmla="*/ 223748564 h 19"/>
              <a:gd name="T22" fmla="*/ 1075070566 w 89"/>
              <a:gd name="T23" fmla="*/ 129538823 h 19"/>
              <a:gd name="T24" fmla="*/ 1075070566 w 89"/>
              <a:gd name="T25" fmla="*/ 0 h 19"/>
              <a:gd name="T26" fmla="*/ 942195425 w 89"/>
              <a:gd name="T27" fmla="*/ 23551579 h 1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89" h="19">
                <a:moveTo>
                  <a:pt x="78" y="2"/>
                </a:moveTo>
                <a:cubicBezTo>
                  <a:pt x="75" y="2"/>
                  <a:pt x="75" y="2"/>
                  <a:pt x="72" y="2"/>
                </a:cubicBezTo>
                <a:cubicBezTo>
                  <a:pt x="69" y="1"/>
                  <a:pt x="67" y="0"/>
                  <a:pt x="67" y="0"/>
                </a:cubicBezTo>
                <a:cubicBezTo>
                  <a:pt x="63" y="3"/>
                  <a:pt x="58" y="4"/>
                  <a:pt x="56" y="3"/>
                </a:cubicBezTo>
                <a:cubicBezTo>
                  <a:pt x="50" y="2"/>
                  <a:pt x="48" y="0"/>
                  <a:pt x="48" y="0"/>
                </a:cubicBezTo>
                <a:cubicBezTo>
                  <a:pt x="35" y="13"/>
                  <a:pt x="20" y="0"/>
                  <a:pt x="20" y="0"/>
                </a:cubicBezTo>
                <a:cubicBezTo>
                  <a:pt x="15" y="2"/>
                  <a:pt x="11" y="2"/>
                  <a:pt x="8" y="2"/>
                </a:cubicBezTo>
                <a:cubicBezTo>
                  <a:pt x="3" y="2"/>
                  <a:pt x="0" y="0"/>
                  <a:pt x="0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9"/>
                  <a:pt x="0" y="19"/>
                  <a:pt x="0" y="19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11"/>
                  <a:pt x="89" y="11"/>
                  <a:pt x="89" y="11"/>
                </a:cubicBezTo>
                <a:cubicBezTo>
                  <a:pt x="89" y="0"/>
                  <a:pt x="89" y="0"/>
                  <a:pt x="89" y="0"/>
                </a:cubicBezTo>
                <a:cubicBezTo>
                  <a:pt x="86" y="3"/>
                  <a:pt x="80" y="3"/>
                  <a:pt x="78" y="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56" name="Freeform 319"/>
          <p:cNvSpPr>
            <a:spLocks/>
          </p:cNvSpPr>
          <p:nvPr/>
        </p:nvSpPr>
        <p:spPr bwMode="auto">
          <a:xfrm>
            <a:off x="8957734" y="4993218"/>
            <a:ext cx="319617" cy="162983"/>
          </a:xfrm>
          <a:custGeom>
            <a:avLst/>
            <a:gdLst>
              <a:gd name="T0" fmla="*/ 368615593 w 156"/>
              <a:gd name="T1" fmla="*/ 185671891 h 80"/>
              <a:gd name="T2" fmla="*/ 368615593 w 156"/>
              <a:gd name="T3" fmla="*/ 148537819 h 80"/>
              <a:gd name="T4" fmla="*/ 181945240 w 156"/>
              <a:gd name="T5" fmla="*/ 0 h 80"/>
              <a:gd name="T6" fmla="*/ 0 w 156"/>
              <a:gd name="T7" fmla="*/ 148537819 h 80"/>
              <a:gd name="T8" fmla="*/ 0 w 156"/>
              <a:gd name="T9" fmla="*/ 185671891 h 80"/>
              <a:gd name="T10" fmla="*/ 181945240 w 156"/>
              <a:gd name="T11" fmla="*/ 41776023 h 80"/>
              <a:gd name="T12" fmla="*/ 368615593 w 156"/>
              <a:gd name="T13" fmla="*/ 185671891 h 8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56" h="80">
                <a:moveTo>
                  <a:pt x="156" y="80"/>
                </a:moveTo>
                <a:lnTo>
                  <a:pt x="156" y="64"/>
                </a:lnTo>
                <a:lnTo>
                  <a:pt x="77" y="0"/>
                </a:lnTo>
                <a:lnTo>
                  <a:pt x="0" y="64"/>
                </a:lnTo>
                <a:lnTo>
                  <a:pt x="0" y="80"/>
                </a:lnTo>
                <a:lnTo>
                  <a:pt x="77" y="18"/>
                </a:lnTo>
                <a:lnTo>
                  <a:pt x="156" y="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57" name="Freeform 320"/>
          <p:cNvSpPr>
            <a:spLocks/>
          </p:cNvSpPr>
          <p:nvPr/>
        </p:nvSpPr>
        <p:spPr bwMode="auto">
          <a:xfrm>
            <a:off x="9226552" y="4986867"/>
            <a:ext cx="29633" cy="86784"/>
          </a:xfrm>
          <a:custGeom>
            <a:avLst/>
            <a:gdLst>
              <a:gd name="T0" fmla="*/ 34175700 w 14"/>
              <a:gd name="T1" fmla="*/ 0 h 43"/>
              <a:gd name="T2" fmla="*/ 0 w 14"/>
              <a:gd name="T3" fmla="*/ 0 h 43"/>
              <a:gd name="T4" fmla="*/ 0 w 14"/>
              <a:gd name="T5" fmla="*/ 71275901 h 43"/>
              <a:gd name="T6" fmla="*/ 34175700 w 14"/>
              <a:gd name="T7" fmla="*/ 98865645 h 43"/>
              <a:gd name="T8" fmla="*/ 34175700 w 14"/>
              <a:gd name="T9" fmla="*/ 0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43">
                <a:moveTo>
                  <a:pt x="14" y="0"/>
                </a:moveTo>
                <a:lnTo>
                  <a:pt x="0" y="0"/>
                </a:lnTo>
                <a:lnTo>
                  <a:pt x="0" y="31"/>
                </a:lnTo>
                <a:lnTo>
                  <a:pt x="14" y="43"/>
                </a:lnTo>
                <a:lnTo>
                  <a:pt x="1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58" name="Rectangle 321"/>
          <p:cNvSpPr>
            <a:spLocks noChangeArrowheads="1"/>
          </p:cNvSpPr>
          <p:nvPr/>
        </p:nvSpPr>
        <p:spPr bwMode="auto">
          <a:xfrm>
            <a:off x="9304868" y="5039785"/>
            <a:ext cx="14817" cy="1904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59" name="Rectangle 322"/>
          <p:cNvSpPr>
            <a:spLocks noChangeArrowheads="1"/>
          </p:cNvSpPr>
          <p:nvPr/>
        </p:nvSpPr>
        <p:spPr bwMode="auto">
          <a:xfrm>
            <a:off x="9167285" y="4921251"/>
            <a:ext cx="19049" cy="211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60" name="Rectangle 323"/>
          <p:cNvSpPr>
            <a:spLocks noChangeArrowheads="1"/>
          </p:cNvSpPr>
          <p:nvPr/>
        </p:nvSpPr>
        <p:spPr bwMode="auto">
          <a:xfrm>
            <a:off x="9226551" y="4931834"/>
            <a:ext cx="23283" cy="211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61" name="Rectangle 324"/>
          <p:cNvSpPr>
            <a:spLocks noChangeArrowheads="1"/>
          </p:cNvSpPr>
          <p:nvPr/>
        </p:nvSpPr>
        <p:spPr bwMode="auto">
          <a:xfrm>
            <a:off x="9019118" y="4953001"/>
            <a:ext cx="12700" cy="148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62" name="Rectangle 325"/>
          <p:cNvSpPr>
            <a:spLocks noChangeArrowheads="1"/>
          </p:cNvSpPr>
          <p:nvPr/>
        </p:nvSpPr>
        <p:spPr bwMode="auto">
          <a:xfrm>
            <a:off x="9065684" y="4967818"/>
            <a:ext cx="16933" cy="1904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63" name="Rectangle 326"/>
          <p:cNvSpPr>
            <a:spLocks noChangeArrowheads="1"/>
          </p:cNvSpPr>
          <p:nvPr/>
        </p:nvSpPr>
        <p:spPr bwMode="auto">
          <a:xfrm>
            <a:off x="9175751" y="4986867"/>
            <a:ext cx="10583" cy="63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64" name="Rectangle 327"/>
          <p:cNvSpPr>
            <a:spLocks noChangeArrowheads="1"/>
          </p:cNvSpPr>
          <p:nvPr/>
        </p:nvSpPr>
        <p:spPr bwMode="auto">
          <a:xfrm>
            <a:off x="8983134" y="5018617"/>
            <a:ext cx="27517" cy="254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65" name="Rectangle 328"/>
          <p:cNvSpPr>
            <a:spLocks noChangeArrowheads="1"/>
          </p:cNvSpPr>
          <p:nvPr/>
        </p:nvSpPr>
        <p:spPr bwMode="auto">
          <a:xfrm>
            <a:off x="9277351" y="5090585"/>
            <a:ext cx="27516" cy="275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66" name="Rectangle 329"/>
          <p:cNvSpPr>
            <a:spLocks noChangeArrowheads="1"/>
          </p:cNvSpPr>
          <p:nvPr/>
        </p:nvSpPr>
        <p:spPr bwMode="auto">
          <a:xfrm>
            <a:off x="9292167" y="5168901"/>
            <a:ext cx="31751" cy="38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67" name="Rectangle 330"/>
          <p:cNvSpPr>
            <a:spLocks noChangeArrowheads="1"/>
          </p:cNvSpPr>
          <p:nvPr/>
        </p:nvSpPr>
        <p:spPr bwMode="auto">
          <a:xfrm>
            <a:off x="9256185" y="5207001"/>
            <a:ext cx="21167" cy="211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68" name="Line 331"/>
          <p:cNvSpPr>
            <a:spLocks noChangeShapeType="1"/>
          </p:cNvSpPr>
          <p:nvPr/>
        </p:nvSpPr>
        <p:spPr bwMode="auto">
          <a:xfrm>
            <a:off x="9120717" y="493183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69" name="Line 332"/>
          <p:cNvSpPr>
            <a:spLocks noChangeShapeType="1"/>
          </p:cNvSpPr>
          <p:nvPr/>
        </p:nvSpPr>
        <p:spPr bwMode="auto">
          <a:xfrm>
            <a:off x="9120717" y="493183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70" name="Rectangle 333"/>
          <p:cNvSpPr>
            <a:spLocks noChangeArrowheads="1"/>
          </p:cNvSpPr>
          <p:nvPr/>
        </p:nvSpPr>
        <p:spPr bwMode="auto">
          <a:xfrm>
            <a:off x="9050868" y="4999567"/>
            <a:ext cx="14817" cy="84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71" name="Rectangle 334"/>
          <p:cNvSpPr>
            <a:spLocks noChangeArrowheads="1"/>
          </p:cNvSpPr>
          <p:nvPr/>
        </p:nvSpPr>
        <p:spPr bwMode="auto">
          <a:xfrm>
            <a:off x="9065684" y="4931834"/>
            <a:ext cx="16933" cy="169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72" name="Rectangle 335"/>
          <p:cNvSpPr>
            <a:spLocks noChangeArrowheads="1"/>
          </p:cNvSpPr>
          <p:nvPr/>
        </p:nvSpPr>
        <p:spPr bwMode="auto">
          <a:xfrm>
            <a:off x="9105901" y="4953000"/>
            <a:ext cx="14817" cy="84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73" name="Rectangle 336"/>
          <p:cNvSpPr>
            <a:spLocks noChangeArrowheads="1"/>
          </p:cNvSpPr>
          <p:nvPr/>
        </p:nvSpPr>
        <p:spPr bwMode="auto">
          <a:xfrm>
            <a:off x="9002185" y="4976285"/>
            <a:ext cx="12700" cy="1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74" name="Rectangle 337"/>
          <p:cNvSpPr>
            <a:spLocks noChangeArrowheads="1"/>
          </p:cNvSpPr>
          <p:nvPr/>
        </p:nvSpPr>
        <p:spPr bwMode="auto">
          <a:xfrm>
            <a:off x="9146118" y="4948767"/>
            <a:ext cx="10583" cy="1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75" name="Freeform 338"/>
          <p:cNvSpPr>
            <a:spLocks/>
          </p:cNvSpPr>
          <p:nvPr/>
        </p:nvSpPr>
        <p:spPr bwMode="auto">
          <a:xfrm>
            <a:off x="1219201" y="5818718"/>
            <a:ext cx="165100" cy="190500"/>
          </a:xfrm>
          <a:custGeom>
            <a:avLst/>
            <a:gdLst>
              <a:gd name="T0" fmla="*/ 110485531 w 81"/>
              <a:gd name="T1" fmla="*/ 217019605 h 95"/>
              <a:gd name="T2" fmla="*/ 0 w 81"/>
              <a:gd name="T3" fmla="*/ 217019605 h 95"/>
              <a:gd name="T4" fmla="*/ 79925216 w 81"/>
              <a:gd name="T5" fmla="*/ 0 h 95"/>
              <a:gd name="T6" fmla="*/ 190410747 w 81"/>
              <a:gd name="T7" fmla="*/ 0 h 95"/>
              <a:gd name="T8" fmla="*/ 110485531 w 81"/>
              <a:gd name="T9" fmla="*/ 217019605 h 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1" h="95">
                <a:moveTo>
                  <a:pt x="47" y="95"/>
                </a:moveTo>
                <a:lnTo>
                  <a:pt x="0" y="95"/>
                </a:lnTo>
                <a:lnTo>
                  <a:pt x="34" y="0"/>
                </a:lnTo>
                <a:lnTo>
                  <a:pt x="81" y="0"/>
                </a:lnTo>
                <a:lnTo>
                  <a:pt x="47" y="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76" name="Freeform 339"/>
          <p:cNvSpPr>
            <a:spLocks/>
          </p:cNvSpPr>
          <p:nvPr/>
        </p:nvSpPr>
        <p:spPr bwMode="auto">
          <a:xfrm>
            <a:off x="1265767" y="5729818"/>
            <a:ext cx="48684" cy="46567"/>
          </a:xfrm>
          <a:custGeom>
            <a:avLst/>
            <a:gdLst>
              <a:gd name="T0" fmla="*/ 46789888 w 24"/>
              <a:gd name="T1" fmla="*/ 53049557 h 23"/>
              <a:gd name="T2" fmla="*/ 0 w 24"/>
              <a:gd name="T3" fmla="*/ 32290440 h 23"/>
              <a:gd name="T4" fmla="*/ 14037727 w 24"/>
              <a:gd name="T5" fmla="*/ 0 h 23"/>
              <a:gd name="T6" fmla="*/ 56147866 w 24"/>
              <a:gd name="T7" fmla="*/ 25372253 h 23"/>
              <a:gd name="T8" fmla="*/ 46789888 w 24"/>
              <a:gd name="T9" fmla="*/ 53049557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" h="23">
                <a:moveTo>
                  <a:pt x="20" y="23"/>
                </a:moveTo>
                <a:lnTo>
                  <a:pt x="0" y="14"/>
                </a:lnTo>
                <a:lnTo>
                  <a:pt x="6" y="0"/>
                </a:lnTo>
                <a:lnTo>
                  <a:pt x="24" y="11"/>
                </a:lnTo>
                <a:lnTo>
                  <a:pt x="20" y="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77" name="Rectangle 340"/>
          <p:cNvSpPr>
            <a:spLocks noChangeArrowheads="1"/>
          </p:cNvSpPr>
          <p:nvPr/>
        </p:nvSpPr>
        <p:spPr bwMode="auto">
          <a:xfrm>
            <a:off x="1219201" y="6007101"/>
            <a:ext cx="114300" cy="1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78" name="Freeform 341"/>
          <p:cNvSpPr>
            <a:spLocks noEditPoints="1"/>
          </p:cNvSpPr>
          <p:nvPr/>
        </p:nvSpPr>
        <p:spPr bwMode="auto">
          <a:xfrm>
            <a:off x="1348317" y="5803900"/>
            <a:ext cx="135467" cy="78317"/>
          </a:xfrm>
          <a:custGeom>
            <a:avLst/>
            <a:gdLst>
              <a:gd name="T0" fmla="*/ 245220359 w 29"/>
              <a:gd name="T1" fmla="*/ 204681199 h 17"/>
              <a:gd name="T2" fmla="*/ 98089545 w 29"/>
              <a:gd name="T3" fmla="*/ 204681199 h 17"/>
              <a:gd name="T4" fmla="*/ 0 w 29"/>
              <a:gd name="T5" fmla="*/ 96319954 h 17"/>
              <a:gd name="T6" fmla="*/ 98089545 w 29"/>
              <a:gd name="T7" fmla="*/ 0 h 17"/>
              <a:gd name="T8" fmla="*/ 245220359 w 29"/>
              <a:gd name="T9" fmla="*/ 0 h 17"/>
              <a:gd name="T10" fmla="*/ 355568469 w 29"/>
              <a:gd name="T11" fmla="*/ 96319954 h 17"/>
              <a:gd name="T12" fmla="*/ 245220359 w 29"/>
              <a:gd name="T13" fmla="*/ 204681199 h 17"/>
              <a:gd name="T14" fmla="*/ 98089545 w 29"/>
              <a:gd name="T15" fmla="*/ 36120415 h 17"/>
              <a:gd name="T16" fmla="*/ 36782703 w 29"/>
              <a:gd name="T17" fmla="*/ 96319954 h 17"/>
              <a:gd name="T18" fmla="*/ 98089545 w 29"/>
              <a:gd name="T19" fmla="*/ 168560784 h 17"/>
              <a:gd name="T20" fmla="*/ 245220359 w 29"/>
              <a:gd name="T21" fmla="*/ 168560784 h 17"/>
              <a:gd name="T22" fmla="*/ 318785766 w 29"/>
              <a:gd name="T23" fmla="*/ 96319954 h 17"/>
              <a:gd name="T24" fmla="*/ 245220359 w 29"/>
              <a:gd name="T25" fmla="*/ 36120415 h 17"/>
              <a:gd name="T26" fmla="*/ 98089545 w 29"/>
              <a:gd name="T27" fmla="*/ 36120415 h 1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9" h="17">
                <a:moveTo>
                  <a:pt x="20" y="17"/>
                </a:moveTo>
                <a:cubicBezTo>
                  <a:pt x="8" y="17"/>
                  <a:pt x="8" y="17"/>
                  <a:pt x="8" y="17"/>
                </a:cubicBezTo>
                <a:cubicBezTo>
                  <a:pt x="4" y="17"/>
                  <a:pt x="0" y="13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5" y="0"/>
                  <a:pt x="29" y="4"/>
                  <a:pt x="29" y="8"/>
                </a:cubicBezTo>
                <a:cubicBezTo>
                  <a:pt x="29" y="13"/>
                  <a:pt x="25" y="17"/>
                  <a:pt x="20" y="17"/>
                </a:cubicBezTo>
                <a:close/>
                <a:moveTo>
                  <a:pt x="8" y="3"/>
                </a:moveTo>
                <a:cubicBezTo>
                  <a:pt x="5" y="3"/>
                  <a:pt x="3" y="5"/>
                  <a:pt x="3" y="8"/>
                </a:cubicBezTo>
                <a:cubicBezTo>
                  <a:pt x="3" y="12"/>
                  <a:pt x="5" y="14"/>
                  <a:pt x="8" y="14"/>
                </a:cubicBezTo>
                <a:cubicBezTo>
                  <a:pt x="20" y="14"/>
                  <a:pt x="20" y="14"/>
                  <a:pt x="20" y="14"/>
                </a:cubicBezTo>
                <a:cubicBezTo>
                  <a:pt x="23" y="14"/>
                  <a:pt x="26" y="12"/>
                  <a:pt x="26" y="8"/>
                </a:cubicBezTo>
                <a:cubicBezTo>
                  <a:pt x="26" y="5"/>
                  <a:pt x="23" y="3"/>
                  <a:pt x="20" y="3"/>
                </a:cubicBezTo>
                <a:lnTo>
                  <a:pt x="8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79" name="Rectangle 342"/>
          <p:cNvSpPr>
            <a:spLocks noChangeArrowheads="1"/>
          </p:cNvSpPr>
          <p:nvPr/>
        </p:nvSpPr>
        <p:spPr bwMode="auto">
          <a:xfrm>
            <a:off x="1325034" y="5702301"/>
            <a:ext cx="88900" cy="232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80" name="Freeform 343"/>
          <p:cNvSpPr>
            <a:spLocks noEditPoints="1"/>
          </p:cNvSpPr>
          <p:nvPr/>
        </p:nvSpPr>
        <p:spPr bwMode="auto">
          <a:xfrm>
            <a:off x="1289051" y="5717117"/>
            <a:ext cx="442383" cy="101600"/>
          </a:xfrm>
          <a:custGeom>
            <a:avLst/>
            <a:gdLst>
              <a:gd name="T0" fmla="*/ 16534052 w 216"/>
              <a:gd name="T1" fmla="*/ 0 h 50"/>
              <a:gd name="T2" fmla="*/ 0 w 216"/>
              <a:gd name="T3" fmla="*/ 115743228 h 50"/>
              <a:gd name="T4" fmla="*/ 510200851 w 216"/>
              <a:gd name="T5" fmla="*/ 115743228 h 50"/>
              <a:gd name="T6" fmla="*/ 510200851 w 216"/>
              <a:gd name="T7" fmla="*/ 0 h 50"/>
              <a:gd name="T8" fmla="*/ 16534052 w 216"/>
              <a:gd name="T9" fmla="*/ 0 h 50"/>
              <a:gd name="T10" fmla="*/ 59050406 w 216"/>
              <a:gd name="T11" fmla="*/ 90280236 h 50"/>
              <a:gd name="T12" fmla="*/ 73223548 w 216"/>
              <a:gd name="T13" fmla="*/ 16204692 h 50"/>
              <a:gd name="T14" fmla="*/ 89757600 w 216"/>
              <a:gd name="T15" fmla="*/ 16204692 h 50"/>
              <a:gd name="T16" fmla="*/ 73223548 w 216"/>
              <a:gd name="T17" fmla="*/ 90280236 h 50"/>
              <a:gd name="T18" fmla="*/ 59050406 w 216"/>
              <a:gd name="T19" fmla="*/ 90280236 h 50"/>
              <a:gd name="T20" fmla="*/ 89757600 w 216"/>
              <a:gd name="T21" fmla="*/ 90280236 h 50"/>
              <a:gd name="T22" fmla="*/ 106291652 w 216"/>
              <a:gd name="T23" fmla="*/ 16204692 h 50"/>
              <a:gd name="T24" fmla="*/ 115739901 w 216"/>
              <a:gd name="T25" fmla="*/ 16204692 h 50"/>
              <a:gd name="T26" fmla="*/ 101568295 w 216"/>
              <a:gd name="T27" fmla="*/ 90280236 h 50"/>
              <a:gd name="T28" fmla="*/ 89757600 w 216"/>
              <a:gd name="T29" fmla="*/ 90280236 h 50"/>
              <a:gd name="T30" fmla="*/ 132273953 w 216"/>
              <a:gd name="T31" fmla="*/ 90280236 h 50"/>
              <a:gd name="T32" fmla="*/ 115739901 w 216"/>
              <a:gd name="T33" fmla="*/ 90280236 h 50"/>
              <a:gd name="T34" fmla="*/ 132273953 w 216"/>
              <a:gd name="T35" fmla="*/ 16204692 h 50"/>
              <a:gd name="T36" fmla="*/ 148808006 w 216"/>
              <a:gd name="T37" fmla="*/ 16204692 h 50"/>
              <a:gd name="T38" fmla="*/ 132273953 w 216"/>
              <a:gd name="T39" fmla="*/ 90280236 h 5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16" h="50">
                <a:moveTo>
                  <a:pt x="7" y="0"/>
                </a:moveTo>
                <a:lnTo>
                  <a:pt x="0" y="50"/>
                </a:lnTo>
                <a:lnTo>
                  <a:pt x="216" y="50"/>
                </a:lnTo>
                <a:lnTo>
                  <a:pt x="216" y="0"/>
                </a:lnTo>
                <a:lnTo>
                  <a:pt x="7" y="0"/>
                </a:lnTo>
                <a:close/>
                <a:moveTo>
                  <a:pt x="25" y="39"/>
                </a:moveTo>
                <a:lnTo>
                  <a:pt x="31" y="7"/>
                </a:lnTo>
                <a:lnTo>
                  <a:pt x="38" y="7"/>
                </a:lnTo>
                <a:lnTo>
                  <a:pt x="31" y="39"/>
                </a:lnTo>
                <a:lnTo>
                  <a:pt x="25" y="39"/>
                </a:lnTo>
                <a:close/>
                <a:moveTo>
                  <a:pt x="38" y="39"/>
                </a:moveTo>
                <a:lnTo>
                  <a:pt x="45" y="7"/>
                </a:lnTo>
                <a:lnTo>
                  <a:pt x="49" y="7"/>
                </a:lnTo>
                <a:lnTo>
                  <a:pt x="43" y="39"/>
                </a:lnTo>
                <a:lnTo>
                  <a:pt x="38" y="39"/>
                </a:lnTo>
                <a:close/>
                <a:moveTo>
                  <a:pt x="56" y="39"/>
                </a:moveTo>
                <a:lnTo>
                  <a:pt x="49" y="39"/>
                </a:lnTo>
                <a:lnTo>
                  <a:pt x="56" y="7"/>
                </a:lnTo>
                <a:lnTo>
                  <a:pt x="63" y="7"/>
                </a:lnTo>
                <a:lnTo>
                  <a:pt x="56" y="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81" name="Freeform 344"/>
          <p:cNvSpPr>
            <a:spLocks/>
          </p:cNvSpPr>
          <p:nvPr/>
        </p:nvSpPr>
        <p:spPr bwMode="auto">
          <a:xfrm>
            <a:off x="1418167" y="5810251"/>
            <a:ext cx="21167" cy="50800"/>
          </a:xfrm>
          <a:custGeom>
            <a:avLst/>
            <a:gdLst>
              <a:gd name="T0" fmla="*/ 42967275 w 5"/>
              <a:gd name="T1" fmla="*/ 131528127 h 11"/>
              <a:gd name="T2" fmla="*/ 0 w 5"/>
              <a:gd name="T3" fmla="*/ 0 h 11"/>
              <a:gd name="T4" fmla="*/ 32226250 w 5"/>
              <a:gd name="T5" fmla="*/ 0 h 11"/>
              <a:gd name="T6" fmla="*/ 10741025 w 5"/>
              <a:gd name="T7" fmla="*/ 0 h 11"/>
              <a:gd name="T8" fmla="*/ 32226250 w 5"/>
              <a:gd name="T9" fmla="*/ 0 h 11"/>
              <a:gd name="T10" fmla="*/ 53708300 w 5"/>
              <a:gd name="T11" fmla="*/ 83698773 h 11"/>
              <a:gd name="T12" fmla="*/ 42967275 w 5"/>
              <a:gd name="T13" fmla="*/ 131528127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11">
                <a:moveTo>
                  <a:pt x="4" y="11"/>
                </a:moveTo>
                <a:cubicBezTo>
                  <a:pt x="0" y="7"/>
                  <a:pt x="0" y="0"/>
                  <a:pt x="0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1" y="0"/>
                  <a:pt x="1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0"/>
                  <a:pt x="2" y="5"/>
                  <a:pt x="5" y="7"/>
                </a:cubicBezTo>
                <a:lnTo>
                  <a:pt x="4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82" name="Rectangle 345"/>
          <p:cNvSpPr>
            <a:spLocks noChangeArrowheads="1"/>
          </p:cNvSpPr>
          <p:nvPr/>
        </p:nvSpPr>
        <p:spPr bwMode="auto">
          <a:xfrm>
            <a:off x="1718733" y="5740401"/>
            <a:ext cx="19051" cy="317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83" name="Freeform 346"/>
          <p:cNvSpPr>
            <a:spLocks/>
          </p:cNvSpPr>
          <p:nvPr/>
        </p:nvSpPr>
        <p:spPr bwMode="auto">
          <a:xfrm>
            <a:off x="2250018" y="5918200"/>
            <a:ext cx="143933" cy="137584"/>
          </a:xfrm>
          <a:custGeom>
            <a:avLst/>
            <a:gdLst>
              <a:gd name="T0" fmla="*/ 52170693 w 70"/>
              <a:gd name="T1" fmla="*/ 156736502 h 68"/>
              <a:gd name="T2" fmla="*/ 165999341 w 70"/>
              <a:gd name="T3" fmla="*/ 53014352 h 68"/>
              <a:gd name="T4" fmla="*/ 111456833 w 70"/>
              <a:gd name="T5" fmla="*/ 0 h 68"/>
              <a:gd name="T6" fmla="*/ 0 w 70"/>
              <a:gd name="T7" fmla="*/ 103722150 h 68"/>
              <a:gd name="T8" fmla="*/ 52170693 w 70"/>
              <a:gd name="T9" fmla="*/ 15673650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68">
                <a:moveTo>
                  <a:pt x="22" y="68"/>
                </a:moveTo>
                <a:lnTo>
                  <a:pt x="70" y="23"/>
                </a:lnTo>
                <a:lnTo>
                  <a:pt x="47" y="0"/>
                </a:lnTo>
                <a:lnTo>
                  <a:pt x="0" y="45"/>
                </a:lnTo>
                <a:lnTo>
                  <a:pt x="22" y="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84" name="Freeform 347"/>
          <p:cNvSpPr>
            <a:spLocks noEditPoints="1"/>
          </p:cNvSpPr>
          <p:nvPr/>
        </p:nvSpPr>
        <p:spPr bwMode="auto">
          <a:xfrm>
            <a:off x="2364318" y="5679017"/>
            <a:ext cx="245533" cy="262467"/>
          </a:xfrm>
          <a:custGeom>
            <a:avLst/>
            <a:gdLst>
              <a:gd name="T0" fmla="*/ 0 w 53"/>
              <a:gd name="T1" fmla="*/ 581719378 h 57"/>
              <a:gd name="T2" fmla="*/ 96776037 w 53"/>
              <a:gd name="T3" fmla="*/ 676694323 h 57"/>
              <a:gd name="T4" fmla="*/ 362914481 w 53"/>
              <a:gd name="T5" fmla="*/ 415512361 h 57"/>
              <a:gd name="T6" fmla="*/ 580663170 w 53"/>
              <a:gd name="T7" fmla="*/ 0 h 57"/>
              <a:gd name="T8" fmla="*/ 0 w 53"/>
              <a:gd name="T9" fmla="*/ 581719378 h 57"/>
              <a:gd name="T10" fmla="*/ 120972652 w 53"/>
              <a:gd name="T11" fmla="*/ 617335414 h 57"/>
              <a:gd name="T12" fmla="*/ 169358933 w 53"/>
              <a:gd name="T13" fmla="*/ 546103342 h 57"/>
              <a:gd name="T14" fmla="*/ 229846996 w 53"/>
              <a:gd name="T15" fmla="*/ 474874724 h 57"/>
              <a:gd name="T16" fmla="*/ 350816174 w 53"/>
              <a:gd name="T17" fmla="*/ 344283743 h 57"/>
              <a:gd name="T18" fmla="*/ 471788825 w 53"/>
              <a:gd name="T19" fmla="*/ 213692762 h 57"/>
              <a:gd name="T20" fmla="*/ 568564862 w 53"/>
              <a:gd name="T21" fmla="*/ 71232072 h 57"/>
              <a:gd name="T22" fmla="*/ 568564862 w 53"/>
              <a:gd name="T23" fmla="*/ 71232072 h 57"/>
              <a:gd name="T24" fmla="*/ 483883658 w 53"/>
              <a:gd name="T25" fmla="*/ 225565925 h 57"/>
              <a:gd name="T26" fmla="*/ 375009314 w 53"/>
              <a:gd name="T27" fmla="*/ 368026616 h 57"/>
              <a:gd name="T28" fmla="*/ 254040137 w 53"/>
              <a:gd name="T29" fmla="*/ 498617596 h 57"/>
              <a:gd name="T30" fmla="*/ 120972652 w 53"/>
              <a:gd name="T31" fmla="*/ 617335414 h 5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7">
                <a:moveTo>
                  <a:pt x="0" y="49"/>
                </a:moveTo>
                <a:cubicBezTo>
                  <a:pt x="8" y="57"/>
                  <a:pt x="8" y="57"/>
                  <a:pt x="8" y="57"/>
                </a:cubicBezTo>
                <a:cubicBezTo>
                  <a:pt x="30" y="35"/>
                  <a:pt x="30" y="35"/>
                  <a:pt x="30" y="35"/>
                </a:cubicBezTo>
                <a:cubicBezTo>
                  <a:pt x="53" y="9"/>
                  <a:pt x="48" y="0"/>
                  <a:pt x="48" y="0"/>
                </a:cubicBezTo>
                <a:lnTo>
                  <a:pt x="0" y="49"/>
                </a:lnTo>
                <a:close/>
                <a:moveTo>
                  <a:pt x="10" y="52"/>
                </a:moveTo>
                <a:cubicBezTo>
                  <a:pt x="11" y="50"/>
                  <a:pt x="13" y="48"/>
                  <a:pt x="14" y="46"/>
                </a:cubicBezTo>
                <a:cubicBezTo>
                  <a:pt x="19" y="40"/>
                  <a:pt x="19" y="40"/>
                  <a:pt x="19" y="40"/>
                </a:cubicBezTo>
                <a:cubicBezTo>
                  <a:pt x="23" y="37"/>
                  <a:pt x="26" y="33"/>
                  <a:pt x="29" y="29"/>
                </a:cubicBezTo>
                <a:cubicBezTo>
                  <a:pt x="33" y="26"/>
                  <a:pt x="36" y="22"/>
                  <a:pt x="39" y="18"/>
                </a:cubicBezTo>
                <a:cubicBezTo>
                  <a:pt x="41" y="14"/>
                  <a:pt x="44" y="10"/>
                  <a:pt x="47" y="6"/>
                </a:cubicBezTo>
                <a:cubicBezTo>
                  <a:pt x="47" y="6"/>
                  <a:pt x="47" y="6"/>
                  <a:pt x="47" y="6"/>
                </a:cubicBezTo>
                <a:cubicBezTo>
                  <a:pt x="45" y="10"/>
                  <a:pt x="43" y="15"/>
                  <a:pt x="40" y="19"/>
                </a:cubicBezTo>
                <a:cubicBezTo>
                  <a:pt x="38" y="23"/>
                  <a:pt x="35" y="27"/>
                  <a:pt x="31" y="31"/>
                </a:cubicBezTo>
                <a:cubicBezTo>
                  <a:pt x="28" y="35"/>
                  <a:pt x="24" y="38"/>
                  <a:pt x="21" y="42"/>
                </a:cubicBezTo>
                <a:cubicBezTo>
                  <a:pt x="10" y="52"/>
                  <a:pt x="10" y="52"/>
                  <a:pt x="10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85" name="Freeform 348"/>
          <p:cNvSpPr>
            <a:spLocks/>
          </p:cNvSpPr>
          <p:nvPr/>
        </p:nvSpPr>
        <p:spPr bwMode="auto">
          <a:xfrm>
            <a:off x="2332567" y="5890685"/>
            <a:ext cx="86784" cy="86783"/>
          </a:xfrm>
          <a:custGeom>
            <a:avLst/>
            <a:gdLst>
              <a:gd name="T0" fmla="*/ 86123533 w 43"/>
              <a:gd name="T1" fmla="*/ 98864126 h 43"/>
              <a:gd name="T2" fmla="*/ 100088694 w 43"/>
              <a:gd name="T3" fmla="*/ 85068709 h 43"/>
              <a:gd name="T4" fmla="*/ 16293191 w 43"/>
              <a:gd name="T5" fmla="*/ 0 h 43"/>
              <a:gd name="T6" fmla="*/ 0 w 43"/>
              <a:gd name="T7" fmla="*/ 16094653 h 43"/>
              <a:gd name="T8" fmla="*/ 86123533 w 43"/>
              <a:gd name="T9" fmla="*/ 98864126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3" h="43">
                <a:moveTo>
                  <a:pt x="37" y="43"/>
                </a:moveTo>
                <a:lnTo>
                  <a:pt x="43" y="37"/>
                </a:lnTo>
                <a:lnTo>
                  <a:pt x="7" y="0"/>
                </a:lnTo>
                <a:lnTo>
                  <a:pt x="0" y="7"/>
                </a:lnTo>
                <a:lnTo>
                  <a:pt x="37" y="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86" name="Rectangle 349"/>
          <p:cNvSpPr>
            <a:spLocks noChangeArrowheads="1"/>
          </p:cNvSpPr>
          <p:nvPr/>
        </p:nvSpPr>
        <p:spPr bwMode="auto">
          <a:xfrm>
            <a:off x="3304118" y="5693833"/>
            <a:ext cx="143933" cy="1778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87" name="Freeform 350"/>
          <p:cNvSpPr>
            <a:spLocks/>
          </p:cNvSpPr>
          <p:nvPr/>
        </p:nvSpPr>
        <p:spPr bwMode="auto">
          <a:xfrm>
            <a:off x="3234267" y="5767918"/>
            <a:ext cx="287867" cy="247649"/>
          </a:xfrm>
          <a:custGeom>
            <a:avLst/>
            <a:gdLst>
              <a:gd name="T0" fmla="*/ 737580563 w 62"/>
              <a:gd name="T1" fmla="*/ 428412709 h 54"/>
              <a:gd name="T2" fmla="*/ 749670963 w 62"/>
              <a:gd name="T3" fmla="*/ 416511783 h 54"/>
              <a:gd name="T4" fmla="*/ 374837223 w 62"/>
              <a:gd name="T5" fmla="*/ 0 h 54"/>
              <a:gd name="T6" fmla="*/ 0 w 62"/>
              <a:gd name="T7" fmla="*/ 416511783 h 54"/>
              <a:gd name="T8" fmla="*/ 12090400 w 62"/>
              <a:gd name="T9" fmla="*/ 428412709 h 54"/>
              <a:gd name="T10" fmla="*/ 737580563 w 62"/>
              <a:gd name="T11" fmla="*/ 428412709 h 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2" h="54">
                <a:moveTo>
                  <a:pt x="61" y="36"/>
                </a:moveTo>
                <a:cubicBezTo>
                  <a:pt x="61" y="36"/>
                  <a:pt x="62" y="35"/>
                  <a:pt x="62" y="35"/>
                </a:cubicBezTo>
                <a:cubicBezTo>
                  <a:pt x="62" y="15"/>
                  <a:pt x="48" y="0"/>
                  <a:pt x="31" y="0"/>
                </a:cubicBezTo>
                <a:cubicBezTo>
                  <a:pt x="14" y="0"/>
                  <a:pt x="0" y="15"/>
                  <a:pt x="0" y="35"/>
                </a:cubicBezTo>
                <a:cubicBezTo>
                  <a:pt x="0" y="36"/>
                  <a:pt x="1" y="36"/>
                  <a:pt x="1" y="36"/>
                </a:cubicBezTo>
                <a:cubicBezTo>
                  <a:pt x="1" y="36"/>
                  <a:pt x="31" y="54"/>
                  <a:pt x="61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88" name="Freeform 351"/>
          <p:cNvSpPr>
            <a:spLocks/>
          </p:cNvSpPr>
          <p:nvPr/>
        </p:nvSpPr>
        <p:spPr bwMode="auto">
          <a:xfrm>
            <a:off x="3234268" y="5947833"/>
            <a:ext cx="283633" cy="137584"/>
          </a:xfrm>
          <a:custGeom>
            <a:avLst/>
            <a:gdLst>
              <a:gd name="T0" fmla="*/ 388212663 w 61"/>
              <a:gd name="T1" fmla="*/ 94736903 h 30"/>
              <a:gd name="T2" fmla="*/ 0 w 61"/>
              <a:gd name="T3" fmla="*/ 0 h 30"/>
              <a:gd name="T4" fmla="*/ 376080364 w 61"/>
              <a:gd name="T5" fmla="*/ 355269405 h 30"/>
              <a:gd name="T6" fmla="*/ 740031915 w 61"/>
              <a:gd name="T7" fmla="*/ 0 h 30"/>
              <a:gd name="T8" fmla="*/ 388212663 w 61"/>
              <a:gd name="T9" fmla="*/ 94736903 h 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1" h="30">
                <a:moveTo>
                  <a:pt x="32" y="8"/>
                </a:moveTo>
                <a:cubicBezTo>
                  <a:pt x="16" y="8"/>
                  <a:pt x="4" y="2"/>
                  <a:pt x="0" y="0"/>
                </a:cubicBezTo>
                <a:cubicBezTo>
                  <a:pt x="2" y="17"/>
                  <a:pt x="15" y="30"/>
                  <a:pt x="31" y="30"/>
                </a:cubicBezTo>
                <a:cubicBezTo>
                  <a:pt x="46" y="30"/>
                  <a:pt x="59" y="17"/>
                  <a:pt x="61" y="0"/>
                </a:cubicBezTo>
                <a:cubicBezTo>
                  <a:pt x="51" y="6"/>
                  <a:pt x="41" y="8"/>
                  <a:pt x="32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89" name="Rectangle 352"/>
          <p:cNvSpPr>
            <a:spLocks noChangeArrowheads="1"/>
          </p:cNvSpPr>
          <p:nvPr/>
        </p:nvSpPr>
        <p:spPr bwMode="auto">
          <a:xfrm>
            <a:off x="3344334" y="5662085"/>
            <a:ext cx="116417" cy="211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90" name="Freeform 353"/>
          <p:cNvSpPr>
            <a:spLocks/>
          </p:cNvSpPr>
          <p:nvPr/>
        </p:nvSpPr>
        <p:spPr bwMode="auto">
          <a:xfrm>
            <a:off x="3433234" y="5666317"/>
            <a:ext cx="105833" cy="160867"/>
          </a:xfrm>
          <a:custGeom>
            <a:avLst/>
            <a:gdLst>
              <a:gd name="T0" fmla="*/ 122057380 w 52"/>
              <a:gd name="T1" fmla="*/ 167225424 h 80"/>
              <a:gd name="T2" fmla="*/ 89196130 w 52"/>
              <a:gd name="T3" fmla="*/ 183261318 h 80"/>
              <a:gd name="T4" fmla="*/ 0 w 52"/>
              <a:gd name="T5" fmla="*/ 16035893 h 80"/>
              <a:gd name="T6" fmla="*/ 25819772 w 52"/>
              <a:gd name="T7" fmla="*/ 0 h 80"/>
              <a:gd name="T8" fmla="*/ 122057380 w 52"/>
              <a:gd name="T9" fmla="*/ 167225424 h 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2" h="80">
                <a:moveTo>
                  <a:pt x="52" y="73"/>
                </a:moveTo>
                <a:lnTo>
                  <a:pt x="38" y="80"/>
                </a:lnTo>
                <a:lnTo>
                  <a:pt x="0" y="7"/>
                </a:lnTo>
                <a:lnTo>
                  <a:pt x="11" y="0"/>
                </a:lnTo>
                <a:lnTo>
                  <a:pt x="52" y="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91" name="Freeform 354"/>
          <p:cNvSpPr>
            <a:spLocks noEditPoints="1"/>
          </p:cNvSpPr>
          <p:nvPr/>
        </p:nvSpPr>
        <p:spPr bwMode="auto">
          <a:xfrm>
            <a:off x="3348567" y="5632451"/>
            <a:ext cx="107951" cy="107949"/>
          </a:xfrm>
          <a:custGeom>
            <a:avLst/>
            <a:gdLst>
              <a:gd name="T0" fmla="*/ 146856322 w 23"/>
              <a:gd name="T1" fmla="*/ 283384600 h 23"/>
              <a:gd name="T2" fmla="*/ 0 w 23"/>
              <a:gd name="T3" fmla="*/ 135530388 h 23"/>
              <a:gd name="T4" fmla="*/ 146856322 w 23"/>
              <a:gd name="T5" fmla="*/ 0 h 23"/>
              <a:gd name="T6" fmla="*/ 281476670 w 23"/>
              <a:gd name="T7" fmla="*/ 135530388 h 23"/>
              <a:gd name="T8" fmla="*/ 146856322 w 23"/>
              <a:gd name="T9" fmla="*/ 283384600 h 23"/>
              <a:gd name="T10" fmla="*/ 146856322 w 23"/>
              <a:gd name="T11" fmla="*/ 12320304 h 23"/>
              <a:gd name="T12" fmla="*/ 12239494 w 23"/>
              <a:gd name="T13" fmla="*/ 135530388 h 23"/>
              <a:gd name="T14" fmla="*/ 146856322 w 23"/>
              <a:gd name="T15" fmla="*/ 258743992 h 23"/>
              <a:gd name="T16" fmla="*/ 269237176 w 23"/>
              <a:gd name="T17" fmla="*/ 135530388 h 23"/>
              <a:gd name="T18" fmla="*/ 146856322 w 23"/>
              <a:gd name="T19" fmla="*/ 12320304 h 2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3" h="23">
                <a:moveTo>
                  <a:pt x="12" y="23"/>
                </a:moveTo>
                <a:cubicBezTo>
                  <a:pt x="5" y="23"/>
                  <a:pt x="0" y="18"/>
                  <a:pt x="0" y="11"/>
                </a:cubicBezTo>
                <a:cubicBezTo>
                  <a:pt x="0" y="5"/>
                  <a:pt x="5" y="0"/>
                  <a:pt x="12" y="0"/>
                </a:cubicBezTo>
                <a:cubicBezTo>
                  <a:pt x="18" y="0"/>
                  <a:pt x="23" y="5"/>
                  <a:pt x="23" y="11"/>
                </a:cubicBezTo>
                <a:cubicBezTo>
                  <a:pt x="23" y="18"/>
                  <a:pt x="18" y="23"/>
                  <a:pt x="12" y="23"/>
                </a:cubicBezTo>
                <a:close/>
                <a:moveTo>
                  <a:pt x="12" y="1"/>
                </a:moveTo>
                <a:cubicBezTo>
                  <a:pt x="6" y="1"/>
                  <a:pt x="1" y="6"/>
                  <a:pt x="1" y="11"/>
                </a:cubicBezTo>
                <a:cubicBezTo>
                  <a:pt x="1" y="17"/>
                  <a:pt x="6" y="21"/>
                  <a:pt x="12" y="21"/>
                </a:cubicBezTo>
                <a:cubicBezTo>
                  <a:pt x="17" y="21"/>
                  <a:pt x="22" y="17"/>
                  <a:pt x="22" y="11"/>
                </a:cubicBezTo>
                <a:cubicBezTo>
                  <a:pt x="22" y="6"/>
                  <a:pt x="17" y="1"/>
                  <a:pt x="12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92" name="Rectangle 355"/>
          <p:cNvSpPr>
            <a:spLocks noChangeArrowheads="1"/>
          </p:cNvSpPr>
          <p:nvPr/>
        </p:nvSpPr>
        <p:spPr bwMode="auto">
          <a:xfrm>
            <a:off x="4135968" y="5683251"/>
            <a:ext cx="309033" cy="931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93" name="Freeform 356"/>
          <p:cNvSpPr>
            <a:spLocks/>
          </p:cNvSpPr>
          <p:nvPr/>
        </p:nvSpPr>
        <p:spPr bwMode="auto">
          <a:xfrm>
            <a:off x="4269318" y="5643033"/>
            <a:ext cx="42333" cy="86784"/>
          </a:xfrm>
          <a:custGeom>
            <a:avLst/>
            <a:gdLst>
              <a:gd name="T0" fmla="*/ 113922528 w 9"/>
              <a:gd name="T1" fmla="*/ 164867904 h 19"/>
              <a:gd name="T2" fmla="*/ 50630667 w 9"/>
              <a:gd name="T3" fmla="*/ 223748564 h 19"/>
              <a:gd name="T4" fmla="*/ 0 w 9"/>
              <a:gd name="T5" fmla="*/ 164867904 h 19"/>
              <a:gd name="T6" fmla="*/ 0 w 9"/>
              <a:gd name="T7" fmla="*/ 47106584 h 19"/>
              <a:gd name="T8" fmla="*/ 50630667 w 9"/>
              <a:gd name="T9" fmla="*/ 0 h 19"/>
              <a:gd name="T10" fmla="*/ 113922528 w 9"/>
              <a:gd name="T11" fmla="*/ 47106584 h 19"/>
              <a:gd name="T12" fmla="*/ 113922528 w 9"/>
              <a:gd name="T13" fmla="*/ 164867904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" h="19">
                <a:moveTo>
                  <a:pt x="9" y="14"/>
                </a:moveTo>
                <a:cubicBezTo>
                  <a:pt x="9" y="17"/>
                  <a:pt x="7" y="19"/>
                  <a:pt x="4" y="19"/>
                </a:cubicBezTo>
                <a:cubicBezTo>
                  <a:pt x="2" y="19"/>
                  <a:pt x="0" y="17"/>
                  <a:pt x="0" y="14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7" y="0"/>
                  <a:pt x="9" y="2"/>
                  <a:pt x="9" y="4"/>
                </a:cubicBezTo>
                <a:lnTo>
                  <a:pt x="9" y="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94" name="Freeform 357"/>
          <p:cNvSpPr>
            <a:spLocks/>
          </p:cNvSpPr>
          <p:nvPr/>
        </p:nvSpPr>
        <p:spPr bwMode="auto">
          <a:xfrm>
            <a:off x="4199467" y="5744634"/>
            <a:ext cx="179917" cy="184151"/>
          </a:xfrm>
          <a:custGeom>
            <a:avLst/>
            <a:gdLst>
              <a:gd name="T0" fmla="*/ 468203720 w 39"/>
              <a:gd name="T1" fmla="*/ 477263283 h 40"/>
              <a:gd name="T2" fmla="*/ 228100579 w 39"/>
              <a:gd name="T3" fmla="*/ 0 h 40"/>
              <a:gd name="T4" fmla="*/ 0 w 39"/>
              <a:gd name="T5" fmla="*/ 477263283 h 40"/>
              <a:gd name="T6" fmla="*/ 0 w 39"/>
              <a:gd name="T7" fmla="*/ 477263283 h 40"/>
              <a:gd name="T8" fmla="*/ 468203720 w 39"/>
              <a:gd name="T9" fmla="*/ 477263283 h 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9" h="40">
                <a:moveTo>
                  <a:pt x="39" y="40"/>
                </a:moveTo>
                <a:cubicBezTo>
                  <a:pt x="39" y="18"/>
                  <a:pt x="30" y="0"/>
                  <a:pt x="19" y="0"/>
                </a:cubicBezTo>
                <a:cubicBezTo>
                  <a:pt x="9" y="0"/>
                  <a:pt x="0" y="18"/>
                  <a:pt x="0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39" y="40"/>
                  <a:pt x="39" y="40"/>
                  <a:pt x="39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95" name="Freeform 358"/>
          <p:cNvSpPr>
            <a:spLocks/>
          </p:cNvSpPr>
          <p:nvPr/>
        </p:nvSpPr>
        <p:spPr bwMode="auto">
          <a:xfrm>
            <a:off x="4199467" y="5941485"/>
            <a:ext cx="179917" cy="165100"/>
          </a:xfrm>
          <a:custGeom>
            <a:avLst/>
            <a:gdLst>
              <a:gd name="T0" fmla="*/ 0 w 39"/>
              <a:gd name="T1" fmla="*/ 0 h 36"/>
              <a:gd name="T2" fmla="*/ 228100579 w 39"/>
              <a:gd name="T3" fmla="*/ 428413863 h 36"/>
              <a:gd name="T4" fmla="*/ 468203720 w 39"/>
              <a:gd name="T5" fmla="*/ 0 h 36"/>
              <a:gd name="T6" fmla="*/ 0 w 39"/>
              <a:gd name="T7" fmla="*/ 0 h 3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39" h="36">
                <a:moveTo>
                  <a:pt x="0" y="0"/>
                </a:moveTo>
                <a:cubicBezTo>
                  <a:pt x="0" y="22"/>
                  <a:pt x="9" y="36"/>
                  <a:pt x="19" y="36"/>
                </a:cubicBezTo>
                <a:cubicBezTo>
                  <a:pt x="30" y="36"/>
                  <a:pt x="39" y="22"/>
                  <a:pt x="39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96" name="Rectangle 359"/>
          <p:cNvSpPr>
            <a:spLocks noChangeArrowheads="1"/>
          </p:cNvSpPr>
          <p:nvPr/>
        </p:nvSpPr>
        <p:spPr bwMode="auto">
          <a:xfrm>
            <a:off x="4288367" y="5651500"/>
            <a:ext cx="74084" cy="105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97" name="Rectangle 360"/>
          <p:cNvSpPr>
            <a:spLocks noChangeArrowheads="1"/>
          </p:cNvSpPr>
          <p:nvPr/>
        </p:nvSpPr>
        <p:spPr bwMode="auto">
          <a:xfrm>
            <a:off x="4218518" y="5651500"/>
            <a:ext cx="69849" cy="105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698" name="Freeform 361"/>
          <p:cNvSpPr>
            <a:spLocks/>
          </p:cNvSpPr>
          <p:nvPr/>
        </p:nvSpPr>
        <p:spPr bwMode="auto">
          <a:xfrm>
            <a:off x="4961468" y="5621867"/>
            <a:ext cx="334433" cy="325967"/>
          </a:xfrm>
          <a:custGeom>
            <a:avLst/>
            <a:gdLst>
              <a:gd name="T0" fmla="*/ 385704220 w 163"/>
              <a:gd name="T1" fmla="*/ 13839411 h 161"/>
              <a:gd name="T2" fmla="*/ 21297043 w 163"/>
              <a:gd name="T3" fmla="*/ 371345377 h 161"/>
              <a:gd name="T4" fmla="*/ 0 w 163"/>
              <a:gd name="T5" fmla="*/ 350586261 h 161"/>
              <a:gd name="T6" fmla="*/ 364407177 w 163"/>
              <a:gd name="T7" fmla="*/ 0 h 161"/>
              <a:gd name="T8" fmla="*/ 385704220 w 163"/>
              <a:gd name="T9" fmla="*/ 13839411 h 16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3" h="161">
                <a:moveTo>
                  <a:pt x="163" y="6"/>
                </a:moveTo>
                <a:lnTo>
                  <a:pt x="9" y="161"/>
                </a:lnTo>
                <a:lnTo>
                  <a:pt x="0" y="152"/>
                </a:lnTo>
                <a:lnTo>
                  <a:pt x="154" y="0"/>
                </a:lnTo>
                <a:lnTo>
                  <a:pt x="163" y="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699" name="Freeform 362"/>
          <p:cNvSpPr>
            <a:spLocks/>
          </p:cNvSpPr>
          <p:nvPr/>
        </p:nvSpPr>
        <p:spPr bwMode="auto">
          <a:xfrm>
            <a:off x="4830234" y="5839885"/>
            <a:ext cx="245533" cy="275167"/>
          </a:xfrm>
          <a:custGeom>
            <a:avLst/>
            <a:gdLst>
              <a:gd name="T0" fmla="*/ 580663170 w 53"/>
              <a:gd name="T1" fmla="*/ 0 h 60"/>
              <a:gd name="T2" fmla="*/ 302429892 w 53"/>
              <a:gd name="T3" fmla="*/ 272373725 h 60"/>
              <a:gd name="T4" fmla="*/ 278233277 w 53"/>
              <a:gd name="T5" fmla="*/ 284216210 h 60"/>
              <a:gd name="T6" fmla="*/ 278233277 w 53"/>
              <a:gd name="T7" fmla="*/ 355271123 h 60"/>
              <a:gd name="T8" fmla="*/ 217748689 w 53"/>
              <a:gd name="T9" fmla="*/ 355271123 h 60"/>
              <a:gd name="T10" fmla="*/ 0 w 53"/>
              <a:gd name="T11" fmla="*/ 568432421 h 60"/>
              <a:gd name="T12" fmla="*/ 145165792 w 53"/>
              <a:gd name="T13" fmla="*/ 710538806 h 60"/>
              <a:gd name="T14" fmla="*/ 411300762 w 53"/>
              <a:gd name="T15" fmla="*/ 378952654 h 60"/>
              <a:gd name="T16" fmla="*/ 483883658 w 53"/>
              <a:gd name="T17" fmla="*/ 343428638 h 60"/>
              <a:gd name="T18" fmla="*/ 447592210 w 53"/>
              <a:gd name="T19" fmla="*/ 260531240 h 60"/>
              <a:gd name="T20" fmla="*/ 544371722 w 53"/>
              <a:gd name="T21" fmla="*/ 165791356 h 60"/>
              <a:gd name="T22" fmla="*/ 580663170 w 53"/>
              <a:gd name="T23" fmla="*/ 177633842 h 60"/>
              <a:gd name="T24" fmla="*/ 641147758 w 53"/>
              <a:gd name="T25" fmla="*/ 59212427 h 60"/>
              <a:gd name="T26" fmla="*/ 580663170 w 53"/>
              <a:gd name="T27" fmla="*/ 0 h 6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60">
                <a:moveTo>
                  <a:pt x="48" y="0"/>
                </a:moveTo>
                <a:cubicBezTo>
                  <a:pt x="25" y="23"/>
                  <a:pt x="25" y="23"/>
                  <a:pt x="25" y="23"/>
                </a:cubicBezTo>
                <a:cubicBezTo>
                  <a:pt x="23" y="24"/>
                  <a:pt x="23" y="24"/>
                  <a:pt x="23" y="24"/>
                </a:cubicBezTo>
                <a:cubicBezTo>
                  <a:pt x="23" y="30"/>
                  <a:pt x="23" y="30"/>
                  <a:pt x="23" y="30"/>
                </a:cubicBezTo>
                <a:cubicBezTo>
                  <a:pt x="23" y="30"/>
                  <a:pt x="20" y="27"/>
                  <a:pt x="18" y="30"/>
                </a:cubicBezTo>
                <a:cubicBezTo>
                  <a:pt x="15" y="33"/>
                  <a:pt x="0" y="48"/>
                  <a:pt x="0" y="48"/>
                </a:cubicBezTo>
                <a:cubicBezTo>
                  <a:pt x="12" y="60"/>
                  <a:pt x="12" y="60"/>
                  <a:pt x="12" y="60"/>
                </a:cubicBezTo>
                <a:cubicBezTo>
                  <a:pt x="34" y="32"/>
                  <a:pt x="34" y="32"/>
                  <a:pt x="34" y="32"/>
                </a:cubicBezTo>
                <a:cubicBezTo>
                  <a:pt x="40" y="29"/>
                  <a:pt x="40" y="29"/>
                  <a:pt x="40" y="29"/>
                </a:cubicBezTo>
                <a:cubicBezTo>
                  <a:pt x="38" y="27"/>
                  <a:pt x="37" y="25"/>
                  <a:pt x="37" y="22"/>
                </a:cubicBezTo>
                <a:cubicBezTo>
                  <a:pt x="38" y="17"/>
                  <a:pt x="41" y="14"/>
                  <a:pt x="45" y="14"/>
                </a:cubicBezTo>
                <a:cubicBezTo>
                  <a:pt x="46" y="14"/>
                  <a:pt x="47" y="15"/>
                  <a:pt x="48" y="15"/>
                </a:cubicBezTo>
                <a:cubicBezTo>
                  <a:pt x="53" y="5"/>
                  <a:pt x="53" y="5"/>
                  <a:pt x="53" y="5"/>
                </a:cubicBezTo>
                <a:lnTo>
                  <a:pt x="4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00" name="Freeform 363"/>
          <p:cNvSpPr>
            <a:spLocks/>
          </p:cNvSpPr>
          <p:nvPr/>
        </p:nvSpPr>
        <p:spPr bwMode="auto">
          <a:xfrm>
            <a:off x="5005918" y="5905500"/>
            <a:ext cx="31749" cy="67733"/>
          </a:xfrm>
          <a:custGeom>
            <a:avLst/>
            <a:gdLst>
              <a:gd name="T0" fmla="*/ 0 w 16"/>
              <a:gd name="T1" fmla="*/ 77162212 h 34"/>
              <a:gd name="T2" fmla="*/ 36616903 w 16"/>
              <a:gd name="T3" fmla="*/ 40850671 h 34"/>
              <a:gd name="T4" fmla="*/ 29751606 w 16"/>
              <a:gd name="T5" fmla="*/ 0 h 34"/>
              <a:gd name="T6" fmla="*/ 0 w 16"/>
              <a:gd name="T7" fmla="*/ 77162212 h 3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" h="34">
                <a:moveTo>
                  <a:pt x="0" y="34"/>
                </a:moveTo>
                <a:lnTo>
                  <a:pt x="16" y="18"/>
                </a:lnTo>
                <a:lnTo>
                  <a:pt x="13" y="0"/>
                </a:lnTo>
                <a:lnTo>
                  <a:pt x="0" y="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01" name="Freeform 364"/>
          <p:cNvSpPr>
            <a:spLocks/>
          </p:cNvSpPr>
          <p:nvPr/>
        </p:nvSpPr>
        <p:spPr bwMode="auto">
          <a:xfrm>
            <a:off x="5005918" y="5905500"/>
            <a:ext cx="31749" cy="67733"/>
          </a:xfrm>
          <a:custGeom>
            <a:avLst/>
            <a:gdLst>
              <a:gd name="T0" fmla="*/ 0 w 16"/>
              <a:gd name="T1" fmla="*/ 77162212 h 34"/>
              <a:gd name="T2" fmla="*/ 36616903 w 16"/>
              <a:gd name="T3" fmla="*/ 40850671 h 34"/>
              <a:gd name="T4" fmla="*/ 29751606 w 16"/>
              <a:gd name="T5" fmla="*/ 0 h 3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6" h="34">
                <a:moveTo>
                  <a:pt x="0" y="34"/>
                </a:moveTo>
                <a:lnTo>
                  <a:pt x="16" y="18"/>
                </a:lnTo>
                <a:lnTo>
                  <a:pt x="13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02" name="Freeform 365"/>
          <p:cNvSpPr>
            <a:spLocks/>
          </p:cNvSpPr>
          <p:nvPr/>
        </p:nvSpPr>
        <p:spPr bwMode="auto">
          <a:xfrm>
            <a:off x="4995333" y="5941484"/>
            <a:ext cx="25400" cy="6349"/>
          </a:xfrm>
          <a:custGeom>
            <a:avLst/>
            <a:gdLst>
              <a:gd name="T0" fmla="*/ 0 w 12"/>
              <a:gd name="T1" fmla="*/ 0 h 3"/>
              <a:gd name="T2" fmla="*/ 29294138 w 12"/>
              <a:gd name="T3" fmla="*/ 7233478 h 3"/>
              <a:gd name="T4" fmla="*/ 0 w 12"/>
              <a:gd name="T5" fmla="*/ 0 h 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2" h="3">
                <a:moveTo>
                  <a:pt x="0" y="0"/>
                </a:moveTo>
                <a:lnTo>
                  <a:pt x="12" y="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03" name="Line 366"/>
          <p:cNvSpPr>
            <a:spLocks noChangeShapeType="1"/>
          </p:cNvSpPr>
          <p:nvPr/>
        </p:nvSpPr>
        <p:spPr bwMode="auto">
          <a:xfrm>
            <a:off x="4995333" y="5941484"/>
            <a:ext cx="25400" cy="6349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04" name="Freeform 367"/>
          <p:cNvSpPr>
            <a:spLocks/>
          </p:cNvSpPr>
          <p:nvPr/>
        </p:nvSpPr>
        <p:spPr bwMode="auto">
          <a:xfrm>
            <a:off x="4950885" y="5846233"/>
            <a:ext cx="95249" cy="95251"/>
          </a:xfrm>
          <a:custGeom>
            <a:avLst/>
            <a:gdLst>
              <a:gd name="T0" fmla="*/ 109851867 w 47"/>
              <a:gd name="T1" fmla="*/ 9235261 h 47"/>
              <a:gd name="T2" fmla="*/ 9349127 w 47"/>
              <a:gd name="T3" fmla="*/ 108511282 h 47"/>
              <a:gd name="T4" fmla="*/ 0 w 47"/>
              <a:gd name="T5" fmla="*/ 94658390 h 47"/>
              <a:gd name="T6" fmla="*/ 93491274 w 47"/>
              <a:gd name="T7" fmla="*/ 0 h 47"/>
              <a:gd name="T8" fmla="*/ 109851867 w 47"/>
              <a:gd name="T9" fmla="*/ 9235261 h 4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47">
                <a:moveTo>
                  <a:pt x="47" y="4"/>
                </a:moveTo>
                <a:lnTo>
                  <a:pt x="4" y="47"/>
                </a:lnTo>
                <a:lnTo>
                  <a:pt x="0" y="41"/>
                </a:lnTo>
                <a:lnTo>
                  <a:pt x="40" y="0"/>
                </a:lnTo>
                <a:lnTo>
                  <a:pt x="47" y="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05" name="Freeform 368"/>
          <p:cNvSpPr>
            <a:spLocks/>
          </p:cNvSpPr>
          <p:nvPr/>
        </p:nvSpPr>
        <p:spPr bwMode="auto">
          <a:xfrm>
            <a:off x="5249333" y="5611285"/>
            <a:ext cx="19051" cy="19049"/>
          </a:xfrm>
          <a:custGeom>
            <a:avLst/>
            <a:gdLst>
              <a:gd name="T0" fmla="*/ 21971769 w 9"/>
              <a:gd name="T1" fmla="*/ 21701953 h 9"/>
              <a:gd name="T2" fmla="*/ 0 w 9"/>
              <a:gd name="T3" fmla="*/ 0 h 9"/>
              <a:gd name="T4" fmla="*/ 21971769 w 9"/>
              <a:gd name="T5" fmla="*/ 21701953 h 9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9" h="9">
                <a:moveTo>
                  <a:pt x="9" y="9"/>
                </a:moveTo>
                <a:lnTo>
                  <a:pt x="0" y="0"/>
                </a:lnTo>
                <a:lnTo>
                  <a:pt x="9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06" name="Line 369"/>
          <p:cNvSpPr>
            <a:spLocks noChangeShapeType="1"/>
          </p:cNvSpPr>
          <p:nvPr/>
        </p:nvSpPr>
        <p:spPr bwMode="auto">
          <a:xfrm flipH="1" flipV="1">
            <a:off x="5249333" y="5611285"/>
            <a:ext cx="19051" cy="19049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07" name="Rectangle 370"/>
          <p:cNvSpPr>
            <a:spLocks noChangeArrowheads="1"/>
          </p:cNvSpPr>
          <p:nvPr/>
        </p:nvSpPr>
        <p:spPr bwMode="auto">
          <a:xfrm>
            <a:off x="5596467" y="5886452"/>
            <a:ext cx="84667" cy="2074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08" name="Rectangle 371"/>
          <p:cNvSpPr>
            <a:spLocks noChangeArrowheads="1"/>
          </p:cNvSpPr>
          <p:nvPr/>
        </p:nvSpPr>
        <p:spPr bwMode="auto">
          <a:xfrm>
            <a:off x="5596467" y="6106584"/>
            <a:ext cx="84667" cy="84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09" name="Freeform 372"/>
          <p:cNvSpPr>
            <a:spLocks/>
          </p:cNvSpPr>
          <p:nvPr/>
        </p:nvSpPr>
        <p:spPr bwMode="auto">
          <a:xfrm>
            <a:off x="5602818" y="5784851"/>
            <a:ext cx="67733" cy="97367"/>
          </a:xfrm>
          <a:custGeom>
            <a:avLst/>
            <a:gdLst>
              <a:gd name="T0" fmla="*/ 0 w 15"/>
              <a:gd name="T1" fmla="*/ 253532368 h 21"/>
              <a:gd name="T2" fmla="*/ 0 w 15"/>
              <a:gd name="T3" fmla="*/ 120731189 h 21"/>
              <a:gd name="T4" fmla="*/ 91660133 w 15"/>
              <a:gd name="T5" fmla="*/ 0 h 21"/>
              <a:gd name="T6" fmla="*/ 171859787 w 15"/>
              <a:gd name="T7" fmla="*/ 120731189 h 21"/>
              <a:gd name="T8" fmla="*/ 171859787 w 15"/>
              <a:gd name="T9" fmla="*/ 253532368 h 2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" h="21">
                <a:moveTo>
                  <a:pt x="0" y="21"/>
                </a:moveTo>
                <a:cubicBezTo>
                  <a:pt x="0" y="10"/>
                  <a:pt x="0" y="10"/>
                  <a:pt x="0" y="10"/>
                </a:cubicBezTo>
                <a:cubicBezTo>
                  <a:pt x="0" y="6"/>
                  <a:pt x="4" y="0"/>
                  <a:pt x="8" y="0"/>
                </a:cubicBezTo>
                <a:cubicBezTo>
                  <a:pt x="12" y="0"/>
                  <a:pt x="15" y="6"/>
                  <a:pt x="15" y="10"/>
                </a:cubicBezTo>
                <a:cubicBezTo>
                  <a:pt x="15" y="21"/>
                  <a:pt x="15" y="21"/>
                  <a:pt x="15" y="2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10" name="Rectangle 373"/>
          <p:cNvSpPr>
            <a:spLocks noChangeArrowheads="1"/>
          </p:cNvSpPr>
          <p:nvPr/>
        </p:nvSpPr>
        <p:spPr bwMode="auto">
          <a:xfrm>
            <a:off x="5706534" y="5827184"/>
            <a:ext cx="105833" cy="2624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11" name="Rectangle 374"/>
          <p:cNvSpPr>
            <a:spLocks noChangeArrowheads="1"/>
          </p:cNvSpPr>
          <p:nvPr/>
        </p:nvSpPr>
        <p:spPr bwMode="auto">
          <a:xfrm>
            <a:off x="5706534" y="6102351"/>
            <a:ext cx="105833" cy="1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12" name="Freeform 375"/>
          <p:cNvSpPr>
            <a:spLocks/>
          </p:cNvSpPr>
          <p:nvPr/>
        </p:nvSpPr>
        <p:spPr bwMode="auto">
          <a:xfrm>
            <a:off x="5717118" y="5698067"/>
            <a:ext cx="88900" cy="120651"/>
          </a:xfrm>
          <a:custGeom>
            <a:avLst/>
            <a:gdLst>
              <a:gd name="T0" fmla="*/ 0 w 19"/>
              <a:gd name="T1" fmla="*/ 311898215 h 26"/>
              <a:gd name="T2" fmla="*/ 0 w 19"/>
              <a:gd name="T3" fmla="*/ 155949107 h 26"/>
              <a:gd name="T4" fmla="*/ 109911983 w 19"/>
              <a:gd name="T5" fmla="*/ 0 h 26"/>
              <a:gd name="T6" fmla="*/ 232039528 w 19"/>
              <a:gd name="T7" fmla="*/ 155949107 h 26"/>
              <a:gd name="T8" fmla="*/ 232039528 w 19"/>
              <a:gd name="T9" fmla="*/ 311898215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" h="26">
                <a:moveTo>
                  <a:pt x="0" y="26"/>
                </a:moveTo>
                <a:cubicBezTo>
                  <a:pt x="0" y="13"/>
                  <a:pt x="0" y="13"/>
                  <a:pt x="0" y="13"/>
                </a:cubicBezTo>
                <a:cubicBezTo>
                  <a:pt x="0" y="8"/>
                  <a:pt x="4" y="0"/>
                  <a:pt x="9" y="0"/>
                </a:cubicBezTo>
                <a:cubicBezTo>
                  <a:pt x="15" y="0"/>
                  <a:pt x="19" y="8"/>
                  <a:pt x="19" y="13"/>
                </a:cubicBezTo>
                <a:cubicBezTo>
                  <a:pt x="19" y="26"/>
                  <a:pt x="19" y="26"/>
                  <a:pt x="19" y="26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13" name="Rectangle 376"/>
          <p:cNvSpPr>
            <a:spLocks noChangeArrowheads="1"/>
          </p:cNvSpPr>
          <p:nvPr/>
        </p:nvSpPr>
        <p:spPr bwMode="auto">
          <a:xfrm>
            <a:off x="5837767" y="5789084"/>
            <a:ext cx="114300" cy="29633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14" name="Rectangle 377"/>
          <p:cNvSpPr>
            <a:spLocks noChangeArrowheads="1"/>
          </p:cNvSpPr>
          <p:nvPr/>
        </p:nvSpPr>
        <p:spPr bwMode="auto">
          <a:xfrm>
            <a:off x="5837767" y="6098118"/>
            <a:ext cx="114300" cy="127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15" name="Freeform 378"/>
          <p:cNvSpPr>
            <a:spLocks/>
          </p:cNvSpPr>
          <p:nvPr/>
        </p:nvSpPr>
        <p:spPr bwMode="auto">
          <a:xfrm>
            <a:off x="5846233" y="5647267"/>
            <a:ext cx="95251" cy="133351"/>
          </a:xfrm>
          <a:custGeom>
            <a:avLst/>
            <a:gdLst>
              <a:gd name="T0" fmla="*/ 0 w 21"/>
              <a:gd name="T1" fmla="*/ 345734595 h 29"/>
              <a:gd name="T2" fmla="*/ 0 w 21"/>
              <a:gd name="T3" fmla="*/ 202671171 h 29"/>
              <a:gd name="T4" fmla="*/ 117076677 w 21"/>
              <a:gd name="T5" fmla="*/ 0 h 29"/>
              <a:gd name="T6" fmla="*/ 245862382 w 21"/>
              <a:gd name="T7" fmla="*/ 202671171 h 29"/>
              <a:gd name="T8" fmla="*/ 245862382 w 21"/>
              <a:gd name="T9" fmla="*/ 345734595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" h="29">
                <a:moveTo>
                  <a:pt x="0" y="29"/>
                </a:moveTo>
                <a:cubicBezTo>
                  <a:pt x="0" y="17"/>
                  <a:pt x="0" y="17"/>
                  <a:pt x="0" y="17"/>
                </a:cubicBezTo>
                <a:cubicBezTo>
                  <a:pt x="0" y="11"/>
                  <a:pt x="5" y="0"/>
                  <a:pt x="10" y="0"/>
                </a:cubicBezTo>
                <a:cubicBezTo>
                  <a:pt x="16" y="0"/>
                  <a:pt x="21" y="11"/>
                  <a:pt x="21" y="17"/>
                </a:cubicBezTo>
                <a:cubicBezTo>
                  <a:pt x="21" y="29"/>
                  <a:pt x="21" y="29"/>
                  <a:pt x="21" y="29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16" name="Rectangle 379"/>
          <p:cNvSpPr>
            <a:spLocks noChangeArrowheads="1"/>
          </p:cNvSpPr>
          <p:nvPr/>
        </p:nvSpPr>
        <p:spPr bwMode="auto">
          <a:xfrm>
            <a:off x="5846233" y="6079067"/>
            <a:ext cx="95251" cy="275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17" name="Rectangle 380"/>
          <p:cNvSpPr>
            <a:spLocks noChangeArrowheads="1"/>
          </p:cNvSpPr>
          <p:nvPr/>
        </p:nvSpPr>
        <p:spPr bwMode="auto">
          <a:xfrm>
            <a:off x="5717118" y="6079067"/>
            <a:ext cx="88900" cy="275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18" name="Rectangle 381"/>
          <p:cNvSpPr>
            <a:spLocks noChangeArrowheads="1"/>
          </p:cNvSpPr>
          <p:nvPr/>
        </p:nvSpPr>
        <p:spPr bwMode="auto">
          <a:xfrm>
            <a:off x="5602818" y="6079067"/>
            <a:ext cx="67733" cy="275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19" name="Freeform 382"/>
          <p:cNvSpPr>
            <a:spLocks/>
          </p:cNvSpPr>
          <p:nvPr/>
        </p:nvSpPr>
        <p:spPr bwMode="auto">
          <a:xfrm>
            <a:off x="6424085" y="5890685"/>
            <a:ext cx="188383" cy="188383"/>
          </a:xfrm>
          <a:custGeom>
            <a:avLst/>
            <a:gdLst>
              <a:gd name="T0" fmla="*/ 404280689 w 41"/>
              <a:gd name="T1" fmla="*/ 0 h 41"/>
              <a:gd name="T2" fmla="*/ 0 w 41"/>
              <a:gd name="T3" fmla="*/ 0 h 41"/>
              <a:gd name="T4" fmla="*/ 332937646 w 41"/>
              <a:gd name="T5" fmla="*/ 154347432 h 41"/>
              <a:gd name="T6" fmla="*/ 487515963 w 41"/>
              <a:gd name="T7" fmla="*/ 486792297 h 41"/>
              <a:gd name="T8" fmla="*/ 487515963 w 41"/>
              <a:gd name="T9" fmla="*/ 83111216 h 41"/>
              <a:gd name="T10" fmla="*/ 404280689 w 41"/>
              <a:gd name="T11" fmla="*/ 0 h 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1" h="41">
                <a:moveTo>
                  <a:pt x="34" y="0"/>
                </a:moveTo>
                <a:cubicBezTo>
                  <a:pt x="0" y="0"/>
                  <a:pt x="0" y="0"/>
                  <a:pt x="0" y="0"/>
                </a:cubicBezTo>
                <a:cubicBezTo>
                  <a:pt x="28" y="13"/>
                  <a:pt x="28" y="13"/>
                  <a:pt x="28" y="13"/>
                </a:cubicBezTo>
                <a:cubicBezTo>
                  <a:pt x="41" y="41"/>
                  <a:pt x="41" y="41"/>
                  <a:pt x="41" y="41"/>
                </a:cubicBezTo>
                <a:cubicBezTo>
                  <a:pt x="41" y="7"/>
                  <a:pt x="41" y="7"/>
                  <a:pt x="41" y="7"/>
                </a:cubicBezTo>
                <a:cubicBezTo>
                  <a:pt x="37" y="7"/>
                  <a:pt x="34" y="4"/>
                  <a:pt x="34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20" name="Freeform 383"/>
          <p:cNvSpPr>
            <a:spLocks/>
          </p:cNvSpPr>
          <p:nvPr/>
        </p:nvSpPr>
        <p:spPr bwMode="auto">
          <a:xfrm>
            <a:off x="6612467" y="5702300"/>
            <a:ext cx="190500" cy="188384"/>
          </a:xfrm>
          <a:custGeom>
            <a:avLst/>
            <a:gdLst>
              <a:gd name="T0" fmla="*/ 85083805 w 41"/>
              <a:gd name="T1" fmla="*/ 486795743 h 41"/>
              <a:gd name="T2" fmla="*/ 498354970 w 41"/>
              <a:gd name="T3" fmla="*/ 486795743 h 41"/>
              <a:gd name="T4" fmla="*/ 158016265 w 41"/>
              <a:gd name="T5" fmla="*/ 332447218 h 41"/>
              <a:gd name="T6" fmla="*/ 0 w 41"/>
              <a:gd name="T7" fmla="*/ 0 h 41"/>
              <a:gd name="T8" fmla="*/ 0 w 41"/>
              <a:gd name="T9" fmla="*/ 403683938 h 41"/>
              <a:gd name="T10" fmla="*/ 85083805 w 41"/>
              <a:gd name="T11" fmla="*/ 486795743 h 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1" h="41">
                <a:moveTo>
                  <a:pt x="7" y="41"/>
                </a:moveTo>
                <a:cubicBezTo>
                  <a:pt x="41" y="41"/>
                  <a:pt x="41" y="41"/>
                  <a:pt x="41" y="41"/>
                </a:cubicBezTo>
                <a:cubicBezTo>
                  <a:pt x="13" y="28"/>
                  <a:pt x="13" y="28"/>
                  <a:pt x="13" y="28"/>
                </a:cubicBezTo>
                <a:cubicBezTo>
                  <a:pt x="0" y="0"/>
                  <a:pt x="0" y="0"/>
                  <a:pt x="0" y="0"/>
                </a:cubicBezTo>
                <a:cubicBezTo>
                  <a:pt x="0" y="34"/>
                  <a:pt x="0" y="34"/>
                  <a:pt x="0" y="34"/>
                </a:cubicBezTo>
                <a:cubicBezTo>
                  <a:pt x="4" y="34"/>
                  <a:pt x="7" y="37"/>
                  <a:pt x="7" y="41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21" name="Freeform 384"/>
          <p:cNvSpPr>
            <a:spLocks/>
          </p:cNvSpPr>
          <p:nvPr/>
        </p:nvSpPr>
        <p:spPr bwMode="auto">
          <a:xfrm>
            <a:off x="6612467" y="5890685"/>
            <a:ext cx="190500" cy="188383"/>
          </a:xfrm>
          <a:custGeom>
            <a:avLst/>
            <a:gdLst>
              <a:gd name="T0" fmla="*/ 498354970 w 41"/>
              <a:gd name="T1" fmla="*/ 0 h 41"/>
              <a:gd name="T2" fmla="*/ 85083805 w 41"/>
              <a:gd name="T3" fmla="*/ 0 h 41"/>
              <a:gd name="T4" fmla="*/ 85083805 w 41"/>
              <a:gd name="T5" fmla="*/ 0 h 41"/>
              <a:gd name="T6" fmla="*/ 0 w 41"/>
              <a:gd name="T7" fmla="*/ 83111216 h 41"/>
              <a:gd name="T8" fmla="*/ 0 w 41"/>
              <a:gd name="T9" fmla="*/ 486792297 h 41"/>
              <a:gd name="T10" fmla="*/ 158016265 w 41"/>
              <a:gd name="T11" fmla="*/ 154347432 h 41"/>
              <a:gd name="T12" fmla="*/ 498354970 w 41"/>
              <a:gd name="T13" fmla="*/ 0 h 4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41">
                <a:moveTo>
                  <a:pt x="41" y="0"/>
                </a:moveTo>
                <a:cubicBezTo>
                  <a:pt x="7" y="0"/>
                  <a:pt x="7" y="0"/>
                  <a:pt x="7" y="0"/>
                </a:cubicBezTo>
                <a:cubicBezTo>
                  <a:pt x="7" y="0"/>
                  <a:pt x="7" y="0"/>
                  <a:pt x="7" y="0"/>
                </a:cubicBezTo>
                <a:cubicBezTo>
                  <a:pt x="7" y="4"/>
                  <a:pt x="4" y="7"/>
                  <a:pt x="0" y="7"/>
                </a:cubicBezTo>
                <a:cubicBezTo>
                  <a:pt x="0" y="41"/>
                  <a:pt x="0" y="41"/>
                  <a:pt x="0" y="41"/>
                </a:cubicBezTo>
                <a:cubicBezTo>
                  <a:pt x="13" y="13"/>
                  <a:pt x="13" y="13"/>
                  <a:pt x="13" y="13"/>
                </a:cubicBezTo>
                <a:cubicBezTo>
                  <a:pt x="41" y="0"/>
                  <a:pt x="41" y="0"/>
                  <a:pt x="41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22" name="Freeform 385"/>
          <p:cNvSpPr>
            <a:spLocks/>
          </p:cNvSpPr>
          <p:nvPr/>
        </p:nvSpPr>
        <p:spPr bwMode="auto">
          <a:xfrm>
            <a:off x="6424085" y="5702300"/>
            <a:ext cx="188383" cy="188384"/>
          </a:xfrm>
          <a:custGeom>
            <a:avLst/>
            <a:gdLst>
              <a:gd name="T0" fmla="*/ 487515963 w 41"/>
              <a:gd name="T1" fmla="*/ 0 h 41"/>
              <a:gd name="T2" fmla="*/ 309156632 w 41"/>
              <a:gd name="T3" fmla="*/ 344318856 h 41"/>
              <a:gd name="T4" fmla="*/ 0 w 41"/>
              <a:gd name="T5" fmla="*/ 486795743 h 41"/>
              <a:gd name="T6" fmla="*/ 404280689 w 41"/>
              <a:gd name="T7" fmla="*/ 486795743 h 41"/>
              <a:gd name="T8" fmla="*/ 487515963 w 41"/>
              <a:gd name="T9" fmla="*/ 403683938 h 41"/>
              <a:gd name="T10" fmla="*/ 487515963 w 41"/>
              <a:gd name="T11" fmla="*/ 0 h 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1" h="41">
                <a:moveTo>
                  <a:pt x="41" y="0"/>
                </a:moveTo>
                <a:cubicBezTo>
                  <a:pt x="26" y="29"/>
                  <a:pt x="26" y="29"/>
                  <a:pt x="26" y="29"/>
                </a:cubicBezTo>
                <a:cubicBezTo>
                  <a:pt x="0" y="41"/>
                  <a:pt x="0" y="41"/>
                  <a:pt x="0" y="41"/>
                </a:cubicBezTo>
                <a:cubicBezTo>
                  <a:pt x="34" y="41"/>
                  <a:pt x="34" y="41"/>
                  <a:pt x="34" y="41"/>
                </a:cubicBezTo>
                <a:cubicBezTo>
                  <a:pt x="34" y="37"/>
                  <a:pt x="37" y="34"/>
                  <a:pt x="41" y="34"/>
                </a:cubicBezTo>
                <a:cubicBezTo>
                  <a:pt x="41" y="0"/>
                  <a:pt x="41" y="0"/>
                  <a:pt x="41" y="0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23" name="Freeform 386"/>
          <p:cNvSpPr>
            <a:spLocks/>
          </p:cNvSpPr>
          <p:nvPr/>
        </p:nvSpPr>
        <p:spPr bwMode="auto">
          <a:xfrm>
            <a:off x="7289800" y="5734051"/>
            <a:ext cx="397933" cy="395816"/>
          </a:xfrm>
          <a:custGeom>
            <a:avLst/>
            <a:gdLst>
              <a:gd name="T0" fmla="*/ 999162015 w 86"/>
              <a:gd name="T1" fmla="*/ 784654592 h 86"/>
              <a:gd name="T2" fmla="*/ 1035277935 w 86"/>
              <a:gd name="T3" fmla="*/ 748989730 h 86"/>
              <a:gd name="T4" fmla="*/ 361141852 w 86"/>
              <a:gd name="T5" fmla="*/ 83221465 h 86"/>
              <a:gd name="T6" fmla="*/ 337068042 w 86"/>
              <a:gd name="T7" fmla="*/ 95109752 h 86"/>
              <a:gd name="T8" fmla="*/ 72228370 w 86"/>
              <a:gd name="T9" fmla="*/ 59444890 h 86"/>
              <a:gd name="T10" fmla="*/ 96305651 w 86"/>
              <a:gd name="T11" fmla="*/ 332885859 h 86"/>
              <a:gd name="T12" fmla="*/ 84267010 w 86"/>
              <a:gd name="T13" fmla="*/ 356662434 h 86"/>
              <a:gd name="T14" fmla="*/ 758399624 w 86"/>
              <a:gd name="T15" fmla="*/ 1022430699 h 86"/>
              <a:gd name="T16" fmla="*/ 794515544 w 86"/>
              <a:gd name="T17" fmla="*/ 986765836 h 86"/>
              <a:gd name="T18" fmla="*/ 385219132 w 86"/>
              <a:gd name="T19" fmla="*/ 582546801 h 86"/>
              <a:gd name="T20" fmla="*/ 409296412 w 86"/>
              <a:gd name="T21" fmla="*/ 558770225 h 86"/>
              <a:gd name="T22" fmla="*/ 818592824 w 86"/>
              <a:gd name="T23" fmla="*/ 962985809 h 86"/>
              <a:gd name="T24" fmla="*/ 854705274 w 86"/>
              <a:gd name="T25" fmla="*/ 927320947 h 86"/>
              <a:gd name="T26" fmla="*/ 312990762 w 86"/>
              <a:gd name="T27" fmla="*/ 392327296 h 86"/>
              <a:gd name="T28" fmla="*/ 288913481 w 86"/>
              <a:gd name="T29" fmla="*/ 368550721 h 86"/>
              <a:gd name="T30" fmla="*/ 180572661 w 86"/>
              <a:gd name="T31" fmla="*/ 261552681 h 86"/>
              <a:gd name="T32" fmla="*/ 120379460 w 86"/>
              <a:gd name="T33" fmla="*/ 309105832 h 86"/>
              <a:gd name="T34" fmla="*/ 96305651 w 86"/>
              <a:gd name="T35" fmla="*/ 83221465 h 86"/>
              <a:gd name="T36" fmla="*/ 325029402 w 86"/>
              <a:gd name="T37" fmla="*/ 118886327 h 86"/>
              <a:gd name="T38" fmla="*/ 264839672 w 86"/>
              <a:gd name="T39" fmla="*/ 178331217 h 86"/>
              <a:gd name="T40" fmla="*/ 373180492 w 86"/>
              <a:gd name="T41" fmla="*/ 285329256 h 86"/>
              <a:gd name="T42" fmla="*/ 409296412 w 86"/>
              <a:gd name="T43" fmla="*/ 309105832 h 86"/>
              <a:gd name="T44" fmla="*/ 938972285 w 86"/>
              <a:gd name="T45" fmla="*/ 844099482 h 86"/>
              <a:gd name="T46" fmla="*/ 975088205 w 86"/>
              <a:gd name="T47" fmla="*/ 808434619 h 86"/>
              <a:gd name="T48" fmla="*/ 565791793 w 86"/>
              <a:gd name="T49" fmla="*/ 404215584 h 86"/>
              <a:gd name="T50" fmla="*/ 589869073 w 86"/>
              <a:gd name="T51" fmla="*/ 380439009 h 86"/>
              <a:gd name="T52" fmla="*/ 999162015 w 86"/>
              <a:gd name="T53" fmla="*/ 784654592 h 8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86" h="86">
                <a:moveTo>
                  <a:pt x="83" y="66"/>
                </a:moveTo>
                <a:cubicBezTo>
                  <a:pt x="86" y="63"/>
                  <a:pt x="86" y="63"/>
                  <a:pt x="86" y="63"/>
                </a:cubicBezTo>
                <a:cubicBezTo>
                  <a:pt x="30" y="7"/>
                  <a:pt x="30" y="7"/>
                  <a:pt x="30" y="7"/>
                </a:cubicBezTo>
                <a:cubicBezTo>
                  <a:pt x="28" y="8"/>
                  <a:pt x="28" y="8"/>
                  <a:pt x="28" y="8"/>
                </a:cubicBezTo>
                <a:cubicBezTo>
                  <a:pt x="22" y="1"/>
                  <a:pt x="11" y="0"/>
                  <a:pt x="6" y="5"/>
                </a:cubicBezTo>
                <a:cubicBezTo>
                  <a:pt x="0" y="11"/>
                  <a:pt x="1" y="21"/>
                  <a:pt x="8" y="28"/>
                </a:cubicBezTo>
                <a:cubicBezTo>
                  <a:pt x="7" y="30"/>
                  <a:pt x="7" y="30"/>
                  <a:pt x="7" y="30"/>
                </a:cubicBezTo>
                <a:cubicBezTo>
                  <a:pt x="63" y="86"/>
                  <a:pt x="63" y="86"/>
                  <a:pt x="63" y="86"/>
                </a:cubicBezTo>
                <a:cubicBezTo>
                  <a:pt x="66" y="83"/>
                  <a:pt x="66" y="83"/>
                  <a:pt x="66" y="83"/>
                </a:cubicBezTo>
                <a:cubicBezTo>
                  <a:pt x="32" y="49"/>
                  <a:pt x="32" y="49"/>
                  <a:pt x="32" y="49"/>
                </a:cubicBezTo>
                <a:cubicBezTo>
                  <a:pt x="34" y="47"/>
                  <a:pt x="34" y="47"/>
                  <a:pt x="34" y="47"/>
                </a:cubicBezTo>
                <a:cubicBezTo>
                  <a:pt x="68" y="81"/>
                  <a:pt x="68" y="81"/>
                  <a:pt x="68" y="81"/>
                </a:cubicBezTo>
                <a:cubicBezTo>
                  <a:pt x="71" y="78"/>
                  <a:pt x="71" y="78"/>
                  <a:pt x="71" y="78"/>
                </a:cubicBezTo>
                <a:cubicBezTo>
                  <a:pt x="26" y="33"/>
                  <a:pt x="26" y="33"/>
                  <a:pt x="26" y="33"/>
                </a:cubicBezTo>
                <a:cubicBezTo>
                  <a:pt x="24" y="31"/>
                  <a:pt x="24" y="31"/>
                  <a:pt x="24" y="31"/>
                </a:cubicBezTo>
                <a:cubicBezTo>
                  <a:pt x="15" y="22"/>
                  <a:pt x="15" y="22"/>
                  <a:pt x="15" y="22"/>
                </a:cubicBezTo>
                <a:cubicBezTo>
                  <a:pt x="10" y="26"/>
                  <a:pt x="10" y="26"/>
                  <a:pt x="10" y="26"/>
                </a:cubicBezTo>
                <a:cubicBezTo>
                  <a:pt x="4" y="20"/>
                  <a:pt x="3" y="12"/>
                  <a:pt x="8" y="7"/>
                </a:cubicBezTo>
                <a:cubicBezTo>
                  <a:pt x="12" y="3"/>
                  <a:pt x="21" y="4"/>
                  <a:pt x="27" y="10"/>
                </a:cubicBezTo>
                <a:cubicBezTo>
                  <a:pt x="22" y="15"/>
                  <a:pt x="22" y="15"/>
                  <a:pt x="22" y="15"/>
                </a:cubicBezTo>
                <a:cubicBezTo>
                  <a:pt x="31" y="24"/>
                  <a:pt x="31" y="24"/>
                  <a:pt x="31" y="24"/>
                </a:cubicBezTo>
                <a:cubicBezTo>
                  <a:pt x="34" y="26"/>
                  <a:pt x="34" y="26"/>
                  <a:pt x="34" y="26"/>
                </a:cubicBezTo>
                <a:cubicBezTo>
                  <a:pt x="78" y="71"/>
                  <a:pt x="78" y="71"/>
                  <a:pt x="78" y="71"/>
                </a:cubicBezTo>
                <a:cubicBezTo>
                  <a:pt x="81" y="68"/>
                  <a:pt x="81" y="68"/>
                  <a:pt x="81" y="68"/>
                </a:cubicBezTo>
                <a:cubicBezTo>
                  <a:pt x="47" y="34"/>
                  <a:pt x="47" y="34"/>
                  <a:pt x="47" y="34"/>
                </a:cubicBezTo>
                <a:cubicBezTo>
                  <a:pt x="49" y="32"/>
                  <a:pt x="49" y="32"/>
                  <a:pt x="49" y="32"/>
                </a:cubicBezTo>
                <a:lnTo>
                  <a:pt x="83" y="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24" name="Freeform 387"/>
          <p:cNvSpPr>
            <a:spLocks/>
          </p:cNvSpPr>
          <p:nvPr/>
        </p:nvSpPr>
        <p:spPr bwMode="auto">
          <a:xfrm>
            <a:off x="8250767" y="5706533"/>
            <a:ext cx="389467" cy="389467"/>
          </a:xfrm>
          <a:custGeom>
            <a:avLst/>
            <a:gdLst>
              <a:gd name="T0" fmla="*/ 1003892062 w 84"/>
              <a:gd name="T1" fmla="*/ 872506136 h 85"/>
              <a:gd name="T2" fmla="*/ 967605592 w 84"/>
              <a:gd name="T3" fmla="*/ 872506136 h 85"/>
              <a:gd name="T4" fmla="*/ 967605592 w 84"/>
              <a:gd name="T5" fmla="*/ 884296667 h 85"/>
              <a:gd name="T6" fmla="*/ 774085864 w 84"/>
              <a:gd name="T7" fmla="*/ 695644741 h 85"/>
              <a:gd name="T8" fmla="*/ 701512924 w 84"/>
              <a:gd name="T9" fmla="*/ 518786782 h 85"/>
              <a:gd name="T10" fmla="*/ 653135600 w 84"/>
              <a:gd name="T11" fmla="*/ 424462538 h 85"/>
              <a:gd name="T12" fmla="*/ 689418593 w 84"/>
              <a:gd name="T13" fmla="*/ 353719354 h 85"/>
              <a:gd name="T14" fmla="*/ 677324262 w 84"/>
              <a:gd name="T15" fmla="*/ 330138293 h 85"/>
              <a:gd name="T16" fmla="*/ 616849130 w 84"/>
              <a:gd name="T17" fmla="*/ 424462538 h 85"/>
              <a:gd name="T18" fmla="*/ 665229931 w 84"/>
              <a:gd name="T19" fmla="*/ 542367844 h 85"/>
              <a:gd name="T20" fmla="*/ 737799394 w 84"/>
              <a:gd name="T21" fmla="*/ 683854211 h 85"/>
              <a:gd name="T22" fmla="*/ 725705063 w 84"/>
              <a:gd name="T23" fmla="*/ 695644741 h 85"/>
              <a:gd name="T24" fmla="*/ 24188662 w 84"/>
              <a:gd name="T25" fmla="*/ 0 h 85"/>
              <a:gd name="T26" fmla="*/ 0 w 84"/>
              <a:gd name="T27" fmla="*/ 23581061 h 85"/>
              <a:gd name="T28" fmla="*/ 701512924 w 84"/>
              <a:gd name="T29" fmla="*/ 719225802 h 85"/>
              <a:gd name="T30" fmla="*/ 677324262 w 84"/>
              <a:gd name="T31" fmla="*/ 731016333 h 85"/>
              <a:gd name="T32" fmla="*/ 677324262 w 84"/>
              <a:gd name="T33" fmla="*/ 731016333 h 85"/>
              <a:gd name="T34" fmla="*/ 532181858 w 84"/>
              <a:gd name="T35" fmla="*/ 672063680 h 85"/>
              <a:gd name="T36" fmla="*/ 411231594 w 84"/>
              <a:gd name="T37" fmla="*/ 613111027 h 85"/>
              <a:gd name="T38" fmla="*/ 314473469 w 84"/>
              <a:gd name="T39" fmla="*/ 672063680 h 85"/>
              <a:gd name="T40" fmla="*/ 350756462 w 84"/>
              <a:gd name="T41" fmla="*/ 695644741 h 85"/>
              <a:gd name="T42" fmla="*/ 411231594 w 84"/>
              <a:gd name="T43" fmla="*/ 648482619 h 85"/>
              <a:gd name="T44" fmla="*/ 507993196 w 84"/>
              <a:gd name="T45" fmla="*/ 695644741 h 85"/>
              <a:gd name="T46" fmla="*/ 713610732 w 84"/>
              <a:gd name="T47" fmla="*/ 766391361 h 85"/>
              <a:gd name="T48" fmla="*/ 895036129 w 84"/>
              <a:gd name="T49" fmla="*/ 943249320 h 85"/>
              <a:gd name="T50" fmla="*/ 895036129 w 84"/>
              <a:gd name="T51" fmla="*/ 955039851 h 85"/>
              <a:gd name="T52" fmla="*/ 895036129 w 84"/>
              <a:gd name="T53" fmla="*/ 990411442 h 85"/>
              <a:gd name="T54" fmla="*/ 931322599 w 84"/>
              <a:gd name="T55" fmla="*/ 990411442 h 85"/>
              <a:gd name="T56" fmla="*/ 1003892062 w 84"/>
              <a:gd name="T57" fmla="*/ 919668259 h 85"/>
              <a:gd name="T58" fmla="*/ 1003892062 w 84"/>
              <a:gd name="T59" fmla="*/ 872506136 h 8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4" h="85">
                <a:moveTo>
                  <a:pt x="83" y="74"/>
                </a:moveTo>
                <a:cubicBezTo>
                  <a:pt x="82" y="74"/>
                  <a:pt x="81" y="74"/>
                  <a:pt x="80" y="74"/>
                </a:cubicBezTo>
                <a:cubicBezTo>
                  <a:pt x="80" y="75"/>
                  <a:pt x="80" y="75"/>
                  <a:pt x="80" y="75"/>
                </a:cubicBezTo>
                <a:cubicBezTo>
                  <a:pt x="64" y="59"/>
                  <a:pt x="64" y="59"/>
                  <a:pt x="64" y="59"/>
                </a:cubicBezTo>
                <a:cubicBezTo>
                  <a:pt x="65" y="56"/>
                  <a:pt x="64" y="51"/>
                  <a:pt x="58" y="44"/>
                </a:cubicBezTo>
                <a:cubicBezTo>
                  <a:pt x="57" y="44"/>
                  <a:pt x="53" y="40"/>
                  <a:pt x="54" y="36"/>
                </a:cubicBezTo>
                <a:cubicBezTo>
                  <a:pt x="54" y="34"/>
                  <a:pt x="55" y="32"/>
                  <a:pt x="57" y="30"/>
                </a:cubicBezTo>
                <a:cubicBezTo>
                  <a:pt x="56" y="28"/>
                  <a:pt x="56" y="28"/>
                  <a:pt x="56" y="28"/>
                </a:cubicBezTo>
                <a:cubicBezTo>
                  <a:pt x="53" y="30"/>
                  <a:pt x="51" y="33"/>
                  <a:pt x="51" y="36"/>
                </a:cubicBezTo>
                <a:cubicBezTo>
                  <a:pt x="50" y="41"/>
                  <a:pt x="55" y="46"/>
                  <a:pt x="55" y="46"/>
                </a:cubicBezTo>
                <a:cubicBezTo>
                  <a:pt x="61" y="52"/>
                  <a:pt x="61" y="56"/>
                  <a:pt x="61" y="58"/>
                </a:cubicBezTo>
                <a:cubicBezTo>
                  <a:pt x="60" y="59"/>
                  <a:pt x="60" y="59"/>
                  <a:pt x="60" y="59"/>
                </a:cubicBezTo>
                <a:cubicBezTo>
                  <a:pt x="2" y="0"/>
                  <a:pt x="2" y="0"/>
                  <a:pt x="2" y="0"/>
                </a:cubicBezTo>
                <a:cubicBezTo>
                  <a:pt x="0" y="2"/>
                  <a:pt x="0" y="2"/>
                  <a:pt x="0" y="2"/>
                </a:cubicBezTo>
                <a:cubicBezTo>
                  <a:pt x="58" y="61"/>
                  <a:pt x="58" y="61"/>
                  <a:pt x="58" y="61"/>
                </a:cubicBezTo>
                <a:cubicBezTo>
                  <a:pt x="56" y="62"/>
                  <a:pt x="56" y="62"/>
                  <a:pt x="56" y="62"/>
                </a:cubicBezTo>
                <a:cubicBezTo>
                  <a:pt x="56" y="62"/>
                  <a:pt x="56" y="62"/>
                  <a:pt x="56" y="62"/>
                </a:cubicBezTo>
                <a:cubicBezTo>
                  <a:pt x="54" y="63"/>
                  <a:pt x="51" y="63"/>
                  <a:pt x="44" y="57"/>
                </a:cubicBezTo>
                <a:cubicBezTo>
                  <a:pt x="44" y="57"/>
                  <a:pt x="40" y="52"/>
                  <a:pt x="34" y="52"/>
                </a:cubicBezTo>
                <a:cubicBezTo>
                  <a:pt x="31" y="52"/>
                  <a:pt x="29" y="54"/>
                  <a:pt x="26" y="57"/>
                </a:cubicBezTo>
                <a:cubicBezTo>
                  <a:pt x="29" y="59"/>
                  <a:pt x="29" y="59"/>
                  <a:pt x="29" y="59"/>
                </a:cubicBezTo>
                <a:cubicBezTo>
                  <a:pt x="30" y="56"/>
                  <a:pt x="32" y="55"/>
                  <a:pt x="34" y="55"/>
                </a:cubicBezTo>
                <a:cubicBezTo>
                  <a:pt x="38" y="55"/>
                  <a:pt x="42" y="59"/>
                  <a:pt x="42" y="59"/>
                </a:cubicBezTo>
                <a:cubicBezTo>
                  <a:pt x="51" y="67"/>
                  <a:pt x="56" y="66"/>
                  <a:pt x="59" y="65"/>
                </a:cubicBezTo>
                <a:cubicBezTo>
                  <a:pt x="74" y="80"/>
                  <a:pt x="74" y="80"/>
                  <a:pt x="74" y="80"/>
                </a:cubicBezTo>
                <a:cubicBezTo>
                  <a:pt x="74" y="81"/>
                  <a:pt x="74" y="81"/>
                  <a:pt x="74" y="81"/>
                </a:cubicBezTo>
                <a:cubicBezTo>
                  <a:pt x="73" y="82"/>
                  <a:pt x="73" y="83"/>
                  <a:pt x="74" y="84"/>
                </a:cubicBezTo>
                <a:cubicBezTo>
                  <a:pt x="75" y="85"/>
                  <a:pt x="76" y="85"/>
                  <a:pt x="77" y="84"/>
                </a:cubicBezTo>
                <a:cubicBezTo>
                  <a:pt x="83" y="78"/>
                  <a:pt x="83" y="78"/>
                  <a:pt x="83" y="78"/>
                </a:cubicBezTo>
                <a:cubicBezTo>
                  <a:pt x="84" y="77"/>
                  <a:pt x="84" y="75"/>
                  <a:pt x="83" y="7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25" name="Rectangle 388"/>
          <p:cNvSpPr>
            <a:spLocks noChangeArrowheads="1"/>
          </p:cNvSpPr>
          <p:nvPr/>
        </p:nvSpPr>
        <p:spPr bwMode="auto">
          <a:xfrm>
            <a:off x="8957734" y="5899151"/>
            <a:ext cx="393700" cy="402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26" name="Rectangle 389"/>
          <p:cNvSpPr>
            <a:spLocks noChangeArrowheads="1"/>
          </p:cNvSpPr>
          <p:nvPr/>
        </p:nvSpPr>
        <p:spPr bwMode="auto">
          <a:xfrm>
            <a:off x="8957734" y="5848351"/>
            <a:ext cx="393700" cy="402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27" name="Freeform 390"/>
          <p:cNvSpPr>
            <a:spLocks/>
          </p:cNvSpPr>
          <p:nvPr/>
        </p:nvSpPr>
        <p:spPr bwMode="auto">
          <a:xfrm>
            <a:off x="9205385" y="5691718"/>
            <a:ext cx="80433" cy="129116"/>
          </a:xfrm>
          <a:custGeom>
            <a:avLst/>
            <a:gdLst>
              <a:gd name="T0" fmla="*/ 92763261 w 40"/>
              <a:gd name="T1" fmla="*/ 0 h 63"/>
              <a:gd name="T2" fmla="*/ 0 w 40"/>
              <a:gd name="T3" fmla="*/ 95725680 h 63"/>
              <a:gd name="T4" fmla="*/ 25509934 w 40"/>
              <a:gd name="T5" fmla="*/ 147090792 h 63"/>
              <a:gd name="T6" fmla="*/ 92763261 w 40"/>
              <a:gd name="T7" fmla="*/ 0 h 63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0" h="63">
                <a:moveTo>
                  <a:pt x="40" y="0"/>
                </a:moveTo>
                <a:lnTo>
                  <a:pt x="0" y="41"/>
                </a:lnTo>
                <a:lnTo>
                  <a:pt x="11" y="63"/>
                </a:lnTo>
                <a:lnTo>
                  <a:pt x="4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28" name="Freeform 391"/>
          <p:cNvSpPr>
            <a:spLocks/>
          </p:cNvSpPr>
          <p:nvPr/>
        </p:nvSpPr>
        <p:spPr bwMode="auto">
          <a:xfrm>
            <a:off x="9014884" y="5945717"/>
            <a:ext cx="82549" cy="127000"/>
          </a:xfrm>
          <a:custGeom>
            <a:avLst/>
            <a:gdLst>
              <a:gd name="T0" fmla="*/ 0 w 41"/>
              <a:gd name="T1" fmla="*/ 144680214 h 63"/>
              <a:gd name="T2" fmla="*/ 95205556 w 41"/>
              <a:gd name="T3" fmla="*/ 50523321 h 63"/>
              <a:gd name="T4" fmla="*/ 62695715 w 41"/>
              <a:gd name="T5" fmla="*/ 0 h 63"/>
              <a:gd name="T6" fmla="*/ 0 w 41"/>
              <a:gd name="T7" fmla="*/ 144680214 h 63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1" h="63">
                <a:moveTo>
                  <a:pt x="0" y="63"/>
                </a:moveTo>
                <a:lnTo>
                  <a:pt x="41" y="22"/>
                </a:lnTo>
                <a:lnTo>
                  <a:pt x="27" y="0"/>
                </a:lnTo>
                <a:lnTo>
                  <a:pt x="0" y="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29" name="Freeform 392"/>
          <p:cNvSpPr>
            <a:spLocks/>
          </p:cNvSpPr>
          <p:nvPr/>
        </p:nvSpPr>
        <p:spPr bwMode="auto">
          <a:xfrm>
            <a:off x="9065685" y="5776385"/>
            <a:ext cx="165100" cy="224367"/>
          </a:xfrm>
          <a:custGeom>
            <a:avLst/>
            <a:gdLst>
              <a:gd name="T0" fmla="*/ 0 w 81"/>
              <a:gd name="T1" fmla="*/ 29934758 h 111"/>
              <a:gd name="T2" fmla="*/ 143395465 w 81"/>
              <a:gd name="T3" fmla="*/ 255600629 h 111"/>
              <a:gd name="T4" fmla="*/ 190410747 w 81"/>
              <a:gd name="T5" fmla="*/ 223363081 h 111"/>
              <a:gd name="T6" fmla="*/ 47015282 w 81"/>
              <a:gd name="T7" fmla="*/ 0 h 111"/>
              <a:gd name="T8" fmla="*/ 0 w 81"/>
              <a:gd name="T9" fmla="*/ 29934758 h 1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1" h="111">
                <a:moveTo>
                  <a:pt x="0" y="13"/>
                </a:moveTo>
                <a:lnTo>
                  <a:pt x="61" y="111"/>
                </a:lnTo>
                <a:lnTo>
                  <a:pt x="81" y="97"/>
                </a:lnTo>
                <a:lnTo>
                  <a:pt x="20" y="0"/>
                </a:lnTo>
                <a:lnTo>
                  <a:pt x="0" y="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30" name="Freeform 393"/>
          <p:cNvSpPr>
            <a:spLocks/>
          </p:cNvSpPr>
          <p:nvPr/>
        </p:nvSpPr>
        <p:spPr bwMode="auto">
          <a:xfrm>
            <a:off x="9139767" y="5776385"/>
            <a:ext cx="230717" cy="315383"/>
          </a:xfrm>
          <a:custGeom>
            <a:avLst/>
            <a:gdLst>
              <a:gd name="T0" fmla="*/ 138931138 w 113"/>
              <a:gd name="T1" fmla="*/ 255646460 h 156"/>
              <a:gd name="T2" fmla="*/ 266088036 w 113"/>
              <a:gd name="T3" fmla="*/ 359286057 h 156"/>
              <a:gd name="T4" fmla="*/ 186026569 w 113"/>
              <a:gd name="T5" fmla="*/ 223401615 h 156"/>
              <a:gd name="T6" fmla="*/ 186026569 w 113"/>
              <a:gd name="T7" fmla="*/ 228008022 h 156"/>
              <a:gd name="T8" fmla="*/ 186026569 w 113"/>
              <a:gd name="T9" fmla="*/ 223401615 h 156"/>
              <a:gd name="T10" fmla="*/ 49450585 w 113"/>
              <a:gd name="T11" fmla="*/ 0 h 156"/>
              <a:gd name="T12" fmla="*/ 0 w 113"/>
              <a:gd name="T13" fmla="*/ 29940126 h 156"/>
              <a:gd name="T14" fmla="*/ 138931138 w 113"/>
              <a:gd name="T15" fmla="*/ 251040054 h 156"/>
              <a:gd name="T16" fmla="*/ 138931138 w 113"/>
              <a:gd name="T17" fmla="*/ 251040054 h 156"/>
              <a:gd name="T18" fmla="*/ 138931138 w 113"/>
              <a:gd name="T19" fmla="*/ 255646460 h 156"/>
              <a:gd name="T20" fmla="*/ 138931138 w 113"/>
              <a:gd name="T21" fmla="*/ 255646460 h 156"/>
              <a:gd name="T22" fmla="*/ 138931138 w 113"/>
              <a:gd name="T23" fmla="*/ 255646460 h 15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13" h="156">
                <a:moveTo>
                  <a:pt x="59" y="111"/>
                </a:moveTo>
                <a:lnTo>
                  <a:pt x="113" y="156"/>
                </a:lnTo>
                <a:lnTo>
                  <a:pt x="79" y="97"/>
                </a:lnTo>
                <a:lnTo>
                  <a:pt x="79" y="99"/>
                </a:lnTo>
                <a:lnTo>
                  <a:pt x="79" y="97"/>
                </a:lnTo>
                <a:lnTo>
                  <a:pt x="21" y="0"/>
                </a:lnTo>
                <a:lnTo>
                  <a:pt x="0" y="13"/>
                </a:lnTo>
                <a:lnTo>
                  <a:pt x="59" y="109"/>
                </a:lnTo>
                <a:lnTo>
                  <a:pt x="59" y="1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31" name="Freeform 394"/>
          <p:cNvSpPr>
            <a:spLocks/>
          </p:cNvSpPr>
          <p:nvPr/>
        </p:nvSpPr>
        <p:spPr bwMode="auto">
          <a:xfrm>
            <a:off x="8928100" y="5689601"/>
            <a:ext cx="228600" cy="311151"/>
          </a:xfrm>
          <a:custGeom>
            <a:avLst/>
            <a:gdLst>
              <a:gd name="T0" fmla="*/ 127114867 w 112"/>
              <a:gd name="T1" fmla="*/ 103578319 h 154"/>
              <a:gd name="T2" fmla="*/ 127114867 w 112"/>
              <a:gd name="T3" fmla="*/ 103578319 h 154"/>
              <a:gd name="T4" fmla="*/ 127114867 w 112"/>
              <a:gd name="T5" fmla="*/ 98974704 h 154"/>
              <a:gd name="T6" fmla="*/ 127114867 w 112"/>
              <a:gd name="T7" fmla="*/ 98974704 h 154"/>
              <a:gd name="T8" fmla="*/ 0 w 112"/>
              <a:gd name="T9" fmla="*/ 0 h 154"/>
              <a:gd name="T10" fmla="*/ 77680627 w 112"/>
              <a:gd name="T11" fmla="*/ 128896689 h 154"/>
              <a:gd name="T12" fmla="*/ 77680627 w 112"/>
              <a:gd name="T13" fmla="*/ 128896689 h 154"/>
              <a:gd name="T14" fmla="*/ 221274595 w 112"/>
              <a:gd name="T15" fmla="*/ 354466274 h 154"/>
              <a:gd name="T16" fmla="*/ 263645707 w 112"/>
              <a:gd name="T17" fmla="*/ 322242481 h 154"/>
              <a:gd name="T18" fmla="*/ 127114867 w 112"/>
              <a:gd name="T19" fmla="*/ 103578319 h 154"/>
              <a:gd name="T20" fmla="*/ 127114867 w 112"/>
              <a:gd name="T21" fmla="*/ 103578319 h 15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12" h="154">
                <a:moveTo>
                  <a:pt x="54" y="45"/>
                </a:moveTo>
                <a:lnTo>
                  <a:pt x="54" y="45"/>
                </a:lnTo>
                <a:lnTo>
                  <a:pt x="54" y="43"/>
                </a:lnTo>
                <a:lnTo>
                  <a:pt x="0" y="0"/>
                </a:lnTo>
                <a:lnTo>
                  <a:pt x="33" y="56"/>
                </a:lnTo>
                <a:lnTo>
                  <a:pt x="94" y="154"/>
                </a:lnTo>
                <a:lnTo>
                  <a:pt x="112" y="140"/>
                </a:lnTo>
                <a:lnTo>
                  <a:pt x="54" y="4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32" name="Freeform 417"/>
          <p:cNvSpPr>
            <a:spLocks/>
          </p:cNvSpPr>
          <p:nvPr/>
        </p:nvSpPr>
        <p:spPr bwMode="auto">
          <a:xfrm>
            <a:off x="9819218" y="5837767"/>
            <a:ext cx="486833" cy="114300"/>
          </a:xfrm>
          <a:custGeom>
            <a:avLst/>
            <a:gdLst>
              <a:gd name="T0" fmla="*/ 1267310624 w 105"/>
              <a:gd name="T1" fmla="*/ 142502382 h 25"/>
              <a:gd name="T2" fmla="*/ 1122474230 w 105"/>
              <a:gd name="T3" fmla="*/ 296882820 h 25"/>
              <a:gd name="T4" fmla="*/ 144836394 w 105"/>
              <a:gd name="T5" fmla="*/ 296882820 h 25"/>
              <a:gd name="T6" fmla="*/ 0 w 105"/>
              <a:gd name="T7" fmla="*/ 142502382 h 25"/>
              <a:gd name="T8" fmla="*/ 144836394 w 105"/>
              <a:gd name="T9" fmla="*/ 0 h 25"/>
              <a:gd name="T10" fmla="*/ 1122474230 w 105"/>
              <a:gd name="T11" fmla="*/ 0 h 25"/>
              <a:gd name="T12" fmla="*/ 1267310624 w 105"/>
              <a:gd name="T13" fmla="*/ 142502382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05" h="25">
                <a:moveTo>
                  <a:pt x="105" y="12"/>
                </a:moveTo>
                <a:cubicBezTo>
                  <a:pt x="105" y="19"/>
                  <a:pt x="100" y="25"/>
                  <a:pt x="93" y="25"/>
                </a:cubicBezTo>
                <a:cubicBezTo>
                  <a:pt x="12" y="25"/>
                  <a:pt x="12" y="25"/>
                  <a:pt x="12" y="25"/>
                </a:cubicBezTo>
                <a:cubicBezTo>
                  <a:pt x="5" y="25"/>
                  <a:pt x="0" y="19"/>
                  <a:pt x="0" y="12"/>
                </a:cubicBezTo>
                <a:cubicBezTo>
                  <a:pt x="0" y="6"/>
                  <a:pt x="5" y="0"/>
                  <a:pt x="12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100" y="0"/>
                  <a:pt x="105" y="6"/>
                  <a:pt x="105" y="1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33" name="Freeform 418"/>
          <p:cNvSpPr>
            <a:spLocks/>
          </p:cNvSpPr>
          <p:nvPr/>
        </p:nvSpPr>
        <p:spPr bwMode="auto">
          <a:xfrm>
            <a:off x="9798051" y="5793318"/>
            <a:ext cx="82549" cy="209549"/>
          </a:xfrm>
          <a:custGeom>
            <a:avLst/>
            <a:gdLst>
              <a:gd name="T0" fmla="*/ 95203630 w 40"/>
              <a:gd name="T1" fmla="*/ 197403028 h 104"/>
              <a:gd name="T2" fmla="*/ 0 w 40"/>
              <a:gd name="T3" fmla="*/ 238720011 h 104"/>
              <a:gd name="T4" fmla="*/ 0 w 40"/>
              <a:gd name="T5" fmla="*/ 0 h 104"/>
              <a:gd name="T6" fmla="*/ 95203630 w 40"/>
              <a:gd name="T7" fmla="*/ 41316983 h 104"/>
              <a:gd name="T8" fmla="*/ 95203630 w 40"/>
              <a:gd name="T9" fmla="*/ 197403028 h 10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0" h="104">
                <a:moveTo>
                  <a:pt x="40" y="86"/>
                </a:moveTo>
                <a:lnTo>
                  <a:pt x="0" y="104"/>
                </a:lnTo>
                <a:lnTo>
                  <a:pt x="0" y="0"/>
                </a:lnTo>
                <a:lnTo>
                  <a:pt x="40" y="18"/>
                </a:lnTo>
                <a:lnTo>
                  <a:pt x="40" y="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34" name="Freeform 419"/>
          <p:cNvSpPr>
            <a:spLocks/>
          </p:cNvSpPr>
          <p:nvPr/>
        </p:nvSpPr>
        <p:spPr bwMode="auto">
          <a:xfrm>
            <a:off x="10001251" y="5691718"/>
            <a:ext cx="141816" cy="146049"/>
          </a:xfrm>
          <a:custGeom>
            <a:avLst/>
            <a:gdLst>
              <a:gd name="T0" fmla="*/ 58414010 w 70"/>
              <a:gd name="T1" fmla="*/ 0 h 72"/>
              <a:gd name="T2" fmla="*/ 37384724 w 70"/>
              <a:gd name="T3" fmla="*/ 0 h 72"/>
              <a:gd name="T4" fmla="*/ 37384724 w 70"/>
              <a:gd name="T5" fmla="*/ 83190309 h 72"/>
              <a:gd name="T6" fmla="*/ 0 w 70"/>
              <a:gd name="T7" fmla="*/ 83190309 h 72"/>
              <a:gd name="T8" fmla="*/ 0 w 70"/>
              <a:gd name="T9" fmla="*/ 120163610 h 72"/>
              <a:gd name="T10" fmla="*/ 16355437 w 70"/>
              <a:gd name="T11" fmla="*/ 120163610 h 72"/>
              <a:gd name="T12" fmla="*/ 16355437 w 70"/>
              <a:gd name="T13" fmla="*/ 166380618 h 72"/>
              <a:gd name="T14" fmla="*/ 147201969 w 70"/>
              <a:gd name="T15" fmla="*/ 166380618 h 72"/>
              <a:gd name="T16" fmla="*/ 147201969 w 70"/>
              <a:gd name="T17" fmla="*/ 145583801 h 72"/>
              <a:gd name="T18" fmla="*/ 109817246 w 70"/>
              <a:gd name="T19" fmla="*/ 145583801 h 72"/>
              <a:gd name="T20" fmla="*/ 109817246 w 70"/>
              <a:gd name="T21" fmla="*/ 136340095 h 72"/>
              <a:gd name="T22" fmla="*/ 147201969 w 70"/>
              <a:gd name="T23" fmla="*/ 136340095 h 72"/>
              <a:gd name="T24" fmla="*/ 147201969 w 70"/>
              <a:gd name="T25" fmla="*/ 120163610 h 72"/>
              <a:gd name="T26" fmla="*/ 163557406 w 70"/>
              <a:gd name="T27" fmla="*/ 120163610 h 72"/>
              <a:gd name="T28" fmla="*/ 163557406 w 70"/>
              <a:gd name="T29" fmla="*/ 83190309 h 72"/>
              <a:gd name="T30" fmla="*/ 95797214 w 70"/>
              <a:gd name="T31" fmla="*/ 83190309 h 72"/>
              <a:gd name="T32" fmla="*/ 95797214 w 70"/>
              <a:gd name="T33" fmla="*/ 41595154 h 72"/>
              <a:gd name="T34" fmla="*/ 67760191 w 70"/>
              <a:gd name="T35" fmla="*/ 41595154 h 72"/>
              <a:gd name="T36" fmla="*/ 67760191 w 70"/>
              <a:gd name="T37" fmla="*/ 83190309 h 72"/>
              <a:gd name="T38" fmla="*/ 58414010 w 70"/>
              <a:gd name="T39" fmla="*/ 83190309 h 72"/>
              <a:gd name="T40" fmla="*/ 58414010 w 70"/>
              <a:gd name="T41" fmla="*/ 0 h 7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0" h="72">
                <a:moveTo>
                  <a:pt x="25" y="0"/>
                </a:moveTo>
                <a:lnTo>
                  <a:pt x="16" y="0"/>
                </a:lnTo>
                <a:lnTo>
                  <a:pt x="16" y="36"/>
                </a:lnTo>
                <a:lnTo>
                  <a:pt x="0" y="36"/>
                </a:lnTo>
                <a:lnTo>
                  <a:pt x="0" y="52"/>
                </a:lnTo>
                <a:lnTo>
                  <a:pt x="7" y="52"/>
                </a:lnTo>
                <a:lnTo>
                  <a:pt x="7" y="72"/>
                </a:lnTo>
                <a:lnTo>
                  <a:pt x="63" y="72"/>
                </a:lnTo>
                <a:lnTo>
                  <a:pt x="63" y="63"/>
                </a:lnTo>
                <a:lnTo>
                  <a:pt x="47" y="63"/>
                </a:lnTo>
                <a:lnTo>
                  <a:pt x="47" y="59"/>
                </a:lnTo>
                <a:lnTo>
                  <a:pt x="63" y="59"/>
                </a:lnTo>
                <a:lnTo>
                  <a:pt x="63" y="52"/>
                </a:lnTo>
                <a:lnTo>
                  <a:pt x="70" y="52"/>
                </a:lnTo>
                <a:lnTo>
                  <a:pt x="70" y="36"/>
                </a:lnTo>
                <a:lnTo>
                  <a:pt x="41" y="36"/>
                </a:lnTo>
                <a:lnTo>
                  <a:pt x="41" y="18"/>
                </a:lnTo>
                <a:lnTo>
                  <a:pt x="29" y="18"/>
                </a:lnTo>
                <a:lnTo>
                  <a:pt x="29" y="36"/>
                </a:lnTo>
                <a:lnTo>
                  <a:pt x="25" y="36"/>
                </a:lnTo>
                <a:lnTo>
                  <a:pt x="2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35" name="Freeform 420"/>
          <p:cNvSpPr>
            <a:spLocks/>
          </p:cNvSpPr>
          <p:nvPr/>
        </p:nvSpPr>
        <p:spPr bwMode="auto">
          <a:xfrm>
            <a:off x="10001251" y="5691718"/>
            <a:ext cx="141816" cy="146049"/>
          </a:xfrm>
          <a:custGeom>
            <a:avLst/>
            <a:gdLst>
              <a:gd name="T0" fmla="*/ 58414010 w 70"/>
              <a:gd name="T1" fmla="*/ 0 h 72"/>
              <a:gd name="T2" fmla="*/ 37384724 w 70"/>
              <a:gd name="T3" fmla="*/ 0 h 72"/>
              <a:gd name="T4" fmla="*/ 37384724 w 70"/>
              <a:gd name="T5" fmla="*/ 83190309 h 72"/>
              <a:gd name="T6" fmla="*/ 0 w 70"/>
              <a:gd name="T7" fmla="*/ 83190309 h 72"/>
              <a:gd name="T8" fmla="*/ 0 w 70"/>
              <a:gd name="T9" fmla="*/ 120163610 h 72"/>
              <a:gd name="T10" fmla="*/ 16355437 w 70"/>
              <a:gd name="T11" fmla="*/ 120163610 h 72"/>
              <a:gd name="T12" fmla="*/ 16355437 w 70"/>
              <a:gd name="T13" fmla="*/ 166380618 h 72"/>
              <a:gd name="T14" fmla="*/ 147201969 w 70"/>
              <a:gd name="T15" fmla="*/ 166380618 h 72"/>
              <a:gd name="T16" fmla="*/ 147201969 w 70"/>
              <a:gd name="T17" fmla="*/ 145583801 h 72"/>
              <a:gd name="T18" fmla="*/ 109817246 w 70"/>
              <a:gd name="T19" fmla="*/ 145583801 h 72"/>
              <a:gd name="T20" fmla="*/ 109817246 w 70"/>
              <a:gd name="T21" fmla="*/ 136340095 h 72"/>
              <a:gd name="T22" fmla="*/ 147201969 w 70"/>
              <a:gd name="T23" fmla="*/ 136340095 h 72"/>
              <a:gd name="T24" fmla="*/ 147201969 w 70"/>
              <a:gd name="T25" fmla="*/ 120163610 h 72"/>
              <a:gd name="T26" fmla="*/ 163557406 w 70"/>
              <a:gd name="T27" fmla="*/ 120163610 h 72"/>
              <a:gd name="T28" fmla="*/ 163557406 w 70"/>
              <a:gd name="T29" fmla="*/ 83190309 h 72"/>
              <a:gd name="T30" fmla="*/ 95797214 w 70"/>
              <a:gd name="T31" fmla="*/ 83190309 h 72"/>
              <a:gd name="T32" fmla="*/ 95797214 w 70"/>
              <a:gd name="T33" fmla="*/ 41595154 h 72"/>
              <a:gd name="T34" fmla="*/ 67760191 w 70"/>
              <a:gd name="T35" fmla="*/ 41595154 h 72"/>
              <a:gd name="T36" fmla="*/ 67760191 w 70"/>
              <a:gd name="T37" fmla="*/ 83190309 h 72"/>
              <a:gd name="T38" fmla="*/ 58414010 w 70"/>
              <a:gd name="T39" fmla="*/ 83190309 h 72"/>
              <a:gd name="T40" fmla="*/ 58414010 w 70"/>
              <a:gd name="T41" fmla="*/ 0 h 7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0" h="72">
                <a:moveTo>
                  <a:pt x="25" y="0"/>
                </a:moveTo>
                <a:lnTo>
                  <a:pt x="16" y="0"/>
                </a:lnTo>
                <a:lnTo>
                  <a:pt x="16" y="36"/>
                </a:lnTo>
                <a:lnTo>
                  <a:pt x="0" y="36"/>
                </a:lnTo>
                <a:lnTo>
                  <a:pt x="0" y="52"/>
                </a:lnTo>
                <a:lnTo>
                  <a:pt x="7" y="52"/>
                </a:lnTo>
                <a:lnTo>
                  <a:pt x="7" y="72"/>
                </a:lnTo>
                <a:lnTo>
                  <a:pt x="63" y="72"/>
                </a:lnTo>
                <a:lnTo>
                  <a:pt x="63" y="63"/>
                </a:lnTo>
                <a:lnTo>
                  <a:pt x="47" y="63"/>
                </a:lnTo>
                <a:lnTo>
                  <a:pt x="47" y="59"/>
                </a:lnTo>
                <a:lnTo>
                  <a:pt x="63" y="59"/>
                </a:lnTo>
                <a:lnTo>
                  <a:pt x="63" y="52"/>
                </a:lnTo>
                <a:lnTo>
                  <a:pt x="70" y="52"/>
                </a:lnTo>
                <a:lnTo>
                  <a:pt x="70" y="36"/>
                </a:lnTo>
                <a:lnTo>
                  <a:pt x="41" y="36"/>
                </a:lnTo>
                <a:lnTo>
                  <a:pt x="41" y="18"/>
                </a:lnTo>
                <a:lnTo>
                  <a:pt x="29" y="18"/>
                </a:lnTo>
                <a:lnTo>
                  <a:pt x="29" y="36"/>
                </a:lnTo>
                <a:lnTo>
                  <a:pt x="25" y="36"/>
                </a:lnTo>
                <a:lnTo>
                  <a:pt x="25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36" name="Rectangle 421"/>
          <p:cNvSpPr>
            <a:spLocks noChangeArrowheads="1"/>
          </p:cNvSpPr>
          <p:nvPr/>
        </p:nvSpPr>
        <p:spPr bwMode="auto">
          <a:xfrm>
            <a:off x="10013951" y="5837767"/>
            <a:ext cx="116416" cy="275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37" name="Rectangle 422"/>
          <p:cNvSpPr>
            <a:spLocks noChangeArrowheads="1"/>
          </p:cNvSpPr>
          <p:nvPr/>
        </p:nvSpPr>
        <p:spPr bwMode="auto">
          <a:xfrm>
            <a:off x="10013951" y="5837767"/>
            <a:ext cx="116416" cy="275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38" name="Freeform 423"/>
          <p:cNvSpPr>
            <a:spLocks/>
          </p:cNvSpPr>
          <p:nvPr/>
        </p:nvSpPr>
        <p:spPr bwMode="auto">
          <a:xfrm>
            <a:off x="9774767" y="5873751"/>
            <a:ext cx="86784" cy="50800"/>
          </a:xfrm>
          <a:custGeom>
            <a:avLst/>
            <a:gdLst>
              <a:gd name="T0" fmla="*/ 100088297 w 42"/>
              <a:gd name="T1" fmla="*/ 57872376 h 25"/>
              <a:gd name="T2" fmla="*/ 0 w 42"/>
              <a:gd name="T3" fmla="*/ 57872376 h 25"/>
              <a:gd name="T4" fmla="*/ 42894542 w 42"/>
              <a:gd name="T5" fmla="*/ 0 h 25"/>
              <a:gd name="T6" fmla="*/ 100088297 w 42"/>
              <a:gd name="T7" fmla="*/ 0 h 25"/>
              <a:gd name="T8" fmla="*/ 100088297 w 42"/>
              <a:gd name="T9" fmla="*/ 57872376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2" h="25">
                <a:moveTo>
                  <a:pt x="42" y="25"/>
                </a:moveTo>
                <a:lnTo>
                  <a:pt x="0" y="25"/>
                </a:lnTo>
                <a:lnTo>
                  <a:pt x="18" y="0"/>
                </a:lnTo>
                <a:lnTo>
                  <a:pt x="42" y="0"/>
                </a:lnTo>
                <a:lnTo>
                  <a:pt x="42" y="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39" name="Freeform 424"/>
          <p:cNvSpPr>
            <a:spLocks/>
          </p:cNvSpPr>
          <p:nvPr/>
        </p:nvSpPr>
        <p:spPr bwMode="auto">
          <a:xfrm>
            <a:off x="9774767" y="5848351"/>
            <a:ext cx="86784" cy="48683"/>
          </a:xfrm>
          <a:custGeom>
            <a:avLst/>
            <a:gdLst>
              <a:gd name="T0" fmla="*/ 100088297 w 42"/>
              <a:gd name="T1" fmla="*/ 0 h 25"/>
              <a:gd name="T2" fmla="*/ 0 w 42"/>
              <a:gd name="T3" fmla="*/ 0 h 25"/>
              <a:gd name="T4" fmla="*/ 42894542 w 42"/>
              <a:gd name="T5" fmla="*/ 55460268 h 25"/>
              <a:gd name="T6" fmla="*/ 100088297 w 42"/>
              <a:gd name="T7" fmla="*/ 55460268 h 25"/>
              <a:gd name="T8" fmla="*/ 100088297 w 42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2" h="25">
                <a:moveTo>
                  <a:pt x="42" y="0"/>
                </a:moveTo>
                <a:lnTo>
                  <a:pt x="0" y="0"/>
                </a:lnTo>
                <a:lnTo>
                  <a:pt x="18" y="25"/>
                </a:lnTo>
                <a:lnTo>
                  <a:pt x="42" y="25"/>
                </a:lnTo>
                <a:lnTo>
                  <a:pt x="4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40" name="Freeform 425"/>
          <p:cNvSpPr>
            <a:spLocks/>
          </p:cNvSpPr>
          <p:nvPr/>
        </p:nvSpPr>
        <p:spPr bwMode="auto">
          <a:xfrm>
            <a:off x="10759018" y="5649385"/>
            <a:ext cx="323849" cy="281516"/>
          </a:xfrm>
          <a:custGeom>
            <a:avLst/>
            <a:gdLst>
              <a:gd name="T0" fmla="*/ 830992763 w 70"/>
              <a:gd name="T1" fmla="*/ 167722387 h 61"/>
              <a:gd name="T2" fmla="*/ 674427803 w 70"/>
              <a:gd name="T3" fmla="*/ 11979429 h 61"/>
              <a:gd name="T4" fmla="*/ 626256371 w 70"/>
              <a:gd name="T5" fmla="*/ 11979429 h 61"/>
              <a:gd name="T6" fmla="*/ 626256371 w 70"/>
              <a:gd name="T7" fmla="*/ 47921176 h 61"/>
              <a:gd name="T8" fmla="*/ 0 w 70"/>
              <a:gd name="T9" fmla="*/ 527126019 h 61"/>
              <a:gd name="T10" fmla="*/ 192692667 w 70"/>
              <a:gd name="T11" fmla="*/ 718810725 h 61"/>
              <a:gd name="T12" fmla="*/ 276998744 w 70"/>
              <a:gd name="T13" fmla="*/ 694848406 h 61"/>
              <a:gd name="T14" fmla="*/ 397432528 w 70"/>
              <a:gd name="T15" fmla="*/ 730790153 h 61"/>
              <a:gd name="T16" fmla="*/ 794861587 w 70"/>
              <a:gd name="T17" fmla="*/ 215643564 h 61"/>
              <a:gd name="T18" fmla="*/ 830992763 w 70"/>
              <a:gd name="T19" fmla="*/ 215643564 h 61"/>
              <a:gd name="T20" fmla="*/ 830992763 w 70"/>
              <a:gd name="T21" fmla="*/ 167722387 h 6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70" h="61">
                <a:moveTo>
                  <a:pt x="69" y="14"/>
                </a:moveTo>
                <a:cubicBezTo>
                  <a:pt x="56" y="1"/>
                  <a:pt x="56" y="1"/>
                  <a:pt x="56" y="1"/>
                </a:cubicBezTo>
                <a:cubicBezTo>
                  <a:pt x="55" y="0"/>
                  <a:pt x="53" y="0"/>
                  <a:pt x="52" y="1"/>
                </a:cubicBezTo>
                <a:cubicBezTo>
                  <a:pt x="51" y="2"/>
                  <a:pt x="51" y="3"/>
                  <a:pt x="52" y="4"/>
                </a:cubicBezTo>
                <a:cubicBezTo>
                  <a:pt x="0" y="44"/>
                  <a:pt x="0" y="44"/>
                  <a:pt x="0" y="44"/>
                </a:cubicBezTo>
                <a:cubicBezTo>
                  <a:pt x="16" y="60"/>
                  <a:pt x="16" y="60"/>
                  <a:pt x="16" y="60"/>
                </a:cubicBezTo>
                <a:cubicBezTo>
                  <a:pt x="18" y="59"/>
                  <a:pt x="21" y="58"/>
                  <a:pt x="23" y="58"/>
                </a:cubicBezTo>
                <a:cubicBezTo>
                  <a:pt x="27" y="58"/>
                  <a:pt x="30" y="60"/>
                  <a:pt x="33" y="61"/>
                </a:cubicBezTo>
                <a:cubicBezTo>
                  <a:pt x="66" y="18"/>
                  <a:pt x="66" y="18"/>
                  <a:pt x="66" y="18"/>
                </a:cubicBezTo>
                <a:cubicBezTo>
                  <a:pt x="67" y="19"/>
                  <a:pt x="68" y="19"/>
                  <a:pt x="69" y="18"/>
                </a:cubicBezTo>
                <a:cubicBezTo>
                  <a:pt x="70" y="17"/>
                  <a:pt x="70" y="15"/>
                  <a:pt x="69" y="1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41" name="Freeform 426"/>
          <p:cNvSpPr>
            <a:spLocks/>
          </p:cNvSpPr>
          <p:nvPr/>
        </p:nvSpPr>
        <p:spPr bwMode="auto">
          <a:xfrm>
            <a:off x="10583333" y="5854701"/>
            <a:ext cx="239184" cy="182033"/>
          </a:xfrm>
          <a:custGeom>
            <a:avLst/>
            <a:gdLst>
              <a:gd name="T0" fmla="*/ 620668681 w 52"/>
              <a:gd name="T1" fmla="*/ 194149052 h 39"/>
              <a:gd name="T2" fmla="*/ 429692906 w 52"/>
              <a:gd name="T3" fmla="*/ 0 h 39"/>
              <a:gd name="T4" fmla="*/ 417756705 w 52"/>
              <a:gd name="T5" fmla="*/ 12133222 h 39"/>
              <a:gd name="T6" fmla="*/ 274525736 w 52"/>
              <a:gd name="T7" fmla="*/ 230552218 h 39"/>
              <a:gd name="T8" fmla="*/ 334206744 w 52"/>
              <a:gd name="T9" fmla="*/ 388301604 h 39"/>
              <a:gd name="T10" fmla="*/ 143230969 w 52"/>
              <a:gd name="T11" fmla="*/ 376164882 h 39"/>
              <a:gd name="T12" fmla="*/ 35808605 w 52"/>
              <a:gd name="T13" fmla="*/ 157745886 h 39"/>
              <a:gd name="T14" fmla="*/ 0 w 52"/>
              <a:gd name="T15" fmla="*/ 157745886 h 39"/>
              <a:gd name="T16" fmla="*/ 131294767 w 52"/>
              <a:gd name="T17" fmla="*/ 400434826 h 39"/>
              <a:gd name="T18" fmla="*/ 250653333 w 52"/>
              <a:gd name="T19" fmla="*/ 436837992 h 39"/>
              <a:gd name="T20" fmla="*/ 358079147 w 52"/>
              <a:gd name="T21" fmla="*/ 424704771 h 39"/>
              <a:gd name="T22" fmla="*/ 346142945 w 52"/>
              <a:gd name="T23" fmla="*/ 400434826 h 39"/>
              <a:gd name="T24" fmla="*/ 525182518 w 52"/>
              <a:gd name="T25" fmla="*/ 473241158 h 39"/>
              <a:gd name="T26" fmla="*/ 537118720 w 52"/>
              <a:gd name="T27" fmla="*/ 473241158 h 39"/>
              <a:gd name="T28" fmla="*/ 513246317 w 52"/>
              <a:gd name="T29" fmla="*/ 376164882 h 39"/>
              <a:gd name="T30" fmla="*/ 620668681 w 52"/>
              <a:gd name="T31" fmla="*/ 194149052 h 3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39">
                <a:moveTo>
                  <a:pt x="52" y="16"/>
                </a:moveTo>
                <a:cubicBezTo>
                  <a:pt x="36" y="0"/>
                  <a:pt x="36" y="0"/>
                  <a:pt x="36" y="0"/>
                </a:cubicBezTo>
                <a:cubicBezTo>
                  <a:pt x="35" y="1"/>
                  <a:pt x="35" y="1"/>
                  <a:pt x="35" y="1"/>
                </a:cubicBezTo>
                <a:cubicBezTo>
                  <a:pt x="28" y="4"/>
                  <a:pt x="23" y="11"/>
                  <a:pt x="23" y="19"/>
                </a:cubicBezTo>
                <a:cubicBezTo>
                  <a:pt x="23" y="24"/>
                  <a:pt x="25" y="29"/>
                  <a:pt x="28" y="32"/>
                </a:cubicBezTo>
                <a:cubicBezTo>
                  <a:pt x="22" y="34"/>
                  <a:pt x="17" y="33"/>
                  <a:pt x="12" y="31"/>
                </a:cubicBezTo>
                <a:cubicBezTo>
                  <a:pt x="4" y="25"/>
                  <a:pt x="3" y="13"/>
                  <a:pt x="3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4"/>
                  <a:pt x="2" y="27"/>
                  <a:pt x="11" y="33"/>
                </a:cubicBezTo>
                <a:cubicBezTo>
                  <a:pt x="14" y="35"/>
                  <a:pt x="17" y="36"/>
                  <a:pt x="21" y="36"/>
                </a:cubicBezTo>
                <a:cubicBezTo>
                  <a:pt x="24" y="36"/>
                  <a:pt x="27" y="36"/>
                  <a:pt x="30" y="35"/>
                </a:cubicBezTo>
                <a:cubicBezTo>
                  <a:pt x="29" y="33"/>
                  <a:pt x="29" y="33"/>
                  <a:pt x="29" y="33"/>
                </a:cubicBezTo>
                <a:cubicBezTo>
                  <a:pt x="33" y="37"/>
                  <a:pt x="38" y="39"/>
                  <a:pt x="44" y="39"/>
                </a:cubicBezTo>
                <a:cubicBezTo>
                  <a:pt x="44" y="39"/>
                  <a:pt x="45" y="39"/>
                  <a:pt x="45" y="39"/>
                </a:cubicBezTo>
                <a:cubicBezTo>
                  <a:pt x="44" y="37"/>
                  <a:pt x="43" y="34"/>
                  <a:pt x="43" y="31"/>
                </a:cubicBezTo>
                <a:cubicBezTo>
                  <a:pt x="43" y="25"/>
                  <a:pt x="47" y="19"/>
                  <a:pt x="52" y="16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42" name="Rectangle 427"/>
          <p:cNvSpPr>
            <a:spLocks noChangeArrowheads="1"/>
          </p:cNvSpPr>
          <p:nvPr/>
        </p:nvSpPr>
        <p:spPr bwMode="auto">
          <a:xfrm>
            <a:off x="10545234" y="5916084"/>
            <a:ext cx="23284" cy="148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43" name="Rectangle 428"/>
          <p:cNvSpPr>
            <a:spLocks noChangeArrowheads="1"/>
          </p:cNvSpPr>
          <p:nvPr/>
        </p:nvSpPr>
        <p:spPr bwMode="auto">
          <a:xfrm>
            <a:off x="10545234" y="5916084"/>
            <a:ext cx="23284" cy="1481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44" name="Freeform 429"/>
          <p:cNvSpPr>
            <a:spLocks/>
          </p:cNvSpPr>
          <p:nvPr/>
        </p:nvSpPr>
        <p:spPr bwMode="auto">
          <a:xfrm>
            <a:off x="10555818" y="5884334"/>
            <a:ext cx="27516" cy="27517"/>
          </a:xfrm>
          <a:custGeom>
            <a:avLst/>
            <a:gdLst>
              <a:gd name="T0" fmla="*/ 9764476 w 13"/>
              <a:gd name="T1" fmla="*/ 0 h 14"/>
              <a:gd name="T2" fmla="*/ 0 w 13"/>
              <a:gd name="T3" fmla="*/ 11196115 h 14"/>
              <a:gd name="T4" fmla="*/ 21970468 w 13"/>
              <a:gd name="T5" fmla="*/ 31347648 h 14"/>
              <a:gd name="T6" fmla="*/ 31734944 w 13"/>
              <a:gd name="T7" fmla="*/ 20151533 h 14"/>
              <a:gd name="T8" fmla="*/ 9764476 w 13"/>
              <a:gd name="T9" fmla="*/ 0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14">
                <a:moveTo>
                  <a:pt x="4" y="0"/>
                </a:moveTo>
                <a:lnTo>
                  <a:pt x="0" y="5"/>
                </a:lnTo>
                <a:lnTo>
                  <a:pt x="9" y="14"/>
                </a:lnTo>
                <a:lnTo>
                  <a:pt x="13" y="9"/>
                </a:lnTo>
                <a:lnTo>
                  <a:pt x="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45" name="Freeform 430"/>
          <p:cNvSpPr>
            <a:spLocks/>
          </p:cNvSpPr>
          <p:nvPr/>
        </p:nvSpPr>
        <p:spPr bwMode="auto">
          <a:xfrm>
            <a:off x="10555818" y="5884334"/>
            <a:ext cx="27516" cy="27517"/>
          </a:xfrm>
          <a:custGeom>
            <a:avLst/>
            <a:gdLst>
              <a:gd name="T0" fmla="*/ 9764476 w 13"/>
              <a:gd name="T1" fmla="*/ 0 h 14"/>
              <a:gd name="T2" fmla="*/ 0 w 13"/>
              <a:gd name="T3" fmla="*/ 11196115 h 14"/>
              <a:gd name="T4" fmla="*/ 21970468 w 13"/>
              <a:gd name="T5" fmla="*/ 31347648 h 14"/>
              <a:gd name="T6" fmla="*/ 31734944 w 13"/>
              <a:gd name="T7" fmla="*/ 20151533 h 14"/>
              <a:gd name="T8" fmla="*/ 9764476 w 13"/>
              <a:gd name="T9" fmla="*/ 0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14">
                <a:moveTo>
                  <a:pt x="4" y="0"/>
                </a:moveTo>
                <a:lnTo>
                  <a:pt x="0" y="5"/>
                </a:lnTo>
                <a:lnTo>
                  <a:pt x="9" y="14"/>
                </a:lnTo>
                <a:lnTo>
                  <a:pt x="13" y="9"/>
                </a:lnTo>
                <a:lnTo>
                  <a:pt x="4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46" name="Rectangle 431"/>
          <p:cNvSpPr>
            <a:spLocks noChangeArrowheads="1"/>
          </p:cNvSpPr>
          <p:nvPr/>
        </p:nvSpPr>
        <p:spPr bwMode="auto">
          <a:xfrm>
            <a:off x="10587567" y="5873751"/>
            <a:ext cx="12700" cy="232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47" name="Rectangle 432"/>
          <p:cNvSpPr>
            <a:spLocks noChangeArrowheads="1"/>
          </p:cNvSpPr>
          <p:nvPr/>
        </p:nvSpPr>
        <p:spPr bwMode="auto">
          <a:xfrm>
            <a:off x="10587567" y="5873751"/>
            <a:ext cx="12700" cy="232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48" name="Freeform 433"/>
          <p:cNvSpPr>
            <a:spLocks/>
          </p:cNvSpPr>
          <p:nvPr/>
        </p:nvSpPr>
        <p:spPr bwMode="auto">
          <a:xfrm>
            <a:off x="10600268" y="5888567"/>
            <a:ext cx="29633" cy="27517"/>
          </a:xfrm>
          <a:custGeom>
            <a:avLst/>
            <a:gdLst>
              <a:gd name="T0" fmla="*/ 21969413 w 14"/>
              <a:gd name="T1" fmla="*/ 0 h 14"/>
              <a:gd name="T2" fmla="*/ 0 w 14"/>
              <a:gd name="T3" fmla="*/ 20151533 h 14"/>
              <a:gd name="T4" fmla="*/ 12206288 w 14"/>
              <a:gd name="T5" fmla="*/ 31347648 h 14"/>
              <a:gd name="T6" fmla="*/ 34175700 w 14"/>
              <a:gd name="T7" fmla="*/ 11196115 h 14"/>
              <a:gd name="T8" fmla="*/ 21969413 w 14"/>
              <a:gd name="T9" fmla="*/ 0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14">
                <a:moveTo>
                  <a:pt x="9" y="0"/>
                </a:moveTo>
                <a:lnTo>
                  <a:pt x="0" y="9"/>
                </a:lnTo>
                <a:lnTo>
                  <a:pt x="5" y="14"/>
                </a:lnTo>
                <a:lnTo>
                  <a:pt x="14" y="5"/>
                </a:lnTo>
                <a:lnTo>
                  <a:pt x="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49" name="Freeform 434"/>
          <p:cNvSpPr>
            <a:spLocks/>
          </p:cNvSpPr>
          <p:nvPr/>
        </p:nvSpPr>
        <p:spPr bwMode="auto">
          <a:xfrm>
            <a:off x="10600268" y="5888567"/>
            <a:ext cx="29633" cy="27517"/>
          </a:xfrm>
          <a:custGeom>
            <a:avLst/>
            <a:gdLst>
              <a:gd name="T0" fmla="*/ 21969413 w 14"/>
              <a:gd name="T1" fmla="*/ 0 h 14"/>
              <a:gd name="T2" fmla="*/ 0 w 14"/>
              <a:gd name="T3" fmla="*/ 20151533 h 14"/>
              <a:gd name="T4" fmla="*/ 12206288 w 14"/>
              <a:gd name="T5" fmla="*/ 31347648 h 14"/>
              <a:gd name="T6" fmla="*/ 34175700 w 14"/>
              <a:gd name="T7" fmla="*/ 11196115 h 14"/>
              <a:gd name="T8" fmla="*/ 21969413 w 14"/>
              <a:gd name="T9" fmla="*/ 0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14">
                <a:moveTo>
                  <a:pt x="9" y="0"/>
                </a:moveTo>
                <a:lnTo>
                  <a:pt x="0" y="9"/>
                </a:lnTo>
                <a:lnTo>
                  <a:pt x="5" y="14"/>
                </a:lnTo>
                <a:lnTo>
                  <a:pt x="14" y="5"/>
                </a:lnTo>
                <a:lnTo>
                  <a:pt x="9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50" name="Freeform 435"/>
          <p:cNvSpPr>
            <a:spLocks noEditPoints="1"/>
          </p:cNvSpPr>
          <p:nvPr/>
        </p:nvSpPr>
        <p:spPr bwMode="auto">
          <a:xfrm>
            <a:off x="10792885" y="5930900"/>
            <a:ext cx="154516" cy="154517"/>
          </a:xfrm>
          <a:custGeom>
            <a:avLst/>
            <a:gdLst>
              <a:gd name="T0" fmla="*/ 199168852 w 34"/>
              <a:gd name="T1" fmla="*/ 398651312 h 34"/>
              <a:gd name="T2" fmla="*/ 0 w 34"/>
              <a:gd name="T3" fmla="*/ 199327360 h 34"/>
              <a:gd name="T4" fmla="*/ 199168852 w 34"/>
              <a:gd name="T5" fmla="*/ 0 h 34"/>
              <a:gd name="T6" fmla="*/ 398337703 w 34"/>
              <a:gd name="T7" fmla="*/ 199327360 h 34"/>
              <a:gd name="T8" fmla="*/ 199168852 w 34"/>
              <a:gd name="T9" fmla="*/ 398651312 h 34"/>
              <a:gd name="T10" fmla="*/ 199168852 w 34"/>
              <a:gd name="T11" fmla="*/ 128976527 h 34"/>
              <a:gd name="T12" fmla="*/ 128873161 w 34"/>
              <a:gd name="T13" fmla="*/ 199327360 h 34"/>
              <a:gd name="T14" fmla="*/ 199168852 w 34"/>
              <a:gd name="T15" fmla="*/ 269674784 h 34"/>
              <a:gd name="T16" fmla="*/ 269464543 w 34"/>
              <a:gd name="T17" fmla="*/ 199327360 h 34"/>
              <a:gd name="T18" fmla="*/ 199168852 w 34"/>
              <a:gd name="T19" fmla="*/ 128976527 h 3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4" h="34">
                <a:moveTo>
                  <a:pt x="17" y="34"/>
                </a:moveTo>
                <a:cubicBezTo>
                  <a:pt x="8" y="34"/>
                  <a:pt x="0" y="26"/>
                  <a:pt x="0" y="17"/>
                </a:cubicBezTo>
                <a:cubicBezTo>
                  <a:pt x="0" y="8"/>
                  <a:pt x="8" y="0"/>
                  <a:pt x="17" y="0"/>
                </a:cubicBezTo>
                <a:cubicBezTo>
                  <a:pt x="26" y="0"/>
                  <a:pt x="34" y="8"/>
                  <a:pt x="34" y="17"/>
                </a:cubicBezTo>
                <a:cubicBezTo>
                  <a:pt x="34" y="26"/>
                  <a:pt x="26" y="34"/>
                  <a:pt x="17" y="34"/>
                </a:cubicBezTo>
                <a:close/>
                <a:moveTo>
                  <a:pt x="17" y="11"/>
                </a:moveTo>
                <a:cubicBezTo>
                  <a:pt x="14" y="11"/>
                  <a:pt x="11" y="14"/>
                  <a:pt x="11" y="17"/>
                </a:cubicBezTo>
                <a:cubicBezTo>
                  <a:pt x="11" y="20"/>
                  <a:pt x="14" y="23"/>
                  <a:pt x="17" y="23"/>
                </a:cubicBezTo>
                <a:cubicBezTo>
                  <a:pt x="20" y="23"/>
                  <a:pt x="23" y="20"/>
                  <a:pt x="23" y="17"/>
                </a:cubicBezTo>
                <a:cubicBezTo>
                  <a:pt x="23" y="14"/>
                  <a:pt x="20" y="11"/>
                  <a:pt x="17" y="1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51" name="Freeform 436"/>
          <p:cNvSpPr>
            <a:spLocks/>
          </p:cNvSpPr>
          <p:nvPr/>
        </p:nvSpPr>
        <p:spPr bwMode="auto">
          <a:xfrm>
            <a:off x="9880600" y="4927601"/>
            <a:ext cx="188384" cy="275167"/>
          </a:xfrm>
          <a:custGeom>
            <a:avLst/>
            <a:gdLst>
              <a:gd name="T0" fmla="*/ 217264086 w 92"/>
              <a:gd name="T1" fmla="*/ 89893005 h 136"/>
              <a:gd name="T2" fmla="*/ 106270076 w 92"/>
              <a:gd name="T3" fmla="*/ 0 h 136"/>
              <a:gd name="T4" fmla="*/ 59038419 w 92"/>
              <a:gd name="T5" fmla="*/ 0 h 136"/>
              <a:gd name="T6" fmla="*/ 59038419 w 92"/>
              <a:gd name="T7" fmla="*/ 168260876 h 136"/>
              <a:gd name="T8" fmla="*/ 0 w 92"/>
              <a:gd name="T9" fmla="*/ 193616169 h 136"/>
              <a:gd name="T10" fmla="*/ 0 w 92"/>
              <a:gd name="T11" fmla="*/ 313473003 h 136"/>
              <a:gd name="T12" fmla="*/ 217264086 w 92"/>
              <a:gd name="T13" fmla="*/ 313473003 h 136"/>
              <a:gd name="T14" fmla="*/ 217264086 w 92"/>
              <a:gd name="T15" fmla="*/ 89893005 h 1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92" h="136">
                <a:moveTo>
                  <a:pt x="92" y="39"/>
                </a:moveTo>
                <a:lnTo>
                  <a:pt x="45" y="0"/>
                </a:lnTo>
                <a:lnTo>
                  <a:pt x="25" y="0"/>
                </a:lnTo>
                <a:lnTo>
                  <a:pt x="25" y="73"/>
                </a:lnTo>
                <a:lnTo>
                  <a:pt x="0" y="84"/>
                </a:lnTo>
                <a:lnTo>
                  <a:pt x="0" y="136"/>
                </a:lnTo>
                <a:lnTo>
                  <a:pt x="92" y="136"/>
                </a:lnTo>
                <a:lnTo>
                  <a:pt x="92" y="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52" name="Freeform 437"/>
          <p:cNvSpPr>
            <a:spLocks/>
          </p:cNvSpPr>
          <p:nvPr/>
        </p:nvSpPr>
        <p:spPr bwMode="auto">
          <a:xfrm>
            <a:off x="9880600" y="5238751"/>
            <a:ext cx="188384" cy="74083"/>
          </a:xfrm>
          <a:custGeom>
            <a:avLst/>
            <a:gdLst>
              <a:gd name="T0" fmla="*/ 217264086 w 92"/>
              <a:gd name="T1" fmla="*/ 0 h 37"/>
              <a:gd name="T2" fmla="*/ 0 w 92"/>
              <a:gd name="T3" fmla="*/ 0 h 37"/>
              <a:gd name="T4" fmla="*/ 0 w 92"/>
              <a:gd name="T5" fmla="*/ 84395675 h 37"/>
              <a:gd name="T6" fmla="*/ 59038419 w 92"/>
              <a:gd name="T7" fmla="*/ 84395675 h 37"/>
              <a:gd name="T8" fmla="*/ 132247104 w 92"/>
              <a:gd name="T9" fmla="*/ 84395675 h 37"/>
              <a:gd name="T10" fmla="*/ 217264086 w 92"/>
              <a:gd name="T11" fmla="*/ 84395675 h 37"/>
              <a:gd name="T12" fmla="*/ 217264086 w 92"/>
              <a:gd name="T13" fmla="*/ 0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2" h="37">
                <a:moveTo>
                  <a:pt x="92" y="0"/>
                </a:moveTo>
                <a:lnTo>
                  <a:pt x="0" y="0"/>
                </a:lnTo>
                <a:lnTo>
                  <a:pt x="0" y="37"/>
                </a:lnTo>
                <a:lnTo>
                  <a:pt x="25" y="37"/>
                </a:lnTo>
                <a:lnTo>
                  <a:pt x="56" y="37"/>
                </a:lnTo>
                <a:lnTo>
                  <a:pt x="92" y="37"/>
                </a:lnTo>
                <a:lnTo>
                  <a:pt x="9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53" name="Freeform 438"/>
          <p:cNvSpPr>
            <a:spLocks/>
          </p:cNvSpPr>
          <p:nvPr/>
        </p:nvSpPr>
        <p:spPr bwMode="auto">
          <a:xfrm>
            <a:off x="9880600" y="5238751"/>
            <a:ext cx="188384" cy="74083"/>
          </a:xfrm>
          <a:custGeom>
            <a:avLst/>
            <a:gdLst>
              <a:gd name="T0" fmla="*/ 217264086 w 92"/>
              <a:gd name="T1" fmla="*/ 0 h 37"/>
              <a:gd name="T2" fmla="*/ 0 w 92"/>
              <a:gd name="T3" fmla="*/ 0 h 37"/>
              <a:gd name="T4" fmla="*/ 0 w 92"/>
              <a:gd name="T5" fmla="*/ 84395675 h 37"/>
              <a:gd name="T6" fmla="*/ 59038419 w 92"/>
              <a:gd name="T7" fmla="*/ 84395675 h 37"/>
              <a:gd name="T8" fmla="*/ 132247104 w 92"/>
              <a:gd name="T9" fmla="*/ 84395675 h 37"/>
              <a:gd name="T10" fmla="*/ 217264086 w 92"/>
              <a:gd name="T11" fmla="*/ 84395675 h 37"/>
              <a:gd name="T12" fmla="*/ 217264086 w 92"/>
              <a:gd name="T13" fmla="*/ 0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2" h="37">
                <a:moveTo>
                  <a:pt x="92" y="0"/>
                </a:moveTo>
                <a:lnTo>
                  <a:pt x="0" y="0"/>
                </a:lnTo>
                <a:lnTo>
                  <a:pt x="0" y="37"/>
                </a:lnTo>
                <a:lnTo>
                  <a:pt x="25" y="37"/>
                </a:lnTo>
                <a:lnTo>
                  <a:pt x="56" y="37"/>
                </a:lnTo>
                <a:lnTo>
                  <a:pt x="92" y="37"/>
                </a:lnTo>
                <a:lnTo>
                  <a:pt x="92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54" name="Freeform 439"/>
          <p:cNvSpPr>
            <a:spLocks/>
          </p:cNvSpPr>
          <p:nvPr/>
        </p:nvSpPr>
        <p:spPr bwMode="auto">
          <a:xfrm>
            <a:off x="10098618" y="5238751"/>
            <a:ext cx="188383" cy="74083"/>
          </a:xfrm>
          <a:custGeom>
            <a:avLst/>
            <a:gdLst>
              <a:gd name="T0" fmla="*/ 217262549 w 92"/>
              <a:gd name="T1" fmla="*/ 0 h 37"/>
              <a:gd name="T2" fmla="*/ 0 w 92"/>
              <a:gd name="T3" fmla="*/ 0 h 37"/>
              <a:gd name="T4" fmla="*/ 0 w 92"/>
              <a:gd name="T5" fmla="*/ 84395675 h 37"/>
              <a:gd name="T6" fmla="*/ 85016381 w 92"/>
              <a:gd name="T7" fmla="*/ 84395675 h 37"/>
              <a:gd name="T8" fmla="*/ 160584961 w 92"/>
              <a:gd name="T9" fmla="*/ 84395675 h 37"/>
              <a:gd name="T10" fmla="*/ 217262549 w 92"/>
              <a:gd name="T11" fmla="*/ 84395675 h 37"/>
              <a:gd name="T12" fmla="*/ 217262549 w 92"/>
              <a:gd name="T13" fmla="*/ 0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2" h="37">
                <a:moveTo>
                  <a:pt x="92" y="0"/>
                </a:moveTo>
                <a:lnTo>
                  <a:pt x="0" y="0"/>
                </a:lnTo>
                <a:lnTo>
                  <a:pt x="0" y="37"/>
                </a:lnTo>
                <a:lnTo>
                  <a:pt x="36" y="37"/>
                </a:lnTo>
                <a:lnTo>
                  <a:pt x="68" y="37"/>
                </a:lnTo>
                <a:lnTo>
                  <a:pt x="92" y="37"/>
                </a:lnTo>
                <a:lnTo>
                  <a:pt x="9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55" name="Freeform 440"/>
          <p:cNvSpPr>
            <a:spLocks/>
          </p:cNvSpPr>
          <p:nvPr/>
        </p:nvSpPr>
        <p:spPr bwMode="auto">
          <a:xfrm>
            <a:off x="10098618" y="5238751"/>
            <a:ext cx="188383" cy="74083"/>
          </a:xfrm>
          <a:custGeom>
            <a:avLst/>
            <a:gdLst>
              <a:gd name="T0" fmla="*/ 217262549 w 92"/>
              <a:gd name="T1" fmla="*/ 0 h 37"/>
              <a:gd name="T2" fmla="*/ 0 w 92"/>
              <a:gd name="T3" fmla="*/ 0 h 37"/>
              <a:gd name="T4" fmla="*/ 0 w 92"/>
              <a:gd name="T5" fmla="*/ 84395675 h 37"/>
              <a:gd name="T6" fmla="*/ 85016381 w 92"/>
              <a:gd name="T7" fmla="*/ 84395675 h 37"/>
              <a:gd name="T8" fmla="*/ 160584961 w 92"/>
              <a:gd name="T9" fmla="*/ 84395675 h 37"/>
              <a:gd name="T10" fmla="*/ 217262549 w 92"/>
              <a:gd name="T11" fmla="*/ 84395675 h 37"/>
              <a:gd name="T12" fmla="*/ 217262549 w 92"/>
              <a:gd name="T13" fmla="*/ 0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2" h="37">
                <a:moveTo>
                  <a:pt x="92" y="0"/>
                </a:moveTo>
                <a:lnTo>
                  <a:pt x="0" y="0"/>
                </a:lnTo>
                <a:lnTo>
                  <a:pt x="0" y="37"/>
                </a:lnTo>
                <a:lnTo>
                  <a:pt x="36" y="37"/>
                </a:lnTo>
                <a:lnTo>
                  <a:pt x="68" y="37"/>
                </a:lnTo>
                <a:lnTo>
                  <a:pt x="92" y="37"/>
                </a:lnTo>
                <a:lnTo>
                  <a:pt x="92" y="0"/>
                </a:ln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56" name="Freeform 441"/>
          <p:cNvSpPr>
            <a:spLocks/>
          </p:cNvSpPr>
          <p:nvPr/>
        </p:nvSpPr>
        <p:spPr bwMode="auto">
          <a:xfrm>
            <a:off x="10098618" y="4923367"/>
            <a:ext cx="188383" cy="279400"/>
          </a:xfrm>
          <a:custGeom>
            <a:avLst/>
            <a:gdLst>
              <a:gd name="T0" fmla="*/ 217262549 w 92"/>
              <a:gd name="T1" fmla="*/ 198355778 h 138"/>
              <a:gd name="T2" fmla="*/ 160584961 w 92"/>
              <a:gd name="T3" fmla="*/ 172985043 h 138"/>
              <a:gd name="T4" fmla="*/ 160584961 w 92"/>
              <a:gd name="T5" fmla="*/ 0 h 138"/>
              <a:gd name="T6" fmla="*/ 110993224 w 92"/>
              <a:gd name="T7" fmla="*/ 0 h 138"/>
              <a:gd name="T8" fmla="*/ 0 w 92"/>
              <a:gd name="T9" fmla="*/ 94564752 h 138"/>
              <a:gd name="T10" fmla="*/ 0 w 92"/>
              <a:gd name="T11" fmla="*/ 318292784 h 138"/>
              <a:gd name="T12" fmla="*/ 217262549 w 92"/>
              <a:gd name="T13" fmla="*/ 318292784 h 138"/>
              <a:gd name="T14" fmla="*/ 217262549 w 92"/>
              <a:gd name="T15" fmla="*/ 198355778 h 13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92" h="138">
                <a:moveTo>
                  <a:pt x="92" y="86"/>
                </a:moveTo>
                <a:lnTo>
                  <a:pt x="68" y="75"/>
                </a:lnTo>
                <a:lnTo>
                  <a:pt x="68" y="0"/>
                </a:lnTo>
                <a:lnTo>
                  <a:pt x="47" y="0"/>
                </a:lnTo>
                <a:lnTo>
                  <a:pt x="0" y="41"/>
                </a:lnTo>
                <a:lnTo>
                  <a:pt x="0" y="138"/>
                </a:lnTo>
                <a:lnTo>
                  <a:pt x="92" y="138"/>
                </a:lnTo>
                <a:lnTo>
                  <a:pt x="92" y="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57" name="Rectangle 442"/>
          <p:cNvSpPr>
            <a:spLocks noChangeArrowheads="1"/>
          </p:cNvSpPr>
          <p:nvPr/>
        </p:nvSpPr>
        <p:spPr bwMode="auto">
          <a:xfrm>
            <a:off x="10068985" y="5202767"/>
            <a:ext cx="29633" cy="359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58" name="Rectangle 443"/>
          <p:cNvSpPr>
            <a:spLocks noChangeArrowheads="1"/>
          </p:cNvSpPr>
          <p:nvPr/>
        </p:nvSpPr>
        <p:spPr bwMode="auto">
          <a:xfrm>
            <a:off x="10028768" y="5215467"/>
            <a:ext cx="116417" cy="105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o UI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o UI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0759" name="Freeform 444"/>
          <p:cNvSpPr>
            <a:spLocks noEditPoints="1"/>
          </p:cNvSpPr>
          <p:nvPr/>
        </p:nvSpPr>
        <p:spPr bwMode="auto">
          <a:xfrm>
            <a:off x="10699752" y="5073651"/>
            <a:ext cx="232833" cy="245533"/>
          </a:xfrm>
          <a:custGeom>
            <a:avLst/>
            <a:gdLst>
              <a:gd name="T0" fmla="*/ 485499410 w 50"/>
              <a:gd name="T1" fmla="*/ 152135181 h 54"/>
              <a:gd name="T2" fmla="*/ 485499410 w 50"/>
              <a:gd name="T3" fmla="*/ 0 h 54"/>
              <a:gd name="T4" fmla="*/ 109238415 w 50"/>
              <a:gd name="T5" fmla="*/ 0 h 54"/>
              <a:gd name="T6" fmla="*/ 109238415 w 50"/>
              <a:gd name="T7" fmla="*/ 152135181 h 54"/>
              <a:gd name="T8" fmla="*/ 0 w 50"/>
              <a:gd name="T9" fmla="*/ 362782320 h 54"/>
              <a:gd name="T10" fmla="*/ 303438878 w 50"/>
              <a:gd name="T11" fmla="*/ 631944827 h 54"/>
              <a:gd name="T12" fmla="*/ 606874263 w 50"/>
              <a:gd name="T13" fmla="*/ 362782320 h 54"/>
              <a:gd name="T14" fmla="*/ 485499410 w 50"/>
              <a:gd name="T15" fmla="*/ 152135181 h 54"/>
              <a:gd name="T16" fmla="*/ 303438878 w 50"/>
              <a:gd name="T17" fmla="*/ 514917502 h 54"/>
              <a:gd name="T18" fmla="*/ 109238415 w 50"/>
              <a:gd name="T19" fmla="*/ 362782320 h 54"/>
              <a:gd name="T20" fmla="*/ 303438878 w 50"/>
              <a:gd name="T21" fmla="*/ 210647139 h 54"/>
              <a:gd name="T22" fmla="*/ 485499410 w 50"/>
              <a:gd name="T23" fmla="*/ 362782320 h 54"/>
              <a:gd name="T24" fmla="*/ 303438878 w 50"/>
              <a:gd name="T25" fmla="*/ 514917502 h 5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0" h="54">
                <a:moveTo>
                  <a:pt x="40" y="13"/>
                </a:moveTo>
                <a:cubicBezTo>
                  <a:pt x="40" y="0"/>
                  <a:pt x="40" y="0"/>
                  <a:pt x="40" y="0"/>
                </a:cubicBezTo>
                <a:cubicBezTo>
                  <a:pt x="9" y="0"/>
                  <a:pt x="9" y="0"/>
                  <a:pt x="9" y="0"/>
                </a:cubicBezTo>
                <a:cubicBezTo>
                  <a:pt x="9" y="13"/>
                  <a:pt x="9" y="13"/>
                  <a:pt x="9" y="13"/>
                </a:cubicBezTo>
                <a:cubicBezTo>
                  <a:pt x="3" y="18"/>
                  <a:pt x="0" y="24"/>
                  <a:pt x="0" y="31"/>
                </a:cubicBezTo>
                <a:cubicBezTo>
                  <a:pt x="0" y="43"/>
                  <a:pt x="11" y="54"/>
                  <a:pt x="25" y="54"/>
                </a:cubicBezTo>
                <a:cubicBezTo>
                  <a:pt x="38" y="54"/>
                  <a:pt x="50" y="43"/>
                  <a:pt x="50" y="31"/>
                </a:cubicBezTo>
                <a:cubicBezTo>
                  <a:pt x="50" y="24"/>
                  <a:pt x="46" y="18"/>
                  <a:pt x="40" y="13"/>
                </a:cubicBezTo>
                <a:close/>
                <a:moveTo>
                  <a:pt x="25" y="44"/>
                </a:moveTo>
                <a:cubicBezTo>
                  <a:pt x="16" y="44"/>
                  <a:pt x="9" y="38"/>
                  <a:pt x="9" y="31"/>
                </a:cubicBezTo>
                <a:cubicBezTo>
                  <a:pt x="9" y="24"/>
                  <a:pt x="16" y="18"/>
                  <a:pt x="25" y="18"/>
                </a:cubicBezTo>
                <a:cubicBezTo>
                  <a:pt x="33" y="18"/>
                  <a:pt x="40" y="24"/>
                  <a:pt x="40" y="31"/>
                </a:cubicBezTo>
                <a:cubicBezTo>
                  <a:pt x="40" y="38"/>
                  <a:pt x="33" y="44"/>
                  <a:pt x="25" y="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60" name="Freeform 445"/>
          <p:cNvSpPr>
            <a:spLocks noEditPoints="1"/>
          </p:cNvSpPr>
          <p:nvPr/>
        </p:nvSpPr>
        <p:spPr bwMode="auto">
          <a:xfrm>
            <a:off x="10932585" y="4936067"/>
            <a:ext cx="273049" cy="275167"/>
          </a:xfrm>
          <a:custGeom>
            <a:avLst/>
            <a:gdLst>
              <a:gd name="T0" fmla="*/ 372990017 w 59"/>
              <a:gd name="T1" fmla="*/ 118421415 h 60"/>
              <a:gd name="T2" fmla="*/ 264702817 w 59"/>
              <a:gd name="T3" fmla="*/ 0 h 60"/>
              <a:gd name="T4" fmla="*/ 0 w 59"/>
              <a:gd name="T5" fmla="*/ 272370285 h 60"/>
              <a:gd name="T6" fmla="*/ 108287200 w 59"/>
              <a:gd name="T7" fmla="*/ 378952654 h 60"/>
              <a:gd name="T8" fmla="*/ 180479824 w 59"/>
              <a:gd name="T9" fmla="*/ 603956438 h 60"/>
              <a:gd name="T10" fmla="*/ 589564418 w 59"/>
              <a:gd name="T11" fmla="*/ 580271467 h 60"/>
              <a:gd name="T12" fmla="*/ 601594787 w 59"/>
              <a:gd name="T13" fmla="*/ 177633842 h 60"/>
              <a:gd name="T14" fmla="*/ 372990017 w 59"/>
              <a:gd name="T15" fmla="*/ 118421415 h 60"/>
              <a:gd name="T16" fmla="*/ 505341426 w 59"/>
              <a:gd name="T17" fmla="*/ 509216554 h 60"/>
              <a:gd name="T18" fmla="*/ 252668977 w 59"/>
              <a:gd name="T19" fmla="*/ 521059040 h 60"/>
              <a:gd name="T20" fmla="*/ 276733185 w 59"/>
              <a:gd name="T21" fmla="*/ 284212771 h 60"/>
              <a:gd name="T22" fmla="*/ 529402163 w 59"/>
              <a:gd name="T23" fmla="*/ 260531240 h 60"/>
              <a:gd name="T24" fmla="*/ 505341426 w 59"/>
              <a:gd name="T25" fmla="*/ 509216554 h 6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9" h="60">
                <a:moveTo>
                  <a:pt x="31" y="10"/>
                </a:moveTo>
                <a:cubicBezTo>
                  <a:pt x="22" y="0"/>
                  <a:pt x="22" y="0"/>
                  <a:pt x="22" y="0"/>
                </a:cubicBezTo>
                <a:cubicBezTo>
                  <a:pt x="0" y="23"/>
                  <a:pt x="0" y="23"/>
                  <a:pt x="0" y="23"/>
                </a:cubicBezTo>
                <a:cubicBezTo>
                  <a:pt x="9" y="32"/>
                  <a:pt x="9" y="32"/>
                  <a:pt x="9" y="32"/>
                </a:cubicBezTo>
                <a:cubicBezTo>
                  <a:pt x="8" y="39"/>
                  <a:pt x="10" y="46"/>
                  <a:pt x="15" y="51"/>
                </a:cubicBezTo>
                <a:cubicBezTo>
                  <a:pt x="24" y="60"/>
                  <a:pt x="39" y="59"/>
                  <a:pt x="49" y="49"/>
                </a:cubicBezTo>
                <a:cubicBezTo>
                  <a:pt x="58" y="39"/>
                  <a:pt x="59" y="24"/>
                  <a:pt x="50" y="15"/>
                </a:cubicBezTo>
                <a:cubicBezTo>
                  <a:pt x="45" y="10"/>
                  <a:pt x="38" y="8"/>
                  <a:pt x="31" y="10"/>
                </a:cubicBezTo>
                <a:close/>
                <a:moveTo>
                  <a:pt x="42" y="43"/>
                </a:moveTo>
                <a:cubicBezTo>
                  <a:pt x="36" y="49"/>
                  <a:pt x="27" y="49"/>
                  <a:pt x="21" y="44"/>
                </a:cubicBezTo>
                <a:cubicBezTo>
                  <a:pt x="16" y="39"/>
                  <a:pt x="17" y="30"/>
                  <a:pt x="23" y="24"/>
                </a:cubicBezTo>
                <a:cubicBezTo>
                  <a:pt x="29" y="18"/>
                  <a:pt x="39" y="17"/>
                  <a:pt x="44" y="22"/>
                </a:cubicBezTo>
                <a:cubicBezTo>
                  <a:pt x="49" y="27"/>
                  <a:pt x="48" y="36"/>
                  <a:pt x="42" y="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61" name="Freeform 446"/>
          <p:cNvSpPr>
            <a:spLocks/>
          </p:cNvSpPr>
          <p:nvPr/>
        </p:nvSpPr>
        <p:spPr bwMode="auto">
          <a:xfrm>
            <a:off x="10799234" y="5090585"/>
            <a:ext cx="14817" cy="4233"/>
          </a:xfrm>
          <a:custGeom>
            <a:avLst/>
            <a:gdLst>
              <a:gd name="T0" fmla="*/ 0 w 3"/>
              <a:gd name="T1" fmla="*/ 9645650 h 1"/>
              <a:gd name="T2" fmla="*/ 0 w 3"/>
              <a:gd name="T3" fmla="*/ 0 h 1"/>
              <a:gd name="T4" fmla="*/ 39877148 w 3"/>
              <a:gd name="T5" fmla="*/ 0 h 1"/>
              <a:gd name="T6" fmla="*/ 39877148 w 3"/>
              <a:gd name="T7" fmla="*/ 0 h 1"/>
              <a:gd name="T8" fmla="*/ 0 w 3"/>
              <a:gd name="T9" fmla="*/ 964565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" h="1">
                <a:moveTo>
                  <a:pt x="0" y="1"/>
                </a:moveTo>
                <a:cubicBezTo>
                  <a:pt x="0" y="1"/>
                  <a:pt x="0" y="0"/>
                  <a:pt x="0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0"/>
                  <a:pt x="3" y="0"/>
                  <a:pt x="3" y="0"/>
                </a:cubicBez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62" name="Freeform 447"/>
          <p:cNvSpPr>
            <a:spLocks noEditPoints="1"/>
          </p:cNvSpPr>
          <p:nvPr/>
        </p:nvSpPr>
        <p:spPr bwMode="auto">
          <a:xfrm>
            <a:off x="10799234" y="4972051"/>
            <a:ext cx="198967" cy="107949"/>
          </a:xfrm>
          <a:custGeom>
            <a:avLst/>
            <a:gdLst>
              <a:gd name="T0" fmla="*/ 0 w 43"/>
              <a:gd name="T1" fmla="*/ 276694382 h 24"/>
              <a:gd name="T2" fmla="*/ 36115920 w 43"/>
              <a:gd name="T3" fmla="*/ 265164044 h 24"/>
              <a:gd name="T4" fmla="*/ 48151090 w 43"/>
              <a:gd name="T5" fmla="*/ 242106741 h 24"/>
              <a:gd name="T6" fmla="*/ 12038640 w 43"/>
              <a:gd name="T7" fmla="*/ 219049438 h 24"/>
              <a:gd name="T8" fmla="*/ 48151090 w 43"/>
              <a:gd name="T9" fmla="*/ 242106741 h 24"/>
              <a:gd name="T10" fmla="*/ 12038640 w 43"/>
              <a:gd name="T11" fmla="*/ 207522473 h 24"/>
              <a:gd name="T12" fmla="*/ 60189730 w 43"/>
              <a:gd name="T13" fmla="*/ 195992135 h 24"/>
              <a:gd name="T14" fmla="*/ 60189730 w 43"/>
              <a:gd name="T15" fmla="*/ 184461797 h 24"/>
              <a:gd name="T16" fmla="*/ 36115920 w 43"/>
              <a:gd name="T17" fmla="*/ 149877529 h 24"/>
              <a:gd name="T18" fmla="*/ 60189730 w 43"/>
              <a:gd name="T19" fmla="*/ 184461797 h 24"/>
              <a:gd name="T20" fmla="*/ 48151090 w 43"/>
              <a:gd name="T21" fmla="*/ 138347191 h 24"/>
              <a:gd name="T22" fmla="*/ 96305651 w 43"/>
              <a:gd name="T23" fmla="*/ 138347191 h 24"/>
              <a:gd name="T24" fmla="*/ 96305651 w 43"/>
              <a:gd name="T25" fmla="*/ 126816853 h 24"/>
              <a:gd name="T26" fmla="*/ 84267010 w 43"/>
              <a:gd name="T27" fmla="*/ 92232585 h 24"/>
              <a:gd name="T28" fmla="*/ 96305651 w 43"/>
              <a:gd name="T29" fmla="*/ 126816853 h 24"/>
              <a:gd name="T30" fmla="*/ 96305651 w 43"/>
              <a:gd name="T31" fmla="*/ 80702247 h 24"/>
              <a:gd name="T32" fmla="*/ 144456741 w 43"/>
              <a:gd name="T33" fmla="*/ 92232585 h 24"/>
              <a:gd name="T34" fmla="*/ 156495381 w 43"/>
              <a:gd name="T35" fmla="*/ 80702247 h 24"/>
              <a:gd name="T36" fmla="*/ 144456741 w 43"/>
              <a:gd name="T37" fmla="*/ 46114606 h 24"/>
              <a:gd name="T38" fmla="*/ 156495381 w 43"/>
              <a:gd name="T39" fmla="*/ 80702247 h 24"/>
              <a:gd name="T40" fmla="*/ 168534021 w 43"/>
              <a:gd name="T41" fmla="*/ 34587641 h 24"/>
              <a:gd name="T42" fmla="*/ 192611301 w 43"/>
              <a:gd name="T43" fmla="*/ 57644944 h 24"/>
              <a:gd name="T44" fmla="*/ 216685111 w 43"/>
              <a:gd name="T45" fmla="*/ 57644944 h 24"/>
              <a:gd name="T46" fmla="*/ 216685111 w 43"/>
              <a:gd name="T47" fmla="*/ 11530338 h 24"/>
              <a:gd name="T48" fmla="*/ 216685111 w 43"/>
              <a:gd name="T49" fmla="*/ 57644944 h 24"/>
              <a:gd name="T50" fmla="*/ 493563423 w 43"/>
              <a:gd name="T51" fmla="*/ 46114606 h 24"/>
              <a:gd name="T52" fmla="*/ 517640703 w 43"/>
              <a:gd name="T53" fmla="*/ 11530338 h 24"/>
              <a:gd name="T54" fmla="*/ 252801031 w 43"/>
              <a:gd name="T55" fmla="*/ 46114606 h 24"/>
              <a:gd name="T56" fmla="*/ 252801031 w 43"/>
              <a:gd name="T57" fmla="*/ 11530338 h 24"/>
              <a:gd name="T58" fmla="*/ 252801031 w 43"/>
              <a:gd name="T59" fmla="*/ 46114606 h 24"/>
              <a:gd name="T60" fmla="*/ 457450973 w 43"/>
              <a:gd name="T61" fmla="*/ 46114606 h 24"/>
              <a:gd name="T62" fmla="*/ 481524783 w 43"/>
              <a:gd name="T63" fmla="*/ 11530338 h 24"/>
              <a:gd name="T64" fmla="*/ 276878312 w 43"/>
              <a:gd name="T65" fmla="*/ 46114606 h 24"/>
              <a:gd name="T66" fmla="*/ 300955592 w 43"/>
              <a:gd name="T67" fmla="*/ 0 h 24"/>
              <a:gd name="T68" fmla="*/ 276878312 w 43"/>
              <a:gd name="T69" fmla="*/ 46114606 h 24"/>
              <a:gd name="T70" fmla="*/ 421335052 w 43"/>
              <a:gd name="T71" fmla="*/ 34587641 h 24"/>
              <a:gd name="T72" fmla="*/ 445412333 w 43"/>
              <a:gd name="T73" fmla="*/ 0 h 24"/>
              <a:gd name="T74" fmla="*/ 409296412 w 43"/>
              <a:gd name="T75" fmla="*/ 34587641 h 24"/>
              <a:gd name="T76" fmla="*/ 385222602 w 43"/>
              <a:gd name="T77" fmla="*/ 0 h 24"/>
              <a:gd name="T78" fmla="*/ 409296412 w 43"/>
              <a:gd name="T79" fmla="*/ 34587641 h 24"/>
              <a:gd name="T80" fmla="*/ 312990762 w 43"/>
              <a:gd name="T81" fmla="*/ 0 h 24"/>
              <a:gd name="T82" fmla="*/ 337068042 w 43"/>
              <a:gd name="T83" fmla="*/ 34587641 h 24"/>
              <a:gd name="T84" fmla="*/ 373183962 w 43"/>
              <a:gd name="T85" fmla="*/ 34587641 h 24"/>
              <a:gd name="T86" fmla="*/ 349106682 w 43"/>
              <a:gd name="T87" fmla="*/ 34587641 h 24"/>
              <a:gd name="T88" fmla="*/ 361145322 w 43"/>
              <a:gd name="T89" fmla="*/ 0 h 24"/>
              <a:gd name="T90" fmla="*/ 373183962 w 43"/>
              <a:gd name="T91" fmla="*/ 34587641 h 2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3" h="24">
                <a:moveTo>
                  <a:pt x="3" y="24"/>
                </a:move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3"/>
                  <a:pt x="0" y="22"/>
                </a:cubicBezTo>
                <a:cubicBezTo>
                  <a:pt x="3" y="23"/>
                  <a:pt x="3" y="23"/>
                  <a:pt x="3" y="23"/>
                </a:cubicBezTo>
                <a:cubicBezTo>
                  <a:pt x="3" y="23"/>
                  <a:pt x="3" y="24"/>
                  <a:pt x="3" y="24"/>
                </a:cubicBezTo>
                <a:close/>
                <a:moveTo>
                  <a:pt x="4" y="21"/>
                </a:moveTo>
                <a:cubicBezTo>
                  <a:pt x="1" y="21"/>
                  <a:pt x="1" y="21"/>
                  <a:pt x="1" y="21"/>
                </a:cubicBezTo>
                <a:cubicBezTo>
                  <a:pt x="1" y="20"/>
                  <a:pt x="1" y="20"/>
                  <a:pt x="1" y="19"/>
                </a:cubicBezTo>
                <a:cubicBezTo>
                  <a:pt x="4" y="20"/>
                  <a:pt x="4" y="20"/>
                  <a:pt x="4" y="20"/>
                </a:cubicBezTo>
                <a:cubicBezTo>
                  <a:pt x="4" y="21"/>
                  <a:pt x="4" y="21"/>
                  <a:pt x="4" y="21"/>
                </a:cubicBezTo>
                <a:close/>
                <a:moveTo>
                  <a:pt x="4" y="19"/>
                </a:moveTo>
                <a:cubicBezTo>
                  <a:pt x="1" y="18"/>
                  <a:pt x="1" y="18"/>
                  <a:pt x="1" y="18"/>
                </a:cubicBezTo>
                <a:cubicBezTo>
                  <a:pt x="2" y="17"/>
                  <a:pt x="2" y="17"/>
                  <a:pt x="2" y="16"/>
                </a:cubicBezTo>
                <a:cubicBezTo>
                  <a:pt x="5" y="17"/>
                  <a:pt x="5" y="17"/>
                  <a:pt x="5" y="17"/>
                </a:cubicBezTo>
                <a:cubicBezTo>
                  <a:pt x="5" y="18"/>
                  <a:pt x="5" y="18"/>
                  <a:pt x="4" y="19"/>
                </a:cubicBezTo>
                <a:close/>
                <a:moveTo>
                  <a:pt x="5" y="16"/>
                </a:moveTo>
                <a:cubicBezTo>
                  <a:pt x="3" y="15"/>
                  <a:pt x="3" y="15"/>
                  <a:pt x="3" y="15"/>
                </a:cubicBezTo>
                <a:cubicBezTo>
                  <a:pt x="3" y="14"/>
                  <a:pt x="3" y="14"/>
                  <a:pt x="3" y="13"/>
                </a:cubicBezTo>
                <a:cubicBezTo>
                  <a:pt x="6" y="15"/>
                  <a:pt x="6" y="15"/>
                  <a:pt x="6" y="15"/>
                </a:cubicBezTo>
                <a:cubicBezTo>
                  <a:pt x="6" y="15"/>
                  <a:pt x="6" y="16"/>
                  <a:pt x="5" y="16"/>
                </a:cubicBezTo>
                <a:close/>
                <a:moveTo>
                  <a:pt x="7" y="13"/>
                </a:moveTo>
                <a:cubicBezTo>
                  <a:pt x="4" y="12"/>
                  <a:pt x="4" y="12"/>
                  <a:pt x="4" y="12"/>
                </a:cubicBezTo>
                <a:cubicBezTo>
                  <a:pt x="4" y="11"/>
                  <a:pt x="5" y="11"/>
                  <a:pt x="5" y="10"/>
                </a:cubicBezTo>
                <a:cubicBezTo>
                  <a:pt x="8" y="12"/>
                  <a:pt x="8" y="12"/>
                  <a:pt x="8" y="12"/>
                </a:cubicBezTo>
                <a:cubicBezTo>
                  <a:pt x="7" y="13"/>
                  <a:pt x="7" y="13"/>
                  <a:pt x="7" y="13"/>
                </a:cubicBezTo>
                <a:close/>
                <a:moveTo>
                  <a:pt x="8" y="11"/>
                </a:moveTo>
                <a:cubicBezTo>
                  <a:pt x="6" y="9"/>
                  <a:pt x="6" y="9"/>
                  <a:pt x="6" y="9"/>
                </a:cubicBezTo>
                <a:cubicBezTo>
                  <a:pt x="6" y="9"/>
                  <a:pt x="7" y="8"/>
                  <a:pt x="7" y="8"/>
                </a:cubicBezTo>
                <a:cubicBezTo>
                  <a:pt x="9" y="10"/>
                  <a:pt x="9" y="10"/>
                  <a:pt x="9" y="10"/>
                </a:cubicBezTo>
                <a:lnTo>
                  <a:pt x="8" y="11"/>
                </a:lnTo>
                <a:close/>
                <a:moveTo>
                  <a:pt x="10" y="9"/>
                </a:moveTo>
                <a:cubicBezTo>
                  <a:pt x="8" y="7"/>
                  <a:pt x="8" y="7"/>
                  <a:pt x="8" y="7"/>
                </a:cubicBezTo>
                <a:cubicBezTo>
                  <a:pt x="9" y="6"/>
                  <a:pt x="9" y="6"/>
                  <a:pt x="10" y="6"/>
                </a:cubicBezTo>
                <a:cubicBezTo>
                  <a:pt x="12" y="8"/>
                  <a:pt x="12" y="8"/>
                  <a:pt x="12" y="8"/>
                </a:cubicBezTo>
                <a:cubicBezTo>
                  <a:pt x="11" y="9"/>
                  <a:pt x="11" y="9"/>
                  <a:pt x="10" y="9"/>
                </a:cubicBezTo>
                <a:close/>
                <a:moveTo>
                  <a:pt x="13" y="7"/>
                </a:moveTo>
                <a:cubicBezTo>
                  <a:pt x="11" y="5"/>
                  <a:pt x="11" y="5"/>
                  <a:pt x="11" y="5"/>
                </a:cubicBezTo>
                <a:cubicBezTo>
                  <a:pt x="11" y="5"/>
                  <a:pt x="12" y="4"/>
                  <a:pt x="12" y="4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7"/>
                  <a:pt x="13" y="7"/>
                  <a:pt x="13" y="7"/>
                </a:cubicBezTo>
                <a:close/>
                <a:moveTo>
                  <a:pt x="15" y="6"/>
                </a:moveTo>
                <a:cubicBezTo>
                  <a:pt x="14" y="3"/>
                  <a:pt x="14" y="3"/>
                  <a:pt x="14" y="3"/>
                </a:cubicBezTo>
                <a:cubicBezTo>
                  <a:pt x="14" y="3"/>
                  <a:pt x="15" y="3"/>
                  <a:pt x="15" y="3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6"/>
                  <a:pt x="16" y="6"/>
                  <a:pt x="15" y="6"/>
                </a:cubicBezTo>
                <a:close/>
                <a:moveTo>
                  <a:pt x="18" y="5"/>
                </a:moveTo>
                <a:cubicBezTo>
                  <a:pt x="17" y="2"/>
                  <a:pt x="17" y="2"/>
                  <a:pt x="17" y="2"/>
                </a:cubicBezTo>
                <a:cubicBezTo>
                  <a:pt x="17" y="2"/>
                  <a:pt x="18" y="2"/>
                  <a:pt x="18" y="1"/>
                </a:cubicBezTo>
                <a:cubicBezTo>
                  <a:pt x="19" y="4"/>
                  <a:pt x="19" y="4"/>
                  <a:pt x="19" y="4"/>
                </a:cubicBezTo>
                <a:cubicBezTo>
                  <a:pt x="19" y="5"/>
                  <a:pt x="18" y="5"/>
                  <a:pt x="18" y="5"/>
                </a:cubicBezTo>
                <a:close/>
                <a:moveTo>
                  <a:pt x="43" y="4"/>
                </a:moveTo>
                <a:cubicBezTo>
                  <a:pt x="41" y="4"/>
                  <a:pt x="41" y="4"/>
                  <a:pt x="41" y="4"/>
                </a:cubicBezTo>
                <a:cubicBezTo>
                  <a:pt x="42" y="1"/>
                  <a:pt x="42" y="1"/>
                  <a:pt x="42" y="1"/>
                </a:cubicBezTo>
                <a:cubicBezTo>
                  <a:pt x="43" y="1"/>
                  <a:pt x="43" y="1"/>
                  <a:pt x="43" y="1"/>
                </a:cubicBezTo>
                <a:lnTo>
                  <a:pt x="43" y="4"/>
                </a:lnTo>
                <a:close/>
                <a:moveTo>
                  <a:pt x="21" y="4"/>
                </a:moveTo>
                <a:cubicBezTo>
                  <a:pt x="20" y="1"/>
                  <a:pt x="20" y="1"/>
                  <a:pt x="20" y="1"/>
                </a:cubicBezTo>
                <a:cubicBezTo>
                  <a:pt x="20" y="1"/>
                  <a:pt x="21" y="1"/>
                  <a:pt x="21" y="1"/>
                </a:cubicBezTo>
                <a:cubicBezTo>
                  <a:pt x="22" y="4"/>
                  <a:pt x="22" y="4"/>
                  <a:pt x="22" y="4"/>
                </a:cubicBezTo>
                <a:cubicBezTo>
                  <a:pt x="22" y="4"/>
                  <a:pt x="21" y="4"/>
                  <a:pt x="21" y="4"/>
                </a:cubicBezTo>
                <a:close/>
                <a:moveTo>
                  <a:pt x="40" y="4"/>
                </a:moveTo>
                <a:cubicBezTo>
                  <a:pt x="38" y="4"/>
                  <a:pt x="38" y="4"/>
                  <a:pt x="38" y="4"/>
                </a:cubicBezTo>
                <a:cubicBezTo>
                  <a:pt x="39" y="1"/>
                  <a:pt x="39" y="1"/>
                  <a:pt x="39" y="1"/>
                </a:cubicBezTo>
                <a:cubicBezTo>
                  <a:pt x="40" y="1"/>
                  <a:pt x="40" y="1"/>
                  <a:pt x="40" y="1"/>
                </a:cubicBezTo>
                <a:lnTo>
                  <a:pt x="40" y="4"/>
                </a:lnTo>
                <a:close/>
                <a:moveTo>
                  <a:pt x="23" y="4"/>
                </a:moveTo>
                <a:cubicBezTo>
                  <a:pt x="23" y="0"/>
                  <a:pt x="23" y="0"/>
                  <a:pt x="23" y="0"/>
                </a:cubicBezTo>
                <a:cubicBezTo>
                  <a:pt x="24" y="0"/>
                  <a:pt x="24" y="0"/>
                  <a:pt x="25" y="0"/>
                </a:cubicBezTo>
                <a:cubicBezTo>
                  <a:pt x="25" y="3"/>
                  <a:pt x="25" y="3"/>
                  <a:pt x="25" y="3"/>
                </a:cubicBezTo>
                <a:cubicBezTo>
                  <a:pt x="24" y="3"/>
                  <a:pt x="24" y="3"/>
                  <a:pt x="23" y="4"/>
                </a:cubicBezTo>
                <a:close/>
                <a:moveTo>
                  <a:pt x="37" y="3"/>
                </a:moveTo>
                <a:cubicBezTo>
                  <a:pt x="35" y="3"/>
                  <a:pt x="35" y="3"/>
                  <a:pt x="35" y="3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7" y="0"/>
                  <a:pt x="37" y="0"/>
                </a:cubicBezTo>
                <a:lnTo>
                  <a:pt x="37" y="3"/>
                </a:lnTo>
                <a:close/>
                <a:moveTo>
                  <a:pt x="34" y="3"/>
                </a:moveTo>
                <a:cubicBezTo>
                  <a:pt x="33" y="3"/>
                  <a:pt x="33" y="3"/>
                  <a:pt x="32" y="3"/>
                </a:cubicBezTo>
                <a:cubicBezTo>
                  <a:pt x="32" y="0"/>
                  <a:pt x="32" y="0"/>
                  <a:pt x="32" y="0"/>
                </a:cubicBezTo>
                <a:cubicBezTo>
                  <a:pt x="33" y="0"/>
                  <a:pt x="33" y="0"/>
                  <a:pt x="34" y="0"/>
                </a:cubicBezTo>
                <a:lnTo>
                  <a:pt x="34" y="3"/>
                </a:lnTo>
                <a:close/>
                <a:moveTo>
                  <a:pt x="26" y="3"/>
                </a:moveTo>
                <a:cubicBezTo>
                  <a:pt x="26" y="0"/>
                  <a:pt x="26" y="0"/>
                  <a:pt x="26" y="0"/>
                </a:cubicBezTo>
                <a:cubicBezTo>
                  <a:pt x="27" y="0"/>
                  <a:pt x="27" y="0"/>
                  <a:pt x="28" y="0"/>
                </a:cubicBezTo>
                <a:cubicBezTo>
                  <a:pt x="28" y="3"/>
                  <a:pt x="28" y="3"/>
                  <a:pt x="28" y="3"/>
                </a:cubicBezTo>
                <a:cubicBezTo>
                  <a:pt x="27" y="3"/>
                  <a:pt x="27" y="3"/>
                  <a:pt x="26" y="3"/>
                </a:cubicBezTo>
                <a:close/>
                <a:moveTo>
                  <a:pt x="31" y="3"/>
                </a:moveTo>
                <a:cubicBezTo>
                  <a:pt x="30" y="3"/>
                  <a:pt x="30" y="3"/>
                  <a:pt x="30" y="3"/>
                </a:cubicBezTo>
                <a:cubicBezTo>
                  <a:pt x="29" y="3"/>
                  <a:pt x="29" y="3"/>
                  <a:pt x="29" y="3"/>
                </a:cubicBezTo>
                <a:cubicBezTo>
                  <a:pt x="29" y="0"/>
                  <a:pt x="29" y="0"/>
                  <a:pt x="29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31" y="0"/>
                  <a:pt x="31" y="0"/>
                  <a:pt x="31" y="0"/>
                </a:cubicBezTo>
                <a:lnTo>
                  <a:pt x="31" y="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763" name="Freeform 448"/>
          <p:cNvSpPr>
            <a:spLocks/>
          </p:cNvSpPr>
          <p:nvPr/>
        </p:nvSpPr>
        <p:spPr bwMode="auto">
          <a:xfrm>
            <a:off x="11002433" y="4980518"/>
            <a:ext cx="8467" cy="12700"/>
          </a:xfrm>
          <a:custGeom>
            <a:avLst/>
            <a:gdLst>
              <a:gd name="T0" fmla="*/ 3906520 w 5"/>
              <a:gd name="T1" fmla="*/ 14468475 h 7"/>
              <a:gd name="T2" fmla="*/ 0 w 5"/>
              <a:gd name="T3" fmla="*/ 14468475 h 7"/>
              <a:gd name="T4" fmla="*/ 3906520 w 5"/>
              <a:gd name="T5" fmla="*/ 0 h 7"/>
              <a:gd name="T6" fmla="*/ 9765030 w 5"/>
              <a:gd name="T7" fmla="*/ 0 h 7"/>
              <a:gd name="T8" fmla="*/ 3906520 w 5"/>
              <a:gd name="T9" fmla="*/ 14468475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" h="7">
                <a:moveTo>
                  <a:pt x="2" y="7"/>
                </a:moveTo>
                <a:lnTo>
                  <a:pt x="0" y="7"/>
                </a:lnTo>
                <a:lnTo>
                  <a:pt x="2" y="0"/>
                </a:lnTo>
                <a:lnTo>
                  <a:pt x="5" y="0"/>
                </a:lnTo>
                <a:lnTo>
                  <a:pt x="2" y="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Freeform 9"/>
          <p:cNvSpPr>
            <a:spLocks noEditPoints="1" noChangeArrowheads="1"/>
          </p:cNvSpPr>
          <p:nvPr/>
        </p:nvSpPr>
        <p:spPr bwMode="auto">
          <a:xfrm>
            <a:off x="9753600" y="3960284"/>
            <a:ext cx="389467" cy="387349"/>
          </a:xfrm>
          <a:custGeom>
            <a:avLst/>
            <a:gdLst>
              <a:gd name="T0" fmla="*/ 941173692 w 85"/>
              <a:gd name="T1" fmla="*/ 620137169 h 85"/>
              <a:gd name="T2" fmla="*/ 941173692 w 85"/>
              <a:gd name="T3" fmla="*/ 936057006 h 85"/>
              <a:gd name="T4" fmla="*/ 870585149 w 85"/>
              <a:gd name="T5" fmla="*/ 994559288 h 85"/>
              <a:gd name="T6" fmla="*/ 117647571 w 85"/>
              <a:gd name="T7" fmla="*/ 994559288 h 85"/>
              <a:gd name="T8" fmla="*/ 58822067 w 85"/>
              <a:gd name="T9" fmla="*/ 936057006 h 85"/>
              <a:gd name="T10" fmla="*/ 58822067 w 85"/>
              <a:gd name="T11" fmla="*/ 620137169 h 85"/>
              <a:gd name="T12" fmla="*/ 199999152 w 85"/>
              <a:gd name="T13" fmla="*/ 655237854 h 85"/>
              <a:gd name="T14" fmla="*/ 199999152 w 85"/>
              <a:gd name="T15" fmla="*/ 713743553 h 85"/>
              <a:gd name="T16" fmla="*/ 247058180 w 85"/>
              <a:gd name="T17" fmla="*/ 713743553 h 85"/>
              <a:gd name="T18" fmla="*/ 247058180 w 85"/>
              <a:gd name="T19" fmla="*/ 795647430 h 85"/>
              <a:gd name="T20" fmla="*/ 317646722 w 85"/>
              <a:gd name="T21" fmla="*/ 795647430 h 85"/>
              <a:gd name="T22" fmla="*/ 317646722 w 85"/>
              <a:gd name="T23" fmla="*/ 713743553 h 85"/>
              <a:gd name="T24" fmla="*/ 352939275 w 85"/>
              <a:gd name="T25" fmla="*/ 713743553 h 85"/>
              <a:gd name="T26" fmla="*/ 352939275 w 85"/>
              <a:gd name="T27" fmla="*/ 666940361 h 85"/>
              <a:gd name="T28" fmla="*/ 635290008 w 85"/>
              <a:gd name="T29" fmla="*/ 666940361 h 85"/>
              <a:gd name="T30" fmla="*/ 635290008 w 85"/>
              <a:gd name="T31" fmla="*/ 713743553 h 85"/>
              <a:gd name="T32" fmla="*/ 670585998 w 85"/>
              <a:gd name="T33" fmla="*/ 713743553 h 85"/>
              <a:gd name="T34" fmla="*/ 670585998 w 85"/>
              <a:gd name="T35" fmla="*/ 795647430 h 85"/>
              <a:gd name="T36" fmla="*/ 741174540 w 85"/>
              <a:gd name="T37" fmla="*/ 795647430 h 85"/>
              <a:gd name="T38" fmla="*/ 741174540 w 85"/>
              <a:gd name="T39" fmla="*/ 713743553 h 85"/>
              <a:gd name="T40" fmla="*/ 776467093 w 85"/>
              <a:gd name="T41" fmla="*/ 713743553 h 85"/>
              <a:gd name="T42" fmla="*/ 776467093 w 85"/>
              <a:gd name="T43" fmla="*/ 655237854 h 85"/>
              <a:gd name="T44" fmla="*/ 941173692 w 85"/>
              <a:gd name="T45" fmla="*/ 620137169 h 85"/>
              <a:gd name="T46" fmla="*/ 364705751 w 85"/>
              <a:gd name="T47" fmla="*/ 0 h 85"/>
              <a:gd name="T48" fmla="*/ 635290008 w 85"/>
              <a:gd name="T49" fmla="*/ 0 h 85"/>
              <a:gd name="T50" fmla="*/ 717645026 w 85"/>
              <a:gd name="T51" fmla="*/ 81903877 h 85"/>
              <a:gd name="T52" fmla="*/ 717645026 w 85"/>
              <a:gd name="T53" fmla="*/ 187212768 h 85"/>
              <a:gd name="T54" fmla="*/ 623526969 w 85"/>
              <a:gd name="T55" fmla="*/ 187212768 h 85"/>
              <a:gd name="T56" fmla="*/ 623526969 w 85"/>
              <a:gd name="T57" fmla="*/ 93606384 h 85"/>
              <a:gd name="T58" fmla="*/ 376468789 w 85"/>
              <a:gd name="T59" fmla="*/ 93606384 h 85"/>
              <a:gd name="T60" fmla="*/ 376468789 w 85"/>
              <a:gd name="T61" fmla="*/ 187212768 h 85"/>
              <a:gd name="T62" fmla="*/ 282350733 w 85"/>
              <a:gd name="T63" fmla="*/ 187212768 h 85"/>
              <a:gd name="T64" fmla="*/ 282350733 w 85"/>
              <a:gd name="T65" fmla="*/ 81903877 h 85"/>
              <a:gd name="T66" fmla="*/ 364705751 w 85"/>
              <a:gd name="T67" fmla="*/ 0 h 85"/>
              <a:gd name="T68" fmla="*/ 0 w 85"/>
              <a:gd name="T69" fmla="*/ 234012543 h 85"/>
              <a:gd name="T70" fmla="*/ 0 w 85"/>
              <a:gd name="T71" fmla="*/ 561634887 h 85"/>
              <a:gd name="T72" fmla="*/ 999995759 w 85"/>
              <a:gd name="T73" fmla="*/ 561634887 h 85"/>
              <a:gd name="T74" fmla="*/ 999995759 w 85"/>
              <a:gd name="T75" fmla="*/ 234012543 h 85"/>
              <a:gd name="T76" fmla="*/ 0 w 85"/>
              <a:gd name="T77" fmla="*/ 234012543 h 8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85"/>
              <a:gd name="T118" fmla="*/ 0 h 85"/>
              <a:gd name="T119" fmla="*/ 85 w 85"/>
              <a:gd name="T120" fmla="*/ 85 h 85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85" h="85">
                <a:moveTo>
                  <a:pt x="80" y="53"/>
                </a:moveTo>
                <a:cubicBezTo>
                  <a:pt x="80" y="80"/>
                  <a:pt x="80" y="80"/>
                  <a:pt x="80" y="80"/>
                </a:cubicBezTo>
                <a:cubicBezTo>
                  <a:pt x="80" y="83"/>
                  <a:pt x="78" y="85"/>
                  <a:pt x="74" y="85"/>
                </a:cubicBezTo>
                <a:cubicBezTo>
                  <a:pt x="10" y="85"/>
                  <a:pt x="10" y="85"/>
                  <a:pt x="10" y="85"/>
                </a:cubicBezTo>
                <a:cubicBezTo>
                  <a:pt x="7" y="85"/>
                  <a:pt x="5" y="83"/>
                  <a:pt x="5" y="80"/>
                </a:cubicBezTo>
                <a:cubicBezTo>
                  <a:pt x="5" y="53"/>
                  <a:pt x="5" y="53"/>
                  <a:pt x="5" y="53"/>
                </a:cubicBezTo>
                <a:cubicBezTo>
                  <a:pt x="9" y="54"/>
                  <a:pt x="13" y="55"/>
                  <a:pt x="17" y="56"/>
                </a:cubicBezTo>
                <a:cubicBezTo>
                  <a:pt x="17" y="61"/>
                  <a:pt x="17" y="61"/>
                  <a:pt x="17" y="61"/>
                </a:cubicBezTo>
                <a:cubicBezTo>
                  <a:pt x="21" y="61"/>
                  <a:pt x="21" y="61"/>
                  <a:pt x="21" y="61"/>
                </a:cubicBezTo>
                <a:cubicBezTo>
                  <a:pt x="21" y="68"/>
                  <a:pt x="21" y="68"/>
                  <a:pt x="21" y="68"/>
                </a:cubicBezTo>
                <a:cubicBezTo>
                  <a:pt x="27" y="68"/>
                  <a:pt x="27" y="68"/>
                  <a:pt x="27" y="68"/>
                </a:cubicBezTo>
                <a:cubicBezTo>
                  <a:pt x="27" y="61"/>
                  <a:pt x="27" y="61"/>
                  <a:pt x="27" y="61"/>
                </a:cubicBezTo>
                <a:cubicBezTo>
                  <a:pt x="30" y="61"/>
                  <a:pt x="30" y="61"/>
                  <a:pt x="30" y="61"/>
                </a:cubicBezTo>
                <a:cubicBezTo>
                  <a:pt x="30" y="57"/>
                  <a:pt x="30" y="57"/>
                  <a:pt x="30" y="57"/>
                </a:cubicBezTo>
                <a:cubicBezTo>
                  <a:pt x="38" y="58"/>
                  <a:pt x="46" y="58"/>
                  <a:pt x="54" y="57"/>
                </a:cubicBezTo>
                <a:cubicBezTo>
                  <a:pt x="54" y="61"/>
                  <a:pt x="54" y="61"/>
                  <a:pt x="54" y="61"/>
                </a:cubicBezTo>
                <a:cubicBezTo>
                  <a:pt x="57" y="61"/>
                  <a:pt x="57" y="61"/>
                  <a:pt x="57" y="61"/>
                </a:cubicBezTo>
                <a:cubicBezTo>
                  <a:pt x="57" y="68"/>
                  <a:pt x="57" y="68"/>
                  <a:pt x="57" y="68"/>
                </a:cubicBezTo>
                <a:cubicBezTo>
                  <a:pt x="63" y="68"/>
                  <a:pt x="63" y="68"/>
                  <a:pt x="63" y="68"/>
                </a:cubicBezTo>
                <a:cubicBezTo>
                  <a:pt x="63" y="61"/>
                  <a:pt x="63" y="61"/>
                  <a:pt x="63" y="61"/>
                </a:cubicBezTo>
                <a:cubicBezTo>
                  <a:pt x="66" y="61"/>
                  <a:pt x="66" y="61"/>
                  <a:pt x="66" y="61"/>
                </a:cubicBezTo>
                <a:cubicBezTo>
                  <a:pt x="66" y="56"/>
                  <a:pt x="66" y="56"/>
                  <a:pt x="66" y="56"/>
                </a:cubicBezTo>
                <a:cubicBezTo>
                  <a:pt x="71" y="55"/>
                  <a:pt x="75" y="54"/>
                  <a:pt x="80" y="53"/>
                </a:cubicBezTo>
                <a:close/>
                <a:moveTo>
                  <a:pt x="31" y="0"/>
                </a:moveTo>
                <a:cubicBezTo>
                  <a:pt x="54" y="0"/>
                  <a:pt x="54" y="0"/>
                  <a:pt x="54" y="0"/>
                </a:cubicBezTo>
                <a:cubicBezTo>
                  <a:pt x="58" y="0"/>
                  <a:pt x="61" y="3"/>
                  <a:pt x="61" y="7"/>
                </a:cubicBezTo>
                <a:cubicBezTo>
                  <a:pt x="61" y="16"/>
                  <a:pt x="61" y="16"/>
                  <a:pt x="61" y="16"/>
                </a:cubicBezTo>
                <a:cubicBezTo>
                  <a:pt x="53" y="16"/>
                  <a:pt x="53" y="16"/>
                  <a:pt x="53" y="16"/>
                </a:cubicBezTo>
                <a:cubicBezTo>
                  <a:pt x="53" y="8"/>
                  <a:pt x="53" y="8"/>
                  <a:pt x="53" y="8"/>
                </a:cubicBezTo>
                <a:cubicBezTo>
                  <a:pt x="32" y="8"/>
                  <a:pt x="32" y="8"/>
                  <a:pt x="32" y="8"/>
                </a:cubicBezTo>
                <a:cubicBezTo>
                  <a:pt x="32" y="16"/>
                  <a:pt x="32" y="16"/>
                  <a:pt x="32" y="16"/>
                </a:cubicBezTo>
                <a:cubicBezTo>
                  <a:pt x="24" y="16"/>
                  <a:pt x="24" y="16"/>
                  <a:pt x="24" y="16"/>
                </a:cubicBezTo>
                <a:cubicBezTo>
                  <a:pt x="24" y="7"/>
                  <a:pt x="24" y="7"/>
                  <a:pt x="24" y="7"/>
                </a:cubicBezTo>
                <a:cubicBezTo>
                  <a:pt x="24" y="3"/>
                  <a:pt x="27" y="0"/>
                  <a:pt x="31" y="0"/>
                </a:cubicBezTo>
                <a:close/>
                <a:moveTo>
                  <a:pt x="0" y="20"/>
                </a:moveTo>
                <a:cubicBezTo>
                  <a:pt x="0" y="48"/>
                  <a:pt x="0" y="48"/>
                  <a:pt x="0" y="48"/>
                </a:cubicBezTo>
                <a:cubicBezTo>
                  <a:pt x="27" y="55"/>
                  <a:pt x="56" y="55"/>
                  <a:pt x="85" y="48"/>
                </a:cubicBezTo>
                <a:cubicBezTo>
                  <a:pt x="85" y="20"/>
                  <a:pt x="85" y="20"/>
                  <a:pt x="85" y="20"/>
                </a:cubicBezTo>
                <a:lnTo>
                  <a:pt x="0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43" name="Freeform 14"/>
          <p:cNvSpPr>
            <a:spLocks noEditPoints="1" noChangeArrowheads="1"/>
          </p:cNvSpPr>
          <p:nvPr/>
        </p:nvSpPr>
        <p:spPr bwMode="auto">
          <a:xfrm>
            <a:off x="8060268" y="3075518"/>
            <a:ext cx="334433" cy="488949"/>
          </a:xfrm>
          <a:custGeom>
            <a:avLst/>
            <a:gdLst>
              <a:gd name="T0" fmla="*/ 188465782 w 73"/>
              <a:gd name="T1" fmla="*/ 904287801 h 107"/>
              <a:gd name="T2" fmla="*/ 671403550 w 73"/>
              <a:gd name="T3" fmla="*/ 904287801 h 107"/>
              <a:gd name="T4" fmla="*/ 612511214 w 73"/>
              <a:gd name="T5" fmla="*/ 1186141959 h 107"/>
              <a:gd name="T6" fmla="*/ 530055072 w 73"/>
              <a:gd name="T7" fmla="*/ 1186141959 h 107"/>
              <a:gd name="T8" fmla="*/ 435823899 w 73"/>
              <a:gd name="T9" fmla="*/ 1256605499 h 107"/>
              <a:gd name="T10" fmla="*/ 341592726 w 73"/>
              <a:gd name="T11" fmla="*/ 1186141959 h 107"/>
              <a:gd name="T12" fmla="*/ 247358117 w 73"/>
              <a:gd name="T13" fmla="*/ 1186141959 h 107"/>
              <a:gd name="T14" fmla="*/ 188465782 w 73"/>
              <a:gd name="T15" fmla="*/ 904287801 h 107"/>
              <a:gd name="T16" fmla="*/ 600729311 w 73"/>
              <a:gd name="T17" fmla="*/ 340576059 h 107"/>
              <a:gd name="T18" fmla="*/ 612511214 w 73"/>
              <a:gd name="T19" fmla="*/ 411039598 h 107"/>
              <a:gd name="T20" fmla="*/ 600729311 w 73"/>
              <a:gd name="T21" fmla="*/ 434526302 h 107"/>
              <a:gd name="T22" fmla="*/ 624289681 w 73"/>
              <a:gd name="T23" fmla="*/ 446271368 h 107"/>
              <a:gd name="T24" fmla="*/ 612511214 w 73"/>
              <a:gd name="T25" fmla="*/ 493248203 h 107"/>
              <a:gd name="T26" fmla="*/ 588950844 w 73"/>
              <a:gd name="T27" fmla="*/ 493248203 h 107"/>
              <a:gd name="T28" fmla="*/ 612511214 w 73"/>
              <a:gd name="T29" fmla="*/ 504989842 h 107"/>
              <a:gd name="T30" fmla="*/ 600729311 w 73"/>
              <a:gd name="T31" fmla="*/ 551966677 h 107"/>
              <a:gd name="T32" fmla="*/ 588950844 w 73"/>
              <a:gd name="T33" fmla="*/ 563711743 h 107"/>
              <a:gd name="T34" fmla="*/ 600729311 w 73"/>
              <a:gd name="T35" fmla="*/ 575453381 h 107"/>
              <a:gd name="T36" fmla="*/ 588950844 w 73"/>
              <a:gd name="T37" fmla="*/ 622430217 h 107"/>
              <a:gd name="T38" fmla="*/ 553615442 w 73"/>
              <a:gd name="T39" fmla="*/ 634175282 h 107"/>
              <a:gd name="T40" fmla="*/ 341592726 w 73"/>
              <a:gd name="T41" fmla="*/ 575453381 h 107"/>
              <a:gd name="T42" fmla="*/ 247358117 w 73"/>
              <a:gd name="T43" fmla="*/ 575453381 h 107"/>
              <a:gd name="T44" fmla="*/ 247358117 w 73"/>
              <a:gd name="T45" fmla="*/ 375807828 h 107"/>
              <a:gd name="T46" fmla="*/ 329814259 w 73"/>
              <a:gd name="T47" fmla="*/ 364062763 h 107"/>
              <a:gd name="T48" fmla="*/ 494719671 w 73"/>
              <a:gd name="T49" fmla="*/ 187903914 h 107"/>
              <a:gd name="T50" fmla="*/ 447602366 w 73"/>
              <a:gd name="T51" fmla="*/ 352317697 h 107"/>
              <a:gd name="T52" fmla="*/ 600729311 w 73"/>
              <a:gd name="T53" fmla="*/ 340576059 h 107"/>
              <a:gd name="T54" fmla="*/ 176683879 w 73"/>
              <a:gd name="T55" fmla="*/ 833820835 h 107"/>
              <a:gd name="T56" fmla="*/ 294475422 w 73"/>
              <a:gd name="T57" fmla="*/ 833820835 h 107"/>
              <a:gd name="T58" fmla="*/ 200244249 w 73"/>
              <a:gd name="T59" fmla="*/ 563711743 h 107"/>
              <a:gd name="T60" fmla="*/ 129570010 w 73"/>
              <a:gd name="T61" fmla="*/ 340576059 h 107"/>
              <a:gd name="T62" fmla="*/ 270918488 w 73"/>
              <a:gd name="T63" fmla="*/ 152672145 h 107"/>
              <a:gd name="T64" fmla="*/ 435823899 w 73"/>
              <a:gd name="T65" fmla="*/ 129185440 h 107"/>
              <a:gd name="T66" fmla="*/ 588950844 w 73"/>
              <a:gd name="T67" fmla="*/ 164417210 h 107"/>
              <a:gd name="T68" fmla="*/ 730299321 w 73"/>
              <a:gd name="T69" fmla="*/ 340576059 h 107"/>
              <a:gd name="T70" fmla="*/ 659625083 w 73"/>
              <a:gd name="T71" fmla="*/ 563711743 h 107"/>
              <a:gd name="T72" fmla="*/ 565393910 w 73"/>
              <a:gd name="T73" fmla="*/ 833820835 h 107"/>
              <a:gd name="T74" fmla="*/ 683185453 w 73"/>
              <a:gd name="T75" fmla="*/ 833820835 h 107"/>
              <a:gd name="T76" fmla="*/ 765638159 w 73"/>
              <a:gd name="T77" fmla="*/ 610685151 h 107"/>
              <a:gd name="T78" fmla="*/ 836312397 w 73"/>
              <a:gd name="T79" fmla="*/ 317085927 h 107"/>
              <a:gd name="T80" fmla="*/ 647846615 w 73"/>
              <a:gd name="T81" fmla="*/ 58718474 h 107"/>
              <a:gd name="T82" fmla="*/ 435823899 w 73"/>
              <a:gd name="T83" fmla="*/ 11745066 h 107"/>
              <a:gd name="T84" fmla="*/ 223801183 w 73"/>
              <a:gd name="T85" fmla="*/ 46976835 h 107"/>
              <a:gd name="T86" fmla="*/ 23556934 w 73"/>
              <a:gd name="T87" fmla="*/ 317085927 h 107"/>
              <a:gd name="T88" fmla="*/ 94231173 w 73"/>
              <a:gd name="T89" fmla="*/ 610685151 h 107"/>
              <a:gd name="T90" fmla="*/ 176683879 w 73"/>
              <a:gd name="T91" fmla="*/ 833820835 h 10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73"/>
              <a:gd name="T139" fmla="*/ 0 h 107"/>
              <a:gd name="T140" fmla="*/ 73 w 73"/>
              <a:gd name="T141" fmla="*/ 107 h 107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73" h="107">
                <a:moveTo>
                  <a:pt x="16" y="77"/>
                </a:moveTo>
                <a:cubicBezTo>
                  <a:pt x="57" y="77"/>
                  <a:pt x="57" y="77"/>
                  <a:pt x="57" y="77"/>
                </a:cubicBezTo>
                <a:cubicBezTo>
                  <a:pt x="52" y="101"/>
                  <a:pt x="52" y="101"/>
                  <a:pt x="52" y="101"/>
                </a:cubicBezTo>
                <a:cubicBezTo>
                  <a:pt x="45" y="101"/>
                  <a:pt x="45" y="101"/>
                  <a:pt x="45" y="101"/>
                </a:cubicBezTo>
                <a:cubicBezTo>
                  <a:pt x="44" y="104"/>
                  <a:pt x="41" y="107"/>
                  <a:pt x="37" y="107"/>
                </a:cubicBezTo>
                <a:cubicBezTo>
                  <a:pt x="33" y="107"/>
                  <a:pt x="30" y="104"/>
                  <a:pt x="29" y="101"/>
                </a:cubicBezTo>
                <a:cubicBezTo>
                  <a:pt x="21" y="101"/>
                  <a:pt x="21" y="101"/>
                  <a:pt x="21" y="101"/>
                </a:cubicBezTo>
                <a:cubicBezTo>
                  <a:pt x="16" y="77"/>
                  <a:pt x="16" y="77"/>
                  <a:pt x="16" y="77"/>
                </a:cubicBezTo>
                <a:close/>
                <a:moveTo>
                  <a:pt x="51" y="29"/>
                </a:moveTo>
                <a:cubicBezTo>
                  <a:pt x="52" y="35"/>
                  <a:pt x="52" y="35"/>
                  <a:pt x="52" y="35"/>
                </a:cubicBezTo>
                <a:cubicBezTo>
                  <a:pt x="51" y="37"/>
                  <a:pt x="51" y="37"/>
                  <a:pt x="51" y="37"/>
                </a:cubicBezTo>
                <a:cubicBezTo>
                  <a:pt x="53" y="38"/>
                  <a:pt x="53" y="38"/>
                  <a:pt x="53" y="38"/>
                </a:cubicBezTo>
                <a:cubicBezTo>
                  <a:pt x="52" y="42"/>
                  <a:pt x="52" y="42"/>
                  <a:pt x="52" y="42"/>
                </a:cubicBezTo>
                <a:cubicBezTo>
                  <a:pt x="50" y="42"/>
                  <a:pt x="50" y="42"/>
                  <a:pt x="50" y="42"/>
                </a:cubicBezTo>
                <a:cubicBezTo>
                  <a:pt x="52" y="43"/>
                  <a:pt x="52" y="43"/>
                  <a:pt x="52" y="43"/>
                </a:cubicBezTo>
                <a:cubicBezTo>
                  <a:pt x="51" y="47"/>
                  <a:pt x="51" y="47"/>
                  <a:pt x="51" y="47"/>
                </a:cubicBezTo>
                <a:cubicBezTo>
                  <a:pt x="50" y="48"/>
                  <a:pt x="50" y="48"/>
                  <a:pt x="50" y="48"/>
                </a:cubicBezTo>
                <a:cubicBezTo>
                  <a:pt x="51" y="49"/>
                  <a:pt x="51" y="49"/>
                  <a:pt x="51" y="49"/>
                </a:cubicBezTo>
                <a:cubicBezTo>
                  <a:pt x="50" y="53"/>
                  <a:pt x="50" y="53"/>
                  <a:pt x="50" y="53"/>
                </a:cubicBezTo>
                <a:cubicBezTo>
                  <a:pt x="47" y="54"/>
                  <a:pt x="47" y="54"/>
                  <a:pt x="47" y="54"/>
                </a:cubicBezTo>
                <a:cubicBezTo>
                  <a:pt x="29" y="49"/>
                  <a:pt x="29" y="49"/>
                  <a:pt x="29" y="49"/>
                </a:cubicBezTo>
                <a:cubicBezTo>
                  <a:pt x="21" y="49"/>
                  <a:pt x="21" y="49"/>
                  <a:pt x="21" y="49"/>
                </a:cubicBezTo>
                <a:cubicBezTo>
                  <a:pt x="21" y="32"/>
                  <a:pt x="21" y="32"/>
                  <a:pt x="21" y="32"/>
                </a:cubicBezTo>
                <a:cubicBezTo>
                  <a:pt x="28" y="31"/>
                  <a:pt x="28" y="31"/>
                  <a:pt x="28" y="31"/>
                </a:cubicBezTo>
                <a:cubicBezTo>
                  <a:pt x="42" y="16"/>
                  <a:pt x="42" y="16"/>
                  <a:pt x="42" y="16"/>
                </a:cubicBezTo>
                <a:cubicBezTo>
                  <a:pt x="50" y="21"/>
                  <a:pt x="43" y="26"/>
                  <a:pt x="38" y="30"/>
                </a:cubicBezTo>
                <a:cubicBezTo>
                  <a:pt x="51" y="29"/>
                  <a:pt x="51" y="29"/>
                  <a:pt x="51" y="29"/>
                </a:cubicBezTo>
                <a:close/>
                <a:moveTo>
                  <a:pt x="15" y="71"/>
                </a:moveTo>
                <a:cubicBezTo>
                  <a:pt x="25" y="71"/>
                  <a:pt x="25" y="71"/>
                  <a:pt x="25" y="71"/>
                </a:cubicBezTo>
                <a:cubicBezTo>
                  <a:pt x="24" y="62"/>
                  <a:pt x="20" y="55"/>
                  <a:pt x="17" y="48"/>
                </a:cubicBezTo>
                <a:cubicBezTo>
                  <a:pt x="13" y="41"/>
                  <a:pt x="10" y="34"/>
                  <a:pt x="11" y="29"/>
                </a:cubicBezTo>
                <a:cubicBezTo>
                  <a:pt x="13" y="21"/>
                  <a:pt x="17" y="16"/>
                  <a:pt x="23" y="13"/>
                </a:cubicBezTo>
                <a:cubicBezTo>
                  <a:pt x="27" y="11"/>
                  <a:pt x="32" y="10"/>
                  <a:pt x="37" y="11"/>
                </a:cubicBezTo>
                <a:cubicBezTo>
                  <a:pt x="42" y="11"/>
                  <a:pt x="46" y="12"/>
                  <a:pt x="50" y="14"/>
                </a:cubicBezTo>
                <a:cubicBezTo>
                  <a:pt x="56" y="17"/>
                  <a:pt x="60" y="22"/>
                  <a:pt x="62" y="29"/>
                </a:cubicBezTo>
                <a:cubicBezTo>
                  <a:pt x="63" y="34"/>
                  <a:pt x="59" y="41"/>
                  <a:pt x="56" y="48"/>
                </a:cubicBezTo>
                <a:cubicBezTo>
                  <a:pt x="53" y="55"/>
                  <a:pt x="49" y="62"/>
                  <a:pt x="48" y="71"/>
                </a:cubicBezTo>
                <a:cubicBezTo>
                  <a:pt x="58" y="71"/>
                  <a:pt x="58" y="71"/>
                  <a:pt x="58" y="71"/>
                </a:cubicBezTo>
                <a:cubicBezTo>
                  <a:pt x="59" y="64"/>
                  <a:pt x="62" y="58"/>
                  <a:pt x="65" y="52"/>
                </a:cubicBezTo>
                <a:cubicBezTo>
                  <a:pt x="69" y="44"/>
                  <a:pt x="73" y="36"/>
                  <a:pt x="71" y="27"/>
                </a:cubicBezTo>
                <a:cubicBezTo>
                  <a:pt x="70" y="17"/>
                  <a:pt x="63" y="9"/>
                  <a:pt x="55" y="5"/>
                </a:cubicBezTo>
                <a:cubicBezTo>
                  <a:pt x="49" y="2"/>
                  <a:pt x="43" y="1"/>
                  <a:pt x="37" y="1"/>
                </a:cubicBezTo>
                <a:cubicBezTo>
                  <a:pt x="31" y="0"/>
                  <a:pt x="24" y="2"/>
                  <a:pt x="19" y="4"/>
                </a:cubicBezTo>
                <a:cubicBezTo>
                  <a:pt x="10" y="9"/>
                  <a:pt x="4" y="16"/>
                  <a:pt x="2" y="27"/>
                </a:cubicBezTo>
                <a:cubicBezTo>
                  <a:pt x="0" y="36"/>
                  <a:pt x="4" y="44"/>
                  <a:pt x="8" y="52"/>
                </a:cubicBezTo>
                <a:cubicBezTo>
                  <a:pt x="10" y="58"/>
                  <a:pt x="13" y="64"/>
                  <a:pt x="15" y="7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44" name="Freeform 15"/>
          <p:cNvSpPr>
            <a:spLocks noEditPoints="1" noChangeArrowheads="1"/>
          </p:cNvSpPr>
          <p:nvPr/>
        </p:nvSpPr>
        <p:spPr bwMode="auto">
          <a:xfrm>
            <a:off x="10553700" y="3130552"/>
            <a:ext cx="491067" cy="400049"/>
          </a:xfrm>
          <a:custGeom>
            <a:avLst/>
            <a:gdLst>
              <a:gd name="T0" fmla="*/ 1000926864 w 108"/>
              <a:gd name="T1" fmla="*/ 1025223019 h 88"/>
              <a:gd name="T2" fmla="*/ 966009978 w 108"/>
              <a:gd name="T3" fmla="*/ 512613215 h 88"/>
              <a:gd name="T4" fmla="*/ 919454130 w 108"/>
              <a:gd name="T5" fmla="*/ 815517614 h 88"/>
              <a:gd name="T6" fmla="*/ 1256977208 w 108"/>
              <a:gd name="T7" fmla="*/ 0 h 88"/>
              <a:gd name="T8" fmla="*/ 1059118264 w 108"/>
              <a:gd name="T9" fmla="*/ 384459911 h 88"/>
              <a:gd name="T10" fmla="*/ 931093092 w 108"/>
              <a:gd name="T11" fmla="*/ 279607208 h 88"/>
              <a:gd name="T12" fmla="*/ 779789995 w 108"/>
              <a:gd name="T13" fmla="*/ 780566713 h 88"/>
              <a:gd name="T14" fmla="*/ 418992403 w 108"/>
              <a:gd name="T15" fmla="*/ 838818214 h 88"/>
              <a:gd name="T16" fmla="*/ 221133458 w 108"/>
              <a:gd name="T17" fmla="*/ 722315211 h 88"/>
              <a:gd name="T18" fmla="*/ 0 w 108"/>
              <a:gd name="T19" fmla="*/ 640763109 h 88"/>
              <a:gd name="T20" fmla="*/ 279328269 w 108"/>
              <a:gd name="T21" fmla="*/ 559211006 h 88"/>
              <a:gd name="T22" fmla="*/ 349162041 w 108"/>
              <a:gd name="T23" fmla="*/ 664063709 h 88"/>
              <a:gd name="T24" fmla="*/ 500461727 w 108"/>
              <a:gd name="T25" fmla="*/ 337858710 h 88"/>
              <a:gd name="T26" fmla="*/ 756515481 w 108"/>
              <a:gd name="T27" fmla="*/ 582511607 h 88"/>
              <a:gd name="T28" fmla="*/ 791428957 w 108"/>
              <a:gd name="T29" fmla="*/ 209705406 h 88"/>
              <a:gd name="T30" fmla="*/ 896179616 w 108"/>
              <a:gd name="T31" fmla="*/ 128153304 h 88"/>
              <a:gd name="T32" fmla="*/ 1047482712 w 108"/>
              <a:gd name="T33" fmla="*/ 0 h 88"/>
              <a:gd name="T34" fmla="*/ 256050344 w 108"/>
              <a:gd name="T35" fmla="*/ 1025223019 h 88"/>
              <a:gd name="T36" fmla="*/ 325884117 w 108"/>
              <a:gd name="T37" fmla="*/ 932020617 h 88"/>
              <a:gd name="T38" fmla="*/ 256050344 w 108"/>
              <a:gd name="T39" fmla="*/ 908720016 h 88"/>
              <a:gd name="T40" fmla="*/ 116386210 w 108"/>
              <a:gd name="T41" fmla="*/ 1025223019 h 88"/>
              <a:gd name="T42" fmla="*/ 197858944 w 108"/>
              <a:gd name="T43" fmla="*/ 827167914 h 88"/>
              <a:gd name="T44" fmla="*/ 116386210 w 108"/>
              <a:gd name="T45" fmla="*/ 838818214 h 88"/>
              <a:gd name="T46" fmla="*/ 384075517 w 108"/>
              <a:gd name="T47" fmla="*/ 1025223019 h 88"/>
              <a:gd name="T48" fmla="*/ 465548251 w 108"/>
              <a:gd name="T49" fmla="*/ 908720016 h 88"/>
              <a:gd name="T50" fmla="*/ 384075517 w 108"/>
              <a:gd name="T51" fmla="*/ 932020617 h 88"/>
              <a:gd name="T52" fmla="*/ 523739651 w 108"/>
              <a:gd name="T53" fmla="*/ 1025223019 h 88"/>
              <a:gd name="T54" fmla="*/ 593573423 w 108"/>
              <a:gd name="T55" fmla="*/ 722315211 h 88"/>
              <a:gd name="T56" fmla="*/ 523739651 w 108"/>
              <a:gd name="T57" fmla="*/ 792217013 h 88"/>
              <a:gd name="T58" fmla="*/ 651764823 w 108"/>
              <a:gd name="T59" fmla="*/ 1025223019 h 88"/>
              <a:gd name="T60" fmla="*/ 733237557 w 108"/>
              <a:gd name="T61" fmla="*/ 850468515 h 88"/>
              <a:gd name="T62" fmla="*/ 651764823 w 108"/>
              <a:gd name="T63" fmla="*/ 1025223019 h 88"/>
              <a:gd name="T64" fmla="*/ 861262730 w 108"/>
              <a:gd name="T65" fmla="*/ 1025223019 h 88"/>
              <a:gd name="T66" fmla="*/ 791428957 w 108"/>
              <a:gd name="T67" fmla="*/ 873769115 h 8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08"/>
              <a:gd name="T103" fmla="*/ 0 h 88"/>
              <a:gd name="T104" fmla="*/ 108 w 108"/>
              <a:gd name="T105" fmla="*/ 88 h 8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08" h="88">
                <a:moveTo>
                  <a:pt x="79" y="88"/>
                </a:moveTo>
                <a:cubicBezTo>
                  <a:pt x="86" y="88"/>
                  <a:pt x="86" y="88"/>
                  <a:pt x="86" y="88"/>
                </a:cubicBezTo>
                <a:cubicBezTo>
                  <a:pt x="86" y="43"/>
                  <a:pt x="86" y="43"/>
                  <a:pt x="86" y="43"/>
                </a:cubicBezTo>
                <a:cubicBezTo>
                  <a:pt x="83" y="44"/>
                  <a:pt x="83" y="44"/>
                  <a:pt x="83" y="44"/>
                </a:cubicBezTo>
                <a:cubicBezTo>
                  <a:pt x="82" y="69"/>
                  <a:pt x="82" y="69"/>
                  <a:pt x="82" y="69"/>
                </a:cubicBezTo>
                <a:cubicBezTo>
                  <a:pt x="79" y="70"/>
                  <a:pt x="79" y="70"/>
                  <a:pt x="79" y="70"/>
                </a:cubicBezTo>
                <a:cubicBezTo>
                  <a:pt x="79" y="88"/>
                  <a:pt x="79" y="88"/>
                  <a:pt x="79" y="88"/>
                </a:cubicBezTo>
                <a:close/>
                <a:moveTo>
                  <a:pt x="108" y="0"/>
                </a:moveTo>
                <a:cubicBezTo>
                  <a:pt x="100" y="16"/>
                  <a:pt x="100" y="16"/>
                  <a:pt x="100" y="16"/>
                </a:cubicBezTo>
                <a:cubicBezTo>
                  <a:pt x="91" y="33"/>
                  <a:pt x="91" y="33"/>
                  <a:pt x="91" y="33"/>
                </a:cubicBezTo>
                <a:cubicBezTo>
                  <a:pt x="84" y="22"/>
                  <a:pt x="84" y="22"/>
                  <a:pt x="84" y="22"/>
                </a:cubicBezTo>
                <a:cubicBezTo>
                  <a:pt x="80" y="24"/>
                  <a:pt x="80" y="24"/>
                  <a:pt x="80" y="24"/>
                </a:cubicBezTo>
                <a:cubicBezTo>
                  <a:pt x="77" y="63"/>
                  <a:pt x="77" y="63"/>
                  <a:pt x="77" y="63"/>
                </a:cubicBezTo>
                <a:cubicBezTo>
                  <a:pt x="67" y="67"/>
                  <a:pt x="67" y="67"/>
                  <a:pt x="67" y="67"/>
                </a:cubicBezTo>
                <a:cubicBezTo>
                  <a:pt x="47" y="49"/>
                  <a:pt x="47" y="49"/>
                  <a:pt x="47" y="49"/>
                </a:cubicBezTo>
                <a:cubicBezTo>
                  <a:pt x="36" y="72"/>
                  <a:pt x="36" y="72"/>
                  <a:pt x="36" y="72"/>
                </a:cubicBezTo>
                <a:cubicBezTo>
                  <a:pt x="25" y="73"/>
                  <a:pt x="25" y="73"/>
                  <a:pt x="25" y="73"/>
                </a:cubicBezTo>
                <a:cubicBezTo>
                  <a:pt x="19" y="62"/>
                  <a:pt x="19" y="62"/>
                  <a:pt x="19" y="62"/>
                </a:cubicBezTo>
                <a:cubicBezTo>
                  <a:pt x="3" y="67"/>
                  <a:pt x="3" y="67"/>
                  <a:pt x="3" y="67"/>
                </a:cubicBezTo>
                <a:cubicBezTo>
                  <a:pt x="0" y="55"/>
                  <a:pt x="0" y="55"/>
                  <a:pt x="0" y="55"/>
                </a:cubicBezTo>
                <a:cubicBezTo>
                  <a:pt x="20" y="49"/>
                  <a:pt x="20" y="49"/>
                  <a:pt x="20" y="49"/>
                </a:cubicBezTo>
                <a:cubicBezTo>
                  <a:pt x="24" y="48"/>
                  <a:pt x="24" y="48"/>
                  <a:pt x="24" y="48"/>
                </a:cubicBezTo>
                <a:cubicBezTo>
                  <a:pt x="27" y="52"/>
                  <a:pt x="27" y="52"/>
                  <a:pt x="27" y="52"/>
                </a:cubicBezTo>
                <a:cubicBezTo>
                  <a:pt x="30" y="57"/>
                  <a:pt x="30" y="57"/>
                  <a:pt x="30" y="57"/>
                </a:cubicBezTo>
                <a:cubicBezTo>
                  <a:pt x="39" y="36"/>
                  <a:pt x="39" y="36"/>
                  <a:pt x="39" y="36"/>
                </a:cubicBezTo>
                <a:cubicBezTo>
                  <a:pt x="43" y="29"/>
                  <a:pt x="43" y="29"/>
                  <a:pt x="43" y="29"/>
                </a:cubicBezTo>
                <a:cubicBezTo>
                  <a:pt x="49" y="35"/>
                  <a:pt x="49" y="35"/>
                  <a:pt x="49" y="35"/>
                </a:cubicBezTo>
                <a:cubicBezTo>
                  <a:pt x="65" y="50"/>
                  <a:pt x="65" y="50"/>
                  <a:pt x="65" y="50"/>
                </a:cubicBezTo>
                <a:cubicBezTo>
                  <a:pt x="67" y="21"/>
                  <a:pt x="67" y="21"/>
                  <a:pt x="67" y="21"/>
                </a:cubicBezTo>
                <a:cubicBezTo>
                  <a:pt x="68" y="18"/>
                  <a:pt x="68" y="18"/>
                  <a:pt x="68" y="18"/>
                </a:cubicBezTo>
                <a:cubicBezTo>
                  <a:pt x="70" y="16"/>
                  <a:pt x="70" y="16"/>
                  <a:pt x="70" y="16"/>
                </a:cubicBezTo>
                <a:cubicBezTo>
                  <a:pt x="77" y="11"/>
                  <a:pt x="77" y="11"/>
                  <a:pt x="77" y="11"/>
                </a:cubicBezTo>
                <a:cubicBezTo>
                  <a:pt x="71" y="1"/>
                  <a:pt x="71" y="1"/>
                  <a:pt x="71" y="1"/>
                </a:cubicBezTo>
                <a:cubicBezTo>
                  <a:pt x="90" y="0"/>
                  <a:pt x="90" y="0"/>
                  <a:pt x="90" y="0"/>
                </a:cubicBezTo>
                <a:cubicBezTo>
                  <a:pt x="108" y="0"/>
                  <a:pt x="108" y="0"/>
                  <a:pt x="108" y="0"/>
                </a:cubicBezTo>
                <a:close/>
                <a:moveTo>
                  <a:pt x="22" y="88"/>
                </a:moveTo>
                <a:cubicBezTo>
                  <a:pt x="24" y="88"/>
                  <a:pt x="26" y="88"/>
                  <a:pt x="28" y="88"/>
                </a:cubicBezTo>
                <a:cubicBezTo>
                  <a:pt x="28" y="80"/>
                  <a:pt x="28" y="80"/>
                  <a:pt x="28" y="80"/>
                </a:cubicBezTo>
                <a:cubicBezTo>
                  <a:pt x="23" y="80"/>
                  <a:pt x="23" y="80"/>
                  <a:pt x="23" y="80"/>
                </a:cubicBezTo>
                <a:cubicBezTo>
                  <a:pt x="22" y="78"/>
                  <a:pt x="22" y="78"/>
                  <a:pt x="22" y="78"/>
                </a:cubicBezTo>
                <a:cubicBezTo>
                  <a:pt x="22" y="88"/>
                  <a:pt x="22" y="88"/>
                  <a:pt x="22" y="88"/>
                </a:cubicBezTo>
                <a:close/>
                <a:moveTo>
                  <a:pt x="10" y="88"/>
                </a:moveTo>
                <a:cubicBezTo>
                  <a:pt x="17" y="88"/>
                  <a:pt x="17" y="88"/>
                  <a:pt x="17" y="88"/>
                </a:cubicBezTo>
                <a:cubicBezTo>
                  <a:pt x="17" y="71"/>
                  <a:pt x="17" y="71"/>
                  <a:pt x="17" y="71"/>
                </a:cubicBezTo>
                <a:cubicBezTo>
                  <a:pt x="17" y="70"/>
                  <a:pt x="17" y="70"/>
                  <a:pt x="17" y="70"/>
                </a:cubicBezTo>
                <a:cubicBezTo>
                  <a:pt x="10" y="72"/>
                  <a:pt x="10" y="72"/>
                  <a:pt x="10" y="72"/>
                </a:cubicBezTo>
                <a:cubicBezTo>
                  <a:pt x="10" y="88"/>
                  <a:pt x="10" y="88"/>
                  <a:pt x="10" y="88"/>
                </a:cubicBezTo>
                <a:close/>
                <a:moveTo>
                  <a:pt x="33" y="88"/>
                </a:moveTo>
                <a:cubicBezTo>
                  <a:pt x="35" y="88"/>
                  <a:pt x="38" y="88"/>
                  <a:pt x="40" y="88"/>
                </a:cubicBezTo>
                <a:cubicBezTo>
                  <a:pt x="40" y="78"/>
                  <a:pt x="40" y="78"/>
                  <a:pt x="40" y="78"/>
                </a:cubicBezTo>
                <a:cubicBezTo>
                  <a:pt x="39" y="79"/>
                  <a:pt x="39" y="79"/>
                  <a:pt x="39" y="79"/>
                </a:cubicBezTo>
                <a:cubicBezTo>
                  <a:pt x="33" y="80"/>
                  <a:pt x="33" y="80"/>
                  <a:pt x="33" y="80"/>
                </a:cubicBezTo>
                <a:cubicBezTo>
                  <a:pt x="33" y="88"/>
                  <a:pt x="33" y="88"/>
                  <a:pt x="33" y="88"/>
                </a:cubicBezTo>
                <a:close/>
                <a:moveTo>
                  <a:pt x="45" y="88"/>
                </a:moveTo>
                <a:cubicBezTo>
                  <a:pt x="47" y="88"/>
                  <a:pt x="49" y="88"/>
                  <a:pt x="51" y="88"/>
                </a:cubicBezTo>
                <a:cubicBezTo>
                  <a:pt x="51" y="62"/>
                  <a:pt x="51" y="62"/>
                  <a:pt x="51" y="62"/>
                </a:cubicBezTo>
                <a:cubicBezTo>
                  <a:pt x="49" y="60"/>
                  <a:pt x="49" y="60"/>
                  <a:pt x="49" y="60"/>
                </a:cubicBezTo>
                <a:cubicBezTo>
                  <a:pt x="45" y="68"/>
                  <a:pt x="45" y="68"/>
                  <a:pt x="45" y="68"/>
                </a:cubicBezTo>
                <a:cubicBezTo>
                  <a:pt x="45" y="88"/>
                  <a:pt x="45" y="88"/>
                  <a:pt x="45" y="88"/>
                </a:cubicBezTo>
                <a:close/>
                <a:moveTo>
                  <a:pt x="56" y="88"/>
                </a:moveTo>
                <a:cubicBezTo>
                  <a:pt x="58" y="88"/>
                  <a:pt x="60" y="88"/>
                  <a:pt x="63" y="88"/>
                </a:cubicBezTo>
                <a:cubicBezTo>
                  <a:pt x="63" y="73"/>
                  <a:pt x="63" y="73"/>
                  <a:pt x="63" y="73"/>
                </a:cubicBezTo>
                <a:cubicBezTo>
                  <a:pt x="56" y="67"/>
                  <a:pt x="56" y="67"/>
                  <a:pt x="56" y="67"/>
                </a:cubicBezTo>
                <a:cubicBezTo>
                  <a:pt x="56" y="88"/>
                  <a:pt x="56" y="88"/>
                  <a:pt x="56" y="88"/>
                </a:cubicBezTo>
                <a:close/>
                <a:moveTo>
                  <a:pt x="68" y="88"/>
                </a:moveTo>
                <a:cubicBezTo>
                  <a:pt x="70" y="88"/>
                  <a:pt x="72" y="88"/>
                  <a:pt x="74" y="88"/>
                </a:cubicBezTo>
                <a:cubicBezTo>
                  <a:pt x="74" y="72"/>
                  <a:pt x="74" y="72"/>
                  <a:pt x="74" y="72"/>
                </a:cubicBezTo>
                <a:cubicBezTo>
                  <a:pt x="68" y="75"/>
                  <a:pt x="68" y="75"/>
                  <a:pt x="68" y="75"/>
                </a:cubicBezTo>
                <a:lnTo>
                  <a:pt x="68" y="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45" name="Freeform 19"/>
          <p:cNvSpPr>
            <a:spLocks noEditPoints="1" noChangeArrowheads="1"/>
          </p:cNvSpPr>
          <p:nvPr/>
        </p:nvSpPr>
        <p:spPr bwMode="auto">
          <a:xfrm>
            <a:off x="10576984" y="4775201"/>
            <a:ext cx="429683" cy="452967"/>
          </a:xfrm>
          <a:custGeom>
            <a:avLst/>
            <a:gdLst>
              <a:gd name="T0" fmla="*/ 357976468 w 222"/>
              <a:gd name="T1" fmla="*/ 63190302 h 234"/>
              <a:gd name="T2" fmla="*/ 379033822 w 222"/>
              <a:gd name="T3" fmla="*/ 18957816 h 234"/>
              <a:gd name="T4" fmla="*/ 313756896 w 222"/>
              <a:gd name="T5" fmla="*/ 40020766 h 234"/>
              <a:gd name="T6" fmla="*/ 14739857 w 222"/>
              <a:gd name="T7" fmla="*/ 332802740 h 234"/>
              <a:gd name="T8" fmla="*/ 65278378 w 222"/>
              <a:gd name="T9" fmla="*/ 467608233 h 234"/>
              <a:gd name="T10" fmla="*/ 65278378 w 222"/>
              <a:gd name="T11" fmla="*/ 358078861 h 234"/>
              <a:gd name="T12" fmla="*/ 223208532 w 222"/>
              <a:gd name="T13" fmla="*/ 242229732 h 234"/>
              <a:gd name="T14" fmla="*/ 244267338 w 222"/>
              <a:gd name="T15" fmla="*/ 193784076 h 234"/>
              <a:gd name="T16" fmla="*/ 178988960 w 222"/>
              <a:gd name="T17" fmla="*/ 219060197 h 234"/>
              <a:gd name="T18" fmla="*/ 160036471 w 222"/>
              <a:gd name="T19" fmla="*/ 208528722 h 234"/>
              <a:gd name="T20" fmla="*/ 244267338 w 222"/>
              <a:gd name="T21" fmla="*/ 172719674 h 234"/>
              <a:gd name="T22" fmla="*/ 277958233 w 222"/>
              <a:gd name="T23" fmla="*/ 193784076 h 234"/>
              <a:gd name="T24" fmla="*/ 277958233 w 222"/>
              <a:gd name="T25" fmla="*/ 40020766 h 234"/>
              <a:gd name="T26" fmla="*/ 379033822 w 222"/>
              <a:gd name="T27" fmla="*/ 0 h 234"/>
              <a:gd name="T28" fmla="*/ 383246454 w 222"/>
              <a:gd name="T29" fmla="*/ 0 h 234"/>
              <a:gd name="T30" fmla="*/ 467475870 w 222"/>
              <a:gd name="T31" fmla="*/ 40020766 h 234"/>
              <a:gd name="T32" fmla="*/ 357976468 w 222"/>
              <a:gd name="T33" fmla="*/ 391779871 h 234"/>
              <a:gd name="T34" fmla="*/ 328496754 w 222"/>
              <a:gd name="T35" fmla="*/ 377035226 h 234"/>
              <a:gd name="T36" fmla="*/ 223208532 w 222"/>
              <a:gd name="T37" fmla="*/ 442332113 h 234"/>
              <a:gd name="T38" fmla="*/ 183200140 w 222"/>
              <a:gd name="T39" fmla="*/ 421269163 h 234"/>
              <a:gd name="T40" fmla="*/ 80018235 w 222"/>
              <a:gd name="T41" fmla="*/ 492884354 h 234"/>
              <a:gd name="T42" fmla="*/ 4211180 w 222"/>
              <a:gd name="T43" fmla="*/ 457076758 h 234"/>
              <a:gd name="T44" fmla="*/ 0 w 222"/>
              <a:gd name="T45" fmla="*/ 452863588 h 234"/>
              <a:gd name="T46" fmla="*/ 0 w 222"/>
              <a:gd name="T47" fmla="*/ 311738338 h 234"/>
              <a:gd name="T48" fmla="*/ 94758093 w 222"/>
              <a:gd name="T49" fmla="*/ 273824157 h 234"/>
              <a:gd name="T50" fmla="*/ 98970725 w 222"/>
              <a:gd name="T51" fmla="*/ 273824157 h 234"/>
              <a:gd name="T52" fmla="*/ 183200140 w 222"/>
              <a:gd name="T53" fmla="*/ 311738338 h 234"/>
              <a:gd name="T54" fmla="*/ 208468675 w 222"/>
              <a:gd name="T55" fmla="*/ 417055992 h 234"/>
              <a:gd name="T56" fmla="*/ 160036471 w 222"/>
              <a:gd name="T57" fmla="*/ 242229732 h 234"/>
              <a:gd name="T58" fmla="*/ 145296613 w 222"/>
              <a:gd name="T59" fmla="*/ 292781974 h 234"/>
              <a:gd name="T60" fmla="*/ 145296613 w 222"/>
              <a:gd name="T61" fmla="*/ 219060197 h 234"/>
              <a:gd name="T62" fmla="*/ 292699542 w 222"/>
              <a:gd name="T63" fmla="*/ 197995795 h 234"/>
              <a:gd name="T64" fmla="*/ 328496754 w 222"/>
              <a:gd name="T65" fmla="*/ 219060197 h 234"/>
              <a:gd name="T66" fmla="*/ 343236611 w 222"/>
              <a:gd name="T67" fmla="*/ 366503751 h 234"/>
              <a:gd name="T68" fmla="*/ 292699542 w 222"/>
              <a:gd name="T69" fmla="*/ 63190302 h 234"/>
              <a:gd name="T70" fmla="*/ 292699542 w 222"/>
              <a:gd name="T71" fmla="*/ 197995795 h 234"/>
              <a:gd name="T72" fmla="*/ 80018235 w 222"/>
              <a:gd name="T73" fmla="*/ 332802740 h 234"/>
              <a:gd name="T74" fmla="*/ 98970725 w 222"/>
              <a:gd name="T75" fmla="*/ 288568803 h 234"/>
              <a:gd name="T76" fmla="*/ 35797211 w 222"/>
              <a:gd name="T77" fmla="*/ 311738338 h 234"/>
              <a:gd name="T78" fmla="*/ 364293965 w 222"/>
              <a:gd name="T79" fmla="*/ 77934948 h 234"/>
              <a:gd name="T80" fmla="*/ 357976468 w 222"/>
              <a:gd name="T81" fmla="*/ 77934948 h 23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22"/>
              <a:gd name="T124" fmla="*/ 0 h 234"/>
              <a:gd name="T125" fmla="*/ 222 w 222"/>
              <a:gd name="T126" fmla="*/ 234 h 23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22" h="234">
                <a:moveTo>
                  <a:pt x="149" y="19"/>
                </a:moveTo>
                <a:lnTo>
                  <a:pt x="170" y="30"/>
                </a:lnTo>
                <a:lnTo>
                  <a:pt x="201" y="19"/>
                </a:lnTo>
                <a:lnTo>
                  <a:pt x="180" y="9"/>
                </a:lnTo>
                <a:lnTo>
                  <a:pt x="149" y="19"/>
                </a:lnTo>
                <a:close/>
                <a:moveTo>
                  <a:pt x="31" y="170"/>
                </a:moveTo>
                <a:lnTo>
                  <a:pt x="7" y="158"/>
                </a:lnTo>
                <a:lnTo>
                  <a:pt x="7" y="212"/>
                </a:lnTo>
                <a:lnTo>
                  <a:pt x="31" y="222"/>
                </a:lnTo>
                <a:lnTo>
                  <a:pt x="31" y="170"/>
                </a:lnTo>
                <a:close/>
                <a:moveTo>
                  <a:pt x="85" y="104"/>
                </a:moveTo>
                <a:lnTo>
                  <a:pt x="106" y="115"/>
                </a:lnTo>
                <a:lnTo>
                  <a:pt x="137" y="101"/>
                </a:lnTo>
                <a:lnTo>
                  <a:pt x="116" y="92"/>
                </a:lnTo>
                <a:lnTo>
                  <a:pt x="85" y="104"/>
                </a:lnTo>
                <a:close/>
                <a:moveTo>
                  <a:pt x="69" y="104"/>
                </a:moveTo>
                <a:lnTo>
                  <a:pt x="76" y="99"/>
                </a:lnTo>
                <a:lnTo>
                  <a:pt x="113" y="85"/>
                </a:lnTo>
                <a:lnTo>
                  <a:pt x="116" y="82"/>
                </a:lnTo>
                <a:lnTo>
                  <a:pt x="116" y="85"/>
                </a:lnTo>
                <a:lnTo>
                  <a:pt x="132" y="92"/>
                </a:lnTo>
                <a:lnTo>
                  <a:pt x="132" y="26"/>
                </a:lnTo>
                <a:lnTo>
                  <a:pt x="132" y="19"/>
                </a:lnTo>
                <a:lnTo>
                  <a:pt x="139" y="16"/>
                </a:lnTo>
                <a:lnTo>
                  <a:pt x="180" y="0"/>
                </a:lnTo>
                <a:lnTo>
                  <a:pt x="182" y="0"/>
                </a:lnTo>
                <a:lnTo>
                  <a:pt x="213" y="16"/>
                </a:lnTo>
                <a:lnTo>
                  <a:pt x="222" y="19"/>
                </a:lnTo>
                <a:lnTo>
                  <a:pt x="222" y="167"/>
                </a:lnTo>
                <a:lnTo>
                  <a:pt x="170" y="186"/>
                </a:lnTo>
                <a:lnTo>
                  <a:pt x="165" y="184"/>
                </a:lnTo>
                <a:lnTo>
                  <a:pt x="156" y="179"/>
                </a:lnTo>
                <a:lnTo>
                  <a:pt x="156" y="191"/>
                </a:lnTo>
                <a:lnTo>
                  <a:pt x="106" y="210"/>
                </a:lnTo>
                <a:lnTo>
                  <a:pt x="99" y="208"/>
                </a:lnTo>
                <a:lnTo>
                  <a:pt x="87" y="200"/>
                </a:lnTo>
                <a:lnTo>
                  <a:pt x="87" y="217"/>
                </a:lnTo>
                <a:lnTo>
                  <a:pt x="38" y="234"/>
                </a:lnTo>
                <a:lnTo>
                  <a:pt x="33" y="231"/>
                </a:lnTo>
                <a:lnTo>
                  <a:pt x="2" y="217"/>
                </a:lnTo>
                <a:lnTo>
                  <a:pt x="0" y="217"/>
                </a:lnTo>
                <a:lnTo>
                  <a:pt x="0" y="215"/>
                </a:lnTo>
                <a:lnTo>
                  <a:pt x="0" y="153"/>
                </a:lnTo>
                <a:lnTo>
                  <a:pt x="0" y="148"/>
                </a:lnTo>
                <a:lnTo>
                  <a:pt x="7" y="144"/>
                </a:lnTo>
                <a:lnTo>
                  <a:pt x="45" y="130"/>
                </a:lnTo>
                <a:lnTo>
                  <a:pt x="47" y="127"/>
                </a:lnTo>
                <a:lnTo>
                  <a:pt x="47" y="130"/>
                </a:lnTo>
                <a:lnTo>
                  <a:pt x="80" y="144"/>
                </a:lnTo>
                <a:lnTo>
                  <a:pt x="87" y="148"/>
                </a:lnTo>
                <a:lnTo>
                  <a:pt x="87" y="193"/>
                </a:lnTo>
                <a:lnTo>
                  <a:pt x="99" y="198"/>
                </a:lnTo>
                <a:lnTo>
                  <a:pt x="99" y="125"/>
                </a:lnTo>
                <a:lnTo>
                  <a:pt x="76" y="115"/>
                </a:lnTo>
                <a:lnTo>
                  <a:pt x="76" y="141"/>
                </a:lnTo>
                <a:lnTo>
                  <a:pt x="69" y="139"/>
                </a:lnTo>
                <a:lnTo>
                  <a:pt x="69" y="108"/>
                </a:lnTo>
                <a:lnTo>
                  <a:pt x="69" y="104"/>
                </a:lnTo>
                <a:close/>
                <a:moveTo>
                  <a:pt x="139" y="94"/>
                </a:moveTo>
                <a:lnTo>
                  <a:pt x="149" y="99"/>
                </a:lnTo>
                <a:lnTo>
                  <a:pt x="156" y="104"/>
                </a:lnTo>
                <a:lnTo>
                  <a:pt x="156" y="172"/>
                </a:lnTo>
                <a:lnTo>
                  <a:pt x="163" y="174"/>
                </a:lnTo>
                <a:lnTo>
                  <a:pt x="163" y="42"/>
                </a:lnTo>
                <a:lnTo>
                  <a:pt x="139" y="30"/>
                </a:lnTo>
                <a:lnTo>
                  <a:pt x="139" y="94"/>
                </a:lnTo>
                <a:close/>
                <a:moveTo>
                  <a:pt x="17" y="148"/>
                </a:moveTo>
                <a:lnTo>
                  <a:pt x="38" y="158"/>
                </a:lnTo>
                <a:lnTo>
                  <a:pt x="69" y="146"/>
                </a:lnTo>
                <a:lnTo>
                  <a:pt x="47" y="137"/>
                </a:lnTo>
                <a:lnTo>
                  <a:pt x="17" y="148"/>
                </a:lnTo>
                <a:close/>
                <a:moveTo>
                  <a:pt x="170" y="37"/>
                </a:moveTo>
                <a:lnTo>
                  <a:pt x="173" y="37"/>
                </a:lnTo>
                <a:lnTo>
                  <a:pt x="170" y="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46" name="Freeform 20"/>
          <p:cNvSpPr>
            <a:spLocks noChangeArrowheads="1"/>
          </p:cNvSpPr>
          <p:nvPr/>
        </p:nvSpPr>
        <p:spPr bwMode="auto">
          <a:xfrm>
            <a:off x="9736667" y="3143251"/>
            <a:ext cx="393700" cy="351367"/>
          </a:xfrm>
          <a:custGeom>
            <a:avLst/>
            <a:gdLst>
              <a:gd name="T0" fmla="*/ 353176367 w 86"/>
              <a:gd name="T1" fmla="*/ 0 h 77"/>
              <a:gd name="T2" fmla="*/ 400265863 w 86"/>
              <a:gd name="T3" fmla="*/ 328345305 h 77"/>
              <a:gd name="T4" fmla="*/ 94178991 w 86"/>
              <a:gd name="T5" fmla="*/ 328345305 h 77"/>
              <a:gd name="T6" fmla="*/ 82409192 w 86"/>
              <a:gd name="T7" fmla="*/ 328345305 h 77"/>
              <a:gd name="T8" fmla="*/ 0 w 86"/>
              <a:gd name="T9" fmla="*/ 410431631 h 77"/>
              <a:gd name="T10" fmla="*/ 0 w 86"/>
              <a:gd name="T11" fmla="*/ 410431631 h 77"/>
              <a:gd name="T12" fmla="*/ 47089496 w 86"/>
              <a:gd name="T13" fmla="*/ 480792806 h 77"/>
              <a:gd name="T14" fmla="*/ 11773232 w 86"/>
              <a:gd name="T15" fmla="*/ 551150559 h 77"/>
              <a:gd name="T16" fmla="*/ 11773232 w 86"/>
              <a:gd name="T17" fmla="*/ 551150559 h 77"/>
              <a:gd name="T18" fmla="*/ 70635960 w 86"/>
              <a:gd name="T19" fmla="*/ 633236885 h 77"/>
              <a:gd name="T20" fmla="*/ 47089496 w 86"/>
              <a:gd name="T21" fmla="*/ 680144335 h 77"/>
              <a:gd name="T22" fmla="*/ 47089496 w 86"/>
              <a:gd name="T23" fmla="*/ 680144335 h 77"/>
              <a:gd name="T24" fmla="*/ 129498688 w 86"/>
              <a:gd name="T25" fmla="*/ 762230662 h 77"/>
              <a:gd name="T26" fmla="*/ 129498688 w 86"/>
              <a:gd name="T27" fmla="*/ 762230662 h 77"/>
              <a:gd name="T28" fmla="*/ 105952224 w 86"/>
              <a:gd name="T29" fmla="*/ 820863263 h 77"/>
              <a:gd name="T30" fmla="*/ 105952224 w 86"/>
              <a:gd name="T31" fmla="*/ 820863263 h 77"/>
              <a:gd name="T32" fmla="*/ 188361416 w 86"/>
              <a:gd name="T33" fmla="*/ 891224438 h 77"/>
              <a:gd name="T34" fmla="*/ 341403135 w 86"/>
              <a:gd name="T35" fmla="*/ 891224438 h 77"/>
              <a:gd name="T36" fmla="*/ 541534350 w 86"/>
              <a:gd name="T37" fmla="*/ 891224438 h 77"/>
              <a:gd name="T38" fmla="*/ 541534350 w 86"/>
              <a:gd name="T39" fmla="*/ 891224438 h 77"/>
              <a:gd name="T40" fmla="*/ 612170310 w 86"/>
              <a:gd name="T41" fmla="*/ 832588414 h 77"/>
              <a:gd name="T42" fmla="*/ 776985262 w 86"/>
              <a:gd name="T43" fmla="*/ 809138112 h 77"/>
              <a:gd name="T44" fmla="*/ 776985262 w 86"/>
              <a:gd name="T45" fmla="*/ 902949589 h 77"/>
              <a:gd name="T46" fmla="*/ 1012436173 w 86"/>
              <a:gd name="T47" fmla="*/ 902949589 h 77"/>
              <a:gd name="T48" fmla="*/ 1012436173 w 86"/>
              <a:gd name="T49" fmla="*/ 293166429 h 77"/>
              <a:gd name="T50" fmla="*/ 776985262 w 86"/>
              <a:gd name="T51" fmla="*/ 293166429 h 77"/>
              <a:gd name="T52" fmla="*/ 776985262 w 86"/>
              <a:gd name="T53" fmla="*/ 375252755 h 77"/>
              <a:gd name="T54" fmla="*/ 729895766 w 86"/>
              <a:gd name="T55" fmla="*/ 375252755 h 77"/>
              <a:gd name="T56" fmla="*/ 353176367 w 86"/>
              <a:gd name="T57" fmla="*/ 0 h 7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6"/>
              <a:gd name="T88" fmla="*/ 0 h 77"/>
              <a:gd name="T89" fmla="*/ 86 w 86"/>
              <a:gd name="T90" fmla="*/ 77 h 7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6" h="77">
                <a:moveTo>
                  <a:pt x="30" y="0"/>
                </a:moveTo>
                <a:cubicBezTo>
                  <a:pt x="2" y="7"/>
                  <a:pt x="34" y="28"/>
                  <a:pt x="34" y="28"/>
                </a:cubicBezTo>
                <a:cubicBezTo>
                  <a:pt x="8" y="28"/>
                  <a:pt x="8" y="28"/>
                  <a:pt x="8" y="28"/>
                </a:cubicBezTo>
                <a:cubicBezTo>
                  <a:pt x="7" y="28"/>
                  <a:pt x="7" y="28"/>
                  <a:pt x="7" y="28"/>
                </a:cubicBezTo>
                <a:cubicBezTo>
                  <a:pt x="3" y="28"/>
                  <a:pt x="0" y="31"/>
                  <a:pt x="0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38"/>
                  <a:pt x="2" y="40"/>
                  <a:pt x="4" y="41"/>
                </a:cubicBezTo>
                <a:cubicBezTo>
                  <a:pt x="2" y="42"/>
                  <a:pt x="1" y="45"/>
                  <a:pt x="1" y="47"/>
                </a:cubicBezTo>
                <a:cubicBezTo>
                  <a:pt x="1" y="47"/>
                  <a:pt x="1" y="47"/>
                  <a:pt x="1" y="47"/>
                </a:cubicBezTo>
                <a:cubicBezTo>
                  <a:pt x="1" y="50"/>
                  <a:pt x="3" y="53"/>
                  <a:pt x="6" y="54"/>
                </a:cubicBezTo>
                <a:cubicBezTo>
                  <a:pt x="5" y="55"/>
                  <a:pt x="4" y="56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62"/>
                  <a:pt x="7" y="65"/>
                  <a:pt x="11" y="65"/>
                </a:cubicBezTo>
                <a:cubicBezTo>
                  <a:pt x="11" y="65"/>
                  <a:pt x="11" y="65"/>
                  <a:pt x="11" y="65"/>
                </a:cubicBezTo>
                <a:cubicBezTo>
                  <a:pt x="10" y="66"/>
                  <a:pt x="9" y="68"/>
                  <a:pt x="9" y="70"/>
                </a:cubicBezTo>
                <a:cubicBezTo>
                  <a:pt x="9" y="70"/>
                  <a:pt x="9" y="70"/>
                  <a:pt x="9" y="70"/>
                </a:cubicBezTo>
                <a:cubicBezTo>
                  <a:pt x="9" y="73"/>
                  <a:pt x="12" y="76"/>
                  <a:pt x="16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46" y="76"/>
                  <a:pt x="46" y="76"/>
                  <a:pt x="46" y="76"/>
                </a:cubicBezTo>
                <a:cubicBezTo>
                  <a:pt x="46" y="76"/>
                  <a:pt x="46" y="76"/>
                  <a:pt x="46" y="76"/>
                </a:cubicBezTo>
                <a:cubicBezTo>
                  <a:pt x="52" y="71"/>
                  <a:pt x="52" y="71"/>
                  <a:pt x="52" y="71"/>
                </a:cubicBezTo>
                <a:cubicBezTo>
                  <a:pt x="66" y="69"/>
                  <a:pt x="66" y="69"/>
                  <a:pt x="66" y="69"/>
                </a:cubicBezTo>
                <a:cubicBezTo>
                  <a:pt x="66" y="77"/>
                  <a:pt x="66" y="77"/>
                  <a:pt x="66" y="77"/>
                </a:cubicBezTo>
                <a:cubicBezTo>
                  <a:pt x="86" y="77"/>
                  <a:pt x="86" y="77"/>
                  <a:pt x="86" y="77"/>
                </a:cubicBezTo>
                <a:cubicBezTo>
                  <a:pt x="86" y="25"/>
                  <a:pt x="86" y="25"/>
                  <a:pt x="86" y="25"/>
                </a:cubicBezTo>
                <a:cubicBezTo>
                  <a:pt x="66" y="25"/>
                  <a:pt x="66" y="25"/>
                  <a:pt x="66" y="25"/>
                </a:cubicBezTo>
                <a:cubicBezTo>
                  <a:pt x="66" y="32"/>
                  <a:pt x="66" y="32"/>
                  <a:pt x="66" y="32"/>
                </a:cubicBezTo>
                <a:cubicBezTo>
                  <a:pt x="62" y="32"/>
                  <a:pt x="62" y="32"/>
                  <a:pt x="62" y="32"/>
                </a:cubicBezTo>
                <a:cubicBezTo>
                  <a:pt x="58" y="16"/>
                  <a:pt x="32" y="17"/>
                  <a:pt x="3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47" name="Freeform 21"/>
          <p:cNvSpPr>
            <a:spLocks noEditPoints="1" noChangeArrowheads="1"/>
          </p:cNvSpPr>
          <p:nvPr/>
        </p:nvSpPr>
        <p:spPr bwMode="auto">
          <a:xfrm>
            <a:off x="10655301" y="3970867"/>
            <a:ext cx="285751" cy="393700"/>
          </a:xfrm>
          <a:custGeom>
            <a:avLst/>
            <a:gdLst>
              <a:gd name="T0" fmla="*/ 732528638 w 63"/>
              <a:gd name="T1" fmla="*/ 94178991 h 86"/>
              <a:gd name="T2" fmla="*/ 0 w 63"/>
              <a:gd name="T3" fmla="*/ 1012436173 h 86"/>
              <a:gd name="T4" fmla="*/ 93018646 w 63"/>
              <a:gd name="T5" fmla="*/ 176588184 h 86"/>
              <a:gd name="T6" fmla="*/ 627882661 w 63"/>
              <a:gd name="T7" fmla="*/ 353176367 h 86"/>
              <a:gd name="T8" fmla="*/ 93018646 w 63"/>
              <a:gd name="T9" fmla="*/ 176588184 h 86"/>
              <a:gd name="T10" fmla="*/ 104645976 w 63"/>
              <a:gd name="T11" fmla="*/ 482671622 h 86"/>
              <a:gd name="T12" fmla="*/ 209295354 w 63"/>
              <a:gd name="T13" fmla="*/ 482671622 h 86"/>
              <a:gd name="T14" fmla="*/ 581373339 w 63"/>
              <a:gd name="T15" fmla="*/ 753442231 h 86"/>
              <a:gd name="T16" fmla="*/ 581373339 w 63"/>
              <a:gd name="T17" fmla="*/ 871167686 h 86"/>
              <a:gd name="T18" fmla="*/ 581373339 w 63"/>
              <a:gd name="T19" fmla="*/ 753442231 h 86"/>
              <a:gd name="T20" fmla="*/ 383705315 w 63"/>
              <a:gd name="T21" fmla="*/ 812304958 h 86"/>
              <a:gd name="T22" fmla="*/ 488351291 w 63"/>
              <a:gd name="T23" fmla="*/ 812304958 h 86"/>
              <a:gd name="T24" fmla="*/ 302314000 w 63"/>
              <a:gd name="T25" fmla="*/ 753442231 h 86"/>
              <a:gd name="T26" fmla="*/ 302314000 w 63"/>
              <a:gd name="T27" fmla="*/ 871167686 h 86"/>
              <a:gd name="T28" fmla="*/ 302314000 w 63"/>
              <a:gd name="T29" fmla="*/ 753442231 h 86"/>
              <a:gd name="T30" fmla="*/ 104645976 w 63"/>
              <a:gd name="T31" fmla="*/ 812304958 h 86"/>
              <a:gd name="T32" fmla="*/ 209295354 w 63"/>
              <a:gd name="T33" fmla="*/ 812304958 h 86"/>
              <a:gd name="T34" fmla="*/ 581373339 w 63"/>
              <a:gd name="T35" fmla="*/ 588627279 h 86"/>
              <a:gd name="T36" fmla="*/ 581373339 w 63"/>
              <a:gd name="T37" fmla="*/ 706349301 h 86"/>
              <a:gd name="T38" fmla="*/ 581373339 w 63"/>
              <a:gd name="T39" fmla="*/ 588627279 h 86"/>
              <a:gd name="T40" fmla="*/ 383705315 w 63"/>
              <a:gd name="T41" fmla="*/ 647486574 h 86"/>
              <a:gd name="T42" fmla="*/ 488351291 w 63"/>
              <a:gd name="T43" fmla="*/ 647486574 h 86"/>
              <a:gd name="T44" fmla="*/ 302314000 w 63"/>
              <a:gd name="T45" fmla="*/ 588627279 h 86"/>
              <a:gd name="T46" fmla="*/ 302314000 w 63"/>
              <a:gd name="T47" fmla="*/ 706349301 h 86"/>
              <a:gd name="T48" fmla="*/ 302314000 w 63"/>
              <a:gd name="T49" fmla="*/ 588627279 h 86"/>
              <a:gd name="T50" fmla="*/ 104645976 w 63"/>
              <a:gd name="T51" fmla="*/ 647486574 h 86"/>
              <a:gd name="T52" fmla="*/ 209295354 w 63"/>
              <a:gd name="T53" fmla="*/ 647486574 h 86"/>
              <a:gd name="T54" fmla="*/ 581373339 w 63"/>
              <a:gd name="T55" fmla="*/ 435582126 h 86"/>
              <a:gd name="T56" fmla="*/ 581373339 w 63"/>
              <a:gd name="T57" fmla="*/ 541534350 h 86"/>
              <a:gd name="T58" fmla="*/ 581373339 w 63"/>
              <a:gd name="T59" fmla="*/ 435582126 h 86"/>
              <a:gd name="T60" fmla="*/ 383705315 w 63"/>
              <a:gd name="T61" fmla="*/ 482671622 h 86"/>
              <a:gd name="T62" fmla="*/ 488351291 w 63"/>
              <a:gd name="T63" fmla="*/ 482671622 h 86"/>
              <a:gd name="T64" fmla="*/ 302314000 w 63"/>
              <a:gd name="T65" fmla="*/ 435582126 h 86"/>
              <a:gd name="T66" fmla="*/ 302314000 w 63"/>
              <a:gd name="T67" fmla="*/ 541534350 h 86"/>
              <a:gd name="T68" fmla="*/ 302314000 w 63"/>
              <a:gd name="T69" fmla="*/ 435582126 h 8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63"/>
              <a:gd name="T106" fmla="*/ 0 h 86"/>
              <a:gd name="T107" fmla="*/ 63 w 63"/>
              <a:gd name="T108" fmla="*/ 86 h 8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63" h="86">
                <a:moveTo>
                  <a:pt x="0" y="8"/>
                </a:moveTo>
                <a:cubicBezTo>
                  <a:pt x="21" y="0"/>
                  <a:pt x="42" y="1"/>
                  <a:pt x="63" y="8"/>
                </a:cubicBezTo>
                <a:cubicBezTo>
                  <a:pt x="63" y="34"/>
                  <a:pt x="63" y="60"/>
                  <a:pt x="63" y="86"/>
                </a:cubicBezTo>
                <a:cubicBezTo>
                  <a:pt x="42" y="86"/>
                  <a:pt x="21" y="86"/>
                  <a:pt x="0" y="86"/>
                </a:cubicBezTo>
                <a:cubicBezTo>
                  <a:pt x="0" y="60"/>
                  <a:pt x="0" y="34"/>
                  <a:pt x="0" y="8"/>
                </a:cubicBezTo>
                <a:close/>
                <a:moveTo>
                  <a:pt x="8" y="15"/>
                </a:moveTo>
                <a:cubicBezTo>
                  <a:pt x="8" y="30"/>
                  <a:pt x="8" y="30"/>
                  <a:pt x="8" y="30"/>
                </a:cubicBezTo>
                <a:cubicBezTo>
                  <a:pt x="54" y="30"/>
                  <a:pt x="54" y="30"/>
                  <a:pt x="54" y="30"/>
                </a:cubicBezTo>
                <a:cubicBezTo>
                  <a:pt x="54" y="15"/>
                  <a:pt x="54" y="15"/>
                  <a:pt x="54" y="15"/>
                </a:cubicBezTo>
                <a:cubicBezTo>
                  <a:pt x="8" y="15"/>
                  <a:pt x="8" y="15"/>
                  <a:pt x="8" y="15"/>
                </a:cubicBezTo>
                <a:close/>
                <a:moveTo>
                  <a:pt x="13" y="37"/>
                </a:moveTo>
                <a:cubicBezTo>
                  <a:pt x="11" y="37"/>
                  <a:pt x="9" y="39"/>
                  <a:pt x="9" y="41"/>
                </a:cubicBezTo>
                <a:cubicBezTo>
                  <a:pt x="9" y="44"/>
                  <a:pt x="11" y="46"/>
                  <a:pt x="13" y="46"/>
                </a:cubicBezTo>
                <a:cubicBezTo>
                  <a:pt x="16" y="46"/>
                  <a:pt x="18" y="44"/>
                  <a:pt x="18" y="41"/>
                </a:cubicBezTo>
                <a:cubicBezTo>
                  <a:pt x="18" y="39"/>
                  <a:pt x="16" y="37"/>
                  <a:pt x="13" y="37"/>
                </a:cubicBezTo>
                <a:close/>
                <a:moveTo>
                  <a:pt x="50" y="64"/>
                </a:moveTo>
                <a:cubicBezTo>
                  <a:pt x="47" y="64"/>
                  <a:pt x="45" y="66"/>
                  <a:pt x="45" y="69"/>
                </a:cubicBezTo>
                <a:cubicBezTo>
                  <a:pt x="45" y="72"/>
                  <a:pt x="47" y="74"/>
                  <a:pt x="50" y="74"/>
                </a:cubicBezTo>
                <a:cubicBezTo>
                  <a:pt x="53" y="74"/>
                  <a:pt x="55" y="72"/>
                  <a:pt x="55" y="69"/>
                </a:cubicBezTo>
                <a:cubicBezTo>
                  <a:pt x="55" y="66"/>
                  <a:pt x="53" y="64"/>
                  <a:pt x="50" y="64"/>
                </a:cubicBezTo>
                <a:close/>
                <a:moveTo>
                  <a:pt x="37" y="64"/>
                </a:moveTo>
                <a:cubicBezTo>
                  <a:pt x="35" y="64"/>
                  <a:pt x="33" y="66"/>
                  <a:pt x="33" y="69"/>
                </a:cubicBezTo>
                <a:cubicBezTo>
                  <a:pt x="33" y="72"/>
                  <a:pt x="35" y="74"/>
                  <a:pt x="37" y="74"/>
                </a:cubicBezTo>
                <a:cubicBezTo>
                  <a:pt x="40" y="74"/>
                  <a:pt x="42" y="72"/>
                  <a:pt x="42" y="69"/>
                </a:cubicBezTo>
                <a:cubicBezTo>
                  <a:pt x="42" y="66"/>
                  <a:pt x="40" y="64"/>
                  <a:pt x="37" y="64"/>
                </a:cubicBezTo>
                <a:close/>
                <a:moveTo>
                  <a:pt x="26" y="64"/>
                </a:moveTo>
                <a:cubicBezTo>
                  <a:pt x="23" y="64"/>
                  <a:pt x="21" y="66"/>
                  <a:pt x="21" y="69"/>
                </a:cubicBezTo>
                <a:cubicBezTo>
                  <a:pt x="21" y="72"/>
                  <a:pt x="23" y="74"/>
                  <a:pt x="26" y="74"/>
                </a:cubicBezTo>
                <a:cubicBezTo>
                  <a:pt x="28" y="74"/>
                  <a:pt x="30" y="72"/>
                  <a:pt x="30" y="69"/>
                </a:cubicBezTo>
                <a:cubicBezTo>
                  <a:pt x="30" y="66"/>
                  <a:pt x="28" y="64"/>
                  <a:pt x="26" y="64"/>
                </a:cubicBezTo>
                <a:close/>
                <a:moveTo>
                  <a:pt x="13" y="64"/>
                </a:moveTo>
                <a:cubicBezTo>
                  <a:pt x="11" y="64"/>
                  <a:pt x="9" y="66"/>
                  <a:pt x="9" y="69"/>
                </a:cubicBezTo>
                <a:cubicBezTo>
                  <a:pt x="9" y="72"/>
                  <a:pt x="11" y="74"/>
                  <a:pt x="13" y="74"/>
                </a:cubicBezTo>
                <a:cubicBezTo>
                  <a:pt x="16" y="74"/>
                  <a:pt x="18" y="72"/>
                  <a:pt x="18" y="69"/>
                </a:cubicBezTo>
                <a:cubicBezTo>
                  <a:pt x="18" y="66"/>
                  <a:pt x="16" y="64"/>
                  <a:pt x="13" y="64"/>
                </a:cubicBezTo>
                <a:close/>
                <a:moveTo>
                  <a:pt x="50" y="50"/>
                </a:moveTo>
                <a:cubicBezTo>
                  <a:pt x="47" y="50"/>
                  <a:pt x="45" y="52"/>
                  <a:pt x="45" y="55"/>
                </a:cubicBezTo>
                <a:cubicBezTo>
                  <a:pt x="45" y="58"/>
                  <a:pt x="47" y="60"/>
                  <a:pt x="50" y="60"/>
                </a:cubicBezTo>
                <a:cubicBezTo>
                  <a:pt x="53" y="60"/>
                  <a:pt x="55" y="58"/>
                  <a:pt x="55" y="55"/>
                </a:cubicBezTo>
                <a:cubicBezTo>
                  <a:pt x="55" y="52"/>
                  <a:pt x="53" y="50"/>
                  <a:pt x="50" y="50"/>
                </a:cubicBezTo>
                <a:close/>
                <a:moveTo>
                  <a:pt x="37" y="50"/>
                </a:moveTo>
                <a:cubicBezTo>
                  <a:pt x="35" y="50"/>
                  <a:pt x="33" y="52"/>
                  <a:pt x="33" y="55"/>
                </a:cubicBezTo>
                <a:cubicBezTo>
                  <a:pt x="33" y="58"/>
                  <a:pt x="35" y="60"/>
                  <a:pt x="37" y="60"/>
                </a:cubicBezTo>
                <a:cubicBezTo>
                  <a:pt x="40" y="60"/>
                  <a:pt x="42" y="58"/>
                  <a:pt x="42" y="55"/>
                </a:cubicBezTo>
                <a:cubicBezTo>
                  <a:pt x="42" y="52"/>
                  <a:pt x="40" y="50"/>
                  <a:pt x="37" y="50"/>
                </a:cubicBezTo>
                <a:close/>
                <a:moveTo>
                  <a:pt x="26" y="50"/>
                </a:moveTo>
                <a:cubicBezTo>
                  <a:pt x="23" y="50"/>
                  <a:pt x="21" y="52"/>
                  <a:pt x="21" y="55"/>
                </a:cubicBezTo>
                <a:cubicBezTo>
                  <a:pt x="21" y="58"/>
                  <a:pt x="23" y="60"/>
                  <a:pt x="26" y="60"/>
                </a:cubicBezTo>
                <a:cubicBezTo>
                  <a:pt x="28" y="60"/>
                  <a:pt x="30" y="58"/>
                  <a:pt x="30" y="55"/>
                </a:cubicBezTo>
                <a:cubicBezTo>
                  <a:pt x="30" y="52"/>
                  <a:pt x="28" y="50"/>
                  <a:pt x="26" y="50"/>
                </a:cubicBezTo>
                <a:close/>
                <a:moveTo>
                  <a:pt x="13" y="50"/>
                </a:moveTo>
                <a:cubicBezTo>
                  <a:pt x="11" y="50"/>
                  <a:pt x="9" y="52"/>
                  <a:pt x="9" y="55"/>
                </a:cubicBezTo>
                <a:cubicBezTo>
                  <a:pt x="9" y="58"/>
                  <a:pt x="11" y="60"/>
                  <a:pt x="13" y="60"/>
                </a:cubicBezTo>
                <a:cubicBezTo>
                  <a:pt x="16" y="60"/>
                  <a:pt x="18" y="58"/>
                  <a:pt x="18" y="55"/>
                </a:cubicBezTo>
                <a:cubicBezTo>
                  <a:pt x="18" y="52"/>
                  <a:pt x="16" y="50"/>
                  <a:pt x="13" y="50"/>
                </a:cubicBezTo>
                <a:close/>
                <a:moveTo>
                  <a:pt x="50" y="37"/>
                </a:moveTo>
                <a:cubicBezTo>
                  <a:pt x="47" y="37"/>
                  <a:pt x="45" y="39"/>
                  <a:pt x="45" y="41"/>
                </a:cubicBezTo>
                <a:cubicBezTo>
                  <a:pt x="45" y="44"/>
                  <a:pt x="47" y="46"/>
                  <a:pt x="50" y="46"/>
                </a:cubicBezTo>
                <a:cubicBezTo>
                  <a:pt x="53" y="46"/>
                  <a:pt x="55" y="44"/>
                  <a:pt x="55" y="41"/>
                </a:cubicBezTo>
                <a:cubicBezTo>
                  <a:pt x="55" y="39"/>
                  <a:pt x="53" y="37"/>
                  <a:pt x="50" y="37"/>
                </a:cubicBezTo>
                <a:close/>
                <a:moveTo>
                  <a:pt x="37" y="37"/>
                </a:moveTo>
                <a:cubicBezTo>
                  <a:pt x="35" y="37"/>
                  <a:pt x="33" y="39"/>
                  <a:pt x="33" y="41"/>
                </a:cubicBezTo>
                <a:cubicBezTo>
                  <a:pt x="33" y="44"/>
                  <a:pt x="35" y="46"/>
                  <a:pt x="37" y="46"/>
                </a:cubicBezTo>
                <a:cubicBezTo>
                  <a:pt x="40" y="46"/>
                  <a:pt x="42" y="44"/>
                  <a:pt x="42" y="41"/>
                </a:cubicBezTo>
                <a:cubicBezTo>
                  <a:pt x="42" y="39"/>
                  <a:pt x="40" y="37"/>
                  <a:pt x="37" y="37"/>
                </a:cubicBezTo>
                <a:close/>
                <a:moveTo>
                  <a:pt x="26" y="37"/>
                </a:moveTo>
                <a:cubicBezTo>
                  <a:pt x="23" y="37"/>
                  <a:pt x="21" y="39"/>
                  <a:pt x="21" y="41"/>
                </a:cubicBezTo>
                <a:cubicBezTo>
                  <a:pt x="21" y="44"/>
                  <a:pt x="23" y="46"/>
                  <a:pt x="26" y="46"/>
                </a:cubicBezTo>
                <a:cubicBezTo>
                  <a:pt x="28" y="46"/>
                  <a:pt x="30" y="44"/>
                  <a:pt x="30" y="41"/>
                </a:cubicBezTo>
                <a:cubicBezTo>
                  <a:pt x="30" y="39"/>
                  <a:pt x="28" y="37"/>
                  <a:pt x="26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48" name="Freeform 22"/>
          <p:cNvSpPr>
            <a:spLocks noEditPoints="1" noChangeArrowheads="1"/>
          </p:cNvSpPr>
          <p:nvPr/>
        </p:nvSpPr>
        <p:spPr bwMode="auto">
          <a:xfrm>
            <a:off x="9798051" y="4811184"/>
            <a:ext cx="296333" cy="438149"/>
          </a:xfrm>
          <a:custGeom>
            <a:avLst/>
            <a:gdLst>
              <a:gd name="T0" fmla="*/ 672000656 w 64"/>
              <a:gd name="T1" fmla="*/ 0 h 96"/>
              <a:gd name="T2" fmla="*/ 768002238 w 64"/>
              <a:gd name="T3" fmla="*/ 1028740404 h 96"/>
              <a:gd name="T4" fmla="*/ 107999609 w 64"/>
              <a:gd name="T5" fmla="*/ 1122261326 h 96"/>
              <a:gd name="T6" fmla="*/ 0 w 64"/>
              <a:gd name="T7" fmla="*/ 93520921 h 96"/>
              <a:gd name="T8" fmla="*/ 84000082 w 64"/>
              <a:gd name="T9" fmla="*/ 151972781 h 96"/>
              <a:gd name="T10" fmla="*/ 684002156 w 64"/>
              <a:gd name="T11" fmla="*/ 549439264 h 96"/>
              <a:gd name="T12" fmla="*/ 84000082 w 64"/>
              <a:gd name="T13" fmla="*/ 151972781 h 96"/>
              <a:gd name="T14" fmla="*/ 240002219 w 64"/>
              <a:gd name="T15" fmla="*/ 93520921 h 96"/>
              <a:gd name="T16" fmla="*/ 516001992 w 64"/>
              <a:gd name="T17" fmla="*/ 46762172 h 96"/>
              <a:gd name="T18" fmla="*/ 324002301 w 64"/>
              <a:gd name="T19" fmla="*/ 596201436 h 96"/>
              <a:gd name="T20" fmla="*/ 288001273 w 64"/>
              <a:gd name="T21" fmla="*/ 689722358 h 96"/>
              <a:gd name="T22" fmla="*/ 432001910 w 64"/>
              <a:gd name="T23" fmla="*/ 724794843 h 96"/>
              <a:gd name="T24" fmla="*/ 468002938 w 64"/>
              <a:gd name="T25" fmla="*/ 631270498 h 96"/>
              <a:gd name="T26" fmla="*/ 324002301 w 64"/>
              <a:gd name="T27" fmla="*/ 596201436 h 96"/>
              <a:gd name="T28" fmla="*/ 96001582 w 64"/>
              <a:gd name="T29" fmla="*/ 642963608 h 96"/>
              <a:gd name="T30" fmla="*/ 264001746 w 64"/>
              <a:gd name="T31" fmla="*/ 678032670 h 96"/>
              <a:gd name="T32" fmla="*/ 660002629 w 64"/>
              <a:gd name="T33" fmla="*/ 642963608 h 96"/>
              <a:gd name="T34" fmla="*/ 492002465 w 64"/>
              <a:gd name="T35" fmla="*/ 678032670 h 96"/>
              <a:gd name="T36" fmla="*/ 660002629 w 64"/>
              <a:gd name="T37" fmla="*/ 642963608 h 96"/>
              <a:gd name="T38" fmla="*/ 96001582 w 64"/>
              <a:gd name="T39" fmla="*/ 759863904 h 96"/>
              <a:gd name="T40" fmla="*/ 264001746 w 64"/>
              <a:gd name="T41" fmla="*/ 830005451 h 96"/>
              <a:gd name="T42" fmla="*/ 456001438 w 64"/>
              <a:gd name="T43" fmla="*/ 759863904 h 96"/>
              <a:gd name="T44" fmla="*/ 299999301 w 64"/>
              <a:gd name="T45" fmla="*/ 830005451 h 96"/>
              <a:gd name="T46" fmla="*/ 456001438 w 64"/>
              <a:gd name="T47" fmla="*/ 759863904 h 96"/>
              <a:gd name="T48" fmla="*/ 492002465 w 64"/>
              <a:gd name="T49" fmla="*/ 759863904 h 96"/>
              <a:gd name="T50" fmla="*/ 660002629 w 64"/>
              <a:gd name="T51" fmla="*/ 830005451 h 96"/>
              <a:gd name="T52" fmla="*/ 264001746 w 64"/>
              <a:gd name="T53" fmla="*/ 853384826 h 96"/>
              <a:gd name="T54" fmla="*/ 96001582 w 64"/>
              <a:gd name="T55" fmla="*/ 935219483 h 96"/>
              <a:gd name="T56" fmla="*/ 264001746 w 64"/>
              <a:gd name="T57" fmla="*/ 853384826 h 96"/>
              <a:gd name="T58" fmla="*/ 299999301 w 64"/>
              <a:gd name="T59" fmla="*/ 853384826 h 96"/>
              <a:gd name="T60" fmla="*/ 456001438 w 64"/>
              <a:gd name="T61" fmla="*/ 935219483 h 96"/>
              <a:gd name="T62" fmla="*/ 660002629 w 64"/>
              <a:gd name="T63" fmla="*/ 853384826 h 96"/>
              <a:gd name="T64" fmla="*/ 492002465 w 64"/>
              <a:gd name="T65" fmla="*/ 935219483 h 96"/>
              <a:gd name="T66" fmla="*/ 660002629 w 64"/>
              <a:gd name="T67" fmla="*/ 853384826 h 96"/>
              <a:gd name="T68" fmla="*/ 96001582 w 64"/>
              <a:gd name="T69" fmla="*/ 958598857 h 96"/>
              <a:gd name="T70" fmla="*/ 264001746 w 64"/>
              <a:gd name="T71" fmla="*/ 1040430092 h 96"/>
              <a:gd name="T72" fmla="*/ 456001438 w 64"/>
              <a:gd name="T73" fmla="*/ 958598857 h 96"/>
              <a:gd name="T74" fmla="*/ 299999301 w 64"/>
              <a:gd name="T75" fmla="*/ 1040430092 h 96"/>
              <a:gd name="T76" fmla="*/ 456001438 w 64"/>
              <a:gd name="T77" fmla="*/ 958598857 h 96"/>
              <a:gd name="T78" fmla="*/ 492002465 w 64"/>
              <a:gd name="T79" fmla="*/ 958598857 h 96"/>
              <a:gd name="T80" fmla="*/ 660002629 w 64"/>
              <a:gd name="T81" fmla="*/ 1040430092 h 9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64"/>
              <a:gd name="T124" fmla="*/ 0 h 96"/>
              <a:gd name="T125" fmla="*/ 64 w 64"/>
              <a:gd name="T126" fmla="*/ 96 h 9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64" h="96">
                <a:moveTo>
                  <a:pt x="9" y="0"/>
                </a:moveTo>
                <a:cubicBezTo>
                  <a:pt x="56" y="0"/>
                  <a:pt x="56" y="0"/>
                  <a:pt x="56" y="0"/>
                </a:cubicBezTo>
                <a:cubicBezTo>
                  <a:pt x="60" y="0"/>
                  <a:pt x="64" y="3"/>
                  <a:pt x="64" y="8"/>
                </a:cubicBezTo>
                <a:cubicBezTo>
                  <a:pt x="64" y="88"/>
                  <a:pt x="64" y="88"/>
                  <a:pt x="64" y="88"/>
                </a:cubicBezTo>
                <a:cubicBezTo>
                  <a:pt x="64" y="93"/>
                  <a:pt x="60" y="96"/>
                  <a:pt x="56" y="96"/>
                </a:cubicBezTo>
                <a:cubicBezTo>
                  <a:pt x="9" y="96"/>
                  <a:pt x="9" y="96"/>
                  <a:pt x="9" y="96"/>
                </a:cubicBezTo>
                <a:cubicBezTo>
                  <a:pt x="4" y="96"/>
                  <a:pt x="0" y="93"/>
                  <a:pt x="0" y="88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4" y="0"/>
                  <a:pt x="9" y="0"/>
                </a:cubicBezTo>
                <a:close/>
                <a:moveTo>
                  <a:pt x="7" y="13"/>
                </a:moveTo>
                <a:cubicBezTo>
                  <a:pt x="7" y="47"/>
                  <a:pt x="7" y="47"/>
                  <a:pt x="7" y="47"/>
                </a:cubicBezTo>
                <a:cubicBezTo>
                  <a:pt x="57" y="47"/>
                  <a:pt x="57" y="47"/>
                  <a:pt x="57" y="47"/>
                </a:cubicBezTo>
                <a:cubicBezTo>
                  <a:pt x="57" y="13"/>
                  <a:pt x="57" y="13"/>
                  <a:pt x="57" y="13"/>
                </a:cubicBezTo>
                <a:cubicBezTo>
                  <a:pt x="7" y="13"/>
                  <a:pt x="7" y="13"/>
                  <a:pt x="7" y="13"/>
                </a:cubicBezTo>
                <a:close/>
                <a:moveTo>
                  <a:pt x="20" y="4"/>
                </a:moveTo>
                <a:cubicBezTo>
                  <a:pt x="20" y="8"/>
                  <a:pt x="20" y="8"/>
                  <a:pt x="20" y="8"/>
                </a:cubicBezTo>
                <a:cubicBezTo>
                  <a:pt x="43" y="8"/>
                  <a:pt x="43" y="8"/>
                  <a:pt x="43" y="8"/>
                </a:cubicBezTo>
                <a:cubicBezTo>
                  <a:pt x="43" y="4"/>
                  <a:pt x="43" y="4"/>
                  <a:pt x="43" y="4"/>
                </a:cubicBezTo>
                <a:cubicBezTo>
                  <a:pt x="20" y="4"/>
                  <a:pt x="20" y="4"/>
                  <a:pt x="20" y="4"/>
                </a:cubicBezTo>
                <a:close/>
                <a:moveTo>
                  <a:pt x="27" y="51"/>
                </a:moveTo>
                <a:cubicBezTo>
                  <a:pt x="25" y="51"/>
                  <a:pt x="24" y="53"/>
                  <a:pt x="24" y="54"/>
                </a:cubicBezTo>
                <a:cubicBezTo>
                  <a:pt x="24" y="59"/>
                  <a:pt x="24" y="59"/>
                  <a:pt x="24" y="59"/>
                </a:cubicBezTo>
                <a:cubicBezTo>
                  <a:pt x="24" y="61"/>
                  <a:pt x="25" y="62"/>
                  <a:pt x="27" y="62"/>
                </a:cubicBezTo>
                <a:cubicBezTo>
                  <a:pt x="36" y="62"/>
                  <a:pt x="36" y="62"/>
                  <a:pt x="36" y="62"/>
                </a:cubicBezTo>
                <a:cubicBezTo>
                  <a:pt x="38" y="62"/>
                  <a:pt x="39" y="61"/>
                  <a:pt x="39" y="59"/>
                </a:cubicBezTo>
                <a:cubicBezTo>
                  <a:pt x="39" y="54"/>
                  <a:pt x="39" y="54"/>
                  <a:pt x="39" y="54"/>
                </a:cubicBezTo>
                <a:cubicBezTo>
                  <a:pt x="39" y="53"/>
                  <a:pt x="38" y="51"/>
                  <a:pt x="36" y="51"/>
                </a:cubicBezTo>
                <a:cubicBezTo>
                  <a:pt x="27" y="51"/>
                  <a:pt x="27" y="51"/>
                  <a:pt x="27" y="51"/>
                </a:cubicBezTo>
                <a:close/>
                <a:moveTo>
                  <a:pt x="22" y="55"/>
                </a:moveTo>
                <a:cubicBezTo>
                  <a:pt x="8" y="55"/>
                  <a:pt x="8" y="55"/>
                  <a:pt x="8" y="55"/>
                </a:cubicBezTo>
                <a:cubicBezTo>
                  <a:pt x="8" y="58"/>
                  <a:pt x="8" y="58"/>
                  <a:pt x="8" y="58"/>
                </a:cubicBezTo>
                <a:cubicBezTo>
                  <a:pt x="22" y="58"/>
                  <a:pt x="22" y="58"/>
                  <a:pt x="22" y="58"/>
                </a:cubicBezTo>
                <a:cubicBezTo>
                  <a:pt x="22" y="55"/>
                  <a:pt x="22" y="55"/>
                  <a:pt x="22" y="55"/>
                </a:cubicBezTo>
                <a:close/>
                <a:moveTo>
                  <a:pt x="55" y="55"/>
                </a:moveTo>
                <a:cubicBezTo>
                  <a:pt x="41" y="55"/>
                  <a:pt x="41" y="55"/>
                  <a:pt x="41" y="55"/>
                </a:cubicBezTo>
                <a:cubicBezTo>
                  <a:pt x="41" y="58"/>
                  <a:pt x="41" y="58"/>
                  <a:pt x="41" y="58"/>
                </a:cubicBezTo>
                <a:cubicBezTo>
                  <a:pt x="55" y="58"/>
                  <a:pt x="55" y="58"/>
                  <a:pt x="55" y="58"/>
                </a:cubicBezTo>
                <a:cubicBezTo>
                  <a:pt x="55" y="55"/>
                  <a:pt x="55" y="55"/>
                  <a:pt x="55" y="55"/>
                </a:cubicBezTo>
                <a:close/>
                <a:moveTo>
                  <a:pt x="22" y="65"/>
                </a:moveTo>
                <a:cubicBezTo>
                  <a:pt x="8" y="65"/>
                  <a:pt x="8" y="65"/>
                  <a:pt x="8" y="65"/>
                </a:cubicBezTo>
                <a:cubicBezTo>
                  <a:pt x="8" y="71"/>
                  <a:pt x="8" y="71"/>
                  <a:pt x="8" y="71"/>
                </a:cubicBezTo>
                <a:cubicBezTo>
                  <a:pt x="22" y="71"/>
                  <a:pt x="22" y="71"/>
                  <a:pt x="22" y="71"/>
                </a:cubicBezTo>
                <a:cubicBezTo>
                  <a:pt x="22" y="65"/>
                  <a:pt x="22" y="65"/>
                  <a:pt x="22" y="65"/>
                </a:cubicBezTo>
                <a:close/>
                <a:moveTo>
                  <a:pt x="38" y="65"/>
                </a:moveTo>
                <a:cubicBezTo>
                  <a:pt x="25" y="65"/>
                  <a:pt x="25" y="65"/>
                  <a:pt x="25" y="65"/>
                </a:cubicBezTo>
                <a:cubicBezTo>
                  <a:pt x="25" y="71"/>
                  <a:pt x="25" y="71"/>
                  <a:pt x="25" y="71"/>
                </a:cubicBezTo>
                <a:cubicBezTo>
                  <a:pt x="38" y="71"/>
                  <a:pt x="38" y="71"/>
                  <a:pt x="38" y="71"/>
                </a:cubicBezTo>
                <a:cubicBezTo>
                  <a:pt x="38" y="65"/>
                  <a:pt x="38" y="65"/>
                  <a:pt x="38" y="65"/>
                </a:cubicBezTo>
                <a:close/>
                <a:moveTo>
                  <a:pt x="55" y="65"/>
                </a:moveTo>
                <a:cubicBezTo>
                  <a:pt x="41" y="65"/>
                  <a:pt x="41" y="65"/>
                  <a:pt x="41" y="65"/>
                </a:cubicBezTo>
                <a:cubicBezTo>
                  <a:pt x="41" y="71"/>
                  <a:pt x="41" y="71"/>
                  <a:pt x="41" y="71"/>
                </a:cubicBezTo>
                <a:cubicBezTo>
                  <a:pt x="55" y="71"/>
                  <a:pt x="55" y="71"/>
                  <a:pt x="55" y="71"/>
                </a:cubicBezTo>
                <a:cubicBezTo>
                  <a:pt x="55" y="65"/>
                  <a:pt x="55" y="65"/>
                  <a:pt x="55" y="65"/>
                </a:cubicBezTo>
                <a:close/>
                <a:moveTo>
                  <a:pt x="22" y="73"/>
                </a:moveTo>
                <a:cubicBezTo>
                  <a:pt x="8" y="73"/>
                  <a:pt x="8" y="73"/>
                  <a:pt x="8" y="73"/>
                </a:cubicBezTo>
                <a:cubicBezTo>
                  <a:pt x="8" y="80"/>
                  <a:pt x="8" y="80"/>
                  <a:pt x="8" y="80"/>
                </a:cubicBezTo>
                <a:cubicBezTo>
                  <a:pt x="22" y="80"/>
                  <a:pt x="22" y="80"/>
                  <a:pt x="22" y="80"/>
                </a:cubicBezTo>
                <a:cubicBezTo>
                  <a:pt x="22" y="73"/>
                  <a:pt x="22" y="73"/>
                  <a:pt x="22" y="73"/>
                </a:cubicBezTo>
                <a:close/>
                <a:moveTo>
                  <a:pt x="38" y="73"/>
                </a:moveTo>
                <a:cubicBezTo>
                  <a:pt x="25" y="73"/>
                  <a:pt x="25" y="73"/>
                  <a:pt x="25" y="73"/>
                </a:cubicBezTo>
                <a:cubicBezTo>
                  <a:pt x="25" y="80"/>
                  <a:pt x="25" y="80"/>
                  <a:pt x="25" y="80"/>
                </a:cubicBezTo>
                <a:cubicBezTo>
                  <a:pt x="38" y="80"/>
                  <a:pt x="38" y="80"/>
                  <a:pt x="38" y="80"/>
                </a:cubicBezTo>
                <a:cubicBezTo>
                  <a:pt x="38" y="73"/>
                  <a:pt x="38" y="73"/>
                  <a:pt x="38" y="73"/>
                </a:cubicBezTo>
                <a:close/>
                <a:moveTo>
                  <a:pt x="55" y="73"/>
                </a:moveTo>
                <a:cubicBezTo>
                  <a:pt x="41" y="73"/>
                  <a:pt x="41" y="73"/>
                  <a:pt x="41" y="73"/>
                </a:cubicBezTo>
                <a:cubicBezTo>
                  <a:pt x="41" y="80"/>
                  <a:pt x="41" y="80"/>
                  <a:pt x="41" y="80"/>
                </a:cubicBezTo>
                <a:cubicBezTo>
                  <a:pt x="55" y="80"/>
                  <a:pt x="55" y="80"/>
                  <a:pt x="55" y="80"/>
                </a:cubicBezTo>
                <a:cubicBezTo>
                  <a:pt x="55" y="73"/>
                  <a:pt x="55" y="73"/>
                  <a:pt x="55" y="73"/>
                </a:cubicBezTo>
                <a:close/>
                <a:moveTo>
                  <a:pt x="22" y="82"/>
                </a:moveTo>
                <a:cubicBezTo>
                  <a:pt x="8" y="82"/>
                  <a:pt x="8" y="82"/>
                  <a:pt x="8" y="82"/>
                </a:cubicBezTo>
                <a:cubicBezTo>
                  <a:pt x="8" y="89"/>
                  <a:pt x="8" y="89"/>
                  <a:pt x="8" y="89"/>
                </a:cubicBezTo>
                <a:cubicBezTo>
                  <a:pt x="22" y="89"/>
                  <a:pt x="22" y="89"/>
                  <a:pt x="22" y="89"/>
                </a:cubicBezTo>
                <a:cubicBezTo>
                  <a:pt x="22" y="82"/>
                  <a:pt x="22" y="82"/>
                  <a:pt x="22" y="82"/>
                </a:cubicBezTo>
                <a:close/>
                <a:moveTo>
                  <a:pt x="38" y="82"/>
                </a:moveTo>
                <a:cubicBezTo>
                  <a:pt x="25" y="82"/>
                  <a:pt x="25" y="82"/>
                  <a:pt x="25" y="82"/>
                </a:cubicBezTo>
                <a:cubicBezTo>
                  <a:pt x="25" y="89"/>
                  <a:pt x="25" y="89"/>
                  <a:pt x="25" y="89"/>
                </a:cubicBezTo>
                <a:cubicBezTo>
                  <a:pt x="38" y="89"/>
                  <a:pt x="38" y="89"/>
                  <a:pt x="38" y="89"/>
                </a:cubicBezTo>
                <a:cubicBezTo>
                  <a:pt x="38" y="82"/>
                  <a:pt x="38" y="82"/>
                  <a:pt x="38" y="82"/>
                </a:cubicBezTo>
                <a:close/>
                <a:moveTo>
                  <a:pt x="55" y="82"/>
                </a:moveTo>
                <a:cubicBezTo>
                  <a:pt x="41" y="82"/>
                  <a:pt x="41" y="82"/>
                  <a:pt x="41" y="82"/>
                </a:cubicBezTo>
                <a:cubicBezTo>
                  <a:pt x="41" y="89"/>
                  <a:pt x="41" y="89"/>
                  <a:pt x="41" y="89"/>
                </a:cubicBezTo>
                <a:cubicBezTo>
                  <a:pt x="55" y="89"/>
                  <a:pt x="55" y="89"/>
                  <a:pt x="55" y="89"/>
                </a:cubicBezTo>
                <a:lnTo>
                  <a:pt x="55" y="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49" name="Freeform 23"/>
          <p:cNvSpPr>
            <a:spLocks noEditPoints="1" noChangeArrowheads="1"/>
          </p:cNvSpPr>
          <p:nvPr/>
        </p:nvSpPr>
        <p:spPr bwMode="auto">
          <a:xfrm>
            <a:off x="8860367" y="4811184"/>
            <a:ext cx="414867" cy="370416"/>
          </a:xfrm>
          <a:custGeom>
            <a:avLst/>
            <a:gdLst>
              <a:gd name="T0" fmla="*/ 1067942023 w 91"/>
              <a:gd name="T1" fmla="*/ 199691952 h 81"/>
              <a:gd name="T2" fmla="*/ 1067942023 w 91"/>
              <a:gd name="T3" fmla="*/ 740036292 h 81"/>
              <a:gd name="T4" fmla="*/ 1009264604 w 91"/>
              <a:gd name="T5" fmla="*/ 892743717 h 81"/>
              <a:gd name="T6" fmla="*/ 868436746 w 91"/>
              <a:gd name="T7" fmla="*/ 951475232 h 81"/>
              <a:gd name="T8" fmla="*/ 211240077 w 91"/>
              <a:gd name="T9" fmla="*/ 951475232 h 81"/>
              <a:gd name="T10" fmla="*/ 58677419 w 91"/>
              <a:gd name="T11" fmla="*/ 892743717 h 81"/>
              <a:gd name="T12" fmla="*/ 0 w 91"/>
              <a:gd name="T13" fmla="*/ 740036292 h 81"/>
              <a:gd name="T14" fmla="*/ 0 w 91"/>
              <a:gd name="T15" fmla="*/ 199691952 h 81"/>
              <a:gd name="T16" fmla="*/ 0 w 91"/>
              <a:gd name="T17" fmla="*/ 140960437 h 81"/>
              <a:gd name="T18" fmla="*/ 58677419 w 91"/>
              <a:gd name="T19" fmla="*/ 140960437 h 81"/>
              <a:gd name="T20" fmla="*/ 176035677 w 91"/>
              <a:gd name="T21" fmla="*/ 140960437 h 81"/>
              <a:gd name="T22" fmla="*/ 176035677 w 91"/>
              <a:gd name="T23" fmla="*/ 281917444 h 81"/>
              <a:gd name="T24" fmla="*/ 246447896 w 91"/>
              <a:gd name="T25" fmla="*/ 352399377 h 81"/>
              <a:gd name="T26" fmla="*/ 246447896 w 91"/>
              <a:gd name="T27" fmla="*/ 352399377 h 81"/>
              <a:gd name="T28" fmla="*/ 281655715 w 91"/>
              <a:gd name="T29" fmla="*/ 340652388 h 81"/>
              <a:gd name="T30" fmla="*/ 246447896 w 91"/>
              <a:gd name="T31" fmla="*/ 281917444 h 81"/>
              <a:gd name="T32" fmla="*/ 246447896 w 91"/>
              <a:gd name="T33" fmla="*/ 70478504 h 81"/>
              <a:gd name="T34" fmla="*/ 316863535 w 91"/>
              <a:gd name="T35" fmla="*/ 0 h 81"/>
              <a:gd name="T36" fmla="*/ 316863535 w 91"/>
              <a:gd name="T37" fmla="*/ 0 h 81"/>
              <a:gd name="T38" fmla="*/ 387275754 w 91"/>
              <a:gd name="T39" fmla="*/ 70478504 h 81"/>
              <a:gd name="T40" fmla="*/ 387275754 w 91"/>
              <a:gd name="T41" fmla="*/ 140960437 h 81"/>
              <a:gd name="T42" fmla="*/ 692401069 w 91"/>
              <a:gd name="T43" fmla="*/ 140960437 h 81"/>
              <a:gd name="T44" fmla="*/ 692401069 w 91"/>
              <a:gd name="T45" fmla="*/ 281917444 h 81"/>
              <a:gd name="T46" fmla="*/ 762816708 w 91"/>
              <a:gd name="T47" fmla="*/ 352399377 h 81"/>
              <a:gd name="T48" fmla="*/ 762816708 w 91"/>
              <a:gd name="T49" fmla="*/ 352399377 h 81"/>
              <a:gd name="T50" fmla="*/ 798021108 w 91"/>
              <a:gd name="T51" fmla="*/ 340652388 h 81"/>
              <a:gd name="T52" fmla="*/ 762816708 w 91"/>
              <a:gd name="T53" fmla="*/ 281917444 h 81"/>
              <a:gd name="T54" fmla="*/ 762816708 w 91"/>
              <a:gd name="T55" fmla="*/ 70478504 h 81"/>
              <a:gd name="T56" fmla="*/ 821494127 w 91"/>
              <a:gd name="T57" fmla="*/ 0 h 81"/>
              <a:gd name="T58" fmla="*/ 821494127 w 91"/>
              <a:gd name="T59" fmla="*/ 0 h 81"/>
              <a:gd name="T60" fmla="*/ 891906346 w 91"/>
              <a:gd name="T61" fmla="*/ 70478504 h 81"/>
              <a:gd name="T62" fmla="*/ 891906346 w 91"/>
              <a:gd name="T63" fmla="*/ 140960437 h 81"/>
              <a:gd name="T64" fmla="*/ 1009264604 w 91"/>
              <a:gd name="T65" fmla="*/ 140960437 h 81"/>
              <a:gd name="T66" fmla="*/ 1067942023 w 91"/>
              <a:gd name="T67" fmla="*/ 140960437 h 81"/>
              <a:gd name="T68" fmla="*/ 1067942023 w 91"/>
              <a:gd name="T69" fmla="*/ 199691952 h 81"/>
              <a:gd name="T70" fmla="*/ 528103612 w 91"/>
              <a:gd name="T71" fmla="*/ 798767806 h 81"/>
              <a:gd name="T72" fmla="*/ 528103612 w 91"/>
              <a:gd name="T73" fmla="*/ 469865836 h 81"/>
              <a:gd name="T74" fmla="*/ 457687973 w 91"/>
              <a:gd name="T75" fmla="*/ 469865836 h 81"/>
              <a:gd name="T76" fmla="*/ 445953173 w 91"/>
              <a:gd name="T77" fmla="*/ 493356384 h 81"/>
              <a:gd name="T78" fmla="*/ 422483573 w 91"/>
              <a:gd name="T79" fmla="*/ 505103373 h 81"/>
              <a:gd name="T80" fmla="*/ 422483573 w 91"/>
              <a:gd name="T81" fmla="*/ 552091329 h 81"/>
              <a:gd name="T82" fmla="*/ 445953173 w 91"/>
              <a:gd name="T83" fmla="*/ 552091329 h 81"/>
              <a:gd name="T84" fmla="*/ 445953173 w 91"/>
              <a:gd name="T85" fmla="*/ 798767806 h 81"/>
              <a:gd name="T86" fmla="*/ 528103612 w 91"/>
              <a:gd name="T87" fmla="*/ 798767806 h 81"/>
              <a:gd name="T88" fmla="*/ 645458450 w 91"/>
              <a:gd name="T89" fmla="*/ 798767806 h 81"/>
              <a:gd name="T90" fmla="*/ 645458450 w 91"/>
              <a:gd name="T91" fmla="*/ 469865836 h 81"/>
              <a:gd name="T92" fmla="*/ 575046231 w 91"/>
              <a:gd name="T93" fmla="*/ 469865836 h 81"/>
              <a:gd name="T94" fmla="*/ 563311431 w 91"/>
              <a:gd name="T95" fmla="*/ 493356384 h 81"/>
              <a:gd name="T96" fmla="*/ 539838412 w 91"/>
              <a:gd name="T97" fmla="*/ 505103373 h 81"/>
              <a:gd name="T98" fmla="*/ 539838412 w 91"/>
              <a:gd name="T99" fmla="*/ 552091329 h 81"/>
              <a:gd name="T100" fmla="*/ 563311431 w 91"/>
              <a:gd name="T101" fmla="*/ 552091329 h 81"/>
              <a:gd name="T102" fmla="*/ 563311431 w 91"/>
              <a:gd name="T103" fmla="*/ 798767806 h 81"/>
              <a:gd name="T104" fmla="*/ 645458450 w 91"/>
              <a:gd name="T105" fmla="*/ 798767806 h 81"/>
              <a:gd name="T106" fmla="*/ 950587185 w 91"/>
              <a:gd name="T107" fmla="*/ 422877881 h 81"/>
              <a:gd name="T108" fmla="*/ 117354838 w 91"/>
              <a:gd name="T109" fmla="*/ 422877881 h 81"/>
              <a:gd name="T110" fmla="*/ 117354838 w 91"/>
              <a:gd name="T111" fmla="*/ 740036292 h 81"/>
              <a:gd name="T112" fmla="*/ 140827858 w 91"/>
              <a:gd name="T113" fmla="*/ 810514795 h 81"/>
              <a:gd name="T114" fmla="*/ 211240077 w 91"/>
              <a:gd name="T115" fmla="*/ 834008773 h 81"/>
              <a:gd name="T116" fmla="*/ 868436746 w 91"/>
              <a:gd name="T117" fmla="*/ 834008773 h 81"/>
              <a:gd name="T118" fmla="*/ 927114165 w 91"/>
              <a:gd name="T119" fmla="*/ 810514795 h 81"/>
              <a:gd name="T120" fmla="*/ 950587185 w 91"/>
              <a:gd name="T121" fmla="*/ 740036292 h 81"/>
              <a:gd name="T122" fmla="*/ 950587185 w 91"/>
              <a:gd name="T123" fmla="*/ 422877881 h 8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91"/>
              <a:gd name="T187" fmla="*/ 0 h 81"/>
              <a:gd name="T188" fmla="*/ 91 w 91"/>
              <a:gd name="T189" fmla="*/ 81 h 81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91" h="81">
                <a:moveTo>
                  <a:pt x="91" y="17"/>
                </a:moveTo>
                <a:cubicBezTo>
                  <a:pt x="91" y="63"/>
                  <a:pt x="91" y="63"/>
                  <a:pt x="91" y="63"/>
                </a:cubicBezTo>
                <a:cubicBezTo>
                  <a:pt x="91" y="68"/>
                  <a:pt x="89" y="72"/>
                  <a:pt x="86" y="76"/>
                </a:cubicBezTo>
                <a:cubicBezTo>
                  <a:pt x="83" y="79"/>
                  <a:pt x="79" y="81"/>
                  <a:pt x="74" y="81"/>
                </a:cubicBezTo>
                <a:cubicBezTo>
                  <a:pt x="18" y="81"/>
                  <a:pt x="18" y="81"/>
                  <a:pt x="18" y="81"/>
                </a:cubicBezTo>
                <a:cubicBezTo>
                  <a:pt x="13" y="81"/>
                  <a:pt x="8" y="79"/>
                  <a:pt x="5" y="76"/>
                </a:cubicBezTo>
                <a:cubicBezTo>
                  <a:pt x="2" y="72"/>
                  <a:pt x="0" y="68"/>
                  <a:pt x="0" y="63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12"/>
                  <a:pt x="0" y="12"/>
                  <a:pt x="0" y="12"/>
                </a:cubicBezTo>
                <a:cubicBezTo>
                  <a:pt x="5" y="12"/>
                  <a:pt x="5" y="12"/>
                  <a:pt x="5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5" y="24"/>
                  <a:pt x="15" y="24"/>
                  <a:pt x="15" y="24"/>
                </a:cubicBezTo>
                <a:cubicBezTo>
                  <a:pt x="15" y="28"/>
                  <a:pt x="18" y="30"/>
                  <a:pt x="21" y="30"/>
                </a:cubicBezTo>
                <a:cubicBezTo>
                  <a:pt x="21" y="30"/>
                  <a:pt x="21" y="30"/>
                  <a:pt x="21" y="30"/>
                </a:cubicBezTo>
                <a:cubicBezTo>
                  <a:pt x="22" y="30"/>
                  <a:pt x="23" y="30"/>
                  <a:pt x="24" y="29"/>
                </a:cubicBezTo>
                <a:cubicBezTo>
                  <a:pt x="22" y="28"/>
                  <a:pt x="21" y="27"/>
                  <a:pt x="21" y="24"/>
                </a:cubicBezTo>
                <a:cubicBezTo>
                  <a:pt x="21" y="6"/>
                  <a:pt x="21" y="6"/>
                  <a:pt x="21" y="6"/>
                </a:cubicBezTo>
                <a:cubicBezTo>
                  <a:pt x="21" y="3"/>
                  <a:pt x="24" y="0"/>
                  <a:pt x="27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30" y="0"/>
                  <a:pt x="33" y="3"/>
                  <a:pt x="33" y="6"/>
                </a:cubicBezTo>
                <a:cubicBezTo>
                  <a:pt x="33" y="12"/>
                  <a:pt x="33" y="12"/>
                  <a:pt x="33" y="12"/>
                </a:cubicBezTo>
                <a:cubicBezTo>
                  <a:pt x="59" y="12"/>
                  <a:pt x="59" y="12"/>
                  <a:pt x="59" y="12"/>
                </a:cubicBezTo>
                <a:cubicBezTo>
                  <a:pt x="59" y="24"/>
                  <a:pt x="59" y="24"/>
                  <a:pt x="59" y="24"/>
                </a:cubicBezTo>
                <a:cubicBezTo>
                  <a:pt x="59" y="28"/>
                  <a:pt x="61" y="30"/>
                  <a:pt x="65" y="30"/>
                </a:cubicBezTo>
                <a:cubicBezTo>
                  <a:pt x="65" y="30"/>
                  <a:pt x="65" y="30"/>
                  <a:pt x="65" y="30"/>
                </a:cubicBezTo>
                <a:cubicBezTo>
                  <a:pt x="66" y="30"/>
                  <a:pt x="67" y="30"/>
                  <a:pt x="68" y="29"/>
                </a:cubicBezTo>
                <a:cubicBezTo>
                  <a:pt x="66" y="28"/>
                  <a:pt x="65" y="27"/>
                  <a:pt x="65" y="24"/>
                </a:cubicBezTo>
                <a:cubicBezTo>
                  <a:pt x="65" y="6"/>
                  <a:pt x="65" y="6"/>
                  <a:pt x="65" y="6"/>
                </a:cubicBezTo>
                <a:cubicBezTo>
                  <a:pt x="65" y="3"/>
                  <a:pt x="67" y="0"/>
                  <a:pt x="70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74" y="0"/>
                  <a:pt x="76" y="3"/>
                  <a:pt x="76" y="6"/>
                </a:cubicBezTo>
                <a:cubicBezTo>
                  <a:pt x="76" y="12"/>
                  <a:pt x="76" y="12"/>
                  <a:pt x="76" y="12"/>
                </a:cubicBezTo>
                <a:cubicBezTo>
                  <a:pt x="86" y="12"/>
                  <a:pt x="86" y="12"/>
                  <a:pt x="86" y="12"/>
                </a:cubicBezTo>
                <a:cubicBezTo>
                  <a:pt x="91" y="12"/>
                  <a:pt x="91" y="12"/>
                  <a:pt x="91" y="12"/>
                </a:cubicBezTo>
                <a:cubicBezTo>
                  <a:pt x="91" y="17"/>
                  <a:pt x="91" y="17"/>
                  <a:pt x="91" y="17"/>
                </a:cubicBezTo>
                <a:close/>
                <a:moveTo>
                  <a:pt x="45" y="68"/>
                </a:moveTo>
                <a:cubicBezTo>
                  <a:pt x="45" y="40"/>
                  <a:pt x="45" y="40"/>
                  <a:pt x="45" y="40"/>
                </a:cubicBezTo>
                <a:cubicBezTo>
                  <a:pt x="39" y="40"/>
                  <a:pt x="39" y="40"/>
                  <a:pt x="39" y="40"/>
                </a:cubicBezTo>
                <a:cubicBezTo>
                  <a:pt x="39" y="40"/>
                  <a:pt x="39" y="41"/>
                  <a:pt x="38" y="42"/>
                </a:cubicBezTo>
                <a:cubicBezTo>
                  <a:pt x="38" y="43"/>
                  <a:pt x="37" y="43"/>
                  <a:pt x="36" y="43"/>
                </a:cubicBezTo>
                <a:cubicBezTo>
                  <a:pt x="36" y="47"/>
                  <a:pt x="36" y="47"/>
                  <a:pt x="36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68"/>
                  <a:pt x="38" y="68"/>
                  <a:pt x="38" y="68"/>
                </a:cubicBezTo>
                <a:cubicBezTo>
                  <a:pt x="45" y="68"/>
                  <a:pt x="45" y="68"/>
                  <a:pt x="45" y="68"/>
                </a:cubicBezTo>
                <a:close/>
                <a:moveTo>
                  <a:pt x="55" y="68"/>
                </a:moveTo>
                <a:cubicBezTo>
                  <a:pt x="55" y="40"/>
                  <a:pt x="55" y="40"/>
                  <a:pt x="55" y="40"/>
                </a:cubicBezTo>
                <a:cubicBezTo>
                  <a:pt x="49" y="40"/>
                  <a:pt x="49" y="40"/>
                  <a:pt x="49" y="40"/>
                </a:cubicBezTo>
                <a:cubicBezTo>
                  <a:pt x="49" y="40"/>
                  <a:pt x="49" y="41"/>
                  <a:pt x="48" y="42"/>
                </a:cubicBezTo>
                <a:cubicBezTo>
                  <a:pt x="48" y="43"/>
                  <a:pt x="47" y="43"/>
                  <a:pt x="46" y="43"/>
                </a:cubicBezTo>
                <a:cubicBezTo>
                  <a:pt x="46" y="47"/>
                  <a:pt x="46" y="47"/>
                  <a:pt x="46" y="47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68"/>
                  <a:pt x="48" y="68"/>
                  <a:pt x="48" y="68"/>
                </a:cubicBezTo>
                <a:cubicBezTo>
                  <a:pt x="55" y="68"/>
                  <a:pt x="55" y="68"/>
                  <a:pt x="55" y="68"/>
                </a:cubicBezTo>
                <a:close/>
                <a:moveTo>
                  <a:pt x="81" y="36"/>
                </a:moveTo>
                <a:cubicBezTo>
                  <a:pt x="10" y="36"/>
                  <a:pt x="10" y="36"/>
                  <a:pt x="10" y="36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5"/>
                  <a:pt x="11" y="67"/>
                  <a:pt x="12" y="69"/>
                </a:cubicBezTo>
                <a:cubicBezTo>
                  <a:pt x="14" y="70"/>
                  <a:pt x="15" y="71"/>
                  <a:pt x="18" y="71"/>
                </a:cubicBezTo>
                <a:cubicBezTo>
                  <a:pt x="74" y="71"/>
                  <a:pt x="74" y="71"/>
                  <a:pt x="74" y="71"/>
                </a:cubicBezTo>
                <a:cubicBezTo>
                  <a:pt x="76" y="71"/>
                  <a:pt x="78" y="70"/>
                  <a:pt x="79" y="69"/>
                </a:cubicBezTo>
                <a:cubicBezTo>
                  <a:pt x="80" y="67"/>
                  <a:pt x="81" y="65"/>
                  <a:pt x="81" y="63"/>
                </a:cubicBezTo>
                <a:lnTo>
                  <a:pt x="81" y="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0" name="Freeform 24"/>
          <p:cNvSpPr>
            <a:spLocks noEditPoints="1" noChangeArrowheads="1"/>
          </p:cNvSpPr>
          <p:nvPr/>
        </p:nvSpPr>
        <p:spPr bwMode="auto">
          <a:xfrm>
            <a:off x="8068733" y="4775200"/>
            <a:ext cx="374651" cy="474133"/>
          </a:xfrm>
          <a:custGeom>
            <a:avLst/>
            <a:gdLst>
              <a:gd name="T0" fmla="*/ 575994560 w 82"/>
              <a:gd name="T1" fmla="*/ 840375119 h 104"/>
              <a:gd name="T2" fmla="*/ 505463145 w 82"/>
              <a:gd name="T3" fmla="*/ 840375119 h 104"/>
              <a:gd name="T4" fmla="*/ 705300440 w 82"/>
              <a:gd name="T5" fmla="*/ 1155515362 h 104"/>
              <a:gd name="T6" fmla="*/ 811092422 w 82"/>
              <a:gd name="T7" fmla="*/ 1213874792 h 104"/>
              <a:gd name="T8" fmla="*/ 905134308 w 82"/>
              <a:gd name="T9" fmla="*/ 805358777 h 104"/>
              <a:gd name="T10" fmla="*/ 905134308 w 82"/>
              <a:gd name="T11" fmla="*/ 315140242 h 104"/>
              <a:gd name="T12" fmla="*/ 611258554 w 82"/>
              <a:gd name="T13" fmla="*/ 408516015 h 104"/>
              <a:gd name="T14" fmla="*/ 376160692 w 82"/>
              <a:gd name="T15" fmla="*/ 443532358 h 104"/>
              <a:gd name="T16" fmla="*/ 282118805 w 82"/>
              <a:gd name="T17" fmla="*/ 443532358 h 104"/>
              <a:gd name="T18" fmla="*/ 94038460 w 82"/>
              <a:gd name="T19" fmla="*/ 630280485 h 104"/>
              <a:gd name="T20" fmla="*/ 141059403 w 82"/>
              <a:gd name="T21" fmla="*/ 1050469754 h 104"/>
              <a:gd name="T22" fmla="*/ 223344340 w 82"/>
              <a:gd name="T23" fmla="*/ 1213874792 h 104"/>
              <a:gd name="T24" fmla="*/ 481956100 w 82"/>
              <a:gd name="T25" fmla="*/ 1213874792 h 104"/>
              <a:gd name="T26" fmla="*/ 481956100 w 82"/>
              <a:gd name="T27" fmla="*/ 0 h 104"/>
              <a:gd name="T28" fmla="*/ 681789969 w 82"/>
              <a:gd name="T29" fmla="*/ 210094635 h 104"/>
              <a:gd name="T30" fmla="*/ 481956100 w 82"/>
              <a:gd name="T31" fmla="*/ 408516015 h 104"/>
              <a:gd name="T32" fmla="*/ 282118805 w 82"/>
              <a:gd name="T33" fmla="*/ 210094635 h 104"/>
              <a:gd name="T34" fmla="*/ 481956100 w 82"/>
              <a:gd name="T35" fmla="*/ 0 h 104"/>
              <a:gd name="T36" fmla="*/ 599505031 w 82"/>
              <a:gd name="T37" fmla="*/ 210094635 h 104"/>
              <a:gd name="T38" fmla="*/ 481956100 w 82"/>
              <a:gd name="T39" fmla="*/ 326813496 h 104"/>
              <a:gd name="T40" fmla="*/ 364403742 w 82"/>
              <a:gd name="T41" fmla="*/ 210094635 h 104"/>
              <a:gd name="T42" fmla="*/ 481956100 w 82"/>
              <a:gd name="T43" fmla="*/ 93375773 h 104"/>
              <a:gd name="T44" fmla="*/ 481956100 w 82"/>
              <a:gd name="T45" fmla="*/ 676970081 h 104"/>
              <a:gd name="T46" fmla="*/ 481956100 w 82"/>
              <a:gd name="T47" fmla="*/ 992110323 h 104"/>
              <a:gd name="T48" fmla="*/ 481956100 w 82"/>
              <a:gd name="T49" fmla="*/ 676970081 h 104"/>
              <a:gd name="T50" fmla="*/ 246854811 w 82"/>
              <a:gd name="T51" fmla="*/ 630280485 h 104"/>
              <a:gd name="T52" fmla="*/ 329139748 w 82"/>
              <a:gd name="T53" fmla="*/ 571921054 h 104"/>
              <a:gd name="T54" fmla="*/ 376160692 w 82"/>
              <a:gd name="T55" fmla="*/ 630280485 h 104"/>
              <a:gd name="T56" fmla="*/ 305629277 w 82"/>
              <a:gd name="T57" fmla="*/ 630280485 h 104"/>
              <a:gd name="T58" fmla="*/ 282118805 w 82"/>
              <a:gd name="T59" fmla="*/ 665296827 h 104"/>
              <a:gd name="T60" fmla="*/ 728807485 w 82"/>
              <a:gd name="T61" fmla="*/ 665296827 h 104"/>
              <a:gd name="T62" fmla="*/ 670033019 w 82"/>
              <a:gd name="T63" fmla="*/ 641953738 h 104"/>
              <a:gd name="T64" fmla="*/ 623015503 w 82"/>
              <a:gd name="T65" fmla="*/ 618610650 h 104"/>
              <a:gd name="T66" fmla="*/ 564237611 w 82"/>
              <a:gd name="T67" fmla="*/ 583594308 h 104"/>
              <a:gd name="T68" fmla="*/ 681789969 w 82"/>
              <a:gd name="T69" fmla="*/ 583594308 h 104"/>
              <a:gd name="T70" fmla="*/ 728807485 w 82"/>
              <a:gd name="T71" fmla="*/ 665296827 h 104"/>
              <a:gd name="T72" fmla="*/ 446688680 w 82"/>
              <a:gd name="T73" fmla="*/ 840375119 h 104"/>
              <a:gd name="T74" fmla="*/ 376160692 w 82"/>
              <a:gd name="T75" fmla="*/ 840375119 h 10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82"/>
              <a:gd name="T115" fmla="*/ 0 h 104"/>
              <a:gd name="T116" fmla="*/ 82 w 82"/>
              <a:gd name="T117" fmla="*/ 104 h 10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82" h="104">
                <a:moveTo>
                  <a:pt x="46" y="67"/>
                </a:moveTo>
                <a:cubicBezTo>
                  <a:pt x="48" y="67"/>
                  <a:pt x="49" y="69"/>
                  <a:pt x="49" y="72"/>
                </a:cubicBezTo>
                <a:cubicBezTo>
                  <a:pt x="49" y="74"/>
                  <a:pt x="48" y="76"/>
                  <a:pt x="46" y="76"/>
                </a:cubicBezTo>
                <a:cubicBezTo>
                  <a:pt x="44" y="76"/>
                  <a:pt x="43" y="74"/>
                  <a:pt x="43" y="72"/>
                </a:cubicBezTo>
                <a:cubicBezTo>
                  <a:pt x="43" y="69"/>
                  <a:pt x="44" y="67"/>
                  <a:pt x="46" y="67"/>
                </a:cubicBezTo>
                <a:close/>
                <a:moveTo>
                  <a:pt x="60" y="99"/>
                </a:moveTo>
                <a:cubicBezTo>
                  <a:pt x="62" y="104"/>
                  <a:pt x="62" y="104"/>
                  <a:pt x="62" y="104"/>
                </a:cubicBezTo>
                <a:cubicBezTo>
                  <a:pt x="69" y="104"/>
                  <a:pt x="69" y="104"/>
                  <a:pt x="69" y="104"/>
                </a:cubicBezTo>
                <a:cubicBezTo>
                  <a:pt x="69" y="91"/>
                  <a:pt x="69" y="91"/>
                  <a:pt x="69" y="91"/>
                </a:cubicBezTo>
                <a:cubicBezTo>
                  <a:pt x="74" y="85"/>
                  <a:pt x="77" y="77"/>
                  <a:pt x="77" y="69"/>
                </a:cubicBezTo>
                <a:cubicBezTo>
                  <a:pt x="77" y="64"/>
                  <a:pt x="76" y="59"/>
                  <a:pt x="74" y="55"/>
                </a:cubicBezTo>
                <a:cubicBezTo>
                  <a:pt x="79" y="48"/>
                  <a:pt x="82" y="37"/>
                  <a:pt x="77" y="27"/>
                </a:cubicBezTo>
                <a:cubicBezTo>
                  <a:pt x="70" y="28"/>
                  <a:pt x="62" y="32"/>
                  <a:pt x="58" y="38"/>
                </a:cubicBezTo>
                <a:cubicBezTo>
                  <a:pt x="56" y="37"/>
                  <a:pt x="54" y="36"/>
                  <a:pt x="52" y="35"/>
                </a:cubicBezTo>
                <a:cubicBezTo>
                  <a:pt x="51" y="38"/>
                  <a:pt x="51" y="38"/>
                  <a:pt x="51" y="38"/>
                </a:cubicBezTo>
                <a:cubicBezTo>
                  <a:pt x="43" y="37"/>
                  <a:pt x="40" y="37"/>
                  <a:pt x="32" y="38"/>
                </a:cubicBezTo>
                <a:cubicBezTo>
                  <a:pt x="31" y="35"/>
                  <a:pt x="31" y="35"/>
                  <a:pt x="31" y="35"/>
                </a:cubicBezTo>
                <a:cubicBezTo>
                  <a:pt x="28" y="36"/>
                  <a:pt x="26" y="36"/>
                  <a:pt x="24" y="38"/>
                </a:cubicBezTo>
                <a:cubicBezTo>
                  <a:pt x="19" y="32"/>
                  <a:pt x="12" y="28"/>
                  <a:pt x="5" y="27"/>
                </a:cubicBezTo>
                <a:cubicBezTo>
                  <a:pt x="0" y="37"/>
                  <a:pt x="2" y="48"/>
                  <a:pt x="8" y="54"/>
                </a:cubicBezTo>
                <a:cubicBezTo>
                  <a:pt x="6" y="59"/>
                  <a:pt x="5" y="64"/>
                  <a:pt x="5" y="69"/>
                </a:cubicBezTo>
                <a:cubicBezTo>
                  <a:pt x="5" y="77"/>
                  <a:pt x="7" y="84"/>
                  <a:pt x="12" y="90"/>
                </a:cubicBezTo>
                <a:cubicBezTo>
                  <a:pt x="12" y="104"/>
                  <a:pt x="12" y="104"/>
                  <a:pt x="12" y="104"/>
                </a:cubicBezTo>
                <a:cubicBezTo>
                  <a:pt x="19" y="104"/>
                  <a:pt x="19" y="104"/>
                  <a:pt x="19" y="104"/>
                </a:cubicBezTo>
                <a:cubicBezTo>
                  <a:pt x="21" y="99"/>
                  <a:pt x="21" y="99"/>
                  <a:pt x="21" y="99"/>
                </a:cubicBezTo>
                <a:cubicBezTo>
                  <a:pt x="27" y="102"/>
                  <a:pt x="33" y="104"/>
                  <a:pt x="41" y="104"/>
                </a:cubicBezTo>
                <a:cubicBezTo>
                  <a:pt x="48" y="104"/>
                  <a:pt x="54" y="102"/>
                  <a:pt x="60" y="99"/>
                </a:cubicBezTo>
                <a:close/>
                <a:moveTo>
                  <a:pt x="41" y="0"/>
                </a:moveTo>
                <a:cubicBezTo>
                  <a:pt x="46" y="0"/>
                  <a:pt x="50" y="2"/>
                  <a:pt x="53" y="5"/>
                </a:cubicBezTo>
                <a:cubicBezTo>
                  <a:pt x="57" y="9"/>
                  <a:pt x="58" y="13"/>
                  <a:pt x="58" y="18"/>
                </a:cubicBezTo>
                <a:cubicBezTo>
                  <a:pt x="58" y="22"/>
                  <a:pt x="57" y="27"/>
                  <a:pt x="53" y="30"/>
                </a:cubicBezTo>
                <a:cubicBezTo>
                  <a:pt x="50" y="33"/>
                  <a:pt x="46" y="35"/>
                  <a:pt x="41" y="35"/>
                </a:cubicBezTo>
                <a:cubicBezTo>
                  <a:pt x="36" y="35"/>
                  <a:pt x="32" y="33"/>
                  <a:pt x="29" y="30"/>
                </a:cubicBezTo>
                <a:cubicBezTo>
                  <a:pt x="26" y="27"/>
                  <a:pt x="24" y="22"/>
                  <a:pt x="24" y="18"/>
                </a:cubicBezTo>
                <a:cubicBezTo>
                  <a:pt x="24" y="13"/>
                  <a:pt x="26" y="9"/>
                  <a:pt x="29" y="5"/>
                </a:cubicBezTo>
                <a:cubicBezTo>
                  <a:pt x="32" y="2"/>
                  <a:pt x="36" y="0"/>
                  <a:pt x="41" y="0"/>
                </a:cubicBezTo>
                <a:close/>
                <a:moveTo>
                  <a:pt x="48" y="11"/>
                </a:moveTo>
                <a:cubicBezTo>
                  <a:pt x="50" y="12"/>
                  <a:pt x="51" y="15"/>
                  <a:pt x="51" y="18"/>
                </a:cubicBezTo>
                <a:cubicBezTo>
                  <a:pt x="51" y="20"/>
                  <a:pt x="50" y="23"/>
                  <a:pt x="48" y="25"/>
                </a:cubicBezTo>
                <a:cubicBezTo>
                  <a:pt x="46" y="26"/>
                  <a:pt x="44" y="28"/>
                  <a:pt x="41" y="28"/>
                </a:cubicBezTo>
                <a:cubicBezTo>
                  <a:pt x="39" y="28"/>
                  <a:pt x="36" y="26"/>
                  <a:pt x="34" y="25"/>
                </a:cubicBezTo>
                <a:cubicBezTo>
                  <a:pt x="32" y="23"/>
                  <a:pt x="31" y="20"/>
                  <a:pt x="31" y="18"/>
                </a:cubicBezTo>
                <a:cubicBezTo>
                  <a:pt x="31" y="15"/>
                  <a:pt x="32" y="12"/>
                  <a:pt x="34" y="11"/>
                </a:cubicBezTo>
                <a:cubicBezTo>
                  <a:pt x="36" y="9"/>
                  <a:pt x="39" y="8"/>
                  <a:pt x="41" y="8"/>
                </a:cubicBezTo>
                <a:cubicBezTo>
                  <a:pt x="44" y="8"/>
                  <a:pt x="46" y="9"/>
                  <a:pt x="48" y="11"/>
                </a:cubicBezTo>
                <a:close/>
                <a:moveTo>
                  <a:pt x="41" y="58"/>
                </a:moveTo>
                <a:cubicBezTo>
                  <a:pt x="33" y="58"/>
                  <a:pt x="26" y="64"/>
                  <a:pt x="26" y="71"/>
                </a:cubicBezTo>
                <a:cubicBezTo>
                  <a:pt x="26" y="79"/>
                  <a:pt x="33" y="85"/>
                  <a:pt x="41" y="85"/>
                </a:cubicBezTo>
                <a:cubicBezTo>
                  <a:pt x="48" y="85"/>
                  <a:pt x="55" y="79"/>
                  <a:pt x="55" y="71"/>
                </a:cubicBezTo>
                <a:cubicBezTo>
                  <a:pt x="55" y="64"/>
                  <a:pt x="48" y="58"/>
                  <a:pt x="41" y="58"/>
                </a:cubicBezTo>
                <a:close/>
                <a:moveTo>
                  <a:pt x="20" y="57"/>
                </a:moveTo>
                <a:cubicBezTo>
                  <a:pt x="20" y="56"/>
                  <a:pt x="20" y="55"/>
                  <a:pt x="21" y="54"/>
                </a:cubicBezTo>
                <a:cubicBezTo>
                  <a:pt x="21" y="52"/>
                  <a:pt x="22" y="51"/>
                  <a:pt x="24" y="50"/>
                </a:cubicBezTo>
                <a:cubicBezTo>
                  <a:pt x="25" y="49"/>
                  <a:pt x="27" y="49"/>
                  <a:pt x="28" y="49"/>
                </a:cubicBezTo>
                <a:cubicBezTo>
                  <a:pt x="30" y="49"/>
                  <a:pt x="32" y="49"/>
                  <a:pt x="34" y="50"/>
                </a:cubicBezTo>
                <a:cubicBezTo>
                  <a:pt x="32" y="54"/>
                  <a:pt x="32" y="54"/>
                  <a:pt x="32" y="54"/>
                </a:cubicBezTo>
                <a:cubicBezTo>
                  <a:pt x="31" y="53"/>
                  <a:pt x="30" y="53"/>
                  <a:pt x="29" y="53"/>
                </a:cubicBezTo>
                <a:cubicBezTo>
                  <a:pt x="28" y="53"/>
                  <a:pt x="27" y="53"/>
                  <a:pt x="26" y="54"/>
                </a:cubicBezTo>
                <a:cubicBezTo>
                  <a:pt x="26" y="54"/>
                  <a:pt x="25" y="55"/>
                  <a:pt x="25" y="55"/>
                </a:cubicBezTo>
                <a:cubicBezTo>
                  <a:pt x="25" y="56"/>
                  <a:pt x="24" y="57"/>
                  <a:pt x="24" y="57"/>
                </a:cubicBezTo>
                <a:cubicBezTo>
                  <a:pt x="20" y="57"/>
                  <a:pt x="20" y="57"/>
                  <a:pt x="20" y="57"/>
                </a:cubicBezTo>
                <a:close/>
                <a:moveTo>
                  <a:pt x="62" y="57"/>
                </a:moveTo>
                <a:cubicBezTo>
                  <a:pt x="57" y="57"/>
                  <a:pt x="57" y="57"/>
                  <a:pt x="57" y="57"/>
                </a:cubicBezTo>
                <a:cubicBezTo>
                  <a:pt x="57" y="57"/>
                  <a:pt x="57" y="56"/>
                  <a:pt x="57" y="55"/>
                </a:cubicBezTo>
                <a:cubicBezTo>
                  <a:pt x="57" y="55"/>
                  <a:pt x="56" y="54"/>
                  <a:pt x="56" y="54"/>
                </a:cubicBezTo>
                <a:cubicBezTo>
                  <a:pt x="55" y="53"/>
                  <a:pt x="54" y="53"/>
                  <a:pt x="53" y="53"/>
                </a:cubicBezTo>
                <a:cubicBezTo>
                  <a:pt x="52" y="53"/>
                  <a:pt x="51" y="53"/>
                  <a:pt x="50" y="54"/>
                </a:cubicBezTo>
                <a:cubicBezTo>
                  <a:pt x="48" y="50"/>
                  <a:pt x="48" y="50"/>
                  <a:pt x="48" y="50"/>
                </a:cubicBezTo>
                <a:cubicBezTo>
                  <a:pt x="50" y="49"/>
                  <a:pt x="52" y="49"/>
                  <a:pt x="53" y="49"/>
                </a:cubicBezTo>
                <a:cubicBezTo>
                  <a:pt x="55" y="49"/>
                  <a:pt x="57" y="49"/>
                  <a:pt x="58" y="50"/>
                </a:cubicBezTo>
                <a:cubicBezTo>
                  <a:pt x="59" y="51"/>
                  <a:pt x="60" y="52"/>
                  <a:pt x="61" y="54"/>
                </a:cubicBezTo>
                <a:cubicBezTo>
                  <a:pt x="62" y="55"/>
                  <a:pt x="62" y="56"/>
                  <a:pt x="62" y="57"/>
                </a:cubicBezTo>
                <a:close/>
                <a:moveTo>
                  <a:pt x="35" y="67"/>
                </a:moveTo>
                <a:cubicBezTo>
                  <a:pt x="37" y="67"/>
                  <a:pt x="38" y="69"/>
                  <a:pt x="38" y="72"/>
                </a:cubicBezTo>
                <a:cubicBezTo>
                  <a:pt x="38" y="74"/>
                  <a:pt x="37" y="76"/>
                  <a:pt x="35" y="76"/>
                </a:cubicBezTo>
                <a:cubicBezTo>
                  <a:pt x="33" y="76"/>
                  <a:pt x="32" y="74"/>
                  <a:pt x="32" y="72"/>
                </a:cubicBezTo>
                <a:cubicBezTo>
                  <a:pt x="32" y="69"/>
                  <a:pt x="33" y="67"/>
                  <a:pt x="35" y="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1" name="Freeform 25"/>
          <p:cNvSpPr>
            <a:spLocks noEditPoints="1" noChangeArrowheads="1"/>
          </p:cNvSpPr>
          <p:nvPr/>
        </p:nvSpPr>
        <p:spPr bwMode="auto">
          <a:xfrm>
            <a:off x="8932333" y="3873501"/>
            <a:ext cx="355600" cy="514351"/>
          </a:xfrm>
          <a:custGeom>
            <a:avLst/>
            <a:gdLst>
              <a:gd name="T0" fmla="*/ 246447896 w 78"/>
              <a:gd name="T1" fmla="*/ 427401294 h 112"/>
              <a:gd name="T2" fmla="*/ 246447896 w 78"/>
              <a:gd name="T3" fmla="*/ 130594553 h 112"/>
              <a:gd name="T4" fmla="*/ 680669688 w 78"/>
              <a:gd name="T5" fmla="*/ 130594553 h 112"/>
              <a:gd name="T6" fmla="*/ 668934888 w 78"/>
              <a:gd name="T7" fmla="*/ 427401294 h 112"/>
              <a:gd name="T8" fmla="*/ 621992269 w 78"/>
              <a:gd name="T9" fmla="*/ 557999291 h 112"/>
              <a:gd name="T10" fmla="*/ 457691392 w 78"/>
              <a:gd name="T11" fmla="*/ 629231118 h 112"/>
              <a:gd name="T12" fmla="*/ 457691392 w 78"/>
              <a:gd name="T13" fmla="*/ 629231118 h 112"/>
              <a:gd name="T14" fmla="*/ 305128735 w 78"/>
              <a:gd name="T15" fmla="*/ 557999291 h 112"/>
              <a:gd name="T16" fmla="*/ 246447896 w 78"/>
              <a:gd name="T17" fmla="*/ 427401294 h 112"/>
              <a:gd name="T18" fmla="*/ 152562658 w 78"/>
              <a:gd name="T19" fmla="*/ 1270334781 h 112"/>
              <a:gd name="T20" fmla="*/ 786289727 w 78"/>
              <a:gd name="T21" fmla="*/ 1270334781 h 112"/>
              <a:gd name="T22" fmla="*/ 751081908 w 78"/>
              <a:gd name="T23" fmla="*/ 1329697507 h 112"/>
              <a:gd name="T24" fmla="*/ 187770477 w 78"/>
              <a:gd name="T25" fmla="*/ 1329697507 h 112"/>
              <a:gd name="T26" fmla="*/ 152562658 w 78"/>
              <a:gd name="T27" fmla="*/ 1270334781 h 112"/>
              <a:gd name="T28" fmla="*/ 821497546 w 78"/>
              <a:gd name="T29" fmla="*/ 795443306 h 112"/>
              <a:gd name="T30" fmla="*/ 891909765 w 78"/>
              <a:gd name="T31" fmla="*/ 1068508401 h 112"/>
              <a:gd name="T32" fmla="*/ 798024527 w 78"/>
              <a:gd name="T33" fmla="*/ 1222848044 h 112"/>
              <a:gd name="T34" fmla="*/ 774554927 w 78"/>
              <a:gd name="T35" fmla="*/ 1222848044 h 112"/>
              <a:gd name="T36" fmla="*/ 774554927 w 78"/>
              <a:gd name="T37" fmla="*/ 854806032 h 112"/>
              <a:gd name="T38" fmla="*/ 492899212 w 78"/>
              <a:gd name="T39" fmla="*/ 854806032 h 112"/>
              <a:gd name="T40" fmla="*/ 575049650 w 78"/>
              <a:gd name="T41" fmla="*/ 664848753 h 112"/>
              <a:gd name="T42" fmla="*/ 598519250 w 78"/>
              <a:gd name="T43" fmla="*/ 641103663 h 112"/>
              <a:gd name="T44" fmla="*/ 762820127 w 78"/>
              <a:gd name="T45" fmla="*/ 676721298 h 112"/>
              <a:gd name="T46" fmla="*/ 774554927 w 78"/>
              <a:gd name="T47" fmla="*/ 676721298 h 112"/>
              <a:gd name="T48" fmla="*/ 774554927 w 78"/>
              <a:gd name="T49" fmla="*/ 688593844 h 112"/>
              <a:gd name="T50" fmla="*/ 821497546 w 78"/>
              <a:gd name="T51" fmla="*/ 795443306 h 112"/>
              <a:gd name="T52" fmla="*/ 821497546 w 78"/>
              <a:gd name="T53" fmla="*/ 795443306 h 112"/>
              <a:gd name="T54" fmla="*/ 164300877 w 78"/>
              <a:gd name="T55" fmla="*/ 1222848044 h 112"/>
              <a:gd name="T56" fmla="*/ 129093058 w 78"/>
              <a:gd name="T57" fmla="*/ 1222848044 h 112"/>
              <a:gd name="T58" fmla="*/ 35207819 w 78"/>
              <a:gd name="T59" fmla="*/ 1068508401 h 112"/>
              <a:gd name="T60" fmla="*/ 105620038 w 78"/>
              <a:gd name="T61" fmla="*/ 795443306 h 112"/>
              <a:gd name="T62" fmla="*/ 164300877 w 78"/>
              <a:gd name="T63" fmla="*/ 688593844 h 112"/>
              <a:gd name="T64" fmla="*/ 164300877 w 78"/>
              <a:gd name="T65" fmla="*/ 676721298 h 112"/>
              <a:gd name="T66" fmla="*/ 164300877 w 78"/>
              <a:gd name="T67" fmla="*/ 676721298 h 112"/>
              <a:gd name="T68" fmla="*/ 328598335 w 78"/>
              <a:gd name="T69" fmla="*/ 641103663 h 112"/>
              <a:gd name="T70" fmla="*/ 352071354 w 78"/>
              <a:gd name="T71" fmla="*/ 664848753 h 112"/>
              <a:gd name="T72" fmla="*/ 445956592 w 78"/>
              <a:gd name="T73" fmla="*/ 854806032 h 112"/>
              <a:gd name="T74" fmla="*/ 164300877 w 78"/>
              <a:gd name="T75" fmla="*/ 854806032 h 112"/>
              <a:gd name="T76" fmla="*/ 164300877 w 78"/>
              <a:gd name="T77" fmla="*/ 1222848044 h 11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78"/>
              <a:gd name="T118" fmla="*/ 0 h 112"/>
              <a:gd name="T119" fmla="*/ 78 w 78"/>
              <a:gd name="T120" fmla="*/ 112 h 11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78" h="112">
                <a:moveTo>
                  <a:pt x="21" y="36"/>
                </a:moveTo>
                <a:cubicBezTo>
                  <a:pt x="20" y="27"/>
                  <a:pt x="20" y="19"/>
                  <a:pt x="21" y="11"/>
                </a:cubicBezTo>
                <a:cubicBezTo>
                  <a:pt x="37" y="0"/>
                  <a:pt x="45" y="13"/>
                  <a:pt x="58" y="11"/>
                </a:cubicBezTo>
                <a:cubicBezTo>
                  <a:pt x="59" y="19"/>
                  <a:pt x="59" y="29"/>
                  <a:pt x="57" y="36"/>
                </a:cubicBezTo>
                <a:cubicBezTo>
                  <a:pt x="57" y="40"/>
                  <a:pt x="55" y="44"/>
                  <a:pt x="53" y="47"/>
                </a:cubicBezTo>
                <a:cubicBezTo>
                  <a:pt x="49" y="51"/>
                  <a:pt x="44" y="53"/>
                  <a:pt x="39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4" y="53"/>
                  <a:pt x="29" y="51"/>
                  <a:pt x="26" y="47"/>
                </a:cubicBezTo>
                <a:cubicBezTo>
                  <a:pt x="24" y="44"/>
                  <a:pt x="22" y="40"/>
                  <a:pt x="21" y="36"/>
                </a:cubicBezTo>
                <a:close/>
                <a:moveTo>
                  <a:pt x="13" y="107"/>
                </a:moveTo>
                <a:cubicBezTo>
                  <a:pt x="67" y="107"/>
                  <a:pt x="67" y="107"/>
                  <a:pt x="67" y="107"/>
                </a:cubicBezTo>
                <a:cubicBezTo>
                  <a:pt x="64" y="112"/>
                  <a:pt x="64" y="112"/>
                  <a:pt x="64" y="11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13" y="107"/>
                  <a:pt x="13" y="107"/>
                  <a:pt x="13" y="107"/>
                </a:cubicBezTo>
                <a:close/>
                <a:moveTo>
                  <a:pt x="70" y="67"/>
                </a:moveTo>
                <a:cubicBezTo>
                  <a:pt x="76" y="90"/>
                  <a:pt x="76" y="90"/>
                  <a:pt x="76" y="90"/>
                </a:cubicBezTo>
                <a:cubicBezTo>
                  <a:pt x="78" y="98"/>
                  <a:pt x="77" y="103"/>
                  <a:pt x="68" y="103"/>
                </a:cubicBezTo>
                <a:cubicBezTo>
                  <a:pt x="66" y="103"/>
                  <a:pt x="66" y="103"/>
                  <a:pt x="66" y="103"/>
                </a:cubicBezTo>
                <a:cubicBezTo>
                  <a:pt x="66" y="72"/>
                  <a:pt x="66" y="72"/>
                  <a:pt x="66" y="72"/>
                </a:cubicBezTo>
                <a:cubicBezTo>
                  <a:pt x="42" y="72"/>
                  <a:pt x="42" y="72"/>
                  <a:pt x="42" y="72"/>
                </a:cubicBezTo>
                <a:cubicBezTo>
                  <a:pt x="49" y="56"/>
                  <a:pt x="49" y="56"/>
                  <a:pt x="49" y="56"/>
                </a:cubicBezTo>
                <a:cubicBezTo>
                  <a:pt x="51" y="54"/>
                  <a:pt x="51" y="54"/>
                  <a:pt x="51" y="54"/>
                </a:cubicBezTo>
                <a:cubicBezTo>
                  <a:pt x="65" y="57"/>
                  <a:pt x="65" y="57"/>
                  <a:pt x="65" y="57"/>
                </a:cubicBezTo>
                <a:cubicBezTo>
                  <a:pt x="66" y="57"/>
                  <a:pt x="66" y="57"/>
                  <a:pt x="66" y="57"/>
                </a:cubicBezTo>
                <a:cubicBezTo>
                  <a:pt x="66" y="58"/>
                  <a:pt x="66" y="58"/>
                  <a:pt x="66" y="58"/>
                </a:cubicBezTo>
                <a:cubicBezTo>
                  <a:pt x="68" y="61"/>
                  <a:pt x="69" y="64"/>
                  <a:pt x="70" y="67"/>
                </a:cubicBezTo>
                <a:cubicBezTo>
                  <a:pt x="70" y="67"/>
                  <a:pt x="70" y="67"/>
                  <a:pt x="70" y="67"/>
                </a:cubicBezTo>
                <a:close/>
                <a:moveTo>
                  <a:pt x="14" y="103"/>
                </a:moveTo>
                <a:cubicBezTo>
                  <a:pt x="11" y="103"/>
                  <a:pt x="11" y="103"/>
                  <a:pt x="11" y="103"/>
                </a:cubicBezTo>
                <a:cubicBezTo>
                  <a:pt x="1" y="103"/>
                  <a:pt x="0" y="98"/>
                  <a:pt x="3" y="90"/>
                </a:cubicBezTo>
                <a:cubicBezTo>
                  <a:pt x="9" y="67"/>
                  <a:pt x="9" y="67"/>
                  <a:pt x="9" y="67"/>
                </a:cubicBezTo>
                <a:cubicBezTo>
                  <a:pt x="9" y="63"/>
                  <a:pt x="11" y="60"/>
                  <a:pt x="14" y="58"/>
                </a:cubicBezTo>
                <a:cubicBezTo>
                  <a:pt x="14" y="57"/>
                  <a:pt x="14" y="57"/>
                  <a:pt x="14" y="57"/>
                </a:cubicBezTo>
                <a:cubicBezTo>
                  <a:pt x="14" y="57"/>
                  <a:pt x="14" y="57"/>
                  <a:pt x="14" y="57"/>
                </a:cubicBezTo>
                <a:cubicBezTo>
                  <a:pt x="28" y="54"/>
                  <a:pt x="28" y="54"/>
                  <a:pt x="28" y="54"/>
                </a:cubicBezTo>
                <a:cubicBezTo>
                  <a:pt x="30" y="56"/>
                  <a:pt x="30" y="56"/>
                  <a:pt x="30" y="56"/>
                </a:cubicBezTo>
                <a:cubicBezTo>
                  <a:pt x="38" y="72"/>
                  <a:pt x="38" y="72"/>
                  <a:pt x="38" y="72"/>
                </a:cubicBezTo>
                <a:cubicBezTo>
                  <a:pt x="14" y="72"/>
                  <a:pt x="14" y="72"/>
                  <a:pt x="14" y="72"/>
                </a:cubicBezTo>
                <a:lnTo>
                  <a:pt x="14" y="10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2" name="Freeform 26"/>
          <p:cNvSpPr>
            <a:spLocks noEditPoints="1" noChangeArrowheads="1"/>
          </p:cNvSpPr>
          <p:nvPr/>
        </p:nvSpPr>
        <p:spPr bwMode="auto">
          <a:xfrm>
            <a:off x="8902700" y="3143251"/>
            <a:ext cx="389467" cy="433916"/>
          </a:xfrm>
          <a:custGeom>
            <a:avLst/>
            <a:gdLst>
              <a:gd name="T0" fmla="*/ 588234416 w 85"/>
              <a:gd name="T1" fmla="*/ 1069464772 h 95"/>
              <a:gd name="T2" fmla="*/ 682349036 w 85"/>
              <a:gd name="T3" fmla="*/ 940190919 h 95"/>
              <a:gd name="T4" fmla="*/ 670585998 w 85"/>
              <a:gd name="T5" fmla="*/ 869673859 h 95"/>
              <a:gd name="T6" fmla="*/ 517645874 w 85"/>
              <a:gd name="T7" fmla="*/ 728646592 h 95"/>
              <a:gd name="T8" fmla="*/ 447057332 w 85"/>
              <a:gd name="T9" fmla="*/ 716893178 h 95"/>
              <a:gd name="T10" fmla="*/ 352939275 w 85"/>
              <a:gd name="T11" fmla="*/ 775656823 h 95"/>
              <a:gd name="T12" fmla="*/ 211762191 w 85"/>
              <a:gd name="T13" fmla="*/ 411331814 h 95"/>
              <a:gd name="T14" fmla="*/ 305880247 w 85"/>
              <a:gd name="T15" fmla="*/ 352571594 h 95"/>
              <a:gd name="T16" fmla="*/ 329409761 w 85"/>
              <a:gd name="T17" fmla="*/ 282057961 h 95"/>
              <a:gd name="T18" fmla="*/ 270587694 w 85"/>
              <a:gd name="T19" fmla="*/ 82267048 h 95"/>
              <a:gd name="T20" fmla="*/ 223528666 w 85"/>
              <a:gd name="T21" fmla="*/ 47010231 h 95"/>
              <a:gd name="T22" fmla="*/ 58822067 w 85"/>
              <a:gd name="T23" fmla="*/ 58760220 h 95"/>
              <a:gd name="T24" fmla="*/ 0 w 85"/>
              <a:gd name="T25" fmla="*/ 117523865 h 95"/>
              <a:gd name="T26" fmla="*/ 505879399 w 85"/>
              <a:gd name="T27" fmla="*/ 1092971600 h 95"/>
              <a:gd name="T28" fmla="*/ 588234416 w 85"/>
              <a:gd name="T29" fmla="*/ 1069464772 h 95"/>
              <a:gd name="T30" fmla="*/ 541175388 w 85"/>
              <a:gd name="T31" fmla="*/ 611122727 h 95"/>
              <a:gd name="T32" fmla="*/ 376468789 w 85"/>
              <a:gd name="T33" fmla="*/ 611122727 h 95"/>
              <a:gd name="T34" fmla="*/ 388235265 w 85"/>
              <a:gd name="T35" fmla="*/ 575865910 h 95"/>
              <a:gd name="T36" fmla="*/ 482349885 w 85"/>
              <a:gd name="T37" fmla="*/ 434838642 h 95"/>
              <a:gd name="T38" fmla="*/ 494116360 w 85"/>
              <a:gd name="T39" fmla="*/ 364325009 h 95"/>
              <a:gd name="T40" fmla="*/ 482349885 w 85"/>
              <a:gd name="T41" fmla="*/ 340818180 h 95"/>
              <a:gd name="T42" fmla="*/ 470586846 w 85"/>
              <a:gd name="T43" fmla="*/ 364325009 h 95"/>
              <a:gd name="T44" fmla="*/ 458820371 w 85"/>
              <a:gd name="T45" fmla="*/ 411331814 h 95"/>
              <a:gd name="T46" fmla="*/ 399998304 w 85"/>
              <a:gd name="T47" fmla="*/ 411331814 h 95"/>
              <a:gd name="T48" fmla="*/ 411761342 w 85"/>
              <a:gd name="T49" fmla="*/ 352571594 h 95"/>
              <a:gd name="T50" fmla="*/ 494116360 w 85"/>
              <a:gd name="T51" fmla="*/ 293807949 h 95"/>
              <a:gd name="T52" fmla="*/ 552938427 w 85"/>
              <a:gd name="T53" fmla="*/ 317314778 h 95"/>
              <a:gd name="T54" fmla="*/ 564704902 w 85"/>
              <a:gd name="T55" fmla="*/ 387828411 h 95"/>
              <a:gd name="T56" fmla="*/ 552938427 w 85"/>
              <a:gd name="T57" fmla="*/ 423085228 h 95"/>
              <a:gd name="T58" fmla="*/ 458820371 w 85"/>
              <a:gd name="T59" fmla="*/ 575865910 h 95"/>
              <a:gd name="T60" fmla="*/ 541175388 w 85"/>
              <a:gd name="T61" fmla="*/ 575865910 h 95"/>
              <a:gd name="T62" fmla="*/ 541175388 w 85"/>
              <a:gd name="T63" fmla="*/ 611122727 h 95"/>
              <a:gd name="T64" fmla="*/ 741174540 w 85"/>
              <a:gd name="T65" fmla="*/ 575865910 h 95"/>
              <a:gd name="T66" fmla="*/ 705878551 w 85"/>
              <a:gd name="T67" fmla="*/ 575865910 h 95"/>
              <a:gd name="T68" fmla="*/ 705878551 w 85"/>
              <a:gd name="T69" fmla="*/ 611122727 h 95"/>
              <a:gd name="T70" fmla="*/ 635290008 w 85"/>
              <a:gd name="T71" fmla="*/ 611122727 h 95"/>
              <a:gd name="T72" fmla="*/ 647056484 w 85"/>
              <a:gd name="T73" fmla="*/ 575865910 h 95"/>
              <a:gd name="T74" fmla="*/ 552938427 w 85"/>
              <a:gd name="T75" fmla="*/ 575865910 h 95"/>
              <a:gd name="T76" fmla="*/ 552938427 w 85"/>
              <a:gd name="T77" fmla="*/ 528855679 h 95"/>
              <a:gd name="T78" fmla="*/ 647056484 w 85"/>
              <a:gd name="T79" fmla="*/ 305561363 h 95"/>
              <a:gd name="T80" fmla="*/ 741174540 w 85"/>
              <a:gd name="T81" fmla="*/ 305561363 h 95"/>
              <a:gd name="T82" fmla="*/ 717645026 w 85"/>
              <a:gd name="T83" fmla="*/ 528855679 h 95"/>
              <a:gd name="T84" fmla="*/ 752937579 w 85"/>
              <a:gd name="T85" fmla="*/ 528855679 h 95"/>
              <a:gd name="T86" fmla="*/ 741174540 w 85"/>
              <a:gd name="T87" fmla="*/ 575865910 h 95"/>
              <a:gd name="T88" fmla="*/ 647056484 w 85"/>
              <a:gd name="T89" fmla="*/ 528855679 h 95"/>
              <a:gd name="T90" fmla="*/ 611760494 w 85"/>
              <a:gd name="T91" fmla="*/ 528855679 h 95"/>
              <a:gd name="T92" fmla="*/ 658819522 w 85"/>
              <a:gd name="T93" fmla="*/ 399581826 h 95"/>
              <a:gd name="T94" fmla="*/ 647056484 w 85"/>
              <a:gd name="T95" fmla="*/ 528855679 h 95"/>
              <a:gd name="T96" fmla="*/ 505879399 w 85"/>
              <a:gd name="T97" fmla="*/ 0 h 95"/>
              <a:gd name="T98" fmla="*/ 847055635 w 85"/>
              <a:gd name="T99" fmla="*/ 141027268 h 95"/>
              <a:gd name="T100" fmla="*/ 999995759 w 85"/>
              <a:gd name="T101" fmla="*/ 481845448 h 95"/>
              <a:gd name="T102" fmla="*/ 847055635 w 85"/>
              <a:gd name="T103" fmla="*/ 822667054 h 95"/>
              <a:gd name="T104" fmla="*/ 764704054 w 85"/>
              <a:gd name="T105" fmla="*/ 881427273 h 95"/>
              <a:gd name="T106" fmla="*/ 752937579 w 85"/>
              <a:gd name="T107" fmla="*/ 846170457 h 95"/>
              <a:gd name="T108" fmla="*/ 694115512 w 85"/>
              <a:gd name="T109" fmla="*/ 799160225 h 95"/>
              <a:gd name="T110" fmla="*/ 776467093 w 85"/>
              <a:gd name="T111" fmla="*/ 740400006 h 95"/>
              <a:gd name="T112" fmla="*/ 882348188 w 85"/>
              <a:gd name="T113" fmla="*/ 481845448 h 95"/>
              <a:gd name="T114" fmla="*/ 776467093 w 85"/>
              <a:gd name="T115" fmla="*/ 211544327 h 95"/>
              <a:gd name="T116" fmla="*/ 505879399 w 85"/>
              <a:gd name="T117" fmla="*/ 105770451 h 95"/>
              <a:gd name="T118" fmla="*/ 364705751 w 85"/>
              <a:gd name="T119" fmla="*/ 129277279 h 95"/>
              <a:gd name="T120" fmla="*/ 352939275 w 85"/>
              <a:gd name="T121" fmla="*/ 58760220 h 95"/>
              <a:gd name="T122" fmla="*/ 329409761 w 85"/>
              <a:gd name="T123" fmla="*/ 23503403 h 95"/>
              <a:gd name="T124" fmla="*/ 505879399 w 85"/>
              <a:gd name="T125" fmla="*/ 0 h 9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85"/>
              <a:gd name="T190" fmla="*/ 0 h 95"/>
              <a:gd name="T191" fmla="*/ 85 w 85"/>
              <a:gd name="T192" fmla="*/ 95 h 9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85" h="95">
                <a:moveTo>
                  <a:pt x="50" y="91"/>
                </a:moveTo>
                <a:cubicBezTo>
                  <a:pt x="53" y="87"/>
                  <a:pt x="55" y="83"/>
                  <a:pt x="58" y="80"/>
                </a:cubicBezTo>
                <a:cubicBezTo>
                  <a:pt x="59" y="78"/>
                  <a:pt x="58" y="76"/>
                  <a:pt x="57" y="74"/>
                </a:cubicBezTo>
                <a:cubicBezTo>
                  <a:pt x="52" y="70"/>
                  <a:pt x="48" y="66"/>
                  <a:pt x="44" y="62"/>
                </a:cubicBezTo>
                <a:cubicBezTo>
                  <a:pt x="42" y="60"/>
                  <a:pt x="40" y="60"/>
                  <a:pt x="38" y="61"/>
                </a:cubicBezTo>
                <a:cubicBezTo>
                  <a:pt x="36" y="62"/>
                  <a:pt x="33" y="64"/>
                  <a:pt x="30" y="66"/>
                </a:cubicBezTo>
                <a:cubicBezTo>
                  <a:pt x="21" y="52"/>
                  <a:pt x="20" y="45"/>
                  <a:pt x="18" y="35"/>
                </a:cubicBezTo>
                <a:cubicBezTo>
                  <a:pt x="20" y="33"/>
                  <a:pt x="23" y="31"/>
                  <a:pt x="26" y="30"/>
                </a:cubicBezTo>
                <a:cubicBezTo>
                  <a:pt x="28" y="29"/>
                  <a:pt x="28" y="27"/>
                  <a:pt x="28" y="24"/>
                </a:cubicBezTo>
                <a:cubicBezTo>
                  <a:pt x="26" y="19"/>
                  <a:pt x="24" y="13"/>
                  <a:pt x="23" y="7"/>
                </a:cubicBezTo>
                <a:cubicBezTo>
                  <a:pt x="22" y="5"/>
                  <a:pt x="21" y="3"/>
                  <a:pt x="19" y="4"/>
                </a:cubicBezTo>
                <a:cubicBezTo>
                  <a:pt x="14" y="4"/>
                  <a:pt x="9" y="4"/>
                  <a:pt x="5" y="5"/>
                </a:cubicBezTo>
                <a:cubicBezTo>
                  <a:pt x="1" y="5"/>
                  <a:pt x="0" y="7"/>
                  <a:pt x="0" y="10"/>
                </a:cubicBezTo>
                <a:cubicBezTo>
                  <a:pt x="2" y="45"/>
                  <a:pt x="15" y="77"/>
                  <a:pt x="43" y="93"/>
                </a:cubicBezTo>
                <a:cubicBezTo>
                  <a:pt x="46" y="95"/>
                  <a:pt x="48" y="95"/>
                  <a:pt x="50" y="91"/>
                </a:cubicBezTo>
                <a:close/>
                <a:moveTo>
                  <a:pt x="46" y="52"/>
                </a:moveTo>
                <a:cubicBezTo>
                  <a:pt x="32" y="52"/>
                  <a:pt x="32" y="52"/>
                  <a:pt x="32" y="52"/>
                </a:cubicBezTo>
                <a:cubicBezTo>
                  <a:pt x="33" y="49"/>
                  <a:pt x="33" y="49"/>
                  <a:pt x="33" y="49"/>
                </a:cubicBezTo>
                <a:cubicBezTo>
                  <a:pt x="41" y="37"/>
                  <a:pt x="41" y="37"/>
                  <a:pt x="41" y="37"/>
                </a:cubicBezTo>
                <a:cubicBezTo>
                  <a:pt x="41" y="35"/>
                  <a:pt x="42" y="34"/>
                  <a:pt x="42" y="31"/>
                </a:cubicBezTo>
                <a:cubicBezTo>
                  <a:pt x="42" y="30"/>
                  <a:pt x="42" y="29"/>
                  <a:pt x="41" y="29"/>
                </a:cubicBezTo>
                <a:cubicBezTo>
                  <a:pt x="41" y="29"/>
                  <a:pt x="40" y="30"/>
                  <a:pt x="40" y="31"/>
                </a:cubicBezTo>
                <a:cubicBezTo>
                  <a:pt x="39" y="35"/>
                  <a:pt x="39" y="35"/>
                  <a:pt x="39" y="35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0"/>
                  <a:pt x="35" y="30"/>
                  <a:pt x="35" y="30"/>
                </a:cubicBezTo>
                <a:cubicBezTo>
                  <a:pt x="35" y="27"/>
                  <a:pt x="38" y="25"/>
                  <a:pt x="42" y="25"/>
                </a:cubicBezTo>
                <a:cubicBezTo>
                  <a:pt x="45" y="25"/>
                  <a:pt x="46" y="26"/>
                  <a:pt x="47" y="27"/>
                </a:cubicBezTo>
                <a:cubicBezTo>
                  <a:pt x="48" y="28"/>
                  <a:pt x="48" y="31"/>
                  <a:pt x="48" y="33"/>
                </a:cubicBezTo>
                <a:cubicBezTo>
                  <a:pt x="48" y="35"/>
                  <a:pt x="47" y="36"/>
                  <a:pt x="47" y="36"/>
                </a:cubicBezTo>
                <a:cubicBezTo>
                  <a:pt x="39" y="49"/>
                  <a:pt x="39" y="49"/>
                  <a:pt x="39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46" y="52"/>
                  <a:pt x="46" y="52"/>
                  <a:pt x="46" y="52"/>
                </a:cubicBezTo>
                <a:close/>
                <a:moveTo>
                  <a:pt x="63" y="49"/>
                </a:moveTo>
                <a:cubicBezTo>
                  <a:pt x="60" y="49"/>
                  <a:pt x="60" y="49"/>
                  <a:pt x="60" y="49"/>
                </a:cubicBezTo>
                <a:cubicBezTo>
                  <a:pt x="60" y="52"/>
                  <a:pt x="60" y="52"/>
                  <a:pt x="60" y="52"/>
                </a:cubicBezTo>
                <a:cubicBezTo>
                  <a:pt x="54" y="52"/>
                  <a:pt x="54" y="52"/>
                  <a:pt x="54" y="52"/>
                </a:cubicBezTo>
                <a:cubicBezTo>
                  <a:pt x="55" y="49"/>
                  <a:pt x="55" y="49"/>
                  <a:pt x="55" y="49"/>
                </a:cubicBezTo>
                <a:cubicBezTo>
                  <a:pt x="47" y="49"/>
                  <a:pt x="47" y="49"/>
                  <a:pt x="47" y="49"/>
                </a:cubicBezTo>
                <a:cubicBezTo>
                  <a:pt x="47" y="45"/>
                  <a:pt x="47" y="45"/>
                  <a:pt x="47" y="45"/>
                </a:cubicBezTo>
                <a:cubicBezTo>
                  <a:pt x="55" y="26"/>
                  <a:pt x="55" y="26"/>
                  <a:pt x="55" y="26"/>
                </a:cubicBezTo>
                <a:cubicBezTo>
                  <a:pt x="63" y="26"/>
                  <a:pt x="63" y="26"/>
                  <a:pt x="63" y="26"/>
                </a:cubicBezTo>
                <a:cubicBezTo>
                  <a:pt x="61" y="45"/>
                  <a:pt x="61" y="45"/>
                  <a:pt x="61" y="45"/>
                </a:cubicBezTo>
                <a:cubicBezTo>
                  <a:pt x="64" y="45"/>
                  <a:pt x="64" y="45"/>
                  <a:pt x="64" y="45"/>
                </a:cubicBezTo>
                <a:cubicBezTo>
                  <a:pt x="63" y="49"/>
                  <a:pt x="63" y="49"/>
                  <a:pt x="63" y="49"/>
                </a:cubicBezTo>
                <a:close/>
                <a:moveTo>
                  <a:pt x="55" y="45"/>
                </a:moveTo>
                <a:cubicBezTo>
                  <a:pt x="52" y="45"/>
                  <a:pt x="52" y="45"/>
                  <a:pt x="52" y="45"/>
                </a:cubicBezTo>
                <a:cubicBezTo>
                  <a:pt x="56" y="34"/>
                  <a:pt x="56" y="34"/>
                  <a:pt x="56" y="34"/>
                </a:cubicBezTo>
                <a:cubicBezTo>
                  <a:pt x="55" y="45"/>
                  <a:pt x="55" y="45"/>
                  <a:pt x="55" y="45"/>
                </a:cubicBezTo>
                <a:close/>
                <a:moveTo>
                  <a:pt x="43" y="0"/>
                </a:moveTo>
                <a:cubicBezTo>
                  <a:pt x="55" y="0"/>
                  <a:pt x="65" y="4"/>
                  <a:pt x="72" y="12"/>
                </a:cubicBezTo>
                <a:cubicBezTo>
                  <a:pt x="80" y="19"/>
                  <a:pt x="85" y="29"/>
                  <a:pt x="85" y="41"/>
                </a:cubicBezTo>
                <a:cubicBezTo>
                  <a:pt x="85" y="52"/>
                  <a:pt x="80" y="62"/>
                  <a:pt x="72" y="70"/>
                </a:cubicBezTo>
                <a:cubicBezTo>
                  <a:pt x="70" y="72"/>
                  <a:pt x="68" y="74"/>
                  <a:pt x="65" y="75"/>
                </a:cubicBezTo>
                <a:cubicBezTo>
                  <a:pt x="65" y="74"/>
                  <a:pt x="65" y="73"/>
                  <a:pt x="64" y="72"/>
                </a:cubicBezTo>
                <a:cubicBezTo>
                  <a:pt x="59" y="68"/>
                  <a:pt x="59" y="68"/>
                  <a:pt x="59" y="68"/>
                </a:cubicBezTo>
                <a:cubicBezTo>
                  <a:pt x="62" y="67"/>
                  <a:pt x="64" y="65"/>
                  <a:pt x="66" y="63"/>
                </a:cubicBezTo>
                <a:cubicBezTo>
                  <a:pt x="72" y="57"/>
                  <a:pt x="75" y="49"/>
                  <a:pt x="75" y="41"/>
                </a:cubicBezTo>
                <a:cubicBezTo>
                  <a:pt x="75" y="32"/>
                  <a:pt x="72" y="24"/>
                  <a:pt x="66" y="18"/>
                </a:cubicBezTo>
                <a:cubicBezTo>
                  <a:pt x="60" y="12"/>
                  <a:pt x="52" y="9"/>
                  <a:pt x="43" y="9"/>
                </a:cubicBezTo>
                <a:cubicBezTo>
                  <a:pt x="39" y="9"/>
                  <a:pt x="35" y="10"/>
                  <a:pt x="31" y="11"/>
                </a:cubicBezTo>
                <a:cubicBezTo>
                  <a:pt x="30" y="5"/>
                  <a:pt x="30" y="5"/>
                  <a:pt x="30" y="5"/>
                </a:cubicBezTo>
                <a:cubicBezTo>
                  <a:pt x="29" y="4"/>
                  <a:pt x="29" y="3"/>
                  <a:pt x="28" y="2"/>
                </a:cubicBezTo>
                <a:cubicBezTo>
                  <a:pt x="33" y="1"/>
                  <a:pt x="38" y="0"/>
                  <a:pt x="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3" name="Freeform 27"/>
          <p:cNvSpPr>
            <a:spLocks noEditPoints="1" noChangeArrowheads="1"/>
          </p:cNvSpPr>
          <p:nvPr/>
        </p:nvSpPr>
        <p:spPr bwMode="auto">
          <a:xfrm>
            <a:off x="8056034" y="3983567"/>
            <a:ext cx="378884" cy="374651"/>
          </a:xfrm>
          <a:custGeom>
            <a:avLst/>
            <a:gdLst>
              <a:gd name="T0" fmla="*/ 141157114 w 83"/>
              <a:gd name="T1" fmla="*/ 0 h 82"/>
              <a:gd name="T2" fmla="*/ 164684441 w 83"/>
              <a:gd name="T3" fmla="*/ 0 h 82"/>
              <a:gd name="T4" fmla="*/ 164684441 w 83"/>
              <a:gd name="T5" fmla="*/ 223344340 h 82"/>
              <a:gd name="T6" fmla="*/ 270553989 w 83"/>
              <a:gd name="T7" fmla="*/ 329139748 h 82"/>
              <a:gd name="T8" fmla="*/ 682265092 w 83"/>
              <a:gd name="T9" fmla="*/ 329139748 h 82"/>
              <a:gd name="T10" fmla="*/ 788131216 w 83"/>
              <a:gd name="T11" fmla="*/ 223344340 h 82"/>
              <a:gd name="T12" fmla="*/ 788131216 w 83"/>
              <a:gd name="T13" fmla="*/ 0 h 82"/>
              <a:gd name="T14" fmla="*/ 811658543 w 83"/>
              <a:gd name="T15" fmla="*/ 0 h 82"/>
              <a:gd name="T16" fmla="*/ 976342984 w 83"/>
              <a:gd name="T17" fmla="*/ 188080346 h 82"/>
              <a:gd name="T18" fmla="*/ 976342984 w 83"/>
              <a:gd name="T19" fmla="*/ 822849371 h 82"/>
              <a:gd name="T20" fmla="*/ 835185870 w 83"/>
              <a:gd name="T21" fmla="*/ 963908774 h 82"/>
              <a:gd name="T22" fmla="*/ 141157114 w 83"/>
              <a:gd name="T23" fmla="*/ 963908774 h 82"/>
              <a:gd name="T24" fmla="*/ 0 w 83"/>
              <a:gd name="T25" fmla="*/ 822849371 h 82"/>
              <a:gd name="T26" fmla="*/ 0 w 83"/>
              <a:gd name="T27" fmla="*/ 141059403 h 82"/>
              <a:gd name="T28" fmla="*/ 141157114 w 83"/>
              <a:gd name="T29" fmla="*/ 0 h 82"/>
              <a:gd name="T30" fmla="*/ 258790325 w 83"/>
              <a:gd name="T31" fmla="*/ 47020943 h 82"/>
              <a:gd name="T32" fmla="*/ 258790325 w 83"/>
              <a:gd name="T33" fmla="*/ 235101289 h 82"/>
              <a:gd name="T34" fmla="*/ 388183776 w 83"/>
              <a:gd name="T35" fmla="*/ 235101289 h 82"/>
              <a:gd name="T36" fmla="*/ 388183776 w 83"/>
              <a:gd name="T37" fmla="*/ 47020943 h 82"/>
              <a:gd name="T38" fmla="*/ 258790325 w 83"/>
              <a:gd name="T39" fmla="*/ 47020943 h 82"/>
              <a:gd name="T40" fmla="*/ 94105884 w 83"/>
              <a:gd name="T41" fmla="*/ 799338900 h 82"/>
              <a:gd name="T42" fmla="*/ 94105884 w 83"/>
              <a:gd name="T43" fmla="*/ 858113365 h 82"/>
              <a:gd name="T44" fmla="*/ 152920778 w 83"/>
              <a:gd name="T45" fmla="*/ 858113365 h 82"/>
              <a:gd name="T46" fmla="*/ 152920778 w 83"/>
              <a:gd name="T47" fmla="*/ 799338900 h 82"/>
              <a:gd name="T48" fmla="*/ 94105884 w 83"/>
              <a:gd name="T49" fmla="*/ 799338900 h 82"/>
              <a:gd name="T50" fmla="*/ 811658543 w 83"/>
              <a:gd name="T51" fmla="*/ 799338900 h 82"/>
              <a:gd name="T52" fmla="*/ 811658543 w 83"/>
              <a:gd name="T53" fmla="*/ 858113365 h 82"/>
              <a:gd name="T54" fmla="*/ 870473437 w 83"/>
              <a:gd name="T55" fmla="*/ 858113365 h 82"/>
              <a:gd name="T56" fmla="*/ 870473437 w 83"/>
              <a:gd name="T57" fmla="*/ 799338900 h 82"/>
              <a:gd name="T58" fmla="*/ 811658543 w 83"/>
              <a:gd name="T59" fmla="*/ 799338900 h 82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83"/>
              <a:gd name="T91" fmla="*/ 0 h 82"/>
              <a:gd name="T92" fmla="*/ 83 w 83"/>
              <a:gd name="T93" fmla="*/ 82 h 82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83" h="82">
                <a:moveTo>
                  <a:pt x="12" y="0"/>
                </a:moveTo>
                <a:cubicBezTo>
                  <a:pt x="14" y="0"/>
                  <a:pt x="14" y="0"/>
                  <a:pt x="14" y="0"/>
                </a:cubicBezTo>
                <a:cubicBezTo>
                  <a:pt x="14" y="19"/>
                  <a:pt x="14" y="19"/>
                  <a:pt x="14" y="19"/>
                </a:cubicBezTo>
                <a:cubicBezTo>
                  <a:pt x="14" y="24"/>
                  <a:pt x="18" y="28"/>
                  <a:pt x="23" y="28"/>
                </a:cubicBezTo>
                <a:cubicBezTo>
                  <a:pt x="58" y="28"/>
                  <a:pt x="58" y="28"/>
                  <a:pt x="58" y="28"/>
                </a:cubicBezTo>
                <a:cubicBezTo>
                  <a:pt x="63" y="28"/>
                  <a:pt x="67" y="24"/>
                  <a:pt x="67" y="19"/>
                </a:cubicBezTo>
                <a:cubicBezTo>
                  <a:pt x="67" y="0"/>
                  <a:pt x="67" y="0"/>
                  <a:pt x="67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83" y="16"/>
                  <a:pt x="83" y="16"/>
                  <a:pt x="83" y="16"/>
                </a:cubicBezTo>
                <a:cubicBezTo>
                  <a:pt x="83" y="70"/>
                  <a:pt x="83" y="70"/>
                  <a:pt x="83" y="70"/>
                </a:cubicBezTo>
                <a:cubicBezTo>
                  <a:pt x="83" y="77"/>
                  <a:pt x="77" y="82"/>
                  <a:pt x="71" y="82"/>
                </a:cubicBezTo>
                <a:cubicBezTo>
                  <a:pt x="12" y="82"/>
                  <a:pt x="12" y="82"/>
                  <a:pt x="12" y="82"/>
                </a:cubicBezTo>
                <a:cubicBezTo>
                  <a:pt x="6" y="82"/>
                  <a:pt x="0" y="77"/>
                  <a:pt x="0" y="70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6"/>
                  <a:pt x="6" y="0"/>
                  <a:pt x="12" y="0"/>
                </a:cubicBezTo>
                <a:close/>
                <a:moveTo>
                  <a:pt x="22" y="4"/>
                </a:moveTo>
                <a:cubicBezTo>
                  <a:pt x="22" y="20"/>
                  <a:pt x="22" y="20"/>
                  <a:pt x="22" y="20"/>
                </a:cubicBezTo>
                <a:cubicBezTo>
                  <a:pt x="33" y="20"/>
                  <a:pt x="33" y="20"/>
                  <a:pt x="33" y="20"/>
                </a:cubicBezTo>
                <a:cubicBezTo>
                  <a:pt x="33" y="4"/>
                  <a:pt x="33" y="4"/>
                  <a:pt x="33" y="4"/>
                </a:cubicBezTo>
                <a:cubicBezTo>
                  <a:pt x="22" y="4"/>
                  <a:pt x="22" y="4"/>
                  <a:pt x="22" y="4"/>
                </a:cubicBezTo>
                <a:close/>
                <a:moveTo>
                  <a:pt x="8" y="68"/>
                </a:moveTo>
                <a:cubicBezTo>
                  <a:pt x="8" y="73"/>
                  <a:pt x="8" y="73"/>
                  <a:pt x="8" y="73"/>
                </a:cubicBezTo>
                <a:cubicBezTo>
                  <a:pt x="13" y="73"/>
                  <a:pt x="13" y="73"/>
                  <a:pt x="13" y="73"/>
                </a:cubicBezTo>
                <a:cubicBezTo>
                  <a:pt x="13" y="68"/>
                  <a:pt x="13" y="68"/>
                  <a:pt x="13" y="68"/>
                </a:cubicBezTo>
                <a:cubicBezTo>
                  <a:pt x="8" y="68"/>
                  <a:pt x="8" y="68"/>
                  <a:pt x="8" y="68"/>
                </a:cubicBezTo>
                <a:close/>
                <a:moveTo>
                  <a:pt x="69" y="68"/>
                </a:moveTo>
                <a:cubicBezTo>
                  <a:pt x="69" y="73"/>
                  <a:pt x="69" y="73"/>
                  <a:pt x="69" y="73"/>
                </a:cubicBezTo>
                <a:cubicBezTo>
                  <a:pt x="74" y="73"/>
                  <a:pt x="74" y="73"/>
                  <a:pt x="74" y="73"/>
                </a:cubicBezTo>
                <a:cubicBezTo>
                  <a:pt x="74" y="68"/>
                  <a:pt x="74" y="68"/>
                  <a:pt x="74" y="68"/>
                </a:cubicBezTo>
                <a:lnTo>
                  <a:pt x="69" y="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4" name="Freeform 28"/>
          <p:cNvSpPr>
            <a:spLocks noEditPoints="1" noChangeArrowheads="1"/>
          </p:cNvSpPr>
          <p:nvPr/>
        </p:nvSpPr>
        <p:spPr bwMode="auto">
          <a:xfrm>
            <a:off x="8870951" y="2305051"/>
            <a:ext cx="491067" cy="368300"/>
          </a:xfrm>
          <a:custGeom>
            <a:avLst/>
            <a:gdLst>
              <a:gd name="T0" fmla="*/ 34916886 w 108"/>
              <a:gd name="T1" fmla="*/ 626283919 h 81"/>
              <a:gd name="T2" fmla="*/ 244411382 w 108"/>
              <a:gd name="T3" fmla="*/ 545097641 h 81"/>
              <a:gd name="T4" fmla="*/ 302606193 w 108"/>
              <a:gd name="T5" fmla="*/ 498705481 h 81"/>
              <a:gd name="T6" fmla="*/ 407353441 w 108"/>
              <a:gd name="T7" fmla="*/ 719064828 h 81"/>
              <a:gd name="T8" fmla="*/ 500461727 w 108"/>
              <a:gd name="T9" fmla="*/ 498705481 h 81"/>
              <a:gd name="T10" fmla="*/ 558656537 w 108"/>
              <a:gd name="T11" fmla="*/ 545097641 h 81"/>
              <a:gd name="T12" fmla="*/ 698320671 w 108"/>
              <a:gd name="T13" fmla="*/ 591489800 h 81"/>
              <a:gd name="T14" fmla="*/ 709959633 w 108"/>
              <a:gd name="T15" fmla="*/ 579891760 h 81"/>
              <a:gd name="T16" fmla="*/ 837984806 w 108"/>
              <a:gd name="T17" fmla="*/ 533499601 h 81"/>
              <a:gd name="T18" fmla="*/ 977648940 w 108"/>
              <a:gd name="T19" fmla="*/ 695868748 h 81"/>
              <a:gd name="T20" fmla="*/ 1117313074 w 108"/>
              <a:gd name="T21" fmla="*/ 533499601 h 81"/>
              <a:gd name="T22" fmla="*/ 1222060322 w 108"/>
              <a:gd name="T23" fmla="*/ 556695681 h 81"/>
              <a:gd name="T24" fmla="*/ 1256977208 w 108"/>
              <a:gd name="T25" fmla="*/ 823447186 h 81"/>
              <a:gd name="T26" fmla="*/ 814706881 w 108"/>
              <a:gd name="T27" fmla="*/ 823447186 h 81"/>
              <a:gd name="T28" fmla="*/ 814706881 w 108"/>
              <a:gd name="T29" fmla="*/ 939424174 h 81"/>
              <a:gd name="T30" fmla="*/ 0 w 108"/>
              <a:gd name="T31" fmla="*/ 939424174 h 81"/>
              <a:gd name="T32" fmla="*/ 34916886 w 108"/>
              <a:gd name="T33" fmla="*/ 626283919 h 81"/>
              <a:gd name="T34" fmla="*/ 861262730 w 108"/>
              <a:gd name="T35" fmla="*/ 301542215 h 81"/>
              <a:gd name="T36" fmla="*/ 1094035150 w 108"/>
              <a:gd name="T37" fmla="*/ 278349545 h 81"/>
              <a:gd name="T38" fmla="*/ 1070757226 w 108"/>
              <a:gd name="T39" fmla="*/ 429120653 h 81"/>
              <a:gd name="T40" fmla="*/ 1035843750 w 108"/>
              <a:gd name="T41" fmla="*/ 475509402 h 81"/>
              <a:gd name="T42" fmla="*/ 1152229960 w 108"/>
              <a:gd name="T43" fmla="*/ 487107442 h 81"/>
              <a:gd name="T44" fmla="*/ 1140590998 w 108"/>
              <a:gd name="T45" fmla="*/ 359532414 h 81"/>
              <a:gd name="T46" fmla="*/ 803067919 w 108"/>
              <a:gd name="T47" fmla="*/ 359532414 h 81"/>
              <a:gd name="T48" fmla="*/ 791428957 w 108"/>
              <a:gd name="T49" fmla="*/ 487107442 h 81"/>
              <a:gd name="T50" fmla="*/ 907818578 w 108"/>
              <a:gd name="T51" fmla="*/ 475509402 h 81"/>
              <a:gd name="T52" fmla="*/ 872901692 w 108"/>
              <a:gd name="T53" fmla="*/ 429120653 h 81"/>
              <a:gd name="T54" fmla="*/ 861262730 w 108"/>
              <a:gd name="T55" fmla="*/ 301542215 h 81"/>
              <a:gd name="T56" fmla="*/ 861262730 w 108"/>
              <a:gd name="T57" fmla="*/ 301542215 h 81"/>
              <a:gd name="T58" fmla="*/ 256050344 w 108"/>
              <a:gd name="T59" fmla="*/ 347934374 h 81"/>
              <a:gd name="T60" fmla="*/ 267689306 w 108"/>
              <a:gd name="T61" fmla="*/ 173967187 h 81"/>
              <a:gd name="T62" fmla="*/ 547017575 w 108"/>
              <a:gd name="T63" fmla="*/ 173967187 h 81"/>
              <a:gd name="T64" fmla="*/ 558656537 w 108"/>
              <a:gd name="T65" fmla="*/ 359532414 h 81"/>
              <a:gd name="T66" fmla="*/ 605212385 w 108"/>
              <a:gd name="T67" fmla="*/ 289944175 h 81"/>
              <a:gd name="T68" fmla="*/ 581934461 w 108"/>
              <a:gd name="T69" fmla="*/ 92784319 h 81"/>
              <a:gd name="T70" fmla="*/ 232772420 w 108"/>
              <a:gd name="T71" fmla="*/ 69588239 h 81"/>
              <a:gd name="T72" fmla="*/ 209497906 w 108"/>
              <a:gd name="T73" fmla="*/ 313140255 h 81"/>
              <a:gd name="T74" fmla="*/ 256050344 w 108"/>
              <a:gd name="T75" fmla="*/ 347934374 h 8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08"/>
              <a:gd name="T115" fmla="*/ 0 h 81"/>
              <a:gd name="T116" fmla="*/ 108 w 108"/>
              <a:gd name="T117" fmla="*/ 81 h 8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08" h="81">
                <a:moveTo>
                  <a:pt x="3" y="54"/>
                </a:moveTo>
                <a:cubicBezTo>
                  <a:pt x="9" y="51"/>
                  <a:pt x="15" y="49"/>
                  <a:pt x="21" y="47"/>
                </a:cubicBezTo>
                <a:cubicBezTo>
                  <a:pt x="23" y="45"/>
                  <a:pt x="24" y="44"/>
                  <a:pt x="26" y="43"/>
                </a:cubicBezTo>
                <a:cubicBezTo>
                  <a:pt x="35" y="62"/>
                  <a:pt x="35" y="62"/>
                  <a:pt x="35" y="62"/>
                </a:cubicBezTo>
                <a:cubicBezTo>
                  <a:pt x="43" y="43"/>
                  <a:pt x="43" y="43"/>
                  <a:pt x="43" y="43"/>
                </a:cubicBezTo>
                <a:cubicBezTo>
                  <a:pt x="45" y="44"/>
                  <a:pt x="46" y="46"/>
                  <a:pt x="48" y="47"/>
                </a:cubicBezTo>
                <a:cubicBezTo>
                  <a:pt x="60" y="51"/>
                  <a:pt x="60" y="51"/>
                  <a:pt x="60" y="51"/>
                </a:cubicBezTo>
                <a:cubicBezTo>
                  <a:pt x="60" y="51"/>
                  <a:pt x="61" y="50"/>
                  <a:pt x="61" y="50"/>
                </a:cubicBezTo>
                <a:cubicBezTo>
                  <a:pt x="65" y="48"/>
                  <a:pt x="69" y="47"/>
                  <a:pt x="72" y="46"/>
                </a:cubicBezTo>
                <a:cubicBezTo>
                  <a:pt x="75" y="52"/>
                  <a:pt x="79" y="57"/>
                  <a:pt x="84" y="60"/>
                </a:cubicBezTo>
                <a:cubicBezTo>
                  <a:pt x="89" y="57"/>
                  <a:pt x="93" y="52"/>
                  <a:pt x="96" y="46"/>
                </a:cubicBezTo>
                <a:cubicBezTo>
                  <a:pt x="99" y="47"/>
                  <a:pt x="102" y="48"/>
                  <a:pt x="105" y="48"/>
                </a:cubicBezTo>
                <a:cubicBezTo>
                  <a:pt x="108" y="53"/>
                  <a:pt x="108" y="64"/>
                  <a:pt x="108" y="71"/>
                </a:cubicBezTo>
                <a:cubicBezTo>
                  <a:pt x="70" y="71"/>
                  <a:pt x="70" y="71"/>
                  <a:pt x="70" y="71"/>
                </a:cubicBezTo>
                <a:cubicBezTo>
                  <a:pt x="70" y="74"/>
                  <a:pt x="70" y="77"/>
                  <a:pt x="70" y="81"/>
                </a:cubicBezTo>
                <a:cubicBezTo>
                  <a:pt x="47" y="81"/>
                  <a:pt x="24" y="81"/>
                  <a:pt x="0" y="81"/>
                </a:cubicBezTo>
                <a:cubicBezTo>
                  <a:pt x="0" y="68"/>
                  <a:pt x="1" y="58"/>
                  <a:pt x="3" y="54"/>
                </a:cubicBezTo>
                <a:close/>
                <a:moveTo>
                  <a:pt x="74" y="26"/>
                </a:moveTo>
                <a:cubicBezTo>
                  <a:pt x="79" y="27"/>
                  <a:pt x="89" y="26"/>
                  <a:pt x="94" y="24"/>
                </a:cubicBezTo>
                <a:cubicBezTo>
                  <a:pt x="94" y="27"/>
                  <a:pt x="94" y="32"/>
                  <a:pt x="92" y="37"/>
                </a:cubicBezTo>
                <a:cubicBezTo>
                  <a:pt x="91" y="39"/>
                  <a:pt x="90" y="40"/>
                  <a:pt x="89" y="41"/>
                </a:cubicBezTo>
                <a:cubicBezTo>
                  <a:pt x="99" y="42"/>
                  <a:pt x="99" y="42"/>
                  <a:pt x="99" y="42"/>
                </a:cubicBezTo>
                <a:cubicBezTo>
                  <a:pt x="99" y="42"/>
                  <a:pt x="98" y="33"/>
                  <a:pt x="98" y="31"/>
                </a:cubicBezTo>
                <a:cubicBezTo>
                  <a:pt x="102" y="2"/>
                  <a:pt x="65" y="2"/>
                  <a:pt x="69" y="31"/>
                </a:cubicBezTo>
                <a:cubicBezTo>
                  <a:pt x="69" y="33"/>
                  <a:pt x="68" y="42"/>
                  <a:pt x="68" y="42"/>
                </a:cubicBezTo>
                <a:cubicBezTo>
                  <a:pt x="78" y="41"/>
                  <a:pt x="78" y="41"/>
                  <a:pt x="78" y="41"/>
                </a:cubicBezTo>
                <a:cubicBezTo>
                  <a:pt x="77" y="40"/>
                  <a:pt x="76" y="39"/>
                  <a:pt x="75" y="37"/>
                </a:cubicBezTo>
                <a:cubicBezTo>
                  <a:pt x="74" y="33"/>
                  <a:pt x="73" y="29"/>
                  <a:pt x="74" y="26"/>
                </a:cubicBezTo>
                <a:cubicBezTo>
                  <a:pt x="74" y="26"/>
                  <a:pt x="74" y="26"/>
                  <a:pt x="74" y="26"/>
                </a:cubicBezTo>
                <a:close/>
                <a:moveTo>
                  <a:pt x="22" y="30"/>
                </a:moveTo>
                <a:cubicBezTo>
                  <a:pt x="21" y="25"/>
                  <a:pt x="21" y="21"/>
                  <a:pt x="23" y="15"/>
                </a:cubicBezTo>
                <a:cubicBezTo>
                  <a:pt x="29" y="11"/>
                  <a:pt x="37" y="17"/>
                  <a:pt x="47" y="15"/>
                </a:cubicBezTo>
                <a:cubicBezTo>
                  <a:pt x="48" y="20"/>
                  <a:pt x="48" y="24"/>
                  <a:pt x="48" y="31"/>
                </a:cubicBezTo>
                <a:cubicBezTo>
                  <a:pt x="48" y="31"/>
                  <a:pt x="52" y="27"/>
                  <a:pt x="52" y="25"/>
                </a:cubicBezTo>
                <a:cubicBezTo>
                  <a:pt x="53" y="22"/>
                  <a:pt x="52" y="10"/>
                  <a:pt x="50" y="8"/>
                </a:cubicBezTo>
                <a:cubicBezTo>
                  <a:pt x="45" y="0"/>
                  <a:pt x="26" y="0"/>
                  <a:pt x="20" y="6"/>
                </a:cubicBezTo>
                <a:cubicBezTo>
                  <a:pt x="18" y="8"/>
                  <a:pt x="16" y="25"/>
                  <a:pt x="18" y="27"/>
                </a:cubicBezTo>
                <a:cubicBezTo>
                  <a:pt x="20" y="29"/>
                  <a:pt x="22" y="30"/>
                  <a:pt x="22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5" name="Freeform 29"/>
          <p:cNvSpPr>
            <a:spLocks noEditPoints="1" noChangeArrowheads="1"/>
          </p:cNvSpPr>
          <p:nvPr/>
        </p:nvSpPr>
        <p:spPr bwMode="auto">
          <a:xfrm>
            <a:off x="6337301" y="3122084"/>
            <a:ext cx="368300" cy="406400"/>
          </a:xfrm>
          <a:custGeom>
            <a:avLst/>
            <a:gdLst>
              <a:gd name="T0" fmla="*/ 832272831 w 80"/>
              <a:gd name="T1" fmla="*/ 961048099 h 89"/>
              <a:gd name="T2" fmla="*/ 677707679 w 80"/>
              <a:gd name="T3" fmla="*/ 914167119 h 89"/>
              <a:gd name="T4" fmla="*/ 642036673 w 80"/>
              <a:gd name="T5" fmla="*/ 738366013 h 89"/>
              <a:gd name="T6" fmla="*/ 642036673 w 80"/>
              <a:gd name="T7" fmla="*/ 597723074 h 89"/>
              <a:gd name="T8" fmla="*/ 713375232 w 80"/>
              <a:gd name="T9" fmla="*/ 773524180 h 89"/>
              <a:gd name="T10" fmla="*/ 784713791 w 80"/>
              <a:gd name="T11" fmla="*/ 773524180 h 89"/>
              <a:gd name="T12" fmla="*/ 760934272 w 80"/>
              <a:gd name="T13" fmla="*/ 621165276 h 89"/>
              <a:gd name="T14" fmla="*/ 642036673 w 80"/>
              <a:gd name="T15" fmla="*/ 386763802 h 89"/>
              <a:gd name="T16" fmla="*/ 642036673 w 80"/>
              <a:gd name="T17" fmla="*/ 140639515 h 89"/>
              <a:gd name="T18" fmla="*/ 677707679 w 80"/>
              <a:gd name="T19" fmla="*/ 82039146 h 89"/>
              <a:gd name="T20" fmla="*/ 832272831 w 80"/>
              <a:gd name="T21" fmla="*/ 128920126 h 89"/>
              <a:gd name="T22" fmla="*/ 939278943 w 80"/>
              <a:gd name="T23" fmla="*/ 398483191 h 89"/>
              <a:gd name="T24" fmla="*/ 784713791 w 80"/>
              <a:gd name="T25" fmla="*/ 257840252 h 89"/>
              <a:gd name="T26" fmla="*/ 725263266 w 80"/>
              <a:gd name="T27" fmla="*/ 269563065 h 89"/>
              <a:gd name="T28" fmla="*/ 784713791 w 80"/>
              <a:gd name="T29" fmla="*/ 433641357 h 89"/>
              <a:gd name="T30" fmla="*/ 951166976 w 80"/>
              <a:gd name="T31" fmla="*/ 668046256 h 89"/>
              <a:gd name="T32" fmla="*/ 832272831 w 80"/>
              <a:gd name="T33" fmla="*/ 914167119 h 89"/>
              <a:gd name="T34" fmla="*/ 570701567 w 80"/>
              <a:gd name="T35" fmla="*/ 0 h 89"/>
              <a:gd name="T36" fmla="*/ 570701567 w 80"/>
              <a:gd name="T37" fmla="*/ 304721231 h 89"/>
              <a:gd name="T38" fmla="*/ 570701567 w 80"/>
              <a:gd name="T39" fmla="*/ 656323443 h 89"/>
              <a:gd name="T40" fmla="*/ 570701567 w 80"/>
              <a:gd name="T41" fmla="*/ 914167119 h 89"/>
              <a:gd name="T42" fmla="*/ 535030561 w 80"/>
              <a:gd name="T43" fmla="*/ 1043087245 h 89"/>
              <a:gd name="T44" fmla="*/ 0 w 80"/>
              <a:gd name="T45" fmla="*/ 527403317 h 89"/>
              <a:gd name="T46" fmla="*/ 535030561 w 80"/>
              <a:gd name="T47" fmla="*/ 0 h 89"/>
              <a:gd name="T48" fmla="*/ 344797856 w 80"/>
              <a:gd name="T49" fmla="*/ 714923811 h 89"/>
              <a:gd name="T50" fmla="*/ 451803968 w 80"/>
              <a:gd name="T51" fmla="*/ 879005528 h 89"/>
              <a:gd name="T52" fmla="*/ 249679778 w 80"/>
              <a:gd name="T53" fmla="*/ 691485034 h 89"/>
              <a:gd name="T54" fmla="*/ 154565152 w 80"/>
              <a:gd name="T55" fmla="*/ 632884665 h 89"/>
              <a:gd name="T56" fmla="*/ 321018337 w 80"/>
              <a:gd name="T57" fmla="*/ 867286139 h 89"/>
              <a:gd name="T58" fmla="*/ 154565152 w 80"/>
              <a:gd name="T59" fmla="*/ 410202580 h 89"/>
              <a:gd name="T60" fmla="*/ 249679778 w 80"/>
              <a:gd name="T61" fmla="*/ 363321600 h 89"/>
              <a:gd name="T62" fmla="*/ 249679778 w 80"/>
              <a:gd name="T63" fmla="*/ 246120863 h 89"/>
              <a:gd name="T64" fmla="*/ 344797856 w 80"/>
              <a:gd name="T65" fmla="*/ 328163434 h 89"/>
              <a:gd name="T66" fmla="*/ 451803968 w 80"/>
              <a:gd name="T67" fmla="*/ 164081717 h 89"/>
              <a:gd name="T68" fmla="*/ 344797856 w 80"/>
              <a:gd name="T69" fmla="*/ 328163434 h 89"/>
              <a:gd name="T70" fmla="*/ 321018337 w 80"/>
              <a:gd name="T71" fmla="*/ 421921969 h 89"/>
              <a:gd name="T72" fmla="*/ 321018337 w 80"/>
              <a:gd name="T73" fmla="*/ 621165276 h 89"/>
              <a:gd name="T74" fmla="*/ 451803968 w 80"/>
              <a:gd name="T75" fmla="*/ 398483191 h 89"/>
              <a:gd name="T76" fmla="*/ 166453185 w 80"/>
              <a:gd name="T77" fmla="*/ 527403317 h 89"/>
              <a:gd name="T78" fmla="*/ 237791744 w 80"/>
              <a:gd name="T79" fmla="*/ 527403317 h 89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80"/>
              <a:gd name="T121" fmla="*/ 0 h 89"/>
              <a:gd name="T122" fmla="*/ 80 w 80"/>
              <a:gd name="T123" fmla="*/ 89 h 89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80" h="89">
                <a:moveTo>
                  <a:pt x="70" y="78"/>
                </a:moveTo>
                <a:cubicBezTo>
                  <a:pt x="70" y="82"/>
                  <a:pt x="70" y="82"/>
                  <a:pt x="70" y="82"/>
                </a:cubicBezTo>
                <a:cubicBezTo>
                  <a:pt x="57" y="82"/>
                  <a:pt x="57" y="82"/>
                  <a:pt x="57" y="82"/>
                </a:cubicBezTo>
                <a:cubicBezTo>
                  <a:pt x="57" y="78"/>
                  <a:pt x="57" y="78"/>
                  <a:pt x="57" y="78"/>
                </a:cubicBezTo>
                <a:cubicBezTo>
                  <a:pt x="56" y="77"/>
                  <a:pt x="55" y="77"/>
                  <a:pt x="54" y="77"/>
                </a:cubicBezTo>
                <a:cubicBezTo>
                  <a:pt x="54" y="63"/>
                  <a:pt x="54" y="63"/>
                  <a:pt x="54" y="63"/>
                </a:cubicBezTo>
                <a:cubicBezTo>
                  <a:pt x="54" y="56"/>
                  <a:pt x="54" y="56"/>
                  <a:pt x="54" y="56"/>
                </a:cubicBezTo>
                <a:cubicBezTo>
                  <a:pt x="54" y="51"/>
                  <a:pt x="54" y="51"/>
                  <a:pt x="54" y="51"/>
                </a:cubicBezTo>
                <a:cubicBezTo>
                  <a:pt x="60" y="51"/>
                  <a:pt x="60" y="51"/>
                  <a:pt x="60" y="51"/>
                </a:cubicBezTo>
                <a:cubicBezTo>
                  <a:pt x="60" y="66"/>
                  <a:pt x="60" y="66"/>
                  <a:pt x="60" y="66"/>
                </a:cubicBezTo>
                <a:cubicBezTo>
                  <a:pt x="60" y="68"/>
                  <a:pt x="61" y="69"/>
                  <a:pt x="63" y="69"/>
                </a:cubicBezTo>
                <a:cubicBezTo>
                  <a:pt x="65" y="69"/>
                  <a:pt x="66" y="68"/>
                  <a:pt x="66" y="66"/>
                </a:cubicBezTo>
                <a:cubicBezTo>
                  <a:pt x="66" y="59"/>
                  <a:pt x="66" y="59"/>
                  <a:pt x="66" y="59"/>
                </a:cubicBezTo>
                <a:cubicBezTo>
                  <a:pt x="66" y="57"/>
                  <a:pt x="65" y="55"/>
                  <a:pt x="64" y="53"/>
                </a:cubicBezTo>
                <a:cubicBezTo>
                  <a:pt x="63" y="52"/>
                  <a:pt x="59" y="49"/>
                  <a:pt x="54" y="43"/>
                </a:cubicBezTo>
                <a:cubicBezTo>
                  <a:pt x="54" y="33"/>
                  <a:pt x="54" y="33"/>
                  <a:pt x="54" y="33"/>
                </a:cubicBezTo>
                <a:cubicBezTo>
                  <a:pt x="54" y="26"/>
                  <a:pt x="54" y="26"/>
                  <a:pt x="54" y="26"/>
                </a:cubicBezTo>
                <a:cubicBezTo>
                  <a:pt x="54" y="12"/>
                  <a:pt x="54" y="12"/>
                  <a:pt x="54" y="12"/>
                </a:cubicBezTo>
                <a:cubicBezTo>
                  <a:pt x="55" y="12"/>
                  <a:pt x="56" y="11"/>
                  <a:pt x="57" y="11"/>
                </a:cubicBezTo>
                <a:cubicBezTo>
                  <a:pt x="57" y="7"/>
                  <a:pt x="57" y="7"/>
                  <a:pt x="57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0" y="11"/>
                  <a:pt x="70" y="11"/>
                  <a:pt x="70" y="11"/>
                </a:cubicBezTo>
                <a:cubicBezTo>
                  <a:pt x="76" y="13"/>
                  <a:pt x="79" y="16"/>
                  <a:pt x="79" y="22"/>
                </a:cubicBezTo>
                <a:cubicBezTo>
                  <a:pt x="79" y="34"/>
                  <a:pt x="79" y="34"/>
                  <a:pt x="79" y="34"/>
                </a:cubicBezTo>
                <a:cubicBezTo>
                  <a:pt x="66" y="34"/>
                  <a:pt x="66" y="34"/>
                  <a:pt x="66" y="34"/>
                </a:cubicBezTo>
                <a:cubicBezTo>
                  <a:pt x="66" y="22"/>
                  <a:pt x="66" y="22"/>
                  <a:pt x="66" y="22"/>
                </a:cubicBezTo>
                <a:cubicBezTo>
                  <a:pt x="66" y="20"/>
                  <a:pt x="65" y="20"/>
                  <a:pt x="63" y="20"/>
                </a:cubicBezTo>
                <a:cubicBezTo>
                  <a:pt x="62" y="20"/>
                  <a:pt x="61" y="21"/>
                  <a:pt x="61" y="23"/>
                </a:cubicBezTo>
                <a:cubicBezTo>
                  <a:pt x="61" y="28"/>
                  <a:pt x="61" y="28"/>
                  <a:pt x="61" y="28"/>
                </a:cubicBezTo>
                <a:cubicBezTo>
                  <a:pt x="61" y="30"/>
                  <a:pt x="63" y="33"/>
                  <a:pt x="66" y="37"/>
                </a:cubicBezTo>
                <a:cubicBezTo>
                  <a:pt x="73" y="43"/>
                  <a:pt x="77" y="47"/>
                  <a:pt x="78" y="50"/>
                </a:cubicBezTo>
                <a:cubicBezTo>
                  <a:pt x="80" y="52"/>
                  <a:pt x="80" y="54"/>
                  <a:pt x="80" y="57"/>
                </a:cubicBezTo>
                <a:cubicBezTo>
                  <a:pt x="80" y="65"/>
                  <a:pt x="80" y="65"/>
                  <a:pt x="80" y="65"/>
                </a:cubicBezTo>
                <a:cubicBezTo>
                  <a:pt x="80" y="72"/>
                  <a:pt x="77" y="77"/>
                  <a:pt x="70" y="78"/>
                </a:cubicBezTo>
                <a:close/>
                <a:moveTo>
                  <a:pt x="45" y="0"/>
                </a:moveTo>
                <a:cubicBezTo>
                  <a:pt x="46" y="0"/>
                  <a:pt x="47" y="0"/>
                  <a:pt x="48" y="0"/>
                </a:cubicBezTo>
                <a:cubicBezTo>
                  <a:pt x="48" y="11"/>
                  <a:pt x="48" y="11"/>
                  <a:pt x="48" y="11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56"/>
                  <a:pt x="48" y="56"/>
                  <a:pt x="48" y="56"/>
                </a:cubicBezTo>
                <a:cubicBezTo>
                  <a:pt x="48" y="63"/>
                  <a:pt x="48" y="63"/>
                  <a:pt x="48" y="63"/>
                </a:cubicBezTo>
                <a:cubicBezTo>
                  <a:pt x="48" y="78"/>
                  <a:pt x="48" y="78"/>
                  <a:pt x="48" y="78"/>
                </a:cubicBezTo>
                <a:cubicBezTo>
                  <a:pt x="48" y="89"/>
                  <a:pt x="48" y="89"/>
                  <a:pt x="48" y="89"/>
                </a:cubicBezTo>
                <a:cubicBezTo>
                  <a:pt x="47" y="89"/>
                  <a:pt x="46" y="89"/>
                  <a:pt x="45" y="89"/>
                </a:cubicBezTo>
                <a:cubicBezTo>
                  <a:pt x="33" y="89"/>
                  <a:pt x="22" y="84"/>
                  <a:pt x="13" y="76"/>
                </a:cubicBezTo>
                <a:cubicBezTo>
                  <a:pt x="5" y="68"/>
                  <a:pt x="0" y="57"/>
                  <a:pt x="0" y="45"/>
                </a:cubicBezTo>
                <a:cubicBezTo>
                  <a:pt x="0" y="32"/>
                  <a:pt x="5" y="21"/>
                  <a:pt x="13" y="13"/>
                </a:cubicBezTo>
                <a:cubicBezTo>
                  <a:pt x="22" y="5"/>
                  <a:pt x="33" y="0"/>
                  <a:pt x="45" y="0"/>
                </a:cubicBezTo>
                <a:close/>
                <a:moveTo>
                  <a:pt x="38" y="63"/>
                </a:moveTo>
                <a:cubicBezTo>
                  <a:pt x="35" y="62"/>
                  <a:pt x="32" y="62"/>
                  <a:pt x="29" y="61"/>
                </a:cubicBezTo>
                <a:cubicBezTo>
                  <a:pt x="31" y="65"/>
                  <a:pt x="32" y="68"/>
                  <a:pt x="34" y="70"/>
                </a:cubicBezTo>
                <a:cubicBezTo>
                  <a:pt x="35" y="72"/>
                  <a:pt x="37" y="74"/>
                  <a:pt x="38" y="75"/>
                </a:cubicBezTo>
                <a:cubicBezTo>
                  <a:pt x="38" y="63"/>
                  <a:pt x="38" y="63"/>
                  <a:pt x="38" y="63"/>
                </a:cubicBezTo>
                <a:close/>
                <a:moveTo>
                  <a:pt x="21" y="59"/>
                </a:moveTo>
                <a:cubicBezTo>
                  <a:pt x="21" y="59"/>
                  <a:pt x="21" y="59"/>
                  <a:pt x="21" y="59"/>
                </a:cubicBezTo>
                <a:cubicBezTo>
                  <a:pt x="18" y="57"/>
                  <a:pt x="15" y="56"/>
                  <a:pt x="13" y="54"/>
                </a:cubicBezTo>
                <a:cubicBezTo>
                  <a:pt x="14" y="60"/>
                  <a:pt x="17" y="65"/>
                  <a:pt x="21" y="69"/>
                </a:cubicBezTo>
                <a:cubicBezTo>
                  <a:pt x="23" y="70"/>
                  <a:pt x="25" y="72"/>
                  <a:pt x="27" y="74"/>
                </a:cubicBezTo>
                <a:cubicBezTo>
                  <a:pt x="25" y="69"/>
                  <a:pt x="23" y="64"/>
                  <a:pt x="21" y="59"/>
                </a:cubicBezTo>
                <a:close/>
                <a:moveTo>
                  <a:pt x="13" y="35"/>
                </a:moveTo>
                <a:cubicBezTo>
                  <a:pt x="15" y="34"/>
                  <a:pt x="18" y="32"/>
                  <a:pt x="21" y="31"/>
                </a:cubicBezTo>
                <a:cubicBezTo>
                  <a:pt x="21" y="31"/>
                  <a:pt x="21" y="31"/>
                  <a:pt x="21" y="31"/>
                </a:cubicBezTo>
                <a:cubicBezTo>
                  <a:pt x="23" y="25"/>
                  <a:pt x="25" y="20"/>
                  <a:pt x="27" y="16"/>
                </a:cubicBezTo>
                <a:cubicBezTo>
                  <a:pt x="25" y="17"/>
                  <a:pt x="23" y="19"/>
                  <a:pt x="21" y="21"/>
                </a:cubicBezTo>
                <a:cubicBezTo>
                  <a:pt x="17" y="25"/>
                  <a:pt x="14" y="30"/>
                  <a:pt x="13" y="35"/>
                </a:cubicBezTo>
                <a:close/>
                <a:moveTo>
                  <a:pt x="29" y="28"/>
                </a:moveTo>
                <a:cubicBezTo>
                  <a:pt x="32" y="28"/>
                  <a:pt x="35" y="27"/>
                  <a:pt x="38" y="27"/>
                </a:cubicBezTo>
                <a:cubicBezTo>
                  <a:pt x="38" y="14"/>
                  <a:pt x="38" y="14"/>
                  <a:pt x="38" y="14"/>
                </a:cubicBezTo>
                <a:cubicBezTo>
                  <a:pt x="37" y="15"/>
                  <a:pt x="35" y="17"/>
                  <a:pt x="34" y="19"/>
                </a:cubicBezTo>
                <a:cubicBezTo>
                  <a:pt x="32" y="22"/>
                  <a:pt x="31" y="25"/>
                  <a:pt x="29" y="28"/>
                </a:cubicBezTo>
                <a:close/>
                <a:moveTo>
                  <a:pt x="38" y="34"/>
                </a:moveTo>
                <a:cubicBezTo>
                  <a:pt x="34" y="34"/>
                  <a:pt x="31" y="35"/>
                  <a:pt x="27" y="36"/>
                </a:cubicBezTo>
                <a:cubicBezTo>
                  <a:pt x="27" y="39"/>
                  <a:pt x="27" y="42"/>
                  <a:pt x="27" y="45"/>
                </a:cubicBezTo>
                <a:cubicBezTo>
                  <a:pt x="27" y="48"/>
                  <a:pt x="27" y="51"/>
                  <a:pt x="27" y="53"/>
                </a:cubicBezTo>
                <a:cubicBezTo>
                  <a:pt x="31" y="54"/>
                  <a:pt x="34" y="55"/>
                  <a:pt x="38" y="56"/>
                </a:cubicBezTo>
                <a:cubicBezTo>
                  <a:pt x="38" y="34"/>
                  <a:pt x="38" y="34"/>
                  <a:pt x="38" y="34"/>
                </a:cubicBezTo>
                <a:close/>
                <a:moveTo>
                  <a:pt x="20" y="39"/>
                </a:moveTo>
                <a:cubicBezTo>
                  <a:pt x="16" y="41"/>
                  <a:pt x="14" y="43"/>
                  <a:pt x="14" y="45"/>
                </a:cubicBezTo>
                <a:cubicBezTo>
                  <a:pt x="14" y="47"/>
                  <a:pt x="16" y="49"/>
                  <a:pt x="20" y="50"/>
                </a:cubicBezTo>
                <a:cubicBezTo>
                  <a:pt x="20" y="49"/>
                  <a:pt x="20" y="47"/>
                  <a:pt x="20" y="45"/>
                </a:cubicBezTo>
                <a:cubicBezTo>
                  <a:pt x="20" y="43"/>
                  <a:pt x="20" y="41"/>
                  <a:pt x="20" y="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6" name="Freeform 30"/>
          <p:cNvSpPr>
            <a:spLocks noEditPoints="1" noChangeArrowheads="1"/>
          </p:cNvSpPr>
          <p:nvPr/>
        </p:nvSpPr>
        <p:spPr bwMode="auto">
          <a:xfrm>
            <a:off x="10596034" y="2294467"/>
            <a:ext cx="410633" cy="425451"/>
          </a:xfrm>
          <a:custGeom>
            <a:avLst/>
            <a:gdLst>
              <a:gd name="T0" fmla="*/ 1008607859 w 90"/>
              <a:gd name="T1" fmla="*/ 446033558 h 93"/>
              <a:gd name="T2" fmla="*/ 1055519296 w 90"/>
              <a:gd name="T3" fmla="*/ 539934638 h 93"/>
              <a:gd name="T4" fmla="*/ 1055519296 w 90"/>
              <a:gd name="T5" fmla="*/ 974233992 h 93"/>
              <a:gd name="T6" fmla="*/ 949965997 w 90"/>
              <a:gd name="T7" fmla="*/ 1091610341 h 93"/>
              <a:gd name="T8" fmla="*/ 105553298 w 90"/>
              <a:gd name="T9" fmla="*/ 1091610341 h 93"/>
              <a:gd name="T10" fmla="*/ 0 w 90"/>
              <a:gd name="T11" fmla="*/ 974233992 h 93"/>
              <a:gd name="T12" fmla="*/ 0 w 90"/>
              <a:gd name="T13" fmla="*/ 539934638 h 93"/>
              <a:gd name="T14" fmla="*/ 23457429 w 90"/>
              <a:gd name="T15" fmla="*/ 469508828 h 93"/>
              <a:gd name="T16" fmla="*/ 23457429 w 90"/>
              <a:gd name="T17" fmla="*/ 469508828 h 93"/>
              <a:gd name="T18" fmla="*/ 23457429 w 90"/>
              <a:gd name="T19" fmla="*/ 469508828 h 93"/>
              <a:gd name="T20" fmla="*/ 35184433 w 90"/>
              <a:gd name="T21" fmla="*/ 457771193 h 93"/>
              <a:gd name="T22" fmla="*/ 457390782 w 90"/>
              <a:gd name="T23" fmla="*/ 35212905 h 93"/>
              <a:gd name="T24" fmla="*/ 586398088 w 90"/>
              <a:gd name="T25" fmla="*/ 35212905 h 93"/>
              <a:gd name="T26" fmla="*/ 1008607859 w 90"/>
              <a:gd name="T27" fmla="*/ 446033558 h 93"/>
              <a:gd name="T28" fmla="*/ 175918742 w 90"/>
              <a:gd name="T29" fmla="*/ 352132479 h 93"/>
              <a:gd name="T30" fmla="*/ 175918742 w 90"/>
              <a:gd name="T31" fmla="*/ 610363878 h 93"/>
              <a:gd name="T32" fmla="*/ 527759648 w 90"/>
              <a:gd name="T33" fmla="*/ 880329481 h 93"/>
              <a:gd name="T34" fmla="*/ 844416121 w 90"/>
              <a:gd name="T35" fmla="*/ 633839148 h 93"/>
              <a:gd name="T36" fmla="*/ 844416121 w 90"/>
              <a:gd name="T37" fmla="*/ 352132479 h 93"/>
              <a:gd name="T38" fmla="*/ 175918742 w 90"/>
              <a:gd name="T39" fmla="*/ 352132479 h 93"/>
              <a:gd name="T40" fmla="*/ 293199044 w 90"/>
              <a:gd name="T41" fmla="*/ 410820653 h 93"/>
              <a:gd name="T42" fmla="*/ 293199044 w 90"/>
              <a:gd name="T43" fmla="*/ 457771193 h 93"/>
              <a:gd name="T44" fmla="*/ 738862823 w 90"/>
              <a:gd name="T45" fmla="*/ 457771193 h 93"/>
              <a:gd name="T46" fmla="*/ 738862823 w 90"/>
              <a:gd name="T47" fmla="*/ 410820653 h 93"/>
              <a:gd name="T48" fmla="*/ 293199044 w 90"/>
              <a:gd name="T49" fmla="*/ 410820653 h 93"/>
              <a:gd name="T50" fmla="*/ 293199044 w 90"/>
              <a:gd name="T51" fmla="*/ 598626243 h 93"/>
              <a:gd name="T52" fmla="*/ 293199044 w 90"/>
              <a:gd name="T53" fmla="*/ 645576783 h 93"/>
              <a:gd name="T54" fmla="*/ 738862823 w 90"/>
              <a:gd name="T55" fmla="*/ 645576783 h 93"/>
              <a:gd name="T56" fmla="*/ 738862823 w 90"/>
              <a:gd name="T57" fmla="*/ 598626243 h 93"/>
              <a:gd name="T58" fmla="*/ 293199044 w 90"/>
              <a:gd name="T59" fmla="*/ 598626243 h 93"/>
              <a:gd name="T60" fmla="*/ 293199044 w 90"/>
              <a:gd name="T61" fmla="*/ 504721733 h 93"/>
              <a:gd name="T62" fmla="*/ 293199044 w 90"/>
              <a:gd name="T63" fmla="*/ 551675704 h 93"/>
              <a:gd name="T64" fmla="*/ 738862823 w 90"/>
              <a:gd name="T65" fmla="*/ 551675704 h 93"/>
              <a:gd name="T66" fmla="*/ 738862823 w 90"/>
              <a:gd name="T67" fmla="*/ 504721733 h 93"/>
              <a:gd name="T68" fmla="*/ 293199044 w 90"/>
              <a:gd name="T69" fmla="*/ 504721733 h 93"/>
              <a:gd name="T70" fmla="*/ 117280302 w 90"/>
              <a:gd name="T71" fmla="*/ 1021184532 h 93"/>
              <a:gd name="T72" fmla="*/ 328383477 w 90"/>
              <a:gd name="T73" fmla="*/ 809903672 h 93"/>
              <a:gd name="T74" fmla="*/ 328383477 w 90"/>
              <a:gd name="T75" fmla="*/ 786428402 h 93"/>
              <a:gd name="T76" fmla="*/ 293199044 w 90"/>
              <a:gd name="T77" fmla="*/ 786428402 h 93"/>
              <a:gd name="T78" fmla="*/ 82095869 w 90"/>
              <a:gd name="T79" fmla="*/ 985971627 h 93"/>
              <a:gd name="T80" fmla="*/ 82095869 w 90"/>
              <a:gd name="T81" fmla="*/ 1021184532 h 93"/>
              <a:gd name="T82" fmla="*/ 117280302 w 90"/>
              <a:gd name="T83" fmla="*/ 1021184532 h 93"/>
              <a:gd name="T84" fmla="*/ 985150430 w 90"/>
              <a:gd name="T85" fmla="*/ 985971627 h 93"/>
              <a:gd name="T86" fmla="*/ 774047255 w 90"/>
              <a:gd name="T87" fmla="*/ 786428402 h 93"/>
              <a:gd name="T88" fmla="*/ 738862823 w 90"/>
              <a:gd name="T89" fmla="*/ 786428402 h 93"/>
              <a:gd name="T90" fmla="*/ 738862823 w 90"/>
              <a:gd name="T91" fmla="*/ 809903672 h 93"/>
              <a:gd name="T92" fmla="*/ 949965997 w 90"/>
              <a:gd name="T93" fmla="*/ 1021184532 h 93"/>
              <a:gd name="T94" fmla="*/ 985150430 w 90"/>
              <a:gd name="T95" fmla="*/ 1021184532 h 93"/>
              <a:gd name="T96" fmla="*/ 985150430 w 90"/>
              <a:gd name="T97" fmla="*/ 98597162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90"/>
              <a:gd name="T148" fmla="*/ 0 h 93"/>
              <a:gd name="T149" fmla="*/ 90 w 90"/>
              <a:gd name="T150" fmla="*/ 93 h 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90" h="93">
                <a:moveTo>
                  <a:pt x="86" y="38"/>
                </a:moveTo>
                <a:cubicBezTo>
                  <a:pt x="88" y="40"/>
                  <a:pt x="90" y="43"/>
                  <a:pt x="90" y="46"/>
                </a:cubicBezTo>
                <a:cubicBezTo>
                  <a:pt x="90" y="83"/>
                  <a:pt x="90" y="83"/>
                  <a:pt x="90" y="83"/>
                </a:cubicBezTo>
                <a:cubicBezTo>
                  <a:pt x="90" y="88"/>
                  <a:pt x="86" y="93"/>
                  <a:pt x="81" y="93"/>
                </a:cubicBezTo>
                <a:cubicBezTo>
                  <a:pt x="9" y="93"/>
                  <a:pt x="9" y="93"/>
                  <a:pt x="9" y="93"/>
                </a:cubicBezTo>
                <a:cubicBezTo>
                  <a:pt x="4" y="93"/>
                  <a:pt x="0" y="88"/>
                  <a:pt x="0" y="83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4"/>
                  <a:pt x="1" y="41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40"/>
                  <a:pt x="2" y="40"/>
                  <a:pt x="2" y="40"/>
                </a:cubicBezTo>
                <a:cubicBezTo>
                  <a:pt x="2" y="39"/>
                  <a:pt x="2" y="39"/>
                  <a:pt x="3" y="39"/>
                </a:cubicBezTo>
                <a:cubicBezTo>
                  <a:pt x="39" y="3"/>
                  <a:pt x="39" y="3"/>
                  <a:pt x="39" y="3"/>
                </a:cubicBezTo>
                <a:cubicBezTo>
                  <a:pt x="43" y="0"/>
                  <a:pt x="46" y="0"/>
                  <a:pt x="50" y="3"/>
                </a:cubicBezTo>
                <a:cubicBezTo>
                  <a:pt x="86" y="38"/>
                  <a:pt x="86" y="38"/>
                  <a:pt x="86" y="38"/>
                </a:cubicBezTo>
                <a:close/>
                <a:moveTo>
                  <a:pt x="15" y="30"/>
                </a:moveTo>
                <a:cubicBezTo>
                  <a:pt x="15" y="52"/>
                  <a:pt x="15" y="52"/>
                  <a:pt x="15" y="52"/>
                </a:cubicBezTo>
                <a:cubicBezTo>
                  <a:pt x="45" y="75"/>
                  <a:pt x="45" y="75"/>
                  <a:pt x="45" y="75"/>
                </a:cubicBezTo>
                <a:cubicBezTo>
                  <a:pt x="72" y="54"/>
                  <a:pt x="72" y="54"/>
                  <a:pt x="72" y="54"/>
                </a:cubicBezTo>
                <a:cubicBezTo>
                  <a:pt x="72" y="30"/>
                  <a:pt x="72" y="30"/>
                  <a:pt x="72" y="30"/>
                </a:cubicBezTo>
                <a:cubicBezTo>
                  <a:pt x="15" y="30"/>
                  <a:pt x="15" y="30"/>
                  <a:pt x="15" y="30"/>
                </a:cubicBezTo>
                <a:close/>
                <a:moveTo>
                  <a:pt x="25" y="35"/>
                </a:moveTo>
                <a:cubicBezTo>
                  <a:pt x="25" y="39"/>
                  <a:pt x="25" y="39"/>
                  <a:pt x="25" y="39"/>
                </a:cubicBezTo>
                <a:cubicBezTo>
                  <a:pt x="63" y="39"/>
                  <a:pt x="63" y="39"/>
                  <a:pt x="63" y="39"/>
                </a:cubicBezTo>
                <a:cubicBezTo>
                  <a:pt x="63" y="35"/>
                  <a:pt x="63" y="35"/>
                  <a:pt x="63" y="35"/>
                </a:cubicBezTo>
                <a:cubicBezTo>
                  <a:pt x="25" y="35"/>
                  <a:pt x="25" y="35"/>
                  <a:pt x="25" y="35"/>
                </a:cubicBezTo>
                <a:close/>
                <a:moveTo>
                  <a:pt x="25" y="51"/>
                </a:moveTo>
                <a:cubicBezTo>
                  <a:pt x="25" y="55"/>
                  <a:pt x="25" y="55"/>
                  <a:pt x="25" y="55"/>
                </a:cubicBezTo>
                <a:cubicBezTo>
                  <a:pt x="63" y="55"/>
                  <a:pt x="63" y="55"/>
                  <a:pt x="63" y="55"/>
                </a:cubicBezTo>
                <a:cubicBezTo>
                  <a:pt x="63" y="51"/>
                  <a:pt x="63" y="51"/>
                  <a:pt x="63" y="51"/>
                </a:cubicBezTo>
                <a:cubicBezTo>
                  <a:pt x="25" y="51"/>
                  <a:pt x="25" y="51"/>
                  <a:pt x="25" y="51"/>
                </a:cubicBezTo>
                <a:close/>
                <a:moveTo>
                  <a:pt x="25" y="43"/>
                </a:moveTo>
                <a:cubicBezTo>
                  <a:pt x="25" y="47"/>
                  <a:pt x="25" y="47"/>
                  <a:pt x="25" y="47"/>
                </a:cubicBezTo>
                <a:cubicBezTo>
                  <a:pt x="63" y="47"/>
                  <a:pt x="63" y="47"/>
                  <a:pt x="63" y="47"/>
                </a:cubicBezTo>
                <a:cubicBezTo>
                  <a:pt x="63" y="43"/>
                  <a:pt x="63" y="43"/>
                  <a:pt x="63" y="43"/>
                </a:cubicBezTo>
                <a:cubicBezTo>
                  <a:pt x="25" y="43"/>
                  <a:pt x="25" y="43"/>
                  <a:pt x="25" y="43"/>
                </a:cubicBezTo>
                <a:close/>
                <a:moveTo>
                  <a:pt x="10" y="87"/>
                </a:moveTo>
                <a:cubicBezTo>
                  <a:pt x="28" y="69"/>
                  <a:pt x="28" y="69"/>
                  <a:pt x="28" y="69"/>
                </a:cubicBezTo>
                <a:cubicBezTo>
                  <a:pt x="28" y="69"/>
                  <a:pt x="28" y="68"/>
                  <a:pt x="28" y="67"/>
                </a:cubicBezTo>
                <a:cubicBezTo>
                  <a:pt x="27" y="66"/>
                  <a:pt x="26" y="66"/>
                  <a:pt x="25" y="67"/>
                </a:cubicBezTo>
                <a:cubicBezTo>
                  <a:pt x="7" y="84"/>
                  <a:pt x="7" y="84"/>
                  <a:pt x="7" y="84"/>
                </a:cubicBezTo>
                <a:cubicBezTo>
                  <a:pt x="6" y="85"/>
                  <a:pt x="6" y="86"/>
                  <a:pt x="7" y="87"/>
                </a:cubicBezTo>
                <a:cubicBezTo>
                  <a:pt x="8" y="87"/>
                  <a:pt x="9" y="87"/>
                  <a:pt x="10" y="87"/>
                </a:cubicBezTo>
                <a:close/>
                <a:moveTo>
                  <a:pt x="84" y="84"/>
                </a:moveTo>
                <a:cubicBezTo>
                  <a:pt x="66" y="67"/>
                  <a:pt x="66" y="67"/>
                  <a:pt x="66" y="67"/>
                </a:cubicBezTo>
                <a:cubicBezTo>
                  <a:pt x="65" y="66"/>
                  <a:pt x="64" y="66"/>
                  <a:pt x="63" y="67"/>
                </a:cubicBezTo>
                <a:cubicBezTo>
                  <a:pt x="62" y="68"/>
                  <a:pt x="62" y="69"/>
                  <a:pt x="63" y="69"/>
                </a:cubicBezTo>
                <a:cubicBezTo>
                  <a:pt x="81" y="87"/>
                  <a:pt x="81" y="87"/>
                  <a:pt x="81" y="87"/>
                </a:cubicBezTo>
                <a:cubicBezTo>
                  <a:pt x="82" y="87"/>
                  <a:pt x="83" y="87"/>
                  <a:pt x="84" y="87"/>
                </a:cubicBezTo>
                <a:cubicBezTo>
                  <a:pt x="85" y="86"/>
                  <a:pt x="85" y="85"/>
                  <a:pt x="84" y="8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7" name="Freeform 31"/>
          <p:cNvSpPr>
            <a:spLocks noEditPoints="1" noChangeArrowheads="1"/>
          </p:cNvSpPr>
          <p:nvPr/>
        </p:nvSpPr>
        <p:spPr bwMode="auto">
          <a:xfrm>
            <a:off x="7207251" y="3083984"/>
            <a:ext cx="416983" cy="423333"/>
          </a:xfrm>
          <a:custGeom>
            <a:avLst/>
            <a:gdLst>
              <a:gd name="T0" fmla="*/ 955442465 w 91"/>
              <a:gd name="T1" fmla="*/ 513889113 h 93"/>
              <a:gd name="T2" fmla="*/ 1038011906 w 91"/>
              <a:gd name="T3" fmla="*/ 432134570 h 93"/>
              <a:gd name="T4" fmla="*/ 1038011906 w 91"/>
              <a:gd name="T5" fmla="*/ 268625484 h 93"/>
              <a:gd name="T6" fmla="*/ 802101672 w 91"/>
              <a:gd name="T7" fmla="*/ 46716882 h 93"/>
              <a:gd name="T8" fmla="*/ 636962789 w 91"/>
              <a:gd name="T9" fmla="*/ 46716882 h 93"/>
              <a:gd name="T10" fmla="*/ 554393348 w 91"/>
              <a:gd name="T11" fmla="*/ 116792204 h 93"/>
              <a:gd name="T12" fmla="*/ 955442465 w 91"/>
              <a:gd name="T13" fmla="*/ 513889113 h 93"/>
              <a:gd name="T14" fmla="*/ 613370047 w 91"/>
              <a:gd name="T15" fmla="*/ 268625484 h 93"/>
              <a:gd name="T16" fmla="*/ 802101672 w 91"/>
              <a:gd name="T17" fmla="*/ 455493011 h 93"/>
              <a:gd name="T18" fmla="*/ 908260418 w 91"/>
              <a:gd name="T19" fmla="*/ 548930188 h 93"/>
              <a:gd name="T20" fmla="*/ 507211301 w 91"/>
              <a:gd name="T21" fmla="*/ 946027097 h 93"/>
              <a:gd name="T22" fmla="*/ 412847207 w 91"/>
              <a:gd name="T23" fmla="*/ 840910699 h 93"/>
              <a:gd name="T24" fmla="*/ 224115582 w 91"/>
              <a:gd name="T25" fmla="*/ 677401613 h 93"/>
              <a:gd name="T26" fmla="*/ 495416648 w 91"/>
              <a:gd name="T27" fmla="*/ 420455349 h 93"/>
              <a:gd name="T28" fmla="*/ 471823906 w 91"/>
              <a:gd name="T29" fmla="*/ 397096909 h 93"/>
              <a:gd name="T30" fmla="*/ 188728188 w 91"/>
              <a:gd name="T31" fmla="*/ 665722392 h 93"/>
              <a:gd name="T32" fmla="*/ 117956836 w 91"/>
              <a:gd name="T33" fmla="*/ 560609409 h 93"/>
              <a:gd name="T34" fmla="*/ 519005953 w 91"/>
              <a:gd name="T35" fmla="*/ 163509086 h 93"/>
              <a:gd name="T36" fmla="*/ 613370047 w 91"/>
              <a:gd name="T37" fmla="*/ 268625484 h 93"/>
              <a:gd name="T38" fmla="*/ 47182047 w 91"/>
              <a:gd name="T39" fmla="*/ 794193817 h 93"/>
              <a:gd name="T40" fmla="*/ 0 w 91"/>
              <a:gd name="T41" fmla="*/ 1004423199 h 93"/>
              <a:gd name="T42" fmla="*/ 82569441 w 91"/>
              <a:gd name="T43" fmla="*/ 1086177742 h 93"/>
              <a:gd name="T44" fmla="*/ 294890371 w 91"/>
              <a:gd name="T45" fmla="*/ 1039460860 h 93"/>
              <a:gd name="T46" fmla="*/ 47182047 w 91"/>
              <a:gd name="T47" fmla="*/ 794193817 h 9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91"/>
              <a:gd name="T73" fmla="*/ 0 h 93"/>
              <a:gd name="T74" fmla="*/ 91 w 91"/>
              <a:gd name="T75" fmla="*/ 93 h 9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91" h="93">
                <a:moveTo>
                  <a:pt x="81" y="44"/>
                </a:moveTo>
                <a:cubicBezTo>
                  <a:pt x="88" y="37"/>
                  <a:pt x="88" y="37"/>
                  <a:pt x="88" y="37"/>
                </a:cubicBezTo>
                <a:cubicBezTo>
                  <a:pt x="91" y="33"/>
                  <a:pt x="91" y="27"/>
                  <a:pt x="88" y="23"/>
                </a:cubicBezTo>
                <a:cubicBezTo>
                  <a:pt x="68" y="4"/>
                  <a:pt x="68" y="4"/>
                  <a:pt x="68" y="4"/>
                </a:cubicBezTo>
                <a:cubicBezTo>
                  <a:pt x="64" y="0"/>
                  <a:pt x="58" y="0"/>
                  <a:pt x="54" y="4"/>
                </a:cubicBezTo>
                <a:cubicBezTo>
                  <a:pt x="47" y="10"/>
                  <a:pt x="47" y="10"/>
                  <a:pt x="47" y="10"/>
                </a:cubicBezTo>
                <a:cubicBezTo>
                  <a:pt x="81" y="44"/>
                  <a:pt x="81" y="44"/>
                  <a:pt x="81" y="44"/>
                </a:cubicBezTo>
                <a:close/>
                <a:moveTo>
                  <a:pt x="52" y="23"/>
                </a:moveTo>
                <a:cubicBezTo>
                  <a:pt x="68" y="39"/>
                  <a:pt x="68" y="39"/>
                  <a:pt x="68" y="39"/>
                </a:cubicBezTo>
                <a:cubicBezTo>
                  <a:pt x="77" y="47"/>
                  <a:pt x="77" y="47"/>
                  <a:pt x="77" y="47"/>
                </a:cubicBezTo>
                <a:cubicBezTo>
                  <a:pt x="43" y="81"/>
                  <a:pt x="43" y="81"/>
                  <a:pt x="43" y="81"/>
                </a:cubicBezTo>
                <a:cubicBezTo>
                  <a:pt x="35" y="83"/>
                  <a:pt x="33" y="79"/>
                  <a:pt x="35" y="72"/>
                </a:cubicBezTo>
                <a:cubicBezTo>
                  <a:pt x="26" y="71"/>
                  <a:pt x="20" y="68"/>
                  <a:pt x="19" y="58"/>
                </a:cubicBezTo>
                <a:cubicBezTo>
                  <a:pt x="42" y="36"/>
                  <a:pt x="42" y="36"/>
                  <a:pt x="42" y="36"/>
                </a:cubicBezTo>
                <a:cubicBezTo>
                  <a:pt x="40" y="34"/>
                  <a:pt x="40" y="34"/>
                  <a:pt x="40" y="34"/>
                </a:cubicBezTo>
                <a:cubicBezTo>
                  <a:pt x="16" y="57"/>
                  <a:pt x="16" y="57"/>
                  <a:pt x="16" y="57"/>
                </a:cubicBezTo>
                <a:cubicBezTo>
                  <a:pt x="10" y="57"/>
                  <a:pt x="9" y="54"/>
                  <a:pt x="10" y="48"/>
                </a:cubicBezTo>
                <a:cubicBezTo>
                  <a:pt x="21" y="37"/>
                  <a:pt x="33" y="25"/>
                  <a:pt x="44" y="14"/>
                </a:cubicBezTo>
                <a:cubicBezTo>
                  <a:pt x="52" y="23"/>
                  <a:pt x="52" y="23"/>
                  <a:pt x="52" y="23"/>
                </a:cubicBezTo>
                <a:close/>
                <a:moveTo>
                  <a:pt x="4" y="68"/>
                </a:moveTo>
                <a:cubicBezTo>
                  <a:pt x="0" y="86"/>
                  <a:pt x="0" y="86"/>
                  <a:pt x="0" y="86"/>
                </a:cubicBezTo>
                <a:cubicBezTo>
                  <a:pt x="7" y="93"/>
                  <a:pt x="7" y="93"/>
                  <a:pt x="7" y="93"/>
                </a:cubicBezTo>
                <a:cubicBezTo>
                  <a:pt x="25" y="89"/>
                  <a:pt x="25" y="89"/>
                  <a:pt x="25" y="89"/>
                </a:cubicBezTo>
                <a:lnTo>
                  <a:pt x="4" y="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8" name="Freeform 32"/>
          <p:cNvSpPr>
            <a:spLocks noEditPoints="1" noChangeArrowheads="1"/>
          </p:cNvSpPr>
          <p:nvPr/>
        </p:nvSpPr>
        <p:spPr bwMode="auto">
          <a:xfrm>
            <a:off x="6320367" y="4806951"/>
            <a:ext cx="427567" cy="423333"/>
          </a:xfrm>
          <a:custGeom>
            <a:avLst/>
            <a:gdLst>
              <a:gd name="T0" fmla="*/ 981729455 w 94"/>
              <a:gd name="T1" fmla="*/ 303663145 h 93"/>
              <a:gd name="T2" fmla="*/ 993417036 w 94"/>
              <a:gd name="T3" fmla="*/ 256946263 h 93"/>
              <a:gd name="T4" fmla="*/ 993417036 w 94"/>
              <a:gd name="T5" fmla="*/ 163509086 h 93"/>
              <a:gd name="T6" fmla="*/ 923291554 w 94"/>
              <a:gd name="T7" fmla="*/ 105112984 h 93"/>
              <a:gd name="T8" fmla="*/ 409055077 w 94"/>
              <a:gd name="T9" fmla="*/ 128471425 h 93"/>
              <a:gd name="T10" fmla="*/ 420742657 w 94"/>
              <a:gd name="T11" fmla="*/ 280304704 h 93"/>
              <a:gd name="T12" fmla="*/ 934979134 w 94"/>
              <a:gd name="T13" fmla="*/ 303663145 h 93"/>
              <a:gd name="T14" fmla="*/ 409055077 w 94"/>
              <a:gd name="T15" fmla="*/ 724118495 h 93"/>
              <a:gd name="T16" fmla="*/ 771359832 w 94"/>
              <a:gd name="T17" fmla="*/ 852589919 h 93"/>
              <a:gd name="T18" fmla="*/ 642799860 w 94"/>
              <a:gd name="T19" fmla="*/ 525568333 h 93"/>
              <a:gd name="T20" fmla="*/ 818106742 w 94"/>
              <a:gd name="T21" fmla="*/ 770835376 h 93"/>
              <a:gd name="T22" fmla="*/ 724609511 w 94"/>
              <a:gd name="T23" fmla="*/ 689080833 h 93"/>
              <a:gd name="T24" fmla="*/ 818106742 w 94"/>
              <a:gd name="T25" fmla="*/ 770835376 h 93"/>
              <a:gd name="T26" fmla="*/ 806419162 w 94"/>
              <a:gd name="T27" fmla="*/ 782514597 h 93"/>
              <a:gd name="T28" fmla="*/ 689546770 w 94"/>
              <a:gd name="T29" fmla="*/ 712439274 h 93"/>
              <a:gd name="T30" fmla="*/ 818106742 w 94"/>
              <a:gd name="T31" fmla="*/ 642363952 h 93"/>
              <a:gd name="T32" fmla="*/ 806419162 w 94"/>
              <a:gd name="T33" fmla="*/ 630684731 h 93"/>
              <a:gd name="T34" fmla="*/ 794731582 w 94"/>
              <a:gd name="T35" fmla="*/ 642363952 h 93"/>
              <a:gd name="T36" fmla="*/ 829794323 w 94"/>
              <a:gd name="T37" fmla="*/ 677401613 h 93"/>
              <a:gd name="T38" fmla="*/ 794731582 w 94"/>
              <a:gd name="T39" fmla="*/ 642363952 h 93"/>
              <a:gd name="T40" fmla="*/ 829794323 w 94"/>
              <a:gd name="T41" fmla="*/ 689080833 h 93"/>
              <a:gd name="T42" fmla="*/ 771359832 w 94"/>
              <a:gd name="T43" fmla="*/ 654043172 h 93"/>
              <a:gd name="T44" fmla="*/ 759672252 w 94"/>
              <a:gd name="T45" fmla="*/ 665722392 h 93"/>
              <a:gd name="T46" fmla="*/ 829794323 w 94"/>
              <a:gd name="T47" fmla="*/ 735797715 h 93"/>
              <a:gd name="T48" fmla="*/ 759672252 w 94"/>
              <a:gd name="T49" fmla="*/ 665722392 h 93"/>
              <a:gd name="T50" fmla="*/ 829794323 w 94"/>
              <a:gd name="T51" fmla="*/ 747476935 h 93"/>
              <a:gd name="T52" fmla="*/ 736297091 w 94"/>
              <a:gd name="T53" fmla="*/ 689080833 h 93"/>
              <a:gd name="T54" fmla="*/ 818106742 w 94"/>
              <a:gd name="T55" fmla="*/ 537247554 h 93"/>
              <a:gd name="T56" fmla="*/ 818106742 w 94"/>
              <a:gd name="T57" fmla="*/ 560609409 h 93"/>
              <a:gd name="T58" fmla="*/ 642799860 w 94"/>
              <a:gd name="T59" fmla="*/ 677401613 h 93"/>
              <a:gd name="T60" fmla="*/ 677859190 w 94"/>
              <a:gd name="T61" fmla="*/ 467172231 h 93"/>
              <a:gd name="T62" fmla="*/ 701234351 w 94"/>
              <a:gd name="T63" fmla="*/ 455493011 h 93"/>
              <a:gd name="T64" fmla="*/ 818106742 w 94"/>
              <a:gd name="T65" fmla="*/ 537247554 h 93"/>
              <a:gd name="T66" fmla="*/ 783047413 w 94"/>
              <a:gd name="T67" fmla="*/ 548930188 h 93"/>
              <a:gd name="T68" fmla="*/ 712921931 w 94"/>
              <a:gd name="T69" fmla="*/ 490530672 h 93"/>
              <a:gd name="T70" fmla="*/ 818106742 w 94"/>
              <a:gd name="T71" fmla="*/ 829231478 h 93"/>
              <a:gd name="T72" fmla="*/ 794731582 w 94"/>
              <a:gd name="T73" fmla="*/ 829231478 h 93"/>
              <a:gd name="T74" fmla="*/ 642799860 w 94"/>
              <a:gd name="T75" fmla="*/ 712439274 h 93"/>
              <a:gd name="T76" fmla="*/ 806419162 w 94"/>
              <a:gd name="T77" fmla="*/ 595647070 h 93"/>
              <a:gd name="T78" fmla="*/ 829794323 w 94"/>
              <a:gd name="T79" fmla="*/ 607326290 h 93"/>
              <a:gd name="T80" fmla="*/ 864857064 w 94"/>
              <a:gd name="T81" fmla="*/ 712439274 h 93"/>
              <a:gd name="T82" fmla="*/ 818106742 w 94"/>
              <a:gd name="T83" fmla="*/ 829231478 h 93"/>
              <a:gd name="T84" fmla="*/ 1086914267 w 94"/>
              <a:gd name="T85" fmla="*/ 128471425 h 93"/>
              <a:gd name="T86" fmla="*/ 1098601847 w 94"/>
              <a:gd name="T87" fmla="*/ 280304704 h 93"/>
              <a:gd name="T88" fmla="*/ 1028479777 w 94"/>
              <a:gd name="T89" fmla="*/ 1039460860 h 93"/>
              <a:gd name="T90" fmla="*/ 245432364 w 94"/>
              <a:gd name="T91" fmla="*/ 1086177742 h 93"/>
              <a:gd name="T92" fmla="*/ 198682043 w 94"/>
              <a:gd name="T93" fmla="*/ 794193817 h 93"/>
              <a:gd name="T94" fmla="*/ 0 w 94"/>
              <a:gd name="T95" fmla="*/ 747476935 h 93"/>
              <a:gd name="T96" fmla="*/ 140247552 w 94"/>
              <a:gd name="T97" fmla="*/ 46716882 h 93"/>
              <a:gd name="T98" fmla="*/ 257119944 w 94"/>
              <a:gd name="T99" fmla="*/ 0 h 93"/>
              <a:gd name="T100" fmla="*/ 923291554 w 94"/>
              <a:gd name="T101" fmla="*/ 0 h 93"/>
              <a:gd name="T102" fmla="*/ 315554434 w 94"/>
              <a:gd name="T103" fmla="*/ 397096909 h 93"/>
              <a:gd name="T104" fmla="*/ 934979134 w 94"/>
              <a:gd name="T105" fmla="*/ 397096909 h 93"/>
              <a:gd name="T106" fmla="*/ 303870265 w 94"/>
              <a:gd name="T107" fmla="*/ 992743978 h 93"/>
              <a:gd name="T108" fmla="*/ 303870265 w 94"/>
              <a:gd name="T109" fmla="*/ 700760054 h 93"/>
              <a:gd name="T110" fmla="*/ 315554434 w 94"/>
              <a:gd name="T111" fmla="*/ 397096909 h 93"/>
              <a:gd name="T112" fmla="*/ 198682043 w 94"/>
              <a:gd name="T113" fmla="*/ 280304704 h 93"/>
              <a:gd name="T114" fmla="*/ 315554434 w 94"/>
              <a:gd name="T115" fmla="*/ 303663145 h 93"/>
              <a:gd name="T116" fmla="*/ 327242015 w 94"/>
              <a:gd name="T117" fmla="*/ 210229382 h 93"/>
              <a:gd name="T118" fmla="*/ 257119944 w 94"/>
              <a:gd name="T119" fmla="*/ 105112984 h 93"/>
              <a:gd name="T120" fmla="*/ 186994462 w 94"/>
              <a:gd name="T121" fmla="*/ 151829866 h 93"/>
              <a:gd name="T122" fmla="*/ 198682043 w 94"/>
              <a:gd name="T123" fmla="*/ 700760054 h 9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94"/>
              <a:gd name="T187" fmla="*/ 0 h 93"/>
              <a:gd name="T188" fmla="*/ 94 w 94"/>
              <a:gd name="T189" fmla="*/ 93 h 9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94" h="93">
                <a:moveTo>
                  <a:pt x="80" y="26"/>
                </a:moveTo>
                <a:cubicBezTo>
                  <a:pt x="84" y="26"/>
                  <a:pt x="84" y="26"/>
                  <a:pt x="84" y="26"/>
                </a:cubicBezTo>
                <a:cubicBezTo>
                  <a:pt x="85" y="26"/>
                  <a:pt x="85" y="26"/>
                  <a:pt x="85" y="26"/>
                </a:cubicBezTo>
                <a:cubicBezTo>
                  <a:pt x="85" y="26"/>
                  <a:pt x="85" y="24"/>
                  <a:pt x="85" y="22"/>
                </a:cubicBezTo>
                <a:cubicBezTo>
                  <a:pt x="86" y="21"/>
                  <a:pt x="86" y="20"/>
                  <a:pt x="86" y="18"/>
                </a:cubicBezTo>
                <a:cubicBezTo>
                  <a:pt x="86" y="17"/>
                  <a:pt x="86" y="15"/>
                  <a:pt x="85" y="14"/>
                </a:cubicBezTo>
                <a:cubicBezTo>
                  <a:pt x="84" y="11"/>
                  <a:pt x="83" y="9"/>
                  <a:pt x="79" y="9"/>
                </a:cubicBezTo>
                <a:cubicBezTo>
                  <a:pt x="79" y="9"/>
                  <a:pt x="79" y="9"/>
                  <a:pt x="79" y="9"/>
                </a:cubicBezTo>
                <a:cubicBezTo>
                  <a:pt x="34" y="9"/>
                  <a:pt x="34" y="9"/>
                  <a:pt x="34" y="9"/>
                </a:cubicBezTo>
                <a:cubicBezTo>
                  <a:pt x="35" y="9"/>
                  <a:pt x="35" y="10"/>
                  <a:pt x="35" y="11"/>
                </a:cubicBezTo>
                <a:cubicBezTo>
                  <a:pt x="36" y="13"/>
                  <a:pt x="36" y="16"/>
                  <a:pt x="37" y="18"/>
                </a:cubicBezTo>
                <a:cubicBezTo>
                  <a:pt x="37" y="20"/>
                  <a:pt x="36" y="22"/>
                  <a:pt x="36" y="24"/>
                </a:cubicBezTo>
                <a:cubicBezTo>
                  <a:pt x="36" y="25"/>
                  <a:pt x="36" y="25"/>
                  <a:pt x="36" y="26"/>
                </a:cubicBezTo>
                <a:cubicBezTo>
                  <a:pt x="80" y="26"/>
                  <a:pt x="80" y="26"/>
                  <a:pt x="80" y="26"/>
                </a:cubicBezTo>
                <a:close/>
                <a:moveTo>
                  <a:pt x="52" y="45"/>
                </a:moveTo>
                <a:cubicBezTo>
                  <a:pt x="42" y="45"/>
                  <a:pt x="35" y="52"/>
                  <a:pt x="35" y="62"/>
                </a:cubicBezTo>
                <a:cubicBezTo>
                  <a:pt x="35" y="72"/>
                  <a:pt x="42" y="79"/>
                  <a:pt x="52" y="79"/>
                </a:cubicBezTo>
                <a:cubicBezTo>
                  <a:pt x="58" y="79"/>
                  <a:pt x="63" y="77"/>
                  <a:pt x="66" y="73"/>
                </a:cubicBezTo>
                <a:cubicBezTo>
                  <a:pt x="52" y="62"/>
                  <a:pt x="52" y="62"/>
                  <a:pt x="52" y="62"/>
                </a:cubicBezTo>
                <a:cubicBezTo>
                  <a:pt x="55" y="45"/>
                  <a:pt x="55" y="45"/>
                  <a:pt x="55" y="45"/>
                </a:cubicBezTo>
                <a:cubicBezTo>
                  <a:pt x="54" y="45"/>
                  <a:pt x="53" y="45"/>
                  <a:pt x="52" y="45"/>
                </a:cubicBezTo>
                <a:close/>
                <a:moveTo>
                  <a:pt x="70" y="66"/>
                </a:moveTo>
                <a:cubicBezTo>
                  <a:pt x="61" y="60"/>
                  <a:pt x="61" y="60"/>
                  <a:pt x="61" y="60"/>
                </a:cubicBezTo>
                <a:cubicBezTo>
                  <a:pt x="62" y="59"/>
                  <a:pt x="62" y="59"/>
                  <a:pt x="62" y="59"/>
                </a:cubicBezTo>
                <a:cubicBezTo>
                  <a:pt x="70" y="66"/>
                  <a:pt x="70" y="66"/>
                  <a:pt x="70" y="66"/>
                </a:cubicBezTo>
                <a:cubicBezTo>
                  <a:pt x="70" y="66"/>
                  <a:pt x="70" y="66"/>
                  <a:pt x="70" y="66"/>
                </a:cubicBezTo>
                <a:close/>
                <a:moveTo>
                  <a:pt x="60" y="60"/>
                </a:moveTo>
                <a:cubicBezTo>
                  <a:pt x="69" y="67"/>
                  <a:pt x="69" y="67"/>
                  <a:pt x="69" y="67"/>
                </a:cubicBezTo>
                <a:cubicBezTo>
                  <a:pt x="69" y="68"/>
                  <a:pt x="69" y="68"/>
                  <a:pt x="69" y="68"/>
                </a:cubicBezTo>
                <a:cubicBezTo>
                  <a:pt x="59" y="61"/>
                  <a:pt x="59" y="61"/>
                  <a:pt x="59" y="61"/>
                </a:cubicBezTo>
                <a:cubicBezTo>
                  <a:pt x="60" y="60"/>
                  <a:pt x="60" y="60"/>
                  <a:pt x="60" y="60"/>
                </a:cubicBezTo>
                <a:close/>
                <a:moveTo>
                  <a:pt x="70" y="55"/>
                </a:moveTo>
                <a:cubicBezTo>
                  <a:pt x="69" y="54"/>
                  <a:pt x="69" y="54"/>
                  <a:pt x="69" y="54"/>
                </a:cubicBezTo>
                <a:cubicBezTo>
                  <a:pt x="69" y="54"/>
                  <a:pt x="69" y="54"/>
                  <a:pt x="69" y="54"/>
                </a:cubicBezTo>
                <a:cubicBezTo>
                  <a:pt x="69" y="54"/>
                  <a:pt x="70" y="55"/>
                  <a:pt x="70" y="55"/>
                </a:cubicBezTo>
                <a:close/>
                <a:moveTo>
                  <a:pt x="68" y="55"/>
                </a:moveTo>
                <a:cubicBezTo>
                  <a:pt x="67" y="55"/>
                  <a:pt x="67" y="55"/>
                  <a:pt x="67" y="55"/>
                </a:cubicBezTo>
                <a:cubicBezTo>
                  <a:pt x="71" y="58"/>
                  <a:pt x="71" y="58"/>
                  <a:pt x="71" y="58"/>
                </a:cubicBezTo>
                <a:cubicBezTo>
                  <a:pt x="71" y="58"/>
                  <a:pt x="71" y="57"/>
                  <a:pt x="70" y="57"/>
                </a:cubicBezTo>
                <a:cubicBezTo>
                  <a:pt x="68" y="55"/>
                  <a:pt x="68" y="55"/>
                  <a:pt x="68" y="55"/>
                </a:cubicBezTo>
                <a:close/>
                <a:moveTo>
                  <a:pt x="66" y="56"/>
                </a:moveTo>
                <a:cubicBezTo>
                  <a:pt x="71" y="59"/>
                  <a:pt x="71" y="59"/>
                  <a:pt x="71" y="59"/>
                </a:cubicBezTo>
                <a:cubicBezTo>
                  <a:pt x="71" y="60"/>
                  <a:pt x="71" y="60"/>
                  <a:pt x="71" y="60"/>
                </a:cubicBezTo>
                <a:cubicBezTo>
                  <a:pt x="66" y="56"/>
                  <a:pt x="66" y="56"/>
                  <a:pt x="66" y="56"/>
                </a:cubicBezTo>
                <a:cubicBezTo>
                  <a:pt x="66" y="56"/>
                  <a:pt x="66" y="56"/>
                  <a:pt x="66" y="56"/>
                </a:cubicBezTo>
                <a:close/>
                <a:moveTo>
                  <a:pt x="65" y="57"/>
                </a:moveTo>
                <a:cubicBezTo>
                  <a:pt x="71" y="62"/>
                  <a:pt x="71" y="62"/>
                  <a:pt x="71" y="62"/>
                </a:cubicBezTo>
                <a:cubicBezTo>
                  <a:pt x="71" y="62"/>
                  <a:pt x="71" y="62"/>
                  <a:pt x="71" y="63"/>
                </a:cubicBezTo>
                <a:cubicBezTo>
                  <a:pt x="64" y="58"/>
                  <a:pt x="64" y="58"/>
                  <a:pt x="64" y="58"/>
                </a:cubicBezTo>
                <a:cubicBezTo>
                  <a:pt x="65" y="57"/>
                  <a:pt x="65" y="57"/>
                  <a:pt x="65" y="57"/>
                </a:cubicBezTo>
                <a:close/>
                <a:moveTo>
                  <a:pt x="63" y="58"/>
                </a:moveTo>
                <a:cubicBezTo>
                  <a:pt x="71" y="64"/>
                  <a:pt x="71" y="64"/>
                  <a:pt x="71" y="64"/>
                </a:cubicBezTo>
                <a:cubicBezTo>
                  <a:pt x="71" y="64"/>
                  <a:pt x="71" y="64"/>
                  <a:pt x="70" y="65"/>
                </a:cubicBezTo>
                <a:cubicBezTo>
                  <a:pt x="63" y="59"/>
                  <a:pt x="63" y="59"/>
                  <a:pt x="63" y="59"/>
                </a:cubicBezTo>
                <a:cubicBezTo>
                  <a:pt x="63" y="58"/>
                  <a:pt x="63" y="58"/>
                  <a:pt x="63" y="58"/>
                </a:cubicBezTo>
                <a:close/>
                <a:moveTo>
                  <a:pt x="70" y="46"/>
                </a:moveTo>
                <a:cubicBezTo>
                  <a:pt x="71" y="47"/>
                  <a:pt x="71" y="47"/>
                  <a:pt x="71" y="47"/>
                </a:cubicBezTo>
                <a:cubicBezTo>
                  <a:pt x="70" y="48"/>
                  <a:pt x="70" y="48"/>
                  <a:pt x="70" y="48"/>
                </a:cubicBezTo>
                <a:cubicBezTo>
                  <a:pt x="58" y="56"/>
                  <a:pt x="58" y="56"/>
                  <a:pt x="58" y="56"/>
                </a:cubicBezTo>
                <a:cubicBezTo>
                  <a:pt x="55" y="58"/>
                  <a:pt x="55" y="58"/>
                  <a:pt x="55" y="58"/>
                </a:cubicBezTo>
                <a:cubicBezTo>
                  <a:pt x="56" y="55"/>
                  <a:pt x="56" y="55"/>
                  <a:pt x="56" y="55"/>
                </a:cubicBezTo>
                <a:cubicBezTo>
                  <a:pt x="58" y="40"/>
                  <a:pt x="58" y="40"/>
                  <a:pt x="58" y="40"/>
                </a:cubicBezTo>
                <a:cubicBezTo>
                  <a:pt x="59" y="39"/>
                  <a:pt x="59" y="39"/>
                  <a:pt x="59" y="39"/>
                </a:cubicBezTo>
                <a:cubicBezTo>
                  <a:pt x="60" y="39"/>
                  <a:pt x="60" y="39"/>
                  <a:pt x="60" y="39"/>
                </a:cubicBezTo>
                <a:cubicBezTo>
                  <a:pt x="62" y="40"/>
                  <a:pt x="64" y="40"/>
                  <a:pt x="66" y="42"/>
                </a:cubicBezTo>
                <a:cubicBezTo>
                  <a:pt x="68" y="43"/>
                  <a:pt x="69" y="44"/>
                  <a:pt x="70" y="46"/>
                </a:cubicBezTo>
                <a:close/>
                <a:moveTo>
                  <a:pt x="64" y="44"/>
                </a:moveTo>
                <a:cubicBezTo>
                  <a:pt x="66" y="44"/>
                  <a:pt x="67" y="45"/>
                  <a:pt x="67" y="47"/>
                </a:cubicBezTo>
                <a:cubicBezTo>
                  <a:pt x="59" y="52"/>
                  <a:pt x="59" y="52"/>
                  <a:pt x="59" y="52"/>
                </a:cubicBezTo>
                <a:cubicBezTo>
                  <a:pt x="61" y="42"/>
                  <a:pt x="61" y="42"/>
                  <a:pt x="61" y="42"/>
                </a:cubicBezTo>
                <a:cubicBezTo>
                  <a:pt x="62" y="42"/>
                  <a:pt x="63" y="43"/>
                  <a:pt x="64" y="44"/>
                </a:cubicBezTo>
                <a:close/>
                <a:moveTo>
                  <a:pt x="70" y="71"/>
                </a:moveTo>
                <a:cubicBezTo>
                  <a:pt x="69" y="72"/>
                  <a:pt x="69" y="72"/>
                  <a:pt x="69" y="72"/>
                </a:cubicBezTo>
                <a:cubicBezTo>
                  <a:pt x="68" y="71"/>
                  <a:pt x="68" y="71"/>
                  <a:pt x="68" y="71"/>
                </a:cubicBezTo>
                <a:cubicBezTo>
                  <a:pt x="56" y="62"/>
                  <a:pt x="56" y="62"/>
                  <a:pt x="56" y="62"/>
                </a:cubicBezTo>
                <a:cubicBezTo>
                  <a:pt x="55" y="61"/>
                  <a:pt x="55" y="61"/>
                  <a:pt x="55" y="61"/>
                </a:cubicBezTo>
                <a:cubicBezTo>
                  <a:pt x="56" y="60"/>
                  <a:pt x="56" y="60"/>
                  <a:pt x="56" y="60"/>
                </a:cubicBezTo>
                <a:cubicBezTo>
                  <a:pt x="69" y="51"/>
                  <a:pt x="69" y="51"/>
                  <a:pt x="69" y="51"/>
                </a:cubicBezTo>
                <a:cubicBezTo>
                  <a:pt x="70" y="50"/>
                  <a:pt x="70" y="50"/>
                  <a:pt x="70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2" y="53"/>
                  <a:pt x="72" y="54"/>
                  <a:pt x="73" y="56"/>
                </a:cubicBezTo>
                <a:cubicBezTo>
                  <a:pt x="73" y="57"/>
                  <a:pt x="74" y="59"/>
                  <a:pt x="74" y="61"/>
                </a:cubicBezTo>
                <a:cubicBezTo>
                  <a:pt x="74" y="63"/>
                  <a:pt x="73" y="64"/>
                  <a:pt x="73" y="66"/>
                </a:cubicBezTo>
                <a:cubicBezTo>
                  <a:pt x="72" y="68"/>
                  <a:pt x="71" y="69"/>
                  <a:pt x="70" y="71"/>
                </a:cubicBezTo>
                <a:close/>
                <a:moveTo>
                  <a:pt x="79" y="0"/>
                </a:moveTo>
                <a:cubicBezTo>
                  <a:pt x="87" y="1"/>
                  <a:pt x="91" y="5"/>
                  <a:pt x="93" y="11"/>
                </a:cubicBezTo>
                <a:cubicBezTo>
                  <a:pt x="94" y="13"/>
                  <a:pt x="94" y="16"/>
                  <a:pt x="94" y="18"/>
                </a:cubicBezTo>
                <a:cubicBezTo>
                  <a:pt x="94" y="20"/>
                  <a:pt x="94" y="22"/>
                  <a:pt x="94" y="24"/>
                </a:cubicBezTo>
                <a:cubicBezTo>
                  <a:pt x="93" y="28"/>
                  <a:pt x="91" y="31"/>
                  <a:pt x="88" y="33"/>
                </a:cubicBezTo>
                <a:cubicBezTo>
                  <a:pt x="88" y="89"/>
                  <a:pt x="88" y="89"/>
                  <a:pt x="88" y="89"/>
                </a:cubicBezTo>
                <a:cubicBezTo>
                  <a:pt x="84" y="93"/>
                  <a:pt x="84" y="93"/>
                  <a:pt x="84" y="93"/>
                </a:cubicBezTo>
                <a:cubicBezTo>
                  <a:pt x="21" y="93"/>
                  <a:pt x="21" y="93"/>
                  <a:pt x="21" y="93"/>
                </a:cubicBezTo>
                <a:cubicBezTo>
                  <a:pt x="17" y="89"/>
                  <a:pt x="17" y="89"/>
                  <a:pt x="17" y="89"/>
                </a:cubicBezTo>
                <a:cubicBezTo>
                  <a:pt x="17" y="68"/>
                  <a:pt x="17" y="68"/>
                  <a:pt x="17" y="68"/>
                </a:cubicBezTo>
                <a:cubicBezTo>
                  <a:pt x="4" y="68"/>
                  <a:pt x="4" y="68"/>
                  <a:pt x="4" y="68"/>
                </a:cubicBezTo>
                <a:cubicBezTo>
                  <a:pt x="0" y="64"/>
                  <a:pt x="0" y="64"/>
                  <a:pt x="0" y="64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9"/>
                  <a:pt x="10" y="6"/>
                  <a:pt x="12" y="4"/>
                </a:cubicBezTo>
                <a:cubicBezTo>
                  <a:pt x="15" y="2"/>
                  <a:pt x="18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79" y="0"/>
                  <a:pt x="79" y="0"/>
                  <a:pt x="79" y="0"/>
                </a:cubicBezTo>
                <a:cubicBezTo>
                  <a:pt x="79" y="0"/>
                  <a:pt x="79" y="0"/>
                  <a:pt x="79" y="0"/>
                </a:cubicBezTo>
                <a:close/>
                <a:moveTo>
                  <a:pt x="27" y="34"/>
                </a:moveTo>
                <a:cubicBezTo>
                  <a:pt x="27" y="34"/>
                  <a:pt x="27" y="34"/>
                  <a:pt x="27" y="34"/>
                </a:cubicBezTo>
                <a:cubicBezTo>
                  <a:pt x="80" y="34"/>
                  <a:pt x="80" y="34"/>
                  <a:pt x="80" y="34"/>
                </a:cubicBezTo>
                <a:cubicBezTo>
                  <a:pt x="80" y="85"/>
                  <a:pt x="80" y="85"/>
                  <a:pt x="80" y="85"/>
                </a:cubicBezTo>
                <a:cubicBezTo>
                  <a:pt x="26" y="85"/>
                  <a:pt x="26" y="85"/>
                  <a:pt x="26" y="85"/>
                </a:cubicBezTo>
                <a:cubicBezTo>
                  <a:pt x="26" y="68"/>
                  <a:pt x="26" y="68"/>
                  <a:pt x="26" y="68"/>
                </a:cubicBezTo>
                <a:cubicBezTo>
                  <a:pt x="26" y="60"/>
                  <a:pt x="26" y="60"/>
                  <a:pt x="26" y="60"/>
                </a:cubicBezTo>
                <a:cubicBezTo>
                  <a:pt x="26" y="34"/>
                  <a:pt x="26" y="34"/>
                  <a:pt x="26" y="34"/>
                </a:cubicBezTo>
                <a:cubicBezTo>
                  <a:pt x="26" y="34"/>
                  <a:pt x="27" y="34"/>
                  <a:pt x="27" y="34"/>
                </a:cubicBezTo>
                <a:close/>
                <a:moveTo>
                  <a:pt x="17" y="60"/>
                </a:moveTo>
                <a:cubicBezTo>
                  <a:pt x="17" y="24"/>
                  <a:pt x="17" y="24"/>
                  <a:pt x="17" y="24"/>
                </a:cubicBezTo>
                <a:cubicBezTo>
                  <a:pt x="25" y="23"/>
                  <a:pt x="25" y="23"/>
                  <a:pt x="25" y="23"/>
                </a:cubicBezTo>
                <a:cubicBezTo>
                  <a:pt x="25" y="23"/>
                  <a:pt x="26" y="26"/>
                  <a:pt x="27" y="26"/>
                </a:cubicBezTo>
                <a:cubicBezTo>
                  <a:pt x="27" y="26"/>
                  <a:pt x="28" y="24"/>
                  <a:pt x="28" y="22"/>
                </a:cubicBezTo>
                <a:cubicBezTo>
                  <a:pt x="28" y="21"/>
                  <a:pt x="28" y="20"/>
                  <a:pt x="28" y="18"/>
                </a:cubicBezTo>
                <a:cubicBezTo>
                  <a:pt x="28" y="17"/>
                  <a:pt x="28" y="15"/>
                  <a:pt x="28" y="14"/>
                </a:cubicBezTo>
                <a:cubicBezTo>
                  <a:pt x="27" y="11"/>
                  <a:pt x="25" y="9"/>
                  <a:pt x="22" y="9"/>
                </a:cubicBezTo>
                <a:cubicBezTo>
                  <a:pt x="20" y="9"/>
                  <a:pt x="19" y="9"/>
                  <a:pt x="18" y="10"/>
                </a:cubicBezTo>
                <a:cubicBezTo>
                  <a:pt x="17" y="11"/>
                  <a:pt x="16" y="12"/>
                  <a:pt x="16" y="13"/>
                </a:cubicBezTo>
                <a:cubicBezTo>
                  <a:pt x="8" y="60"/>
                  <a:pt x="8" y="60"/>
                  <a:pt x="8" y="60"/>
                </a:cubicBezTo>
                <a:lnTo>
                  <a:pt x="17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59" name="Freeform 33"/>
          <p:cNvSpPr>
            <a:spLocks noEditPoints="1" noChangeArrowheads="1"/>
          </p:cNvSpPr>
          <p:nvPr/>
        </p:nvSpPr>
        <p:spPr bwMode="auto">
          <a:xfrm>
            <a:off x="9698567" y="2319868"/>
            <a:ext cx="531284" cy="345017"/>
          </a:xfrm>
          <a:custGeom>
            <a:avLst/>
            <a:gdLst>
              <a:gd name="T0" fmla="*/ 852054730 w 116"/>
              <a:gd name="T1" fmla="*/ 320472800 h 75"/>
              <a:gd name="T2" fmla="*/ 816553738 w 116"/>
              <a:gd name="T3" fmla="*/ 225517130 h 75"/>
              <a:gd name="T4" fmla="*/ 769215646 w 116"/>
              <a:gd name="T5" fmla="*/ 237389176 h 75"/>
              <a:gd name="T6" fmla="*/ 544369159 w 116"/>
              <a:gd name="T7" fmla="*/ 213648533 h 75"/>
              <a:gd name="T8" fmla="*/ 544369159 w 116"/>
              <a:gd name="T9" fmla="*/ 344213443 h 75"/>
              <a:gd name="T10" fmla="*/ 934893814 w 116"/>
              <a:gd name="T11" fmla="*/ 106824267 h 75"/>
              <a:gd name="T12" fmla="*/ 852054730 w 116"/>
              <a:gd name="T13" fmla="*/ 344213443 h 75"/>
              <a:gd name="T14" fmla="*/ 82839084 w 116"/>
              <a:gd name="T15" fmla="*/ 272994965 h 75"/>
              <a:gd name="T16" fmla="*/ 343189999 w 116"/>
              <a:gd name="T17" fmla="*/ 427297067 h 75"/>
              <a:gd name="T18" fmla="*/ 213012824 w 116"/>
              <a:gd name="T19" fmla="*/ 545989930 h 75"/>
              <a:gd name="T20" fmla="*/ 118340076 w 116"/>
              <a:gd name="T21" fmla="*/ 498515545 h 75"/>
              <a:gd name="T22" fmla="*/ 295851907 w 116"/>
              <a:gd name="T23" fmla="*/ 545989930 h 75"/>
              <a:gd name="T24" fmla="*/ 47338091 w 116"/>
              <a:gd name="T25" fmla="*/ 569730573 h 75"/>
              <a:gd name="T26" fmla="*/ 35500992 w 116"/>
              <a:gd name="T27" fmla="*/ 569730573 h 75"/>
              <a:gd name="T28" fmla="*/ 0 w 116"/>
              <a:gd name="T29" fmla="*/ 735901271 h 75"/>
              <a:gd name="T30" fmla="*/ 11833664 w 116"/>
              <a:gd name="T31" fmla="*/ 747769867 h 75"/>
              <a:gd name="T32" fmla="*/ 307685572 w 116"/>
              <a:gd name="T33" fmla="*/ 866466180 h 75"/>
              <a:gd name="T34" fmla="*/ 331356335 w 116"/>
              <a:gd name="T35" fmla="*/ 890203373 h 75"/>
              <a:gd name="T36" fmla="*/ 1088738317 w 116"/>
              <a:gd name="T37" fmla="*/ 890203373 h 75"/>
              <a:gd name="T38" fmla="*/ 1088738317 w 116"/>
              <a:gd name="T39" fmla="*/ 747769867 h 75"/>
              <a:gd name="T40" fmla="*/ 1372756560 w 116"/>
              <a:gd name="T41" fmla="*/ 747769867 h 75"/>
              <a:gd name="T42" fmla="*/ 1372756560 w 116"/>
              <a:gd name="T43" fmla="*/ 652814197 h 75"/>
              <a:gd name="T44" fmla="*/ 1337255568 w 116"/>
              <a:gd name="T45" fmla="*/ 569730573 h 75"/>
              <a:gd name="T46" fmla="*/ 1242582820 w 116"/>
              <a:gd name="T47" fmla="*/ 545989930 h 75"/>
              <a:gd name="T48" fmla="*/ 1159743737 w 116"/>
              <a:gd name="T49" fmla="*/ 700292032 h 75"/>
              <a:gd name="T50" fmla="*/ 1076904653 w 116"/>
              <a:gd name="T51" fmla="*/ 545989930 h 75"/>
              <a:gd name="T52" fmla="*/ 852054730 w 116"/>
              <a:gd name="T53" fmla="*/ 534121334 h 75"/>
              <a:gd name="T54" fmla="*/ 816553738 w 116"/>
              <a:gd name="T55" fmla="*/ 593467765 h 75"/>
              <a:gd name="T56" fmla="*/ 757381982 w 116"/>
              <a:gd name="T57" fmla="*/ 795247702 h 75"/>
              <a:gd name="T58" fmla="*/ 757381982 w 116"/>
              <a:gd name="T59" fmla="*/ 617208408 h 75"/>
              <a:gd name="T60" fmla="*/ 710047326 w 116"/>
              <a:gd name="T61" fmla="*/ 569730573 h 75"/>
              <a:gd name="T62" fmla="*/ 662709234 w 116"/>
              <a:gd name="T63" fmla="*/ 569730573 h 75"/>
              <a:gd name="T64" fmla="*/ 674542899 w 116"/>
              <a:gd name="T65" fmla="*/ 640945600 h 75"/>
              <a:gd name="T66" fmla="*/ 579870151 w 116"/>
              <a:gd name="T67" fmla="*/ 593467765 h 75"/>
              <a:gd name="T68" fmla="*/ 544369159 w 116"/>
              <a:gd name="T69" fmla="*/ 534121334 h 75"/>
              <a:gd name="T70" fmla="*/ 390524655 w 116"/>
              <a:gd name="T71" fmla="*/ 569730573 h 75"/>
              <a:gd name="T72" fmla="*/ 1029566562 w 116"/>
              <a:gd name="T73" fmla="*/ 427297067 h 75"/>
              <a:gd name="T74" fmla="*/ 1289917477 w 116"/>
              <a:gd name="T75" fmla="*/ 249257772 h 75"/>
              <a:gd name="T76" fmla="*/ 1242582820 w 116"/>
              <a:gd name="T77" fmla="*/ 498515545 h 75"/>
              <a:gd name="T78" fmla="*/ 1159743737 w 116"/>
              <a:gd name="T79" fmla="*/ 545989930 h 75"/>
              <a:gd name="T80" fmla="*/ 1029566562 w 116"/>
              <a:gd name="T81" fmla="*/ 427297067 h 7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16"/>
              <a:gd name="T124" fmla="*/ 0 h 75"/>
              <a:gd name="T125" fmla="*/ 116 w 116"/>
              <a:gd name="T126" fmla="*/ 75 h 7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16" h="75">
                <a:moveTo>
                  <a:pt x="72" y="29"/>
                </a:moveTo>
                <a:cubicBezTo>
                  <a:pt x="72" y="28"/>
                  <a:pt x="72" y="28"/>
                  <a:pt x="72" y="27"/>
                </a:cubicBezTo>
                <a:cubicBezTo>
                  <a:pt x="72" y="19"/>
                  <a:pt x="72" y="19"/>
                  <a:pt x="72" y="19"/>
                </a:cubicBezTo>
                <a:cubicBezTo>
                  <a:pt x="71" y="19"/>
                  <a:pt x="70" y="19"/>
                  <a:pt x="69" y="19"/>
                </a:cubicBezTo>
                <a:cubicBezTo>
                  <a:pt x="68" y="14"/>
                  <a:pt x="68" y="14"/>
                  <a:pt x="68" y="14"/>
                </a:cubicBezTo>
                <a:cubicBezTo>
                  <a:pt x="65" y="20"/>
                  <a:pt x="65" y="20"/>
                  <a:pt x="65" y="20"/>
                </a:cubicBezTo>
                <a:cubicBezTo>
                  <a:pt x="60" y="21"/>
                  <a:pt x="56" y="22"/>
                  <a:pt x="47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27"/>
                  <a:pt x="46" y="27"/>
                  <a:pt x="46" y="27"/>
                </a:cubicBezTo>
                <a:cubicBezTo>
                  <a:pt x="46" y="28"/>
                  <a:pt x="46" y="28"/>
                  <a:pt x="46" y="29"/>
                </a:cubicBezTo>
                <a:cubicBezTo>
                  <a:pt x="38" y="23"/>
                  <a:pt x="41" y="20"/>
                  <a:pt x="39" y="9"/>
                </a:cubicBezTo>
                <a:cubicBezTo>
                  <a:pt x="44" y="0"/>
                  <a:pt x="75" y="0"/>
                  <a:pt x="79" y="9"/>
                </a:cubicBezTo>
                <a:cubicBezTo>
                  <a:pt x="78" y="17"/>
                  <a:pt x="79" y="24"/>
                  <a:pt x="72" y="29"/>
                </a:cubicBezTo>
                <a:cubicBezTo>
                  <a:pt x="72" y="29"/>
                  <a:pt x="72" y="29"/>
                  <a:pt x="72" y="29"/>
                </a:cubicBezTo>
                <a:close/>
                <a:moveTo>
                  <a:pt x="7" y="36"/>
                </a:moveTo>
                <a:cubicBezTo>
                  <a:pt x="7" y="30"/>
                  <a:pt x="7" y="27"/>
                  <a:pt x="7" y="23"/>
                </a:cubicBezTo>
                <a:cubicBezTo>
                  <a:pt x="17" y="25"/>
                  <a:pt x="20" y="16"/>
                  <a:pt x="29" y="23"/>
                </a:cubicBezTo>
                <a:cubicBezTo>
                  <a:pt x="30" y="27"/>
                  <a:pt x="29" y="32"/>
                  <a:pt x="29" y="36"/>
                </a:cubicBezTo>
                <a:cubicBezTo>
                  <a:pt x="28" y="38"/>
                  <a:pt x="27" y="40"/>
                  <a:pt x="26" y="42"/>
                </a:cubicBezTo>
                <a:cubicBezTo>
                  <a:pt x="24" y="44"/>
                  <a:pt x="21" y="46"/>
                  <a:pt x="18" y="46"/>
                </a:cubicBezTo>
                <a:cubicBezTo>
                  <a:pt x="18" y="46"/>
                  <a:pt x="18" y="46"/>
                  <a:pt x="18" y="46"/>
                </a:cubicBezTo>
                <a:cubicBezTo>
                  <a:pt x="15" y="46"/>
                  <a:pt x="12" y="44"/>
                  <a:pt x="10" y="42"/>
                </a:cubicBezTo>
                <a:cubicBezTo>
                  <a:pt x="9" y="40"/>
                  <a:pt x="8" y="38"/>
                  <a:pt x="7" y="36"/>
                </a:cubicBezTo>
                <a:close/>
                <a:moveTo>
                  <a:pt x="25" y="46"/>
                </a:moveTo>
                <a:cubicBezTo>
                  <a:pt x="22" y="52"/>
                  <a:pt x="14" y="52"/>
                  <a:pt x="11" y="46"/>
                </a:cubicBezTo>
                <a:cubicBezTo>
                  <a:pt x="4" y="48"/>
                  <a:pt x="4" y="48"/>
                  <a:pt x="4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2" y="50"/>
                  <a:pt x="1" y="52"/>
                  <a:pt x="0" y="54"/>
                </a:cubicBezTo>
                <a:cubicBezTo>
                  <a:pt x="0" y="56"/>
                  <a:pt x="0" y="58"/>
                  <a:pt x="0" y="62"/>
                </a:cubicBezTo>
                <a:cubicBezTo>
                  <a:pt x="0" y="63"/>
                  <a:pt x="0" y="63"/>
                  <a:pt x="0" y="63"/>
                </a:cubicBezTo>
                <a:cubicBezTo>
                  <a:pt x="1" y="63"/>
                  <a:pt x="1" y="63"/>
                  <a:pt x="1" y="63"/>
                </a:cubicBezTo>
                <a:cubicBezTo>
                  <a:pt x="25" y="63"/>
                  <a:pt x="25" y="63"/>
                  <a:pt x="25" y="63"/>
                </a:cubicBezTo>
                <a:cubicBezTo>
                  <a:pt x="25" y="66"/>
                  <a:pt x="25" y="69"/>
                  <a:pt x="26" y="73"/>
                </a:cubicBezTo>
                <a:cubicBezTo>
                  <a:pt x="26" y="75"/>
                  <a:pt x="26" y="75"/>
                  <a:pt x="26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92" y="75"/>
                  <a:pt x="92" y="75"/>
                  <a:pt x="92" y="75"/>
                </a:cubicBezTo>
                <a:cubicBezTo>
                  <a:pt x="92" y="73"/>
                  <a:pt x="92" y="73"/>
                  <a:pt x="92" y="73"/>
                </a:cubicBezTo>
                <a:cubicBezTo>
                  <a:pt x="92" y="69"/>
                  <a:pt x="93" y="66"/>
                  <a:pt x="92" y="63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16" y="63"/>
                  <a:pt x="116" y="63"/>
                  <a:pt x="116" y="63"/>
                </a:cubicBezTo>
                <a:cubicBezTo>
                  <a:pt x="116" y="62"/>
                  <a:pt x="116" y="62"/>
                  <a:pt x="116" y="62"/>
                </a:cubicBezTo>
                <a:cubicBezTo>
                  <a:pt x="116" y="59"/>
                  <a:pt x="116" y="57"/>
                  <a:pt x="116" y="55"/>
                </a:cubicBezTo>
                <a:cubicBezTo>
                  <a:pt x="115" y="52"/>
                  <a:pt x="115" y="50"/>
                  <a:pt x="113" y="49"/>
                </a:cubicBezTo>
                <a:cubicBezTo>
                  <a:pt x="113" y="48"/>
                  <a:pt x="113" y="48"/>
                  <a:pt x="113" y="48"/>
                </a:cubicBezTo>
                <a:cubicBezTo>
                  <a:pt x="113" y="48"/>
                  <a:pt x="113" y="48"/>
                  <a:pt x="113" y="48"/>
                </a:cubicBezTo>
                <a:cubicBezTo>
                  <a:pt x="105" y="46"/>
                  <a:pt x="105" y="46"/>
                  <a:pt x="105" y="46"/>
                </a:cubicBezTo>
                <a:cubicBezTo>
                  <a:pt x="103" y="47"/>
                  <a:pt x="103" y="47"/>
                  <a:pt x="103" y="47"/>
                </a:cubicBezTo>
                <a:cubicBezTo>
                  <a:pt x="98" y="59"/>
                  <a:pt x="98" y="59"/>
                  <a:pt x="98" y="59"/>
                </a:cubicBezTo>
                <a:cubicBezTo>
                  <a:pt x="92" y="47"/>
                  <a:pt x="92" y="47"/>
                  <a:pt x="92" y="47"/>
                </a:cubicBezTo>
                <a:cubicBezTo>
                  <a:pt x="91" y="46"/>
                  <a:pt x="91" y="46"/>
                  <a:pt x="91" y="46"/>
                </a:cubicBezTo>
                <a:cubicBezTo>
                  <a:pt x="84" y="48"/>
                  <a:pt x="84" y="48"/>
                  <a:pt x="84" y="48"/>
                </a:cubicBezTo>
                <a:cubicBezTo>
                  <a:pt x="72" y="45"/>
                  <a:pt x="72" y="45"/>
                  <a:pt x="72" y="45"/>
                </a:cubicBezTo>
                <a:cubicBezTo>
                  <a:pt x="69" y="47"/>
                  <a:pt x="69" y="47"/>
                  <a:pt x="69" y="47"/>
                </a:cubicBezTo>
                <a:cubicBezTo>
                  <a:pt x="69" y="50"/>
                  <a:pt x="69" y="50"/>
                  <a:pt x="69" y="50"/>
                </a:cubicBezTo>
                <a:cubicBezTo>
                  <a:pt x="64" y="67"/>
                  <a:pt x="64" y="67"/>
                  <a:pt x="64" y="67"/>
                </a:cubicBezTo>
                <a:cubicBezTo>
                  <a:pt x="64" y="67"/>
                  <a:pt x="64" y="67"/>
                  <a:pt x="64" y="67"/>
                </a:cubicBezTo>
                <a:cubicBezTo>
                  <a:pt x="61" y="54"/>
                  <a:pt x="61" y="54"/>
                  <a:pt x="61" y="54"/>
                </a:cubicBezTo>
                <a:cubicBezTo>
                  <a:pt x="64" y="52"/>
                  <a:pt x="64" y="52"/>
                  <a:pt x="64" y="52"/>
                </a:cubicBezTo>
                <a:cubicBezTo>
                  <a:pt x="62" y="48"/>
                  <a:pt x="62" y="48"/>
                  <a:pt x="62" y="48"/>
                </a:cubicBezTo>
                <a:cubicBezTo>
                  <a:pt x="60" y="48"/>
                  <a:pt x="60" y="48"/>
                  <a:pt x="60" y="48"/>
                </a:cubicBezTo>
                <a:cubicBezTo>
                  <a:pt x="58" y="48"/>
                  <a:pt x="58" y="48"/>
                  <a:pt x="58" y="48"/>
                </a:cubicBezTo>
                <a:cubicBezTo>
                  <a:pt x="56" y="48"/>
                  <a:pt x="56" y="48"/>
                  <a:pt x="56" y="48"/>
                </a:cubicBezTo>
                <a:cubicBezTo>
                  <a:pt x="55" y="52"/>
                  <a:pt x="55" y="52"/>
                  <a:pt x="55" y="52"/>
                </a:cubicBezTo>
                <a:cubicBezTo>
                  <a:pt x="57" y="54"/>
                  <a:pt x="57" y="54"/>
                  <a:pt x="57" y="54"/>
                </a:cubicBezTo>
                <a:cubicBezTo>
                  <a:pt x="54" y="67"/>
                  <a:pt x="54" y="67"/>
                  <a:pt x="54" y="67"/>
                </a:cubicBezTo>
                <a:cubicBezTo>
                  <a:pt x="49" y="50"/>
                  <a:pt x="49" y="50"/>
                  <a:pt x="49" y="50"/>
                </a:cubicBezTo>
                <a:cubicBezTo>
                  <a:pt x="49" y="47"/>
                  <a:pt x="49" y="47"/>
                  <a:pt x="49" y="47"/>
                </a:cubicBezTo>
                <a:cubicBezTo>
                  <a:pt x="46" y="45"/>
                  <a:pt x="46" y="45"/>
                  <a:pt x="46" y="45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25" y="46"/>
                  <a:pt x="25" y="46"/>
                  <a:pt x="25" y="46"/>
                </a:cubicBezTo>
                <a:close/>
                <a:moveTo>
                  <a:pt x="87" y="36"/>
                </a:moveTo>
                <a:cubicBezTo>
                  <a:pt x="86" y="30"/>
                  <a:pt x="86" y="25"/>
                  <a:pt x="87" y="21"/>
                </a:cubicBezTo>
                <a:cubicBezTo>
                  <a:pt x="91" y="18"/>
                  <a:pt x="106" y="18"/>
                  <a:pt x="109" y="21"/>
                </a:cubicBezTo>
                <a:cubicBezTo>
                  <a:pt x="109" y="26"/>
                  <a:pt x="109" y="32"/>
                  <a:pt x="108" y="36"/>
                </a:cubicBezTo>
                <a:cubicBezTo>
                  <a:pt x="108" y="38"/>
                  <a:pt x="107" y="40"/>
                  <a:pt x="105" y="42"/>
                </a:cubicBezTo>
                <a:cubicBezTo>
                  <a:pt x="103" y="44"/>
                  <a:pt x="101" y="46"/>
                  <a:pt x="98" y="46"/>
                </a:cubicBezTo>
                <a:cubicBezTo>
                  <a:pt x="98" y="46"/>
                  <a:pt x="98" y="46"/>
                  <a:pt x="98" y="46"/>
                </a:cubicBezTo>
                <a:cubicBezTo>
                  <a:pt x="95" y="46"/>
                  <a:pt x="92" y="44"/>
                  <a:pt x="90" y="42"/>
                </a:cubicBezTo>
                <a:cubicBezTo>
                  <a:pt x="88" y="40"/>
                  <a:pt x="87" y="38"/>
                  <a:pt x="87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0" name="Freeform 34"/>
          <p:cNvSpPr>
            <a:spLocks noEditPoints="1" noChangeArrowheads="1"/>
          </p:cNvSpPr>
          <p:nvPr/>
        </p:nvSpPr>
        <p:spPr bwMode="auto">
          <a:xfrm>
            <a:off x="7255934" y="3928534"/>
            <a:ext cx="306917" cy="484717"/>
          </a:xfrm>
          <a:custGeom>
            <a:avLst/>
            <a:gdLst>
              <a:gd name="T0" fmla="*/ 674760048 w 67"/>
              <a:gd name="T1" fmla="*/ 117374760 h 106"/>
              <a:gd name="T2" fmla="*/ 733949285 w 67"/>
              <a:gd name="T3" fmla="*/ 598613331 h 106"/>
              <a:gd name="T4" fmla="*/ 603731589 w 67"/>
              <a:gd name="T5" fmla="*/ 762935937 h 106"/>
              <a:gd name="T6" fmla="*/ 651085040 w 67"/>
              <a:gd name="T7" fmla="*/ 762935937 h 106"/>
              <a:gd name="T8" fmla="*/ 674760048 w 67"/>
              <a:gd name="T9" fmla="*/ 856838488 h 106"/>
              <a:gd name="T10" fmla="*/ 662920826 w 67"/>
              <a:gd name="T11" fmla="*/ 927261972 h 106"/>
              <a:gd name="T12" fmla="*/ 674760048 w 67"/>
              <a:gd name="T13" fmla="*/ 1009424990 h 106"/>
              <a:gd name="T14" fmla="*/ 651085040 w 67"/>
              <a:gd name="T15" fmla="*/ 1091588007 h 106"/>
              <a:gd name="T16" fmla="*/ 177567710 w 67"/>
              <a:gd name="T17" fmla="*/ 1138535854 h 106"/>
              <a:gd name="T18" fmla="*/ 142053481 w 67"/>
              <a:gd name="T19" fmla="*/ 1103324112 h 106"/>
              <a:gd name="T20" fmla="*/ 142053481 w 67"/>
              <a:gd name="T21" fmla="*/ 974213248 h 106"/>
              <a:gd name="T22" fmla="*/ 142053481 w 67"/>
              <a:gd name="T23" fmla="*/ 962473714 h 106"/>
              <a:gd name="T24" fmla="*/ 142053481 w 67"/>
              <a:gd name="T25" fmla="*/ 833362851 h 106"/>
              <a:gd name="T26" fmla="*/ 165731924 w 67"/>
              <a:gd name="T27" fmla="*/ 809887213 h 106"/>
              <a:gd name="T28" fmla="*/ 189406932 w 67"/>
              <a:gd name="T29" fmla="*/ 727724195 h 106"/>
              <a:gd name="T30" fmla="*/ 0 w 67"/>
              <a:gd name="T31" fmla="*/ 399075554 h 106"/>
              <a:gd name="T32" fmla="*/ 390649650 w 67"/>
              <a:gd name="T33" fmla="*/ 0 h 106"/>
              <a:gd name="T34" fmla="*/ 331460413 w 67"/>
              <a:gd name="T35" fmla="*/ 469499038 h 106"/>
              <a:gd name="T36" fmla="*/ 355135421 w 67"/>
              <a:gd name="T37" fmla="*/ 457762934 h 106"/>
              <a:gd name="T38" fmla="*/ 390649650 w 67"/>
              <a:gd name="T39" fmla="*/ 481238572 h 106"/>
              <a:gd name="T40" fmla="*/ 426163879 w 67"/>
              <a:gd name="T41" fmla="*/ 457762934 h 106"/>
              <a:gd name="T42" fmla="*/ 461678108 w 67"/>
              <a:gd name="T43" fmla="*/ 481238572 h 106"/>
              <a:gd name="T44" fmla="*/ 509028123 w 67"/>
              <a:gd name="T45" fmla="*/ 446023400 h 106"/>
              <a:gd name="T46" fmla="*/ 461678108 w 67"/>
              <a:gd name="T47" fmla="*/ 598613331 h 106"/>
              <a:gd name="T48" fmla="*/ 520867345 w 67"/>
              <a:gd name="T49" fmla="*/ 774675471 h 106"/>
              <a:gd name="T50" fmla="*/ 520867345 w 67"/>
              <a:gd name="T51" fmla="*/ 680776349 h 106"/>
              <a:gd name="T52" fmla="*/ 662920826 w 67"/>
              <a:gd name="T53" fmla="*/ 551662056 h 106"/>
              <a:gd name="T54" fmla="*/ 615570811 w 67"/>
              <a:gd name="T55" fmla="*/ 176062139 h 106"/>
              <a:gd name="T56" fmla="*/ 165731924 w 67"/>
              <a:gd name="T57" fmla="*/ 176062139 h 106"/>
              <a:gd name="T58" fmla="*/ 130217695 w 67"/>
              <a:gd name="T59" fmla="*/ 551662056 h 106"/>
              <a:gd name="T60" fmla="*/ 272271176 w 67"/>
              <a:gd name="T61" fmla="*/ 680776349 h 106"/>
              <a:gd name="T62" fmla="*/ 272271176 w 67"/>
              <a:gd name="T63" fmla="*/ 786411575 h 106"/>
              <a:gd name="T64" fmla="*/ 343299635 w 67"/>
              <a:gd name="T65" fmla="*/ 598613331 h 106"/>
              <a:gd name="T66" fmla="*/ 295946184 w 67"/>
              <a:gd name="T67" fmla="*/ 446023400 h 106"/>
              <a:gd name="T68" fmla="*/ 473513894 w 67"/>
              <a:gd name="T69" fmla="*/ 492974676 h 106"/>
              <a:gd name="T70" fmla="*/ 426163879 w 67"/>
              <a:gd name="T71" fmla="*/ 481238572 h 106"/>
              <a:gd name="T72" fmla="*/ 355135421 w 67"/>
              <a:gd name="T73" fmla="*/ 481238572 h 106"/>
              <a:gd name="T74" fmla="*/ 319624627 w 67"/>
              <a:gd name="T75" fmla="*/ 492974676 h 106"/>
              <a:gd name="T76" fmla="*/ 378813864 w 67"/>
              <a:gd name="T77" fmla="*/ 586873798 h 106"/>
              <a:gd name="T78" fmla="*/ 378813864 w 67"/>
              <a:gd name="T79" fmla="*/ 786411575 h 106"/>
              <a:gd name="T80" fmla="*/ 414324657 w 67"/>
              <a:gd name="T81" fmla="*/ 598613331 h 106"/>
              <a:gd name="T82" fmla="*/ 414324657 w 67"/>
              <a:gd name="T83" fmla="*/ 586873798 h 106"/>
              <a:gd name="T84" fmla="*/ 509028123 w 67"/>
              <a:gd name="T85" fmla="*/ 1126799749 h 106"/>
              <a:gd name="T86" fmla="*/ 402488871 w 67"/>
              <a:gd name="T87" fmla="*/ 1244174509 h 106"/>
              <a:gd name="T88" fmla="*/ 509028123 w 67"/>
              <a:gd name="T89" fmla="*/ 1126799749 h 106"/>
              <a:gd name="T90" fmla="*/ 201242718 w 67"/>
              <a:gd name="T91" fmla="*/ 1032900628 h 106"/>
              <a:gd name="T92" fmla="*/ 201242718 w 67"/>
              <a:gd name="T93" fmla="*/ 1044636732 h 106"/>
              <a:gd name="T94" fmla="*/ 591895803 w 67"/>
              <a:gd name="T95" fmla="*/ 1009424990 h 106"/>
              <a:gd name="T96" fmla="*/ 591895803 w 67"/>
              <a:gd name="T97" fmla="*/ 856838488 h 106"/>
              <a:gd name="T98" fmla="*/ 201242718 w 67"/>
              <a:gd name="T99" fmla="*/ 892050230 h 106"/>
              <a:gd name="T100" fmla="*/ 591895803 w 67"/>
              <a:gd name="T101" fmla="*/ 868574592 h 106"/>
              <a:gd name="T102" fmla="*/ 591895803 w 67"/>
              <a:gd name="T103" fmla="*/ 856838488 h 10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67"/>
              <a:gd name="T157" fmla="*/ 0 h 106"/>
              <a:gd name="T158" fmla="*/ 67 w 67"/>
              <a:gd name="T159" fmla="*/ 106 h 10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67" h="106">
                <a:moveTo>
                  <a:pt x="33" y="0"/>
                </a:moveTo>
                <a:cubicBezTo>
                  <a:pt x="43" y="0"/>
                  <a:pt x="51" y="4"/>
                  <a:pt x="57" y="10"/>
                </a:cubicBezTo>
                <a:cubicBezTo>
                  <a:pt x="63" y="16"/>
                  <a:pt x="67" y="24"/>
                  <a:pt x="67" y="34"/>
                </a:cubicBezTo>
                <a:cubicBezTo>
                  <a:pt x="67" y="40"/>
                  <a:pt x="65" y="46"/>
                  <a:pt x="62" y="51"/>
                </a:cubicBezTo>
                <a:cubicBezTo>
                  <a:pt x="59" y="55"/>
                  <a:pt x="56" y="59"/>
                  <a:pt x="51" y="62"/>
                </a:cubicBezTo>
                <a:cubicBezTo>
                  <a:pt x="51" y="65"/>
                  <a:pt x="51" y="65"/>
                  <a:pt x="51" y="65"/>
                </a:cubicBezTo>
                <a:cubicBezTo>
                  <a:pt x="52" y="65"/>
                  <a:pt x="52" y="65"/>
                  <a:pt x="52" y="65"/>
                </a:cubicBezTo>
                <a:cubicBezTo>
                  <a:pt x="55" y="65"/>
                  <a:pt x="55" y="65"/>
                  <a:pt x="55" y="65"/>
                </a:cubicBezTo>
                <a:cubicBezTo>
                  <a:pt x="56" y="67"/>
                  <a:pt x="56" y="67"/>
                  <a:pt x="56" y="67"/>
                </a:cubicBezTo>
                <a:cubicBezTo>
                  <a:pt x="57" y="69"/>
                  <a:pt x="57" y="71"/>
                  <a:pt x="57" y="73"/>
                </a:cubicBezTo>
                <a:cubicBezTo>
                  <a:pt x="57" y="75"/>
                  <a:pt x="57" y="77"/>
                  <a:pt x="56" y="79"/>
                </a:cubicBezTo>
                <a:cubicBezTo>
                  <a:pt x="56" y="79"/>
                  <a:pt x="56" y="79"/>
                  <a:pt x="56" y="79"/>
                </a:cubicBezTo>
                <a:cubicBezTo>
                  <a:pt x="56" y="80"/>
                  <a:pt x="56" y="80"/>
                  <a:pt x="56" y="80"/>
                </a:cubicBezTo>
                <a:cubicBezTo>
                  <a:pt x="57" y="82"/>
                  <a:pt x="57" y="84"/>
                  <a:pt x="57" y="86"/>
                </a:cubicBezTo>
                <a:cubicBezTo>
                  <a:pt x="57" y="88"/>
                  <a:pt x="57" y="89"/>
                  <a:pt x="56" y="91"/>
                </a:cubicBezTo>
                <a:cubicBezTo>
                  <a:pt x="55" y="93"/>
                  <a:pt x="55" y="93"/>
                  <a:pt x="55" y="93"/>
                </a:cubicBezTo>
                <a:cubicBezTo>
                  <a:pt x="53" y="93"/>
                  <a:pt x="53" y="93"/>
                  <a:pt x="53" y="93"/>
                </a:cubicBezTo>
                <a:cubicBezTo>
                  <a:pt x="15" y="97"/>
                  <a:pt x="15" y="97"/>
                  <a:pt x="15" y="97"/>
                </a:cubicBezTo>
                <a:cubicBezTo>
                  <a:pt x="12" y="97"/>
                  <a:pt x="12" y="97"/>
                  <a:pt x="12" y="97"/>
                </a:cubicBezTo>
                <a:cubicBezTo>
                  <a:pt x="12" y="94"/>
                  <a:pt x="12" y="94"/>
                  <a:pt x="12" y="94"/>
                </a:cubicBezTo>
                <a:cubicBezTo>
                  <a:pt x="11" y="93"/>
                  <a:pt x="10" y="91"/>
                  <a:pt x="10" y="89"/>
                </a:cubicBezTo>
                <a:cubicBezTo>
                  <a:pt x="10" y="87"/>
                  <a:pt x="11" y="85"/>
                  <a:pt x="12" y="83"/>
                </a:cubicBezTo>
                <a:cubicBezTo>
                  <a:pt x="12" y="83"/>
                  <a:pt x="12" y="83"/>
                  <a:pt x="12" y="83"/>
                </a:cubicBezTo>
                <a:cubicBezTo>
                  <a:pt x="12" y="82"/>
                  <a:pt x="12" y="82"/>
                  <a:pt x="12" y="82"/>
                </a:cubicBezTo>
                <a:cubicBezTo>
                  <a:pt x="11" y="80"/>
                  <a:pt x="10" y="79"/>
                  <a:pt x="10" y="77"/>
                </a:cubicBezTo>
                <a:cubicBezTo>
                  <a:pt x="10" y="75"/>
                  <a:pt x="11" y="73"/>
                  <a:pt x="12" y="71"/>
                </a:cubicBezTo>
                <a:cubicBezTo>
                  <a:pt x="13" y="69"/>
                  <a:pt x="13" y="69"/>
                  <a:pt x="13" y="69"/>
                </a:cubicBezTo>
                <a:cubicBezTo>
                  <a:pt x="14" y="69"/>
                  <a:pt x="14" y="69"/>
                  <a:pt x="14" y="69"/>
                </a:cubicBezTo>
                <a:cubicBezTo>
                  <a:pt x="16" y="69"/>
                  <a:pt x="16" y="69"/>
                  <a:pt x="16" y="69"/>
                </a:cubicBezTo>
                <a:cubicBezTo>
                  <a:pt x="16" y="62"/>
                  <a:pt x="16" y="62"/>
                  <a:pt x="16" y="62"/>
                </a:cubicBezTo>
                <a:cubicBezTo>
                  <a:pt x="11" y="60"/>
                  <a:pt x="7" y="56"/>
                  <a:pt x="5" y="51"/>
                </a:cubicBezTo>
                <a:cubicBezTo>
                  <a:pt x="1" y="46"/>
                  <a:pt x="0" y="40"/>
                  <a:pt x="0" y="34"/>
                </a:cubicBezTo>
                <a:cubicBezTo>
                  <a:pt x="0" y="24"/>
                  <a:pt x="3" y="16"/>
                  <a:pt x="10" y="10"/>
                </a:cubicBezTo>
                <a:cubicBezTo>
                  <a:pt x="16" y="4"/>
                  <a:pt x="24" y="0"/>
                  <a:pt x="33" y="0"/>
                </a:cubicBezTo>
                <a:close/>
                <a:moveTo>
                  <a:pt x="26" y="40"/>
                </a:moveTo>
                <a:cubicBezTo>
                  <a:pt x="26" y="40"/>
                  <a:pt x="27" y="40"/>
                  <a:pt x="28" y="40"/>
                </a:cubicBezTo>
                <a:cubicBezTo>
                  <a:pt x="28" y="40"/>
                  <a:pt x="29" y="40"/>
                  <a:pt x="30" y="40"/>
                </a:cubicBezTo>
                <a:cubicBezTo>
                  <a:pt x="30" y="39"/>
                  <a:pt x="30" y="39"/>
                  <a:pt x="30" y="39"/>
                </a:cubicBezTo>
                <a:cubicBezTo>
                  <a:pt x="31" y="40"/>
                  <a:pt x="31" y="40"/>
                  <a:pt x="31" y="40"/>
                </a:cubicBezTo>
                <a:cubicBezTo>
                  <a:pt x="32" y="40"/>
                  <a:pt x="32" y="41"/>
                  <a:pt x="33" y="41"/>
                </a:cubicBezTo>
                <a:cubicBezTo>
                  <a:pt x="34" y="41"/>
                  <a:pt x="35" y="40"/>
                  <a:pt x="35" y="40"/>
                </a:cubicBezTo>
                <a:cubicBezTo>
                  <a:pt x="36" y="39"/>
                  <a:pt x="36" y="39"/>
                  <a:pt x="36" y="39"/>
                </a:cubicBezTo>
                <a:cubicBezTo>
                  <a:pt x="36" y="40"/>
                  <a:pt x="36" y="40"/>
                  <a:pt x="36" y="40"/>
                </a:cubicBezTo>
                <a:cubicBezTo>
                  <a:pt x="37" y="41"/>
                  <a:pt x="38" y="41"/>
                  <a:pt x="39" y="41"/>
                </a:cubicBezTo>
                <a:cubicBezTo>
                  <a:pt x="40" y="41"/>
                  <a:pt x="41" y="40"/>
                  <a:pt x="42" y="40"/>
                </a:cubicBezTo>
                <a:cubicBezTo>
                  <a:pt x="43" y="38"/>
                  <a:pt x="43" y="38"/>
                  <a:pt x="43" y="38"/>
                </a:cubicBezTo>
                <a:cubicBezTo>
                  <a:pt x="46" y="40"/>
                  <a:pt x="46" y="40"/>
                  <a:pt x="46" y="40"/>
                </a:cubicBezTo>
                <a:cubicBezTo>
                  <a:pt x="39" y="51"/>
                  <a:pt x="39" y="51"/>
                  <a:pt x="39" y="51"/>
                </a:cubicBezTo>
                <a:cubicBezTo>
                  <a:pt x="39" y="67"/>
                  <a:pt x="39" y="67"/>
                  <a:pt x="39" y="67"/>
                </a:cubicBezTo>
                <a:cubicBezTo>
                  <a:pt x="44" y="66"/>
                  <a:pt x="44" y="66"/>
                  <a:pt x="44" y="66"/>
                </a:cubicBezTo>
                <a:cubicBezTo>
                  <a:pt x="44" y="60"/>
                  <a:pt x="44" y="60"/>
                  <a:pt x="44" y="60"/>
                </a:cubicBezTo>
                <a:cubicBezTo>
                  <a:pt x="44" y="58"/>
                  <a:pt x="44" y="58"/>
                  <a:pt x="44" y="58"/>
                </a:cubicBezTo>
                <a:cubicBezTo>
                  <a:pt x="46" y="57"/>
                  <a:pt x="46" y="57"/>
                  <a:pt x="46" y="57"/>
                </a:cubicBezTo>
                <a:cubicBezTo>
                  <a:pt x="50" y="55"/>
                  <a:pt x="54" y="51"/>
                  <a:pt x="56" y="47"/>
                </a:cubicBezTo>
                <a:cubicBezTo>
                  <a:pt x="58" y="43"/>
                  <a:pt x="60" y="39"/>
                  <a:pt x="60" y="34"/>
                </a:cubicBezTo>
                <a:cubicBezTo>
                  <a:pt x="60" y="26"/>
                  <a:pt x="57" y="20"/>
                  <a:pt x="52" y="15"/>
                </a:cubicBezTo>
                <a:cubicBezTo>
                  <a:pt x="47" y="10"/>
                  <a:pt x="41" y="7"/>
                  <a:pt x="33" y="7"/>
                </a:cubicBezTo>
                <a:cubicBezTo>
                  <a:pt x="26" y="7"/>
                  <a:pt x="19" y="10"/>
                  <a:pt x="14" y="15"/>
                </a:cubicBezTo>
                <a:cubicBezTo>
                  <a:pt x="10" y="20"/>
                  <a:pt x="7" y="26"/>
                  <a:pt x="7" y="34"/>
                </a:cubicBezTo>
                <a:cubicBezTo>
                  <a:pt x="7" y="39"/>
                  <a:pt x="8" y="43"/>
                  <a:pt x="11" y="47"/>
                </a:cubicBezTo>
                <a:cubicBezTo>
                  <a:pt x="13" y="52"/>
                  <a:pt x="17" y="55"/>
                  <a:pt x="21" y="57"/>
                </a:cubicBezTo>
                <a:cubicBezTo>
                  <a:pt x="23" y="58"/>
                  <a:pt x="23" y="58"/>
                  <a:pt x="23" y="58"/>
                </a:cubicBezTo>
                <a:cubicBezTo>
                  <a:pt x="23" y="60"/>
                  <a:pt x="23" y="60"/>
                  <a:pt x="23" y="60"/>
                </a:cubicBezTo>
                <a:cubicBezTo>
                  <a:pt x="23" y="67"/>
                  <a:pt x="23" y="67"/>
                  <a:pt x="23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51"/>
                  <a:pt x="29" y="51"/>
                  <a:pt x="29" y="51"/>
                </a:cubicBezTo>
                <a:cubicBezTo>
                  <a:pt x="22" y="40"/>
                  <a:pt x="22" y="40"/>
                  <a:pt x="22" y="40"/>
                </a:cubicBezTo>
                <a:cubicBezTo>
                  <a:pt x="25" y="38"/>
                  <a:pt x="25" y="38"/>
                  <a:pt x="25" y="38"/>
                </a:cubicBezTo>
                <a:cubicBezTo>
                  <a:pt x="26" y="40"/>
                  <a:pt x="26" y="40"/>
                  <a:pt x="26" y="40"/>
                </a:cubicBezTo>
                <a:close/>
                <a:moveTo>
                  <a:pt x="40" y="42"/>
                </a:moveTo>
                <a:cubicBezTo>
                  <a:pt x="40" y="42"/>
                  <a:pt x="40" y="42"/>
                  <a:pt x="39" y="42"/>
                </a:cubicBezTo>
                <a:cubicBezTo>
                  <a:pt x="38" y="43"/>
                  <a:pt x="37" y="42"/>
                  <a:pt x="36" y="41"/>
                </a:cubicBezTo>
                <a:cubicBezTo>
                  <a:pt x="35" y="42"/>
                  <a:pt x="34" y="43"/>
                  <a:pt x="33" y="42"/>
                </a:cubicBezTo>
                <a:cubicBezTo>
                  <a:pt x="32" y="42"/>
                  <a:pt x="31" y="42"/>
                  <a:pt x="30" y="41"/>
                </a:cubicBezTo>
                <a:cubicBezTo>
                  <a:pt x="29" y="42"/>
                  <a:pt x="28" y="42"/>
                  <a:pt x="28" y="42"/>
                </a:cubicBezTo>
                <a:cubicBezTo>
                  <a:pt x="27" y="42"/>
                  <a:pt x="27" y="42"/>
                  <a:pt x="27" y="42"/>
                </a:cubicBezTo>
                <a:cubicBezTo>
                  <a:pt x="32" y="50"/>
                  <a:pt x="32" y="50"/>
                  <a:pt x="32" y="50"/>
                </a:cubicBezTo>
                <a:cubicBezTo>
                  <a:pt x="32" y="50"/>
                  <a:pt x="32" y="50"/>
                  <a:pt x="32" y="50"/>
                </a:cubicBezTo>
                <a:cubicBezTo>
                  <a:pt x="32" y="51"/>
                  <a:pt x="32" y="51"/>
                  <a:pt x="32" y="51"/>
                </a:cubicBezTo>
                <a:cubicBezTo>
                  <a:pt x="32" y="67"/>
                  <a:pt x="32" y="67"/>
                  <a:pt x="32" y="67"/>
                </a:cubicBezTo>
                <a:cubicBezTo>
                  <a:pt x="35" y="67"/>
                  <a:pt x="35" y="67"/>
                  <a:pt x="35" y="67"/>
                </a:cubicBezTo>
                <a:cubicBezTo>
                  <a:pt x="35" y="51"/>
                  <a:pt x="35" y="51"/>
                  <a:pt x="35" y="51"/>
                </a:cubicBezTo>
                <a:cubicBezTo>
                  <a:pt x="35" y="50"/>
                  <a:pt x="35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40" y="42"/>
                  <a:pt x="40" y="42"/>
                  <a:pt x="40" y="42"/>
                </a:cubicBezTo>
                <a:close/>
                <a:moveTo>
                  <a:pt x="43" y="96"/>
                </a:moveTo>
                <a:cubicBezTo>
                  <a:pt x="24" y="98"/>
                  <a:pt x="24" y="98"/>
                  <a:pt x="24" y="98"/>
                </a:cubicBezTo>
                <a:cubicBezTo>
                  <a:pt x="25" y="103"/>
                  <a:pt x="29" y="106"/>
                  <a:pt x="34" y="106"/>
                </a:cubicBezTo>
                <a:cubicBezTo>
                  <a:pt x="39" y="106"/>
                  <a:pt x="43" y="102"/>
                  <a:pt x="43" y="97"/>
                </a:cubicBezTo>
                <a:cubicBezTo>
                  <a:pt x="43" y="96"/>
                  <a:pt x="43" y="96"/>
                  <a:pt x="43" y="96"/>
                </a:cubicBezTo>
                <a:close/>
                <a:moveTo>
                  <a:pt x="50" y="85"/>
                </a:moveTo>
                <a:cubicBezTo>
                  <a:pt x="17" y="88"/>
                  <a:pt x="17" y="88"/>
                  <a:pt x="17" y="88"/>
                </a:cubicBezTo>
                <a:cubicBezTo>
                  <a:pt x="17" y="88"/>
                  <a:pt x="17" y="89"/>
                  <a:pt x="17" y="89"/>
                </a:cubicBezTo>
                <a:cubicBezTo>
                  <a:pt x="17" y="89"/>
                  <a:pt x="17" y="89"/>
                  <a:pt x="17" y="89"/>
                </a:cubicBezTo>
                <a:cubicBezTo>
                  <a:pt x="50" y="87"/>
                  <a:pt x="50" y="87"/>
                  <a:pt x="50" y="87"/>
                </a:cubicBezTo>
                <a:cubicBezTo>
                  <a:pt x="50" y="86"/>
                  <a:pt x="50" y="86"/>
                  <a:pt x="50" y="86"/>
                </a:cubicBezTo>
                <a:cubicBezTo>
                  <a:pt x="50" y="85"/>
                  <a:pt x="50" y="85"/>
                  <a:pt x="50" y="85"/>
                </a:cubicBezTo>
                <a:close/>
                <a:moveTo>
                  <a:pt x="50" y="73"/>
                </a:moveTo>
                <a:cubicBezTo>
                  <a:pt x="17" y="75"/>
                  <a:pt x="17" y="75"/>
                  <a:pt x="17" y="75"/>
                </a:cubicBezTo>
                <a:cubicBezTo>
                  <a:pt x="17" y="76"/>
                  <a:pt x="17" y="76"/>
                  <a:pt x="17" y="76"/>
                </a:cubicBezTo>
                <a:cubicBezTo>
                  <a:pt x="17" y="77"/>
                  <a:pt x="17" y="77"/>
                  <a:pt x="17" y="77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50" y="73"/>
                  <a:pt x="50" y="73"/>
                </a:cubicBezTo>
                <a:cubicBezTo>
                  <a:pt x="50" y="73"/>
                  <a:pt x="50" y="73"/>
                  <a:pt x="50" y="7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1" name="Freeform 35"/>
          <p:cNvSpPr>
            <a:spLocks noEditPoints="1" noChangeArrowheads="1"/>
          </p:cNvSpPr>
          <p:nvPr/>
        </p:nvSpPr>
        <p:spPr bwMode="auto">
          <a:xfrm>
            <a:off x="6301318" y="3989918"/>
            <a:ext cx="476249" cy="357716"/>
          </a:xfrm>
          <a:custGeom>
            <a:avLst/>
            <a:gdLst>
              <a:gd name="T0" fmla="*/ 188608474 w 104"/>
              <a:gd name="T1" fmla="*/ 23184751 h 79"/>
              <a:gd name="T2" fmla="*/ 318277658 w 104"/>
              <a:gd name="T3" fmla="*/ 46366106 h 79"/>
              <a:gd name="T4" fmla="*/ 223973421 w 104"/>
              <a:gd name="T5" fmla="*/ 556413654 h 79"/>
              <a:gd name="T6" fmla="*/ 47152118 w 104"/>
              <a:gd name="T7" fmla="*/ 521638225 h 79"/>
              <a:gd name="T8" fmla="*/ 188608474 w 104"/>
              <a:gd name="T9" fmla="*/ 23184751 h 79"/>
              <a:gd name="T10" fmla="*/ 212186250 w 104"/>
              <a:gd name="T11" fmla="*/ 753475549 h 79"/>
              <a:gd name="T12" fmla="*/ 188608474 w 104"/>
              <a:gd name="T13" fmla="*/ 834617085 h 79"/>
              <a:gd name="T14" fmla="*/ 1190593568 w 104"/>
              <a:gd name="T15" fmla="*/ 834617085 h 79"/>
              <a:gd name="T16" fmla="*/ 1225958515 w 104"/>
              <a:gd name="T17" fmla="*/ 834617085 h 79"/>
              <a:gd name="T18" fmla="*/ 1225958515 w 104"/>
              <a:gd name="T19" fmla="*/ 788250978 h 79"/>
              <a:gd name="T20" fmla="*/ 1225958515 w 104"/>
              <a:gd name="T21" fmla="*/ 301391578 h 79"/>
              <a:gd name="T22" fmla="*/ 1225958515 w 104"/>
              <a:gd name="T23" fmla="*/ 278206827 h 79"/>
              <a:gd name="T24" fmla="*/ 1214171344 w 104"/>
              <a:gd name="T25" fmla="*/ 266612753 h 79"/>
              <a:gd name="T26" fmla="*/ 1060924383 w 104"/>
              <a:gd name="T27" fmla="*/ 115920360 h 79"/>
              <a:gd name="T28" fmla="*/ 1049137212 w 104"/>
              <a:gd name="T29" fmla="*/ 104326287 h 79"/>
              <a:gd name="T30" fmla="*/ 1025562870 w 104"/>
              <a:gd name="T31" fmla="*/ 104326287 h 79"/>
              <a:gd name="T32" fmla="*/ 365429777 w 104"/>
              <a:gd name="T33" fmla="*/ 104326287 h 79"/>
              <a:gd name="T34" fmla="*/ 365429777 w 104"/>
              <a:gd name="T35" fmla="*/ 197061896 h 79"/>
              <a:gd name="T36" fmla="*/ 990197923 w 104"/>
              <a:gd name="T37" fmla="*/ 197061896 h 79"/>
              <a:gd name="T38" fmla="*/ 978410752 w 104"/>
              <a:gd name="T39" fmla="*/ 324572933 h 79"/>
              <a:gd name="T40" fmla="*/ 978410752 w 104"/>
              <a:gd name="T41" fmla="*/ 347757685 h 79"/>
              <a:gd name="T42" fmla="*/ 1001985094 w 104"/>
              <a:gd name="T43" fmla="*/ 347757685 h 79"/>
              <a:gd name="T44" fmla="*/ 1143441449 w 104"/>
              <a:gd name="T45" fmla="*/ 336167007 h 79"/>
              <a:gd name="T46" fmla="*/ 1143441449 w 104"/>
              <a:gd name="T47" fmla="*/ 753475549 h 79"/>
              <a:gd name="T48" fmla="*/ 212186250 w 104"/>
              <a:gd name="T49" fmla="*/ 753475549 h 79"/>
              <a:gd name="T50" fmla="*/ 1119867107 w 104"/>
              <a:gd name="T51" fmla="*/ 301391578 h 79"/>
              <a:gd name="T52" fmla="*/ 1013772265 w 104"/>
              <a:gd name="T53" fmla="*/ 301391578 h 79"/>
              <a:gd name="T54" fmla="*/ 1025562870 w 104"/>
              <a:gd name="T55" fmla="*/ 208655969 h 79"/>
              <a:gd name="T56" fmla="*/ 1119867107 w 104"/>
              <a:gd name="T57" fmla="*/ 301391578 h 79"/>
              <a:gd name="T58" fmla="*/ 377216948 w 104"/>
              <a:gd name="T59" fmla="*/ 498453474 h 79"/>
              <a:gd name="T60" fmla="*/ 872315909 w 104"/>
              <a:gd name="T61" fmla="*/ 498453474 h 79"/>
              <a:gd name="T62" fmla="*/ 872315909 w 104"/>
              <a:gd name="T63" fmla="*/ 521638225 h 79"/>
              <a:gd name="T64" fmla="*/ 377216948 w 104"/>
              <a:gd name="T65" fmla="*/ 521638225 h 79"/>
              <a:gd name="T66" fmla="*/ 377216948 w 104"/>
              <a:gd name="T67" fmla="*/ 498453474 h 79"/>
              <a:gd name="T68" fmla="*/ 377216948 w 104"/>
              <a:gd name="T69" fmla="*/ 370942436 h 79"/>
              <a:gd name="T70" fmla="*/ 836950962 w 104"/>
              <a:gd name="T71" fmla="*/ 370942436 h 79"/>
              <a:gd name="T72" fmla="*/ 836950962 w 104"/>
              <a:gd name="T73" fmla="*/ 405717865 h 79"/>
              <a:gd name="T74" fmla="*/ 377216948 w 104"/>
              <a:gd name="T75" fmla="*/ 405717865 h 79"/>
              <a:gd name="T76" fmla="*/ 377216948 w 104"/>
              <a:gd name="T77" fmla="*/ 370942436 h 79"/>
              <a:gd name="T78" fmla="*/ 377216948 w 104"/>
              <a:gd name="T79" fmla="*/ 255022076 h 79"/>
              <a:gd name="T80" fmla="*/ 836950962 w 104"/>
              <a:gd name="T81" fmla="*/ 255022076 h 79"/>
              <a:gd name="T82" fmla="*/ 836950962 w 104"/>
              <a:gd name="T83" fmla="*/ 289797505 h 79"/>
              <a:gd name="T84" fmla="*/ 377216948 w 104"/>
              <a:gd name="T85" fmla="*/ 289797505 h 79"/>
              <a:gd name="T86" fmla="*/ 377216948 w 104"/>
              <a:gd name="T87" fmla="*/ 255022076 h 79"/>
              <a:gd name="T88" fmla="*/ 35364947 w 104"/>
              <a:gd name="T89" fmla="*/ 765066227 h 79"/>
              <a:gd name="T90" fmla="*/ 106091408 w 104"/>
              <a:gd name="T91" fmla="*/ 788250978 h 79"/>
              <a:gd name="T92" fmla="*/ 106091408 w 104"/>
              <a:gd name="T93" fmla="*/ 857801836 h 79"/>
              <a:gd name="T94" fmla="*/ 58939289 w 104"/>
              <a:gd name="T95" fmla="*/ 915762016 h 79"/>
              <a:gd name="T96" fmla="*/ 23577776 w 104"/>
              <a:gd name="T97" fmla="*/ 904171338 h 79"/>
              <a:gd name="T98" fmla="*/ 0 w 104"/>
              <a:gd name="T99" fmla="*/ 834617085 h 79"/>
              <a:gd name="T100" fmla="*/ 35364947 w 104"/>
              <a:gd name="T101" fmla="*/ 765066227 h 79"/>
              <a:gd name="T102" fmla="*/ 47152118 w 104"/>
              <a:gd name="T103" fmla="*/ 556413654 h 79"/>
              <a:gd name="T104" fmla="*/ 23577776 w 104"/>
              <a:gd name="T105" fmla="*/ 753475549 h 79"/>
              <a:gd name="T106" fmla="*/ 141456355 w 104"/>
              <a:gd name="T107" fmla="*/ 776660301 h 79"/>
              <a:gd name="T108" fmla="*/ 200395645 w 104"/>
              <a:gd name="T109" fmla="*/ 591189083 h 79"/>
              <a:gd name="T110" fmla="*/ 47152118 w 104"/>
              <a:gd name="T111" fmla="*/ 556413654 h 7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04"/>
              <a:gd name="T169" fmla="*/ 0 h 79"/>
              <a:gd name="T170" fmla="*/ 104 w 104"/>
              <a:gd name="T171" fmla="*/ 79 h 7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04" h="79">
                <a:moveTo>
                  <a:pt x="16" y="2"/>
                </a:moveTo>
                <a:cubicBezTo>
                  <a:pt x="21" y="0"/>
                  <a:pt x="24" y="1"/>
                  <a:pt x="27" y="4"/>
                </a:cubicBezTo>
                <a:cubicBezTo>
                  <a:pt x="26" y="20"/>
                  <a:pt x="23" y="35"/>
                  <a:pt x="19" y="48"/>
                </a:cubicBezTo>
                <a:cubicBezTo>
                  <a:pt x="14" y="47"/>
                  <a:pt x="9" y="46"/>
                  <a:pt x="4" y="45"/>
                </a:cubicBezTo>
                <a:cubicBezTo>
                  <a:pt x="6" y="29"/>
                  <a:pt x="10" y="15"/>
                  <a:pt x="16" y="2"/>
                </a:cubicBezTo>
                <a:close/>
                <a:moveTo>
                  <a:pt x="18" y="65"/>
                </a:moveTo>
                <a:cubicBezTo>
                  <a:pt x="16" y="72"/>
                  <a:pt x="16" y="72"/>
                  <a:pt x="16" y="72"/>
                </a:cubicBezTo>
                <a:cubicBezTo>
                  <a:pt x="69" y="72"/>
                  <a:pt x="74" y="72"/>
                  <a:pt x="101" y="72"/>
                </a:cubicBezTo>
                <a:cubicBezTo>
                  <a:pt x="104" y="72"/>
                  <a:pt x="104" y="72"/>
                  <a:pt x="104" y="72"/>
                </a:cubicBezTo>
                <a:cubicBezTo>
                  <a:pt x="104" y="68"/>
                  <a:pt x="104" y="68"/>
                  <a:pt x="104" y="68"/>
                </a:cubicBezTo>
                <a:cubicBezTo>
                  <a:pt x="104" y="26"/>
                  <a:pt x="104" y="26"/>
                  <a:pt x="104" y="26"/>
                </a:cubicBezTo>
                <a:cubicBezTo>
                  <a:pt x="104" y="24"/>
                  <a:pt x="104" y="24"/>
                  <a:pt x="104" y="24"/>
                </a:cubicBezTo>
                <a:cubicBezTo>
                  <a:pt x="103" y="23"/>
                  <a:pt x="103" y="23"/>
                  <a:pt x="103" y="23"/>
                </a:cubicBezTo>
                <a:cubicBezTo>
                  <a:pt x="90" y="10"/>
                  <a:pt x="90" y="10"/>
                  <a:pt x="90" y="10"/>
                </a:cubicBezTo>
                <a:cubicBezTo>
                  <a:pt x="89" y="9"/>
                  <a:pt x="89" y="9"/>
                  <a:pt x="89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31" y="9"/>
                  <a:pt x="31" y="9"/>
                  <a:pt x="31" y="9"/>
                </a:cubicBezTo>
                <a:cubicBezTo>
                  <a:pt x="31" y="12"/>
                  <a:pt x="31" y="14"/>
                  <a:pt x="31" y="17"/>
                </a:cubicBezTo>
                <a:cubicBezTo>
                  <a:pt x="84" y="17"/>
                  <a:pt x="84" y="17"/>
                  <a:pt x="84" y="17"/>
                </a:cubicBezTo>
                <a:cubicBezTo>
                  <a:pt x="83" y="28"/>
                  <a:pt x="83" y="28"/>
                  <a:pt x="83" y="28"/>
                </a:cubicBezTo>
                <a:cubicBezTo>
                  <a:pt x="83" y="30"/>
                  <a:pt x="83" y="30"/>
                  <a:pt x="83" y="30"/>
                </a:cubicBezTo>
                <a:cubicBezTo>
                  <a:pt x="85" y="30"/>
                  <a:pt x="85" y="30"/>
                  <a:pt x="85" y="30"/>
                </a:cubicBezTo>
                <a:cubicBezTo>
                  <a:pt x="97" y="29"/>
                  <a:pt x="97" y="29"/>
                  <a:pt x="97" y="29"/>
                </a:cubicBezTo>
                <a:cubicBezTo>
                  <a:pt x="97" y="65"/>
                  <a:pt x="97" y="65"/>
                  <a:pt x="97" y="65"/>
                </a:cubicBezTo>
                <a:cubicBezTo>
                  <a:pt x="79" y="65"/>
                  <a:pt x="57" y="65"/>
                  <a:pt x="18" y="65"/>
                </a:cubicBezTo>
                <a:close/>
                <a:moveTo>
                  <a:pt x="95" y="26"/>
                </a:moveTo>
                <a:cubicBezTo>
                  <a:pt x="86" y="26"/>
                  <a:pt x="86" y="26"/>
                  <a:pt x="86" y="26"/>
                </a:cubicBezTo>
                <a:cubicBezTo>
                  <a:pt x="87" y="18"/>
                  <a:pt x="87" y="18"/>
                  <a:pt x="87" y="18"/>
                </a:cubicBezTo>
                <a:cubicBezTo>
                  <a:pt x="95" y="26"/>
                  <a:pt x="95" y="26"/>
                  <a:pt x="95" y="26"/>
                </a:cubicBezTo>
                <a:close/>
                <a:moveTo>
                  <a:pt x="32" y="43"/>
                </a:moveTo>
                <a:cubicBezTo>
                  <a:pt x="74" y="43"/>
                  <a:pt x="74" y="43"/>
                  <a:pt x="74" y="43"/>
                </a:cubicBezTo>
                <a:cubicBezTo>
                  <a:pt x="74" y="45"/>
                  <a:pt x="74" y="45"/>
                  <a:pt x="74" y="45"/>
                </a:cubicBezTo>
                <a:cubicBezTo>
                  <a:pt x="32" y="45"/>
                  <a:pt x="32" y="45"/>
                  <a:pt x="32" y="45"/>
                </a:cubicBezTo>
                <a:cubicBezTo>
                  <a:pt x="32" y="43"/>
                  <a:pt x="32" y="43"/>
                  <a:pt x="32" y="43"/>
                </a:cubicBezTo>
                <a:close/>
                <a:moveTo>
                  <a:pt x="32" y="32"/>
                </a:moveTo>
                <a:cubicBezTo>
                  <a:pt x="71" y="32"/>
                  <a:pt x="71" y="32"/>
                  <a:pt x="71" y="32"/>
                </a:cubicBezTo>
                <a:cubicBezTo>
                  <a:pt x="71" y="35"/>
                  <a:pt x="71" y="35"/>
                  <a:pt x="71" y="35"/>
                </a:cubicBezTo>
                <a:cubicBezTo>
                  <a:pt x="32" y="35"/>
                  <a:pt x="32" y="35"/>
                  <a:pt x="32" y="35"/>
                </a:cubicBezTo>
                <a:cubicBezTo>
                  <a:pt x="32" y="32"/>
                  <a:pt x="32" y="32"/>
                  <a:pt x="32" y="32"/>
                </a:cubicBezTo>
                <a:close/>
                <a:moveTo>
                  <a:pt x="32" y="22"/>
                </a:moveTo>
                <a:cubicBezTo>
                  <a:pt x="71" y="22"/>
                  <a:pt x="71" y="22"/>
                  <a:pt x="71" y="22"/>
                </a:cubicBezTo>
                <a:cubicBezTo>
                  <a:pt x="71" y="25"/>
                  <a:pt x="71" y="25"/>
                  <a:pt x="71" y="25"/>
                </a:cubicBezTo>
                <a:cubicBezTo>
                  <a:pt x="32" y="25"/>
                  <a:pt x="32" y="25"/>
                  <a:pt x="32" y="25"/>
                </a:cubicBezTo>
                <a:cubicBezTo>
                  <a:pt x="32" y="22"/>
                  <a:pt x="32" y="22"/>
                  <a:pt x="32" y="22"/>
                </a:cubicBezTo>
                <a:close/>
                <a:moveTo>
                  <a:pt x="3" y="66"/>
                </a:moveTo>
                <a:cubicBezTo>
                  <a:pt x="9" y="68"/>
                  <a:pt x="9" y="68"/>
                  <a:pt x="9" y="68"/>
                </a:cubicBezTo>
                <a:cubicBezTo>
                  <a:pt x="9" y="74"/>
                  <a:pt x="9" y="74"/>
                  <a:pt x="9" y="74"/>
                </a:cubicBezTo>
                <a:cubicBezTo>
                  <a:pt x="5" y="79"/>
                  <a:pt x="5" y="79"/>
                  <a:pt x="5" y="79"/>
                </a:cubicBezTo>
                <a:cubicBezTo>
                  <a:pt x="4" y="79"/>
                  <a:pt x="3" y="79"/>
                  <a:pt x="2" y="78"/>
                </a:cubicBezTo>
                <a:cubicBezTo>
                  <a:pt x="0" y="72"/>
                  <a:pt x="0" y="72"/>
                  <a:pt x="0" y="72"/>
                </a:cubicBezTo>
                <a:cubicBezTo>
                  <a:pt x="3" y="66"/>
                  <a:pt x="3" y="66"/>
                  <a:pt x="3" y="66"/>
                </a:cubicBezTo>
                <a:close/>
                <a:moveTo>
                  <a:pt x="4" y="48"/>
                </a:moveTo>
                <a:cubicBezTo>
                  <a:pt x="3" y="53"/>
                  <a:pt x="3" y="59"/>
                  <a:pt x="2" y="65"/>
                </a:cubicBezTo>
                <a:cubicBezTo>
                  <a:pt x="5" y="65"/>
                  <a:pt x="9" y="66"/>
                  <a:pt x="12" y="67"/>
                </a:cubicBezTo>
                <a:cubicBezTo>
                  <a:pt x="14" y="61"/>
                  <a:pt x="15" y="56"/>
                  <a:pt x="17" y="51"/>
                </a:cubicBezTo>
                <a:cubicBezTo>
                  <a:pt x="13" y="50"/>
                  <a:pt x="9" y="49"/>
                  <a:pt x="4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2" name="Freeform 36"/>
          <p:cNvSpPr>
            <a:spLocks noEditPoints="1" noChangeArrowheads="1"/>
          </p:cNvSpPr>
          <p:nvPr/>
        </p:nvSpPr>
        <p:spPr bwMode="auto">
          <a:xfrm>
            <a:off x="5458885" y="3934885"/>
            <a:ext cx="442383" cy="442383"/>
          </a:xfrm>
          <a:custGeom>
            <a:avLst/>
            <a:gdLst>
              <a:gd name="T0" fmla="*/ 573197958 w 97"/>
              <a:gd name="T1" fmla="*/ 0 h 97"/>
              <a:gd name="T2" fmla="*/ 970928479 w 97"/>
              <a:gd name="T3" fmla="*/ 163769379 h 97"/>
              <a:gd name="T4" fmla="*/ 1134697858 w 97"/>
              <a:gd name="T5" fmla="*/ 573197958 h 97"/>
              <a:gd name="T6" fmla="*/ 970928479 w 97"/>
              <a:gd name="T7" fmla="*/ 970928479 h 97"/>
              <a:gd name="T8" fmla="*/ 573197958 w 97"/>
              <a:gd name="T9" fmla="*/ 1134697858 h 97"/>
              <a:gd name="T10" fmla="*/ 163769379 w 97"/>
              <a:gd name="T11" fmla="*/ 970928479 h 97"/>
              <a:gd name="T12" fmla="*/ 0 w 97"/>
              <a:gd name="T13" fmla="*/ 573197958 h 97"/>
              <a:gd name="T14" fmla="*/ 163769379 w 97"/>
              <a:gd name="T15" fmla="*/ 163769379 h 97"/>
              <a:gd name="T16" fmla="*/ 573197958 w 97"/>
              <a:gd name="T17" fmla="*/ 0 h 97"/>
              <a:gd name="T18" fmla="*/ 643386300 w 97"/>
              <a:gd name="T19" fmla="*/ 549801843 h 97"/>
              <a:gd name="T20" fmla="*/ 631688243 w 97"/>
              <a:gd name="T21" fmla="*/ 526405729 h 97"/>
              <a:gd name="T22" fmla="*/ 795457622 w 97"/>
              <a:gd name="T23" fmla="*/ 280749950 h 97"/>
              <a:gd name="T24" fmla="*/ 760363451 w 97"/>
              <a:gd name="T25" fmla="*/ 245655779 h 97"/>
              <a:gd name="T26" fmla="*/ 584896015 w 97"/>
              <a:gd name="T27" fmla="*/ 503009615 h 97"/>
              <a:gd name="T28" fmla="*/ 526405729 w 97"/>
              <a:gd name="T29" fmla="*/ 503009615 h 97"/>
              <a:gd name="T30" fmla="*/ 491311558 w 97"/>
              <a:gd name="T31" fmla="*/ 608292129 h 97"/>
              <a:gd name="T32" fmla="*/ 596594072 w 97"/>
              <a:gd name="T33" fmla="*/ 655084357 h 97"/>
              <a:gd name="T34" fmla="*/ 608292129 w 97"/>
              <a:gd name="T35" fmla="*/ 643386300 h 97"/>
              <a:gd name="T36" fmla="*/ 807155679 w 97"/>
              <a:gd name="T37" fmla="*/ 713571222 h 97"/>
              <a:gd name="T38" fmla="*/ 830551794 w 97"/>
              <a:gd name="T39" fmla="*/ 655084357 h 97"/>
              <a:gd name="T40" fmla="*/ 643386300 w 97"/>
              <a:gd name="T41" fmla="*/ 584896015 h 97"/>
              <a:gd name="T42" fmla="*/ 643386300 w 97"/>
              <a:gd name="T43" fmla="*/ 549801843 h 97"/>
              <a:gd name="T44" fmla="*/ 865645965 w 97"/>
              <a:gd name="T45" fmla="*/ 280749950 h 97"/>
              <a:gd name="T46" fmla="*/ 573197958 w 97"/>
              <a:gd name="T47" fmla="*/ 152071322 h 97"/>
              <a:gd name="T48" fmla="*/ 269051893 w 97"/>
              <a:gd name="T49" fmla="*/ 280749950 h 97"/>
              <a:gd name="T50" fmla="*/ 152071322 w 97"/>
              <a:gd name="T51" fmla="*/ 573197958 h 97"/>
              <a:gd name="T52" fmla="*/ 269051893 w 97"/>
              <a:gd name="T53" fmla="*/ 865645965 h 97"/>
              <a:gd name="T54" fmla="*/ 573197958 w 97"/>
              <a:gd name="T55" fmla="*/ 982626536 h 97"/>
              <a:gd name="T56" fmla="*/ 865645965 w 97"/>
              <a:gd name="T57" fmla="*/ 865645965 h 97"/>
              <a:gd name="T58" fmla="*/ 982626536 w 97"/>
              <a:gd name="T59" fmla="*/ 573197958 h 97"/>
              <a:gd name="T60" fmla="*/ 865645965 w 97"/>
              <a:gd name="T61" fmla="*/ 280749950 h 9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97"/>
              <a:gd name="T94" fmla="*/ 0 h 97"/>
              <a:gd name="T95" fmla="*/ 97 w 97"/>
              <a:gd name="T96" fmla="*/ 97 h 97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97" h="97">
                <a:moveTo>
                  <a:pt x="49" y="0"/>
                </a:moveTo>
                <a:cubicBezTo>
                  <a:pt x="62" y="0"/>
                  <a:pt x="74" y="5"/>
                  <a:pt x="83" y="14"/>
                </a:cubicBezTo>
                <a:cubicBezTo>
                  <a:pt x="92" y="23"/>
                  <a:pt x="97" y="35"/>
                  <a:pt x="97" y="49"/>
                </a:cubicBezTo>
                <a:cubicBezTo>
                  <a:pt x="97" y="62"/>
                  <a:pt x="92" y="74"/>
                  <a:pt x="83" y="83"/>
                </a:cubicBezTo>
                <a:cubicBezTo>
                  <a:pt x="74" y="92"/>
                  <a:pt x="62" y="97"/>
                  <a:pt x="49" y="97"/>
                </a:cubicBezTo>
                <a:cubicBezTo>
                  <a:pt x="35" y="97"/>
                  <a:pt x="23" y="92"/>
                  <a:pt x="14" y="83"/>
                </a:cubicBezTo>
                <a:cubicBezTo>
                  <a:pt x="5" y="74"/>
                  <a:pt x="0" y="62"/>
                  <a:pt x="0" y="49"/>
                </a:cubicBezTo>
                <a:cubicBezTo>
                  <a:pt x="0" y="35"/>
                  <a:pt x="5" y="23"/>
                  <a:pt x="14" y="14"/>
                </a:cubicBezTo>
                <a:cubicBezTo>
                  <a:pt x="23" y="5"/>
                  <a:pt x="35" y="0"/>
                  <a:pt x="49" y="0"/>
                </a:cubicBezTo>
                <a:close/>
                <a:moveTo>
                  <a:pt x="55" y="47"/>
                </a:moveTo>
                <a:cubicBezTo>
                  <a:pt x="54" y="46"/>
                  <a:pt x="54" y="45"/>
                  <a:pt x="54" y="45"/>
                </a:cubicBezTo>
                <a:cubicBezTo>
                  <a:pt x="59" y="38"/>
                  <a:pt x="64" y="31"/>
                  <a:pt x="68" y="24"/>
                </a:cubicBezTo>
                <a:cubicBezTo>
                  <a:pt x="67" y="23"/>
                  <a:pt x="66" y="22"/>
                  <a:pt x="65" y="21"/>
                </a:cubicBezTo>
                <a:cubicBezTo>
                  <a:pt x="59" y="28"/>
                  <a:pt x="54" y="35"/>
                  <a:pt x="50" y="43"/>
                </a:cubicBezTo>
                <a:cubicBezTo>
                  <a:pt x="48" y="42"/>
                  <a:pt x="47" y="43"/>
                  <a:pt x="45" y="43"/>
                </a:cubicBezTo>
                <a:cubicBezTo>
                  <a:pt x="42" y="45"/>
                  <a:pt x="40" y="49"/>
                  <a:pt x="42" y="52"/>
                </a:cubicBezTo>
                <a:cubicBezTo>
                  <a:pt x="43" y="56"/>
                  <a:pt x="47" y="58"/>
                  <a:pt x="51" y="56"/>
                </a:cubicBezTo>
                <a:cubicBezTo>
                  <a:pt x="51" y="56"/>
                  <a:pt x="52" y="56"/>
                  <a:pt x="52" y="55"/>
                </a:cubicBezTo>
                <a:cubicBezTo>
                  <a:pt x="58" y="58"/>
                  <a:pt x="63" y="60"/>
                  <a:pt x="69" y="61"/>
                </a:cubicBezTo>
                <a:cubicBezTo>
                  <a:pt x="70" y="59"/>
                  <a:pt x="71" y="58"/>
                  <a:pt x="71" y="56"/>
                </a:cubicBezTo>
                <a:cubicBezTo>
                  <a:pt x="66" y="54"/>
                  <a:pt x="61" y="51"/>
                  <a:pt x="55" y="50"/>
                </a:cubicBezTo>
                <a:cubicBezTo>
                  <a:pt x="55" y="49"/>
                  <a:pt x="55" y="48"/>
                  <a:pt x="55" y="47"/>
                </a:cubicBezTo>
                <a:close/>
                <a:moveTo>
                  <a:pt x="74" y="24"/>
                </a:moveTo>
                <a:cubicBezTo>
                  <a:pt x="67" y="17"/>
                  <a:pt x="58" y="13"/>
                  <a:pt x="49" y="13"/>
                </a:cubicBezTo>
                <a:cubicBezTo>
                  <a:pt x="39" y="13"/>
                  <a:pt x="30" y="17"/>
                  <a:pt x="23" y="24"/>
                </a:cubicBezTo>
                <a:cubicBezTo>
                  <a:pt x="17" y="30"/>
                  <a:pt x="13" y="39"/>
                  <a:pt x="13" y="49"/>
                </a:cubicBezTo>
                <a:cubicBezTo>
                  <a:pt x="13" y="58"/>
                  <a:pt x="17" y="67"/>
                  <a:pt x="23" y="74"/>
                </a:cubicBezTo>
                <a:cubicBezTo>
                  <a:pt x="30" y="80"/>
                  <a:pt x="39" y="84"/>
                  <a:pt x="49" y="84"/>
                </a:cubicBezTo>
                <a:cubicBezTo>
                  <a:pt x="58" y="84"/>
                  <a:pt x="67" y="80"/>
                  <a:pt x="74" y="74"/>
                </a:cubicBezTo>
                <a:cubicBezTo>
                  <a:pt x="80" y="67"/>
                  <a:pt x="84" y="58"/>
                  <a:pt x="84" y="49"/>
                </a:cubicBezTo>
                <a:cubicBezTo>
                  <a:pt x="84" y="39"/>
                  <a:pt x="80" y="30"/>
                  <a:pt x="74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3" name="Freeform 37"/>
          <p:cNvSpPr>
            <a:spLocks noEditPoints="1" noChangeArrowheads="1"/>
          </p:cNvSpPr>
          <p:nvPr/>
        </p:nvSpPr>
        <p:spPr bwMode="auto">
          <a:xfrm>
            <a:off x="9819217" y="1435101"/>
            <a:ext cx="254000" cy="419100"/>
          </a:xfrm>
          <a:custGeom>
            <a:avLst/>
            <a:gdLst>
              <a:gd name="T0" fmla="*/ 201624045 w 132"/>
              <a:gd name="T1" fmla="*/ 98598103 h 217"/>
              <a:gd name="T2" fmla="*/ 274374841 w 132"/>
              <a:gd name="T3" fmla="*/ 356631407 h 217"/>
              <a:gd name="T4" fmla="*/ 270217034 w 132"/>
              <a:gd name="T5" fmla="*/ 381804928 h 217"/>
              <a:gd name="T6" fmla="*/ 147579773 w 132"/>
              <a:gd name="T7" fmla="*/ 455229510 h 217"/>
              <a:gd name="T8" fmla="*/ 126795068 w 132"/>
              <a:gd name="T9" fmla="*/ 455229510 h 217"/>
              <a:gd name="T10" fmla="*/ 10392352 w 132"/>
              <a:gd name="T11" fmla="*/ 381804928 h 217"/>
              <a:gd name="T12" fmla="*/ 0 w 132"/>
              <a:gd name="T13" fmla="*/ 356631407 h 217"/>
              <a:gd name="T14" fmla="*/ 78986784 w 132"/>
              <a:gd name="T15" fmla="*/ 98598103 h 217"/>
              <a:gd name="T16" fmla="*/ 54042830 w 132"/>
              <a:gd name="T17" fmla="*/ 83913187 h 217"/>
              <a:gd name="T18" fmla="*/ 54042830 w 132"/>
              <a:gd name="T19" fmla="*/ 50348492 h 217"/>
              <a:gd name="T20" fmla="*/ 126795068 w 132"/>
              <a:gd name="T21" fmla="*/ 0 h 217"/>
              <a:gd name="T22" fmla="*/ 147579773 w 132"/>
              <a:gd name="T23" fmla="*/ 0 h 217"/>
              <a:gd name="T24" fmla="*/ 226566557 w 132"/>
              <a:gd name="T25" fmla="*/ 50348492 h 217"/>
              <a:gd name="T26" fmla="*/ 226566557 w 132"/>
              <a:gd name="T27" fmla="*/ 83913187 h 217"/>
              <a:gd name="T28" fmla="*/ 201624045 w 132"/>
              <a:gd name="T29" fmla="*/ 98598103 h 217"/>
              <a:gd name="T30" fmla="*/ 201624045 w 132"/>
              <a:gd name="T31" fmla="*/ 98598103 h 217"/>
              <a:gd name="T32" fmla="*/ 101851114 w 132"/>
              <a:gd name="T33" fmla="*/ 392294982 h 217"/>
              <a:gd name="T34" fmla="*/ 176680091 w 132"/>
              <a:gd name="T35" fmla="*/ 392294982 h 217"/>
              <a:gd name="T36" fmla="*/ 234882170 w 132"/>
              <a:gd name="T37" fmla="*/ 352435096 h 217"/>
              <a:gd name="T38" fmla="*/ 230724364 w 132"/>
              <a:gd name="T39" fmla="*/ 337751628 h 217"/>
              <a:gd name="T40" fmla="*/ 49886466 w 132"/>
              <a:gd name="T41" fmla="*/ 337751628 h 217"/>
              <a:gd name="T42" fmla="*/ 43650477 w 132"/>
              <a:gd name="T43" fmla="*/ 352435096 h 217"/>
              <a:gd name="T44" fmla="*/ 101851114 w 132"/>
              <a:gd name="T45" fmla="*/ 392294982 h 217"/>
              <a:gd name="T46" fmla="*/ 101851114 w 132"/>
              <a:gd name="T47" fmla="*/ 392294982 h 217"/>
              <a:gd name="T48" fmla="*/ 112244909 w 132"/>
              <a:gd name="T49" fmla="*/ 83913187 h 217"/>
              <a:gd name="T50" fmla="*/ 162129932 w 132"/>
              <a:gd name="T51" fmla="*/ 83913187 h 217"/>
              <a:gd name="T52" fmla="*/ 166287739 w 132"/>
              <a:gd name="T53" fmla="*/ 73424582 h 217"/>
              <a:gd name="T54" fmla="*/ 176680091 w 132"/>
              <a:gd name="T55" fmla="*/ 69228271 h 217"/>
              <a:gd name="T56" fmla="*/ 137187420 w 132"/>
              <a:gd name="T57" fmla="*/ 39858438 h 217"/>
              <a:gd name="T58" fmla="*/ 97694750 w 132"/>
              <a:gd name="T59" fmla="*/ 69228271 h 217"/>
              <a:gd name="T60" fmla="*/ 112244909 w 132"/>
              <a:gd name="T61" fmla="*/ 73424582 h 217"/>
              <a:gd name="T62" fmla="*/ 112244909 w 132"/>
              <a:gd name="T63" fmla="*/ 83913187 h 217"/>
              <a:gd name="T64" fmla="*/ 112244909 w 132"/>
              <a:gd name="T65" fmla="*/ 83913187 h 217"/>
              <a:gd name="T66" fmla="*/ 172523727 w 132"/>
              <a:gd name="T67" fmla="*/ 142652852 h 217"/>
              <a:gd name="T68" fmla="*/ 108087102 w 132"/>
              <a:gd name="T69" fmla="*/ 142652852 h 217"/>
              <a:gd name="T70" fmla="*/ 97694750 w 132"/>
              <a:gd name="T71" fmla="*/ 174120116 h 217"/>
              <a:gd name="T72" fmla="*/ 180837898 w 132"/>
              <a:gd name="T73" fmla="*/ 174120116 h 217"/>
              <a:gd name="T74" fmla="*/ 172523727 w 132"/>
              <a:gd name="T75" fmla="*/ 142652852 h 217"/>
              <a:gd name="T76" fmla="*/ 172523727 w 132"/>
              <a:gd name="T77" fmla="*/ 142652852 h 217"/>
              <a:gd name="T78" fmla="*/ 195388057 w 132"/>
              <a:gd name="T79" fmla="*/ 232859782 h 217"/>
              <a:gd name="T80" fmla="*/ 78986784 w 132"/>
              <a:gd name="T81" fmla="*/ 232859782 h 217"/>
              <a:gd name="T82" fmla="*/ 64436625 w 132"/>
              <a:gd name="T83" fmla="*/ 276913082 h 217"/>
              <a:gd name="T84" fmla="*/ 209938216 w 132"/>
              <a:gd name="T85" fmla="*/ 276913082 h 217"/>
              <a:gd name="T86" fmla="*/ 195388057 w 132"/>
              <a:gd name="T87" fmla="*/ 232859782 h 21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32"/>
              <a:gd name="T133" fmla="*/ 0 h 217"/>
              <a:gd name="T134" fmla="*/ 132 w 132"/>
              <a:gd name="T135" fmla="*/ 217 h 21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32" h="217">
                <a:moveTo>
                  <a:pt x="97" y="47"/>
                </a:moveTo>
                <a:lnTo>
                  <a:pt x="132" y="170"/>
                </a:lnTo>
                <a:lnTo>
                  <a:pt x="130" y="182"/>
                </a:lnTo>
                <a:lnTo>
                  <a:pt x="71" y="217"/>
                </a:lnTo>
                <a:lnTo>
                  <a:pt x="61" y="217"/>
                </a:lnTo>
                <a:lnTo>
                  <a:pt x="5" y="182"/>
                </a:lnTo>
                <a:lnTo>
                  <a:pt x="0" y="170"/>
                </a:lnTo>
                <a:lnTo>
                  <a:pt x="38" y="47"/>
                </a:lnTo>
                <a:lnTo>
                  <a:pt x="26" y="40"/>
                </a:lnTo>
                <a:lnTo>
                  <a:pt x="26" y="24"/>
                </a:lnTo>
                <a:lnTo>
                  <a:pt x="61" y="0"/>
                </a:lnTo>
                <a:lnTo>
                  <a:pt x="71" y="0"/>
                </a:lnTo>
                <a:lnTo>
                  <a:pt x="109" y="24"/>
                </a:lnTo>
                <a:lnTo>
                  <a:pt x="109" y="40"/>
                </a:lnTo>
                <a:lnTo>
                  <a:pt x="97" y="47"/>
                </a:lnTo>
                <a:close/>
                <a:moveTo>
                  <a:pt x="49" y="187"/>
                </a:moveTo>
                <a:lnTo>
                  <a:pt x="85" y="187"/>
                </a:lnTo>
                <a:lnTo>
                  <a:pt x="113" y="168"/>
                </a:lnTo>
                <a:lnTo>
                  <a:pt x="111" y="161"/>
                </a:lnTo>
                <a:lnTo>
                  <a:pt x="24" y="161"/>
                </a:lnTo>
                <a:lnTo>
                  <a:pt x="21" y="168"/>
                </a:lnTo>
                <a:lnTo>
                  <a:pt x="49" y="187"/>
                </a:lnTo>
                <a:close/>
                <a:moveTo>
                  <a:pt x="54" y="40"/>
                </a:moveTo>
                <a:lnTo>
                  <a:pt x="78" y="40"/>
                </a:lnTo>
                <a:lnTo>
                  <a:pt x="80" y="35"/>
                </a:lnTo>
                <a:lnTo>
                  <a:pt x="85" y="33"/>
                </a:lnTo>
                <a:lnTo>
                  <a:pt x="66" y="19"/>
                </a:lnTo>
                <a:lnTo>
                  <a:pt x="47" y="33"/>
                </a:lnTo>
                <a:lnTo>
                  <a:pt x="54" y="35"/>
                </a:lnTo>
                <a:lnTo>
                  <a:pt x="54" y="40"/>
                </a:lnTo>
                <a:close/>
                <a:moveTo>
                  <a:pt x="83" y="68"/>
                </a:moveTo>
                <a:lnTo>
                  <a:pt x="52" y="68"/>
                </a:lnTo>
                <a:lnTo>
                  <a:pt x="47" y="83"/>
                </a:lnTo>
                <a:lnTo>
                  <a:pt x="87" y="83"/>
                </a:lnTo>
                <a:lnTo>
                  <a:pt x="83" y="68"/>
                </a:lnTo>
                <a:close/>
                <a:moveTo>
                  <a:pt x="94" y="111"/>
                </a:moveTo>
                <a:lnTo>
                  <a:pt x="38" y="111"/>
                </a:lnTo>
                <a:lnTo>
                  <a:pt x="31" y="132"/>
                </a:lnTo>
                <a:lnTo>
                  <a:pt x="101" y="132"/>
                </a:lnTo>
                <a:lnTo>
                  <a:pt x="94" y="1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4" name="Freeform 38"/>
          <p:cNvSpPr>
            <a:spLocks noEditPoints="1" noChangeArrowheads="1"/>
          </p:cNvSpPr>
          <p:nvPr/>
        </p:nvSpPr>
        <p:spPr bwMode="auto">
          <a:xfrm>
            <a:off x="10564284" y="1411817"/>
            <a:ext cx="474133" cy="457200"/>
          </a:xfrm>
          <a:custGeom>
            <a:avLst/>
            <a:gdLst>
              <a:gd name="T0" fmla="*/ 175078292 w 104"/>
              <a:gd name="T1" fmla="*/ 351235899 h 100"/>
              <a:gd name="T2" fmla="*/ 455205612 w 104"/>
              <a:gd name="T3" fmla="*/ 351235899 h 100"/>
              <a:gd name="T4" fmla="*/ 548581385 w 104"/>
              <a:gd name="T5" fmla="*/ 515142099 h 100"/>
              <a:gd name="T6" fmla="*/ 630283904 w 104"/>
              <a:gd name="T7" fmla="*/ 620515269 h 100"/>
              <a:gd name="T8" fmla="*/ 805362196 w 104"/>
              <a:gd name="T9" fmla="*/ 351235899 h 100"/>
              <a:gd name="T10" fmla="*/ 1120505858 w 104"/>
              <a:gd name="T11" fmla="*/ 351235899 h 100"/>
              <a:gd name="T12" fmla="*/ 1213881631 w 104"/>
              <a:gd name="T13" fmla="*/ 620515269 h 100"/>
              <a:gd name="T14" fmla="*/ 1167195454 w 104"/>
              <a:gd name="T15" fmla="*/ 772714863 h 100"/>
              <a:gd name="T16" fmla="*/ 1120505858 w 104"/>
              <a:gd name="T17" fmla="*/ 761008257 h 100"/>
              <a:gd name="T18" fmla="*/ 1132179112 w 104"/>
              <a:gd name="T19" fmla="*/ 643928481 h 100"/>
              <a:gd name="T20" fmla="*/ 1097162769 w 104"/>
              <a:gd name="T21" fmla="*/ 550265346 h 100"/>
              <a:gd name="T22" fmla="*/ 1085489515 w 104"/>
              <a:gd name="T23" fmla="*/ 761008257 h 100"/>
              <a:gd name="T24" fmla="*/ 1050473173 w 104"/>
              <a:gd name="T25" fmla="*/ 1170780615 h 100"/>
              <a:gd name="T26" fmla="*/ 968770654 w 104"/>
              <a:gd name="T27" fmla="*/ 1170780615 h 100"/>
              <a:gd name="T28" fmla="*/ 968770654 w 104"/>
              <a:gd name="T29" fmla="*/ 796131504 h 100"/>
              <a:gd name="T30" fmla="*/ 922084477 w 104"/>
              <a:gd name="T31" fmla="*/ 796131504 h 100"/>
              <a:gd name="T32" fmla="*/ 863725046 w 104"/>
              <a:gd name="T33" fmla="*/ 1170780615 h 100"/>
              <a:gd name="T34" fmla="*/ 782019108 w 104"/>
              <a:gd name="T35" fmla="*/ 1170780615 h 100"/>
              <a:gd name="T36" fmla="*/ 805362196 w 104"/>
              <a:gd name="T37" fmla="*/ 761008257 h 100"/>
              <a:gd name="T38" fmla="*/ 805362196 w 104"/>
              <a:gd name="T39" fmla="*/ 561975381 h 100"/>
              <a:gd name="T40" fmla="*/ 618614069 w 104"/>
              <a:gd name="T41" fmla="*/ 714174975 h 100"/>
              <a:gd name="T42" fmla="*/ 478548700 w 104"/>
              <a:gd name="T43" fmla="*/ 620515269 h 100"/>
              <a:gd name="T44" fmla="*/ 478548700 w 104"/>
              <a:gd name="T45" fmla="*/ 761008257 h 100"/>
              <a:gd name="T46" fmla="*/ 431862523 w 104"/>
              <a:gd name="T47" fmla="*/ 1170780615 h 100"/>
              <a:gd name="T48" fmla="*/ 350156585 w 104"/>
              <a:gd name="T49" fmla="*/ 1170780615 h 100"/>
              <a:gd name="T50" fmla="*/ 350156585 w 104"/>
              <a:gd name="T51" fmla="*/ 796131504 h 100"/>
              <a:gd name="T52" fmla="*/ 315143662 w 104"/>
              <a:gd name="T53" fmla="*/ 796131504 h 100"/>
              <a:gd name="T54" fmla="*/ 233437723 w 104"/>
              <a:gd name="T55" fmla="*/ 1170780615 h 100"/>
              <a:gd name="T56" fmla="*/ 163408458 w 104"/>
              <a:gd name="T57" fmla="*/ 1170780615 h 100"/>
              <a:gd name="T58" fmla="*/ 186751546 w 104"/>
              <a:gd name="T59" fmla="*/ 761008257 h 100"/>
              <a:gd name="T60" fmla="*/ 186751546 w 104"/>
              <a:gd name="T61" fmla="*/ 573681987 h 100"/>
              <a:gd name="T62" fmla="*/ 81702519 w 104"/>
              <a:gd name="T63" fmla="*/ 702468369 h 100"/>
              <a:gd name="T64" fmla="*/ 81702519 w 104"/>
              <a:gd name="T65" fmla="*/ 761008257 h 100"/>
              <a:gd name="T66" fmla="*/ 116718862 w 104"/>
              <a:gd name="T67" fmla="*/ 761008257 h 100"/>
              <a:gd name="T68" fmla="*/ 116718862 w 104"/>
              <a:gd name="T69" fmla="*/ 1041994233 h 100"/>
              <a:gd name="T70" fmla="*/ 0 w 104"/>
              <a:gd name="T71" fmla="*/ 1041994233 h 100"/>
              <a:gd name="T72" fmla="*/ 0 w 104"/>
              <a:gd name="T73" fmla="*/ 761008257 h 100"/>
              <a:gd name="T74" fmla="*/ 35016342 w 104"/>
              <a:gd name="T75" fmla="*/ 761008257 h 100"/>
              <a:gd name="T76" fmla="*/ 35016342 w 104"/>
              <a:gd name="T77" fmla="*/ 702468369 h 100"/>
              <a:gd name="T78" fmla="*/ 11673254 w 104"/>
              <a:gd name="T79" fmla="*/ 690761763 h 100"/>
              <a:gd name="T80" fmla="*/ 175078292 w 104"/>
              <a:gd name="T81" fmla="*/ 351235899 h 100"/>
              <a:gd name="T82" fmla="*/ 1003786996 w 104"/>
              <a:gd name="T83" fmla="*/ 46829853 h 100"/>
              <a:gd name="T84" fmla="*/ 817035450 w 104"/>
              <a:gd name="T85" fmla="*/ 93663135 h 100"/>
              <a:gd name="T86" fmla="*/ 863725046 w 104"/>
              <a:gd name="T87" fmla="*/ 280985976 h 100"/>
              <a:gd name="T88" fmla="*/ 1050473173 w 104"/>
              <a:gd name="T89" fmla="*/ 234156123 h 100"/>
              <a:gd name="T90" fmla="*/ 1003786996 w 104"/>
              <a:gd name="T91" fmla="*/ 46829853 h 100"/>
              <a:gd name="T92" fmla="*/ 256784231 w 104"/>
              <a:gd name="T93" fmla="*/ 46829853 h 100"/>
              <a:gd name="T94" fmla="*/ 443532358 w 104"/>
              <a:gd name="T95" fmla="*/ 93663135 h 100"/>
              <a:gd name="T96" fmla="*/ 396846181 w 104"/>
              <a:gd name="T97" fmla="*/ 280985976 h 100"/>
              <a:gd name="T98" fmla="*/ 210094635 w 104"/>
              <a:gd name="T99" fmla="*/ 234156123 h 100"/>
              <a:gd name="T100" fmla="*/ 256784231 w 104"/>
              <a:gd name="T101" fmla="*/ 46829853 h 10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04"/>
              <a:gd name="T154" fmla="*/ 0 h 100"/>
              <a:gd name="T155" fmla="*/ 104 w 104"/>
              <a:gd name="T156" fmla="*/ 100 h 10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04" h="100">
                <a:moveTo>
                  <a:pt x="15" y="30"/>
                </a:moveTo>
                <a:cubicBezTo>
                  <a:pt x="39" y="30"/>
                  <a:pt x="39" y="30"/>
                  <a:pt x="39" y="30"/>
                </a:cubicBezTo>
                <a:cubicBezTo>
                  <a:pt x="47" y="44"/>
                  <a:pt x="47" y="44"/>
                  <a:pt x="47" y="44"/>
                </a:cubicBezTo>
                <a:cubicBezTo>
                  <a:pt x="54" y="53"/>
                  <a:pt x="54" y="53"/>
                  <a:pt x="54" y="53"/>
                </a:cubicBezTo>
                <a:cubicBezTo>
                  <a:pt x="69" y="30"/>
                  <a:pt x="69" y="30"/>
                  <a:pt x="69" y="30"/>
                </a:cubicBezTo>
                <a:cubicBezTo>
                  <a:pt x="96" y="30"/>
                  <a:pt x="96" y="30"/>
                  <a:pt x="96" y="30"/>
                </a:cubicBezTo>
                <a:cubicBezTo>
                  <a:pt x="104" y="53"/>
                  <a:pt x="104" y="53"/>
                  <a:pt x="104" y="53"/>
                </a:cubicBezTo>
                <a:cubicBezTo>
                  <a:pt x="100" y="66"/>
                  <a:pt x="100" y="66"/>
                  <a:pt x="100" y="66"/>
                </a:cubicBezTo>
                <a:cubicBezTo>
                  <a:pt x="96" y="65"/>
                  <a:pt x="96" y="65"/>
                  <a:pt x="96" y="65"/>
                </a:cubicBezTo>
                <a:cubicBezTo>
                  <a:pt x="97" y="55"/>
                  <a:pt x="97" y="55"/>
                  <a:pt x="97" y="55"/>
                </a:cubicBezTo>
                <a:cubicBezTo>
                  <a:pt x="94" y="47"/>
                  <a:pt x="94" y="47"/>
                  <a:pt x="94" y="47"/>
                </a:cubicBezTo>
                <a:cubicBezTo>
                  <a:pt x="93" y="65"/>
                  <a:pt x="93" y="65"/>
                  <a:pt x="93" y="65"/>
                </a:cubicBezTo>
                <a:cubicBezTo>
                  <a:pt x="90" y="100"/>
                  <a:pt x="90" y="100"/>
                  <a:pt x="90" y="100"/>
                </a:cubicBezTo>
                <a:cubicBezTo>
                  <a:pt x="83" y="100"/>
                  <a:pt x="83" y="100"/>
                  <a:pt x="83" y="100"/>
                </a:cubicBezTo>
                <a:cubicBezTo>
                  <a:pt x="83" y="68"/>
                  <a:pt x="83" y="68"/>
                  <a:pt x="83" y="68"/>
                </a:cubicBezTo>
                <a:cubicBezTo>
                  <a:pt x="79" y="68"/>
                  <a:pt x="79" y="68"/>
                  <a:pt x="79" y="68"/>
                </a:cubicBezTo>
                <a:cubicBezTo>
                  <a:pt x="74" y="100"/>
                  <a:pt x="74" y="100"/>
                  <a:pt x="74" y="100"/>
                </a:cubicBezTo>
                <a:cubicBezTo>
                  <a:pt x="67" y="100"/>
                  <a:pt x="67" y="100"/>
                  <a:pt x="67" y="100"/>
                </a:cubicBezTo>
                <a:cubicBezTo>
                  <a:pt x="69" y="65"/>
                  <a:pt x="69" y="65"/>
                  <a:pt x="69" y="65"/>
                </a:cubicBezTo>
                <a:cubicBezTo>
                  <a:pt x="69" y="48"/>
                  <a:pt x="69" y="48"/>
                  <a:pt x="69" y="48"/>
                </a:cubicBezTo>
                <a:cubicBezTo>
                  <a:pt x="53" y="61"/>
                  <a:pt x="53" y="61"/>
                  <a:pt x="53" y="61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65"/>
                  <a:pt x="41" y="65"/>
                  <a:pt x="41" y="65"/>
                </a:cubicBezTo>
                <a:cubicBezTo>
                  <a:pt x="37" y="100"/>
                  <a:pt x="37" y="100"/>
                  <a:pt x="37" y="100"/>
                </a:cubicBezTo>
                <a:cubicBezTo>
                  <a:pt x="30" y="100"/>
                  <a:pt x="30" y="100"/>
                  <a:pt x="30" y="100"/>
                </a:cubicBezTo>
                <a:cubicBezTo>
                  <a:pt x="30" y="68"/>
                  <a:pt x="30" y="68"/>
                  <a:pt x="30" y="68"/>
                </a:cubicBezTo>
                <a:cubicBezTo>
                  <a:pt x="27" y="68"/>
                  <a:pt x="27" y="68"/>
                  <a:pt x="27" y="68"/>
                </a:cubicBezTo>
                <a:cubicBezTo>
                  <a:pt x="20" y="100"/>
                  <a:pt x="20" y="100"/>
                  <a:pt x="20" y="100"/>
                </a:cubicBezTo>
                <a:cubicBezTo>
                  <a:pt x="14" y="100"/>
                  <a:pt x="14" y="100"/>
                  <a:pt x="14" y="100"/>
                </a:cubicBezTo>
                <a:cubicBezTo>
                  <a:pt x="16" y="65"/>
                  <a:pt x="16" y="65"/>
                  <a:pt x="16" y="65"/>
                </a:cubicBezTo>
                <a:cubicBezTo>
                  <a:pt x="16" y="49"/>
                  <a:pt x="16" y="49"/>
                  <a:pt x="16" y="49"/>
                </a:cubicBezTo>
                <a:cubicBezTo>
                  <a:pt x="7" y="60"/>
                  <a:pt x="7" y="60"/>
                  <a:pt x="7" y="60"/>
                </a:cubicBezTo>
                <a:cubicBezTo>
                  <a:pt x="7" y="65"/>
                  <a:pt x="7" y="65"/>
                  <a:pt x="7" y="65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89"/>
                  <a:pt x="10" y="89"/>
                  <a:pt x="10" y="89"/>
                </a:cubicBezTo>
                <a:cubicBezTo>
                  <a:pt x="0" y="89"/>
                  <a:pt x="0" y="89"/>
                  <a:pt x="0" y="89"/>
                </a:cubicBezTo>
                <a:cubicBezTo>
                  <a:pt x="0" y="65"/>
                  <a:pt x="0" y="65"/>
                  <a:pt x="0" y="65"/>
                </a:cubicBezTo>
                <a:cubicBezTo>
                  <a:pt x="3" y="65"/>
                  <a:pt x="3" y="65"/>
                  <a:pt x="3" y="65"/>
                </a:cubicBezTo>
                <a:cubicBezTo>
                  <a:pt x="3" y="60"/>
                  <a:pt x="3" y="60"/>
                  <a:pt x="3" y="60"/>
                </a:cubicBezTo>
                <a:cubicBezTo>
                  <a:pt x="1" y="59"/>
                  <a:pt x="1" y="59"/>
                  <a:pt x="1" y="59"/>
                </a:cubicBezTo>
                <a:cubicBezTo>
                  <a:pt x="15" y="30"/>
                  <a:pt x="15" y="30"/>
                  <a:pt x="15" y="30"/>
                </a:cubicBezTo>
                <a:close/>
                <a:moveTo>
                  <a:pt x="86" y="4"/>
                </a:moveTo>
                <a:cubicBezTo>
                  <a:pt x="80" y="0"/>
                  <a:pt x="73" y="2"/>
                  <a:pt x="70" y="8"/>
                </a:cubicBezTo>
                <a:cubicBezTo>
                  <a:pt x="67" y="13"/>
                  <a:pt x="68" y="20"/>
                  <a:pt x="74" y="24"/>
                </a:cubicBezTo>
                <a:cubicBezTo>
                  <a:pt x="79" y="27"/>
                  <a:pt x="87" y="25"/>
                  <a:pt x="90" y="20"/>
                </a:cubicBezTo>
                <a:cubicBezTo>
                  <a:pt x="93" y="14"/>
                  <a:pt x="91" y="7"/>
                  <a:pt x="86" y="4"/>
                </a:cubicBezTo>
                <a:close/>
                <a:moveTo>
                  <a:pt x="22" y="4"/>
                </a:moveTo>
                <a:cubicBezTo>
                  <a:pt x="28" y="0"/>
                  <a:pt x="35" y="2"/>
                  <a:pt x="38" y="8"/>
                </a:cubicBezTo>
                <a:cubicBezTo>
                  <a:pt x="41" y="13"/>
                  <a:pt x="40" y="20"/>
                  <a:pt x="34" y="24"/>
                </a:cubicBezTo>
                <a:cubicBezTo>
                  <a:pt x="29" y="27"/>
                  <a:pt x="21" y="25"/>
                  <a:pt x="18" y="20"/>
                </a:cubicBezTo>
                <a:cubicBezTo>
                  <a:pt x="15" y="14"/>
                  <a:pt x="17" y="7"/>
                  <a:pt x="22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5" name="Freeform 41"/>
          <p:cNvSpPr>
            <a:spLocks noEditPoints="1" noChangeArrowheads="1"/>
          </p:cNvSpPr>
          <p:nvPr/>
        </p:nvSpPr>
        <p:spPr bwMode="auto">
          <a:xfrm>
            <a:off x="10553701" y="5664200"/>
            <a:ext cx="478367" cy="357717"/>
          </a:xfrm>
          <a:custGeom>
            <a:avLst/>
            <a:gdLst>
              <a:gd name="T0" fmla="*/ 607317235 w 105"/>
              <a:gd name="T1" fmla="*/ 165279166 h 78"/>
              <a:gd name="T2" fmla="*/ 981054861 w 105"/>
              <a:gd name="T3" fmla="*/ 543056187 h 78"/>
              <a:gd name="T4" fmla="*/ 981054861 w 105"/>
              <a:gd name="T5" fmla="*/ 590278315 h 78"/>
              <a:gd name="T6" fmla="*/ 840903679 w 105"/>
              <a:gd name="T7" fmla="*/ 637500442 h 78"/>
              <a:gd name="T8" fmla="*/ 712431477 w 105"/>
              <a:gd name="T9" fmla="*/ 649305114 h 78"/>
              <a:gd name="T10" fmla="*/ 654036574 w 105"/>
              <a:gd name="T11" fmla="*/ 613887659 h 78"/>
              <a:gd name="T12" fmla="*/ 572280294 w 105"/>
              <a:gd name="T13" fmla="*/ 613887659 h 78"/>
              <a:gd name="T14" fmla="*/ 502206411 w 105"/>
              <a:gd name="T15" fmla="*/ 684722570 h 78"/>
              <a:gd name="T16" fmla="*/ 502206411 w 105"/>
              <a:gd name="T17" fmla="*/ 684722570 h 78"/>
              <a:gd name="T18" fmla="*/ 572280294 w 105"/>
              <a:gd name="T19" fmla="*/ 755554041 h 78"/>
              <a:gd name="T20" fmla="*/ 654036574 w 105"/>
              <a:gd name="T21" fmla="*/ 755554041 h 78"/>
              <a:gd name="T22" fmla="*/ 712431477 w 105"/>
              <a:gd name="T23" fmla="*/ 708331914 h 78"/>
              <a:gd name="T24" fmla="*/ 852582659 w 105"/>
              <a:gd name="T25" fmla="*/ 696527242 h 78"/>
              <a:gd name="T26" fmla="*/ 957693484 w 105"/>
              <a:gd name="T27" fmla="*/ 661109786 h 78"/>
              <a:gd name="T28" fmla="*/ 607317235 w 105"/>
              <a:gd name="T29" fmla="*/ 920833208 h 78"/>
              <a:gd name="T30" fmla="*/ 233583026 w 105"/>
              <a:gd name="T31" fmla="*/ 543056187 h 78"/>
              <a:gd name="T32" fmla="*/ 607317235 w 105"/>
              <a:gd name="T33" fmla="*/ 165279166 h 78"/>
              <a:gd name="T34" fmla="*/ 607317235 w 105"/>
              <a:gd name="T35" fmla="*/ 0 h 78"/>
              <a:gd name="T36" fmla="*/ 233583026 w 105"/>
              <a:gd name="T37" fmla="*/ 165279166 h 78"/>
              <a:gd name="T38" fmla="*/ 93435261 w 105"/>
              <a:gd name="T39" fmla="*/ 389581693 h 78"/>
              <a:gd name="T40" fmla="*/ 70073883 w 105"/>
              <a:gd name="T41" fmla="*/ 389581693 h 78"/>
              <a:gd name="T42" fmla="*/ 0 w 105"/>
              <a:gd name="T43" fmla="*/ 472221276 h 78"/>
              <a:gd name="T44" fmla="*/ 0 w 105"/>
              <a:gd name="T45" fmla="*/ 602082987 h 78"/>
              <a:gd name="T46" fmla="*/ 70073883 w 105"/>
              <a:gd name="T47" fmla="*/ 672917898 h 78"/>
              <a:gd name="T48" fmla="*/ 175188124 w 105"/>
              <a:gd name="T49" fmla="*/ 672917898 h 78"/>
              <a:gd name="T50" fmla="*/ 175188124 w 105"/>
              <a:gd name="T51" fmla="*/ 401389804 h 78"/>
              <a:gd name="T52" fmla="*/ 291981346 w 105"/>
              <a:gd name="T53" fmla="*/ 224305966 h 78"/>
              <a:gd name="T54" fmla="*/ 607317235 w 105"/>
              <a:gd name="T55" fmla="*/ 82639583 h 78"/>
              <a:gd name="T56" fmla="*/ 934335523 w 105"/>
              <a:gd name="T57" fmla="*/ 224305966 h 78"/>
              <a:gd name="T58" fmla="*/ 1039449764 w 105"/>
              <a:gd name="T59" fmla="*/ 389581693 h 78"/>
              <a:gd name="T60" fmla="*/ 1039449764 w 105"/>
              <a:gd name="T61" fmla="*/ 672917898 h 78"/>
              <a:gd name="T62" fmla="*/ 1144564005 w 105"/>
              <a:gd name="T63" fmla="*/ 672917898 h 78"/>
              <a:gd name="T64" fmla="*/ 1226316868 w 105"/>
              <a:gd name="T65" fmla="*/ 602082987 h 78"/>
              <a:gd name="T66" fmla="*/ 1226316868 w 105"/>
              <a:gd name="T67" fmla="*/ 472221276 h 78"/>
              <a:gd name="T68" fmla="*/ 1144564005 w 105"/>
              <a:gd name="T69" fmla="*/ 389581693 h 78"/>
              <a:gd name="T70" fmla="*/ 1121202627 w 105"/>
              <a:gd name="T71" fmla="*/ 389581693 h 78"/>
              <a:gd name="T72" fmla="*/ 992733842 w 105"/>
              <a:gd name="T73" fmla="*/ 165279166 h 78"/>
              <a:gd name="T74" fmla="*/ 607317235 w 105"/>
              <a:gd name="T75" fmla="*/ 0 h 7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05"/>
              <a:gd name="T115" fmla="*/ 0 h 78"/>
              <a:gd name="T116" fmla="*/ 105 w 105"/>
              <a:gd name="T117" fmla="*/ 78 h 7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05" h="78">
                <a:moveTo>
                  <a:pt x="52" y="14"/>
                </a:moveTo>
                <a:cubicBezTo>
                  <a:pt x="70" y="14"/>
                  <a:pt x="84" y="29"/>
                  <a:pt x="84" y="46"/>
                </a:cubicBezTo>
                <a:cubicBezTo>
                  <a:pt x="84" y="47"/>
                  <a:pt x="84" y="49"/>
                  <a:pt x="84" y="50"/>
                </a:cubicBezTo>
                <a:cubicBezTo>
                  <a:pt x="80" y="51"/>
                  <a:pt x="76" y="53"/>
                  <a:pt x="72" y="54"/>
                </a:cubicBezTo>
                <a:cubicBezTo>
                  <a:pt x="68" y="55"/>
                  <a:pt x="65" y="55"/>
                  <a:pt x="61" y="55"/>
                </a:cubicBezTo>
                <a:cubicBezTo>
                  <a:pt x="60" y="54"/>
                  <a:pt x="58" y="52"/>
                  <a:pt x="56" y="52"/>
                </a:cubicBezTo>
                <a:cubicBezTo>
                  <a:pt x="49" y="52"/>
                  <a:pt x="49" y="52"/>
                  <a:pt x="49" y="52"/>
                </a:cubicBezTo>
                <a:cubicBezTo>
                  <a:pt x="46" y="52"/>
                  <a:pt x="43" y="55"/>
                  <a:pt x="43" y="58"/>
                </a:cubicBezTo>
                <a:cubicBezTo>
                  <a:pt x="43" y="58"/>
                  <a:pt x="43" y="58"/>
                  <a:pt x="43" y="58"/>
                </a:cubicBezTo>
                <a:cubicBezTo>
                  <a:pt x="43" y="61"/>
                  <a:pt x="46" y="64"/>
                  <a:pt x="49" y="64"/>
                </a:cubicBezTo>
                <a:cubicBezTo>
                  <a:pt x="56" y="64"/>
                  <a:pt x="56" y="64"/>
                  <a:pt x="56" y="64"/>
                </a:cubicBezTo>
                <a:cubicBezTo>
                  <a:pt x="58" y="64"/>
                  <a:pt x="60" y="62"/>
                  <a:pt x="61" y="60"/>
                </a:cubicBezTo>
                <a:cubicBezTo>
                  <a:pt x="65" y="60"/>
                  <a:pt x="69" y="59"/>
                  <a:pt x="73" y="59"/>
                </a:cubicBezTo>
                <a:cubicBezTo>
                  <a:pt x="76" y="58"/>
                  <a:pt x="79" y="57"/>
                  <a:pt x="82" y="56"/>
                </a:cubicBezTo>
                <a:cubicBezTo>
                  <a:pt x="78" y="69"/>
                  <a:pt x="66" y="78"/>
                  <a:pt x="52" y="78"/>
                </a:cubicBezTo>
                <a:cubicBezTo>
                  <a:pt x="34" y="78"/>
                  <a:pt x="20" y="64"/>
                  <a:pt x="20" y="46"/>
                </a:cubicBezTo>
                <a:cubicBezTo>
                  <a:pt x="20" y="29"/>
                  <a:pt x="34" y="14"/>
                  <a:pt x="52" y="14"/>
                </a:cubicBezTo>
                <a:close/>
                <a:moveTo>
                  <a:pt x="52" y="0"/>
                </a:moveTo>
                <a:cubicBezTo>
                  <a:pt x="39" y="0"/>
                  <a:pt x="28" y="5"/>
                  <a:pt x="20" y="14"/>
                </a:cubicBezTo>
                <a:cubicBezTo>
                  <a:pt x="14" y="19"/>
                  <a:pt x="10" y="26"/>
                  <a:pt x="8" y="33"/>
                </a:cubicBezTo>
                <a:cubicBezTo>
                  <a:pt x="6" y="33"/>
                  <a:pt x="6" y="33"/>
                  <a:pt x="6" y="33"/>
                </a:cubicBezTo>
                <a:cubicBezTo>
                  <a:pt x="3" y="33"/>
                  <a:pt x="0" y="36"/>
                  <a:pt x="0" y="40"/>
                </a:cubicBezTo>
                <a:cubicBezTo>
                  <a:pt x="0" y="51"/>
                  <a:pt x="0" y="51"/>
                  <a:pt x="0" y="51"/>
                </a:cubicBezTo>
                <a:cubicBezTo>
                  <a:pt x="0" y="54"/>
                  <a:pt x="3" y="57"/>
                  <a:pt x="6" y="57"/>
                </a:cubicBezTo>
                <a:cubicBezTo>
                  <a:pt x="15" y="57"/>
                  <a:pt x="15" y="57"/>
                  <a:pt x="15" y="57"/>
                </a:cubicBezTo>
                <a:cubicBezTo>
                  <a:pt x="15" y="34"/>
                  <a:pt x="15" y="34"/>
                  <a:pt x="15" y="34"/>
                </a:cubicBezTo>
                <a:cubicBezTo>
                  <a:pt x="17" y="28"/>
                  <a:pt x="20" y="23"/>
                  <a:pt x="25" y="19"/>
                </a:cubicBezTo>
                <a:cubicBezTo>
                  <a:pt x="32" y="12"/>
                  <a:pt x="41" y="7"/>
                  <a:pt x="52" y="7"/>
                </a:cubicBezTo>
                <a:cubicBezTo>
                  <a:pt x="63" y="7"/>
                  <a:pt x="73" y="12"/>
                  <a:pt x="80" y="19"/>
                </a:cubicBezTo>
                <a:cubicBezTo>
                  <a:pt x="84" y="23"/>
                  <a:pt x="87" y="28"/>
                  <a:pt x="89" y="33"/>
                </a:cubicBezTo>
                <a:cubicBezTo>
                  <a:pt x="89" y="57"/>
                  <a:pt x="89" y="57"/>
                  <a:pt x="89" y="57"/>
                </a:cubicBezTo>
                <a:cubicBezTo>
                  <a:pt x="98" y="57"/>
                  <a:pt x="98" y="57"/>
                  <a:pt x="98" y="57"/>
                </a:cubicBezTo>
                <a:cubicBezTo>
                  <a:pt x="102" y="57"/>
                  <a:pt x="105" y="54"/>
                  <a:pt x="105" y="51"/>
                </a:cubicBezTo>
                <a:cubicBezTo>
                  <a:pt x="105" y="40"/>
                  <a:pt x="105" y="40"/>
                  <a:pt x="105" y="40"/>
                </a:cubicBezTo>
                <a:cubicBezTo>
                  <a:pt x="105" y="36"/>
                  <a:pt x="102" y="33"/>
                  <a:pt x="98" y="33"/>
                </a:cubicBezTo>
                <a:cubicBezTo>
                  <a:pt x="96" y="33"/>
                  <a:pt x="96" y="33"/>
                  <a:pt x="96" y="33"/>
                </a:cubicBezTo>
                <a:cubicBezTo>
                  <a:pt x="94" y="26"/>
                  <a:pt x="90" y="19"/>
                  <a:pt x="85" y="14"/>
                </a:cubicBezTo>
                <a:cubicBezTo>
                  <a:pt x="76" y="5"/>
                  <a:pt x="65" y="0"/>
                  <a:pt x="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6" name="Freeform 52"/>
          <p:cNvSpPr>
            <a:spLocks noEditPoints="1" noChangeArrowheads="1"/>
          </p:cNvSpPr>
          <p:nvPr/>
        </p:nvSpPr>
        <p:spPr bwMode="auto">
          <a:xfrm>
            <a:off x="9759951" y="5611284"/>
            <a:ext cx="387349" cy="482600"/>
          </a:xfrm>
          <a:custGeom>
            <a:avLst/>
            <a:gdLst>
              <a:gd name="T0" fmla="*/ 421225311 w 85"/>
              <a:gd name="T1" fmla="*/ 724545364 h 106"/>
              <a:gd name="T2" fmla="*/ 315919838 w 85"/>
              <a:gd name="T3" fmla="*/ 1227054890 h 106"/>
              <a:gd name="T4" fmla="*/ 245715050 w 85"/>
              <a:gd name="T5" fmla="*/ 806349478 h 106"/>
              <a:gd name="T6" fmla="*/ 93606384 w 85"/>
              <a:gd name="T7" fmla="*/ 1227054890 h 106"/>
              <a:gd name="T8" fmla="*/ 0 w 85"/>
              <a:gd name="T9" fmla="*/ 654429502 h 106"/>
              <a:gd name="T10" fmla="*/ 152108665 w 85"/>
              <a:gd name="T11" fmla="*/ 303843367 h 106"/>
              <a:gd name="T12" fmla="*/ 234012543 w 85"/>
              <a:gd name="T13" fmla="*/ 315528205 h 106"/>
              <a:gd name="T14" fmla="*/ 234012543 w 85"/>
              <a:gd name="T15" fmla="*/ 292155113 h 106"/>
              <a:gd name="T16" fmla="*/ 280815735 w 85"/>
              <a:gd name="T17" fmla="*/ 315528205 h 106"/>
              <a:gd name="T18" fmla="*/ 292518242 w 85"/>
              <a:gd name="T19" fmla="*/ 420705412 h 106"/>
              <a:gd name="T20" fmla="*/ 421225311 w 85"/>
              <a:gd name="T21" fmla="*/ 303843367 h 106"/>
              <a:gd name="T22" fmla="*/ 643538765 w 85"/>
              <a:gd name="T23" fmla="*/ 245412344 h 106"/>
              <a:gd name="T24" fmla="*/ 725442642 w 85"/>
              <a:gd name="T25" fmla="*/ 268782021 h 106"/>
              <a:gd name="T26" fmla="*/ 690341957 w 85"/>
              <a:gd name="T27" fmla="*/ 140235137 h 106"/>
              <a:gd name="T28" fmla="*/ 819049026 w 85"/>
              <a:gd name="T29" fmla="*/ 233724091 h 106"/>
              <a:gd name="T30" fmla="*/ 865852218 w 85"/>
              <a:gd name="T31" fmla="*/ 268782021 h 106"/>
              <a:gd name="T32" fmla="*/ 842450622 w 85"/>
              <a:gd name="T33" fmla="*/ 70115861 h 106"/>
              <a:gd name="T34" fmla="*/ 643538765 w 85"/>
              <a:gd name="T35" fmla="*/ 245412344 h 106"/>
              <a:gd name="T36" fmla="*/ 608434662 w 85"/>
              <a:gd name="T37" fmla="*/ 794664640 h 106"/>
              <a:gd name="T38" fmla="*/ 678639450 w 85"/>
              <a:gd name="T39" fmla="*/ 1005015638 h 106"/>
              <a:gd name="T40" fmla="*/ 772245834 w 85"/>
              <a:gd name="T41" fmla="*/ 1238739729 h 106"/>
              <a:gd name="T42" fmla="*/ 783948341 w 85"/>
              <a:gd name="T43" fmla="*/ 1005015638 h 106"/>
              <a:gd name="T44" fmla="*/ 842450622 w 85"/>
              <a:gd name="T45" fmla="*/ 1238739729 h 106"/>
              <a:gd name="T46" fmla="*/ 912655410 w 85"/>
              <a:gd name="T47" fmla="*/ 1005015638 h 106"/>
              <a:gd name="T48" fmla="*/ 889253814 w 85"/>
              <a:gd name="T49" fmla="*/ 631056410 h 106"/>
              <a:gd name="T50" fmla="*/ 994559288 w 85"/>
              <a:gd name="T51" fmla="*/ 689487433 h 106"/>
              <a:gd name="T52" fmla="*/ 900952903 w 85"/>
              <a:gd name="T53" fmla="*/ 315528205 h 106"/>
              <a:gd name="T54" fmla="*/ 854149711 w 85"/>
              <a:gd name="T55" fmla="*/ 315528205 h 106"/>
              <a:gd name="T56" fmla="*/ 678639450 w 85"/>
              <a:gd name="T57" fmla="*/ 315528205 h 106"/>
              <a:gd name="T58" fmla="*/ 631836258 w 85"/>
              <a:gd name="T59" fmla="*/ 315528205 h 106"/>
              <a:gd name="T60" fmla="*/ 549932380 w 85"/>
              <a:gd name="T61" fmla="*/ 724545364 h 106"/>
              <a:gd name="T62" fmla="*/ 643538765 w 85"/>
              <a:gd name="T63" fmla="*/ 642741249 h 106"/>
              <a:gd name="T64" fmla="*/ 175510261 w 85"/>
              <a:gd name="T65" fmla="*/ 93488953 h 106"/>
              <a:gd name="T66" fmla="*/ 327618927 w 85"/>
              <a:gd name="T67" fmla="*/ 186977907 h 106"/>
              <a:gd name="T68" fmla="*/ 163811172 w 85"/>
              <a:gd name="T69" fmla="*/ 46746184 h 10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85"/>
              <a:gd name="T106" fmla="*/ 0 h 106"/>
              <a:gd name="T107" fmla="*/ 85 w 85"/>
              <a:gd name="T108" fmla="*/ 106 h 10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85" h="106">
                <a:moveTo>
                  <a:pt x="44" y="54"/>
                </a:moveTo>
                <a:cubicBezTo>
                  <a:pt x="41" y="56"/>
                  <a:pt x="38" y="59"/>
                  <a:pt x="36" y="62"/>
                </a:cubicBezTo>
                <a:cubicBezTo>
                  <a:pt x="36" y="77"/>
                  <a:pt x="35" y="91"/>
                  <a:pt x="36" y="105"/>
                </a:cubicBezTo>
                <a:cubicBezTo>
                  <a:pt x="32" y="105"/>
                  <a:pt x="30" y="105"/>
                  <a:pt x="27" y="105"/>
                </a:cubicBezTo>
                <a:cubicBezTo>
                  <a:pt x="26" y="93"/>
                  <a:pt x="24" y="81"/>
                  <a:pt x="23" y="69"/>
                </a:cubicBezTo>
                <a:cubicBezTo>
                  <a:pt x="22" y="69"/>
                  <a:pt x="23" y="69"/>
                  <a:pt x="21" y="69"/>
                </a:cubicBezTo>
                <a:cubicBezTo>
                  <a:pt x="20" y="81"/>
                  <a:pt x="18" y="93"/>
                  <a:pt x="17" y="105"/>
                </a:cubicBezTo>
                <a:cubicBezTo>
                  <a:pt x="13" y="105"/>
                  <a:pt x="12" y="105"/>
                  <a:pt x="8" y="105"/>
                </a:cubicBezTo>
                <a:cubicBezTo>
                  <a:pt x="9" y="91"/>
                  <a:pt x="7" y="77"/>
                  <a:pt x="8" y="62"/>
                </a:cubicBezTo>
                <a:cubicBezTo>
                  <a:pt x="5" y="60"/>
                  <a:pt x="3" y="58"/>
                  <a:pt x="0" y="56"/>
                </a:cubicBezTo>
                <a:cubicBezTo>
                  <a:pt x="1" y="46"/>
                  <a:pt x="3" y="36"/>
                  <a:pt x="6" y="26"/>
                </a:cubicBezTo>
                <a:cubicBezTo>
                  <a:pt x="8" y="26"/>
                  <a:pt x="11" y="26"/>
                  <a:pt x="13" y="26"/>
                </a:cubicBezTo>
                <a:cubicBezTo>
                  <a:pt x="19" y="36"/>
                  <a:pt x="19" y="36"/>
                  <a:pt x="19" y="36"/>
                </a:cubicBezTo>
                <a:cubicBezTo>
                  <a:pt x="20" y="27"/>
                  <a:pt x="20" y="27"/>
                  <a:pt x="20" y="27"/>
                </a:cubicBezTo>
                <a:cubicBezTo>
                  <a:pt x="20" y="27"/>
                  <a:pt x="20" y="27"/>
                  <a:pt x="20" y="27"/>
                </a:cubicBezTo>
                <a:cubicBezTo>
                  <a:pt x="20" y="25"/>
                  <a:pt x="20" y="25"/>
                  <a:pt x="20" y="25"/>
                </a:cubicBezTo>
                <a:cubicBezTo>
                  <a:pt x="24" y="25"/>
                  <a:pt x="24" y="25"/>
                  <a:pt x="24" y="25"/>
                </a:cubicBezTo>
                <a:cubicBezTo>
                  <a:pt x="24" y="27"/>
                  <a:pt x="24" y="27"/>
                  <a:pt x="24" y="27"/>
                </a:cubicBezTo>
                <a:cubicBezTo>
                  <a:pt x="23" y="27"/>
                  <a:pt x="23" y="27"/>
                  <a:pt x="23" y="27"/>
                </a:cubicBezTo>
                <a:cubicBezTo>
                  <a:pt x="25" y="36"/>
                  <a:pt x="25" y="36"/>
                  <a:pt x="25" y="36"/>
                </a:cubicBezTo>
                <a:cubicBezTo>
                  <a:pt x="31" y="26"/>
                  <a:pt x="31" y="26"/>
                  <a:pt x="31" y="26"/>
                </a:cubicBezTo>
                <a:cubicBezTo>
                  <a:pt x="32" y="26"/>
                  <a:pt x="34" y="26"/>
                  <a:pt x="36" y="26"/>
                </a:cubicBezTo>
                <a:cubicBezTo>
                  <a:pt x="40" y="35"/>
                  <a:pt x="42" y="44"/>
                  <a:pt x="44" y="54"/>
                </a:cubicBezTo>
                <a:close/>
                <a:moveTo>
                  <a:pt x="55" y="21"/>
                </a:moveTo>
                <a:cubicBezTo>
                  <a:pt x="55" y="21"/>
                  <a:pt x="56" y="23"/>
                  <a:pt x="57" y="23"/>
                </a:cubicBezTo>
                <a:cubicBezTo>
                  <a:pt x="59" y="24"/>
                  <a:pt x="62" y="23"/>
                  <a:pt x="62" y="23"/>
                </a:cubicBezTo>
                <a:cubicBezTo>
                  <a:pt x="61" y="22"/>
                  <a:pt x="60" y="21"/>
                  <a:pt x="60" y="20"/>
                </a:cubicBezTo>
                <a:cubicBezTo>
                  <a:pt x="59" y="17"/>
                  <a:pt x="59" y="14"/>
                  <a:pt x="59" y="12"/>
                </a:cubicBezTo>
                <a:cubicBezTo>
                  <a:pt x="62" y="17"/>
                  <a:pt x="67" y="12"/>
                  <a:pt x="71" y="12"/>
                </a:cubicBezTo>
                <a:cubicBezTo>
                  <a:pt x="71" y="14"/>
                  <a:pt x="71" y="17"/>
                  <a:pt x="70" y="20"/>
                </a:cubicBezTo>
                <a:cubicBezTo>
                  <a:pt x="70" y="21"/>
                  <a:pt x="69" y="22"/>
                  <a:pt x="68" y="23"/>
                </a:cubicBezTo>
                <a:cubicBezTo>
                  <a:pt x="69" y="24"/>
                  <a:pt x="72" y="24"/>
                  <a:pt x="74" y="23"/>
                </a:cubicBezTo>
                <a:cubicBezTo>
                  <a:pt x="75" y="22"/>
                  <a:pt x="75" y="14"/>
                  <a:pt x="75" y="13"/>
                </a:cubicBezTo>
                <a:cubicBezTo>
                  <a:pt x="74" y="10"/>
                  <a:pt x="74" y="7"/>
                  <a:pt x="72" y="6"/>
                </a:cubicBezTo>
                <a:cubicBezTo>
                  <a:pt x="68" y="3"/>
                  <a:pt x="62" y="3"/>
                  <a:pt x="58" y="6"/>
                </a:cubicBezTo>
                <a:cubicBezTo>
                  <a:pt x="56" y="8"/>
                  <a:pt x="54" y="16"/>
                  <a:pt x="55" y="21"/>
                </a:cubicBezTo>
                <a:close/>
                <a:moveTo>
                  <a:pt x="55" y="55"/>
                </a:moveTo>
                <a:cubicBezTo>
                  <a:pt x="52" y="68"/>
                  <a:pt x="52" y="68"/>
                  <a:pt x="52" y="68"/>
                </a:cubicBezTo>
                <a:cubicBezTo>
                  <a:pt x="55" y="86"/>
                  <a:pt x="55" y="86"/>
                  <a:pt x="55" y="86"/>
                </a:cubicBezTo>
                <a:cubicBezTo>
                  <a:pt x="58" y="86"/>
                  <a:pt x="58" y="86"/>
                  <a:pt x="58" y="86"/>
                </a:cubicBezTo>
                <a:cubicBezTo>
                  <a:pt x="61" y="106"/>
                  <a:pt x="61" y="106"/>
                  <a:pt x="61" y="106"/>
                </a:cubicBezTo>
                <a:cubicBezTo>
                  <a:pt x="66" y="106"/>
                  <a:pt x="66" y="106"/>
                  <a:pt x="66" y="106"/>
                </a:cubicBezTo>
                <a:cubicBezTo>
                  <a:pt x="65" y="86"/>
                  <a:pt x="65" y="86"/>
                  <a:pt x="65" y="86"/>
                </a:cubicBezTo>
                <a:cubicBezTo>
                  <a:pt x="67" y="86"/>
                  <a:pt x="67" y="86"/>
                  <a:pt x="67" y="86"/>
                </a:cubicBezTo>
                <a:cubicBezTo>
                  <a:pt x="68" y="106"/>
                  <a:pt x="68" y="106"/>
                  <a:pt x="68" y="106"/>
                </a:cubicBezTo>
                <a:cubicBezTo>
                  <a:pt x="72" y="106"/>
                  <a:pt x="72" y="106"/>
                  <a:pt x="72" y="106"/>
                </a:cubicBezTo>
                <a:cubicBezTo>
                  <a:pt x="75" y="86"/>
                  <a:pt x="75" y="86"/>
                  <a:pt x="75" y="86"/>
                </a:cubicBezTo>
                <a:cubicBezTo>
                  <a:pt x="78" y="86"/>
                  <a:pt x="78" y="86"/>
                  <a:pt x="78" y="86"/>
                </a:cubicBezTo>
                <a:cubicBezTo>
                  <a:pt x="80" y="68"/>
                  <a:pt x="80" y="68"/>
                  <a:pt x="80" y="68"/>
                </a:cubicBezTo>
                <a:cubicBezTo>
                  <a:pt x="76" y="54"/>
                  <a:pt x="76" y="54"/>
                  <a:pt x="76" y="54"/>
                </a:cubicBezTo>
                <a:cubicBezTo>
                  <a:pt x="81" y="61"/>
                  <a:pt x="81" y="61"/>
                  <a:pt x="81" y="61"/>
                </a:cubicBezTo>
                <a:cubicBezTo>
                  <a:pt x="85" y="59"/>
                  <a:pt x="85" y="59"/>
                  <a:pt x="85" y="59"/>
                </a:cubicBezTo>
                <a:cubicBezTo>
                  <a:pt x="78" y="27"/>
                  <a:pt x="78" y="27"/>
                  <a:pt x="78" y="27"/>
                </a:cubicBezTo>
                <a:cubicBezTo>
                  <a:pt x="77" y="27"/>
                  <a:pt x="77" y="27"/>
                  <a:pt x="77" y="27"/>
                </a:cubicBezTo>
                <a:cubicBezTo>
                  <a:pt x="74" y="27"/>
                  <a:pt x="74" y="27"/>
                  <a:pt x="74" y="27"/>
                </a:cubicBezTo>
                <a:cubicBezTo>
                  <a:pt x="73" y="27"/>
                  <a:pt x="73" y="27"/>
                  <a:pt x="73" y="27"/>
                </a:cubicBezTo>
                <a:cubicBezTo>
                  <a:pt x="71" y="30"/>
                  <a:pt x="69" y="32"/>
                  <a:pt x="65" y="32"/>
                </a:cubicBezTo>
                <a:cubicBezTo>
                  <a:pt x="62" y="32"/>
                  <a:pt x="59" y="30"/>
                  <a:pt x="58" y="27"/>
                </a:cubicBezTo>
                <a:cubicBezTo>
                  <a:pt x="57" y="27"/>
                  <a:pt x="57" y="27"/>
                  <a:pt x="57" y="27"/>
                </a:cubicBezTo>
                <a:cubicBezTo>
                  <a:pt x="54" y="27"/>
                  <a:pt x="54" y="27"/>
                  <a:pt x="54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47" y="62"/>
                  <a:pt x="47" y="62"/>
                  <a:pt x="47" y="62"/>
                </a:cubicBezTo>
                <a:cubicBezTo>
                  <a:pt x="51" y="64"/>
                  <a:pt x="51" y="64"/>
                  <a:pt x="51" y="64"/>
                </a:cubicBezTo>
                <a:cubicBezTo>
                  <a:pt x="55" y="55"/>
                  <a:pt x="55" y="55"/>
                  <a:pt x="55" y="55"/>
                </a:cubicBezTo>
                <a:close/>
                <a:moveTo>
                  <a:pt x="15" y="16"/>
                </a:moveTo>
                <a:cubicBezTo>
                  <a:pt x="14" y="13"/>
                  <a:pt x="14" y="11"/>
                  <a:pt x="15" y="8"/>
                </a:cubicBezTo>
                <a:cubicBezTo>
                  <a:pt x="19" y="13"/>
                  <a:pt x="24" y="9"/>
                  <a:pt x="28" y="8"/>
                </a:cubicBezTo>
                <a:cubicBezTo>
                  <a:pt x="28" y="11"/>
                  <a:pt x="28" y="13"/>
                  <a:pt x="28" y="16"/>
                </a:cubicBezTo>
                <a:cubicBezTo>
                  <a:pt x="31" y="14"/>
                  <a:pt x="31" y="7"/>
                  <a:pt x="30" y="4"/>
                </a:cubicBezTo>
                <a:cubicBezTo>
                  <a:pt x="27" y="0"/>
                  <a:pt x="17" y="0"/>
                  <a:pt x="14" y="4"/>
                </a:cubicBezTo>
                <a:cubicBezTo>
                  <a:pt x="13" y="5"/>
                  <a:pt x="11" y="14"/>
                  <a:pt x="15" y="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7" name="Freeform 72"/>
          <p:cNvSpPr>
            <a:spLocks noEditPoints="1" noChangeArrowheads="1"/>
          </p:cNvSpPr>
          <p:nvPr/>
        </p:nvSpPr>
        <p:spPr bwMode="auto">
          <a:xfrm>
            <a:off x="8873067" y="5636685"/>
            <a:ext cx="459317" cy="410633"/>
          </a:xfrm>
          <a:custGeom>
            <a:avLst/>
            <a:gdLst>
              <a:gd name="T0" fmla="*/ 408146654 w 101"/>
              <a:gd name="T1" fmla="*/ 903054561 h 90"/>
              <a:gd name="T2" fmla="*/ 443127534 w 101"/>
              <a:gd name="T3" fmla="*/ 938238994 h 90"/>
              <a:gd name="T4" fmla="*/ 478111826 w 101"/>
              <a:gd name="T5" fmla="*/ 938238994 h 90"/>
              <a:gd name="T6" fmla="*/ 501434686 w 101"/>
              <a:gd name="T7" fmla="*/ 926511990 h 90"/>
              <a:gd name="T8" fmla="*/ 524757547 w 101"/>
              <a:gd name="T9" fmla="*/ 879600554 h 90"/>
              <a:gd name="T10" fmla="*/ 524757547 w 101"/>
              <a:gd name="T11" fmla="*/ 879600554 h 90"/>
              <a:gd name="T12" fmla="*/ 524757547 w 101"/>
              <a:gd name="T13" fmla="*/ 551217077 h 90"/>
              <a:gd name="T14" fmla="*/ 338178071 w 101"/>
              <a:gd name="T15" fmla="*/ 609855517 h 90"/>
              <a:gd name="T16" fmla="*/ 0 w 101"/>
              <a:gd name="T17" fmla="*/ 609855517 h 90"/>
              <a:gd name="T18" fmla="*/ 501434686 w 101"/>
              <a:gd name="T19" fmla="*/ 70368866 h 90"/>
              <a:gd name="T20" fmla="*/ 524757547 w 101"/>
              <a:gd name="T21" fmla="*/ 0 h 90"/>
              <a:gd name="T22" fmla="*/ 641371851 w 101"/>
              <a:gd name="T23" fmla="*/ 0 h 90"/>
              <a:gd name="T24" fmla="*/ 653033282 w 101"/>
              <a:gd name="T25" fmla="*/ 70368866 h 90"/>
              <a:gd name="T26" fmla="*/ 1177790829 w 101"/>
              <a:gd name="T27" fmla="*/ 609855517 h 90"/>
              <a:gd name="T28" fmla="*/ 827951327 w 101"/>
              <a:gd name="T29" fmla="*/ 609855517 h 90"/>
              <a:gd name="T30" fmla="*/ 653033282 w 101"/>
              <a:gd name="T31" fmla="*/ 551217077 h 90"/>
              <a:gd name="T32" fmla="*/ 653033282 w 101"/>
              <a:gd name="T33" fmla="*/ 879600554 h 90"/>
              <a:gd name="T34" fmla="*/ 653033282 w 101"/>
              <a:gd name="T35" fmla="*/ 879600554 h 90"/>
              <a:gd name="T36" fmla="*/ 571403269 w 101"/>
              <a:gd name="T37" fmla="*/ 1032061866 h 90"/>
              <a:gd name="T38" fmla="*/ 489773256 w 101"/>
              <a:gd name="T39" fmla="*/ 1055519296 h 90"/>
              <a:gd name="T40" fmla="*/ 408146654 w 101"/>
              <a:gd name="T41" fmla="*/ 1043792292 h 90"/>
              <a:gd name="T42" fmla="*/ 291532350 w 101"/>
              <a:gd name="T43" fmla="*/ 926511990 h 90"/>
              <a:gd name="T44" fmla="*/ 408146654 w 101"/>
              <a:gd name="T45" fmla="*/ 903054561 h 90"/>
              <a:gd name="T46" fmla="*/ 827951327 w 101"/>
              <a:gd name="T47" fmla="*/ 504302219 h 90"/>
              <a:gd name="T48" fmla="*/ 921242771 w 101"/>
              <a:gd name="T49" fmla="*/ 480848211 h 90"/>
              <a:gd name="T50" fmla="*/ 664694712 w 101"/>
              <a:gd name="T51" fmla="*/ 152464735 h 90"/>
              <a:gd name="T52" fmla="*/ 827951327 w 101"/>
              <a:gd name="T53" fmla="*/ 504302219 h 90"/>
              <a:gd name="T54" fmla="*/ 116614304 w 101"/>
              <a:gd name="T55" fmla="*/ 469121208 h 90"/>
              <a:gd name="T56" fmla="*/ 233225198 w 101"/>
              <a:gd name="T57" fmla="*/ 457390782 h 90"/>
              <a:gd name="T58" fmla="*/ 373162363 w 101"/>
              <a:gd name="T59" fmla="*/ 187649168 h 90"/>
              <a:gd name="T60" fmla="*/ 116614304 w 101"/>
              <a:gd name="T61" fmla="*/ 469121208 h 9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01"/>
              <a:gd name="T94" fmla="*/ 0 h 90"/>
              <a:gd name="T95" fmla="*/ 101 w 101"/>
              <a:gd name="T96" fmla="*/ 90 h 9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01" h="90">
                <a:moveTo>
                  <a:pt x="35" y="77"/>
                </a:moveTo>
                <a:cubicBezTo>
                  <a:pt x="36" y="78"/>
                  <a:pt x="37" y="79"/>
                  <a:pt x="38" y="80"/>
                </a:cubicBezTo>
                <a:cubicBezTo>
                  <a:pt x="39" y="80"/>
                  <a:pt x="40" y="80"/>
                  <a:pt x="41" y="80"/>
                </a:cubicBezTo>
                <a:cubicBezTo>
                  <a:pt x="42" y="80"/>
                  <a:pt x="43" y="80"/>
                  <a:pt x="43" y="79"/>
                </a:cubicBezTo>
                <a:cubicBezTo>
                  <a:pt x="44" y="78"/>
                  <a:pt x="45" y="77"/>
                  <a:pt x="45" y="75"/>
                </a:cubicBezTo>
                <a:cubicBezTo>
                  <a:pt x="45" y="75"/>
                  <a:pt x="45" y="75"/>
                  <a:pt x="45" y="75"/>
                </a:cubicBezTo>
                <a:cubicBezTo>
                  <a:pt x="45" y="47"/>
                  <a:pt x="45" y="47"/>
                  <a:pt x="45" y="47"/>
                </a:cubicBezTo>
                <a:cubicBezTo>
                  <a:pt x="38" y="47"/>
                  <a:pt x="34" y="49"/>
                  <a:pt x="29" y="52"/>
                </a:cubicBezTo>
                <a:cubicBezTo>
                  <a:pt x="18" y="47"/>
                  <a:pt x="8" y="47"/>
                  <a:pt x="0" y="52"/>
                </a:cubicBezTo>
                <a:cubicBezTo>
                  <a:pt x="2" y="26"/>
                  <a:pt x="16" y="9"/>
                  <a:pt x="43" y="6"/>
                </a:cubicBezTo>
                <a:cubicBezTo>
                  <a:pt x="45" y="0"/>
                  <a:pt x="45" y="0"/>
                  <a:pt x="45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6" y="6"/>
                  <a:pt x="56" y="6"/>
                  <a:pt x="56" y="6"/>
                </a:cubicBezTo>
                <a:cubicBezTo>
                  <a:pt x="84" y="9"/>
                  <a:pt x="98" y="26"/>
                  <a:pt x="101" y="52"/>
                </a:cubicBezTo>
                <a:cubicBezTo>
                  <a:pt x="92" y="47"/>
                  <a:pt x="82" y="47"/>
                  <a:pt x="71" y="52"/>
                </a:cubicBezTo>
                <a:cubicBezTo>
                  <a:pt x="67" y="49"/>
                  <a:pt x="62" y="47"/>
                  <a:pt x="56" y="47"/>
                </a:cubicBezTo>
                <a:cubicBezTo>
                  <a:pt x="56" y="75"/>
                  <a:pt x="56" y="75"/>
                  <a:pt x="56" y="75"/>
                </a:cubicBezTo>
                <a:cubicBezTo>
                  <a:pt x="56" y="75"/>
                  <a:pt x="56" y="75"/>
                  <a:pt x="56" y="75"/>
                </a:cubicBezTo>
                <a:cubicBezTo>
                  <a:pt x="55" y="81"/>
                  <a:pt x="53" y="85"/>
                  <a:pt x="49" y="88"/>
                </a:cubicBezTo>
                <a:cubicBezTo>
                  <a:pt x="47" y="89"/>
                  <a:pt x="44" y="90"/>
                  <a:pt x="42" y="90"/>
                </a:cubicBezTo>
                <a:cubicBezTo>
                  <a:pt x="40" y="90"/>
                  <a:pt x="37" y="90"/>
                  <a:pt x="35" y="89"/>
                </a:cubicBezTo>
                <a:cubicBezTo>
                  <a:pt x="30" y="88"/>
                  <a:pt x="26" y="84"/>
                  <a:pt x="25" y="79"/>
                </a:cubicBezTo>
                <a:cubicBezTo>
                  <a:pt x="35" y="77"/>
                  <a:pt x="35" y="77"/>
                  <a:pt x="35" y="77"/>
                </a:cubicBezTo>
                <a:close/>
                <a:moveTo>
                  <a:pt x="71" y="43"/>
                </a:moveTo>
                <a:cubicBezTo>
                  <a:pt x="74" y="42"/>
                  <a:pt x="76" y="42"/>
                  <a:pt x="79" y="41"/>
                </a:cubicBezTo>
                <a:cubicBezTo>
                  <a:pt x="77" y="23"/>
                  <a:pt x="68" y="16"/>
                  <a:pt x="57" y="13"/>
                </a:cubicBezTo>
                <a:cubicBezTo>
                  <a:pt x="67" y="20"/>
                  <a:pt x="73" y="29"/>
                  <a:pt x="71" y="43"/>
                </a:cubicBezTo>
                <a:close/>
                <a:moveTo>
                  <a:pt x="10" y="40"/>
                </a:moveTo>
                <a:cubicBezTo>
                  <a:pt x="13" y="40"/>
                  <a:pt x="16" y="40"/>
                  <a:pt x="20" y="39"/>
                </a:cubicBezTo>
                <a:cubicBezTo>
                  <a:pt x="24" y="31"/>
                  <a:pt x="28" y="24"/>
                  <a:pt x="32" y="16"/>
                </a:cubicBezTo>
                <a:cubicBezTo>
                  <a:pt x="20" y="19"/>
                  <a:pt x="13" y="28"/>
                  <a:pt x="10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8" name="Freeform 73"/>
          <p:cNvSpPr>
            <a:spLocks noEditPoints="1" noChangeArrowheads="1"/>
          </p:cNvSpPr>
          <p:nvPr/>
        </p:nvSpPr>
        <p:spPr bwMode="auto">
          <a:xfrm>
            <a:off x="8060267" y="5649384"/>
            <a:ext cx="429684" cy="372533"/>
          </a:xfrm>
          <a:custGeom>
            <a:avLst/>
            <a:gdLst>
              <a:gd name="T0" fmla="*/ 46981831 w 94"/>
              <a:gd name="T1" fmla="*/ 226031151 h 81"/>
              <a:gd name="T2" fmla="*/ 540277348 w 94"/>
              <a:gd name="T3" fmla="*/ 226031151 h 81"/>
              <a:gd name="T4" fmla="*/ 587255751 w 94"/>
              <a:gd name="T5" fmla="*/ 202237309 h 81"/>
              <a:gd name="T6" fmla="*/ 857394425 w 94"/>
              <a:gd name="T7" fmla="*/ 0 h 81"/>
              <a:gd name="T8" fmla="*/ 857394425 w 94"/>
              <a:gd name="T9" fmla="*/ 392581146 h 81"/>
              <a:gd name="T10" fmla="*/ 857394425 w 94"/>
              <a:gd name="T11" fmla="*/ 785158842 h 81"/>
              <a:gd name="T12" fmla="*/ 587255751 w 94"/>
              <a:gd name="T13" fmla="*/ 594818454 h 81"/>
              <a:gd name="T14" fmla="*/ 540277348 w 94"/>
              <a:gd name="T15" fmla="*/ 559127691 h 81"/>
              <a:gd name="T16" fmla="*/ 399335282 w 94"/>
              <a:gd name="T17" fmla="*/ 559127691 h 81"/>
              <a:gd name="T18" fmla="*/ 469804601 w 94"/>
              <a:gd name="T19" fmla="*/ 832746526 h 81"/>
              <a:gd name="T20" fmla="*/ 528531890 w 94"/>
              <a:gd name="T21" fmla="*/ 832746526 h 81"/>
              <a:gd name="T22" fmla="*/ 528531890 w 94"/>
              <a:gd name="T23" fmla="*/ 963605758 h 81"/>
              <a:gd name="T24" fmla="*/ 505040974 w 94"/>
              <a:gd name="T25" fmla="*/ 963605758 h 81"/>
              <a:gd name="T26" fmla="*/ 246647758 w 94"/>
              <a:gd name="T27" fmla="*/ 963605758 h 81"/>
              <a:gd name="T28" fmla="*/ 129196608 w 94"/>
              <a:gd name="T29" fmla="*/ 559127691 h 81"/>
              <a:gd name="T30" fmla="*/ 46981831 w 94"/>
              <a:gd name="T31" fmla="*/ 559127691 h 81"/>
              <a:gd name="T32" fmla="*/ 46981831 w 94"/>
              <a:gd name="T33" fmla="*/ 226031151 h 81"/>
              <a:gd name="T34" fmla="*/ 1021827406 w 94"/>
              <a:gd name="T35" fmla="*/ 273615385 h 81"/>
              <a:gd name="T36" fmla="*/ 1104042183 w 94"/>
              <a:gd name="T37" fmla="*/ 392581146 h 81"/>
              <a:gd name="T38" fmla="*/ 1021827406 w 94"/>
              <a:gd name="T39" fmla="*/ 523440378 h 81"/>
              <a:gd name="T40" fmla="*/ 1021827406 w 94"/>
              <a:gd name="T41" fmla="*/ 785158842 h 81"/>
              <a:gd name="T42" fmla="*/ 916121714 w 94"/>
              <a:gd name="T43" fmla="*/ 785158842 h 81"/>
              <a:gd name="T44" fmla="*/ 916121714 w 94"/>
              <a:gd name="T45" fmla="*/ 11896921 h 81"/>
              <a:gd name="T46" fmla="*/ 1021827406 w 94"/>
              <a:gd name="T47" fmla="*/ 11896921 h 81"/>
              <a:gd name="T48" fmla="*/ 1021827406 w 94"/>
              <a:gd name="T49" fmla="*/ 273615385 h 81"/>
              <a:gd name="T50" fmla="*/ 540277348 w 94"/>
              <a:gd name="T51" fmla="*/ 582921533 h 81"/>
              <a:gd name="T52" fmla="*/ 434568227 w 94"/>
              <a:gd name="T53" fmla="*/ 582921533 h 81"/>
              <a:gd name="T54" fmla="*/ 469804601 w 94"/>
              <a:gd name="T55" fmla="*/ 725677686 h 81"/>
              <a:gd name="T56" fmla="*/ 505040974 w 94"/>
              <a:gd name="T57" fmla="*/ 725677686 h 81"/>
              <a:gd name="T58" fmla="*/ 505040974 w 94"/>
              <a:gd name="T59" fmla="*/ 678093452 h 81"/>
              <a:gd name="T60" fmla="*/ 540277348 w 94"/>
              <a:gd name="T61" fmla="*/ 582921533 h 81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94"/>
              <a:gd name="T94" fmla="*/ 0 h 81"/>
              <a:gd name="T95" fmla="*/ 94 w 94"/>
              <a:gd name="T96" fmla="*/ 81 h 81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94" h="81">
                <a:moveTo>
                  <a:pt x="4" y="19"/>
                </a:moveTo>
                <a:cubicBezTo>
                  <a:pt x="46" y="19"/>
                  <a:pt x="46" y="19"/>
                  <a:pt x="46" y="19"/>
                </a:cubicBezTo>
                <a:cubicBezTo>
                  <a:pt x="50" y="17"/>
                  <a:pt x="50" y="17"/>
                  <a:pt x="50" y="17"/>
                </a:cubicBezTo>
                <a:cubicBezTo>
                  <a:pt x="73" y="0"/>
                  <a:pt x="73" y="0"/>
                  <a:pt x="73" y="0"/>
                </a:cubicBezTo>
                <a:cubicBezTo>
                  <a:pt x="73" y="33"/>
                  <a:pt x="73" y="33"/>
                  <a:pt x="73" y="33"/>
                </a:cubicBezTo>
                <a:cubicBezTo>
                  <a:pt x="73" y="66"/>
                  <a:pt x="73" y="66"/>
                  <a:pt x="73" y="66"/>
                </a:cubicBezTo>
                <a:cubicBezTo>
                  <a:pt x="50" y="50"/>
                  <a:pt x="50" y="50"/>
                  <a:pt x="50" y="50"/>
                </a:cubicBezTo>
                <a:cubicBezTo>
                  <a:pt x="46" y="47"/>
                  <a:pt x="46" y="47"/>
                  <a:pt x="46" y="47"/>
                </a:cubicBezTo>
                <a:cubicBezTo>
                  <a:pt x="34" y="47"/>
                  <a:pt x="34" y="47"/>
                  <a:pt x="34" y="47"/>
                </a:cubicBezTo>
                <a:cubicBezTo>
                  <a:pt x="40" y="70"/>
                  <a:pt x="40" y="70"/>
                  <a:pt x="40" y="70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81"/>
                  <a:pt x="45" y="81"/>
                  <a:pt x="45" y="81"/>
                </a:cubicBezTo>
                <a:cubicBezTo>
                  <a:pt x="43" y="81"/>
                  <a:pt x="43" y="81"/>
                  <a:pt x="43" y="81"/>
                </a:cubicBezTo>
                <a:cubicBezTo>
                  <a:pt x="21" y="81"/>
                  <a:pt x="21" y="81"/>
                  <a:pt x="21" y="81"/>
                </a:cubicBezTo>
                <a:cubicBezTo>
                  <a:pt x="11" y="47"/>
                  <a:pt x="11" y="47"/>
                  <a:pt x="11" y="47"/>
                </a:cubicBezTo>
                <a:cubicBezTo>
                  <a:pt x="4" y="47"/>
                  <a:pt x="4" y="47"/>
                  <a:pt x="4" y="47"/>
                </a:cubicBezTo>
                <a:cubicBezTo>
                  <a:pt x="0" y="38"/>
                  <a:pt x="0" y="29"/>
                  <a:pt x="4" y="19"/>
                </a:cubicBezTo>
                <a:close/>
                <a:moveTo>
                  <a:pt x="87" y="23"/>
                </a:moveTo>
                <a:cubicBezTo>
                  <a:pt x="91" y="25"/>
                  <a:pt x="94" y="29"/>
                  <a:pt x="94" y="33"/>
                </a:cubicBezTo>
                <a:cubicBezTo>
                  <a:pt x="94" y="38"/>
                  <a:pt x="91" y="42"/>
                  <a:pt x="87" y="44"/>
                </a:cubicBezTo>
                <a:cubicBezTo>
                  <a:pt x="87" y="66"/>
                  <a:pt x="87" y="66"/>
                  <a:pt x="87" y="66"/>
                </a:cubicBezTo>
                <a:cubicBezTo>
                  <a:pt x="78" y="66"/>
                  <a:pt x="78" y="66"/>
                  <a:pt x="78" y="66"/>
                </a:cubicBezTo>
                <a:cubicBezTo>
                  <a:pt x="78" y="1"/>
                  <a:pt x="78" y="1"/>
                  <a:pt x="78" y="1"/>
                </a:cubicBezTo>
                <a:cubicBezTo>
                  <a:pt x="87" y="1"/>
                  <a:pt x="87" y="1"/>
                  <a:pt x="87" y="1"/>
                </a:cubicBezTo>
                <a:cubicBezTo>
                  <a:pt x="87" y="23"/>
                  <a:pt x="87" y="23"/>
                  <a:pt x="87" y="23"/>
                </a:cubicBezTo>
                <a:close/>
                <a:moveTo>
                  <a:pt x="46" y="49"/>
                </a:moveTo>
                <a:cubicBezTo>
                  <a:pt x="37" y="49"/>
                  <a:pt x="37" y="49"/>
                  <a:pt x="37" y="49"/>
                </a:cubicBezTo>
                <a:cubicBezTo>
                  <a:pt x="40" y="61"/>
                  <a:pt x="40" y="61"/>
                  <a:pt x="40" y="61"/>
                </a:cubicBezTo>
                <a:cubicBezTo>
                  <a:pt x="43" y="61"/>
                  <a:pt x="43" y="61"/>
                  <a:pt x="43" y="61"/>
                </a:cubicBezTo>
                <a:cubicBezTo>
                  <a:pt x="43" y="57"/>
                  <a:pt x="43" y="57"/>
                  <a:pt x="43" y="57"/>
                </a:cubicBezTo>
                <a:lnTo>
                  <a:pt x="46" y="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69" name="Freeform 75"/>
          <p:cNvSpPr>
            <a:spLocks noEditPoints="1" noChangeArrowheads="1"/>
          </p:cNvSpPr>
          <p:nvPr/>
        </p:nvSpPr>
        <p:spPr bwMode="auto">
          <a:xfrm>
            <a:off x="5471585" y="4866218"/>
            <a:ext cx="452967" cy="311149"/>
          </a:xfrm>
          <a:custGeom>
            <a:avLst/>
            <a:gdLst>
              <a:gd name="T0" fmla="*/ 117675249 w 99"/>
              <a:gd name="T1" fmla="*/ 211477449 h 68"/>
              <a:gd name="T2" fmla="*/ 70604463 w 99"/>
              <a:gd name="T3" fmla="*/ 305467426 h 68"/>
              <a:gd name="T4" fmla="*/ 658991006 w 99"/>
              <a:gd name="T5" fmla="*/ 681427335 h 68"/>
              <a:gd name="T6" fmla="*/ 929645452 w 99"/>
              <a:gd name="T7" fmla="*/ 657929841 h 68"/>
              <a:gd name="T8" fmla="*/ 1000253347 w 99"/>
              <a:gd name="T9" fmla="*/ 740172787 h 68"/>
              <a:gd name="T10" fmla="*/ 964949399 w 99"/>
              <a:gd name="T11" fmla="*/ 775417313 h 68"/>
              <a:gd name="T12" fmla="*/ 47070786 w 99"/>
              <a:gd name="T13" fmla="*/ 775417313 h 68"/>
              <a:gd name="T14" fmla="*/ 0 w 99"/>
              <a:gd name="T15" fmla="*/ 740172787 h 68"/>
              <a:gd name="T16" fmla="*/ 0 w 99"/>
              <a:gd name="T17" fmla="*/ 258472438 h 68"/>
              <a:gd name="T18" fmla="*/ 682524683 w 99"/>
              <a:gd name="T19" fmla="*/ 129237935 h 68"/>
              <a:gd name="T20" fmla="*/ 717828630 w 99"/>
              <a:gd name="T21" fmla="*/ 199730418 h 68"/>
              <a:gd name="T22" fmla="*/ 670757844 w 99"/>
              <a:gd name="T23" fmla="*/ 246725406 h 68"/>
              <a:gd name="T24" fmla="*/ 658991006 w 99"/>
              <a:gd name="T25" fmla="*/ 187979955 h 68"/>
              <a:gd name="T26" fmla="*/ 647220735 w 99"/>
              <a:gd name="T27" fmla="*/ 223227912 h 68"/>
              <a:gd name="T28" fmla="*/ 717828630 w 99"/>
              <a:gd name="T29" fmla="*/ 317217889 h 68"/>
              <a:gd name="T30" fmla="*/ 729595469 w 99"/>
              <a:gd name="T31" fmla="*/ 375959909 h 68"/>
              <a:gd name="T32" fmla="*/ 682524683 w 99"/>
              <a:gd name="T33" fmla="*/ 458202855 h 68"/>
              <a:gd name="T34" fmla="*/ 682524683 w 99"/>
              <a:gd name="T35" fmla="*/ 129237935 h 68"/>
              <a:gd name="T36" fmla="*/ 164746036 w 99"/>
              <a:gd name="T37" fmla="*/ 93989977 h 68"/>
              <a:gd name="T38" fmla="*/ 164746036 w 99"/>
              <a:gd name="T39" fmla="*/ 587437358 h 68"/>
              <a:gd name="T40" fmla="*/ 211816822 w 99"/>
              <a:gd name="T41" fmla="*/ 610934852 h 68"/>
              <a:gd name="T42" fmla="*/ 1129695435 w 99"/>
              <a:gd name="T43" fmla="*/ 622685315 h 68"/>
              <a:gd name="T44" fmla="*/ 1164999383 w 99"/>
              <a:gd name="T45" fmla="*/ 587437358 h 68"/>
              <a:gd name="T46" fmla="*/ 1164999383 w 99"/>
              <a:gd name="T47" fmla="*/ 82242946 h 68"/>
              <a:gd name="T48" fmla="*/ 811970203 w 99"/>
              <a:gd name="T49" fmla="*/ 58745452 h 68"/>
              <a:gd name="T50" fmla="*/ 811970203 w 99"/>
              <a:gd name="T51" fmla="*/ 129237935 h 68"/>
              <a:gd name="T52" fmla="*/ 235353931 w 99"/>
              <a:gd name="T53" fmla="*/ 246725406 h 68"/>
              <a:gd name="T54" fmla="*/ 353029180 w 99"/>
              <a:gd name="T55" fmla="*/ 493447381 h 68"/>
              <a:gd name="T56" fmla="*/ 964949399 w 99"/>
              <a:gd name="T57" fmla="*/ 540442369 h 68"/>
              <a:gd name="T58" fmla="*/ 1094394919 w 99"/>
              <a:gd name="T59" fmla="*/ 281969932 h 68"/>
              <a:gd name="T60" fmla="*/ 811970203 w 99"/>
              <a:gd name="T61" fmla="*/ 129237935 h 68"/>
              <a:gd name="T62" fmla="*/ 235353931 w 99"/>
              <a:gd name="T63" fmla="*/ 528695338 h 68"/>
              <a:gd name="T64" fmla="*/ 235353931 w 99"/>
              <a:gd name="T65" fmla="*/ 528695338 h 68"/>
              <a:gd name="T66" fmla="*/ 635453897 w 99"/>
              <a:gd name="T67" fmla="*/ 422954898 h 68"/>
              <a:gd name="T68" fmla="*/ 588383111 w 99"/>
              <a:gd name="T69" fmla="*/ 317217889 h 68"/>
              <a:gd name="T70" fmla="*/ 647220735 w 99"/>
              <a:gd name="T71" fmla="*/ 387710372 h 68"/>
              <a:gd name="T72" fmla="*/ 670757844 w 99"/>
              <a:gd name="T73" fmla="*/ 387710372 h 68"/>
              <a:gd name="T74" fmla="*/ 658991006 w 99"/>
              <a:gd name="T75" fmla="*/ 328964921 h 68"/>
              <a:gd name="T76" fmla="*/ 588383111 w 99"/>
              <a:gd name="T77" fmla="*/ 234974943 h 68"/>
              <a:gd name="T78" fmla="*/ 635453897 w 99"/>
              <a:gd name="T79" fmla="*/ 164482460 h 68"/>
              <a:gd name="T80" fmla="*/ 529545486 w 99"/>
              <a:gd name="T81" fmla="*/ 293720395 h 6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99"/>
              <a:gd name="T124" fmla="*/ 0 h 68"/>
              <a:gd name="T125" fmla="*/ 99 w 99"/>
              <a:gd name="T126" fmla="*/ 68 h 6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99" h="68">
                <a:moveTo>
                  <a:pt x="2" y="21"/>
                </a:moveTo>
                <a:cubicBezTo>
                  <a:pt x="4" y="20"/>
                  <a:pt x="7" y="19"/>
                  <a:pt x="10" y="18"/>
                </a:cubicBezTo>
                <a:cubicBezTo>
                  <a:pt x="10" y="24"/>
                  <a:pt x="10" y="24"/>
                  <a:pt x="10" y="24"/>
                </a:cubicBezTo>
                <a:cubicBezTo>
                  <a:pt x="9" y="25"/>
                  <a:pt x="7" y="25"/>
                  <a:pt x="6" y="26"/>
                </a:cubicBezTo>
                <a:cubicBezTo>
                  <a:pt x="6" y="59"/>
                  <a:pt x="6" y="59"/>
                  <a:pt x="6" y="59"/>
                </a:cubicBezTo>
                <a:cubicBezTo>
                  <a:pt x="21" y="53"/>
                  <a:pt x="39" y="55"/>
                  <a:pt x="56" y="58"/>
                </a:cubicBezTo>
                <a:cubicBezTo>
                  <a:pt x="64" y="59"/>
                  <a:pt x="71" y="60"/>
                  <a:pt x="79" y="60"/>
                </a:cubicBezTo>
                <a:cubicBezTo>
                  <a:pt x="79" y="56"/>
                  <a:pt x="79" y="56"/>
                  <a:pt x="79" y="56"/>
                </a:cubicBezTo>
                <a:cubicBezTo>
                  <a:pt x="85" y="56"/>
                  <a:pt x="85" y="56"/>
                  <a:pt x="85" y="56"/>
                </a:cubicBezTo>
                <a:cubicBezTo>
                  <a:pt x="85" y="63"/>
                  <a:pt x="85" y="63"/>
                  <a:pt x="85" y="63"/>
                </a:cubicBezTo>
                <a:cubicBezTo>
                  <a:pt x="85" y="66"/>
                  <a:pt x="85" y="66"/>
                  <a:pt x="85" y="66"/>
                </a:cubicBezTo>
                <a:cubicBezTo>
                  <a:pt x="82" y="66"/>
                  <a:pt x="82" y="66"/>
                  <a:pt x="82" y="66"/>
                </a:cubicBezTo>
                <a:cubicBezTo>
                  <a:pt x="73" y="66"/>
                  <a:pt x="64" y="65"/>
                  <a:pt x="55" y="64"/>
                </a:cubicBezTo>
                <a:cubicBezTo>
                  <a:pt x="37" y="61"/>
                  <a:pt x="19" y="59"/>
                  <a:pt x="4" y="66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2"/>
                  <a:pt x="0" y="22"/>
                  <a:pt x="0" y="22"/>
                </a:cubicBezTo>
                <a:cubicBezTo>
                  <a:pt x="2" y="21"/>
                  <a:pt x="2" y="21"/>
                  <a:pt x="2" y="21"/>
                </a:cubicBezTo>
                <a:close/>
                <a:moveTo>
                  <a:pt x="58" y="11"/>
                </a:moveTo>
                <a:cubicBezTo>
                  <a:pt x="58" y="14"/>
                  <a:pt x="58" y="14"/>
                  <a:pt x="58" y="14"/>
                </a:cubicBezTo>
                <a:cubicBezTo>
                  <a:pt x="60" y="14"/>
                  <a:pt x="61" y="15"/>
                  <a:pt x="61" y="17"/>
                </a:cubicBezTo>
                <a:cubicBezTo>
                  <a:pt x="61" y="21"/>
                  <a:pt x="61" y="21"/>
                  <a:pt x="61" y="21"/>
                </a:cubicBezTo>
                <a:cubicBezTo>
                  <a:pt x="57" y="21"/>
                  <a:pt x="57" y="21"/>
                  <a:pt x="57" y="21"/>
                </a:cubicBezTo>
                <a:cubicBezTo>
                  <a:pt x="57" y="17"/>
                  <a:pt x="57" y="17"/>
                  <a:pt x="57" y="17"/>
                </a:cubicBezTo>
                <a:cubicBezTo>
                  <a:pt x="57" y="17"/>
                  <a:pt x="57" y="16"/>
                  <a:pt x="56" y="16"/>
                </a:cubicBezTo>
                <a:cubicBezTo>
                  <a:pt x="55" y="16"/>
                  <a:pt x="55" y="17"/>
                  <a:pt x="55" y="18"/>
                </a:cubicBezTo>
                <a:cubicBezTo>
                  <a:pt x="55" y="19"/>
                  <a:pt x="55" y="19"/>
                  <a:pt x="55" y="19"/>
                </a:cubicBezTo>
                <a:cubicBezTo>
                  <a:pt x="55" y="20"/>
                  <a:pt x="56" y="21"/>
                  <a:pt x="57" y="22"/>
                </a:cubicBezTo>
                <a:cubicBezTo>
                  <a:pt x="59" y="25"/>
                  <a:pt x="61" y="26"/>
                  <a:pt x="61" y="27"/>
                </a:cubicBezTo>
                <a:cubicBezTo>
                  <a:pt x="62" y="27"/>
                  <a:pt x="62" y="28"/>
                  <a:pt x="62" y="29"/>
                </a:cubicBezTo>
                <a:cubicBezTo>
                  <a:pt x="62" y="32"/>
                  <a:pt x="62" y="32"/>
                  <a:pt x="62" y="32"/>
                </a:cubicBezTo>
                <a:cubicBezTo>
                  <a:pt x="62" y="35"/>
                  <a:pt x="61" y="36"/>
                  <a:pt x="58" y="36"/>
                </a:cubicBezTo>
                <a:cubicBezTo>
                  <a:pt x="58" y="39"/>
                  <a:pt x="58" y="39"/>
                  <a:pt x="58" y="39"/>
                </a:cubicBezTo>
                <a:cubicBezTo>
                  <a:pt x="64" y="38"/>
                  <a:pt x="67" y="32"/>
                  <a:pt x="67" y="25"/>
                </a:cubicBezTo>
                <a:cubicBezTo>
                  <a:pt x="67" y="18"/>
                  <a:pt x="64" y="13"/>
                  <a:pt x="58" y="11"/>
                </a:cubicBezTo>
                <a:close/>
                <a:moveTo>
                  <a:pt x="15" y="7"/>
                </a:moveTo>
                <a:cubicBezTo>
                  <a:pt x="14" y="8"/>
                  <a:pt x="14" y="8"/>
                  <a:pt x="14" y="8"/>
                </a:cubicBezTo>
                <a:cubicBezTo>
                  <a:pt x="14" y="10"/>
                  <a:pt x="14" y="10"/>
                  <a:pt x="14" y="10"/>
                </a:cubicBezTo>
                <a:cubicBezTo>
                  <a:pt x="14" y="50"/>
                  <a:pt x="14" y="50"/>
                  <a:pt x="14" y="50"/>
                </a:cubicBezTo>
                <a:cubicBezTo>
                  <a:pt x="14" y="54"/>
                  <a:pt x="14" y="54"/>
                  <a:pt x="14" y="54"/>
                </a:cubicBezTo>
                <a:cubicBezTo>
                  <a:pt x="18" y="52"/>
                  <a:pt x="18" y="52"/>
                  <a:pt x="18" y="52"/>
                </a:cubicBezTo>
                <a:cubicBezTo>
                  <a:pt x="33" y="45"/>
                  <a:pt x="51" y="47"/>
                  <a:pt x="69" y="50"/>
                </a:cubicBezTo>
                <a:cubicBezTo>
                  <a:pt x="78" y="51"/>
                  <a:pt x="87" y="53"/>
                  <a:pt x="96" y="53"/>
                </a:cubicBezTo>
                <a:cubicBezTo>
                  <a:pt x="99" y="53"/>
                  <a:pt x="99" y="53"/>
                  <a:pt x="99" y="53"/>
                </a:cubicBezTo>
                <a:cubicBezTo>
                  <a:pt x="99" y="50"/>
                  <a:pt x="99" y="50"/>
                  <a:pt x="99" y="50"/>
                </a:cubicBezTo>
                <a:cubicBezTo>
                  <a:pt x="99" y="10"/>
                  <a:pt x="99" y="10"/>
                  <a:pt x="99" y="10"/>
                </a:cubicBezTo>
                <a:cubicBezTo>
                  <a:pt x="99" y="7"/>
                  <a:pt x="99" y="7"/>
                  <a:pt x="99" y="7"/>
                </a:cubicBezTo>
                <a:cubicBezTo>
                  <a:pt x="96" y="7"/>
                  <a:pt x="96" y="7"/>
                  <a:pt x="96" y="7"/>
                </a:cubicBezTo>
                <a:cubicBezTo>
                  <a:pt x="87" y="7"/>
                  <a:pt x="78" y="6"/>
                  <a:pt x="69" y="5"/>
                </a:cubicBezTo>
                <a:cubicBezTo>
                  <a:pt x="51" y="2"/>
                  <a:pt x="32" y="0"/>
                  <a:pt x="15" y="7"/>
                </a:cubicBezTo>
                <a:close/>
                <a:moveTo>
                  <a:pt x="69" y="11"/>
                </a:moveTo>
                <a:cubicBezTo>
                  <a:pt x="55" y="9"/>
                  <a:pt x="41" y="7"/>
                  <a:pt x="29" y="9"/>
                </a:cubicBezTo>
                <a:cubicBezTo>
                  <a:pt x="30" y="15"/>
                  <a:pt x="27" y="22"/>
                  <a:pt x="20" y="21"/>
                </a:cubicBezTo>
                <a:cubicBezTo>
                  <a:pt x="20" y="32"/>
                  <a:pt x="20" y="32"/>
                  <a:pt x="20" y="32"/>
                </a:cubicBezTo>
                <a:cubicBezTo>
                  <a:pt x="26" y="32"/>
                  <a:pt x="30" y="37"/>
                  <a:pt x="30" y="42"/>
                </a:cubicBezTo>
                <a:cubicBezTo>
                  <a:pt x="43" y="40"/>
                  <a:pt x="56" y="42"/>
                  <a:pt x="69" y="44"/>
                </a:cubicBezTo>
                <a:cubicBezTo>
                  <a:pt x="74" y="45"/>
                  <a:pt x="78" y="45"/>
                  <a:pt x="82" y="46"/>
                </a:cubicBezTo>
                <a:cubicBezTo>
                  <a:pt x="82" y="40"/>
                  <a:pt x="86" y="34"/>
                  <a:pt x="93" y="34"/>
                </a:cubicBezTo>
                <a:cubicBezTo>
                  <a:pt x="93" y="24"/>
                  <a:pt x="93" y="24"/>
                  <a:pt x="93" y="24"/>
                </a:cubicBezTo>
                <a:cubicBezTo>
                  <a:pt x="86" y="24"/>
                  <a:pt x="83" y="18"/>
                  <a:pt x="83" y="12"/>
                </a:cubicBezTo>
                <a:cubicBezTo>
                  <a:pt x="78" y="12"/>
                  <a:pt x="73" y="11"/>
                  <a:pt x="69" y="11"/>
                </a:cubicBezTo>
                <a:close/>
                <a:moveTo>
                  <a:pt x="20" y="45"/>
                </a:moveTo>
                <a:cubicBezTo>
                  <a:pt x="20" y="45"/>
                  <a:pt x="20" y="45"/>
                  <a:pt x="20" y="45"/>
                </a:cubicBezTo>
                <a:cubicBezTo>
                  <a:pt x="20" y="45"/>
                  <a:pt x="20" y="45"/>
                  <a:pt x="20" y="45"/>
                </a:cubicBezTo>
                <a:cubicBezTo>
                  <a:pt x="20" y="45"/>
                  <a:pt x="20" y="45"/>
                  <a:pt x="20" y="45"/>
                </a:cubicBezTo>
                <a:close/>
                <a:moveTo>
                  <a:pt x="54" y="39"/>
                </a:moveTo>
                <a:cubicBezTo>
                  <a:pt x="54" y="36"/>
                  <a:pt x="54" y="36"/>
                  <a:pt x="54" y="36"/>
                </a:cubicBezTo>
                <a:cubicBezTo>
                  <a:pt x="52" y="36"/>
                  <a:pt x="50" y="34"/>
                  <a:pt x="50" y="32"/>
                </a:cubicBezTo>
                <a:cubicBezTo>
                  <a:pt x="50" y="27"/>
                  <a:pt x="50" y="27"/>
                  <a:pt x="50" y="27"/>
                </a:cubicBezTo>
                <a:cubicBezTo>
                  <a:pt x="55" y="27"/>
                  <a:pt x="55" y="27"/>
                  <a:pt x="55" y="27"/>
                </a:cubicBezTo>
                <a:cubicBezTo>
                  <a:pt x="55" y="33"/>
                  <a:pt x="55" y="33"/>
                  <a:pt x="55" y="33"/>
                </a:cubicBezTo>
                <a:cubicBezTo>
                  <a:pt x="55" y="33"/>
                  <a:pt x="55" y="33"/>
                  <a:pt x="56" y="33"/>
                </a:cubicBezTo>
                <a:cubicBezTo>
                  <a:pt x="56" y="33"/>
                  <a:pt x="57" y="33"/>
                  <a:pt x="57" y="33"/>
                </a:cubicBezTo>
                <a:cubicBezTo>
                  <a:pt x="57" y="30"/>
                  <a:pt x="57" y="30"/>
                  <a:pt x="57" y="30"/>
                </a:cubicBezTo>
                <a:cubicBezTo>
                  <a:pt x="57" y="29"/>
                  <a:pt x="57" y="29"/>
                  <a:pt x="56" y="28"/>
                </a:cubicBezTo>
                <a:cubicBezTo>
                  <a:pt x="56" y="28"/>
                  <a:pt x="54" y="26"/>
                  <a:pt x="52" y="24"/>
                </a:cubicBezTo>
                <a:cubicBezTo>
                  <a:pt x="51" y="23"/>
                  <a:pt x="50" y="21"/>
                  <a:pt x="50" y="20"/>
                </a:cubicBezTo>
                <a:cubicBezTo>
                  <a:pt x="50" y="18"/>
                  <a:pt x="50" y="18"/>
                  <a:pt x="50" y="18"/>
                </a:cubicBezTo>
                <a:cubicBezTo>
                  <a:pt x="50" y="16"/>
                  <a:pt x="52" y="14"/>
                  <a:pt x="54" y="14"/>
                </a:cubicBezTo>
                <a:cubicBezTo>
                  <a:pt x="54" y="11"/>
                  <a:pt x="54" y="11"/>
                  <a:pt x="54" y="11"/>
                </a:cubicBezTo>
                <a:cubicBezTo>
                  <a:pt x="49" y="13"/>
                  <a:pt x="45" y="18"/>
                  <a:pt x="45" y="25"/>
                </a:cubicBezTo>
                <a:cubicBezTo>
                  <a:pt x="45" y="32"/>
                  <a:pt x="49" y="38"/>
                  <a:pt x="54" y="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0" name="Freeform 77"/>
          <p:cNvSpPr>
            <a:spLocks noEditPoints="1" noChangeArrowheads="1"/>
          </p:cNvSpPr>
          <p:nvPr/>
        </p:nvSpPr>
        <p:spPr bwMode="auto">
          <a:xfrm>
            <a:off x="7164917" y="4876800"/>
            <a:ext cx="472016" cy="304800"/>
          </a:xfrm>
          <a:custGeom>
            <a:avLst/>
            <a:gdLst>
              <a:gd name="T0" fmla="*/ 1107487016 w 103"/>
              <a:gd name="T1" fmla="*/ 174861940 h 67"/>
              <a:gd name="T2" fmla="*/ 1213522203 w 103"/>
              <a:gd name="T3" fmla="*/ 676130561 h 67"/>
              <a:gd name="T4" fmla="*/ 424144183 w 103"/>
              <a:gd name="T5" fmla="*/ 781047725 h 67"/>
              <a:gd name="T6" fmla="*/ 318108997 w 103"/>
              <a:gd name="T7" fmla="*/ 279779104 h 67"/>
              <a:gd name="T8" fmla="*/ 117817256 w 103"/>
              <a:gd name="T9" fmla="*/ 547899609 h 67"/>
              <a:gd name="T10" fmla="*/ 106035187 w 103"/>
              <a:gd name="T11" fmla="*/ 536241009 h 67"/>
              <a:gd name="T12" fmla="*/ 82471048 w 103"/>
              <a:gd name="T13" fmla="*/ 349723881 h 67"/>
              <a:gd name="T14" fmla="*/ 247416581 w 103"/>
              <a:gd name="T15" fmla="*/ 198175728 h 67"/>
              <a:gd name="T16" fmla="*/ 82471048 w 103"/>
              <a:gd name="T17" fmla="*/ 139889552 h 67"/>
              <a:gd name="T18" fmla="*/ 106035187 w 103"/>
              <a:gd name="T19" fmla="*/ 104917164 h 67"/>
              <a:gd name="T20" fmla="*/ 754031812 w 103"/>
              <a:gd name="T21" fmla="*/ 93258564 h 67"/>
              <a:gd name="T22" fmla="*/ 789378020 w 103"/>
              <a:gd name="T23" fmla="*/ 104917164 h 67"/>
              <a:gd name="T24" fmla="*/ 883631137 w 103"/>
              <a:gd name="T25" fmla="*/ 128230952 h 67"/>
              <a:gd name="T26" fmla="*/ 848288366 w 103"/>
              <a:gd name="T27" fmla="*/ 46630988 h 67"/>
              <a:gd name="T28" fmla="*/ 141381394 w 103"/>
              <a:gd name="T29" fmla="*/ 0 h 67"/>
              <a:gd name="T30" fmla="*/ 35346208 w 103"/>
              <a:gd name="T31" fmla="*/ 46630988 h 67"/>
              <a:gd name="T32" fmla="*/ 0 w 103"/>
              <a:gd name="T33" fmla="*/ 501268621 h 67"/>
              <a:gd name="T34" fmla="*/ 35346208 w 103"/>
              <a:gd name="T35" fmla="*/ 594527185 h 67"/>
              <a:gd name="T36" fmla="*/ 129599325 w 103"/>
              <a:gd name="T37" fmla="*/ 641158173 h 67"/>
              <a:gd name="T38" fmla="*/ 259198650 w 103"/>
              <a:gd name="T39" fmla="*/ 547899609 h 67"/>
              <a:gd name="T40" fmla="*/ 883631137 w 103"/>
              <a:gd name="T41" fmla="*/ 256461904 h 67"/>
              <a:gd name="T42" fmla="*/ 1131051155 w 103"/>
              <a:gd name="T43" fmla="*/ 396351457 h 67"/>
              <a:gd name="T44" fmla="*/ 883631137 w 103"/>
              <a:gd name="T45" fmla="*/ 256461904 h 67"/>
              <a:gd name="T46" fmla="*/ 412362114 w 103"/>
              <a:gd name="T47" fmla="*/ 664471961 h 67"/>
              <a:gd name="T48" fmla="*/ 553743508 w 103"/>
              <a:gd name="T49" fmla="*/ 582871997 h 67"/>
              <a:gd name="T50" fmla="*/ 612650418 w 103"/>
              <a:gd name="T51" fmla="*/ 582871997 h 67"/>
              <a:gd name="T52" fmla="*/ 754031812 w 103"/>
              <a:gd name="T53" fmla="*/ 664471961 h 67"/>
              <a:gd name="T54" fmla="*/ 612650418 w 103"/>
              <a:gd name="T55" fmla="*/ 582871997 h 67"/>
              <a:gd name="T56" fmla="*/ 801160089 w 103"/>
              <a:gd name="T57" fmla="*/ 664471961 h 67"/>
              <a:gd name="T58" fmla="*/ 942541483 w 103"/>
              <a:gd name="T59" fmla="*/ 582871997 h 67"/>
              <a:gd name="T60" fmla="*/ 989669761 w 103"/>
              <a:gd name="T61" fmla="*/ 582871997 h 67"/>
              <a:gd name="T62" fmla="*/ 1131051155 w 103"/>
              <a:gd name="T63" fmla="*/ 664471961 h 67"/>
              <a:gd name="T64" fmla="*/ 989669761 w 103"/>
              <a:gd name="T65" fmla="*/ 582871997 h 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03"/>
              <a:gd name="T100" fmla="*/ 0 h 67"/>
              <a:gd name="T101" fmla="*/ 103 w 103"/>
              <a:gd name="T102" fmla="*/ 67 h 6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03" h="67">
                <a:moveTo>
                  <a:pt x="36" y="15"/>
                </a:moveTo>
                <a:cubicBezTo>
                  <a:pt x="94" y="15"/>
                  <a:pt x="94" y="15"/>
                  <a:pt x="94" y="15"/>
                </a:cubicBezTo>
                <a:cubicBezTo>
                  <a:pt x="99" y="15"/>
                  <a:pt x="103" y="19"/>
                  <a:pt x="103" y="24"/>
                </a:cubicBezTo>
                <a:cubicBezTo>
                  <a:pt x="103" y="58"/>
                  <a:pt x="103" y="58"/>
                  <a:pt x="103" y="58"/>
                </a:cubicBezTo>
                <a:cubicBezTo>
                  <a:pt x="103" y="63"/>
                  <a:pt x="99" y="67"/>
                  <a:pt x="94" y="67"/>
                </a:cubicBezTo>
                <a:cubicBezTo>
                  <a:pt x="36" y="67"/>
                  <a:pt x="36" y="67"/>
                  <a:pt x="36" y="67"/>
                </a:cubicBezTo>
                <a:cubicBezTo>
                  <a:pt x="31" y="67"/>
                  <a:pt x="27" y="63"/>
                  <a:pt x="27" y="58"/>
                </a:cubicBezTo>
                <a:cubicBezTo>
                  <a:pt x="27" y="24"/>
                  <a:pt x="27" y="24"/>
                  <a:pt x="27" y="24"/>
                </a:cubicBezTo>
                <a:cubicBezTo>
                  <a:pt x="27" y="19"/>
                  <a:pt x="31" y="15"/>
                  <a:pt x="36" y="15"/>
                </a:cubicBezTo>
                <a:close/>
                <a:moveTo>
                  <a:pt x="10" y="47"/>
                </a:moveTo>
                <a:cubicBezTo>
                  <a:pt x="10" y="47"/>
                  <a:pt x="9" y="46"/>
                  <a:pt x="9" y="46"/>
                </a:cubicBezTo>
                <a:cubicBezTo>
                  <a:pt x="9" y="46"/>
                  <a:pt x="9" y="46"/>
                  <a:pt x="9" y="46"/>
                </a:cubicBezTo>
                <a:cubicBezTo>
                  <a:pt x="8" y="45"/>
                  <a:pt x="7" y="44"/>
                  <a:pt x="7" y="43"/>
                </a:cubicBezTo>
                <a:cubicBezTo>
                  <a:pt x="7" y="30"/>
                  <a:pt x="7" y="30"/>
                  <a:pt x="7" y="30"/>
                </a:cubicBezTo>
                <a:cubicBezTo>
                  <a:pt x="21" y="30"/>
                  <a:pt x="21" y="30"/>
                  <a:pt x="21" y="30"/>
                </a:cubicBezTo>
                <a:cubicBezTo>
                  <a:pt x="21" y="17"/>
                  <a:pt x="21" y="17"/>
                  <a:pt x="21" y="17"/>
                </a:cubicBezTo>
                <a:cubicBezTo>
                  <a:pt x="7" y="17"/>
                  <a:pt x="7" y="17"/>
                  <a:pt x="7" y="17"/>
                </a:cubicBezTo>
                <a:cubicBezTo>
                  <a:pt x="7" y="12"/>
                  <a:pt x="7" y="12"/>
                  <a:pt x="7" y="12"/>
                </a:cubicBezTo>
                <a:cubicBezTo>
                  <a:pt x="7" y="11"/>
                  <a:pt x="8" y="10"/>
                  <a:pt x="9" y="9"/>
                </a:cubicBezTo>
                <a:cubicBezTo>
                  <a:pt x="9" y="9"/>
                  <a:pt x="9" y="9"/>
                  <a:pt x="9" y="9"/>
                </a:cubicBezTo>
                <a:cubicBezTo>
                  <a:pt x="10" y="9"/>
                  <a:pt x="11" y="8"/>
                  <a:pt x="12" y="8"/>
                </a:cubicBezTo>
                <a:cubicBezTo>
                  <a:pt x="64" y="8"/>
                  <a:pt x="64" y="8"/>
                  <a:pt x="64" y="8"/>
                </a:cubicBezTo>
                <a:cubicBezTo>
                  <a:pt x="65" y="8"/>
                  <a:pt x="66" y="9"/>
                  <a:pt x="67" y="9"/>
                </a:cubicBezTo>
                <a:cubicBezTo>
                  <a:pt x="67" y="9"/>
                  <a:pt x="67" y="9"/>
                  <a:pt x="67" y="9"/>
                </a:cubicBezTo>
                <a:cubicBezTo>
                  <a:pt x="67" y="10"/>
                  <a:pt x="67" y="10"/>
                  <a:pt x="68" y="11"/>
                </a:cubicBezTo>
                <a:cubicBezTo>
                  <a:pt x="75" y="11"/>
                  <a:pt x="75" y="11"/>
                  <a:pt x="75" y="11"/>
                </a:cubicBezTo>
                <a:cubicBezTo>
                  <a:pt x="75" y="8"/>
                  <a:pt x="74" y="6"/>
                  <a:pt x="72" y="4"/>
                </a:cubicBezTo>
                <a:cubicBezTo>
                  <a:pt x="72" y="4"/>
                  <a:pt x="72" y="4"/>
                  <a:pt x="72" y="4"/>
                </a:cubicBezTo>
                <a:cubicBezTo>
                  <a:pt x="70" y="2"/>
                  <a:pt x="67" y="0"/>
                  <a:pt x="64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9" y="0"/>
                  <a:pt x="6" y="2"/>
                  <a:pt x="3" y="4"/>
                </a:cubicBezTo>
                <a:cubicBezTo>
                  <a:pt x="3" y="4"/>
                  <a:pt x="3" y="4"/>
                  <a:pt x="3" y="4"/>
                </a:cubicBezTo>
                <a:cubicBezTo>
                  <a:pt x="1" y="6"/>
                  <a:pt x="0" y="9"/>
                  <a:pt x="0" y="12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46"/>
                  <a:pt x="1" y="49"/>
                  <a:pt x="3" y="51"/>
                </a:cubicBezTo>
                <a:cubicBezTo>
                  <a:pt x="3" y="51"/>
                  <a:pt x="3" y="51"/>
                  <a:pt x="3" y="51"/>
                </a:cubicBezTo>
                <a:cubicBezTo>
                  <a:pt x="5" y="53"/>
                  <a:pt x="8" y="55"/>
                  <a:pt x="11" y="55"/>
                </a:cubicBezTo>
                <a:cubicBezTo>
                  <a:pt x="11" y="55"/>
                  <a:pt x="11" y="55"/>
                  <a:pt x="11" y="55"/>
                </a:cubicBezTo>
                <a:cubicBezTo>
                  <a:pt x="22" y="55"/>
                  <a:pt x="22" y="55"/>
                  <a:pt x="22" y="55"/>
                </a:cubicBezTo>
                <a:cubicBezTo>
                  <a:pt x="22" y="47"/>
                  <a:pt x="22" y="47"/>
                  <a:pt x="22" y="47"/>
                </a:cubicBezTo>
                <a:cubicBezTo>
                  <a:pt x="10" y="47"/>
                  <a:pt x="10" y="47"/>
                  <a:pt x="10" y="47"/>
                </a:cubicBezTo>
                <a:close/>
                <a:moveTo>
                  <a:pt x="75" y="22"/>
                </a:moveTo>
                <a:cubicBezTo>
                  <a:pt x="75" y="34"/>
                  <a:pt x="75" y="34"/>
                  <a:pt x="75" y="34"/>
                </a:cubicBezTo>
                <a:cubicBezTo>
                  <a:pt x="96" y="34"/>
                  <a:pt x="96" y="34"/>
                  <a:pt x="96" y="34"/>
                </a:cubicBezTo>
                <a:cubicBezTo>
                  <a:pt x="96" y="22"/>
                  <a:pt x="96" y="22"/>
                  <a:pt x="96" y="22"/>
                </a:cubicBezTo>
                <a:cubicBezTo>
                  <a:pt x="75" y="22"/>
                  <a:pt x="75" y="22"/>
                  <a:pt x="75" y="22"/>
                </a:cubicBezTo>
                <a:close/>
                <a:moveTo>
                  <a:pt x="35" y="50"/>
                </a:moveTo>
                <a:cubicBezTo>
                  <a:pt x="35" y="57"/>
                  <a:pt x="35" y="57"/>
                  <a:pt x="35" y="57"/>
                </a:cubicBezTo>
                <a:cubicBezTo>
                  <a:pt x="47" y="57"/>
                  <a:pt x="47" y="57"/>
                  <a:pt x="47" y="57"/>
                </a:cubicBezTo>
                <a:cubicBezTo>
                  <a:pt x="47" y="50"/>
                  <a:pt x="47" y="50"/>
                  <a:pt x="47" y="50"/>
                </a:cubicBezTo>
                <a:cubicBezTo>
                  <a:pt x="35" y="50"/>
                  <a:pt x="35" y="50"/>
                  <a:pt x="35" y="50"/>
                </a:cubicBezTo>
                <a:close/>
                <a:moveTo>
                  <a:pt x="52" y="50"/>
                </a:moveTo>
                <a:cubicBezTo>
                  <a:pt x="52" y="57"/>
                  <a:pt x="52" y="57"/>
                  <a:pt x="52" y="57"/>
                </a:cubicBezTo>
                <a:cubicBezTo>
                  <a:pt x="64" y="57"/>
                  <a:pt x="64" y="57"/>
                  <a:pt x="64" y="57"/>
                </a:cubicBezTo>
                <a:cubicBezTo>
                  <a:pt x="64" y="50"/>
                  <a:pt x="64" y="50"/>
                  <a:pt x="64" y="50"/>
                </a:cubicBezTo>
                <a:cubicBezTo>
                  <a:pt x="52" y="50"/>
                  <a:pt x="52" y="50"/>
                  <a:pt x="52" y="50"/>
                </a:cubicBezTo>
                <a:close/>
                <a:moveTo>
                  <a:pt x="68" y="50"/>
                </a:moveTo>
                <a:cubicBezTo>
                  <a:pt x="68" y="57"/>
                  <a:pt x="68" y="57"/>
                  <a:pt x="68" y="57"/>
                </a:cubicBezTo>
                <a:cubicBezTo>
                  <a:pt x="80" y="57"/>
                  <a:pt x="80" y="57"/>
                  <a:pt x="80" y="57"/>
                </a:cubicBezTo>
                <a:cubicBezTo>
                  <a:pt x="80" y="50"/>
                  <a:pt x="80" y="50"/>
                  <a:pt x="80" y="50"/>
                </a:cubicBezTo>
                <a:cubicBezTo>
                  <a:pt x="68" y="50"/>
                  <a:pt x="68" y="50"/>
                  <a:pt x="68" y="50"/>
                </a:cubicBezTo>
                <a:close/>
                <a:moveTo>
                  <a:pt x="84" y="50"/>
                </a:moveTo>
                <a:cubicBezTo>
                  <a:pt x="84" y="57"/>
                  <a:pt x="84" y="57"/>
                  <a:pt x="84" y="57"/>
                </a:cubicBezTo>
                <a:cubicBezTo>
                  <a:pt x="96" y="57"/>
                  <a:pt x="96" y="57"/>
                  <a:pt x="96" y="57"/>
                </a:cubicBezTo>
                <a:cubicBezTo>
                  <a:pt x="96" y="50"/>
                  <a:pt x="96" y="50"/>
                  <a:pt x="96" y="50"/>
                </a:cubicBezTo>
                <a:lnTo>
                  <a:pt x="84" y="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1" name="Freeform 78"/>
          <p:cNvSpPr>
            <a:spLocks noEditPoints="1" noChangeArrowheads="1"/>
          </p:cNvSpPr>
          <p:nvPr/>
        </p:nvSpPr>
        <p:spPr bwMode="auto">
          <a:xfrm>
            <a:off x="7150100" y="5600700"/>
            <a:ext cx="465667" cy="499533"/>
          </a:xfrm>
          <a:custGeom>
            <a:avLst/>
            <a:gdLst>
              <a:gd name="T0" fmla="*/ 914319380 w 102"/>
              <a:gd name="T1" fmla="*/ 838274219 h 109"/>
              <a:gd name="T2" fmla="*/ 972928324 w 102"/>
              <a:gd name="T3" fmla="*/ 944533896 h 109"/>
              <a:gd name="T4" fmla="*/ 1090149635 w 102"/>
              <a:gd name="T5" fmla="*/ 956340527 h 109"/>
              <a:gd name="T6" fmla="*/ 1031537267 w 102"/>
              <a:gd name="T7" fmla="*/ 850080850 h 109"/>
              <a:gd name="T8" fmla="*/ 164109836 w 102"/>
              <a:gd name="T9" fmla="*/ 637558060 h 109"/>
              <a:gd name="T10" fmla="*/ 515770346 w 102"/>
              <a:gd name="T11" fmla="*/ 425038706 h 109"/>
              <a:gd name="T12" fmla="*/ 351660510 w 102"/>
              <a:gd name="T13" fmla="*/ 814660958 h 109"/>
              <a:gd name="T14" fmla="*/ 410269453 w 102"/>
              <a:gd name="T15" fmla="*/ 814660958 h 109"/>
              <a:gd name="T16" fmla="*/ 562658870 w 102"/>
              <a:gd name="T17" fmla="*/ 779241066 h 109"/>
              <a:gd name="T18" fmla="*/ 632988233 w 102"/>
              <a:gd name="T19" fmla="*/ 861887481 h 109"/>
              <a:gd name="T20" fmla="*/ 539214608 w 102"/>
              <a:gd name="T21" fmla="*/ 802854327 h 109"/>
              <a:gd name="T22" fmla="*/ 375104772 w 102"/>
              <a:gd name="T23" fmla="*/ 920920634 h 109"/>
              <a:gd name="T24" fmla="*/ 46888525 w 102"/>
              <a:gd name="T25" fmla="*/ 649368128 h 109"/>
              <a:gd name="T26" fmla="*/ 0 w 102"/>
              <a:gd name="T27" fmla="*/ 554911644 h 109"/>
              <a:gd name="T28" fmla="*/ 35164681 w 102"/>
              <a:gd name="T29" fmla="*/ 460458599 h 109"/>
              <a:gd name="T30" fmla="*/ 433713716 w 102"/>
              <a:gd name="T31" fmla="*/ 35419892 h 109"/>
              <a:gd name="T32" fmla="*/ 621267814 w 102"/>
              <a:gd name="T33" fmla="*/ 35419892 h 109"/>
              <a:gd name="T34" fmla="*/ 867430855 w 102"/>
              <a:gd name="T35" fmla="*/ 271552507 h 109"/>
              <a:gd name="T36" fmla="*/ 902595537 w 102"/>
              <a:gd name="T37" fmla="*/ 366005553 h 109"/>
              <a:gd name="T38" fmla="*/ 867430855 w 102"/>
              <a:gd name="T39" fmla="*/ 460458599 h 109"/>
              <a:gd name="T40" fmla="*/ 867430855 w 102"/>
              <a:gd name="T41" fmla="*/ 460458599 h 109"/>
              <a:gd name="T42" fmla="*/ 820542331 w 102"/>
              <a:gd name="T43" fmla="*/ 366005553 h 109"/>
              <a:gd name="T44" fmla="*/ 797098069 w 102"/>
              <a:gd name="T45" fmla="*/ 330585661 h 109"/>
              <a:gd name="T46" fmla="*/ 562658870 w 102"/>
              <a:gd name="T47" fmla="*/ 94453046 h 109"/>
              <a:gd name="T48" fmla="*/ 492326083 w 102"/>
              <a:gd name="T49" fmla="*/ 106259677 h 109"/>
              <a:gd name="T50" fmla="*/ 105497468 w 102"/>
              <a:gd name="T51" fmla="*/ 519491752 h 109"/>
              <a:gd name="T52" fmla="*/ 93777049 w 102"/>
              <a:gd name="T53" fmla="*/ 554911644 h 109"/>
              <a:gd name="T54" fmla="*/ 105497468 w 102"/>
              <a:gd name="T55" fmla="*/ 578524906 h 109"/>
              <a:gd name="T56" fmla="*/ 586103132 w 102"/>
              <a:gd name="T57" fmla="*/ 259745876 h 109"/>
              <a:gd name="T58" fmla="*/ 691600600 w 102"/>
              <a:gd name="T59" fmla="*/ 814660958 h 109"/>
              <a:gd name="T60" fmla="*/ 632988233 w 102"/>
              <a:gd name="T61" fmla="*/ 897307373 h 109"/>
              <a:gd name="T62" fmla="*/ 480602240 w 102"/>
              <a:gd name="T63" fmla="*/ 1098020095 h 109"/>
              <a:gd name="T64" fmla="*/ 632988233 w 102"/>
              <a:gd name="T65" fmla="*/ 1286926187 h 109"/>
              <a:gd name="T66" fmla="*/ 785377650 w 102"/>
              <a:gd name="T67" fmla="*/ 1109826726 h 109"/>
              <a:gd name="T68" fmla="*/ 785377650 w 102"/>
              <a:gd name="T69" fmla="*/ 1109826726 h 109"/>
              <a:gd name="T70" fmla="*/ 797098069 w 102"/>
              <a:gd name="T71" fmla="*/ 472265229 h 109"/>
              <a:gd name="T72" fmla="*/ 679876757 w 102"/>
              <a:gd name="T73" fmla="*/ 696594650 h 109"/>
              <a:gd name="T74" fmla="*/ 715044863 w 102"/>
              <a:gd name="T75" fmla="*/ 755627804 h 109"/>
              <a:gd name="T76" fmla="*/ 679876757 w 102"/>
              <a:gd name="T77" fmla="*/ 696594650 h 109"/>
              <a:gd name="T78" fmla="*/ 632988233 w 102"/>
              <a:gd name="T79" fmla="*/ 991760419 h 109"/>
              <a:gd name="T80" fmla="*/ 691600600 w 102"/>
              <a:gd name="T81" fmla="*/ 1086213465 h 109"/>
              <a:gd name="T82" fmla="*/ 632988233 w 102"/>
              <a:gd name="T83" fmla="*/ 1192473141 h 109"/>
              <a:gd name="T84" fmla="*/ 574379289 w 102"/>
              <a:gd name="T85" fmla="*/ 1098020095 h 109"/>
              <a:gd name="T86" fmla="*/ 843986593 w 102"/>
              <a:gd name="T87" fmla="*/ 791047696 h 109"/>
              <a:gd name="T88" fmla="*/ 949484061 w 102"/>
              <a:gd name="T89" fmla="*/ 732014543 h 109"/>
              <a:gd name="T90" fmla="*/ 1172202841 w 102"/>
              <a:gd name="T91" fmla="*/ 873694111 h 109"/>
              <a:gd name="T92" fmla="*/ 1054981529 w 102"/>
              <a:gd name="T93" fmla="*/ 1062600203 h 109"/>
              <a:gd name="T94" fmla="*/ 949484061 w 102"/>
              <a:gd name="T95" fmla="*/ 1038986942 h 109"/>
              <a:gd name="T96" fmla="*/ 926039799 w 102"/>
              <a:gd name="T97" fmla="*/ 1027180311 h 109"/>
              <a:gd name="T98" fmla="*/ 843986593 w 102"/>
              <a:gd name="T99" fmla="*/ 791047696 h 10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02"/>
              <a:gd name="T151" fmla="*/ 0 h 109"/>
              <a:gd name="T152" fmla="*/ 102 w 102"/>
              <a:gd name="T153" fmla="*/ 109 h 10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02" h="109">
                <a:moveTo>
                  <a:pt x="82" y="69"/>
                </a:moveTo>
                <a:cubicBezTo>
                  <a:pt x="80" y="70"/>
                  <a:pt x="79" y="70"/>
                  <a:pt x="78" y="71"/>
                </a:cubicBezTo>
                <a:cubicBezTo>
                  <a:pt x="78" y="72"/>
                  <a:pt x="78" y="73"/>
                  <a:pt x="78" y="75"/>
                </a:cubicBezTo>
                <a:cubicBezTo>
                  <a:pt x="79" y="77"/>
                  <a:pt x="81" y="79"/>
                  <a:pt x="83" y="80"/>
                </a:cubicBezTo>
                <a:cubicBezTo>
                  <a:pt x="85" y="82"/>
                  <a:pt x="88" y="82"/>
                  <a:pt x="90" y="82"/>
                </a:cubicBezTo>
                <a:cubicBezTo>
                  <a:pt x="91" y="82"/>
                  <a:pt x="93" y="82"/>
                  <a:pt x="93" y="81"/>
                </a:cubicBezTo>
                <a:cubicBezTo>
                  <a:pt x="94" y="80"/>
                  <a:pt x="94" y="78"/>
                  <a:pt x="93" y="77"/>
                </a:cubicBezTo>
                <a:cubicBezTo>
                  <a:pt x="92" y="75"/>
                  <a:pt x="91" y="73"/>
                  <a:pt x="88" y="72"/>
                </a:cubicBezTo>
                <a:cubicBezTo>
                  <a:pt x="86" y="70"/>
                  <a:pt x="84" y="69"/>
                  <a:pt x="82" y="69"/>
                </a:cubicBezTo>
                <a:close/>
                <a:moveTo>
                  <a:pt x="14" y="54"/>
                </a:moveTo>
                <a:cubicBezTo>
                  <a:pt x="44" y="23"/>
                  <a:pt x="44" y="23"/>
                  <a:pt x="44" y="23"/>
                </a:cubicBezTo>
                <a:cubicBezTo>
                  <a:pt x="44" y="36"/>
                  <a:pt x="44" y="36"/>
                  <a:pt x="44" y="36"/>
                </a:cubicBezTo>
                <a:cubicBezTo>
                  <a:pt x="21" y="60"/>
                  <a:pt x="21" y="60"/>
                  <a:pt x="21" y="60"/>
                </a:cubicBezTo>
                <a:cubicBezTo>
                  <a:pt x="30" y="69"/>
                  <a:pt x="30" y="69"/>
                  <a:pt x="30" y="69"/>
                </a:cubicBezTo>
                <a:cubicBezTo>
                  <a:pt x="30" y="70"/>
                  <a:pt x="31" y="70"/>
                  <a:pt x="32" y="70"/>
                </a:cubicBezTo>
                <a:cubicBezTo>
                  <a:pt x="33" y="70"/>
                  <a:pt x="34" y="70"/>
                  <a:pt x="35" y="69"/>
                </a:cubicBezTo>
                <a:cubicBezTo>
                  <a:pt x="46" y="57"/>
                  <a:pt x="46" y="57"/>
                  <a:pt x="46" y="57"/>
                </a:cubicBezTo>
                <a:cubicBezTo>
                  <a:pt x="48" y="66"/>
                  <a:pt x="48" y="66"/>
                  <a:pt x="48" y="66"/>
                </a:cubicBezTo>
                <a:cubicBezTo>
                  <a:pt x="50" y="67"/>
                  <a:pt x="52" y="69"/>
                  <a:pt x="54" y="71"/>
                </a:cubicBezTo>
                <a:cubicBezTo>
                  <a:pt x="54" y="72"/>
                  <a:pt x="54" y="72"/>
                  <a:pt x="54" y="73"/>
                </a:cubicBezTo>
                <a:cubicBezTo>
                  <a:pt x="54" y="73"/>
                  <a:pt x="54" y="73"/>
                  <a:pt x="54" y="73"/>
                </a:cubicBezTo>
                <a:cubicBezTo>
                  <a:pt x="46" y="68"/>
                  <a:pt x="46" y="68"/>
                  <a:pt x="46" y="68"/>
                </a:cubicBezTo>
                <a:cubicBezTo>
                  <a:pt x="41" y="74"/>
                  <a:pt x="41" y="74"/>
                  <a:pt x="41" y="74"/>
                </a:cubicBezTo>
                <a:cubicBezTo>
                  <a:pt x="38" y="76"/>
                  <a:pt x="35" y="78"/>
                  <a:pt x="32" y="78"/>
                </a:cubicBezTo>
                <a:cubicBezTo>
                  <a:pt x="30" y="78"/>
                  <a:pt x="27" y="77"/>
                  <a:pt x="24" y="74"/>
                </a:cubicBezTo>
                <a:cubicBezTo>
                  <a:pt x="4" y="55"/>
                  <a:pt x="4" y="55"/>
                  <a:pt x="4" y="55"/>
                </a:cubicBezTo>
                <a:cubicBezTo>
                  <a:pt x="4" y="55"/>
                  <a:pt x="4" y="55"/>
                  <a:pt x="4" y="55"/>
                </a:cubicBezTo>
                <a:cubicBezTo>
                  <a:pt x="1" y="53"/>
                  <a:pt x="0" y="50"/>
                  <a:pt x="0" y="47"/>
                </a:cubicBezTo>
                <a:cubicBezTo>
                  <a:pt x="0" y="44"/>
                  <a:pt x="1" y="41"/>
                  <a:pt x="3" y="39"/>
                </a:cubicBezTo>
                <a:cubicBezTo>
                  <a:pt x="3" y="39"/>
                  <a:pt x="3" y="39"/>
                  <a:pt x="3" y="39"/>
                </a:cubicBezTo>
                <a:cubicBezTo>
                  <a:pt x="3" y="39"/>
                  <a:pt x="3" y="39"/>
                  <a:pt x="3" y="39"/>
                </a:cubicBezTo>
                <a:cubicBezTo>
                  <a:pt x="37" y="3"/>
                  <a:pt x="37" y="3"/>
                  <a:pt x="37" y="3"/>
                </a:cubicBezTo>
                <a:cubicBezTo>
                  <a:pt x="39" y="1"/>
                  <a:pt x="42" y="0"/>
                  <a:pt x="45" y="0"/>
                </a:cubicBezTo>
                <a:cubicBezTo>
                  <a:pt x="48" y="0"/>
                  <a:pt x="51" y="1"/>
                  <a:pt x="53" y="3"/>
                </a:cubicBezTo>
                <a:cubicBezTo>
                  <a:pt x="74" y="22"/>
                  <a:pt x="74" y="22"/>
                  <a:pt x="74" y="22"/>
                </a:cubicBezTo>
                <a:cubicBezTo>
                  <a:pt x="74" y="23"/>
                  <a:pt x="74" y="23"/>
                  <a:pt x="74" y="23"/>
                </a:cubicBezTo>
                <a:cubicBezTo>
                  <a:pt x="74" y="23"/>
                  <a:pt x="74" y="23"/>
                  <a:pt x="74" y="23"/>
                </a:cubicBezTo>
                <a:cubicBezTo>
                  <a:pt x="76" y="25"/>
                  <a:pt x="77" y="28"/>
                  <a:pt x="77" y="31"/>
                </a:cubicBezTo>
                <a:cubicBezTo>
                  <a:pt x="77" y="33"/>
                  <a:pt x="76" y="36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69" y="32"/>
                  <a:pt x="69" y="32"/>
                  <a:pt x="69" y="32"/>
                </a:cubicBezTo>
                <a:cubicBezTo>
                  <a:pt x="70" y="32"/>
                  <a:pt x="70" y="31"/>
                  <a:pt x="70" y="31"/>
                </a:cubicBezTo>
                <a:cubicBezTo>
                  <a:pt x="70" y="30"/>
                  <a:pt x="69" y="29"/>
                  <a:pt x="68" y="28"/>
                </a:cubicBezTo>
                <a:cubicBezTo>
                  <a:pt x="68" y="28"/>
                  <a:pt x="68" y="28"/>
                  <a:pt x="68" y="28"/>
                </a:cubicBezTo>
                <a:cubicBezTo>
                  <a:pt x="68" y="28"/>
                  <a:pt x="68" y="28"/>
                  <a:pt x="68" y="28"/>
                </a:cubicBezTo>
                <a:cubicBezTo>
                  <a:pt x="48" y="8"/>
                  <a:pt x="48" y="8"/>
                  <a:pt x="48" y="8"/>
                </a:cubicBezTo>
                <a:cubicBezTo>
                  <a:pt x="47" y="8"/>
                  <a:pt x="46" y="7"/>
                  <a:pt x="45" y="7"/>
                </a:cubicBezTo>
                <a:cubicBezTo>
                  <a:pt x="44" y="7"/>
                  <a:pt x="43" y="8"/>
                  <a:pt x="42" y="9"/>
                </a:cubicBezTo>
                <a:cubicBezTo>
                  <a:pt x="9" y="44"/>
                  <a:pt x="9" y="44"/>
                  <a:pt x="9" y="44"/>
                </a:cubicBezTo>
                <a:cubicBezTo>
                  <a:pt x="9" y="44"/>
                  <a:pt x="9" y="44"/>
                  <a:pt x="9" y="44"/>
                </a:cubicBezTo>
                <a:cubicBezTo>
                  <a:pt x="9" y="44"/>
                  <a:pt x="9" y="44"/>
                  <a:pt x="9" y="44"/>
                </a:cubicBezTo>
                <a:cubicBezTo>
                  <a:pt x="8" y="45"/>
                  <a:pt x="8" y="46"/>
                  <a:pt x="8" y="47"/>
                </a:cubicBezTo>
                <a:cubicBezTo>
                  <a:pt x="8" y="48"/>
                  <a:pt x="8" y="49"/>
                  <a:pt x="9" y="49"/>
                </a:cubicBezTo>
                <a:cubicBezTo>
                  <a:pt x="9" y="49"/>
                  <a:pt x="9" y="49"/>
                  <a:pt x="9" y="49"/>
                </a:cubicBezTo>
                <a:cubicBezTo>
                  <a:pt x="14" y="54"/>
                  <a:pt x="14" y="54"/>
                  <a:pt x="14" y="54"/>
                </a:cubicBezTo>
                <a:close/>
                <a:moveTo>
                  <a:pt x="50" y="22"/>
                </a:moveTo>
                <a:cubicBezTo>
                  <a:pt x="51" y="35"/>
                  <a:pt x="51" y="49"/>
                  <a:pt x="51" y="62"/>
                </a:cubicBezTo>
                <a:cubicBezTo>
                  <a:pt x="54" y="64"/>
                  <a:pt x="56" y="66"/>
                  <a:pt x="59" y="69"/>
                </a:cubicBezTo>
                <a:cubicBezTo>
                  <a:pt x="59" y="70"/>
                  <a:pt x="59" y="74"/>
                  <a:pt x="59" y="77"/>
                </a:cubicBezTo>
                <a:cubicBezTo>
                  <a:pt x="57" y="76"/>
                  <a:pt x="56" y="76"/>
                  <a:pt x="54" y="76"/>
                </a:cubicBezTo>
                <a:cubicBezTo>
                  <a:pt x="50" y="76"/>
                  <a:pt x="47" y="78"/>
                  <a:pt x="44" y="81"/>
                </a:cubicBezTo>
                <a:cubicBezTo>
                  <a:pt x="42" y="84"/>
                  <a:pt x="41" y="88"/>
                  <a:pt x="41" y="93"/>
                </a:cubicBezTo>
                <a:cubicBezTo>
                  <a:pt x="41" y="97"/>
                  <a:pt x="43" y="101"/>
                  <a:pt x="45" y="104"/>
                </a:cubicBezTo>
                <a:cubicBezTo>
                  <a:pt x="47" y="107"/>
                  <a:pt x="50" y="109"/>
                  <a:pt x="54" y="109"/>
                </a:cubicBezTo>
                <a:cubicBezTo>
                  <a:pt x="58" y="109"/>
                  <a:pt x="61" y="107"/>
                  <a:pt x="64" y="104"/>
                </a:cubicBezTo>
                <a:cubicBezTo>
                  <a:pt x="65" y="101"/>
                  <a:pt x="66" y="98"/>
                  <a:pt x="67" y="94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94"/>
                  <a:pt x="67" y="94"/>
                  <a:pt x="67" y="94"/>
                </a:cubicBezTo>
                <a:cubicBezTo>
                  <a:pt x="67" y="93"/>
                  <a:pt x="67" y="93"/>
                  <a:pt x="67" y="92"/>
                </a:cubicBezTo>
                <a:cubicBezTo>
                  <a:pt x="68" y="40"/>
                  <a:pt x="68" y="40"/>
                  <a:pt x="68" y="40"/>
                </a:cubicBezTo>
                <a:cubicBezTo>
                  <a:pt x="66" y="28"/>
                  <a:pt x="58" y="23"/>
                  <a:pt x="50" y="22"/>
                </a:cubicBezTo>
                <a:close/>
                <a:moveTo>
                  <a:pt x="58" y="59"/>
                </a:moveTo>
                <a:cubicBezTo>
                  <a:pt x="57" y="59"/>
                  <a:pt x="56" y="61"/>
                  <a:pt x="57" y="63"/>
                </a:cubicBezTo>
                <a:cubicBezTo>
                  <a:pt x="58" y="64"/>
                  <a:pt x="60" y="65"/>
                  <a:pt x="61" y="64"/>
                </a:cubicBezTo>
                <a:cubicBezTo>
                  <a:pt x="63" y="63"/>
                  <a:pt x="63" y="61"/>
                  <a:pt x="62" y="60"/>
                </a:cubicBezTo>
                <a:cubicBezTo>
                  <a:pt x="62" y="58"/>
                  <a:pt x="60" y="58"/>
                  <a:pt x="58" y="59"/>
                </a:cubicBezTo>
                <a:close/>
                <a:moveTo>
                  <a:pt x="51" y="86"/>
                </a:moveTo>
                <a:cubicBezTo>
                  <a:pt x="52" y="84"/>
                  <a:pt x="53" y="84"/>
                  <a:pt x="54" y="84"/>
                </a:cubicBezTo>
                <a:cubicBezTo>
                  <a:pt x="55" y="84"/>
                  <a:pt x="56" y="84"/>
                  <a:pt x="57" y="86"/>
                </a:cubicBezTo>
                <a:cubicBezTo>
                  <a:pt x="58" y="87"/>
                  <a:pt x="59" y="90"/>
                  <a:pt x="59" y="92"/>
                </a:cubicBezTo>
                <a:cubicBezTo>
                  <a:pt x="59" y="95"/>
                  <a:pt x="59" y="98"/>
                  <a:pt x="57" y="99"/>
                </a:cubicBezTo>
                <a:cubicBezTo>
                  <a:pt x="56" y="101"/>
                  <a:pt x="55" y="101"/>
                  <a:pt x="54" y="101"/>
                </a:cubicBezTo>
                <a:cubicBezTo>
                  <a:pt x="53" y="102"/>
                  <a:pt x="52" y="101"/>
                  <a:pt x="51" y="99"/>
                </a:cubicBezTo>
                <a:cubicBezTo>
                  <a:pt x="50" y="98"/>
                  <a:pt x="49" y="95"/>
                  <a:pt x="49" y="93"/>
                </a:cubicBezTo>
                <a:cubicBezTo>
                  <a:pt x="49" y="90"/>
                  <a:pt x="50" y="87"/>
                  <a:pt x="51" y="86"/>
                </a:cubicBezTo>
                <a:close/>
                <a:moveTo>
                  <a:pt x="72" y="67"/>
                </a:moveTo>
                <a:cubicBezTo>
                  <a:pt x="72" y="67"/>
                  <a:pt x="72" y="67"/>
                  <a:pt x="72" y="67"/>
                </a:cubicBezTo>
                <a:cubicBezTo>
                  <a:pt x="74" y="64"/>
                  <a:pt x="77" y="62"/>
                  <a:pt x="81" y="62"/>
                </a:cubicBezTo>
                <a:cubicBezTo>
                  <a:pt x="85" y="62"/>
                  <a:pt x="89" y="63"/>
                  <a:pt x="93" y="65"/>
                </a:cubicBezTo>
                <a:cubicBezTo>
                  <a:pt x="96" y="67"/>
                  <a:pt x="99" y="71"/>
                  <a:pt x="100" y="74"/>
                </a:cubicBezTo>
                <a:cubicBezTo>
                  <a:pt x="102" y="78"/>
                  <a:pt x="102" y="82"/>
                  <a:pt x="100" y="85"/>
                </a:cubicBezTo>
                <a:cubicBezTo>
                  <a:pt x="98" y="88"/>
                  <a:pt x="94" y="90"/>
                  <a:pt x="90" y="90"/>
                </a:cubicBezTo>
                <a:cubicBezTo>
                  <a:pt x="87" y="90"/>
                  <a:pt x="84" y="89"/>
                  <a:pt x="81" y="88"/>
                </a:cubicBezTo>
                <a:cubicBezTo>
                  <a:pt x="81" y="88"/>
                  <a:pt x="81" y="88"/>
                  <a:pt x="81" y="88"/>
                </a:cubicBezTo>
                <a:cubicBezTo>
                  <a:pt x="80" y="87"/>
                  <a:pt x="80" y="87"/>
                  <a:pt x="80" y="87"/>
                </a:cubicBezTo>
                <a:cubicBezTo>
                  <a:pt x="80" y="87"/>
                  <a:pt x="79" y="87"/>
                  <a:pt x="79" y="87"/>
                </a:cubicBezTo>
                <a:cubicBezTo>
                  <a:pt x="71" y="82"/>
                  <a:pt x="71" y="82"/>
                  <a:pt x="71" y="82"/>
                </a:cubicBezTo>
                <a:lnTo>
                  <a:pt x="72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2" name="Freeform 79"/>
          <p:cNvSpPr>
            <a:spLocks noEditPoints="1" noChangeArrowheads="1"/>
          </p:cNvSpPr>
          <p:nvPr/>
        </p:nvSpPr>
        <p:spPr bwMode="auto">
          <a:xfrm>
            <a:off x="6311901" y="5581651"/>
            <a:ext cx="446617" cy="505883"/>
          </a:xfrm>
          <a:custGeom>
            <a:avLst/>
            <a:gdLst>
              <a:gd name="T0" fmla="*/ 269224802 w 98"/>
              <a:gd name="T1" fmla="*/ 355857413 h 110"/>
              <a:gd name="T2" fmla="*/ 93642666 w 98"/>
              <a:gd name="T3" fmla="*/ 189792230 h 110"/>
              <a:gd name="T4" fmla="*/ 269224802 w 98"/>
              <a:gd name="T5" fmla="*/ 47447195 h 110"/>
              <a:gd name="T6" fmla="*/ 327751042 w 98"/>
              <a:gd name="T7" fmla="*/ 0 h 110"/>
              <a:gd name="T8" fmla="*/ 444803520 w 98"/>
              <a:gd name="T9" fmla="*/ 83032592 h 110"/>
              <a:gd name="T10" fmla="*/ 386277281 w 98"/>
              <a:gd name="T11" fmla="*/ 189792230 h 110"/>
              <a:gd name="T12" fmla="*/ 327751042 w 98"/>
              <a:gd name="T13" fmla="*/ 272824822 h 110"/>
              <a:gd name="T14" fmla="*/ 526742989 w 98"/>
              <a:gd name="T15" fmla="*/ 438890005 h 110"/>
              <a:gd name="T16" fmla="*/ 327751042 w 98"/>
              <a:gd name="T17" fmla="*/ 604958637 h 110"/>
              <a:gd name="T18" fmla="*/ 269224802 w 98"/>
              <a:gd name="T19" fmla="*/ 676129430 h 110"/>
              <a:gd name="T20" fmla="*/ 140465709 w 98"/>
              <a:gd name="T21" fmla="*/ 557511442 h 110"/>
              <a:gd name="T22" fmla="*/ 198991948 w 98"/>
              <a:gd name="T23" fmla="*/ 438890005 h 110"/>
              <a:gd name="T24" fmla="*/ 269224802 w 98"/>
              <a:gd name="T25" fmla="*/ 521926046 h 110"/>
              <a:gd name="T26" fmla="*/ 831084219 w 98"/>
              <a:gd name="T27" fmla="*/ 1115019435 h 110"/>
              <a:gd name="T28" fmla="*/ 678911895 w 98"/>
              <a:gd name="T29" fmla="*/ 1067572240 h 110"/>
              <a:gd name="T30" fmla="*/ 807670989 w 98"/>
              <a:gd name="T31" fmla="*/ 1020125044 h 110"/>
              <a:gd name="T32" fmla="*/ 760851365 w 98"/>
              <a:gd name="T33" fmla="*/ 771023820 h 110"/>
              <a:gd name="T34" fmla="*/ 1018369552 w 98"/>
              <a:gd name="T35" fmla="*/ 771023820 h 110"/>
              <a:gd name="T36" fmla="*/ 983253125 w 98"/>
              <a:gd name="T37" fmla="*/ 1020125044 h 110"/>
              <a:gd name="T38" fmla="*/ 1135422030 w 98"/>
              <a:gd name="T39" fmla="*/ 1067572240 h 110"/>
              <a:gd name="T40" fmla="*/ 959843312 w 98"/>
              <a:gd name="T41" fmla="*/ 1115019435 h 110"/>
              <a:gd name="T42" fmla="*/ 1135422030 w 98"/>
              <a:gd name="T43" fmla="*/ 1162470079 h 110"/>
              <a:gd name="T44" fmla="*/ 959843312 w 98"/>
              <a:gd name="T45" fmla="*/ 1304811665 h 110"/>
              <a:gd name="T46" fmla="*/ 831084219 w 98"/>
              <a:gd name="T47" fmla="*/ 1162470079 h 110"/>
              <a:gd name="T48" fmla="*/ 678911895 w 98"/>
              <a:gd name="T49" fmla="*/ 1115019435 h 110"/>
              <a:gd name="T50" fmla="*/ 58526239 w 98"/>
              <a:gd name="T51" fmla="*/ 1055710441 h 110"/>
              <a:gd name="T52" fmla="*/ 0 w 98"/>
              <a:gd name="T53" fmla="*/ 1008263246 h 110"/>
              <a:gd name="T54" fmla="*/ 70232854 w 98"/>
              <a:gd name="T55" fmla="*/ 960816050 h 110"/>
              <a:gd name="T56" fmla="*/ 561859417 w 98"/>
              <a:gd name="T57" fmla="*/ 818474465 h 110"/>
              <a:gd name="T58" fmla="*/ 491626562 w 98"/>
              <a:gd name="T59" fmla="*/ 889645258 h 110"/>
              <a:gd name="T60" fmla="*/ 351160854 w 98"/>
              <a:gd name="T61" fmla="*/ 830336264 h 110"/>
              <a:gd name="T62" fmla="*/ 433100323 w 98"/>
              <a:gd name="T63" fmla="*/ 960816050 h 110"/>
              <a:gd name="T64" fmla="*/ 163875521 w 98"/>
              <a:gd name="T65" fmla="*/ 1008263246 h 110"/>
              <a:gd name="T66" fmla="*/ 433100323 w 98"/>
              <a:gd name="T67" fmla="*/ 1055710441 h 110"/>
              <a:gd name="T68" fmla="*/ 175582136 w 98"/>
              <a:gd name="T69" fmla="*/ 1103157636 h 110"/>
              <a:gd name="T70" fmla="*/ 468216750 w 98"/>
              <a:gd name="T71" fmla="*/ 1186193677 h 110"/>
              <a:gd name="T72" fmla="*/ 351160854 w 98"/>
              <a:gd name="T73" fmla="*/ 1304811665 h 110"/>
              <a:gd name="T74" fmla="*/ 0 w 98"/>
              <a:gd name="T75" fmla="*/ 1103157636 h 110"/>
              <a:gd name="T76" fmla="*/ 632092271 w 98"/>
              <a:gd name="T77" fmla="*/ 343995614 h 110"/>
              <a:gd name="T78" fmla="*/ 655502083 w 98"/>
              <a:gd name="T79" fmla="*/ 260963023 h 110"/>
              <a:gd name="T80" fmla="*/ 784261177 w 98"/>
              <a:gd name="T81" fmla="*/ 59308994 h 110"/>
              <a:gd name="T82" fmla="*/ 1030076167 w 98"/>
              <a:gd name="T83" fmla="*/ 59308994 h 110"/>
              <a:gd name="T84" fmla="*/ 1018369552 w 98"/>
              <a:gd name="T85" fmla="*/ 189792230 h 110"/>
              <a:gd name="T86" fmla="*/ 889610458 w 98"/>
              <a:gd name="T87" fmla="*/ 130479787 h 110"/>
              <a:gd name="T88" fmla="*/ 784261177 w 98"/>
              <a:gd name="T89" fmla="*/ 177930431 h 110"/>
              <a:gd name="T90" fmla="*/ 795967792 w 98"/>
              <a:gd name="T91" fmla="*/ 320272017 h 110"/>
              <a:gd name="T92" fmla="*/ 971546510 w 98"/>
              <a:gd name="T93" fmla="*/ 343995614 h 110"/>
              <a:gd name="T94" fmla="*/ 831084219 w 98"/>
              <a:gd name="T95" fmla="*/ 403304608 h 110"/>
              <a:gd name="T96" fmla="*/ 842787416 w 98"/>
              <a:gd name="T97" fmla="*/ 498202448 h 110"/>
              <a:gd name="T98" fmla="*/ 971546510 w 98"/>
              <a:gd name="T99" fmla="*/ 521926046 h 110"/>
              <a:gd name="T100" fmla="*/ 1123718833 w 98"/>
              <a:gd name="T101" fmla="*/ 581235040 h 110"/>
              <a:gd name="T102" fmla="*/ 819377604 w 98"/>
              <a:gd name="T103" fmla="*/ 593096838 h 110"/>
              <a:gd name="T104" fmla="*/ 725734937 w 98"/>
              <a:gd name="T105" fmla="*/ 628682235 h 110"/>
              <a:gd name="T106" fmla="*/ 678911895 w 98"/>
              <a:gd name="T107" fmla="*/ 533787844 h 110"/>
              <a:gd name="T108" fmla="*/ 702325125 w 98"/>
              <a:gd name="T109" fmla="*/ 403304608 h 110"/>
              <a:gd name="T110" fmla="*/ 632092271 w 98"/>
              <a:gd name="T111" fmla="*/ 343995614 h 110"/>
              <a:gd name="T112" fmla="*/ 222401760 w 98"/>
              <a:gd name="T113" fmla="*/ 154203384 h 110"/>
              <a:gd name="T114" fmla="*/ 222401760 w 98"/>
              <a:gd name="T115" fmla="*/ 225377626 h 110"/>
              <a:gd name="T116" fmla="*/ 269224802 w 98"/>
              <a:gd name="T117" fmla="*/ 118617988 h 110"/>
              <a:gd name="T118" fmla="*/ 386277281 w 98"/>
              <a:gd name="T119" fmla="*/ 498202448 h 110"/>
              <a:gd name="T120" fmla="*/ 397983896 w 98"/>
              <a:gd name="T121" fmla="*/ 403304608 h 110"/>
              <a:gd name="T122" fmla="*/ 327751042 w 98"/>
              <a:gd name="T123" fmla="*/ 521926046 h 11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98"/>
              <a:gd name="T187" fmla="*/ 0 h 110"/>
              <a:gd name="T188" fmla="*/ 98 w 98"/>
              <a:gd name="T189" fmla="*/ 110 h 11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98" h="110">
                <a:moveTo>
                  <a:pt x="23" y="44"/>
                </a:moveTo>
                <a:cubicBezTo>
                  <a:pt x="23" y="30"/>
                  <a:pt x="23" y="30"/>
                  <a:pt x="23" y="30"/>
                </a:cubicBezTo>
                <a:cubicBezTo>
                  <a:pt x="18" y="29"/>
                  <a:pt x="14" y="27"/>
                  <a:pt x="11" y="25"/>
                </a:cubicBezTo>
                <a:cubicBezTo>
                  <a:pt x="9" y="23"/>
                  <a:pt x="8" y="20"/>
                  <a:pt x="8" y="16"/>
                </a:cubicBezTo>
                <a:cubicBezTo>
                  <a:pt x="8" y="13"/>
                  <a:pt x="9" y="10"/>
                  <a:pt x="12" y="8"/>
                </a:cubicBezTo>
                <a:cubicBezTo>
                  <a:pt x="15" y="5"/>
                  <a:pt x="18" y="4"/>
                  <a:pt x="23" y="4"/>
                </a:cubicBezTo>
                <a:cubicBezTo>
                  <a:pt x="23" y="0"/>
                  <a:pt x="23" y="0"/>
                  <a:pt x="23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4"/>
                  <a:pt x="28" y="4"/>
                  <a:pt x="28" y="4"/>
                </a:cubicBezTo>
                <a:cubicBezTo>
                  <a:pt x="33" y="4"/>
                  <a:pt x="36" y="5"/>
                  <a:pt x="38" y="7"/>
                </a:cubicBezTo>
                <a:cubicBezTo>
                  <a:pt x="41" y="9"/>
                  <a:pt x="43" y="11"/>
                  <a:pt x="43" y="15"/>
                </a:cubicBezTo>
                <a:cubicBezTo>
                  <a:pt x="33" y="16"/>
                  <a:pt x="33" y="16"/>
                  <a:pt x="33" y="16"/>
                </a:cubicBezTo>
                <a:cubicBezTo>
                  <a:pt x="33" y="13"/>
                  <a:pt x="31" y="11"/>
                  <a:pt x="28" y="11"/>
                </a:cubicBezTo>
                <a:cubicBezTo>
                  <a:pt x="28" y="23"/>
                  <a:pt x="28" y="23"/>
                  <a:pt x="28" y="23"/>
                </a:cubicBezTo>
                <a:cubicBezTo>
                  <a:pt x="35" y="24"/>
                  <a:pt x="39" y="26"/>
                  <a:pt x="41" y="28"/>
                </a:cubicBezTo>
                <a:cubicBezTo>
                  <a:pt x="44" y="30"/>
                  <a:pt x="45" y="33"/>
                  <a:pt x="45" y="37"/>
                </a:cubicBezTo>
                <a:cubicBezTo>
                  <a:pt x="45" y="41"/>
                  <a:pt x="43" y="44"/>
                  <a:pt x="40" y="46"/>
                </a:cubicBezTo>
                <a:cubicBezTo>
                  <a:pt x="38" y="49"/>
                  <a:pt x="34" y="51"/>
                  <a:pt x="28" y="51"/>
                </a:cubicBezTo>
                <a:cubicBezTo>
                  <a:pt x="28" y="57"/>
                  <a:pt x="28" y="57"/>
                  <a:pt x="28" y="57"/>
                </a:cubicBezTo>
                <a:cubicBezTo>
                  <a:pt x="23" y="57"/>
                  <a:pt x="23" y="57"/>
                  <a:pt x="23" y="57"/>
                </a:cubicBezTo>
                <a:cubicBezTo>
                  <a:pt x="23" y="51"/>
                  <a:pt x="23" y="51"/>
                  <a:pt x="23" y="51"/>
                </a:cubicBezTo>
                <a:cubicBezTo>
                  <a:pt x="18" y="51"/>
                  <a:pt x="15" y="50"/>
                  <a:pt x="12" y="47"/>
                </a:cubicBezTo>
                <a:cubicBezTo>
                  <a:pt x="9" y="45"/>
                  <a:pt x="7" y="42"/>
                  <a:pt x="6" y="38"/>
                </a:cubicBezTo>
                <a:cubicBezTo>
                  <a:pt x="17" y="37"/>
                  <a:pt x="17" y="37"/>
                  <a:pt x="17" y="37"/>
                </a:cubicBezTo>
                <a:cubicBezTo>
                  <a:pt x="17" y="38"/>
                  <a:pt x="18" y="40"/>
                  <a:pt x="19" y="41"/>
                </a:cubicBezTo>
                <a:cubicBezTo>
                  <a:pt x="20" y="42"/>
                  <a:pt x="21" y="43"/>
                  <a:pt x="23" y="44"/>
                </a:cubicBezTo>
                <a:close/>
                <a:moveTo>
                  <a:pt x="58" y="94"/>
                </a:moveTo>
                <a:cubicBezTo>
                  <a:pt x="71" y="94"/>
                  <a:pt x="71" y="94"/>
                  <a:pt x="71" y="94"/>
                </a:cubicBezTo>
                <a:cubicBezTo>
                  <a:pt x="71" y="90"/>
                  <a:pt x="71" y="90"/>
                  <a:pt x="71" y="90"/>
                </a:cubicBezTo>
                <a:cubicBezTo>
                  <a:pt x="58" y="90"/>
                  <a:pt x="58" y="90"/>
                  <a:pt x="58" y="90"/>
                </a:cubicBezTo>
                <a:cubicBezTo>
                  <a:pt x="58" y="86"/>
                  <a:pt x="58" y="86"/>
                  <a:pt x="58" y="86"/>
                </a:cubicBezTo>
                <a:cubicBezTo>
                  <a:pt x="69" y="86"/>
                  <a:pt x="69" y="86"/>
                  <a:pt x="69" y="86"/>
                </a:cubicBezTo>
                <a:cubicBezTo>
                  <a:pt x="55" y="65"/>
                  <a:pt x="55" y="65"/>
                  <a:pt x="55" y="65"/>
                </a:cubicBezTo>
                <a:cubicBezTo>
                  <a:pt x="65" y="65"/>
                  <a:pt x="65" y="65"/>
                  <a:pt x="65" y="65"/>
                </a:cubicBezTo>
                <a:cubicBezTo>
                  <a:pt x="76" y="82"/>
                  <a:pt x="76" y="82"/>
                  <a:pt x="76" y="82"/>
                </a:cubicBezTo>
                <a:cubicBezTo>
                  <a:pt x="87" y="65"/>
                  <a:pt x="87" y="65"/>
                  <a:pt x="87" y="65"/>
                </a:cubicBezTo>
                <a:cubicBezTo>
                  <a:pt x="98" y="65"/>
                  <a:pt x="98" y="65"/>
                  <a:pt x="98" y="65"/>
                </a:cubicBezTo>
                <a:cubicBezTo>
                  <a:pt x="84" y="86"/>
                  <a:pt x="84" y="86"/>
                  <a:pt x="84" y="86"/>
                </a:cubicBezTo>
                <a:cubicBezTo>
                  <a:pt x="97" y="86"/>
                  <a:pt x="97" y="86"/>
                  <a:pt x="97" y="86"/>
                </a:cubicBezTo>
                <a:cubicBezTo>
                  <a:pt x="97" y="90"/>
                  <a:pt x="97" y="90"/>
                  <a:pt x="97" y="90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4"/>
                  <a:pt x="82" y="94"/>
                  <a:pt x="82" y="94"/>
                </a:cubicBezTo>
                <a:cubicBezTo>
                  <a:pt x="97" y="94"/>
                  <a:pt x="97" y="94"/>
                  <a:pt x="97" y="94"/>
                </a:cubicBezTo>
                <a:cubicBezTo>
                  <a:pt x="97" y="98"/>
                  <a:pt x="97" y="98"/>
                  <a:pt x="97" y="98"/>
                </a:cubicBezTo>
                <a:cubicBezTo>
                  <a:pt x="82" y="98"/>
                  <a:pt x="82" y="98"/>
                  <a:pt x="82" y="98"/>
                </a:cubicBezTo>
                <a:cubicBezTo>
                  <a:pt x="82" y="110"/>
                  <a:pt x="82" y="110"/>
                  <a:pt x="82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98"/>
                  <a:pt x="71" y="98"/>
                  <a:pt x="71" y="98"/>
                </a:cubicBezTo>
                <a:cubicBezTo>
                  <a:pt x="58" y="98"/>
                  <a:pt x="58" y="98"/>
                  <a:pt x="58" y="98"/>
                </a:cubicBezTo>
                <a:cubicBezTo>
                  <a:pt x="58" y="94"/>
                  <a:pt x="58" y="94"/>
                  <a:pt x="58" y="94"/>
                </a:cubicBezTo>
                <a:close/>
                <a:moveTo>
                  <a:pt x="0" y="89"/>
                </a:moveTo>
                <a:cubicBezTo>
                  <a:pt x="5" y="89"/>
                  <a:pt x="5" y="89"/>
                  <a:pt x="5" y="89"/>
                </a:cubicBezTo>
                <a:cubicBezTo>
                  <a:pt x="5" y="88"/>
                  <a:pt x="5" y="86"/>
                  <a:pt x="5" y="85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81"/>
                  <a:pt x="0" y="81"/>
                  <a:pt x="0" y="81"/>
                </a:cubicBezTo>
                <a:cubicBezTo>
                  <a:pt x="6" y="81"/>
                  <a:pt x="6" y="81"/>
                  <a:pt x="6" y="81"/>
                </a:cubicBezTo>
                <a:cubicBezTo>
                  <a:pt x="8" y="71"/>
                  <a:pt x="16" y="62"/>
                  <a:pt x="30" y="62"/>
                </a:cubicBezTo>
                <a:cubicBezTo>
                  <a:pt x="37" y="62"/>
                  <a:pt x="43" y="65"/>
                  <a:pt x="48" y="69"/>
                </a:cubicBezTo>
                <a:cubicBezTo>
                  <a:pt x="48" y="70"/>
                  <a:pt x="49" y="70"/>
                  <a:pt x="49" y="71"/>
                </a:cubicBezTo>
                <a:cubicBezTo>
                  <a:pt x="42" y="75"/>
                  <a:pt x="42" y="75"/>
                  <a:pt x="42" y="75"/>
                </a:cubicBezTo>
                <a:cubicBezTo>
                  <a:pt x="42" y="75"/>
                  <a:pt x="42" y="75"/>
                  <a:pt x="42" y="74"/>
                </a:cubicBezTo>
                <a:cubicBezTo>
                  <a:pt x="39" y="71"/>
                  <a:pt x="35" y="70"/>
                  <a:pt x="30" y="70"/>
                </a:cubicBezTo>
                <a:cubicBezTo>
                  <a:pt x="22" y="70"/>
                  <a:pt x="17" y="75"/>
                  <a:pt x="15" y="81"/>
                </a:cubicBezTo>
                <a:cubicBezTo>
                  <a:pt x="37" y="81"/>
                  <a:pt x="37" y="81"/>
                  <a:pt x="37" y="81"/>
                </a:cubicBezTo>
                <a:cubicBezTo>
                  <a:pt x="37" y="85"/>
                  <a:pt x="37" y="85"/>
                  <a:pt x="37" y="85"/>
                </a:cubicBezTo>
                <a:cubicBezTo>
                  <a:pt x="14" y="85"/>
                  <a:pt x="14" y="85"/>
                  <a:pt x="14" y="85"/>
                </a:cubicBezTo>
                <a:cubicBezTo>
                  <a:pt x="14" y="86"/>
                  <a:pt x="14" y="88"/>
                  <a:pt x="14" y="89"/>
                </a:cubicBezTo>
                <a:cubicBezTo>
                  <a:pt x="37" y="89"/>
                  <a:pt x="37" y="89"/>
                  <a:pt x="37" y="89"/>
                </a:cubicBezTo>
                <a:cubicBezTo>
                  <a:pt x="37" y="93"/>
                  <a:pt x="37" y="93"/>
                  <a:pt x="37" y="93"/>
                </a:cubicBezTo>
                <a:cubicBezTo>
                  <a:pt x="15" y="93"/>
                  <a:pt x="15" y="93"/>
                  <a:pt x="15" y="93"/>
                </a:cubicBezTo>
                <a:cubicBezTo>
                  <a:pt x="18" y="99"/>
                  <a:pt x="22" y="103"/>
                  <a:pt x="30" y="103"/>
                </a:cubicBezTo>
                <a:cubicBezTo>
                  <a:pt x="34" y="103"/>
                  <a:pt x="37" y="102"/>
                  <a:pt x="40" y="100"/>
                </a:cubicBezTo>
                <a:cubicBezTo>
                  <a:pt x="47" y="104"/>
                  <a:pt x="47" y="104"/>
                  <a:pt x="47" y="104"/>
                </a:cubicBezTo>
                <a:cubicBezTo>
                  <a:pt x="42" y="108"/>
                  <a:pt x="36" y="110"/>
                  <a:pt x="30" y="110"/>
                </a:cubicBezTo>
                <a:cubicBezTo>
                  <a:pt x="17" y="110"/>
                  <a:pt x="9" y="103"/>
                  <a:pt x="6" y="93"/>
                </a:cubicBezTo>
                <a:cubicBezTo>
                  <a:pt x="0" y="93"/>
                  <a:pt x="0" y="93"/>
                  <a:pt x="0" y="93"/>
                </a:cubicBezTo>
                <a:cubicBezTo>
                  <a:pt x="0" y="89"/>
                  <a:pt x="0" y="89"/>
                  <a:pt x="0" y="89"/>
                </a:cubicBezTo>
                <a:close/>
                <a:moveTo>
                  <a:pt x="54" y="29"/>
                </a:moveTo>
                <a:cubicBezTo>
                  <a:pt x="58" y="29"/>
                  <a:pt x="58" y="29"/>
                  <a:pt x="58" y="29"/>
                </a:cubicBezTo>
                <a:cubicBezTo>
                  <a:pt x="57" y="27"/>
                  <a:pt x="56" y="24"/>
                  <a:pt x="56" y="22"/>
                </a:cubicBezTo>
                <a:cubicBezTo>
                  <a:pt x="56" y="18"/>
                  <a:pt x="56" y="15"/>
                  <a:pt x="58" y="12"/>
                </a:cubicBezTo>
                <a:cubicBezTo>
                  <a:pt x="60" y="9"/>
                  <a:pt x="63" y="6"/>
                  <a:pt x="67" y="5"/>
                </a:cubicBezTo>
                <a:cubicBezTo>
                  <a:pt x="70" y="4"/>
                  <a:pt x="72" y="3"/>
                  <a:pt x="75" y="3"/>
                </a:cubicBezTo>
                <a:cubicBezTo>
                  <a:pt x="80" y="3"/>
                  <a:pt x="84" y="3"/>
                  <a:pt x="88" y="5"/>
                </a:cubicBezTo>
                <a:cubicBezTo>
                  <a:pt x="91" y="7"/>
                  <a:pt x="94" y="10"/>
                  <a:pt x="96" y="13"/>
                </a:cubicBezTo>
                <a:cubicBezTo>
                  <a:pt x="87" y="16"/>
                  <a:pt x="87" y="16"/>
                  <a:pt x="87" y="16"/>
                </a:cubicBezTo>
                <a:cubicBezTo>
                  <a:pt x="86" y="14"/>
                  <a:pt x="84" y="13"/>
                  <a:pt x="82" y="12"/>
                </a:cubicBezTo>
                <a:cubicBezTo>
                  <a:pt x="81" y="11"/>
                  <a:pt x="78" y="11"/>
                  <a:pt x="76" y="11"/>
                </a:cubicBezTo>
                <a:cubicBezTo>
                  <a:pt x="74" y="11"/>
                  <a:pt x="73" y="11"/>
                  <a:pt x="71" y="12"/>
                </a:cubicBezTo>
                <a:cubicBezTo>
                  <a:pt x="69" y="13"/>
                  <a:pt x="68" y="14"/>
                  <a:pt x="67" y="15"/>
                </a:cubicBezTo>
                <a:cubicBezTo>
                  <a:pt x="66" y="17"/>
                  <a:pt x="66" y="19"/>
                  <a:pt x="66" y="21"/>
                </a:cubicBezTo>
                <a:cubicBezTo>
                  <a:pt x="66" y="23"/>
                  <a:pt x="67" y="25"/>
                  <a:pt x="68" y="27"/>
                </a:cubicBezTo>
                <a:cubicBezTo>
                  <a:pt x="68" y="28"/>
                  <a:pt x="69" y="28"/>
                  <a:pt x="69" y="29"/>
                </a:cubicBezTo>
                <a:cubicBezTo>
                  <a:pt x="83" y="29"/>
                  <a:pt x="83" y="29"/>
                  <a:pt x="83" y="29"/>
                </a:cubicBezTo>
                <a:cubicBezTo>
                  <a:pt x="83" y="34"/>
                  <a:pt x="83" y="34"/>
                  <a:pt x="83" y="34"/>
                </a:cubicBezTo>
                <a:cubicBezTo>
                  <a:pt x="71" y="34"/>
                  <a:pt x="71" y="34"/>
                  <a:pt x="71" y="34"/>
                </a:cubicBezTo>
                <a:cubicBezTo>
                  <a:pt x="72" y="36"/>
                  <a:pt x="72" y="38"/>
                  <a:pt x="72" y="40"/>
                </a:cubicBezTo>
                <a:cubicBezTo>
                  <a:pt x="72" y="40"/>
                  <a:pt x="72" y="41"/>
                  <a:pt x="72" y="42"/>
                </a:cubicBezTo>
                <a:cubicBezTo>
                  <a:pt x="72" y="42"/>
                  <a:pt x="72" y="42"/>
                  <a:pt x="72" y="42"/>
                </a:cubicBezTo>
                <a:cubicBezTo>
                  <a:pt x="77" y="42"/>
                  <a:pt x="80" y="43"/>
                  <a:pt x="83" y="44"/>
                </a:cubicBezTo>
                <a:cubicBezTo>
                  <a:pt x="85" y="45"/>
                  <a:pt x="86" y="46"/>
                  <a:pt x="89" y="44"/>
                </a:cubicBezTo>
                <a:cubicBezTo>
                  <a:pt x="96" y="49"/>
                  <a:pt x="96" y="49"/>
                  <a:pt x="96" y="49"/>
                </a:cubicBezTo>
                <a:cubicBezTo>
                  <a:pt x="88" y="56"/>
                  <a:pt x="85" y="54"/>
                  <a:pt x="78" y="52"/>
                </a:cubicBezTo>
                <a:cubicBezTo>
                  <a:pt x="76" y="51"/>
                  <a:pt x="74" y="50"/>
                  <a:pt x="70" y="50"/>
                </a:cubicBezTo>
                <a:cubicBezTo>
                  <a:pt x="69" y="49"/>
                  <a:pt x="67" y="50"/>
                  <a:pt x="65" y="51"/>
                </a:cubicBezTo>
                <a:cubicBezTo>
                  <a:pt x="64" y="52"/>
                  <a:pt x="63" y="53"/>
                  <a:pt x="62" y="53"/>
                </a:cubicBezTo>
                <a:cubicBezTo>
                  <a:pt x="56" y="47"/>
                  <a:pt x="56" y="47"/>
                  <a:pt x="56" y="47"/>
                </a:cubicBezTo>
                <a:cubicBezTo>
                  <a:pt x="56" y="47"/>
                  <a:pt x="57" y="46"/>
                  <a:pt x="58" y="45"/>
                </a:cubicBezTo>
                <a:cubicBezTo>
                  <a:pt x="61" y="44"/>
                  <a:pt x="62" y="42"/>
                  <a:pt x="62" y="40"/>
                </a:cubicBezTo>
                <a:cubicBezTo>
                  <a:pt x="62" y="38"/>
                  <a:pt x="61" y="36"/>
                  <a:pt x="60" y="34"/>
                </a:cubicBezTo>
                <a:cubicBezTo>
                  <a:pt x="54" y="34"/>
                  <a:pt x="54" y="34"/>
                  <a:pt x="54" y="34"/>
                </a:cubicBezTo>
                <a:cubicBezTo>
                  <a:pt x="54" y="29"/>
                  <a:pt x="54" y="29"/>
                  <a:pt x="54" y="29"/>
                </a:cubicBezTo>
                <a:close/>
                <a:moveTo>
                  <a:pt x="23" y="10"/>
                </a:moveTo>
                <a:cubicBezTo>
                  <a:pt x="21" y="11"/>
                  <a:pt x="20" y="12"/>
                  <a:pt x="19" y="13"/>
                </a:cubicBezTo>
                <a:cubicBezTo>
                  <a:pt x="18" y="14"/>
                  <a:pt x="18" y="15"/>
                  <a:pt x="18" y="16"/>
                </a:cubicBezTo>
                <a:cubicBezTo>
                  <a:pt x="18" y="17"/>
                  <a:pt x="18" y="18"/>
                  <a:pt x="19" y="19"/>
                </a:cubicBezTo>
                <a:cubicBezTo>
                  <a:pt x="20" y="20"/>
                  <a:pt x="21" y="21"/>
                  <a:pt x="23" y="21"/>
                </a:cubicBezTo>
                <a:cubicBezTo>
                  <a:pt x="23" y="10"/>
                  <a:pt x="23" y="10"/>
                  <a:pt x="23" y="10"/>
                </a:cubicBezTo>
                <a:close/>
                <a:moveTo>
                  <a:pt x="28" y="44"/>
                </a:moveTo>
                <a:cubicBezTo>
                  <a:pt x="30" y="44"/>
                  <a:pt x="32" y="43"/>
                  <a:pt x="33" y="42"/>
                </a:cubicBezTo>
                <a:cubicBezTo>
                  <a:pt x="35" y="41"/>
                  <a:pt x="35" y="39"/>
                  <a:pt x="35" y="38"/>
                </a:cubicBezTo>
                <a:cubicBezTo>
                  <a:pt x="35" y="36"/>
                  <a:pt x="35" y="35"/>
                  <a:pt x="34" y="34"/>
                </a:cubicBezTo>
                <a:cubicBezTo>
                  <a:pt x="33" y="33"/>
                  <a:pt x="31" y="32"/>
                  <a:pt x="28" y="32"/>
                </a:cubicBezTo>
                <a:lnTo>
                  <a:pt x="28" y="4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3" name="Freeform 80"/>
          <p:cNvSpPr>
            <a:spLocks noEditPoints="1" noChangeArrowheads="1"/>
          </p:cNvSpPr>
          <p:nvPr/>
        </p:nvSpPr>
        <p:spPr bwMode="auto">
          <a:xfrm>
            <a:off x="5450417" y="5600700"/>
            <a:ext cx="440267" cy="493184"/>
          </a:xfrm>
          <a:custGeom>
            <a:avLst/>
            <a:gdLst>
              <a:gd name="T0" fmla="*/ 626262135 w 96"/>
              <a:gd name="T1" fmla="*/ 799026578 h 108"/>
              <a:gd name="T2" fmla="*/ 638077104 w 96"/>
              <a:gd name="T3" fmla="*/ 740272609 h 108"/>
              <a:gd name="T4" fmla="*/ 590813790 w 96"/>
              <a:gd name="T5" fmla="*/ 693272859 h 108"/>
              <a:gd name="T6" fmla="*/ 531732067 w 96"/>
              <a:gd name="T7" fmla="*/ 728525240 h 108"/>
              <a:gd name="T8" fmla="*/ 555365444 w 96"/>
              <a:gd name="T9" fmla="*/ 799026578 h 108"/>
              <a:gd name="T10" fmla="*/ 295405175 w 96"/>
              <a:gd name="T11" fmla="*/ 399513289 h 108"/>
              <a:gd name="T12" fmla="*/ 224508483 w 96"/>
              <a:gd name="T13" fmla="*/ 270257982 h 108"/>
              <a:gd name="T14" fmla="*/ 94530069 w 96"/>
              <a:gd name="T15" fmla="*/ 129255307 h 108"/>
              <a:gd name="T16" fmla="*/ 401753652 w 96"/>
              <a:gd name="T17" fmla="*/ 47003175 h 108"/>
              <a:gd name="T18" fmla="*/ 437201998 w 96"/>
              <a:gd name="T19" fmla="*/ 58750544 h 108"/>
              <a:gd name="T20" fmla="*/ 496283721 w 96"/>
              <a:gd name="T21" fmla="*/ 152753469 h 108"/>
              <a:gd name="T22" fmla="*/ 567180413 w 96"/>
              <a:gd name="T23" fmla="*/ 47003175 h 108"/>
              <a:gd name="T24" fmla="*/ 673525450 w 96"/>
              <a:gd name="T25" fmla="*/ 82252132 h 108"/>
              <a:gd name="T26" fmla="*/ 732607173 w 96"/>
              <a:gd name="T27" fmla="*/ 0 h 108"/>
              <a:gd name="T28" fmla="*/ 768055519 w 96"/>
              <a:gd name="T29" fmla="*/ 0 h 108"/>
              <a:gd name="T30" fmla="*/ 1051645725 w 96"/>
              <a:gd name="T31" fmla="*/ 117504513 h 108"/>
              <a:gd name="T32" fmla="*/ 909852342 w 96"/>
              <a:gd name="T33" fmla="*/ 258507188 h 108"/>
              <a:gd name="T34" fmla="*/ 779873927 w 96"/>
              <a:gd name="T35" fmla="*/ 376011701 h 108"/>
              <a:gd name="T36" fmla="*/ 945300688 w 96"/>
              <a:gd name="T37" fmla="*/ 129255307 h 108"/>
              <a:gd name="T38" fmla="*/ 744425581 w 96"/>
              <a:gd name="T39" fmla="*/ 82252132 h 108"/>
              <a:gd name="T40" fmla="*/ 791688896 w 96"/>
              <a:gd name="T41" fmla="*/ 117504513 h 108"/>
              <a:gd name="T42" fmla="*/ 803507304 w 96"/>
              <a:gd name="T43" fmla="*/ 164504263 h 108"/>
              <a:gd name="T44" fmla="*/ 685343858 w 96"/>
              <a:gd name="T45" fmla="*/ 399513289 h 108"/>
              <a:gd name="T46" fmla="*/ 685343858 w 96"/>
              <a:gd name="T47" fmla="*/ 246756395 h 108"/>
              <a:gd name="T48" fmla="*/ 578995381 w 96"/>
              <a:gd name="T49" fmla="*/ 105753719 h 108"/>
              <a:gd name="T50" fmla="*/ 519917098 w 96"/>
              <a:gd name="T51" fmla="*/ 246756395 h 108"/>
              <a:gd name="T52" fmla="*/ 484465313 w 96"/>
              <a:gd name="T53" fmla="*/ 399513289 h 108"/>
              <a:gd name="T54" fmla="*/ 401753652 w 96"/>
              <a:gd name="T55" fmla="*/ 105753719 h 108"/>
              <a:gd name="T56" fmla="*/ 271775238 w 96"/>
              <a:gd name="T57" fmla="*/ 246756395 h 108"/>
              <a:gd name="T58" fmla="*/ 342671929 w 96"/>
              <a:gd name="T59" fmla="*/ 376011701 h 108"/>
              <a:gd name="T60" fmla="*/ 957115656 w 96"/>
              <a:gd name="T61" fmla="*/ 282008776 h 108"/>
              <a:gd name="T62" fmla="*/ 1122545856 w 96"/>
              <a:gd name="T63" fmla="*/ 446513039 h 108"/>
              <a:gd name="T64" fmla="*/ 921667310 w 96"/>
              <a:gd name="T65" fmla="*/ 611020727 h 108"/>
              <a:gd name="T66" fmla="*/ 898037373 w 96"/>
              <a:gd name="T67" fmla="*/ 693272859 h 108"/>
              <a:gd name="T68" fmla="*/ 838955650 w 96"/>
              <a:gd name="T69" fmla="*/ 728525240 h 108"/>
              <a:gd name="T70" fmla="*/ 850770619 w 96"/>
              <a:gd name="T71" fmla="*/ 799026578 h 108"/>
              <a:gd name="T72" fmla="*/ 921667310 w 96"/>
              <a:gd name="T73" fmla="*/ 799026578 h 108"/>
              <a:gd name="T74" fmla="*/ 1039830756 w 96"/>
              <a:gd name="T75" fmla="*/ 1151536692 h 108"/>
              <a:gd name="T76" fmla="*/ 578995381 w 96"/>
              <a:gd name="T77" fmla="*/ 1269041204 h 108"/>
              <a:gd name="T78" fmla="*/ 118163446 w 96"/>
              <a:gd name="T79" fmla="*/ 1151536692 h 108"/>
              <a:gd name="T80" fmla="*/ 236326892 w 96"/>
              <a:gd name="T81" fmla="*/ 799026578 h 108"/>
              <a:gd name="T82" fmla="*/ 307223583 w 96"/>
              <a:gd name="T83" fmla="*/ 799026578 h 108"/>
              <a:gd name="T84" fmla="*/ 330856960 w 96"/>
              <a:gd name="T85" fmla="*/ 740272609 h 108"/>
              <a:gd name="T86" fmla="*/ 283590206 w 96"/>
              <a:gd name="T87" fmla="*/ 693272859 h 108"/>
              <a:gd name="T88" fmla="*/ 236326892 w 96"/>
              <a:gd name="T89" fmla="*/ 599269933 h 108"/>
              <a:gd name="T90" fmla="*/ 23633377 w 96"/>
              <a:gd name="T91" fmla="*/ 446513039 h 108"/>
              <a:gd name="T92" fmla="*/ 189060138 w 96"/>
              <a:gd name="T93" fmla="*/ 282008776 h 108"/>
              <a:gd name="T94" fmla="*/ 153611792 w 96"/>
              <a:gd name="T95" fmla="*/ 387762495 h 108"/>
              <a:gd name="T96" fmla="*/ 567180413 w 96"/>
              <a:gd name="T97" fmla="*/ 446513039 h 108"/>
              <a:gd name="T98" fmla="*/ 980749033 w 96"/>
              <a:gd name="T99" fmla="*/ 387762495 h 108"/>
              <a:gd name="T100" fmla="*/ 957115656 w 96"/>
              <a:gd name="T101" fmla="*/ 282008776 h 108"/>
              <a:gd name="T102" fmla="*/ 259956829 w 96"/>
              <a:gd name="T103" fmla="*/ 1092786148 h 108"/>
              <a:gd name="T104" fmla="*/ 437201998 w 96"/>
              <a:gd name="T105" fmla="*/ 928278460 h 108"/>
              <a:gd name="T106" fmla="*/ 508098690 w 96"/>
              <a:gd name="T107" fmla="*/ 1151536692 h 108"/>
              <a:gd name="T108" fmla="*/ 685343858 w 96"/>
              <a:gd name="T109" fmla="*/ 1151536692 h 108"/>
              <a:gd name="T110" fmla="*/ 543547035 w 96"/>
              <a:gd name="T111" fmla="*/ 928278460 h 108"/>
              <a:gd name="T112" fmla="*/ 803507304 w 96"/>
              <a:gd name="T113" fmla="*/ 1128035104 h 108"/>
              <a:gd name="T114" fmla="*/ 862585588 w 96"/>
              <a:gd name="T115" fmla="*/ 916531091 h 108"/>
              <a:gd name="T116" fmla="*/ 803507304 w 96"/>
              <a:gd name="T117" fmla="*/ 1128035104 h 10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6"/>
              <a:gd name="T178" fmla="*/ 0 h 108"/>
              <a:gd name="T179" fmla="*/ 96 w 96"/>
              <a:gd name="T180" fmla="*/ 108 h 10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6" h="108">
                <a:moveTo>
                  <a:pt x="50" y="74"/>
                </a:moveTo>
                <a:cubicBezTo>
                  <a:pt x="53" y="68"/>
                  <a:pt x="53" y="68"/>
                  <a:pt x="53" y="68"/>
                </a:cubicBezTo>
                <a:cubicBezTo>
                  <a:pt x="60" y="67"/>
                  <a:pt x="60" y="67"/>
                  <a:pt x="60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6" y="55"/>
                  <a:pt x="56" y="55"/>
                  <a:pt x="56" y="55"/>
                </a:cubicBezTo>
                <a:cubicBezTo>
                  <a:pt x="50" y="59"/>
                  <a:pt x="50" y="59"/>
                  <a:pt x="50" y="59"/>
                </a:cubicBezTo>
                <a:cubicBezTo>
                  <a:pt x="43" y="55"/>
                  <a:pt x="43" y="55"/>
                  <a:pt x="43" y="55"/>
                </a:cubicBezTo>
                <a:cubicBezTo>
                  <a:pt x="45" y="62"/>
                  <a:pt x="45" y="62"/>
                  <a:pt x="45" y="62"/>
                </a:cubicBezTo>
                <a:cubicBezTo>
                  <a:pt x="39" y="67"/>
                  <a:pt x="39" y="67"/>
                  <a:pt x="39" y="67"/>
                </a:cubicBezTo>
                <a:cubicBezTo>
                  <a:pt x="47" y="68"/>
                  <a:pt x="47" y="68"/>
                  <a:pt x="47" y="68"/>
                </a:cubicBezTo>
                <a:cubicBezTo>
                  <a:pt x="50" y="74"/>
                  <a:pt x="50" y="74"/>
                  <a:pt x="50" y="74"/>
                </a:cubicBezTo>
                <a:close/>
                <a:moveTo>
                  <a:pt x="25" y="34"/>
                </a:moveTo>
                <a:cubicBezTo>
                  <a:pt x="23" y="30"/>
                  <a:pt x="22" y="27"/>
                  <a:pt x="19" y="23"/>
                </a:cubicBezTo>
                <a:cubicBezTo>
                  <a:pt x="19" y="23"/>
                  <a:pt x="19" y="23"/>
                  <a:pt x="19" y="23"/>
                </a:cubicBezTo>
                <a:cubicBezTo>
                  <a:pt x="17" y="20"/>
                  <a:pt x="15" y="17"/>
                  <a:pt x="11" y="14"/>
                </a:cubicBezTo>
                <a:cubicBezTo>
                  <a:pt x="8" y="11"/>
                  <a:pt x="8" y="11"/>
                  <a:pt x="8" y="11"/>
                </a:cubicBezTo>
                <a:cubicBezTo>
                  <a:pt x="12" y="10"/>
                  <a:pt x="12" y="10"/>
                  <a:pt x="12" y="10"/>
                </a:cubicBezTo>
                <a:cubicBezTo>
                  <a:pt x="34" y="4"/>
                  <a:pt x="34" y="4"/>
                  <a:pt x="34" y="4"/>
                </a:cubicBezTo>
                <a:cubicBezTo>
                  <a:pt x="36" y="3"/>
                  <a:pt x="36" y="3"/>
                  <a:pt x="36" y="3"/>
                </a:cubicBezTo>
                <a:cubicBezTo>
                  <a:pt x="37" y="5"/>
                  <a:pt x="37" y="5"/>
                  <a:pt x="37" y="5"/>
                </a:cubicBezTo>
                <a:cubicBezTo>
                  <a:pt x="39" y="7"/>
                  <a:pt x="40" y="10"/>
                  <a:pt x="41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3" y="10"/>
                  <a:pt x="44" y="8"/>
                  <a:pt x="47" y="5"/>
                </a:cubicBezTo>
                <a:cubicBezTo>
                  <a:pt x="48" y="4"/>
                  <a:pt x="48" y="4"/>
                  <a:pt x="48" y="4"/>
                </a:cubicBezTo>
                <a:cubicBezTo>
                  <a:pt x="49" y="4"/>
                  <a:pt x="49" y="4"/>
                  <a:pt x="49" y="4"/>
                </a:cubicBezTo>
                <a:cubicBezTo>
                  <a:pt x="57" y="7"/>
                  <a:pt x="57" y="7"/>
                  <a:pt x="57" y="7"/>
                </a:cubicBezTo>
                <a:cubicBezTo>
                  <a:pt x="58" y="6"/>
                  <a:pt x="58" y="5"/>
                  <a:pt x="59" y="4"/>
                </a:cubicBezTo>
                <a:cubicBezTo>
                  <a:pt x="60" y="2"/>
                  <a:pt x="61" y="1"/>
                  <a:pt x="62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86" y="8"/>
                  <a:pt x="86" y="8"/>
                  <a:pt x="86" y="8"/>
                </a:cubicBezTo>
                <a:cubicBezTo>
                  <a:pt x="89" y="10"/>
                  <a:pt x="89" y="10"/>
                  <a:pt x="89" y="10"/>
                </a:cubicBezTo>
                <a:cubicBezTo>
                  <a:pt x="86" y="12"/>
                  <a:pt x="86" y="12"/>
                  <a:pt x="86" y="12"/>
                </a:cubicBezTo>
                <a:cubicBezTo>
                  <a:pt x="83" y="15"/>
                  <a:pt x="80" y="19"/>
                  <a:pt x="77" y="22"/>
                </a:cubicBezTo>
                <a:cubicBezTo>
                  <a:pt x="74" y="26"/>
                  <a:pt x="72" y="30"/>
                  <a:pt x="70" y="34"/>
                </a:cubicBezTo>
                <a:cubicBezTo>
                  <a:pt x="66" y="32"/>
                  <a:pt x="66" y="32"/>
                  <a:pt x="66" y="32"/>
                </a:cubicBezTo>
                <a:cubicBezTo>
                  <a:pt x="68" y="28"/>
                  <a:pt x="70" y="23"/>
                  <a:pt x="73" y="19"/>
                </a:cubicBezTo>
                <a:cubicBezTo>
                  <a:pt x="75" y="17"/>
                  <a:pt x="78" y="14"/>
                  <a:pt x="80" y="11"/>
                </a:cubicBezTo>
                <a:cubicBezTo>
                  <a:pt x="64" y="5"/>
                  <a:pt x="64" y="5"/>
                  <a:pt x="64" y="5"/>
                </a:cubicBezTo>
                <a:cubicBezTo>
                  <a:pt x="64" y="6"/>
                  <a:pt x="63" y="6"/>
                  <a:pt x="63" y="7"/>
                </a:cubicBezTo>
                <a:cubicBezTo>
                  <a:pt x="63" y="7"/>
                  <a:pt x="62" y="8"/>
                  <a:pt x="62" y="8"/>
                </a:cubicBezTo>
                <a:cubicBezTo>
                  <a:pt x="67" y="10"/>
                  <a:pt x="67" y="10"/>
                  <a:pt x="67" y="10"/>
                </a:cubicBezTo>
                <a:cubicBezTo>
                  <a:pt x="71" y="11"/>
                  <a:pt x="71" y="11"/>
                  <a:pt x="71" y="11"/>
                </a:cubicBezTo>
                <a:cubicBezTo>
                  <a:pt x="68" y="14"/>
                  <a:pt x="68" y="14"/>
                  <a:pt x="68" y="14"/>
                </a:cubicBezTo>
                <a:cubicBezTo>
                  <a:pt x="66" y="17"/>
                  <a:pt x="64" y="20"/>
                  <a:pt x="62" y="23"/>
                </a:cubicBezTo>
                <a:cubicBezTo>
                  <a:pt x="60" y="26"/>
                  <a:pt x="59" y="30"/>
                  <a:pt x="58" y="34"/>
                </a:cubicBezTo>
                <a:cubicBezTo>
                  <a:pt x="53" y="33"/>
                  <a:pt x="53" y="33"/>
                  <a:pt x="53" y="33"/>
                </a:cubicBezTo>
                <a:cubicBezTo>
                  <a:pt x="54" y="29"/>
                  <a:pt x="56" y="24"/>
                  <a:pt x="58" y="21"/>
                </a:cubicBezTo>
                <a:cubicBezTo>
                  <a:pt x="59" y="18"/>
                  <a:pt x="61" y="16"/>
                  <a:pt x="62" y="14"/>
                </a:cubicBezTo>
                <a:cubicBezTo>
                  <a:pt x="49" y="9"/>
                  <a:pt x="49" y="9"/>
                  <a:pt x="49" y="9"/>
                </a:cubicBezTo>
                <a:cubicBezTo>
                  <a:pt x="48" y="11"/>
                  <a:pt x="47" y="13"/>
                  <a:pt x="46" y="15"/>
                </a:cubicBezTo>
                <a:cubicBezTo>
                  <a:pt x="45" y="17"/>
                  <a:pt x="44" y="19"/>
                  <a:pt x="44" y="21"/>
                </a:cubicBezTo>
                <a:cubicBezTo>
                  <a:pt x="45" y="25"/>
                  <a:pt x="45" y="29"/>
                  <a:pt x="45" y="33"/>
                </a:cubicBezTo>
                <a:cubicBezTo>
                  <a:pt x="41" y="34"/>
                  <a:pt x="41" y="34"/>
                  <a:pt x="41" y="34"/>
                </a:cubicBezTo>
                <a:cubicBezTo>
                  <a:pt x="40" y="29"/>
                  <a:pt x="40" y="25"/>
                  <a:pt x="39" y="20"/>
                </a:cubicBezTo>
                <a:cubicBezTo>
                  <a:pt x="38" y="16"/>
                  <a:pt x="36" y="12"/>
                  <a:pt x="34" y="9"/>
                </a:cubicBezTo>
                <a:cubicBezTo>
                  <a:pt x="17" y="13"/>
                  <a:pt x="17" y="13"/>
                  <a:pt x="17" y="13"/>
                </a:cubicBezTo>
                <a:cubicBezTo>
                  <a:pt x="20" y="16"/>
                  <a:pt x="22" y="18"/>
                  <a:pt x="23" y="21"/>
                </a:cubicBezTo>
                <a:cubicBezTo>
                  <a:pt x="23" y="21"/>
                  <a:pt x="23" y="21"/>
                  <a:pt x="23" y="21"/>
                </a:cubicBezTo>
                <a:cubicBezTo>
                  <a:pt x="26" y="25"/>
                  <a:pt x="28" y="28"/>
                  <a:pt x="29" y="32"/>
                </a:cubicBezTo>
                <a:cubicBezTo>
                  <a:pt x="25" y="34"/>
                  <a:pt x="25" y="34"/>
                  <a:pt x="25" y="34"/>
                </a:cubicBezTo>
                <a:close/>
                <a:moveTo>
                  <a:pt x="81" y="24"/>
                </a:moveTo>
                <a:cubicBezTo>
                  <a:pt x="90" y="27"/>
                  <a:pt x="95" y="30"/>
                  <a:pt x="95" y="35"/>
                </a:cubicBezTo>
                <a:cubicBezTo>
                  <a:pt x="95" y="36"/>
                  <a:pt x="95" y="37"/>
                  <a:pt x="95" y="38"/>
                </a:cubicBezTo>
                <a:cubicBezTo>
                  <a:pt x="96" y="45"/>
                  <a:pt x="96" y="45"/>
                  <a:pt x="96" y="45"/>
                </a:cubicBezTo>
                <a:cubicBezTo>
                  <a:pt x="78" y="52"/>
                  <a:pt x="78" y="52"/>
                  <a:pt x="78" y="52"/>
                </a:cubicBezTo>
                <a:cubicBezTo>
                  <a:pt x="78" y="53"/>
                  <a:pt x="79" y="55"/>
                  <a:pt x="79" y="57"/>
                </a:cubicBezTo>
                <a:cubicBezTo>
                  <a:pt x="76" y="59"/>
                  <a:pt x="76" y="59"/>
                  <a:pt x="76" y="59"/>
                </a:cubicBezTo>
                <a:cubicBezTo>
                  <a:pt x="69" y="55"/>
                  <a:pt x="69" y="55"/>
                  <a:pt x="69" y="55"/>
                </a:cubicBezTo>
                <a:cubicBezTo>
                  <a:pt x="71" y="62"/>
                  <a:pt x="71" y="62"/>
                  <a:pt x="71" y="62"/>
                </a:cubicBezTo>
                <a:cubicBezTo>
                  <a:pt x="65" y="67"/>
                  <a:pt x="65" y="67"/>
                  <a:pt x="65" y="67"/>
                </a:cubicBezTo>
                <a:cubicBezTo>
                  <a:pt x="72" y="68"/>
                  <a:pt x="72" y="68"/>
                  <a:pt x="72" y="68"/>
                </a:cubicBezTo>
                <a:cubicBezTo>
                  <a:pt x="75" y="74"/>
                  <a:pt x="75" y="74"/>
                  <a:pt x="75" y="74"/>
                </a:cubicBezTo>
                <a:cubicBezTo>
                  <a:pt x="78" y="68"/>
                  <a:pt x="78" y="68"/>
                  <a:pt x="78" y="68"/>
                </a:cubicBezTo>
                <a:cubicBezTo>
                  <a:pt x="80" y="68"/>
                  <a:pt x="80" y="68"/>
                  <a:pt x="80" y="68"/>
                </a:cubicBezTo>
                <a:cubicBezTo>
                  <a:pt x="88" y="98"/>
                  <a:pt x="88" y="98"/>
                  <a:pt x="88" y="98"/>
                </a:cubicBezTo>
                <a:cubicBezTo>
                  <a:pt x="85" y="100"/>
                  <a:pt x="85" y="100"/>
                  <a:pt x="85" y="100"/>
                </a:cubicBezTo>
                <a:cubicBezTo>
                  <a:pt x="77" y="105"/>
                  <a:pt x="63" y="108"/>
                  <a:pt x="49" y="108"/>
                </a:cubicBezTo>
                <a:cubicBezTo>
                  <a:pt x="36" y="108"/>
                  <a:pt x="22" y="105"/>
                  <a:pt x="13" y="100"/>
                </a:cubicBezTo>
                <a:cubicBezTo>
                  <a:pt x="10" y="98"/>
                  <a:pt x="10" y="98"/>
                  <a:pt x="10" y="98"/>
                </a:cubicBezTo>
                <a:cubicBezTo>
                  <a:pt x="19" y="68"/>
                  <a:pt x="19" y="68"/>
                  <a:pt x="19" y="68"/>
                </a:cubicBezTo>
                <a:cubicBezTo>
                  <a:pt x="20" y="68"/>
                  <a:pt x="20" y="68"/>
                  <a:pt x="20" y="68"/>
                </a:cubicBezTo>
                <a:cubicBezTo>
                  <a:pt x="23" y="74"/>
                  <a:pt x="23" y="74"/>
                  <a:pt x="23" y="74"/>
                </a:cubicBezTo>
                <a:cubicBezTo>
                  <a:pt x="26" y="68"/>
                  <a:pt x="26" y="68"/>
                  <a:pt x="26" y="68"/>
                </a:cubicBezTo>
                <a:cubicBezTo>
                  <a:pt x="33" y="67"/>
                  <a:pt x="33" y="67"/>
                  <a:pt x="33" y="67"/>
                </a:cubicBezTo>
                <a:cubicBezTo>
                  <a:pt x="28" y="63"/>
                  <a:pt x="28" y="63"/>
                  <a:pt x="28" y="63"/>
                </a:cubicBezTo>
                <a:cubicBezTo>
                  <a:pt x="30" y="55"/>
                  <a:pt x="30" y="55"/>
                  <a:pt x="30" y="55"/>
                </a:cubicBezTo>
                <a:cubicBezTo>
                  <a:pt x="24" y="59"/>
                  <a:pt x="24" y="59"/>
                  <a:pt x="24" y="59"/>
                </a:cubicBezTo>
                <a:cubicBezTo>
                  <a:pt x="20" y="57"/>
                  <a:pt x="20" y="57"/>
                  <a:pt x="20" y="57"/>
                </a:cubicBezTo>
                <a:cubicBezTo>
                  <a:pt x="20" y="55"/>
                  <a:pt x="20" y="53"/>
                  <a:pt x="20" y="51"/>
                </a:cubicBezTo>
                <a:cubicBezTo>
                  <a:pt x="0" y="45"/>
                  <a:pt x="0" y="45"/>
                  <a:pt x="0" y="45"/>
                </a:cubicBezTo>
                <a:cubicBezTo>
                  <a:pt x="2" y="38"/>
                  <a:pt x="2" y="38"/>
                  <a:pt x="2" y="38"/>
                </a:cubicBezTo>
                <a:cubicBezTo>
                  <a:pt x="1" y="37"/>
                  <a:pt x="1" y="36"/>
                  <a:pt x="1" y="35"/>
                </a:cubicBezTo>
                <a:cubicBezTo>
                  <a:pt x="1" y="30"/>
                  <a:pt x="7" y="27"/>
                  <a:pt x="16" y="24"/>
                </a:cubicBezTo>
                <a:cubicBezTo>
                  <a:pt x="20" y="31"/>
                  <a:pt x="20" y="31"/>
                  <a:pt x="20" y="31"/>
                </a:cubicBezTo>
                <a:cubicBezTo>
                  <a:pt x="16" y="32"/>
                  <a:pt x="13" y="33"/>
                  <a:pt x="13" y="33"/>
                </a:cubicBezTo>
                <a:cubicBezTo>
                  <a:pt x="13" y="33"/>
                  <a:pt x="17" y="34"/>
                  <a:pt x="22" y="35"/>
                </a:cubicBezTo>
                <a:cubicBezTo>
                  <a:pt x="29" y="37"/>
                  <a:pt x="37" y="38"/>
                  <a:pt x="48" y="38"/>
                </a:cubicBezTo>
                <a:cubicBezTo>
                  <a:pt x="60" y="38"/>
                  <a:pt x="67" y="37"/>
                  <a:pt x="74" y="35"/>
                </a:cubicBezTo>
                <a:cubicBezTo>
                  <a:pt x="80" y="34"/>
                  <a:pt x="83" y="33"/>
                  <a:pt x="83" y="33"/>
                </a:cubicBezTo>
                <a:cubicBezTo>
                  <a:pt x="83" y="33"/>
                  <a:pt x="80" y="32"/>
                  <a:pt x="76" y="31"/>
                </a:cubicBezTo>
                <a:cubicBezTo>
                  <a:pt x="81" y="24"/>
                  <a:pt x="81" y="24"/>
                  <a:pt x="81" y="24"/>
                </a:cubicBezTo>
                <a:close/>
                <a:moveTo>
                  <a:pt x="26" y="78"/>
                </a:moveTo>
                <a:cubicBezTo>
                  <a:pt x="22" y="93"/>
                  <a:pt x="22" y="93"/>
                  <a:pt x="22" y="93"/>
                </a:cubicBezTo>
                <a:cubicBezTo>
                  <a:pt x="25" y="94"/>
                  <a:pt x="29" y="96"/>
                  <a:pt x="33" y="96"/>
                </a:cubicBezTo>
                <a:cubicBezTo>
                  <a:pt x="37" y="79"/>
                  <a:pt x="37" y="79"/>
                  <a:pt x="37" y="79"/>
                </a:cubicBezTo>
                <a:cubicBezTo>
                  <a:pt x="33" y="78"/>
                  <a:pt x="29" y="78"/>
                  <a:pt x="26" y="78"/>
                </a:cubicBezTo>
                <a:close/>
                <a:moveTo>
                  <a:pt x="43" y="98"/>
                </a:moveTo>
                <a:cubicBezTo>
                  <a:pt x="45" y="98"/>
                  <a:pt x="47" y="98"/>
                  <a:pt x="49" y="98"/>
                </a:cubicBezTo>
                <a:cubicBezTo>
                  <a:pt x="52" y="98"/>
                  <a:pt x="55" y="98"/>
                  <a:pt x="58" y="98"/>
                </a:cubicBezTo>
                <a:cubicBezTo>
                  <a:pt x="55" y="79"/>
                  <a:pt x="55" y="79"/>
                  <a:pt x="55" y="79"/>
                </a:cubicBezTo>
                <a:cubicBezTo>
                  <a:pt x="52" y="79"/>
                  <a:pt x="49" y="79"/>
                  <a:pt x="46" y="79"/>
                </a:cubicBezTo>
                <a:cubicBezTo>
                  <a:pt x="43" y="98"/>
                  <a:pt x="43" y="98"/>
                  <a:pt x="43" y="98"/>
                </a:cubicBezTo>
                <a:close/>
                <a:moveTo>
                  <a:pt x="68" y="96"/>
                </a:moveTo>
                <a:cubicBezTo>
                  <a:pt x="71" y="95"/>
                  <a:pt x="74" y="94"/>
                  <a:pt x="77" y="93"/>
                </a:cubicBezTo>
                <a:cubicBezTo>
                  <a:pt x="73" y="78"/>
                  <a:pt x="73" y="78"/>
                  <a:pt x="73" y="78"/>
                </a:cubicBezTo>
                <a:cubicBezTo>
                  <a:pt x="70" y="78"/>
                  <a:pt x="67" y="78"/>
                  <a:pt x="64" y="78"/>
                </a:cubicBezTo>
                <a:lnTo>
                  <a:pt x="68" y="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4" name="Freeform 91"/>
          <p:cNvSpPr>
            <a:spLocks noEditPoints="1" noChangeArrowheads="1"/>
          </p:cNvSpPr>
          <p:nvPr/>
        </p:nvSpPr>
        <p:spPr bwMode="auto">
          <a:xfrm>
            <a:off x="5465234" y="3147485"/>
            <a:ext cx="459317" cy="323849"/>
          </a:xfrm>
          <a:custGeom>
            <a:avLst/>
            <a:gdLst>
              <a:gd name="T0" fmla="*/ 40012935 w 237"/>
              <a:gd name="T1" fmla="*/ 253431496 h 167"/>
              <a:gd name="T2" fmla="*/ 210594090 w 237"/>
              <a:gd name="T3" fmla="*/ 253431496 h 167"/>
              <a:gd name="T4" fmla="*/ 240077612 w 237"/>
              <a:gd name="T5" fmla="*/ 352692286 h 167"/>
              <a:gd name="T6" fmla="*/ 10529414 w 237"/>
              <a:gd name="T7" fmla="*/ 352692286 h 167"/>
              <a:gd name="T8" fmla="*/ 40012935 w 237"/>
              <a:gd name="T9" fmla="*/ 253431496 h 167"/>
              <a:gd name="T10" fmla="*/ 40012935 w 237"/>
              <a:gd name="T11" fmla="*/ 253431496 h 167"/>
              <a:gd name="T12" fmla="*/ 469624356 w 237"/>
              <a:gd name="T13" fmla="*/ 164731199 h 167"/>
              <a:gd name="T14" fmla="*/ 469624356 w 237"/>
              <a:gd name="T15" fmla="*/ 194297965 h 167"/>
              <a:gd name="T16" fmla="*/ 492789357 w 237"/>
              <a:gd name="T17" fmla="*/ 213304236 h 167"/>
              <a:gd name="T18" fmla="*/ 463307289 w 237"/>
              <a:gd name="T19" fmla="*/ 213304236 h 167"/>
              <a:gd name="T20" fmla="*/ 448565529 w 237"/>
              <a:gd name="T21" fmla="*/ 238647386 h 167"/>
              <a:gd name="T22" fmla="*/ 448565529 w 237"/>
              <a:gd name="T23" fmla="*/ 209080620 h 167"/>
              <a:gd name="T24" fmla="*/ 419082007 w 237"/>
              <a:gd name="T25" fmla="*/ 190074349 h 167"/>
              <a:gd name="T26" fmla="*/ 448565529 w 237"/>
              <a:gd name="T27" fmla="*/ 194297965 h 167"/>
              <a:gd name="T28" fmla="*/ 469624356 w 237"/>
              <a:gd name="T29" fmla="*/ 164731199 h 167"/>
              <a:gd name="T30" fmla="*/ 469624356 w 237"/>
              <a:gd name="T31" fmla="*/ 164731199 h 167"/>
              <a:gd name="T32" fmla="*/ 46330002 w 237"/>
              <a:gd name="T33" fmla="*/ 190074349 h 167"/>
              <a:gd name="T34" fmla="*/ 31589695 w 237"/>
              <a:gd name="T35" fmla="*/ 213304236 h 167"/>
              <a:gd name="T36" fmla="*/ 0 w 237"/>
              <a:gd name="T37" fmla="*/ 213304236 h 167"/>
              <a:gd name="T38" fmla="*/ 25271175 w 237"/>
              <a:gd name="T39" fmla="*/ 228088346 h 167"/>
              <a:gd name="T40" fmla="*/ 25271175 w 237"/>
              <a:gd name="T41" fmla="*/ 259766919 h 167"/>
              <a:gd name="T42" fmla="*/ 40012935 w 237"/>
              <a:gd name="T43" fmla="*/ 234423770 h 167"/>
              <a:gd name="T44" fmla="*/ 75813524 w 237"/>
              <a:gd name="T45" fmla="*/ 234423770 h 167"/>
              <a:gd name="T46" fmla="*/ 46330002 w 237"/>
              <a:gd name="T47" fmla="*/ 219641114 h 167"/>
              <a:gd name="T48" fmla="*/ 46330002 w 237"/>
              <a:gd name="T49" fmla="*/ 190074349 h 167"/>
              <a:gd name="T50" fmla="*/ 46330002 w 237"/>
              <a:gd name="T51" fmla="*/ 190074349 h 167"/>
              <a:gd name="T52" fmla="*/ 185322916 w 237"/>
              <a:gd name="T53" fmla="*/ 0 h 167"/>
              <a:gd name="T54" fmla="*/ 181110569 w 237"/>
              <a:gd name="T55" fmla="*/ 59133531 h 167"/>
              <a:gd name="T56" fmla="*/ 235865265 w 237"/>
              <a:gd name="T57" fmla="*/ 95037174 h 167"/>
              <a:gd name="T58" fmla="*/ 174793502 w 237"/>
              <a:gd name="T59" fmla="*/ 88701751 h 167"/>
              <a:gd name="T60" fmla="*/ 141097633 w 237"/>
              <a:gd name="T61" fmla="*/ 143611666 h 167"/>
              <a:gd name="T62" fmla="*/ 145309980 w 237"/>
              <a:gd name="T63" fmla="*/ 84476680 h 167"/>
              <a:gd name="T64" fmla="*/ 90555284 w 237"/>
              <a:gd name="T65" fmla="*/ 48574491 h 167"/>
              <a:gd name="T66" fmla="*/ 149522327 w 237"/>
              <a:gd name="T67" fmla="*/ 48574491 h 167"/>
              <a:gd name="T68" fmla="*/ 185322916 w 237"/>
              <a:gd name="T69" fmla="*/ 0 h 167"/>
              <a:gd name="T70" fmla="*/ 185322916 w 237"/>
              <a:gd name="T71" fmla="*/ 0 h 167"/>
              <a:gd name="T72" fmla="*/ 299043201 w 237"/>
              <a:gd name="T73" fmla="*/ 253431496 h 167"/>
              <a:gd name="T74" fmla="*/ 469624356 w 237"/>
              <a:gd name="T75" fmla="*/ 253431496 h 167"/>
              <a:gd name="T76" fmla="*/ 499107878 w 237"/>
              <a:gd name="T77" fmla="*/ 352692286 h 167"/>
              <a:gd name="T78" fmla="*/ 269559680 w 237"/>
              <a:gd name="T79" fmla="*/ 352692286 h 167"/>
              <a:gd name="T80" fmla="*/ 299043201 w 237"/>
              <a:gd name="T81" fmla="*/ 253431496 h 167"/>
              <a:gd name="T82" fmla="*/ 299043201 w 237"/>
              <a:gd name="T83" fmla="*/ 253431496 h 167"/>
              <a:gd name="T84" fmla="*/ 164262635 w 237"/>
              <a:gd name="T85" fmla="*/ 124603940 h 167"/>
              <a:gd name="T86" fmla="*/ 134780567 w 237"/>
              <a:gd name="T87" fmla="*/ 223864730 h 167"/>
              <a:gd name="T88" fmla="*/ 364327311 w 237"/>
              <a:gd name="T89" fmla="*/ 223864730 h 167"/>
              <a:gd name="T90" fmla="*/ 334845243 w 237"/>
              <a:gd name="T91" fmla="*/ 124603940 h 167"/>
              <a:gd name="T92" fmla="*/ 164262635 w 237"/>
              <a:gd name="T93" fmla="*/ 124603940 h 167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37"/>
              <a:gd name="T142" fmla="*/ 0 h 167"/>
              <a:gd name="T143" fmla="*/ 237 w 237"/>
              <a:gd name="T144" fmla="*/ 167 h 167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37" h="167">
                <a:moveTo>
                  <a:pt x="19" y="120"/>
                </a:moveTo>
                <a:lnTo>
                  <a:pt x="100" y="120"/>
                </a:lnTo>
                <a:lnTo>
                  <a:pt x="114" y="167"/>
                </a:lnTo>
                <a:lnTo>
                  <a:pt x="5" y="167"/>
                </a:lnTo>
                <a:lnTo>
                  <a:pt x="19" y="120"/>
                </a:lnTo>
                <a:close/>
                <a:moveTo>
                  <a:pt x="223" y="78"/>
                </a:moveTo>
                <a:lnTo>
                  <a:pt x="223" y="92"/>
                </a:lnTo>
                <a:lnTo>
                  <a:pt x="234" y="101"/>
                </a:lnTo>
                <a:lnTo>
                  <a:pt x="220" y="101"/>
                </a:lnTo>
                <a:lnTo>
                  <a:pt x="213" y="113"/>
                </a:lnTo>
                <a:lnTo>
                  <a:pt x="213" y="99"/>
                </a:lnTo>
                <a:lnTo>
                  <a:pt x="199" y="90"/>
                </a:lnTo>
                <a:lnTo>
                  <a:pt x="213" y="92"/>
                </a:lnTo>
                <a:lnTo>
                  <a:pt x="223" y="78"/>
                </a:lnTo>
                <a:close/>
                <a:moveTo>
                  <a:pt x="22" y="90"/>
                </a:moveTo>
                <a:lnTo>
                  <a:pt x="15" y="101"/>
                </a:lnTo>
                <a:lnTo>
                  <a:pt x="0" y="101"/>
                </a:lnTo>
                <a:lnTo>
                  <a:pt x="12" y="108"/>
                </a:lnTo>
                <a:lnTo>
                  <a:pt x="12" y="123"/>
                </a:lnTo>
                <a:lnTo>
                  <a:pt x="19" y="111"/>
                </a:lnTo>
                <a:lnTo>
                  <a:pt x="36" y="111"/>
                </a:lnTo>
                <a:lnTo>
                  <a:pt x="22" y="104"/>
                </a:lnTo>
                <a:lnTo>
                  <a:pt x="22" y="90"/>
                </a:lnTo>
                <a:close/>
                <a:moveTo>
                  <a:pt x="88" y="0"/>
                </a:moveTo>
                <a:lnTo>
                  <a:pt x="86" y="28"/>
                </a:lnTo>
                <a:lnTo>
                  <a:pt x="112" y="45"/>
                </a:lnTo>
                <a:lnTo>
                  <a:pt x="83" y="42"/>
                </a:lnTo>
                <a:lnTo>
                  <a:pt x="67" y="68"/>
                </a:lnTo>
                <a:lnTo>
                  <a:pt x="69" y="40"/>
                </a:lnTo>
                <a:lnTo>
                  <a:pt x="43" y="23"/>
                </a:lnTo>
                <a:lnTo>
                  <a:pt x="71" y="23"/>
                </a:lnTo>
                <a:lnTo>
                  <a:pt x="88" y="0"/>
                </a:lnTo>
                <a:close/>
                <a:moveTo>
                  <a:pt x="142" y="120"/>
                </a:moveTo>
                <a:lnTo>
                  <a:pt x="223" y="120"/>
                </a:lnTo>
                <a:lnTo>
                  <a:pt x="237" y="167"/>
                </a:lnTo>
                <a:lnTo>
                  <a:pt x="128" y="167"/>
                </a:lnTo>
                <a:lnTo>
                  <a:pt x="142" y="120"/>
                </a:lnTo>
                <a:close/>
                <a:moveTo>
                  <a:pt x="78" y="59"/>
                </a:moveTo>
                <a:lnTo>
                  <a:pt x="64" y="106"/>
                </a:lnTo>
                <a:lnTo>
                  <a:pt x="173" y="106"/>
                </a:lnTo>
                <a:lnTo>
                  <a:pt x="159" y="59"/>
                </a:lnTo>
                <a:lnTo>
                  <a:pt x="78" y="5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5" name="Freeform 93"/>
          <p:cNvSpPr>
            <a:spLocks noEditPoints="1" noChangeArrowheads="1"/>
          </p:cNvSpPr>
          <p:nvPr/>
        </p:nvSpPr>
        <p:spPr bwMode="auto">
          <a:xfrm>
            <a:off x="7994652" y="2313518"/>
            <a:ext cx="512233" cy="351367"/>
          </a:xfrm>
          <a:custGeom>
            <a:avLst/>
            <a:gdLst>
              <a:gd name="T0" fmla="*/ 658781232 w 112"/>
              <a:gd name="T1" fmla="*/ 234533828 h 77"/>
              <a:gd name="T2" fmla="*/ 176459810 w 112"/>
              <a:gd name="T3" fmla="*/ 574604284 h 77"/>
              <a:gd name="T4" fmla="*/ 117639873 w 112"/>
              <a:gd name="T5" fmla="*/ 609783160 h 77"/>
              <a:gd name="T6" fmla="*/ 47054577 w 112"/>
              <a:gd name="T7" fmla="*/ 773955813 h 77"/>
              <a:gd name="T8" fmla="*/ 47054577 w 112"/>
              <a:gd name="T9" fmla="*/ 433885356 h 77"/>
              <a:gd name="T10" fmla="*/ 0 w 112"/>
              <a:gd name="T11" fmla="*/ 539425408 h 77"/>
              <a:gd name="T12" fmla="*/ 152932521 w 112"/>
              <a:gd name="T13" fmla="*/ 340070456 h 77"/>
              <a:gd name="T14" fmla="*/ 176459810 w 112"/>
              <a:gd name="T15" fmla="*/ 574604284 h 77"/>
              <a:gd name="T16" fmla="*/ 176459810 w 112"/>
              <a:gd name="T17" fmla="*/ 293166429 h 77"/>
              <a:gd name="T18" fmla="*/ 35292648 w 112"/>
              <a:gd name="T19" fmla="*/ 257984130 h 77"/>
              <a:gd name="T20" fmla="*/ 1129340725 w 112"/>
              <a:gd name="T21" fmla="*/ 773955813 h 77"/>
              <a:gd name="T22" fmla="*/ 1199922591 w 112"/>
              <a:gd name="T23" fmla="*/ 609783160 h 77"/>
              <a:gd name="T24" fmla="*/ 1258742527 w 112"/>
              <a:gd name="T25" fmla="*/ 574604284 h 77"/>
              <a:gd name="T26" fmla="*/ 1258742527 w 112"/>
              <a:gd name="T27" fmla="*/ 433885356 h 77"/>
              <a:gd name="T28" fmla="*/ 1317562464 w 112"/>
              <a:gd name="T29" fmla="*/ 386977906 h 77"/>
              <a:gd name="T30" fmla="*/ 1152868013 w 112"/>
              <a:gd name="T31" fmla="*/ 363524181 h 77"/>
              <a:gd name="T32" fmla="*/ 1188160661 w 112"/>
              <a:gd name="T33" fmla="*/ 175897804 h 77"/>
              <a:gd name="T34" fmla="*/ 1141102654 w 112"/>
              <a:gd name="T35" fmla="*/ 304891580 h 77"/>
              <a:gd name="T36" fmla="*/ 1188160661 w 112"/>
              <a:gd name="T37" fmla="*/ 175897804 h 77"/>
              <a:gd name="T38" fmla="*/ 941115556 w 112"/>
              <a:gd name="T39" fmla="*/ 844316988 h 77"/>
              <a:gd name="T40" fmla="*/ 964642844 w 112"/>
              <a:gd name="T41" fmla="*/ 844316988 h 77"/>
              <a:gd name="T42" fmla="*/ 1023462781 w 112"/>
              <a:gd name="T43" fmla="*/ 551150559 h 77"/>
              <a:gd name="T44" fmla="*/ 1035228140 w 112"/>
              <a:gd name="T45" fmla="*/ 551150559 h 77"/>
              <a:gd name="T46" fmla="*/ 1035228140 w 112"/>
              <a:gd name="T47" fmla="*/ 304891580 h 77"/>
              <a:gd name="T48" fmla="*/ 905822908 w 112"/>
              <a:gd name="T49" fmla="*/ 598058009 h 77"/>
              <a:gd name="T50" fmla="*/ 764655746 w 112"/>
              <a:gd name="T51" fmla="*/ 375252755 h 77"/>
              <a:gd name="T52" fmla="*/ 752893817 w 112"/>
              <a:gd name="T53" fmla="*/ 586329435 h 77"/>
              <a:gd name="T54" fmla="*/ 670546591 w 112"/>
              <a:gd name="T55" fmla="*/ 644965459 h 77"/>
              <a:gd name="T56" fmla="*/ 564668647 w 112"/>
              <a:gd name="T57" fmla="*/ 902949589 h 77"/>
              <a:gd name="T58" fmla="*/ 564668647 w 112"/>
              <a:gd name="T59" fmla="*/ 375252755 h 77"/>
              <a:gd name="T60" fmla="*/ 482321422 w 112"/>
              <a:gd name="T61" fmla="*/ 551150559 h 77"/>
              <a:gd name="T62" fmla="*/ 764655746 w 112"/>
              <a:gd name="T63" fmla="*/ 246258979 h 77"/>
              <a:gd name="T64" fmla="*/ 764655746 w 112"/>
              <a:gd name="T65" fmla="*/ 551150559 h 77"/>
              <a:gd name="T66" fmla="*/ 364681549 w 112"/>
              <a:gd name="T67" fmla="*/ 844316988 h 77"/>
              <a:gd name="T68" fmla="*/ 352919620 w 112"/>
              <a:gd name="T69" fmla="*/ 844316988 h 77"/>
              <a:gd name="T70" fmla="*/ 282334324 w 112"/>
              <a:gd name="T71" fmla="*/ 551150559 h 77"/>
              <a:gd name="T72" fmla="*/ 270572394 w 112"/>
              <a:gd name="T73" fmla="*/ 551150559 h 77"/>
              <a:gd name="T74" fmla="*/ 270572394 w 112"/>
              <a:gd name="T75" fmla="*/ 304891580 h 77"/>
              <a:gd name="T76" fmla="*/ 411739556 w 112"/>
              <a:gd name="T77" fmla="*/ 598058009 h 77"/>
              <a:gd name="T78" fmla="*/ 458794133 w 112"/>
              <a:gd name="T79" fmla="*/ 199351529 h 77"/>
              <a:gd name="T80" fmla="*/ 364681549 w 112"/>
              <a:gd name="T81" fmla="*/ 293166429 h 77"/>
              <a:gd name="T82" fmla="*/ 952880915 w 112"/>
              <a:gd name="T83" fmla="*/ 105540051 h 77"/>
              <a:gd name="T84" fmla="*/ 882295619 w 112"/>
              <a:gd name="T85" fmla="*/ 269712704 h 77"/>
              <a:gd name="T86" fmla="*/ 952880915 w 112"/>
              <a:gd name="T87" fmla="*/ 105540051 h 7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12"/>
              <a:gd name="T133" fmla="*/ 0 h 77"/>
              <a:gd name="T134" fmla="*/ 112 w 112"/>
              <a:gd name="T135" fmla="*/ 77 h 7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12" h="77">
                <a:moveTo>
                  <a:pt x="56" y="0"/>
                </a:moveTo>
                <a:cubicBezTo>
                  <a:pt x="62" y="0"/>
                  <a:pt x="66" y="4"/>
                  <a:pt x="66" y="10"/>
                </a:cubicBezTo>
                <a:cubicBezTo>
                  <a:pt x="66" y="15"/>
                  <a:pt x="62" y="20"/>
                  <a:pt x="56" y="20"/>
                </a:cubicBezTo>
                <a:cubicBezTo>
                  <a:pt x="51" y="20"/>
                  <a:pt x="46" y="15"/>
                  <a:pt x="46" y="10"/>
                </a:cubicBezTo>
                <a:cubicBezTo>
                  <a:pt x="46" y="4"/>
                  <a:pt x="51" y="0"/>
                  <a:pt x="56" y="0"/>
                </a:cubicBezTo>
                <a:close/>
                <a:moveTo>
                  <a:pt x="15" y="49"/>
                </a:moveTo>
                <a:cubicBezTo>
                  <a:pt x="15" y="66"/>
                  <a:pt x="15" y="66"/>
                  <a:pt x="15" y="66"/>
                </a:cubicBezTo>
                <a:cubicBezTo>
                  <a:pt x="10" y="66"/>
                  <a:pt x="10" y="66"/>
                  <a:pt x="10" y="66"/>
                </a:cubicBez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66"/>
                  <a:pt x="9" y="66"/>
                  <a:pt x="9" y="66"/>
                </a:cubicBezTo>
                <a:cubicBezTo>
                  <a:pt x="4" y="66"/>
                  <a:pt x="4" y="66"/>
                  <a:pt x="4" y="66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46"/>
                  <a:pt x="4" y="46"/>
                  <a:pt x="4" y="46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1"/>
                  <a:pt x="1" y="29"/>
                  <a:pt x="4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3" y="30"/>
                  <a:pt x="13" y="30"/>
                  <a:pt x="13" y="31"/>
                </a:cubicBezTo>
                <a:cubicBezTo>
                  <a:pt x="13" y="49"/>
                  <a:pt x="13" y="49"/>
                  <a:pt x="13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0" y="15"/>
                </a:moveTo>
                <a:cubicBezTo>
                  <a:pt x="13" y="15"/>
                  <a:pt x="16" y="18"/>
                  <a:pt x="16" y="22"/>
                </a:cubicBezTo>
                <a:cubicBezTo>
                  <a:pt x="16" y="23"/>
                  <a:pt x="16" y="24"/>
                  <a:pt x="15" y="25"/>
                </a:cubicBezTo>
                <a:cubicBezTo>
                  <a:pt x="15" y="26"/>
                  <a:pt x="15" y="26"/>
                  <a:pt x="14" y="26"/>
                </a:cubicBezTo>
                <a:cubicBezTo>
                  <a:pt x="13" y="27"/>
                  <a:pt x="12" y="28"/>
                  <a:pt x="10" y="28"/>
                </a:cubicBezTo>
                <a:cubicBezTo>
                  <a:pt x="6" y="28"/>
                  <a:pt x="3" y="25"/>
                  <a:pt x="3" y="22"/>
                </a:cubicBezTo>
                <a:cubicBezTo>
                  <a:pt x="3" y="18"/>
                  <a:pt x="6" y="15"/>
                  <a:pt x="10" y="15"/>
                </a:cubicBezTo>
                <a:close/>
                <a:moveTo>
                  <a:pt x="96" y="49"/>
                </a:moveTo>
                <a:cubicBezTo>
                  <a:pt x="96" y="66"/>
                  <a:pt x="96" y="66"/>
                  <a:pt x="96" y="66"/>
                </a:cubicBezTo>
                <a:cubicBezTo>
                  <a:pt x="101" y="66"/>
                  <a:pt x="101" y="66"/>
                  <a:pt x="101" y="66"/>
                </a:cubicBezTo>
                <a:cubicBezTo>
                  <a:pt x="101" y="52"/>
                  <a:pt x="101" y="52"/>
                  <a:pt x="101" y="52"/>
                </a:cubicBezTo>
                <a:cubicBezTo>
                  <a:pt x="102" y="52"/>
                  <a:pt x="102" y="52"/>
                  <a:pt x="102" y="52"/>
                </a:cubicBezTo>
                <a:cubicBezTo>
                  <a:pt x="102" y="66"/>
                  <a:pt x="102" y="66"/>
                  <a:pt x="102" y="66"/>
                </a:cubicBezTo>
                <a:cubicBezTo>
                  <a:pt x="107" y="66"/>
                  <a:pt x="107" y="66"/>
                  <a:pt x="107" y="66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12" y="46"/>
                  <a:pt x="112" y="46"/>
                  <a:pt x="112" y="46"/>
                </a:cubicBezTo>
                <a:cubicBezTo>
                  <a:pt x="112" y="33"/>
                  <a:pt x="112" y="33"/>
                  <a:pt x="112" y="33"/>
                </a:cubicBezTo>
                <a:cubicBezTo>
                  <a:pt x="112" y="31"/>
                  <a:pt x="110" y="29"/>
                  <a:pt x="107" y="29"/>
                </a:cubicBezTo>
                <a:cubicBezTo>
                  <a:pt x="98" y="29"/>
                  <a:pt x="98" y="29"/>
                  <a:pt x="98" y="29"/>
                </a:cubicBezTo>
                <a:cubicBezTo>
                  <a:pt x="98" y="30"/>
                  <a:pt x="98" y="30"/>
                  <a:pt x="98" y="31"/>
                </a:cubicBezTo>
                <a:cubicBezTo>
                  <a:pt x="98" y="49"/>
                  <a:pt x="98" y="49"/>
                  <a:pt x="98" y="49"/>
                </a:cubicBezTo>
                <a:cubicBezTo>
                  <a:pt x="96" y="49"/>
                  <a:pt x="96" y="49"/>
                  <a:pt x="96" y="49"/>
                </a:cubicBezTo>
                <a:close/>
                <a:moveTo>
                  <a:pt x="101" y="15"/>
                </a:moveTo>
                <a:cubicBezTo>
                  <a:pt x="98" y="15"/>
                  <a:pt x="95" y="18"/>
                  <a:pt x="95" y="22"/>
                </a:cubicBezTo>
                <a:cubicBezTo>
                  <a:pt x="95" y="23"/>
                  <a:pt x="95" y="24"/>
                  <a:pt x="96" y="25"/>
                </a:cubicBezTo>
                <a:cubicBezTo>
                  <a:pt x="96" y="26"/>
                  <a:pt x="97" y="26"/>
                  <a:pt x="97" y="26"/>
                </a:cubicBezTo>
                <a:cubicBezTo>
                  <a:pt x="98" y="27"/>
                  <a:pt x="100" y="28"/>
                  <a:pt x="101" y="28"/>
                </a:cubicBezTo>
                <a:cubicBezTo>
                  <a:pt x="105" y="28"/>
                  <a:pt x="108" y="25"/>
                  <a:pt x="108" y="22"/>
                </a:cubicBezTo>
                <a:cubicBezTo>
                  <a:pt x="108" y="18"/>
                  <a:pt x="105" y="15"/>
                  <a:pt x="101" y="15"/>
                </a:cubicBezTo>
                <a:close/>
                <a:moveTo>
                  <a:pt x="75" y="51"/>
                </a:moveTo>
                <a:cubicBezTo>
                  <a:pt x="75" y="72"/>
                  <a:pt x="75" y="72"/>
                  <a:pt x="75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0" y="54"/>
                  <a:pt x="80" y="54"/>
                  <a:pt x="80" y="54"/>
                </a:cubicBezTo>
                <a:cubicBezTo>
                  <a:pt x="82" y="54"/>
                  <a:pt x="82" y="54"/>
                  <a:pt x="82" y="54"/>
                </a:cubicBezTo>
                <a:cubicBezTo>
                  <a:pt x="82" y="72"/>
                  <a:pt x="82" y="72"/>
                  <a:pt x="82" y="72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51"/>
                  <a:pt x="87" y="51"/>
                  <a:pt x="87" y="51"/>
                </a:cubicBezTo>
                <a:cubicBezTo>
                  <a:pt x="87" y="47"/>
                  <a:pt x="87" y="47"/>
                  <a:pt x="87" y="47"/>
                </a:cubicBezTo>
                <a:cubicBezTo>
                  <a:pt x="87" y="36"/>
                  <a:pt x="87" y="36"/>
                  <a:pt x="87" y="36"/>
                </a:cubicBezTo>
                <a:cubicBezTo>
                  <a:pt x="88" y="36"/>
                  <a:pt x="88" y="36"/>
                  <a:pt x="88" y="36"/>
                </a:cubicBezTo>
                <a:cubicBezTo>
                  <a:pt x="88" y="47"/>
                  <a:pt x="88" y="47"/>
                  <a:pt x="88" y="47"/>
                </a:cubicBezTo>
                <a:cubicBezTo>
                  <a:pt x="94" y="47"/>
                  <a:pt x="94" y="47"/>
                  <a:pt x="94" y="47"/>
                </a:cubicBezTo>
                <a:cubicBezTo>
                  <a:pt x="94" y="31"/>
                  <a:pt x="94" y="31"/>
                  <a:pt x="94" y="31"/>
                </a:cubicBezTo>
                <a:cubicBezTo>
                  <a:pt x="94" y="28"/>
                  <a:pt x="91" y="26"/>
                  <a:pt x="88" y="26"/>
                </a:cubicBezTo>
                <a:cubicBezTo>
                  <a:pt x="77" y="26"/>
                  <a:pt x="77" y="26"/>
                  <a:pt x="77" y="26"/>
                </a:cubicBezTo>
                <a:cubicBezTo>
                  <a:pt x="77" y="27"/>
                  <a:pt x="77" y="28"/>
                  <a:pt x="77" y="28"/>
                </a:cubicBezTo>
                <a:cubicBezTo>
                  <a:pt x="77" y="51"/>
                  <a:pt x="77" y="51"/>
                  <a:pt x="77" y="51"/>
                </a:cubicBezTo>
                <a:cubicBezTo>
                  <a:pt x="75" y="51"/>
                  <a:pt x="75" y="51"/>
                  <a:pt x="75" y="51"/>
                </a:cubicBezTo>
                <a:close/>
                <a:moveTo>
                  <a:pt x="65" y="47"/>
                </a:moveTo>
                <a:cubicBezTo>
                  <a:pt x="65" y="32"/>
                  <a:pt x="65" y="32"/>
                  <a:pt x="65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4" y="47"/>
                  <a:pt x="64" y="47"/>
                  <a:pt x="64" y="47"/>
                </a:cubicBezTo>
                <a:cubicBezTo>
                  <a:pt x="64" y="50"/>
                  <a:pt x="64" y="50"/>
                  <a:pt x="64" y="50"/>
                </a:cubicBezTo>
                <a:cubicBezTo>
                  <a:pt x="64" y="77"/>
                  <a:pt x="64" y="77"/>
                  <a:pt x="64" y="77"/>
                </a:cubicBezTo>
                <a:cubicBezTo>
                  <a:pt x="57" y="77"/>
                  <a:pt x="57" y="77"/>
                  <a:pt x="57" y="77"/>
                </a:cubicBezTo>
                <a:cubicBezTo>
                  <a:pt x="57" y="55"/>
                  <a:pt x="57" y="55"/>
                  <a:pt x="57" y="55"/>
                </a:cubicBezTo>
                <a:cubicBezTo>
                  <a:pt x="55" y="55"/>
                  <a:pt x="55" y="55"/>
                  <a:pt x="55" y="55"/>
                </a:cubicBezTo>
                <a:cubicBezTo>
                  <a:pt x="55" y="77"/>
                  <a:pt x="55" y="77"/>
                  <a:pt x="55" y="77"/>
                </a:cubicBezTo>
                <a:cubicBezTo>
                  <a:pt x="48" y="77"/>
                  <a:pt x="48" y="77"/>
                  <a:pt x="48" y="77"/>
                </a:cubicBezTo>
                <a:cubicBezTo>
                  <a:pt x="48" y="50"/>
                  <a:pt x="48" y="50"/>
                  <a:pt x="48" y="50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32"/>
                  <a:pt x="48" y="32"/>
                  <a:pt x="48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47"/>
                  <a:pt x="47" y="47"/>
                  <a:pt x="47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27"/>
                  <a:pt x="41" y="27"/>
                  <a:pt x="41" y="27"/>
                </a:cubicBezTo>
                <a:cubicBezTo>
                  <a:pt x="41" y="24"/>
                  <a:pt x="44" y="21"/>
                  <a:pt x="47" y="21"/>
                </a:cubicBezTo>
                <a:cubicBezTo>
                  <a:pt x="66" y="21"/>
                  <a:pt x="46" y="21"/>
                  <a:pt x="65" y="21"/>
                </a:cubicBezTo>
                <a:cubicBezTo>
                  <a:pt x="69" y="21"/>
                  <a:pt x="71" y="24"/>
                  <a:pt x="71" y="27"/>
                </a:cubicBezTo>
                <a:cubicBezTo>
                  <a:pt x="71" y="47"/>
                  <a:pt x="71" y="47"/>
                  <a:pt x="71" y="47"/>
                </a:cubicBezTo>
                <a:cubicBezTo>
                  <a:pt x="70" y="47"/>
                  <a:pt x="68" y="47"/>
                  <a:pt x="65" y="47"/>
                </a:cubicBezTo>
                <a:close/>
                <a:moveTo>
                  <a:pt x="37" y="51"/>
                </a:moveTo>
                <a:cubicBezTo>
                  <a:pt x="37" y="72"/>
                  <a:pt x="37" y="72"/>
                  <a:pt x="37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54"/>
                  <a:pt x="31" y="54"/>
                  <a:pt x="31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72"/>
                  <a:pt x="30" y="72"/>
                  <a:pt x="30" y="72"/>
                </a:cubicBezTo>
                <a:cubicBezTo>
                  <a:pt x="24" y="72"/>
                  <a:pt x="24" y="72"/>
                  <a:pt x="24" y="72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47"/>
                  <a:pt x="24" y="47"/>
                  <a:pt x="24" y="47"/>
                </a:cubicBezTo>
                <a:cubicBezTo>
                  <a:pt x="24" y="36"/>
                  <a:pt x="24" y="36"/>
                  <a:pt x="24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23" y="47"/>
                  <a:pt x="23" y="47"/>
                  <a:pt x="23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31"/>
                  <a:pt x="18" y="31"/>
                  <a:pt x="18" y="31"/>
                </a:cubicBezTo>
                <a:cubicBezTo>
                  <a:pt x="18" y="28"/>
                  <a:pt x="20" y="26"/>
                  <a:pt x="23" y="26"/>
                </a:cubicBezTo>
                <a:cubicBezTo>
                  <a:pt x="35" y="26"/>
                  <a:pt x="35" y="26"/>
                  <a:pt x="35" y="26"/>
                </a:cubicBezTo>
                <a:cubicBezTo>
                  <a:pt x="35" y="27"/>
                  <a:pt x="35" y="28"/>
                  <a:pt x="35" y="28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7" y="51"/>
                  <a:pt x="37" y="51"/>
                </a:cubicBezTo>
                <a:close/>
                <a:moveTo>
                  <a:pt x="31" y="9"/>
                </a:moveTo>
                <a:cubicBezTo>
                  <a:pt x="35" y="9"/>
                  <a:pt x="39" y="12"/>
                  <a:pt x="39" y="17"/>
                </a:cubicBezTo>
                <a:cubicBezTo>
                  <a:pt x="39" y="19"/>
                  <a:pt x="38" y="20"/>
                  <a:pt x="37" y="22"/>
                </a:cubicBezTo>
                <a:cubicBezTo>
                  <a:pt x="37" y="22"/>
                  <a:pt x="37" y="22"/>
                  <a:pt x="37" y="23"/>
                </a:cubicBezTo>
                <a:cubicBezTo>
                  <a:pt x="35" y="24"/>
                  <a:pt x="33" y="25"/>
                  <a:pt x="31" y="25"/>
                </a:cubicBezTo>
                <a:cubicBezTo>
                  <a:pt x="26" y="25"/>
                  <a:pt x="22" y="21"/>
                  <a:pt x="22" y="17"/>
                </a:cubicBezTo>
                <a:cubicBezTo>
                  <a:pt x="22" y="12"/>
                  <a:pt x="26" y="9"/>
                  <a:pt x="31" y="9"/>
                </a:cubicBezTo>
                <a:close/>
                <a:moveTo>
                  <a:pt x="81" y="9"/>
                </a:moveTo>
                <a:cubicBezTo>
                  <a:pt x="76" y="9"/>
                  <a:pt x="73" y="12"/>
                  <a:pt x="73" y="17"/>
                </a:cubicBezTo>
                <a:cubicBezTo>
                  <a:pt x="73" y="19"/>
                  <a:pt x="73" y="20"/>
                  <a:pt x="74" y="22"/>
                </a:cubicBezTo>
                <a:cubicBezTo>
                  <a:pt x="75" y="22"/>
                  <a:pt x="75" y="22"/>
                  <a:pt x="75" y="23"/>
                </a:cubicBezTo>
                <a:cubicBezTo>
                  <a:pt x="77" y="24"/>
                  <a:pt x="79" y="25"/>
                  <a:pt x="81" y="25"/>
                </a:cubicBezTo>
                <a:cubicBezTo>
                  <a:pt x="85" y="25"/>
                  <a:pt x="89" y="21"/>
                  <a:pt x="89" y="17"/>
                </a:cubicBezTo>
                <a:cubicBezTo>
                  <a:pt x="89" y="12"/>
                  <a:pt x="85" y="9"/>
                  <a:pt x="81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6" name="Freeform 94"/>
          <p:cNvSpPr>
            <a:spLocks noEditPoints="1" noChangeArrowheads="1"/>
          </p:cNvSpPr>
          <p:nvPr/>
        </p:nvSpPr>
        <p:spPr bwMode="auto">
          <a:xfrm>
            <a:off x="7147985" y="2319867"/>
            <a:ext cx="501649" cy="400051"/>
          </a:xfrm>
          <a:custGeom>
            <a:avLst/>
            <a:gdLst>
              <a:gd name="T0" fmla="*/ 210641415 w 110"/>
              <a:gd name="T1" fmla="*/ 663194339 h 87"/>
              <a:gd name="T2" fmla="*/ 280857500 w 110"/>
              <a:gd name="T3" fmla="*/ 651351460 h 87"/>
              <a:gd name="T4" fmla="*/ 339369194 w 110"/>
              <a:gd name="T5" fmla="*/ 686880097 h 87"/>
              <a:gd name="T6" fmla="*/ 468093553 w 110"/>
              <a:gd name="T7" fmla="*/ 828994648 h 87"/>
              <a:gd name="T8" fmla="*/ 397880889 w 110"/>
              <a:gd name="T9" fmla="*/ 663194339 h 87"/>
              <a:gd name="T10" fmla="*/ 292558471 w 110"/>
              <a:gd name="T11" fmla="*/ 497397478 h 87"/>
              <a:gd name="T12" fmla="*/ 304259442 w 110"/>
              <a:gd name="T13" fmla="*/ 450025962 h 87"/>
              <a:gd name="T14" fmla="*/ 386176497 w 110"/>
              <a:gd name="T15" fmla="*/ 627665701 h 87"/>
              <a:gd name="T16" fmla="*/ 526605248 w 110"/>
              <a:gd name="T17" fmla="*/ 544765547 h 87"/>
              <a:gd name="T18" fmla="*/ 667033998 w 110"/>
              <a:gd name="T19" fmla="*/ 485554599 h 87"/>
              <a:gd name="T20" fmla="*/ 655329607 w 110"/>
              <a:gd name="T21" fmla="*/ 414497324 h 87"/>
              <a:gd name="T22" fmla="*/ 702140330 w 110"/>
              <a:gd name="T23" fmla="*/ 355282928 h 87"/>
              <a:gd name="T24" fmla="*/ 830864689 w 110"/>
              <a:gd name="T25" fmla="*/ 390811565 h 87"/>
              <a:gd name="T26" fmla="*/ 819163718 w 110"/>
              <a:gd name="T27" fmla="*/ 497397478 h 87"/>
              <a:gd name="T28" fmla="*/ 1111722189 w 110"/>
              <a:gd name="T29" fmla="*/ 367125807 h 87"/>
              <a:gd name="T30" fmla="*/ 1146828522 w 110"/>
              <a:gd name="T31" fmla="*/ 260539894 h 87"/>
              <a:gd name="T32" fmla="*/ 1275556301 w 110"/>
              <a:gd name="T33" fmla="*/ 284225653 h 87"/>
              <a:gd name="T34" fmla="*/ 1287257272 w 110"/>
              <a:gd name="T35" fmla="*/ 355282928 h 87"/>
              <a:gd name="T36" fmla="*/ 1252150939 w 110"/>
              <a:gd name="T37" fmla="*/ 414497324 h 87"/>
              <a:gd name="T38" fmla="*/ 971293439 w 110"/>
              <a:gd name="T39" fmla="*/ 663194339 h 87"/>
              <a:gd name="T40" fmla="*/ 936187107 w 110"/>
              <a:gd name="T41" fmla="*/ 781623131 h 87"/>
              <a:gd name="T42" fmla="*/ 807462748 w 110"/>
              <a:gd name="T43" fmla="*/ 757937373 h 87"/>
              <a:gd name="T44" fmla="*/ 795758357 w 110"/>
              <a:gd name="T45" fmla="*/ 686880097 h 87"/>
              <a:gd name="T46" fmla="*/ 667033998 w 110"/>
              <a:gd name="T47" fmla="*/ 675037218 h 87"/>
              <a:gd name="T48" fmla="*/ 1181934854 w 110"/>
              <a:gd name="T49" fmla="*/ 805308889 h 87"/>
              <a:gd name="T50" fmla="*/ 830864689 w 110"/>
              <a:gd name="T51" fmla="*/ 876362716 h 87"/>
              <a:gd name="T52" fmla="*/ 561711580 w 110"/>
              <a:gd name="T53" fmla="*/ 947419991 h 87"/>
              <a:gd name="T54" fmla="*/ 526605248 w 110"/>
              <a:gd name="T55" fmla="*/ 1006634387 h 87"/>
              <a:gd name="T56" fmla="*/ 397880889 w 110"/>
              <a:gd name="T57" fmla="*/ 982948629 h 87"/>
              <a:gd name="T58" fmla="*/ 386176497 w 110"/>
              <a:gd name="T59" fmla="*/ 900048474 h 87"/>
              <a:gd name="T60" fmla="*/ 187236053 w 110"/>
              <a:gd name="T61" fmla="*/ 793466010 h 87"/>
              <a:gd name="T62" fmla="*/ 187236053 w 110"/>
              <a:gd name="T63" fmla="*/ 793466010 h 87"/>
              <a:gd name="T64" fmla="*/ 23405362 w 110"/>
              <a:gd name="T65" fmla="*/ 296068532 h 87"/>
              <a:gd name="T66" fmla="*/ 280857500 w 110"/>
              <a:gd name="T67" fmla="*/ 331597169 h 87"/>
              <a:gd name="T68" fmla="*/ 444688192 w 110"/>
              <a:gd name="T69" fmla="*/ 213168377 h 87"/>
              <a:gd name="T70" fmla="*/ 561711580 w 110"/>
              <a:gd name="T71" fmla="*/ 343440049 h 87"/>
              <a:gd name="T72" fmla="*/ 901080774 w 110"/>
              <a:gd name="T73" fmla="*/ 355282928 h 87"/>
              <a:gd name="T74" fmla="*/ 1146828522 w 110"/>
              <a:gd name="T75" fmla="*/ 0 h 87"/>
              <a:gd name="T76" fmla="*/ 725545692 w 110"/>
              <a:gd name="T77" fmla="*/ 213168377 h 87"/>
              <a:gd name="T78" fmla="*/ 468093553 w 110"/>
              <a:gd name="T79" fmla="*/ 165800309 h 87"/>
              <a:gd name="T80" fmla="*/ 304259442 w 110"/>
              <a:gd name="T81" fmla="*/ 284225653 h 87"/>
              <a:gd name="T82" fmla="*/ 245747747 w 110"/>
              <a:gd name="T83" fmla="*/ 236854136 h 87"/>
              <a:gd name="T84" fmla="*/ 1205340216 w 110"/>
              <a:gd name="T85" fmla="*/ 284225653 h 87"/>
              <a:gd name="T86" fmla="*/ 1146828522 w 110"/>
              <a:gd name="T87" fmla="*/ 331597169 h 87"/>
              <a:gd name="T88" fmla="*/ 1181934854 w 110"/>
              <a:gd name="T89" fmla="*/ 390811565 h 87"/>
              <a:gd name="T90" fmla="*/ 1252150939 w 110"/>
              <a:gd name="T91" fmla="*/ 343440049 h 87"/>
              <a:gd name="T92" fmla="*/ 936187107 w 110"/>
              <a:gd name="T93" fmla="*/ 675037218 h 87"/>
              <a:gd name="T94" fmla="*/ 854270051 w 110"/>
              <a:gd name="T95" fmla="*/ 651351460 h 87"/>
              <a:gd name="T96" fmla="*/ 842569080 w 110"/>
              <a:gd name="T97" fmla="*/ 734251614 h 87"/>
              <a:gd name="T98" fmla="*/ 912781745 w 110"/>
              <a:gd name="T99" fmla="*/ 746094493 h 87"/>
              <a:gd name="T100" fmla="*/ 936187107 w 110"/>
              <a:gd name="T101" fmla="*/ 675037218 h 87"/>
              <a:gd name="T102" fmla="*/ 713841301 w 110"/>
              <a:gd name="T103" fmla="*/ 390811565 h 87"/>
              <a:gd name="T104" fmla="*/ 702140330 w 110"/>
              <a:gd name="T105" fmla="*/ 473711720 h 87"/>
              <a:gd name="T106" fmla="*/ 784057386 w 110"/>
              <a:gd name="T107" fmla="*/ 485554599 h 87"/>
              <a:gd name="T108" fmla="*/ 795758357 w 110"/>
              <a:gd name="T109" fmla="*/ 402654445 h 87"/>
              <a:gd name="T110" fmla="*/ 479794524 w 110"/>
              <a:gd name="T111" fmla="*/ 876362716 h 87"/>
              <a:gd name="T112" fmla="*/ 421282830 w 110"/>
              <a:gd name="T113" fmla="*/ 911891354 h 87"/>
              <a:gd name="T114" fmla="*/ 456392583 w 110"/>
              <a:gd name="T115" fmla="*/ 982948629 h 87"/>
              <a:gd name="T116" fmla="*/ 526605248 w 110"/>
              <a:gd name="T117" fmla="*/ 935577112 h 87"/>
              <a:gd name="T118" fmla="*/ 315963833 w 110"/>
              <a:gd name="T119" fmla="*/ 710565856 h 87"/>
              <a:gd name="T120" fmla="*/ 234046777 w 110"/>
              <a:gd name="T121" fmla="*/ 698722976 h 87"/>
              <a:gd name="T122" fmla="*/ 222345806 w 110"/>
              <a:gd name="T123" fmla="*/ 769780252 h 87"/>
              <a:gd name="T124" fmla="*/ 292558471 w 110"/>
              <a:gd name="T125" fmla="*/ 781623131 h 8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10"/>
              <a:gd name="T190" fmla="*/ 0 h 87"/>
              <a:gd name="T191" fmla="*/ 110 w 110"/>
              <a:gd name="T192" fmla="*/ 87 h 8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10" h="87">
                <a:moveTo>
                  <a:pt x="0" y="61"/>
                </a:moveTo>
                <a:cubicBezTo>
                  <a:pt x="16" y="59"/>
                  <a:pt x="16" y="59"/>
                  <a:pt x="16" y="59"/>
                </a:cubicBezTo>
                <a:cubicBezTo>
                  <a:pt x="16" y="58"/>
                  <a:pt x="17" y="57"/>
                  <a:pt x="18" y="56"/>
                </a:cubicBezTo>
                <a:cubicBezTo>
                  <a:pt x="18" y="56"/>
                  <a:pt x="18" y="56"/>
                  <a:pt x="18" y="56"/>
                </a:cubicBezTo>
                <a:cubicBezTo>
                  <a:pt x="18" y="56"/>
                  <a:pt x="18" y="56"/>
                  <a:pt x="18" y="56"/>
                </a:cubicBezTo>
                <a:cubicBezTo>
                  <a:pt x="20" y="55"/>
                  <a:pt x="22" y="54"/>
                  <a:pt x="24" y="55"/>
                </a:cubicBezTo>
                <a:cubicBezTo>
                  <a:pt x="27" y="55"/>
                  <a:pt x="28" y="56"/>
                  <a:pt x="29" y="58"/>
                </a:cubicBezTo>
                <a:cubicBezTo>
                  <a:pt x="29" y="58"/>
                  <a:pt x="29" y="58"/>
                  <a:pt x="29" y="58"/>
                </a:cubicBezTo>
                <a:cubicBezTo>
                  <a:pt x="29" y="58"/>
                  <a:pt x="29" y="58"/>
                  <a:pt x="29" y="58"/>
                </a:cubicBezTo>
                <a:cubicBezTo>
                  <a:pt x="31" y="60"/>
                  <a:pt x="31" y="62"/>
                  <a:pt x="31" y="64"/>
                </a:cubicBezTo>
                <a:cubicBezTo>
                  <a:pt x="38" y="71"/>
                  <a:pt x="38" y="71"/>
                  <a:pt x="38" y="71"/>
                </a:cubicBezTo>
                <a:cubicBezTo>
                  <a:pt x="39" y="71"/>
                  <a:pt x="40" y="70"/>
                  <a:pt x="40" y="70"/>
                </a:cubicBezTo>
                <a:cubicBezTo>
                  <a:pt x="50" y="55"/>
                  <a:pt x="50" y="55"/>
                  <a:pt x="50" y="55"/>
                </a:cubicBezTo>
                <a:cubicBezTo>
                  <a:pt x="44" y="49"/>
                  <a:pt x="44" y="49"/>
                  <a:pt x="44" y="49"/>
                </a:cubicBezTo>
                <a:cubicBezTo>
                  <a:pt x="34" y="56"/>
                  <a:pt x="34" y="56"/>
                  <a:pt x="34" y="56"/>
                </a:cubicBezTo>
                <a:cubicBezTo>
                  <a:pt x="32" y="57"/>
                  <a:pt x="32" y="57"/>
                  <a:pt x="32" y="57"/>
                </a:cubicBezTo>
                <a:cubicBezTo>
                  <a:pt x="31" y="56"/>
                  <a:pt x="31" y="56"/>
                  <a:pt x="31" y="56"/>
                </a:cubicBezTo>
                <a:cubicBezTo>
                  <a:pt x="25" y="42"/>
                  <a:pt x="25" y="42"/>
                  <a:pt x="25" y="42"/>
                </a:cubicBezTo>
                <a:cubicBezTo>
                  <a:pt x="5" y="43"/>
                  <a:pt x="5" y="43"/>
                  <a:pt x="5" y="43"/>
                </a:cubicBezTo>
                <a:cubicBezTo>
                  <a:pt x="4" y="39"/>
                  <a:pt x="4" y="39"/>
                  <a:pt x="4" y="39"/>
                </a:cubicBezTo>
                <a:cubicBezTo>
                  <a:pt x="26" y="38"/>
                  <a:pt x="26" y="38"/>
                  <a:pt x="26" y="38"/>
                </a:cubicBezTo>
                <a:cubicBezTo>
                  <a:pt x="27" y="38"/>
                  <a:pt x="27" y="38"/>
                  <a:pt x="27" y="38"/>
                </a:cubicBezTo>
                <a:cubicBezTo>
                  <a:pt x="28" y="39"/>
                  <a:pt x="28" y="39"/>
                  <a:pt x="28" y="39"/>
                </a:cubicBezTo>
                <a:cubicBezTo>
                  <a:pt x="33" y="53"/>
                  <a:pt x="33" y="53"/>
                  <a:pt x="33" y="53"/>
                </a:cubicBezTo>
                <a:cubicBezTo>
                  <a:pt x="43" y="46"/>
                  <a:pt x="43" y="46"/>
                  <a:pt x="43" y="46"/>
                </a:cubicBezTo>
                <a:cubicBezTo>
                  <a:pt x="44" y="45"/>
                  <a:pt x="44" y="45"/>
                  <a:pt x="44" y="45"/>
                </a:cubicBezTo>
                <a:cubicBezTo>
                  <a:pt x="45" y="46"/>
                  <a:pt x="45" y="46"/>
                  <a:pt x="45" y="46"/>
                </a:cubicBezTo>
                <a:cubicBezTo>
                  <a:pt x="52" y="52"/>
                  <a:pt x="52" y="52"/>
                  <a:pt x="52" y="52"/>
                </a:cubicBezTo>
                <a:cubicBezTo>
                  <a:pt x="58" y="42"/>
                  <a:pt x="58" y="42"/>
                  <a:pt x="58" y="42"/>
                </a:cubicBezTo>
                <a:cubicBezTo>
                  <a:pt x="57" y="42"/>
                  <a:pt x="57" y="41"/>
                  <a:pt x="57" y="41"/>
                </a:cubicBezTo>
                <a:cubicBezTo>
                  <a:pt x="57" y="41"/>
                  <a:pt x="57" y="41"/>
                  <a:pt x="57" y="41"/>
                </a:cubicBezTo>
                <a:cubicBezTo>
                  <a:pt x="57" y="41"/>
                  <a:pt x="57" y="41"/>
                  <a:pt x="57" y="41"/>
                </a:cubicBezTo>
                <a:cubicBezTo>
                  <a:pt x="56" y="40"/>
                  <a:pt x="56" y="38"/>
                  <a:pt x="56" y="35"/>
                </a:cubicBezTo>
                <a:cubicBezTo>
                  <a:pt x="57" y="33"/>
                  <a:pt x="58" y="31"/>
                  <a:pt x="60" y="30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60" y="30"/>
                  <a:pt x="60" y="30"/>
                </a:cubicBezTo>
                <a:cubicBezTo>
                  <a:pt x="61" y="29"/>
                  <a:pt x="63" y="29"/>
                  <a:pt x="65" y="29"/>
                </a:cubicBezTo>
                <a:cubicBezTo>
                  <a:pt x="68" y="30"/>
                  <a:pt x="69" y="31"/>
                  <a:pt x="71" y="33"/>
                </a:cubicBezTo>
                <a:cubicBezTo>
                  <a:pt x="71" y="33"/>
                  <a:pt x="71" y="33"/>
                  <a:pt x="71" y="33"/>
                </a:cubicBezTo>
                <a:cubicBezTo>
                  <a:pt x="71" y="33"/>
                  <a:pt x="71" y="33"/>
                  <a:pt x="71" y="33"/>
                </a:cubicBezTo>
                <a:cubicBezTo>
                  <a:pt x="72" y="34"/>
                  <a:pt x="72" y="36"/>
                  <a:pt x="72" y="39"/>
                </a:cubicBezTo>
                <a:cubicBezTo>
                  <a:pt x="71" y="40"/>
                  <a:pt x="71" y="41"/>
                  <a:pt x="70" y="42"/>
                </a:cubicBezTo>
                <a:cubicBezTo>
                  <a:pt x="75" y="51"/>
                  <a:pt x="75" y="51"/>
                  <a:pt x="75" y="51"/>
                </a:cubicBezTo>
                <a:cubicBezTo>
                  <a:pt x="76" y="51"/>
                  <a:pt x="76" y="51"/>
                  <a:pt x="77" y="51"/>
                </a:cubicBezTo>
                <a:cubicBezTo>
                  <a:pt x="95" y="31"/>
                  <a:pt x="95" y="31"/>
                  <a:pt x="95" y="31"/>
                </a:cubicBezTo>
                <a:cubicBezTo>
                  <a:pt x="94" y="30"/>
                  <a:pt x="94" y="28"/>
                  <a:pt x="94" y="27"/>
                </a:cubicBezTo>
                <a:cubicBezTo>
                  <a:pt x="95" y="25"/>
                  <a:pt x="96" y="23"/>
                  <a:pt x="98" y="22"/>
                </a:cubicBezTo>
                <a:cubicBezTo>
                  <a:pt x="98" y="22"/>
                  <a:pt x="98" y="22"/>
                  <a:pt x="98" y="22"/>
                </a:cubicBezTo>
                <a:cubicBezTo>
                  <a:pt x="98" y="22"/>
                  <a:pt x="98" y="22"/>
                  <a:pt x="98" y="22"/>
                </a:cubicBezTo>
                <a:cubicBezTo>
                  <a:pt x="100" y="21"/>
                  <a:pt x="102" y="20"/>
                  <a:pt x="104" y="21"/>
                </a:cubicBezTo>
                <a:cubicBezTo>
                  <a:pt x="106" y="21"/>
                  <a:pt x="108" y="22"/>
                  <a:pt x="109" y="24"/>
                </a:cubicBezTo>
                <a:cubicBezTo>
                  <a:pt x="109" y="24"/>
                  <a:pt x="109" y="24"/>
                  <a:pt x="109" y="24"/>
                </a:cubicBezTo>
                <a:cubicBezTo>
                  <a:pt x="109" y="24"/>
                  <a:pt x="109" y="24"/>
                  <a:pt x="109" y="24"/>
                </a:cubicBezTo>
                <a:cubicBezTo>
                  <a:pt x="110" y="26"/>
                  <a:pt x="110" y="28"/>
                  <a:pt x="110" y="30"/>
                </a:cubicBezTo>
                <a:cubicBezTo>
                  <a:pt x="110" y="32"/>
                  <a:pt x="108" y="34"/>
                  <a:pt x="107" y="35"/>
                </a:cubicBezTo>
                <a:cubicBezTo>
                  <a:pt x="107" y="35"/>
                  <a:pt x="107" y="35"/>
                  <a:pt x="107" y="35"/>
                </a:cubicBezTo>
                <a:cubicBezTo>
                  <a:pt x="107" y="35"/>
                  <a:pt x="107" y="35"/>
                  <a:pt x="107" y="35"/>
                </a:cubicBezTo>
                <a:cubicBezTo>
                  <a:pt x="105" y="36"/>
                  <a:pt x="103" y="37"/>
                  <a:pt x="101" y="36"/>
                </a:cubicBezTo>
                <a:cubicBezTo>
                  <a:pt x="101" y="36"/>
                  <a:pt x="100" y="36"/>
                  <a:pt x="100" y="36"/>
                </a:cubicBezTo>
                <a:cubicBezTo>
                  <a:pt x="83" y="56"/>
                  <a:pt x="83" y="56"/>
                  <a:pt x="83" y="56"/>
                </a:cubicBezTo>
                <a:cubicBezTo>
                  <a:pt x="83" y="57"/>
                  <a:pt x="84" y="59"/>
                  <a:pt x="83" y="61"/>
                </a:cubicBezTo>
                <a:cubicBezTo>
                  <a:pt x="83" y="63"/>
                  <a:pt x="82" y="65"/>
                  <a:pt x="80" y="66"/>
                </a:cubicBezTo>
                <a:cubicBezTo>
                  <a:pt x="80" y="66"/>
                  <a:pt x="80" y="66"/>
                  <a:pt x="80" y="66"/>
                </a:cubicBezTo>
                <a:cubicBezTo>
                  <a:pt x="80" y="66"/>
                  <a:pt x="80" y="66"/>
                  <a:pt x="80" y="66"/>
                </a:cubicBezTo>
                <a:cubicBezTo>
                  <a:pt x="78" y="67"/>
                  <a:pt x="76" y="67"/>
                  <a:pt x="74" y="67"/>
                </a:cubicBezTo>
                <a:cubicBezTo>
                  <a:pt x="72" y="67"/>
                  <a:pt x="70" y="65"/>
                  <a:pt x="69" y="64"/>
                </a:cubicBezTo>
                <a:cubicBezTo>
                  <a:pt x="69" y="64"/>
                  <a:pt x="69" y="64"/>
                  <a:pt x="69" y="64"/>
                </a:cubicBezTo>
                <a:cubicBezTo>
                  <a:pt x="69" y="64"/>
                  <a:pt x="69" y="64"/>
                  <a:pt x="69" y="64"/>
                </a:cubicBezTo>
                <a:cubicBezTo>
                  <a:pt x="68" y="62"/>
                  <a:pt x="67" y="60"/>
                  <a:pt x="68" y="58"/>
                </a:cubicBezTo>
                <a:cubicBezTo>
                  <a:pt x="68" y="57"/>
                  <a:pt x="68" y="56"/>
                  <a:pt x="69" y="55"/>
                </a:cubicBezTo>
                <a:cubicBezTo>
                  <a:pt x="63" y="47"/>
                  <a:pt x="63" y="47"/>
                  <a:pt x="63" y="47"/>
                </a:cubicBezTo>
                <a:cubicBezTo>
                  <a:pt x="57" y="57"/>
                  <a:pt x="57" y="57"/>
                  <a:pt x="57" y="57"/>
                </a:cubicBezTo>
                <a:cubicBezTo>
                  <a:pt x="72" y="71"/>
                  <a:pt x="72" y="71"/>
                  <a:pt x="72" y="71"/>
                </a:cubicBezTo>
                <a:cubicBezTo>
                  <a:pt x="100" y="65"/>
                  <a:pt x="100" y="65"/>
                  <a:pt x="100" y="65"/>
                </a:cubicBezTo>
                <a:cubicBezTo>
                  <a:pt x="101" y="68"/>
                  <a:pt x="101" y="68"/>
                  <a:pt x="101" y="68"/>
                </a:cubicBezTo>
                <a:cubicBezTo>
                  <a:pt x="72" y="75"/>
                  <a:pt x="72" y="75"/>
                  <a:pt x="72" y="75"/>
                </a:cubicBezTo>
                <a:cubicBezTo>
                  <a:pt x="71" y="75"/>
                  <a:pt x="71" y="75"/>
                  <a:pt x="71" y="75"/>
                </a:cubicBezTo>
                <a:cubicBezTo>
                  <a:pt x="71" y="74"/>
                  <a:pt x="71" y="74"/>
                  <a:pt x="71" y="74"/>
                </a:cubicBezTo>
                <a:cubicBezTo>
                  <a:pt x="55" y="60"/>
                  <a:pt x="55" y="60"/>
                  <a:pt x="55" y="60"/>
                </a:cubicBezTo>
                <a:cubicBezTo>
                  <a:pt x="47" y="74"/>
                  <a:pt x="47" y="74"/>
                  <a:pt x="47" y="74"/>
                </a:cubicBezTo>
                <a:cubicBezTo>
                  <a:pt x="48" y="76"/>
                  <a:pt x="49" y="78"/>
                  <a:pt x="48" y="80"/>
                </a:cubicBezTo>
                <a:cubicBezTo>
                  <a:pt x="48" y="82"/>
                  <a:pt x="46" y="84"/>
                  <a:pt x="45" y="85"/>
                </a:cubicBezTo>
                <a:cubicBezTo>
                  <a:pt x="45" y="85"/>
                  <a:pt x="45" y="85"/>
                  <a:pt x="45" y="85"/>
                </a:cubicBezTo>
                <a:cubicBezTo>
                  <a:pt x="45" y="85"/>
                  <a:pt x="45" y="85"/>
                  <a:pt x="45" y="85"/>
                </a:cubicBezTo>
                <a:cubicBezTo>
                  <a:pt x="43" y="86"/>
                  <a:pt x="41" y="87"/>
                  <a:pt x="39" y="86"/>
                </a:cubicBezTo>
                <a:cubicBezTo>
                  <a:pt x="37" y="86"/>
                  <a:pt x="35" y="84"/>
                  <a:pt x="34" y="83"/>
                </a:cubicBezTo>
                <a:cubicBezTo>
                  <a:pt x="34" y="83"/>
                  <a:pt x="34" y="83"/>
                  <a:pt x="34" y="83"/>
                </a:cubicBezTo>
                <a:cubicBezTo>
                  <a:pt x="34" y="83"/>
                  <a:pt x="34" y="83"/>
                  <a:pt x="34" y="83"/>
                </a:cubicBezTo>
                <a:cubicBezTo>
                  <a:pt x="33" y="81"/>
                  <a:pt x="32" y="79"/>
                  <a:pt x="33" y="77"/>
                </a:cubicBezTo>
                <a:cubicBezTo>
                  <a:pt x="33" y="77"/>
                  <a:pt x="33" y="76"/>
                  <a:pt x="33" y="76"/>
                </a:cubicBezTo>
                <a:cubicBezTo>
                  <a:pt x="26" y="70"/>
                  <a:pt x="26" y="70"/>
                  <a:pt x="26" y="70"/>
                </a:cubicBezTo>
                <a:cubicBezTo>
                  <a:pt x="24" y="70"/>
                  <a:pt x="23" y="71"/>
                  <a:pt x="21" y="70"/>
                </a:cubicBezTo>
                <a:cubicBezTo>
                  <a:pt x="19" y="70"/>
                  <a:pt x="17" y="69"/>
                  <a:pt x="16" y="67"/>
                </a:cubicBezTo>
                <a:cubicBezTo>
                  <a:pt x="16" y="67"/>
                  <a:pt x="16" y="67"/>
                  <a:pt x="16" y="67"/>
                </a:cubicBezTo>
                <a:cubicBezTo>
                  <a:pt x="16" y="67"/>
                  <a:pt x="16" y="67"/>
                  <a:pt x="16" y="67"/>
                </a:cubicBezTo>
                <a:cubicBezTo>
                  <a:pt x="16" y="67"/>
                  <a:pt x="16" y="67"/>
                  <a:pt x="16" y="67"/>
                </a:cubicBezTo>
                <a:cubicBezTo>
                  <a:pt x="1" y="69"/>
                  <a:pt x="1" y="69"/>
                  <a:pt x="1" y="69"/>
                </a:cubicBezTo>
                <a:cubicBezTo>
                  <a:pt x="0" y="61"/>
                  <a:pt x="0" y="61"/>
                  <a:pt x="0" y="61"/>
                </a:cubicBezTo>
                <a:close/>
                <a:moveTo>
                  <a:pt x="2" y="25"/>
                </a:moveTo>
                <a:cubicBezTo>
                  <a:pt x="3" y="29"/>
                  <a:pt x="3" y="29"/>
                  <a:pt x="3" y="29"/>
                </a:cubicBezTo>
                <a:cubicBezTo>
                  <a:pt x="21" y="24"/>
                  <a:pt x="21" y="24"/>
                  <a:pt x="21" y="24"/>
                </a:cubicBezTo>
                <a:cubicBezTo>
                  <a:pt x="24" y="28"/>
                  <a:pt x="24" y="28"/>
                  <a:pt x="24" y="28"/>
                </a:cubicBezTo>
                <a:cubicBezTo>
                  <a:pt x="26" y="29"/>
                  <a:pt x="26" y="29"/>
                  <a:pt x="26" y="29"/>
                </a:cubicBezTo>
                <a:cubicBezTo>
                  <a:pt x="27" y="28"/>
                  <a:pt x="27" y="28"/>
                  <a:pt x="27" y="28"/>
                </a:cubicBezTo>
                <a:cubicBezTo>
                  <a:pt x="38" y="18"/>
                  <a:pt x="38" y="18"/>
                  <a:pt x="38" y="18"/>
                </a:cubicBezTo>
                <a:cubicBezTo>
                  <a:pt x="46" y="28"/>
                  <a:pt x="46" y="28"/>
                  <a:pt x="46" y="28"/>
                </a:cubicBezTo>
                <a:cubicBezTo>
                  <a:pt x="46" y="29"/>
                  <a:pt x="46" y="29"/>
                  <a:pt x="46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62" y="22"/>
                  <a:pt x="62" y="22"/>
                  <a:pt x="62" y="22"/>
                </a:cubicBezTo>
                <a:cubicBezTo>
                  <a:pt x="76" y="29"/>
                  <a:pt x="76" y="29"/>
                  <a:pt x="76" y="29"/>
                </a:cubicBezTo>
                <a:cubicBezTo>
                  <a:pt x="77" y="30"/>
                  <a:pt x="77" y="30"/>
                  <a:pt x="77" y="30"/>
                </a:cubicBezTo>
                <a:cubicBezTo>
                  <a:pt x="78" y="29"/>
                  <a:pt x="78" y="29"/>
                  <a:pt x="78" y="29"/>
                </a:cubicBezTo>
                <a:cubicBezTo>
                  <a:pt x="101" y="2"/>
                  <a:pt x="101" y="2"/>
                  <a:pt x="101" y="2"/>
                </a:cubicBezTo>
                <a:cubicBezTo>
                  <a:pt x="98" y="0"/>
                  <a:pt x="98" y="0"/>
                  <a:pt x="98" y="0"/>
                </a:cubicBezTo>
                <a:cubicBezTo>
                  <a:pt x="76" y="26"/>
                  <a:pt x="76" y="26"/>
                  <a:pt x="76" y="26"/>
                </a:cubicBezTo>
                <a:cubicBezTo>
                  <a:pt x="62" y="19"/>
                  <a:pt x="62" y="19"/>
                  <a:pt x="62" y="19"/>
                </a:cubicBezTo>
                <a:cubicBezTo>
                  <a:pt x="62" y="18"/>
                  <a:pt x="62" y="18"/>
                  <a:pt x="62" y="18"/>
                </a:cubicBezTo>
                <a:cubicBezTo>
                  <a:pt x="61" y="19"/>
                  <a:pt x="61" y="19"/>
                  <a:pt x="61" y="19"/>
                </a:cubicBezTo>
                <a:cubicBezTo>
                  <a:pt x="48" y="25"/>
                  <a:pt x="48" y="25"/>
                  <a:pt x="48" y="25"/>
                </a:cubicBezTo>
                <a:cubicBezTo>
                  <a:pt x="40" y="14"/>
                  <a:pt x="40" y="14"/>
                  <a:pt x="40" y="14"/>
                </a:cubicBezTo>
                <a:cubicBezTo>
                  <a:pt x="39" y="13"/>
                  <a:pt x="39" y="13"/>
                  <a:pt x="39" y="13"/>
                </a:cubicBezTo>
                <a:cubicBezTo>
                  <a:pt x="37" y="14"/>
                  <a:pt x="37" y="14"/>
                  <a:pt x="37" y="14"/>
                </a:cubicBezTo>
                <a:cubicBezTo>
                  <a:pt x="26" y="24"/>
                  <a:pt x="26" y="24"/>
                  <a:pt x="26" y="24"/>
                </a:cubicBezTo>
                <a:cubicBezTo>
                  <a:pt x="22" y="20"/>
                  <a:pt x="22" y="20"/>
                  <a:pt x="22" y="20"/>
                </a:cubicBezTo>
                <a:cubicBezTo>
                  <a:pt x="22" y="20"/>
                  <a:pt x="22" y="20"/>
                  <a:pt x="22" y="20"/>
                </a:cubicBezTo>
                <a:cubicBezTo>
                  <a:pt x="21" y="20"/>
                  <a:pt x="21" y="20"/>
                  <a:pt x="21" y="20"/>
                </a:cubicBezTo>
                <a:cubicBezTo>
                  <a:pt x="2" y="25"/>
                  <a:pt x="2" y="25"/>
                  <a:pt x="2" y="25"/>
                </a:cubicBezTo>
                <a:close/>
                <a:moveTo>
                  <a:pt x="106" y="26"/>
                </a:moveTo>
                <a:cubicBezTo>
                  <a:pt x="106" y="25"/>
                  <a:pt x="104" y="24"/>
                  <a:pt x="103" y="24"/>
                </a:cubicBezTo>
                <a:cubicBezTo>
                  <a:pt x="102" y="24"/>
                  <a:pt x="101" y="24"/>
                  <a:pt x="100" y="25"/>
                </a:cubicBezTo>
                <a:cubicBezTo>
                  <a:pt x="100" y="25"/>
                  <a:pt x="100" y="25"/>
                  <a:pt x="100" y="25"/>
                </a:cubicBezTo>
                <a:cubicBezTo>
                  <a:pt x="99" y="25"/>
                  <a:pt x="98" y="26"/>
                  <a:pt x="98" y="28"/>
                </a:cubicBezTo>
                <a:cubicBezTo>
                  <a:pt x="97" y="29"/>
                  <a:pt x="98" y="30"/>
                  <a:pt x="98" y="31"/>
                </a:cubicBezTo>
                <a:cubicBezTo>
                  <a:pt x="98" y="31"/>
                  <a:pt x="98" y="31"/>
                  <a:pt x="98" y="31"/>
                </a:cubicBezTo>
                <a:cubicBezTo>
                  <a:pt x="99" y="32"/>
                  <a:pt x="100" y="33"/>
                  <a:pt x="101" y="33"/>
                </a:cubicBezTo>
                <a:cubicBezTo>
                  <a:pt x="103" y="33"/>
                  <a:pt x="104" y="33"/>
                  <a:pt x="105" y="33"/>
                </a:cubicBezTo>
                <a:cubicBezTo>
                  <a:pt x="105" y="32"/>
                  <a:pt x="105" y="32"/>
                  <a:pt x="105" y="32"/>
                </a:cubicBezTo>
                <a:cubicBezTo>
                  <a:pt x="106" y="32"/>
                  <a:pt x="107" y="31"/>
                  <a:pt x="107" y="29"/>
                </a:cubicBezTo>
                <a:cubicBezTo>
                  <a:pt x="107" y="28"/>
                  <a:pt x="107" y="27"/>
                  <a:pt x="106" y="26"/>
                </a:cubicBezTo>
                <a:cubicBezTo>
                  <a:pt x="106" y="26"/>
                  <a:pt x="106" y="26"/>
                  <a:pt x="106" y="26"/>
                </a:cubicBezTo>
                <a:close/>
                <a:moveTo>
                  <a:pt x="80" y="57"/>
                </a:moveTo>
                <a:cubicBezTo>
                  <a:pt x="79" y="56"/>
                  <a:pt x="78" y="55"/>
                  <a:pt x="77" y="55"/>
                </a:cubicBezTo>
                <a:cubicBezTo>
                  <a:pt x="75" y="54"/>
                  <a:pt x="74" y="55"/>
                  <a:pt x="73" y="55"/>
                </a:cubicBezTo>
                <a:cubicBezTo>
                  <a:pt x="73" y="55"/>
                  <a:pt x="73" y="55"/>
                  <a:pt x="73" y="55"/>
                </a:cubicBezTo>
                <a:cubicBezTo>
                  <a:pt x="72" y="56"/>
                  <a:pt x="71" y="57"/>
                  <a:pt x="71" y="58"/>
                </a:cubicBezTo>
                <a:cubicBezTo>
                  <a:pt x="71" y="60"/>
                  <a:pt x="71" y="61"/>
                  <a:pt x="72" y="62"/>
                </a:cubicBezTo>
                <a:cubicBezTo>
                  <a:pt x="72" y="62"/>
                  <a:pt x="72" y="62"/>
                  <a:pt x="72" y="62"/>
                </a:cubicBezTo>
                <a:cubicBezTo>
                  <a:pt x="72" y="63"/>
                  <a:pt x="73" y="64"/>
                  <a:pt x="75" y="64"/>
                </a:cubicBezTo>
                <a:cubicBezTo>
                  <a:pt x="76" y="64"/>
                  <a:pt x="77" y="64"/>
                  <a:pt x="78" y="63"/>
                </a:cubicBezTo>
                <a:cubicBezTo>
                  <a:pt x="78" y="63"/>
                  <a:pt x="78" y="63"/>
                  <a:pt x="78" y="63"/>
                </a:cubicBezTo>
                <a:cubicBezTo>
                  <a:pt x="79" y="63"/>
                  <a:pt x="80" y="62"/>
                  <a:pt x="80" y="60"/>
                </a:cubicBezTo>
                <a:cubicBezTo>
                  <a:pt x="81" y="59"/>
                  <a:pt x="80" y="58"/>
                  <a:pt x="80" y="57"/>
                </a:cubicBezTo>
                <a:cubicBezTo>
                  <a:pt x="80" y="57"/>
                  <a:pt x="80" y="57"/>
                  <a:pt x="80" y="57"/>
                </a:cubicBezTo>
                <a:close/>
                <a:moveTo>
                  <a:pt x="68" y="34"/>
                </a:moveTo>
                <a:cubicBezTo>
                  <a:pt x="67" y="33"/>
                  <a:pt x="66" y="33"/>
                  <a:pt x="65" y="32"/>
                </a:cubicBezTo>
                <a:cubicBezTo>
                  <a:pt x="64" y="32"/>
                  <a:pt x="62" y="32"/>
                  <a:pt x="61" y="33"/>
                </a:cubicBezTo>
                <a:cubicBezTo>
                  <a:pt x="61" y="33"/>
                  <a:pt x="61" y="33"/>
                  <a:pt x="61" y="33"/>
                </a:cubicBezTo>
                <a:cubicBezTo>
                  <a:pt x="60" y="34"/>
                  <a:pt x="59" y="35"/>
                  <a:pt x="59" y="36"/>
                </a:cubicBezTo>
                <a:cubicBezTo>
                  <a:pt x="59" y="37"/>
                  <a:pt x="59" y="39"/>
                  <a:pt x="60" y="40"/>
                </a:cubicBezTo>
                <a:cubicBezTo>
                  <a:pt x="60" y="40"/>
                  <a:pt x="60" y="40"/>
                  <a:pt x="60" y="40"/>
                </a:cubicBezTo>
                <a:cubicBezTo>
                  <a:pt x="61" y="41"/>
                  <a:pt x="62" y="41"/>
                  <a:pt x="63" y="42"/>
                </a:cubicBezTo>
                <a:cubicBezTo>
                  <a:pt x="64" y="42"/>
                  <a:pt x="66" y="42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68" y="40"/>
                  <a:pt x="68" y="39"/>
                  <a:pt x="69" y="38"/>
                </a:cubicBezTo>
                <a:cubicBezTo>
                  <a:pt x="69" y="37"/>
                  <a:pt x="69" y="35"/>
                  <a:pt x="68" y="34"/>
                </a:cubicBezTo>
                <a:cubicBezTo>
                  <a:pt x="68" y="34"/>
                  <a:pt x="68" y="34"/>
                  <a:pt x="68" y="34"/>
                </a:cubicBezTo>
                <a:close/>
                <a:moveTo>
                  <a:pt x="44" y="76"/>
                </a:moveTo>
                <a:cubicBezTo>
                  <a:pt x="44" y="75"/>
                  <a:pt x="43" y="74"/>
                  <a:pt x="41" y="74"/>
                </a:cubicBezTo>
                <a:cubicBezTo>
                  <a:pt x="40" y="73"/>
                  <a:pt x="39" y="74"/>
                  <a:pt x="38" y="74"/>
                </a:cubicBezTo>
                <a:cubicBezTo>
                  <a:pt x="38" y="74"/>
                  <a:pt x="38" y="74"/>
                  <a:pt x="38" y="74"/>
                </a:cubicBezTo>
                <a:cubicBezTo>
                  <a:pt x="37" y="75"/>
                  <a:pt x="36" y="76"/>
                  <a:pt x="36" y="77"/>
                </a:cubicBezTo>
                <a:cubicBezTo>
                  <a:pt x="35" y="79"/>
                  <a:pt x="36" y="80"/>
                  <a:pt x="36" y="81"/>
                </a:cubicBezTo>
                <a:cubicBezTo>
                  <a:pt x="36" y="81"/>
                  <a:pt x="36" y="81"/>
                  <a:pt x="36" y="81"/>
                </a:cubicBezTo>
                <a:cubicBezTo>
                  <a:pt x="37" y="82"/>
                  <a:pt x="38" y="83"/>
                  <a:pt x="39" y="83"/>
                </a:cubicBezTo>
                <a:cubicBezTo>
                  <a:pt x="41" y="83"/>
                  <a:pt x="42" y="83"/>
                  <a:pt x="43" y="82"/>
                </a:cubicBezTo>
                <a:cubicBezTo>
                  <a:pt x="43" y="82"/>
                  <a:pt x="43" y="82"/>
                  <a:pt x="43" y="82"/>
                </a:cubicBezTo>
                <a:cubicBezTo>
                  <a:pt x="44" y="82"/>
                  <a:pt x="45" y="81"/>
                  <a:pt x="45" y="79"/>
                </a:cubicBezTo>
                <a:cubicBezTo>
                  <a:pt x="45" y="78"/>
                  <a:pt x="45" y="77"/>
                  <a:pt x="44" y="76"/>
                </a:cubicBezTo>
                <a:cubicBezTo>
                  <a:pt x="44" y="76"/>
                  <a:pt x="44" y="76"/>
                  <a:pt x="44" y="76"/>
                </a:cubicBezTo>
                <a:close/>
                <a:moveTo>
                  <a:pt x="27" y="60"/>
                </a:moveTo>
                <a:cubicBezTo>
                  <a:pt x="26" y="59"/>
                  <a:pt x="25" y="58"/>
                  <a:pt x="24" y="58"/>
                </a:cubicBezTo>
                <a:cubicBezTo>
                  <a:pt x="22" y="58"/>
                  <a:pt x="21" y="58"/>
                  <a:pt x="20" y="59"/>
                </a:cubicBezTo>
                <a:cubicBezTo>
                  <a:pt x="20" y="59"/>
                  <a:pt x="20" y="59"/>
                  <a:pt x="20" y="59"/>
                </a:cubicBezTo>
                <a:cubicBezTo>
                  <a:pt x="19" y="59"/>
                  <a:pt x="18" y="60"/>
                  <a:pt x="18" y="62"/>
                </a:cubicBezTo>
                <a:cubicBezTo>
                  <a:pt x="18" y="63"/>
                  <a:pt x="18" y="64"/>
                  <a:pt x="19" y="65"/>
                </a:cubicBezTo>
                <a:cubicBezTo>
                  <a:pt x="19" y="65"/>
                  <a:pt x="19" y="65"/>
                  <a:pt x="19" y="65"/>
                </a:cubicBezTo>
                <a:cubicBezTo>
                  <a:pt x="19" y="66"/>
                  <a:pt x="21" y="67"/>
                  <a:pt x="22" y="67"/>
                </a:cubicBezTo>
                <a:cubicBezTo>
                  <a:pt x="23" y="67"/>
                  <a:pt x="24" y="67"/>
                  <a:pt x="25" y="66"/>
                </a:cubicBezTo>
                <a:cubicBezTo>
                  <a:pt x="25" y="66"/>
                  <a:pt x="25" y="66"/>
                  <a:pt x="25" y="66"/>
                </a:cubicBezTo>
                <a:cubicBezTo>
                  <a:pt x="26" y="66"/>
                  <a:pt x="27" y="65"/>
                  <a:pt x="27" y="63"/>
                </a:cubicBezTo>
                <a:cubicBezTo>
                  <a:pt x="28" y="62"/>
                  <a:pt x="27" y="61"/>
                  <a:pt x="27" y="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7" name="Freeform 97"/>
          <p:cNvSpPr>
            <a:spLocks noEditPoints="1" noChangeArrowheads="1"/>
          </p:cNvSpPr>
          <p:nvPr/>
        </p:nvSpPr>
        <p:spPr bwMode="auto">
          <a:xfrm>
            <a:off x="8870951" y="1435101"/>
            <a:ext cx="478367" cy="429684"/>
          </a:xfrm>
          <a:custGeom>
            <a:avLst/>
            <a:gdLst>
              <a:gd name="T0" fmla="*/ 607313819 w 105"/>
              <a:gd name="T1" fmla="*/ 199665927 h 94"/>
              <a:gd name="T2" fmla="*/ 525560955 w 105"/>
              <a:gd name="T3" fmla="*/ 281884132 h 94"/>
              <a:gd name="T4" fmla="*/ 607313819 w 105"/>
              <a:gd name="T5" fmla="*/ 364098908 h 94"/>
              <a:gd name="T6" fmla="*/ 689066682 w 105"/>
              <a:gd name="T7" fmla="*/ 281884132 h 94"/>
              <a:gd name="T8" fmla="*/ 607313819 w 105"/>
              <a:gd name="T9" fmla="*/ 199665927 h 94"/>
              <a:gd name="T10" fmla="*/ 128468785 w 105"/>
              <a:gd name="T11" fmla="*/ 434568227 h 94"/>
              <a:gd name="T12" fmla="*/ 58394902 w 105"/>
              <a:gd name="T13" fmla="*/ 575510293 h 94"/>
              <a:gd name="T14" fmla="*/ 0 w 105"/>
              <a:gd name="T15" fmla="*/ 704706901 h 94"/>
              <a:gd name="T16" fmla="*/ 81752863 w 105"/>
              <a:gd name="T17" fmla="*/ 704706901 h 94"/>
              <a:gd name="T18" fmla="*/ 210225065 w 105"/>
              <a:gd name="T19" fmla="*/ 939609201 h 94"/>
              <a:gd name="T20" fmla="*/ 607313819 w 105"/>
              <a:gd name="T21" fmla="*/ 1104042183 h 94"/>
              <a:gd name="T22" fmla="*/ 992723591 w 105"/>
              <a:gd name="T23" fmla="*/ 939609201 h 94"/>
              <a:gd name="T24" fmla="*/ 1062797474 w 105"/>
              <a:gd name="T25" fmla="*/ 857394425 h 94"/>
              <a:gd name="T26" fmla="*/ 922649708 w 105"/>
              <a:gd name="T27" fmla="*/ 857394425 h 94"/>
              <a:gd name="T28" fmla="*/ 910970728 w 105"/>
              <a:gd name="T29" fmla="*/ 869139883 h 94"/>
              <a:gd name="T30" fmla="*/ 607313819 w 105"/>
              <a:gd name="T31" fmla="*/ 998336491 h 94"/>
              <a:gd name="T32" fmla="*/ 291977929 w 105"/>
              <a:gd name="T33" fmla="*/ 869139883 h 94"/>
              <a:gd name="T34" fmla="*/ 198546085 w 105"/>
              <a:gd name="T35" fmla="*/ 704706901 h 94"/>
              <a:gd name="T36" fmla="*/ 256940987 w 105"/>
              <a:gd name="T37" fmla="*/ 704706901 h 94"/>
              <a:gd name="T38" fmla="*/ 186867105 w 105"/>
              <a:gd name="T39" fmla="*/ 575510293 h 94"/>
              <a:gd name="T40" fmla="*/ 128468785 w 105"/>
              <a:gd name="T41" fmla="*/ 434568227 h 94"/>
              <a:gd name="T42" fmla="*/ 1086158852 w 105"/>
              <a:gd name="T43" fmla="*/ 739943275 h 94"/>
              <a:gd name="T44" fmla="*/ 1027760533 w 105"/>
              <a:gd name="T45" fmla="*/ 610746667 h 94"/>
              <a:gd name="T46" fmla="*/ 957686650 w 105"/>
              <a:gd name="T47" fmla="*/ 469804601 h 94"/>
              <a:gd name="T48" fmla="*/ 1027760533 w 105"/>
              <a:gd name="T49" fmla="*/ 469804601 h 94"/>
              <a:gd name="T50" fmla="*/ 910970728 w 105"/>
              <a:gd name="T51" fmla="*/ 246647758 h 94"/>
              <a:gd name="T52" fmla="*/ 607313819 w 105"/>
              <a:gd name="T53" fmla="*/ 117451150 h 94"/>
              <a:gd name="T54" fmla="*/ 291977929 w 105"/>
              <a:gd name="T55" fmla="*/ 246647758 h 94"/>
              <a:gd name="T56" fmla="*/ 256940987 w 105"/>
              <a:gd name="T57" fmla="*/ 293629590 h 94"/>
              <a:gd name="T58" fmla="*/ 116789805 w 105"/>
              <a:gd name="T59" fmla="*/ 293629590 h 94"/>
              <a:gd name="T60" fmla="*/ 210225065 w 105"/>
              <a:gd name="T61" fmla="*/ 164432982 h 94"/>
              <a:gd name="T62" fmla="*/ 607313819 w 105"/>
              <a:gd name="T63" fmla="*/ 0 h 94"/>
              <a:gd name="T64" fmla="*/ 992723591 w 105"/>
              <a:gd name="T65" fmla="*/ 164432982 h 94"/>
              <a:gd name="T66" fmla="*/ 1144553754 w 105"/>
              <a:gd name="T67" fmla="*/ 469804601 h 94"/>
              <a:gd name="T68" fmla="*/ 1226306618 w 105"/>
              <a:gd name="T69" fmla="*/ 469804601 h 94"/>
              <a:gd name="T70" fmla="*/ 1156232735 w 105"/>
              <a:gd name="T71" fmla="*/ 610746667 h 94"/>
              <a:gd name="T72" fmla="*/ 1086158852 w 105"/>
              <a:gd name="T73" fmla="*/ 739943275 h 94"/>
              <a:gd name="T74" fmla="*/ 467166053 w 105"/>
              <a:gd name="T75" fmla="*/ 587255751 h 94"/>
              <a:gd name="T76" fmla="*/ 502202994 w 105"/>
              <a:gd name="T77" fmla="*/ 387589824 h 94"/>
              <a:gd name="T78" fmla="*/ 700745662 w 105"/>
              <a:gd name="T79" fmla="*/ 387589824 h 94"/>
              <a:gd name="T80" fmla="*/ 747461584 w 105"/>
              <a:gd name="T81" fmla="*/ 599001209 h 94"/>
              <a:gd name="T82" fmla="*/ 689066682 w 105"/>
              <a:gd name="T83" fmla="*/ 634237582 h 94"/>
              <a:gd name="T84" fmla="*/ 700745662 w 105"/>
              <a:gd name="T85" fmla="*/ 916121714 h 94"/>
              <a:gd name="T86" fmla="*/ 630671780 w 105"/>
              <a:gd name="T87" fmla="*/ 916121714 h 94"/>
              <a:gd name="T88" fmla="*/ 618992799 w 105"/>
              <a:gd name="T89" fmla="*/ 669473956 h 94"/>
              <a:gd name="T90" fmla="*/ 583955858 w 105"/>
              <a:gd name="T91" fmla="*/ 669473956 h 94"/>
              <a:gd name="T92" fmla="*/ 572276877 w 105"/>
              <a:gd name="T93" fmla="*/ 916121714 h 94"/>
              <a:gd name="T94" fmla="*/ 502202994 w 105"/>
              <a:gd name="T95" fmla="*/ 916121714 h 94"/>
              <a:gd name="T96" fmla="*/ 513881975 w 105"/>
              <a:gd name="T97" fmla="*/ 634237582 h 94"/>
              <a:gd name="T98" fmla="*/ 467166053 w 105"/>
              <a:gd name="T99" fmla="*/ 587255751 h 9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05"/>
              <a:gd name="T151" fmla="*/ 0 h 94"/>
              <a:gd name="T152" fmla="*/ 105 w 105"/>
              <a:gd name="T153" fmla="*/ 94 h 9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05" h="94">
                <a:moveTo>
                  <a:pt x="52" y="17"/>
                </a:moveTo>
                <a:cubicBezTo>
                  <a:pt x="48" y="17"/>
                  <a:pt x="45" y="20"/>
                  <a:pt x="45" y="24"/>
                </a:cubicBezTo>
                <a:cubicBezTo>
                  <a:pt x="45" y="28"/>
                  <a:pt x="48" y="31"/>
                  <a:pt x="52" y="31"/>
                </a:cubicBezTo>
                <a:cubicBezTo>
                  <a:pt x="56" y="31"/>
                  <a:pt x="59" y="28"/>
                  <a:pt x="59" y="24"/>
                </a:cubicBezTo>
                <a:cubicBezTo>
                  <a:pt x="59" y="20"/>
                  <a:pt x="56" y="17"/>
                  <a:pt x="52" y="17"/>
                </a:cubicBezTo>
                <a:close/>
                <a:moveTo>
                  <a:pt x="11" y="37"/>
                </a:moveTo>
                <a:cubicBezTo>
                  <a:pt x="5" y="49"/>
                  <a:pt x="5" y="49"/>
                  <a:pt x="5" y="49"/>
                </a:cubicBezTo>
                <a:cubicBezTo>
                  <a:pt x="0" y="60"/>
                  <a:pt x="0" y="60"/>
                  <a:pt x="0" y="60"/>
                </a:cubicBezTo>
                <a:cubicBezTo>
                  <a:pt x="7" y="60"/>
                  <a:pt x="7" y="60"/>
                  <a:pt x="7" y="60"/>
                </a:cubicBezTo>
                <a:cubicBezTo>
                  <a:pt x="9" y="68"/>
                  <a:pt x="13" y="75"/>
                  <a:pt x="18" y="80"/>
                </a:cubicBezTo>
                <a:cubicBezTo>
                  <a:pt x="27" y="89"/>
                  <a:pt x="39" y="94"/>
                  <a:pt x="52" y="94"/>
                </a:cubicBezTo>
                <a:cubicBezTo>
                  <a:pt x="65" y="94"/>
                  <a:pt x="76" y="89"/>
                  <a:pt x="85" y="80"/>
                </a:cubicBezTo>
                <a:cubicBezTo>
                  <a:pt x="87" y="78"/>
                  <a:pt x="89" y="75"/>
                  <a:pt x="91" y="73"/>
                </a:cubicBezTo>
                <a:cubicBezTo>
                  <a:pt x="79" y="73"/>
                  <a:pt x="79" y="73"/>
                  <a:pt x="79" y="73"/>
                </a:cubicBezTo>
                <a:cubicBezTo>
                  <a:pt x="79" y="73"/>
                  <a:pt x="78" y="73"/>
                  <a:pt x="78" y="74"/>
                </a:cubicBezTo>
                <a:cubicBezTo>
                  <a:pt x="71" y="80"/>
                  <a:pt x="62" y="85"/>
                  <a:pt x="52" y="85"/>
                </a:cubicBezTo>
                <a:cubicBezTo>
                  <a:pt x="41" y="85"/>
                  <a:pt x="32" y="80"/>
                  <a:pt x="25" y="74"/>
                </a:cubicBezTo>
                <a:cubicBezTo>
                  <a:pt x="21" y="70"/>
                  <a:pt x="18" y="65"/>
                  <a:pt x="17" y="60"/>
                </a:cubicBezTo>
                <a:cubicBezTo>
                  <a:pt x="22" y="60"/>
                  <a:pt x="22" y="60"/>
                  <a:pt x="22" y="60"/>
                </a:cubicBezTo>
                <a:cubicBezTo>
                  <a:pt x="16" y="49"/>
                  <a:pt x="16" y="49"/>
                  <a:pt x="16" y="49"/>
                </a:cubicBezTo>
                <a:cubicBezTo>
                  <a:pt x="11" y="37"/>
                  <a:pt x="11" y="37"/>
                  <a:pt x="11" y="37"/>
                </a:cubicBezTo>
                <a:close/>
                <a:moveTo>
                  <a:pt x="93" y="63"/>
                </a:moveTo>
                <a:cubicBezTo>
                  <a:pt x="88" y="52"/>
                  <a:pt x="88" y="52"/>
                  <a:pt x="88" y="52"/>
                </a:cubicBezTo>
                <a:cubicBezTo>
                  <a:pt x="82" y="40"/>
                  <a:pt x="82" y="40"/>
                  <a:pt x="82" y="40"/>
                </a:cubicBezTo>
                <a:cubicBezTo>
                  <a:pt x="88" y="40"/>
                  <a:pt x="88" y="40"/>
                  <a:pt x="88" y="40"/>
                </a:cubicBezTo>
                <a:cubicBezTo>
                  <a:pt x="87" y="33"/>
                  <a:pt x="83" y="26"/>
                  <a:pt x="78" y="21"/>
                </a:cubicBezTo>
                <a:cubicBezTo>
                  <a:pt x="71" y="14"/>
                  <a:pt x="62" y="10"/>
                  <a:pt x="52" y="10"/>
                </a:cubicBezTo>
                <a:cubicBezTo>
                  <a:pt x="41" y="10"/>
                  <a:pt x="32" y="14"/>
                  <a:pt x="25" y="21"/>
                </a:cubicBezTo>
                <a:cubicBezTo>
                  <a:pt x="24" y="22"/>
                  <a:pt x="23" y="23"/>
                  <a:pt x="22" y="25"/>
                </a:cubicBezTo>
                <a:cubicBezTo>
                  <a:pt x="10" y="25"/>
                  <a:pt x="10" y="25"/>
                  <a:pt x="10" y="25"/>
                </a:cubicBezTo>
                <a:cubicBezTo>
                  <a:pt x="13" y="21"/>
                  <a:pt x="15" y="17"/>
                  <a:pt x="18" y="14"/>
                </a:cubicBezTo>
                <a:cubicBezTo>
                  <a:pt x="27" y="6"/>
                  <a:pt x="39" y="0"/>
                  <a:pt x="52" y="0"/>
                </a:cubicBezTo>
                <a:cubicBezTo>
                  <a:pt x="65" y="0"/>
                  <a:pt x="76" y="6"/>
                  <a:pt x="85" y="14"/>
                </a:cubicBezTo>
                <a:cubicBezTo>
                  <a:pt x="92" y="21"/>
                  <a:pt x="96" y="30"/>
                  <a:pt x="98" y="40"/>
                </a:cubicBezTo>
                <a:cubicBezTo>
                  <a:pt x="105" y="40"/>
                  <a:pt x="105" y="40"/>
                  <a:pt x="105" y="40"/>
                </a:cubicBezTo>
                <a:cubicBezTo>
                  <a:pt x="99" y="52"/>
                  <a:pt x="99" y="52"/>
                  <a:pt x="99" y="52"/>
                </a:cubicBezTo>
                <a:cubicBezTo>
                  <a:pt x="93" y="63"/>
                  <a:pt x="93" y="63"/>
                  <a:pt x="93" y="63"/>
                </a:cubicBezTo>
                <a:close/>
                <a:moveTo>
                  <a:pt x="40" y="50"/>
                </a:moveTo>
                <a:cubicBezTo>
                  <a:pt x="43" y="33"/>
                  <a:pt x="43" y="33"/>
                  <a:pt x="43" y="33"/>
                </a:cubicBezTo>
                <a:cubicBezTo>
                  <a:pt x="62" y="33"/>
                  <a:pt x="42" y="33"/>
                  <a:pt x="60" y="33"/>
                </a:cubicBezTo>
                <a:cubicBezTo>
                  <a:pt x="64" y="51"/>
                  <a:pt x="64" y="51"/>
                  <a:pt x="64" y="51"/>
                </a:cubicBezTo>
                <a:cubicBezTo>
                  <a:pt x="59" y="54"/>
                  <a:pt x="59" y="54"/>
                  <a:pt x="59" y="54"/>
                </a:cubicBezTo>
                <a:cubicBezTo>
                  <a:pt x="60" y="78"/>
                  <a:pt x="60" y="78"/>
                  <a:pt x="60" y="78"/>
                </a:cubicBezTo>
                <a:cubicBezTo>
                  <a:pt x="54" y="78"/>
                  <a:pt x="54" y="78"/>
                  <a:pt x="54" y="78"/>
                </a:cubicBezTo>
                <a:cubicBezTo>
                  <a:pt x="53" y="57"/>
                  <a:pt x="53" y="57"/>
                  <a:pt x="53" y="57"/>
                </a:cubicBezTo>
                <a:cubicBezTo>
                  <a:pt x="50" y="57"/>
                  <a:pt x="50" y="57"/>
                  <a:pt x="50" y="57"/>
                </a:cubicBezTo>
                <a:cubicBezTo>
                  <a:pt x="49" y="78"/>
                  <a:pt x="49" y="78"/>
                  <a:pt x="49" y="78"/>
                </a:cubicBezTo>
                <a:cubicBezTo>
                  <a:pt x="43" y="78"/>
                  <a:pt x="43" y="78"/>
                  <a:pt x="43" y="78"/>
                </a:cubicBezTo>
                <a:cubicBezTo>
                  <a:pt x="44" y="54"/>
                  <a:pt x="44" y="54"/>
                  <a:pt x="44" y="54"/>
                </a:cubicBezTo>
                <a:cubicBezTo>
                  <a:pt x="43" y="52"/>
                  <a:pt x="42" y="51"/>
                  <a:pt x="40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8" name="Freeform 99"/>
          <p:cNvSpPr>
            <a:spLocks noEditPoints="1" noChangeArrowheads="1"/>
          </p:cNvSpPr>
          <p:nvPr/>
        </p:nvSpPr>
        <p:spPr bwMode="auto">
          <a:xfrm>
            <a:off x="8041217" y="1458385"/>
            <a:ext cx="406400" cy="419100"/>
          </a:xfrm>
          <a:custGeom>
            <a:avLst/>
            <a:gdLst>
              <a:gd name="T0" fmla="*/ 410202580 w 89"/>
              <a:gd name="T1" fmla="*/ 128381263 h 92"/>
              <a:gd name="T2" fmla="*/ 656323443 w 89"/>
              <a:gd name="T3" fmla="*/ 128381263 h 92"/>
              <a:gd name="T4" fmla="*/ 820405160 w 89"/>
              <a:gd name="T5" fmla="*/ 116710239 h 92"/>
              <a:gd name="T6" fmla="*/ 820405160 w 89"/>
              <a:gd name="T7" fmla="*/ 315121062 h 92"/>
              <a:gd name="T8" fmla="*/ 820405160 w 89"/>
              <a:gd name="T9" fmla="*/ 116710239 h 92"/>
              <a:gd name="T10" fmla="*/ 351602211 w 89"/>
              <a:gd name="T11" fmla="*/ 641913148 h 92"/>
              <a:gd name="T12" fmla="*/ 375040989 w 89"/>
              <a:gd name="T13" fmla="*/ 992050699 h 92"/>
              <a:gd name="T14" fmla="*/ 257840252 w 89"/>
              <a:gd name="T15" fmla="*/ 688600661 h 92"/>
              <a:gd name="T16" fmla="*/ 199239883 w 89"/>
              <a:gd name="T17" fmla="*/ 992050699 h 92"/>
              <a:gd name="T18" fmla="*/ 128920126 w 89"/>
              <a:gd name="T19" fmla="*/ 641913148 h 92"/>
              <a:gd name="T20" fmla="*/ 46880980 w 89"/>
              <a:gd name="T21" fmla="*/ 618571101 h 92"/>
              <a:gd name="T22" fmla="*/ 117200737 w 89"/>
              <a:gd name="T23" fmla="*/ 326792086 h 92"/>
              <a:gd name="T24" fmla="*/ 246120863 w 89"/>
              <a:gd name="T25" fmla="*/ 408492670 h 92"/>
              <a:gd name="T26" fmla="*/ 363321600 w 89"/>
              <a:gd name="T27" fmla="*/ 326792086 h 92"/>
              <a:gd name="T28" fmla="*/ 515683928 w 89"/>
              <a:gd name="T29" fmla="*/ 280107990 h 92"/>
              <a:gd name="T30" fmla="*/ 515683928 w 89"/>
              <a:gd name="T31" fmla="*/ 315121062 h 92"/>
              <a:gd name="T32" fmla="*/ 527403317 w 89"/>
              <a:gd name="T33" fmla="*/ 560215981 h 92"/>
              <a:gd name="T34" fmla="*/ 527403317 w 89"/>
              <a:gd name="T35" fmla="*/ 560215981 h 92"/>
              <a:gd name="T36" fmla="*/ 527403317 w 89"/>
              <a:gd name="T37" fmla="*/ 560215981 h 92"/>
              <a:gd name="T38" fmla="*/ 550845519 w 89"/>
              <a:gd name="T39" fmla="*/ 315121062 h 92"/>
              <a:gd name="T40" fmla="*/ 550845519 w 89"/>
              <a:gd name="T41" fmla="*/ 280107990 h 92"/>
              <a:gd name="T42" fmla="*/ 691485034 w 89"/>
              <a:gd name="T43" fmla="*/ 326792086 h 92"/>
              <a:gd name="T44" fmla="*/ 820405160 w 89"/>
              <a:gd name="T45" fmla="*/ 408492670 h 92"/>
              <a:gd name="T46" fmla="*/ 937605897 w 89"/>
              <a:gd name="T47" fmla="*/ 326792086 h 92"/>
              <a:gd name="T48" fmla="*/ 996206265 w 89"/>
              <a:gd name="T49" fmla="*/ 595229053 h 92"/>
              <a:gd name="T50" fmla="*/ 925886508 w 89"/>
              <a:gd name="T51" fmla="*/ 641913148 h 92"/>
              <a:gd name="T52" fmla="*/ 937605897 w 89"/>
              <a:gd name="T53" fmla="*/ 992050699 h 92"/>
              <a:gd name="T54" fmla="*/ 832124548 w 89"/>
              <a:gd name="T55" fmla="*/ 688600661 h 92"/>
              <a:gd name="T56" fmla="*/ 773524180 w 89"/>
              <a:gd name="T57" fmla="*/ 992050699 h 92"/>
              <a:gd name="T58" fmla="*/ 703204422 w 89"/>
              <a:gd name="T59" fmla="*/ 641913148 h 92"/>
              <a:gd name="T60" fmla="*/ 668046256 w 89"/>
              <a:gd name="T61" fmla="*/ 641913148 h 92"/>
              <a:gd name="T62" fmla="*/ 574284297 w 89"/>
              <a:gd name="T63" fmla="*/ 1073747866 h 92"/>
              <a:gd name="T64" fmla="*/ 503964539 w 89"/>
              <a:gd name="T65" fmla="*/ 711942708 h 92"/>
              <a:gd name="T66" fmla="*/ 375040989 w 89"/>
              <a:gd name="T67" fmla="*/ 1073747866 h 92"/>
              <a:gd name="T68" fmla="*/ 351602211 w 89"/>
              <a:gd name="T69" fmla="*/ 606900077 h 92"/>
              <a:gd name="T70" fmla="*/ 152362328 w 89"/>
              <a:gd name="T71" fmla="*/ 210081847 h 92"/>
              <a:gd name="T72" fmla="*/ 339882822 w 89"/>
              <a:gd name="T73" fmla="*/ 210081847 h 9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9"/>
              <a:gd name="T112" fmla="*/ 0 h 92"/>
              <a:gd name="T113" fmla="*/ 89 w 89"/>
              <a:gd name="T114" fmla="*/ 92 h 9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9" h="92">
                <a:moveTo>
                  <a:pt x="45" y="0"/>
                </a:moveTo>
                <a:cubicBezTo>
                  <a:pt x="40" y="0"/>
                  <a:pt x="35" y="5"/>
                  <a:pt x="35" y="11"/>
                </a:cubicBezTo>
                <a:cubicBezTo>
                  <a:pt x="35" y="16"/>
                  <a:pt x="40" y="21"/>
                  <a:pt x="45" y="21"/>
                </a:cubicBezTo>
                <a:cubicBezTo>
                  <a:pt x="51" y="21"/>
                  <a:pt x="56" y="16"/>
                  <a:pt x="56" y="11"/>
                </a:cubicBezTo>
                <a:cubicBezTo>
                  <a:pt x="56" y="5"/>
                  <a:pt x="51" y="0"/>
                  <a:pt x="45" y="0"/>
                </a:cubicBezTo>
                <a:close/>
                <a:moveTo>
                  <a:pt x="70" y="10"/>
                </a:moveTo>
                <a:cubicBezTo>
                  <a:pt x="65" y="10"/>
                  <a:pt x="61" y="14"/>
                  <a:pt x="61" y="18"/>
                </a:cubicBezTo>
                <a:cubicBezTo>
                  <a:pt x="61" y="23"/>
                  <a:pt x="65" y="27"/>
                  <a:pt x="70" y="27"/>
                </a:cubicBezTo>
                <a:cubicBezTo>
                  <a:pt x="74" y="27"/>
                  <a:pt x="78" y="23"/>
                  <a:pt x="78" y="18"/>
                </a:cubicBezTo>
                <a:cubicBezTo>
                  <a:pt x="78" y="14"/>
                  <a:pt x="74" y="10"/>
                  <a:pt x="70" y="10"/>
                </a:cubicBezTo>
                <a:close/>
                <a:moveTo>
                  <a:pt x="30" y="52"/>
                </a:moveTo>
                <a:cubicBezTo>
                  <a:pt x="30" y="55"/>
                  <a:pt x="30" y="55"/>
                  <a:pt x="30" y="55"/>
                </a:cubicBezTo>
                <a:cubicBezTo>
                  <a:pt x="30" y="55"/>
                  <a:pt x="30" y="55"/>
                  <a:pt x="30" y="55"/>
                </a:cubicBezTo>
                <a:cubicBezTo>
                  <a:pt x="32" y="85"/>
                  <a:pt x="32" y="85"/>
                  <a:pt x="32" y="85"/>
                </a:cubicBezTo>
                <a:cubicBezTo>
                  <a:pt x="24" y="85"/>
                  <a:pt x="24" y="85"/>
                  <a:pt x="24" y="85"/>
                </a:cubicBezTo>
                <a:cubicBezTo>
                  <a:pt x="22" y="59"/>
                  <a:pt x="22" y="59"/>
                  <a:pt x="22" y="59"/>
                </a:cubicBezTo>
                <a:cubicBezTo>
                  <a:pt x="19" y="59"/>
                  <a:pt x="19" y="59"/>
                  <a:pt x="19" y="59"/>
                </a:cubicBezTo>
                <a:cubicBezTo>
                  <a:pt x="17" y="85"/>
                  <a:pt x="17" y="85"/>
                  <a:pt x="17" y="85"/>
                </a:cubicBezTo>
                <a:cubicBezTo>
                  <a:pt x="10" y="85"/>
                  <a:pt x="10" y="85"/>
                  <a:pt x="10" y="85"/>
                </a:cubicBezTo>
                <a:cubicBezTo>
                  <a:pt x="11" y="55"/>
                  <a:pt x="11" y="55"/>
                  <a:pt x="11" y="55"/>
                </a:cubicBezTo>
                <a:cubicBezTo>
                  <a:pt x="10" y="43"/>
                  <a:pt x="10" y="43"/>
                  <a:pt x="10" y="43"/>
                </a:cubicBezTo>
                <a:cubicBezTo>
                  <a:pt x="4" y="53"/>
                  <a:pt x="4" y="53"/>
                  <a:pt x="4" y="53"/>
                </a:cubicBezTo>
                <a:cubicBezTo>
                  <a:pt x="0" y="50"/>
                  <a:pt x="0" y="50"/>
                  <a:pt x="0" y="50"/>
                </a:cubicBezTo>
                <a:cubicBezTo>
                  <a:pt x="10" y="28"/>
                  <a:pt x="10" y="28"/>
                  <a:pt x="10" y="28"/>
                </a:cubicBezTo>
                <a:cubicBezTo>
                  <a:pt x="16" y="28"/>
                  <a:pt x="16" y="28"/>
                  <a:pt x="16" y="28"/>
                </a:cubicBezTo>
                <a:cubicBezTo>
                  <a:pt x="21" y="35"/>
                  <a:pt x="21" y="35"/>
                  <a:pt x="21" y="35"/>
                </a:cubicBezTo>
                <a:cubicBezTo>
                  <a:pt x="26" y="28"/>
                  <a:pt x="26" y="28"/>
                  <a:pt x="26" y="28"/>
                </a:cubicBezTo>
                <a:cubicBezTo>
                  <a:pt x="31" y="28"/>
                  <a:pt x="31" y="28"/>
                  <a:pt x="31" y="28"/>
                </a:cubicBezTo>
                <a:cubicBezTo>
                  <a:pt x="33" y="24"/>
                  <a:pt x="33" y="24"/>
                  <a:pt x="33" y="24"/>
                </a:cubicBezTo>
                <a:cubicBezTo>
                  <a:pt x="44" y="24"/>
                  <a:pt x="44" y="24"/>
                  <a:pt x="44" y="24"/>
                </a:cubicBezTo>
                <a:cubicBezTo>
                  <a:pt x="43" y="25"/>
                  <a:pt x="43" y="25"/>
                  <a:pt x="43" y="25"/>
                </a:cubicBezTo>
                <a:cubicBezTo>
                  <a:pt x="44" y="27"/>
                  <a:pt x="44" y="27"/>
                  <a:pt x="44" y="27"/>
                </a:cubicBezTo>
                <a:cubicBezTo>
                  <a:pt x="41" y="44"/>
                  <a:pt x="41" y="44"/>
                  <a:pt x="41" y="44"/>
                </a:cubicBezTo>
                <a:cubicBezTo>
                  <a:pt x="45" y="48"/>
                  <a:pt x="45" y="48"/>
                  <a:pt x="45" y="48"/>
                </a:cubicBezTo>
                <a:cubicBezTo>
                  <a:pt x="45" y="48"/>
                  <a:pt x="45" y="48"/>
                  <a:pt x="45" y="48"/>
                </a:cubicBezTo>
                <a:cubicBezTo>
                  <a:pt x="45" y="48"/>
                  <a:pt x="45" y="48"/>
                  <a:pt x="45" y="48"/>
                </a:cubicBezTo>
                <a:cubicBezTo>
                  <a:pt x="45" y="48"/>
                  <a:pt x="45" y="48"/>
                  <a:pt x="45" y="48"/>
                </a:cubicBezTo>
                <a:cubicBezTo>
                  <a:pt x="45" y="48"/>
                  <a:pt x="45" y="48"/>
                  <a:pt x="45" y="48"/>
                </a:cubicBezTo>
                <a:cubicBezTo>
                  <a:pt x="49" y="44"/>
                  <a:pt x="49" y="44"/>
                  <a:pt x="49" y="44"/>
                </a:cubicBezTo>
                <a:cubicBezTo>
                  <a:pt x="47" y="27"/>
                  <a:pt x="47" y="27"/>
                  <a:pt x="47" y="27"/>
                </a:cubicBezTo>
                <a:cubicBezTo>
                  <a:pt x="48" y="25"/>
                  <a:pt x="48" y="25"/>
                  <a:pt x="48" y="25"/>
                </a:cubicBezTo>
                <a:cubicBezTo>
                  <a:pt x="47" y="24"/>
                  <a:pt x="47" y="24"/>
                  <a:pt x="47" y="24"/>
                </a:cubicBezTo>
                <a:cubicBezTo>
                  <a:pt x="58" y="24"/>
                  <a:pt x="58" y="24"/>
                  <a:pt x="58" y="24"/>
                </a:cubicBezTo>
                <a:cubicBezTo>
                  <a:pt x="59" y="28"/>
                  <a:pt x="59" y="28"/>
                  <a:pt x="59" y="28"/>
                </a:cubicBezTo>
                <a:cubicBezTo>
                  <a:pt x="64" y="28"/>
                  <a:pt x="64" y="28"/>
                  <a:pt x="64" y="28"/>
                </a:cubicBezTo>
                <a:cubicBezTo>
                  <a:pt x="70" y="35"/>
                  <a:pt x="70" y="35"/>
                  <a:pt x="70" y="35"/>
                </a:cubicBezTo>
                <a:cubicBezTo>
                  <a:pt x="75" y="28"/>
                  <a:pt x="75" y="28"/>
                  <a:pt x="75" y="28"/>
                </a:cubicBezTo>
                <a:cubicBezTo>
                  <a:pt x="80" y="28"/>
                  <a:pt x="80" y="28"/>
                  <a:pt x="80" y="28"/>
                </a:cubicBezTo>
                <a:cubicBezTo>
                  <a:pt x="89" y="48"/>
                  <a:pt x="89" y="48"/>
                  <a:pt x="89" y="48"/>
                </a:cubicBezTo>
                <a:cubicBezTo>
                  <a:pt x="85" y="51"/>
                  <a:pt x="85" y="51"/>
                  <a:pt x="85" y="51"/>
                </a:cubicBezTo>
                <a:cubicBezTo>
                  <a:pt x="79" y="41"/>
                  <a:pt x="79" y="41"/>
                  <a:pt x="79" y="41"/>
                </a:cubicBezTo>
                <a:cubicBezTo>
                  <a:pt x="79" y="55"/>
                  <a:pt x="79" y="55"/>
                  <a:pt x="79" y="55"/>
                </a:cubicBezTo>
                <a:cubicBezTo>
                  <a:pt x="79" y="55"/>
                  <a:pt x="79" y="55"/>
                  <a:pt x="79" y="55"/>
                </a:cubicBezTo>
                <a:cubicBezTo>
                  <a:pt x="80" y="85"/>
                  <a:pt x="80" y="85"/>
                  <a:pt x="80" y="85"/>
                </a:cubicBezTo>
                <a:cubicBezTo>
                  <a:pt x="72" y="85"/>
                  <a:pt x="72" y="85"/>
                  <a:pt x="72" y="85"/>
                </a:cubicBezTo>
                <a:cubicBezTo>
                  <a:pt x="71" y="59"/>
                  <a:pt x="71" y="59"/>
                  <a:pt x="71" y="59"/>
                </a:cubicBezTo>
                <a:cubicBezTo>
                  <a:pt x="68" y="59"/>
                  <a:pt x="68" y="59"/>
                  <a:pt x="68" y="59"/>
                </a:cubicBezTo>
                <a:cubicBezTo>
                  <a:pt x="66" y="85"/>
                  <a:pt x="66" y="85"/>
                  <a:pt x="66" y="85"/>
                </a:cubicBezTo>
                <a:cubicBezTo>
                  <a:pt x="59" y="85"/>
                  <a:pt x="59" y="85"/>
                  <a:pt x="59" y="85"/>
                </a:cubicBezTo>
                <a:cubicBezTo>
                  <a:pt x="60" y="55"/>
                  <a:pt x="60" y="55"/>
                  <a:pt x="60" y="55"/>
                </a:cubicBezTo>
                <a:cubicBezTo>
                  <a:pt x="60" y="53"/>
                  <a:pt x="60" y="53"/>
                  <a:pt x="60" y="53"/>
                </a:cubicBezTo>
                <a:cubicBezTo>
                  <a:pt x="57" y="55"/>
                  <a:pt x="57" y="55"/>
                  <a:pt x="57" y="55"/>
                </a:cubicBezTo>
                <a:cubicBezTo>
                  <a:pt x="58" y="92"/>
                  <a:pt x="58" y="92"/>
                  <a:pt x="58" y="92"/>
                </a:cubicBezTo>
                <a:cubicBezTo>
                  <a:pt x="49" y="92"/>
                  <a:pt x="49" y="92"/>
                  <a:pt x="49" y="92"/>
                </a:cubicBezTo>
                <a:cubicBezTo>
                  <a:pt x="47" y="61"/>
                  <a:pt x="47" y="61"/>
                  <a:pt x="47" y="61"/>
                </a:cubicBezTo>
                <a:cubicBezTo>
                  <a:pt x="43" y="61"/>
                  <a:pt x="43" y="61"/>
                  <a:pt x="43" y="61"/>
                </a:cubicBezTo>
                <a:cubicBezTo>
                  <a:pt x="42" y="92"/>
                  <a:pt x="42" y="92"/>
                  <a:pt x="42" y="92"/>
                </a:cubicBezTo>
                <a:cubicBezTo>
                  <a:pt x="32" y="92"/>
                  <a:pt x="32" y="92"/>
                  <a:pt x="32" y="92"/>
                </a:cubicBezTo>
                <a:cubicBezTo>
                  <a:pt x="34" y="55"/>
                  <a:pt x="34" y="55"/>
                  <a:pt x="34" y="55"/>
                </a:cubicBezTo>
                <a:cubicBezTo>
                  <a:pt x="30" y="52"/>
                  <a:pt x="30" y="52"/>
                  <a:pt x="30" y="52"/>
                </a:cubicBezTo>
                <a:close/>
                <a:moveTo>
                  <a:pt x="21" y="10"/>
                </a:moveTo>
                <a:cubicBezTo>
                  <a:pt x="16" y="10"/>
                  <a:pt x="13" y="14"/>
                  <a:pt x="13" y="18"/>
                </a:cubicBezTo>
                <a:cubicBezTo>
                  <a:pt x="13" y="23"/>
                  <a:pt x="16" y="27"/>
                  <a:pt x="21" y="27"/>
                </a:cubicBezTo>
                <a:cubicBezTo>
                  <a:pt x="25" y="27"/>
                  <a:pt x="29" y="23"/>
                  <a:pt x="29" y="18"/>
                </a:cubicBezTo>
                <a:cubicBezTo>
                  <a:pt x="29" y="14"/>
                  <a:pt x="25" y="10"/>
                  <a:pt x="21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79" name="Freeform 101"/>
          <p:cNvSpPr>
            <a:spLocks noChangeArrowheads="1"/>
          </p:cNvSpPr>
          <p:nvPr/>
        </p:nvSpPr>
        <p:spPr bwMode="auto">
          <a:xfrm>
            <a:off x="5450418" y="2277533"/>
            <a:ext cx="416983" cy="400051"/>
          </a:xfrm>
          <a:custGeom>
            <a:avLst/>
            <a:gdLst>
              <a:gd name="T0" fmla="*/ 306681587 w 91"/>
              <a:gd name="T1" fmla="*/ 291258479 h 88"/>
              <a:gd name="T2" fmla="*/ 601568521 w 91"/>
              <a:gd name="T3" fmla="*/ 291258479 h 88"/>
              <a:gd name="T4" fmla="*/ 625161263 w 91"/>
              <a:gd name="T5" fmla="*/ 244657122 h 88"/>
              <a:gd name="T6" fmla="*/ 577979216 w 91"/>
              <a:gd name="T7" fmla="*/ 174755087 h 88"/>
              <a:gd name="T8" fmla="*/ 589773869 w 91"/>
              <a:gd name="T9" fmla="*/ 34951017 h 88"/>
              <a:gd name="T10" fmla="*/ 684137963 w 91"/>
              <a:gd name="T11" fmla="*/ 0 h 88"/>
              <a:gd name="T12" fmla="*/ 790296709 w 91"/>
              <a:gd name="T13" fmla="*/ 34951017 h 88"/>
              <a:gd name="T14" fmla="*/ 802091362 w 91"/>
              <a:gd name="T15" fmla="*/ 174755087 h 88"/>
              <a:gd name="T16" fmla="*/ 754909315 w 91"/>
              <a:gd name="T17" fmla="*/ 244657122 h 88"/>
              <a:gd name="T18" fmla="*/ 766707404 w 91"/>
              <a:gd name="T19" fmla="*/ 291258479 h 88"/>
              <a:gd name="T20" fmla="*/ 1073388991 w 91"/>
              <a:gd name="T21" fmla="*/ 291258479 h 88"/>
              <a:gd name="T22" fmla="*/ 1073388991 w 91"/>
              <a:gd name="T23" fmla="*/ 570863209 h 88"/>
              <a:gd name="T24" fmla="*/ 1026206944 w 91"/>
              <a:gd name="T25" fmla="*/ 594163888 h 88"/>
              <a:gd name="T26" fmla="*/ 955435592 w 91"/>
              <a:gd name="T27" fmla="*/ 547562531 h 88"/>
              <a:gd name="T28" fmla="*/ 825684103 w 91"/>
              <a:gd name="T29" fmla="*/ 559212870 h 88"/>
              <a:gd name="T30" fmla="*/ 790296709 w 91"/>
              <a:gd name="T31" fmla="*/ 652415583 h 88"/>
              <a:gd name="T32" fmla="*/ 825684103 w 91"/>
              <a:gd name="T33" fmla="*/ 745618297 h 88"/>
              <a:gd name="T34" fmla="*/ 955435592 w 91"/>
              <a:gd name="T35" fmla="*/ 757268636 h 88"/>
              <a:gd name="T36" fmla="*/ 1026206944 w 91"/>
              <a:gd name="T37" fmla="*/ 710667279 h 88"/>
              <a:gd name="T38" fmla="*/ 1073388991 w 91"/>
              <a:gd name="T39" fmla="*/ 722317618 h 88"/>
              <a:gd name="T40" fmla="*/ 1073388991 w 91"/>
              <a:gd name="T41" fmla="*/ 1025226436 h 88"/>
              <a:gd name="T42" fmla="*/ 754909315 w 91"/>
              <a:gd name="T43" fmla="*/ 1025226436 h 88"/>
              <a:gd name="T44" fmla="*/ 743114662 w 91"/>
              <a:gd name="T45" fmla="*/ 990275419 h 88"/>
              <a:gd name="T46" fmla="*/ 790296709 w 91"/>
              <a:gd name="T47" fmla="*/ 920373384 h 88"/>
              <a:gd name="T48" fmla="*/ 778502056 w 91"/>
              <a:gd name="T49" fmla="*/ 792219653 h 88"/>
              <a:gd name="T50" fmla="*/ 684137963 w 91"/>
              <a:gd name="T51" fmla="*/ 768918975 h 88"/>
              <a:gd name="T52" fmla="*/ 589773869 w 91"/>
              <a:gd name="T53" fmla="*/ 792219653 h 88"/>
              <a:gd name="T54" fmla="*/ 577979216 w 91"/>
              <a:gd name="T55" fmla="*/ 920373384 h 88"/>
              <a:gd name="T56" fmla="*/ 625161263 w 91"/>
              <a:gd name="T57" fmla="*/ 990275419 h 88"/>
              <a:gd name="T58" fmla="*/ 601568521 w 91"/>
              <a:gd name="T59" fmla="*/ 1025226436 h 88"/>
              <a:gd name="T60" fmla="*/ 306681587 w 91"/>
              <a:gd name="T61" fmla="*/ 1025226436 h 88"/>
              <a:gd name="T62" fmla="*/ 306681587 w 91"/>
              <a:gd name="T63" fmla="*/ 745618297 h 88"/>
              <a:gd name="T64" fmla="*/ 259499540 w 91"/>
              <a:gd name="T65" fmla="*/ 722317618 h 88"/>
              <a:gd name="T66" fmla="*/ 188728188 w 91"/>
              <a:gd name="T67" fmla="*/ 780569314 h 88"/>
              <a:gd name="T68" fmla="*/ 47182047 w 91"/>
              <a:gd name="T69" fmla="*/ 757268636 h 88"/>
              <a:gd name="T70" fmla="*/ 11794653 w 91"/>
              <a:gd name="T71" fmla="*/ 664065923 h 88"/>
              <a:gd name="T72" fmla="*/ 47182047 w 91"/>
              <a:gd name="T73" fmla="*/ 559212870 h 88"/>
              <a:gd name="T74" fmla="*/ 188728188 w 91"/>
              <a:gd name="T75" fmla="*/ 547562531 h 88"/>
              <a:gd name="T76" fmla="*/ 259499540 w 91"/>
              <a:gd name="T77" fmla="*/ 594163888 h 88"/>
              <a:gd name="T78" fmla="*/ 306681587 w 91"/>
              <a:gd name="T79" fmla="*/ 570863209 h 88"/>
              <a:gd name="T80" fmla="*/ 306681587 w 91"/>
              <a:gd name="T81" fmla="*/ 291258479 h 8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91"/>
              <a:gd name="T124" fmla="*/ 0 h 88"/>
              <a:gd name="T125" fmla="*/ 91 w 91"/>
              <a:gd name="T126" fmla="*/ 88 h 8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91" h="88">
                <a:moveTo>
                  <a:pt x="26" y="25"/>
                </a:moveTo>
                <a:cubicBezTo>
                  <a:pt x="51" y="25"/>
                  <a:pt x="51" y="25"/>
                  <a:pt x="51" y="25"/>
                </a:cubicBezTo>
                <a:cubicBezTo>
                  <a:pt x="52" y="24"/>
                  <a:pt x="54" y="23"/>
                  <a:pt x="53" y="21"/>
                </a:cubicBezTo>
                <a:cubicBezTo>
                  <a:pt x="52" y="19"/>
                  <a:pt x="50" y="17"/>
                  <a:pt x="49" y="15"/>
                </a:cubicBezTo>
                <a:cubicBezTo>
                  <a:pt x="46" y="12"/>
                  <a:pt x="47" y="6"/>
                  <a:pt x="50" y="3"/>
                </a:cubicBezTo>
                <a:cubicBezTo>
                  <a:pt x="53" y="0"/>
                  <a:pt x="58" y="0"/>
                  <a:pt x="58" y="0"/>
                </a:cubicBezTo>
                <a:cubicBezTo>
                  <a:pt x="58" y="0"/>
                  <a:pt x="64" y="0"/>
                  <a:pt x="67" y="3"/>
                </a:cubicBezTo>
                <a:cubicBezTo>
                  <a:pt x="70" y="6"/>
                  <a:pt x="70" y="12"/>
                  <a:pt x="68" y="15"/>
                </a:cubicBezTo>
                <a:cubicBezTo>
                  <a:pt x="67" y="17"/>
                  <a:pt x="65" y="19"/>
                  <a:pt x="64" y="21"/>
                </a:cubicBezTo>
                <a:cubicBezTo>
                  <a:pt x="63" y="23"/>
                  <a:pt x="64" y="24"/>
                  <a:pt x="65" y="25"/>
                </a:cubicBezTo>
                <a:cubicBezTo>
                  <a:pt x="91" y="25"/>
                  <a:pt x="91" y="25"/>
                  <a:pt x="91" y="25"/>
                </a:cubicBezTo>
                <a:cubicBezTo>
                  <a:pt x="91" y="49"/>
                  <a:pt x="91" y="49"/>
                  <a:pt x="91" y="49"/>
                </a:cubicBezTo>
                <a:cubicBezTo>
                  <a:pt x="90" y="50"/>
                  <a:pt x="89" y="51"/>
                  <a:pt x="87" y="51"/>
                </a:cubicBezTo>
                <a:cubicBezTo>
                  <a:pt x="85" y="50"/>
                  <a:pt x="83" y="48"/>
                  <a:pt x="81" y="47"/>
                </a:cubicBezTo>
                <a:cubicBezTo>
                  <a:pt x="78" y="44"/>
                  <a:pt x="73" y="45"/>
                  <a:pt x="70" y="48"/>
                </a:cubicBezTo>
                <a:cubicBezTo>
                  <a:pt x="67" y="51"/>
                  <a:pt x="67" y="56"/>
                  <a:pt x="67" y="56"/>
                </a:cubicBezTo>
                <a:cubicBezTo>
                  <a:pt x="67" y="56"/>
                  <a:pt x="67" y="61"/>
                  <a:pt x="70" y="64"/>
                </a:cubicBezTo>
                <a:cubicBezTo>
                  <a:pt x="73" y="67"/>
                  <a:pt x="78" y="67"/>
                  <a:pt x="81" y="65"/>
                </a:cubicBezTo>
                <a:cubicBezTo>
                  <a:pt x="83" y="64"/>
                  <a:pt x="85" y="62"/>
                  <a:pt x="87" y="61"/>
                </a:cubicBezTo>
                <a:cubicBezTo>
                  <a:pt x="89" y="60"/>
                  <a:pt x="90" y="61"/>
                  <a:pt x="91" y="62"/>
                </a:cubicBezTo>
                <a:cubicBezTo>
                  <a:pt x="91" y="88"/>
                  <a:pt x="91" y="88"/>
                  <a:pt x="91" y="88"/>
                </a:cubicBezTo>
                <a:cubicBezTo>
                  <a:pt x="64" y="88"/>
                  <a:pt x="64" y="88"/>
                  <a:pt x="64" y="88"/>
                </a:cubicBezTo>
                <a:cubicBezTo>
                  <a:pt x="63" y="88"/>
                  <a:pt x="62" y="86"/>
                  <a:pt x="63" y="85"/>
                </a:cubicBezTo>
                <a:cubicBezTo>
                  <a:pt x="63" y="83"/>
                  <a:pt x="65" y="81"/>
                  <a:pt x="67" y="79"/>
                </a:cubicBezTo>
                <a:cubicBezTo>
                  <a:pt x="69" y="76"/>
                  <a:pt x="68" y="71"/>
                  <a:pt x="66" y="68"/>
                </a:cubicBezTo>
                <a:cubicBezTo>
                  <a:pt x="63" y="65"/>
                  <a:pt x="58" y="66"/>
                  <a:pt x="58" y="66"/>
                </a:cubicBezTo>
                <a:cubicBezTo>
                  <a:pt x="58" y="66"/>
                  <a:pt x="53" y="65"/>
                  <a:pt x="50" y="68"/>
                </a:cubicBezTo>
                <a:cubicBezTo>
                  <a:pt x="47" y="71"/>
                  <a:pt x="46" y="76"/>
                  <a:pt x="49" y="79"/>
                </a:cubicBezTo>
                <a:cubicBezTo>
                  <a:pt x="50" y="81"/>
                  <a:pt x="52" y="83"/>
                  <a:pt x="53" y="85"/>
                </a:cubicBezTo>
                <a:cubicBezTo>
                  <a:pt x="53" y="86"/>
                  <a:pt x="52" y="88"/>
                  <a:pt x="51" y="88"/>
                </a:cubicBezTo>
                <a:cubicBezTo>
                  <a:pt x="26" y="88"/>
                  <a:pt x="26" y="88"/>
                  <a:pt x="26" y="88"/>
                </a:cubicBezTo>
                <a:cubicBezTo>
                  <a:pt x="26" y="64"/>
                  <a:pt x="26" y="64"/>
                  <a:pt x="26" y="64"/>
                </a:cubicBezTo>
                <a:cubicBezTo>
                  <a:pt x="26" y="63"/>
                  <a:pt x="24" y="61"/>
                  <a:pt x="22" y="62"/>
                </a:cubicBezTo>
                <a:cubicBezTo>
                  <a:pt x="20" y="63"/>
                  <a:pt x="18" y="65"/>
                  <a:pt x="16" y="67"/>
                </a:cubicBezTo>
                <a:cubicBezTo>
                  <a:pt x="12" y="69"/>
                  <a:pt x="7" y="69"/>
                  <a:pt x="4" y="65"/>
                </a:cubicBezTo>
                <a:cubicBezTo>
                  <a:pt x="0" y="62"/>
                  <a:pt x="1" y="57"/>
                  <a:pt x="1" y="57"/>
                </a:cubicBezTo>
                <a:cubicBezTo>
                  <a:pt x="1" y="57"/>
                  <a:pt x="0" y="51"/>
                  <a:pt x="4" y="48"/>
                </a:cubicBezTo>
                <a:cubicBezTo>
                  <a:pt x="7" y="45"/>
                  <a:pt x="12" y="44"/>
                  <a:pt x="16" y="47"/>
                </a:cubicBezTo>
                <a:cubicBezTo>
                  <a:pt x="18" y="48"/>
                  <a:pt x="20" y="50"/>
                  <a:pt x="22" y="51"/>
                </a:cubicBezTo>
                <a:cubicBezTo>
                  <a:pt x="24" y="52"/>
                  <a:pt x="26" y="51"/>
                  <a:pt x="26" y="49"/>
                </a:cubicBezTo>
                <a:lnTo>
                  <a:pt x="26" y="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80" name="Freeform 102"/>
          <p:cNvSpPr>
            <a:spLocks noEditPoints="1" noChangeArrowheads="1"/>
          </p:cNvSpPr>
          <p:nvPr/>
        </p:nvSpPr>
        <p:spPr bwMode="auto">
          <a:xfrm>
            <a:off x="6356351" y="2283885"/>
            <a:ext cx="355600" cy="436033"/>
          </a:xfrm>
          <a:custGeom>
            <a:avLst/>
            <a:gdLst>
              <a:gd name="T0" fmla="*/ 915382785 w 78"/>
              <a:gd name="T1" fmla="*/ 342481234 h 95"/>
              <a:gd name="T2" fmla="*/ 833232346 w 78"/>
              <a:gd name="T3" fmla="*/ 1003825613 h 95"/>
              <a:gd name="T4" fmla="*/ 715877508 w 78"/>
              <a:gd name="T5" fmla="*/ 1121922946 h 95"/>
              <a:gd name="T6" fmla="*/ 199505277 w 78"/>
              <a:gd name="T7" fmla="*/ 1121922946 h 95"/>
              <a:gd name="T8" fmla="*/ 82150438 w 78"/>
              <a:gd name="T9" fmla="*/ 1003825613 h 95"/>
              <a:gd name="T10" fmla="*/ 0 w 78"/>
              <a:gd name="T11" fmla="*/ 342481234 h 95"/>
              <a:gd name="T12" fmla="*/ 82150438 w 78"/>
              <a:gd name="T13" fmla="*/ 342481234 h 95"/>
              <a:gd name="T14" fmla="*/ 23473019 w 78"/>
              <a:gd name="T15" fmla="*/ 141715423 h 95"/>
              <a:gd name="T16" fmla="*/ 11734800 w 78"/>
              <a:gd name="T17" fmla="*/ 106286567 h 95"/>
              <a:gd name="T18" fmla="*/ 58677419 w 78"/>
              <a:gd name="T19" fmla="*/ 94479244 h 95"/>
              <a:gd name="T20" fmla="*/ 387275754 w 78"/>
              <a:gd name="T21" fmla="*/ 0 h 95"/>
              <a:gd name="T22" fmla="*/ 399013973 w 78"/>
              <a:gd name="T23" fmla="*/ 0 h 95"/>
              <a:gd name="T24" fmla="*/ 410748773 w 78"/>
              <a:gd name="T25" fmla="*/ 0 h 95"/>
              <a:gd name="T26" fmla="*/ 610254050 w 78"/>
              <a:gd name="T27" fmla="*/ 47239622 h 95"/>
              <a:gd name="T28" fmla="*/ 633727069 w 78"/>
              <a:gd name="T29" fmla="*/ 59046946 h 95"/>
              <a:gd name="T30" fmla="*/ 645461869 w 78"/>
              <a:gd name="T31" fmla="*/ 82668478 h 95"/>
              <a:gd name="T32" fmla="*/ 715877508 w 78"/>
              <a:gd name="T33" fmla="*/ 342481234 h 95"/>
              <a:gd name="T34" fmla="*/ 915382785 w 78"/>
              <a:gd name="T35" fmla="*/ 342481234 h 95"/>
              <a:gd name="T36" fmla="*/ 352071354 w 78"/>
              <a:gd name="T37" fmla="*/ 696773234 h 95"/>
              <a:gd name="T38" fmla="*/ 575049650 w 78"/>
              <a:gd name="T39" fmla="*/ 555057811 h 95"/>
              <a:gd name="T40" fmla="*/ 575049650 w 78"/>
              <a:gd name="T41" fmla="*/ 507818189 h 95"/>
              <a:gd name="T42" fmla="*/ 199505277 w 78"/>
              <a:gd name="T43" fmla="*/ 696773234 h 95"/>
              <a:gd name="T44" fmla="*/ 105620038 w 78"/>
              <a:gd name="T45" fmla="*/ 696773234 h 95"/>
              <a:gd name="T46" fmla="*/ 187770477 w 78"/>
              <a:gd name="T47" fmla="*/ 779441712 h 95"/>
              <a:gd name="T48" fmla="*/ 269920915 w 78"/>
              <a:gd name="T49" fmla="*/ 850299424 h 95"/>
              <a:gd name="T50" fmla="*/ 363806154 w 78"/>
              <a:gd name="T51" fmla="*/ 779441712 h 95"/>
              <a:gd name="T52" fmla="*/ 445956592 w 78"/>
              <a:gd name="T53" fmla="*/ 696773234 h 95"/>
              <a:gd name="T54" fmla="*/ 352071354 w 78"/>
              <a:gd name="T55" fmla="*/ 696773234 h 95"/>
              <a:gd name="T56" fmla="*/ 633727069 w 78"/>
              <a:gd name="T57" fmla="*/ 614104757 h 95"/>
              <a:gd name="T58" fmla="*/ 539841831 w 78"/>
              <a:gd name="T59" fmla="*/ 696773234 h 95"/>
              <a:gd name="T60" fmla="*/ 457691392 w 78"/>
              <a:gd name="T61" fmla="*/ 767630946 h 95"/>
              <a:gd name="T62" fmla="*/ 551576631 w 78"/>
              <a:gd name="T63" fmla="*/ 767630946 h 95"/>
              <a:gd name="T64" fmla="*/ 340333135 w 78"/>
              <a:gd name="T65" fmla="*/ 921157135 h 95"/>
              <a:gd name="T66" fmla="*/ 340333135 w 78"/>
              <a:gd name="T67" fmla="*/ 956585991 h 95"/>
              <a:gd name="T68" fmla="*/ 715877508 w 78"/>
              <a:gd name="T69" fmla="*/ 767630946 h 95"/>
              <a:gd name="T70" fmla="*/ 809762746 w 78"/>
              <a:gd name="T71" fmla="*/ 767630946 h 95"/>
              <a:gd name="T72" fmla="*/ 715877508 w 78"/>
              <a:gd name="T73" fmla="*/ 696773234 h 95"/>
              <a:gd name="T74" fmla="*/ 633727069 w 78"/>
              <a:gd name="T75" fmla="*/ 614104757 h 95"/>
              <a:gd name="T76" fmla="*/ 164300877 w 78"/>
              <a:gd name="T77" fmla="*/ 342481234 h 95"/>
              <a:gd name="T78" fmla="*/ 621992269 w 78"/>
              <a:gd name="T79" fmla="*/ 342481234 h 95"/>
              <a:gd name="T80" fmla="*/ 575049650 w 78"/>
              <a:gd name="T81" fmla="*/ 153526189 h 95"/>
              <a:gd name="T82" fmla="*/ 422483573 w 78"/>
              <a:gd name="T83" fmla="*/ 200765811 h 95"/>
              <a:gd name="T84" fmla="*/ 375540954 w 78"/>
              <a:gd name="T85" fmla="*/ 177144279 h 95"/>
              <a:gd name="T86" fmla="*/ 352071354 w 78"/>
              <a:gd name="T87" fmla="*/ 106286567 h 95"/>
              <a:gd name="T88" fmla="*/ 117358258 w 78"/>
              <a:gd name="T89" fmla="*/ 165336955 h 95"/>
              <a:gd name="T90" fmla="*/ 164300877 w 78"/>
              <a:gd name="T91" fmla="*/ 342481234 h 95"/>
              <a:gd name="T92" fmla="*/ 422483573 w 78"/>
              <a:gd name="T93" fmla="*/ 94479244 h 95"/>
              <a:gd name="T94" fmla="*/ 434218373 w 78"/>
              <a:gd name="T95" fmla="*/ 129908099 h 95"/>
              <a:gd name="T96" fmla="*/ 481164412 w 78"/>
              <a:gd name="T97" fmla="*/ 106286567 h 95"/>
              <a:gd name="T98" fmla="*/ 422483573 w 78"/>
              <a:gd name="T99" fmla="*/ 94479244 h 95"/>
              <a:gd name="T100" fmla="*/ 164300877 w 78"/>
              <a:gd name="T101" fmla="*/ 224383901 h 95"/>
              <a:gd name="T102" fmla="*/ 176035677 w 78"/>
              <a:gd name="T103" fmla="*/ 259812757 h 95"/>
              <a:gd name="T104" fmla="*/ 352071354 w 78"/>
              <a:gd name="T105" fmla="*/ 212576577 h 95"/>
              <a:gd name="T106" fmla="*/ 340333135 w 78"/>
              <a:gd name="T107" fmla="*/ 165336955 h 95"/>
              <a:gd name="T108" fmla="*/ 164300877 w 78"/>
              <a:gd name="T109" fmla="*/ 224383901 h 95"/>
              <a:gd name="T110" fmla="*/ 187770477 w 78"/>
              <a:gd name="T111" fmla="*/ 283434289 h 95"/>
              <a:gd name="T112" fmla="*/ 199505277 w 78"/>
              <a:gd name="T113" fmla="*/ 318863144 h 95"/>
              <a:gd name="T114" fmla="*/ 375540954 w 78"/>
              <a:gd name="T115" fmla="*/ 271623523 h 95"/>
              <a:gd name="T116" fmla="*/ 363806154 w 78"/>
              <a:gd name="T117" fmla="*/ 236194667 h 95"/>
              <a:gd name="T118" fmla="*/ 187770477 w 78"/>
              <a:gd name="T119" fmla="*/ 283434289 h 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78"/>
              <a:gd name="T181" fmla="*/ 0 h 95"/>
              <a:gd name="T182" fmla="*/ 78 w 78"/>
              <a:gd name="T183" fmla="*/ 95 h 9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78" h="95">
                <a:moveTo>
                  <a:pt x="78" y="29"/>
                </a:moveTo>
                <a:cubicBezTo>
                  <a:pt x="71" y="85"/>
                  <a:pt x="71" y="85"/>
                  <a:pt x="71" y="85"/>
                </a:cubicBezTo>
                <a:cubicBezTo>
                  <a:pt x="71" y="90"/>
                  <a:pt x="67" y="95"/>
                  <a:pt x="61" y="95"/>
                </a:cubicBezTo>
                <a:cubicBezTo>
                  <a:pt x="17" y="95"/>
                  <a:pt x="17" y="95"/>
                  <a:pt x="17" y="95"/>
                </a:cubicBezTo>
                <a:cubicBezTo>
                  <a:pt x="11" y="95"/>
                  <a:pt x="8" y="90"/>
                  <a:pt x="7" y="85"/>
                </a:cubicBezTo>
                <a:cubicBezTo>
                  <a:pt x="0" y="29"/>
                  <a:pt x="0" y="29"/>
                  <a:pt x="0" y="29"/>
                </a:cubicBezTo>
                <a:cubicBezTo>
                  <a:pt x="7" y="29"/>
                  <a:pt x="7" y="29"/>
                  <a:pt x="7" y="29"/>
                </a:cubicBezTo>
                <a:cubicBezTo>
                  <a:pt x="2" y="12"/>
                  <a:pt x="2" y="12"/>
                  <a:pt x="2" y="12"/>
                </a:cubicBezTo>
                <a:cubicBezTo>
                  <a:pt x="1" y="9"/>
                  <a:pt x="1" y="9"/>
                  <a:pt x="1" y="9"/>
                </a:cubicBezTo>
                <a:cubicBezTo>
                  <a:pt x="5" y="8"/>
                  <a:pt x="5" y="8"/>
                  <a:pt x="5" y="8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52" y="4"/>
                  <a:pt x="52" y="4"/>
                  <a:pt x="52" y="4"/>
                </a:cubicBezTo>
                <a:cubicBezTo>
                  <a:pt x="54" y="5"/>
                  <a:pt x="54" y="5"/>
                  <a:pt x="54" y="5"/>
                </a:cubicBezTo>
                <a:cubicBezTo>
                  <a:pt x="55" y="7"/>
                  <a:pt x="55" y="7"/>
                  <a:pt x="55" y="7"/>
                </a:cubicBezTo>
                <a:cubicBezTo>
                  <a:pt x="61" y="29"/>
                  <a:pt x="61" y="29"/>
                  <a:pt x="61" y="29"/>
                </a:cubicBezTo>
                <a:cubicBezTo>
                  <a:pt x="78" y="29"/>
                  <a:pt x="78" y="29"/>
                  <a:pt x="78" y="29"/>
                </a:cubicBezTo>
                <a:close/>
                <a:moveTo>
                  <a:pt x="30" y="59"/>
                </a:moveTo>
                <a:cubicBezTo>
                  <a:pt x="32" y="52"/>
                  <a:pt x="38" y="47"/>
                  <a:pt x="49" y="47"/>
                </a:cubicBezTo>
                <a:cubicBezTo>
                  <a:pt x="49" y="45"/>
                  <a:pt x="49" y="44"/>
                  <a:pt x="49" y="43"/>
                </a:cubicBezTo>
                <a:cubicBezTo>
                  <a:pt x="28" y="40"/>
                  <a:pt x="20" y="47"/>
                  <a:pt x="17" y="59"/>
                </a:cubicBezTo>
                <a:cubicBezTo>
                  <a:pt x="9" y="59"/>
                  <a:pt x="9" y="59"/>
                  <a:pt x="9" y="59"/>
                </a:cubicBezTo>
                <a:cubicBezTo>
                  <a:pt x="16" y="66"/>
                  <a:pt x="16" y="66"/>
                  <a:pt x="16" y="66"/>
                </a:cubicBezTo>
                <a:cubicBezTo>
                  <a:pt x="23" y="72"/>
                  <a:pt x="23" y="72"/>
                  <a:pt x="23" y="72"/>
                </a:cubicBezTo>
                <a:cubicBezTo>
                  <a:pt x="31" y="66"/>
                  <a:pt x="31" y="66"/>
                  <a:pt x="31" y="66"/>
                </a:cubicBezTo>
                <a:cubicBezTo>
                  <a:pt x="38" y="59"/>
                  <a:pt x="38" y="59"/>
                  <a:pt x="38" y="59"/>
                </a:cubicBezTo>
                <a:cubicBezTo>
                  <a:pt x="30" y="59"/>
                  <a:pt x="30" y="59"/>
                  <a:pt x="30" y="59"/>
                </a:cubicBezTo>
                <a:close/>
                <a:moveTo>
                  <a:pt x="54" y="52"/>
                </a:moveTo>
                <a:cubicBezTo>
                  <a:pt x="46" y="59"/>
                  <a:pt x="46" y="59"/>
                  <a:pt x="46" y="59"/>
                </a:cubicBezTo>
                <a:cubicBezTo>
                  <a:pt x="39" y="65"/>
                  <a:pt x="39" y="65"/>
                  <a:pt x="39" y="65"/>
                </a:cubicBezTo>
                <a:cubicBezTo>
                  <a:pt x="47" y="65"/>
                  <a:pt x="47" y="65"/>
                  <a:pt x="47" y="65"/>
                </a:cubicBezTo>
                <a:cubicBezTo>
                  <a:pt x="45" y="72"/>
                  <a:pt x="39" y="77"/>
                  <a:pt x="29" y="78"/>
                </a:cubicBezTo>
                <a:cubicBezTo>
                  <a:pt x="29" y="79"/>
                  <a:pt x="29" y="80"/>
                  <a:pt x="29" y="81"/>
                </a:cubicBezTo>
                <a:cubicBezTo>
                  <a:pt x="49" y="84"/>
                  <a:pt x="58" y="77"/>
                  <a:pt x="61" y="65"/>
                </a:cubicBezTo>
                <a:cubicBezTo>
                  <a:pt x="69" y="65"/>
                  <a:pt x="69" y="65"/>
                  <a:pt x="69" y="65"/>
                </a:cubicBezTo>
                <a:cubicBezTo>
                  <a:pt x="61" y="59"/>
                  <a:pt x="61" y="59"/>
                  <a:pt x="61" y="59"/>
                </a:cubicBezTo>
                <a:cubicBezTo>
                  <a:pt x="54" y="52"/>
                  <a:pt x="54" y="52"/>
                  <a:pt x="54" y="52"/>
                </a:cubicBezTo>
                <a:close/>
                <a:moveTo>
                  <a:pt x="14" y="29"/>
                </a:moveTo>
                <a:cubicBezTo>
                  <a:pt x="53" y="29"/>
                  <a:pt x="53" y="29"/>
                  <a:pt x="53" y="29"/>
                </a:cubicBezTo>
                <a:cubicBezTo>
                  <a:pt x="49" y="13"/>
                  <a:pt x="49" y="13"/>
                  <a:pt x="49" y="13"/>
                </a:cubicBezTo>
                <a:cubicBezTo>
                  <a:pt x="44" y="15"/>
                  <a:pt x="36" y="17"/>
                  <a:pt x="36" y="17"/>
                </a:cubicBezTo>
                <a:cubicBezTo>
                  <a:pt x="32" y="15"/>
                  <a:pt x="32" y="15"/>
                  <a:pt x="32" y="15"/>
                </a:cubicBezTo>
                <a:cubicBezTo>
                  <a:pt x="30" y="9"/>
                  <a:pt x="30" y="9"/>
                  <a:pt x="30" y="9"/>
                </a:cubicBezTo>
                <a:cubicBezTo>
                  <a:pt x="10" y="14"/>
                  <a:pt x="10" y="14"/>
                  <a:pt x="10" y="14"/>
                </a:cubicBezTo>
                <a:cubicBezTo>
                  <a:pt x="14" y="29"/>
                  <a:pt x="14" y="29"/>
                  <a:pt x="14" y="29"/>
                </a:cubicBezTo>
                <a:close/>
                <a:moveTo>
                  <a:pt x="36" y="8"/>
                </a:moveTo>
                <a:cubicBezTo>
                  <a:pt x="37" y="11"/>
                  <a:pt x="37" y="11"/>
                  <a:pt x="37" y="11"/>
                </a:cubicBezTo>
                <a:cubicBezTo>
                  <a:pt x="38" y="10"/>
                  <a:pt x="40" y="10"/>
                  <a:pt x="41" y="9"/>
                </a:cubicBezTo>
                <a:cubicBezTo>
                  <a:pt x="36" y="8"/>
                  <a:pt x="36" y="8"/>
                  <a:pt x="36" y="8"/>
                </a:cubicBezTo>
                <a:close/>
                <a:moveTo>
                  <a:pt x="14" y="19"/>
                </a:moveTo>
                <a:cubicBezTo>
                  <a:pt x="15" y="22"/>
                  <a:pt x="15" y="22"/>
                  <a:pt x="15" y="22"/>
                </a:cubicBezTo>
                <a:cubicBezTo>
                  <a:pt x="30" y="18"/>
                  <a:pt x="30" y="18"/>
                  <a:pt x="30" y="18"/>
                </a:cubicBezTo>
                <a:cubicBezTo>
                  <a:pt x="29" y="14"/>
                  <a:pt x="29" y="14"/>
                  <a:pt x="29" y="14"/>
                </a:cubicBezTo>
                <a:cubicBezTo>
                  <a:pt x="14" y="19"/>
                  <a:pt x="14" y="19"/>
                  <a:pt x="14" y="19"/>
                </a:cubicBezTo>
                <a:close/>
                <a:moveTo>
                  <a:pt x="16" y="24"/>
                </a:moveTo>
                <a:cubicBezTo>
                  <a:pt x="17" y="27"/>
                  <a:pt x="17" y="27"/>
                  <a:pt x="17" y="27"/>
                </a:cubicBezTo>
                <a:cubicBezTo>
                  <a:pt x="32" y="23"/>
                  <a:pt x="32" y="23"/>
                  <a:pt x="32" y="23"/>
                </a:cubicBezTo>
                <a:cubicBezTo>
                  <a:pt x="31" y="20"/>
                  <a:pt x="31" y="20"/>
                  <a:pt x="31" y="20"/>
                </a:cubicBezTo>
                <a:lnTo>
                  <a:pt x="16" y="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81" name="Freeform 103"/>
          <p:cNvSpPr>
            <a:spLocks noEditPoints="1" noChangeArrowheads="1"/>
          </p:cNvSpPr>
          <p:nvPr/>
        </p:nvSpPr>
        <p:spPr bwMode="auto">
          <a:xfrm>
            <a:off x="5441951" y="1490133"/>
            <a:ext cx="442383" cy="340784"/>
          </a:xfrm>
          <a:custGeom>
            <a:avLst/>
            <a:gdLst>
              <a:gd name="T0" fmla="*/ 386032464 w 97"/>
              <a:gd name="T1" fmla="*/ 872669444 h 75"/>
              <a:gd name="T2" fmla="*/ 514707672 w 97"/>
              <a:gd name="T3" fmla="*/ 872669444 h 75"/>
              <a:gd name="T4" fmla="*/ 549801843 w 97"/>
              <a:gd name="T5" fmla="*/ 849397304 h 75"/>
              <a:gd name="T6" fmla="*/ 549801843 w 97"/>
              <a:gd name="T7" fmla="*/ 570145263 h 75"/>
              <a:gd name="T8" fmla="*/ 456217386 w 97"/>
              <a:gd name="T9" fmla="*/ 523600985 h 75"/>
              <a:gd name="T10" fmla="*/ 350938293 w 97"/>
              <a:gd name="T11" fmla="*/ 581779629 h 75"/>
              <a:gd name="T12" fmla="*/ 350938293 w 97"/>
              <a:gd name="T13" fmla="*/ 849397304 h 75"/>
              <a:gd name="T14" fmla="*/ 386032464 w 97"/>
              <a:gd name="T15" fmla="*/ 872669444 h 75"/>
              <a:gd name="T16" fmla="*/ 0 w 97"/>
              <a:gd name="T17" fmla="*/ 570145263 h 75"/>
              <a:gd name="T18" fmla="*/ 432821272 w 97"/>
              <a:gd name="T19" fmla="*/ 325796320 h 75"/>
              <a:gd name="T20" fmla="*/ 456217386 w 97"/>
              <a:gd name="T21" fmla="*/ 302524180 h 75"/>
              <a:gd name="T22" fmla="*/ 479613501 w 97"/>
              <a:gd name="T23" fmla="*/ 325796320 h 75"/>
              <a:gd name="T24" fmla="*/ 608292129 w 97"/>
              <a:gd name="T25" fmla="*/ 395609330 h 75"/>
              <a:gd name="T26" fmla="*/ 947532365 w 97"/>
              <a:gd name="T27" fmla="*/ 104719515 h 75"/>
              <a:gd name="T28" fmla="*/ 900740136 w 97"/>
              <a:gd name="T29" fmla="*/ 46540871 h 75"/>
              <a:gd name="T30" fmla="*/ 1017717287 w 97"/>
              <a:gd name="T31" fmla="*/ 23272139 h 75"/>
              <a:gd name="T32" fmla="*/ 1134697858 w 97"/>
              <a:gd name="T33" fmla="*/ 0 h 75"/>
              <a:gd name="T34" fmla="*/ 1099603687 w 97"/>
              <a:gd name="T35" fmla="*/ 116357289 h 75"/>
              <a:gd name="T36" fmla="*/ 1064509515 w 97"/>
              <a:gd name="T37" fmla="*/ 221076804 h 75"/>
              <a:gd name="T38" fmla="*/ 1017717287 w 97"/>
              <a:gd name="T39" fmla="*/ 174532526 h 75"/>
              <a:gd name="T40" fmla="*/ 643386300 w 97"/>
              <a:gd name="T41" fmla="*/ 488694480 h 75"/>
              <a:gd name="T42" fmla="*/ 619990186 w 97"/>
              <a:gd name="T43" fmla="*/ 511966619 h 75"/>
              <a:gd name="T44" fmla="*/ 584896015 w 97"/>
              <a:gd name="T45" fmla="*/ 500328845 h 75"/>
              <a:gd name="T46" fmla="*/ 456217386 w 97"/>
              <a:gd name="T47" fmla="*/ 418881469 h 75"/>
              <a:gd name="T48" fmla="*/ 58490286 w 97"/>
              <a:gd name="T49" fmla="*/ 663230413 h 75"/>
              <a:gd name="T50" fmla="*/ 0 w 97"/>
              <a:gd name="T51" fmla="*/ 570145263 h 75"/>
              <a:gd name="T52" fmla="*/ 116980571 w 97"/>
              <a:gd name="T53" fmla="*/ 872669444 h 75"/>
              <a:gd name="T54" fmla="*/ 245655779 w 97"/>
              <a:gd name="T55" fmla="*/ 872669444 h 75"/>
              <a:gd name="T56" fmla="*/ 269051893 w 97"/>
              <a:gd name="T57" fmla="*/ 849397304 h 75"/>
              <a:gd name="T58" fmla="*/ 269051893 w 97"/>
              <a:gd name="T59" fmla="*/ 628320500 h 75"/>
              <a:gd name="T60" fmla="*/ 81886400 w 97"/>
              <a:gd name="T61" fmla="*/ 744677789 h 75"/>
              <a:gd name="T62" fmla="*/ 81886400 w 97"/>
              <a:gd name="T63" fmla="*/ 849397304 h 75"/>
              <a:gd name="T64" fmla="*/ 116980571 w 97"/>
              <a:gd name="T65" fmla="*/ 872669444 h 75"/>
              <a:gd name="T66" fmla="*/ 655084357 w 97"/>
              <a:gd name="T67" fmla="*/ 872669444 h 75"/>
              <a:gd name="T68" fmla="*/ 783759565 w 97"/>
              <a:gd name="T69" fmla="*/ 872669444 h 75"/>
              <a:gd name="T70" fmla="*/ 818853736 w 97"/>
              <a:gd name="T71" fmla="*/ 849397304 h 75"/>
              <a:gd name="T72" fmla="*/ 818853736 w 97"/>
              <a:gd name="T73" fmla="*/ 453787974 h 75"/>
              <a:gd name="T74" fmla="*/ 818853736 w 97"/>
              <a:gd name="T75" fmla="*/ 453787974 h 75"/>
              <a:gd name="T76" fmla="*/ 631688243 w 97"/>
              <a:gd name="T77" fmla="*/ 616686134 h 75"/>
              <a:gd name="T78" fmla="*/ 619990186 w 97"/>
              <a:gd name="T79" fmla="*/ 605051768 h 75"/>
              <a:gd name="T80" fmla="*/ 619990186 w 97"/>
              <a:gd name="T81" fmla="*/ 849397304 h 75"/>
              <a:gd name="T82" fmla="*/ 655084357 w 97"/>
              <a:gd name="T83" fmla="*/ 872669444 h 75"/>
              <a:gd name="T84" fmla="*/ 924136251 w 97"/>
              <a:gd name="T85" fmla="*/ 872669444 h 75"/>
              <a:gd name="T86" fmla="*/ 1052811458 w 97"/>
              <a:gd name="T87" fmla="*/ 872669444 h 75"/>
              <a:gd name="T88" fmla="*/ 1087905630 w 97"/>
              <a:gd name="T89" fmla="*/ 849397304 h 75"/>
              <a:gd name="T90" fmla="*/ 1087905630 w 97"/>
              <a:gd name="T91" fmla="*/ 372340598 h 75"/>
              <a:gd name="T92" fmla="*/ 1006019230 w 97"/>
              <a:gd name="T93" fmla="*/ 279255449 h 75"/>
              <a:gd name="T94" fmla="*/ 900740136 w 97"/>
              <a:gd name="T95" fmla="*/ 383974964 h 75"/>
              <a:gd name="T96" fmla="*/ 900740136 w 97"/>
              <a:gd name="T97" fmla="*/ 849397304 h 75"/>
              <a:gd name="T98" fmla="*/ 924136251 w 97"/>
              <a:gd name="T99" fmla="*/ 872669444 h 75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97"/>
              <a:gd name="T151" fmla="*/ 0 h 75"/>
              <a:gd name="T152" fmla="*/ 97 w 97"/>
              <a:gd name="T153" fmla="*/ 75 h 75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97" h="75">
                <a:moveTo>
                  <a:pt x="33" y="75"/>
                </a:moveTo>
                <a:cubicBezTo>
                  <a:pt x="37" y="75"/>
                  <a:pt x="40" y="75"/>
                  <a:pt x="44" y="75"/>
                </a:cubicBezTo>
                <a:cubicBezTo>
                  <a:pt x="45" y="75"/>
                  <a:pt x="47" y="74"/>
                  <a:pt x="47" y="73"/>
                </a:cubicBezTo>
                <a:cubicBezTo>
                  <a:pt x="47" y="49"/>
                  <a:pt x="47" y="49"/>
                  <a:pt x="47" y="49"/>
                </a:cubicBezTo>
                <a:cubicBezTo>
                  <a:pt x="39" y="45"/>
                  <a:pt x="39" y="45"/>
                  <a:pt x="39" y="45"/>
                </a:cubicBezTo>
                <a:cubicBezTo>
                  <a:pt x="30" y="50"/>
                  <a:pt x="30" y="50"/>
                  <a:pt x="30" y="50"/>
                </a:cubicBezTo>
                <a:cubicBezTo>
                  <a:pt x="30" y="73"/>
                  <a:pt x="30" y="73"/>
                  <a:pt x="30" y="73"/>
                </a:cubicBezTo>
                <a:cubicBezTo>
                  <a:pt x="30" y="74"/>
                  <a:pt x="31" y="75"/>
                  <a:pt x="33" y="75"/>
                </a:cubicBezTo>
                <a:close/>
                <a:moveTo>
                  <a:pt x="0" y="49"/>
                </a:moveTo>
                <a:cubicBezTo>
                  <a:pt x="37" y="28"/>
                  <a:pt x="37" y="28"/>
                  <a:pt x="37" y="28"/>
                </a:cubicBezTo>
                <a:cubicBezTo>
                  <a:pt x="39" y="26"/>
                  <a:pt x="39" y="26"/>
                  <a:pt x="39" y="26"/>
                </a:cubicBezTo>
                <a:cubicBezTo>
                  <a:pt x="41" y="28"/>
                  <a:pt x="41" y="28"/>
                  <a:pt x="41" y="28"/>
                </a:cubicBezTo>
                <a:cubicBezTo>
                  <a:pt x="52" y="34"/>
                  <a:pt x="52" y="34"/>
                  <a:pt x="52" y="34"/>
                </a:cubicBezTo>
                <a:cubicBezTo>
                  <a:pt x="81" y="9"/>
                  <a:pt x="81" y="9"/>
                  <a:pt x="81" y="9"/>
                </a:cubicBezTo>
                <a:cubicBezTo>
                  <a:pt x="77" y="4"/>
                  <a:pt x="77" y="4"/>
                  <a:pt x="77" y="4"/>
                </a:cubicBezTo>
                <a:cubicBezTo>
                  <a:pt x="87" y="2"/>
                  <a:pt x="87" y="2"/>
                  <a:pt x="87" y="2"/>
                </a:cubicBezTo>
                <a:cubicBezTo>
                  <a:pt x="97" y="0"/>
                  <a:pt x="97" y="0"/>
                  <a:pt x="97" y="0"/>
                </a:cubicBezTo>
                <a:cubicBezTo>
                  <a:pt x="94" y="10"/>
                  <a:pt x="94" y="10"/>
                  <a:pt x="94" y="10"/>
                </a:cubicBezTo>
                <a:cubicBezTo>
                  <a:pt x="91" y="19"/>
                  <a:pt x="91" y="19"/>
                  <a:pt x="91" y="19"/>
                </a:cubicBezTo>
                <a:cubicBezTo>
                  <a:pt x="87" y="15"/>
                  <a:pt x="87" y="15"/>
                  <a:pt x="87" y="15"/>
                </a:cubicBezTo>
                <a:cubicBezTo>
                  <a:pt x="55" y="42"/>
                  <a:pt x="55" y="42"/>
                  <a:pt x="55" y="42"/>
                </a:cubicBezTo>
                <a:cubicBezTo>
                  <a:pt x="53" y="44"/>
                  <a:pt x="53" y="44"/>
                  <a:pt x="53" y="44"/>
                </a:cubicBezTo>
                <a:cubicBezTo>
                  <a:pt x="50" y="43"/>
                  <a:pt x="50" y="43"/>
                  <a:pt x="50" y="43"/>
                </a:cubicBezTo>
                <a:cubicBezTo>
                  <a:pt x="39" y="36"/>
                  <a:pt x="39" y="36"/>
                  <a:pt x="39" y="36"/>
                </a:cubicBezTo>
                <a:cubicBezTo>
                  <a:pt x="5" y="57"/>
                  <a:pt x="5" y="57"/>
                  <a:pt x="5" y="57"/>
                </a:cubicBezTo>
                <a:cubicBezTo>
                  <a:pt x="0" y="49"/>
                  <a:pt x="0" y="49"/>
                  <a:pt x="0" y="49"/>
                </a:cubicBezTo>
                <a:close/>
                <a:moveTo>
                  <a:pt x="10" y="75"/>
                </a:moveTo>
                <a:cubicBezTo>
                  <a:pt x="21" y="75"/>
                  <a:pt x="21" y="75"/>
                  <a:pt x="21" y="75"/>
                </a:cubicBezTo>
                <a:cubicBezTo>
                  <a:pt x="22" y="75"/>
                  <a:pt x="23" y="74"/>
                  <a:pt x="23" y="73"/>
                </a:cubicBezTo>
                <a:cubicBezTo>
                  <a:pt x="23" y="54"/>
                  <a:pt x="23" y="54"/>
                  <a:pt x="23" y="54"/>
                </a:cubicBezTo>
                <a:cubicBezTo>
                  <a:pt x="7" y="64"/>
                  <a:pt x="7" y="64"/>
                  <a:pt x="7" y="64"/>
                </a:cubicBezTo>
                <a:cubicBezTo>
                  <a:pt x="7" y="73"/>
                  <a:pt x="7" y="73"/>
                  <a:pt x="7" y="73"/>
                </a:cubicBezTo>
                <a:cubicBezTo>
                  <a:pt x="7" y="74"/>
                  <a:pt x="8" y="75"/>
                  <a:pt x="10" y="75"/>
                </a:cubicBezTo>
                <a:close/>
                <a:moveTo>
                  <a:pt x="56" y="75"/>
                </a:moveTo>
                <a:cubicBezTo>
                  <a:pt x="60" y="75"/>
                  <a:pt x="63" y="75"/>
                  <a:pt x="67" y="75"/>
                </a:cubicBezTo>
                <a:cubicBezTo>
                  <a:pt x="69" y="75"/>
                  <a:pt x="70" y="74"/>
                  <a:pt x="70" y="73"/>
                </a:cubicBezTo>
                <a:cubicBezTo>
                  <a:pt x="70" y="62"/>
                  <a:pt x="70" y="50"/>
                  <a:pt x="70" y="39"/>
                </a:cubicBezTo>
                <a:cubicBezTo>
                  <a:pt x="70" y="39"/>
                  <a:pt x="70" y="39"/>
                  <a:pt x="70" y="39"/>
                </a:cubicBezTo>
                <a:cubicBezTo>
                  <a:pt x="54" y="53"/>
                  <a:pt x="54" y="53"/>
                  <a:pt x="54" y="53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73"/>
                  <a:pt x="53" y="73"/>
                  <a:pt x="53" y="73"/>
                </a:cubicBezTo>
                <a:cubicBezTo>
                  <a:pt x="53" y="74"/>
                  <a:pt x="55" y="75"/>
                  <a:pt x="56" y="75"/>
                </a:cubicBezTo>
                <a:close/>
                <a:moveTo>
                  <a:pt x="79" y="75"/>
                </a:moveTo>
                <a:cubicBezTo>
                  <a:pt x="90" y="75"/>
                  <a:pt x="90" y="75"/>
                  <a:pt x="90" y="75"/>
                </a:cubicBezTo>
                <a:cubicBezTo>
                  <a:pt x="92" y="75"/>
                  <a:pt x="93" y="74"/>
                  <a:pt x="93" y="73"/>
                </a:cubicBezTo>
                <a:cubicBezTo>
                  <a:pt x="93" y="32"/>
                  <a:pt x="93" y="32"/>
                  <a:pt x="93" y="32"/>
                </a:cubicBezTo>
                <a:cubicBezTo>
                  <a:pt x="86" y="24"/>
                  <a:pt x="86" y="24"/>
                  <a:pt x="86" y="24"/>
                </a:cubicBezTo>
                <a:cubicBezTo>
                  <a:pt x="77" y="33"/>
                  <a:pt x="77" y="33"/>
                  <a:pt x="77" y="33"/>
                </a:cubicBezTo>
                <a:cubicBezTo>
                  <a:pt x="77" y="73"/>
                  <a:pt x="77" y="73"/>
                  <a:pt x="77" y="73"/>
                </a:cubicBezTo>
                <a:cubicBezTo>
                  <a:pt x="77" y="74"/>
                  <a:pt x="78" y="75"/>
                  <a:pt x="79" y="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82" name="Freeform 104"/>
          <p:cNvSpPr>
            <a:spLocks noEditPoints="1" noChangeArrowheads="1"/>
          </p:cNvSpPr>
          <p:nvPr/>
        </p:nvSpPr>
        <p:spPr bwMode="auto">
          <a:xfrm>
            <a:off x="6328833" y="1485900"/>
            <a:ext cx="391584" cy="355600"/>
          </a:xfrm>
          <a:custGeom>
            <a:avLst/>
            <a:gdLst>
              <a:gd name="T0" fmla="*/ 162849996 w 86"/>
              <a:gd name="T1" fmla="*/ 105620038 h 78"/>
              <a:gd name="T2" fmla="*/ 255908112 w 86"/>
              <a:gd name="T3" fmla="*/ 0 h 78"/>
              <a:gd name="T4" fmla="*/ 348962814 w 86"/>
              <a:gd name="T5" fmla="*/ 117358258 h 78"/>
              <a:gd name="T6" fmla="*/ 430389519 w 86"/>
              <a:gd name="T7" fmla="*/ 35207819 h 78"/>
              <a:gd name="T8" fmla="*/ 569973279 w 86"/>
              <a:gd name="T9" fmla="*/ 35207819 h 78"/>
              <a:gd name="T10" fmla="*/ 651399984 w 86"/>
              <a:gd name="T11" fmla="*/ 117358258 h 78"/>
              <a:gd name="T12" fmla="*/ 744454685 w 86"/>
              <a:gd name="T13" fmla="*/ 0 h 78"/>
              <a:gd name="T14" fmla="*/ 849144212 w 86"/>
              <a:gd name="T15" fmla="*/ 105620038 h 78"/>
              <a:gd name="T16" fmla="*/ 1000362798 w 86"/>
              <a:gd name="T17" fmla="*/ 117358258 h 78"/>
              <a:gd name="T18" fmla="*/ 1000362798 w 86"/>
              <a:gd name="T19" fmla="*/ 915382785 h 78"/>
              <a:gd name="T20" fmla="*/ 267539523 w 86"/>
              <a:gd name="T21" fmla="*/ 915382785 h 78"/>
              <a:gd name="T22" fmla="*/ 0 w 86"/>
              <a:gd name="T23" fmla="*/ 809762746 h 78"/>
              <a:gd name="T24" fmla="*/ 0 w 86"/>
              <a:gd name="T25" fmla="*/ 117358258 h 78"/>
              <a:gd name="T26" fmla="*/ 174481407 w 86"/>
              <a:gd name="T27" fmla="*/ 657196669 h 78"/>
              <a:gd name="T28" fmla="*/ 325699992 w 86"/>
              <a:gd name="T29" fmla="*/ 798024527 h 78"/>
              <a:gd name="T30" fmla="*/ 849144212 w 86"/>
              <a:gd name="T31" fmla="*/ 234713096 h 78"/>
              <a:gd name="T32" fmla="*/ 744454685 w 86"/>
              <a:gd name="T33" fmla="*/ 340333135 h 78"/>
              <a:gd name="T34" fmla="*/ 651399984 w 86"/>
              <a:gd name="T35" fmla="*/ 246447896 h 78"/>
              <a:gd name="T36" fmla="*/ 604870926 w 86"/>
              <a:gd name="T37" fmla="*/ 246447896 h 78"/>
              <a:gd name="T38" fmla="*/ 500181399 w 86"/>
              <a:gd name="T39" fmla="*/ 340333135 h 78"/>
              <a:gd name="T40" fmla="*/ 407123283 w 86"/>
              <a:gd name="T41" fmla="*/ 234713096 h 78"/>
              <a:gd name="T42" fmla="*/ 325699992 w 86"/>
              <a:gd name="T43" fmla="*/ 316863535 h 78"/>
              <a:gd name="T44" fmla="*/ 186112818 w 86"/>
              <a:gd name="T45" fmla="*/ 316863535 h 78"/>
              <a:gd name="T46" fmla="*/ 116320938 w 86"/>
              <a:gd name="T47" fmla="*/ 234713096 h 78"/>
              <a:gd name="T48" fmla="*/ 186112818 w 86"/>
              <a:gd name="T49" fmla="*/ 727612308 h 78"/>
              <a:gd name="T50" fmla="*/ 628133747 w 86"/>
              <a:gd name="T51" fmla="*/ 575049650 h 78"/>
              <a:gd name="T52" fmla="*/ 767720922 w 86"/>
              <a:gd name="T53" fmla="*/ 575049650 h 78"/>
              <a:gd name="T54" fmla="*/ 442020930 w 86"/>
              <a:gd name="T55" fmla="*/ 657196669 h 78"/>
              <a:gd name="T56" fmla="*/ 442020930 w 86"/>
              <a:gd name="T57" fmla="*/ 575049650 h 78"/>
              <a:gd name="T58" fmla="*/ 372229050 w 86"/>
              <a:gd name="T59" fmla="*/ 657196669 h 78"/>
              <a:gd name="T60" fmla="*/ 628133747 w 86"/>
              <a:gd name="T61" fmla="*/ 422483573 h 78"/>
              <a:gd name="T62" fmla="*/ 767720922 w 86"/>
              <a:gd name="T63" fmla="*/ 422483573 h 78"/>
              <a:gd name="T64" fmla="*/ 442020930 w 86"/>
              <a:gd name="T65" fmla="*/ 504634012 h 78"/>
              <a:gd name="T66" fmla="*/ 442020930 w 86"/>
              <a:gd name="T67" fmla="*/ 422483573 h 78"/>
              <a:gd name="T68" fmla="*/ 372229050 w 86"/>
              <a:gd name="T69" fmla="*/ 504634012 h 78"/>
              <a:gd name="T70" fmla="*/ 744454685 w 86"/>
              <a:gd name="T71" fmla="*/ 58677419 h 78"/>
              <a:gd name="T72" fmla="*/ 709560453 w 86"/>
              <a:gd name="T73" fmla="*/ 105620038 h 78"/>
              <a:gd name="T74" fmla="*/ 744454685 w 86"/>
              <a:gd name="T75" fmla="*/ 293390515 h 78"/>
              <a:gd name="T76" fmla="*/ 790983743 w 86"/>
              <a:gd name="T77" fmla="*/ 246447896 h 78"/>
              <a:gd name="T78" fmla="*/ 744454685 w 86"/>
              <a:gd name="T79" fmla="*/ 58677419 h 78"/>
              <a:gd name="T80" fmla="*/ 476918577 w 86"/>
              <a:gd name="T81" fmla="*/ 70415638 h 78"/>
              <a:gd name="T82" fmla="*/ 476918577 w 86"/>
              <a:gd name="T83" fmla="*/ 269920915 h 78"/>
              <a:gd name="T84" fmla="*/ 535079046 w 86"/>
              <a:gd name="T85" fmla="*/ 269920915 h 78"/>
              <a:gd name="T86" fmla="*/ 535079046 w 86"/>
              <a:gd name="T87" fmla="*/ 70415638 h 78"/>
              <a:gd name="T88" fmla="*/ 255908112 w 86"/>
              <a:gd name="T89" fmla="*/ 58677419 h 78"/>
              <a:gd name="T90" fmla="*/ 221010465 w 86"/>
              <a:gd name="T91" fmla="*/ 246447896 h 78"/>
              <a:gd name="T92" fmla="*/ 255908112 w 86"/>
              <a:gd name="T93" fmla="*/ 293390515 h 78"/>
              <a:gd name="T94" fmla="*/ 290802345 w 86"/>
              <a:gd name="T95" fmla="*/ 105620038 h 7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86"/>
              <a:gd name="T145" fmla="*/ 0 h 78"/>
              <a:gd name="T146" fmla="*/ 86 w 86"/>
              <a:gd name="T147" fmla="*/ 78 h 7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86" h="78">
                <a:moveTo>
                  <a:pt x="5" y="10"/>
                </a:moveTo>
                <a:cubicBezTo>
                  <a:pt x="14" y="10"/>
                  <a:pt x="14" y="10"/>
                  <a:pt x="14" y="10"/>
                </a:cubicBezTo>
                <a:cubicBezTo>
                  <a:pt x="14" y="9"/>
                  <a:pt x="14" y="9"/>
                  <a:pt x="14" y="9"/>
                </a:cubicBezTo>
                <a:cubicBezTo>
                  <a:pt x="14" y="6"/>
                  <a:pt x="14" y="4"/>
                  <a:pt x="16" y="3"/>
                </a:cubicBezTo>
                <a:cubicBezTo>
                  <a:pt x="18" y="1"/>
                  <a:pt x="20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4" y="0"/>
                  <a:pt x="26" y="1"/>
                  <a:pt x="28" y="3"/>
                </a:cubicBezTo>
                <a:cubicBezTo>
                  <a:pt x="29" y="4"/>
                  <a:pt x="30" y="6"/>
                  <a:pt x="30" y="9"/>
                </a:cubicBezTo>
                <a:cubicBezTo>
                  <a:pt x="30" y="10"/>
                  <a:pt x="30" y="10"/>
                  <a:pt x="30" y="10"/>
                </a:cubicBezTo>
                <a:cubicBezTo>
                  <a:pt x="35" y="10"/>
                  <a:pt x="35" y="10"/>
                  <a:pt x="35" y="10"/>
                </a:cubicBezTo>
                <a:cubicBezTo>
                  <a:pt x="35" y="9"/>
                  <a:pt x="35" y="9"/>
                  <a:pt x="35" y="9"/>
                </a:cubicBezTo>
                <a:cubicBezTo>
                  <a:pt x="35" y="6"/>
                  <a:pt x="36" y="4"/>
                  <a:pt x="37" y="3"/>
                </a:cubicBezTo>
                <a:cubicBezTo>
                  <a:pt x="39" y="1"/>
                  <a:pt x="41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6" y="0"/>
                  <a:pt x="48" y="1"/>
                  <a:pt x="49" y="3"/>
                </a:cubicBezTo>
                <a:cubicBezTo>
                  <a:pt x="51" y="4"/>
                  <a:pt x="52" y="6"/>
                  <a:pt x="52" y="9"/>
                </a:cubicBezTo>
                <a:cubicBezTo>
                  <a:pt x="52" y="10"/>
                  <a:pt x="52" y="10"/>
                  <a:pt x="52" y="10"/>
                </a:cubicBezTo>
                <a:cubicBezTo>
                  <a:pt x="56" y="10"/>
                  <a:pt x="56" y="10"/>
                  <a:pt x="56" y="10"/>
                </a:cubicBezTo>
                <a:cubicBezTo>
                  <a:pt x="56" y="9"/>
                  <a:pt x="56" y="9"/>
                  <a:pt x="56" y="9"/>
                </a:cubicBezTo>
                <a:cubicBezTo>
                  <a:pt x="56" y="6"/>
                  <a:pt x="57" y="4"/>
                  <a:pt x="58" y="3"/>
                </a:cubicBezTo>
                <a:cubicBezTo>
                  <a:pt x="60" y="1"/>
                  <a:pt x="62" y="0"/>
                  <a:pt x="64" y="0"/>
                </a:cubicBezTo>
                <a:cubicBezTo>
                  <a:pt x="64" y="0"/>
                  <a:pt x="64" y="0"/>
                  <a:pt x="64" y="0"/>
                </a:cubicBezTo>
                <a:cubicBezTo>
                  <a:pt x="67" y="0"/>
                  <a:pt x="69" y="1"/>
                  <a:pt x="70" y="3"/>
                </a:cubicBezTo>
                <a:cubicBezTo>
                  <a:pt x="72" y="4"/>
                  <a:pt x="73" y="6"/>
                  <a:pt x="73" y="9"/>
                </a:cubicBezTo>
                <a:cubicBezTo>
                  <a:pt x="73" y="10"/>
                  <a:pt x="73" y="10"/>
                  <a:pt x="73" y="10"/>
                </a:cubicBezTo>
                <a:cubicBezTo>
                  <a:pt x="81" y="10"/>
                  <a:pt x="81" y="10"/>
                  <a:pt x="81" y="10"/>
                </a:cubicBezTo>
                <a:cubicBezTo>
                  <a:pt x="86" y="10"/>
                  <a:pt x="86" y="10"/>
                  <a:pt x="86" y="10"/>
                </a:cubicBezTo>
                <a:cubicBezTo>
                  <a:pt x="86" y="15"/>
                  <a:pt x="86" y="15"/>
                  <a:pt x="86" y="15"/>
                </a:cubicBezTo>
                <a:cubicBezTo>
                  <a:pt x="86" y="73"/>
                  <a:pt x="86" y="73"/>
                  <a:pt x="86" y="73"/>
                </a:cubicBezTo>
                <a:cubicBezTo>
                  <a:pt x="86" y="78"/>
                  <a:pt x="86" y="78"/>
                  <a:pt x="86" y="78"/>
                </a:cubicBezTo>
                <a:cubicBezTo>
                  <a:pt x="81" y="78"/>
                  <a:pt x="81" y="78"/>
                  <a:pt x="81" y="78"/>
                </a:cubicBezTo>
                <a:cubicBezTo>
                  <a:pt x="24" y="78"/>
                  <a:pt x="24" y="78"/>
                  <a:pt x="24" y="78"/>
                </a:cubicBezTo>
                <a:cubicBezTo>
                  <a:pt x="23" y="78"/>
                  <a:pt x="23" y="78"/>
                  <a:pt x="23" y="78"/>
                </a:cubicBezTo>
                <a:cubicBezTo>
                  <a:pt x="22" y="78"/>
                  <a:pt x="22" y="78"/>
                  <a:pt x="22" y="78"/>
                </a:cubicBezTo>
                <a:cubicBezTo>
                  <a:pt x="3" y="71"/>
                  <a:pt x="3" y="71"/>
                  <a:pt x="3" y="71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0"/>
                  <a:pt x="0" y="10"/>
                  <a:pt x="0" y="10"/>
                </a:cubicBezTo>
                <a:cubicBezTo>
                  <a:pt x="5" y="10"/>
                  <a:pt x="5" y="10"/>
                  <a:pt x="5" y="10"/>
                </a:cubicBezTo>
                <a:close/>
                <a:moveTo>
                  <a:pt x="10" y="59"/>
                </a:moveTo>
                <a:cubicBezTo>
                  <a:pt x="15" y="56"/>
                  <a:pt x="15" y="56"/>
                  <a:pt x="15" y="56"/>
                </a:cubicBezTo>
                <a:cubicBezTo>
                  <a:pt x="17" y="55"/>
                  <a:pt x="17" y="55"/>
                  <a:pt x="17" y="55"/>
                </a:cubicBezTo>
                <a:cubicBezTo>
                  <a:pt x="18" y="57"/>
                  <a:pt x="18" y="57"/>
                  <a:pt x="18" y="57"/>
                </a:cubicBezTo>
                <a:cubicBezTo>
                  <a:pt x="28" y="68"/>
                  <a:pt x="28" y="68"/>
                  <a:pt x="28" y="68"/>
                </a:cubicBezTo>
                <a:cubicBezTo>
                  <a:pt x="76" y="68"/>
                  <a:pt x="76" y="68"/>
                  <a:pt x="76" y="68"/>
                </a:cubicBezTo>
                <a:cubicBezTo>
                  <a:pt x="76" y="20"/>
                  <a:pt x="76" y="20"/>
                  <a:pt x="76" y="20"/>
                </a:cubicBezTo>
                <a:cubicBezTo>
                  <a:pt x="73" y="20"/>
                  <a:pt x="73" y="20"/>
                  <a:pt x="73" y="20"/>
                </a:cubicBezTo>
                <a:cubicBezTo>
                  <a:pt x="73" y="21"/>
                  <a:pt x="73" y="21"/>
                  <a:pt x="73" y="21"/>
                </a:cubicBezTo>
                <a:cubicBezTo>
                  <a:pt x="73" y="23"/>
                  <a:pt x="72" y="25"/>
                  <a:pt x="70" y="27"/>
                </a:cubicBezTo>
                <a:cubicBezTo>
                  <a:pt x="69" y="29"/>
                  <a:pt x="67" y="29"/>
                  <a:pt x="64" y="29"/>
                </a:cubicBezTo>
                <a:cubicBezTo>
                  <a:pt x="64" y="29"/>
                  <a:pt x="64" y="29"/>
                  <a:pt x="64" y="29"/>
                </a:cubicBezTo>
                <a:cubicBezTo>
                  <a:pt x="62" y="29"/>
                  <a:pt x="60" y="29"/>
                  <a:pt x="58" y="27"/>
                </a:cubicBezTo>
                <a:cubicBezTo>
                  <a:pt x="57" y="25"/>
                  <a:pt x="56" y="23"/>
                  <a:pt x="56" y="21"/>
                </a:cubicBezTo>
                <a:cubicBezTo>
                  <a:pt x="56" y="20"/>
                  <a:pt x="56" y="20"/>
                  <a:pt x="56" y="20"/>
                </a:cubicBezTo>
                <a:cubicBezTo>
                  <a:pt x="52" y="20"/>
                  <a:pt x="52" y="20"/>
                  <a:pt x="52" y="20"/>
                </a:cubicBezTo>
                <a:cubicBezTo>
                  <a:pt x="52" y="21"/>
                  <a:pt x="52" y="21"/>
                  <a:pt x="52" y="21"/>
                </a:cubicBezTo>
                <a:cubicBezTo>
                  <a:pt x="52" y="23"/>
                  <a:pt x="51" y="25"/>
                  <a:pt x="49" y="27"/>
                </a:cubicBezTo>
                <a:cubicBezTo>
                  <a:pt x="48" y="29"/>
                  <a:pt x="46" y="29"/>
                  <a:pt x="43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41" y="29"/>
                  <a:pt x="39" y="29"/>
                  <a:pt x="37" y="27"/>
                </a:cubicBezTo>
                <a:cubicBezTo>
                  <a:pt x="36" y="25"/>
                  <a:pt x="35" y="23"/>
                  <a:pt x="35" y="21"/>
                </a:cubicBezTo>
                <a:cubicBezTo>
                  <a:pt x="35" y="20"/>
                  <a:pt x="35" y="20"/>
                  <a:pt x="35" y="20"/>
                </a:cubicBezTo>
                <a:cubicBezTo>
                  <a:pt x="30" y="20"/>
                  <a:pt x="30" y="20"/>
                  <a:pt x="30" y="20"/>
                </a:cubicBezTo>
                <a:cubicBezTo>
                  <a:pt x="30" y="21"/>
                  <a:pt x="30" y="21"/>
                  <a:pt x="30" y="21"/>
                </a:cubicBezTo>
                <a:cubicBezTo>
                  <a:pt x="30" y="23"/>
                  <a:pt x="29" y="25"/>
                  <a:pt x="28" y="27"/>
                </a:cubicBezTo>
                <a:cubicBezTo>
                  <a:pt x="26" y="29"/>
                  <a:pt x="24" y="29"/>
                  <a:pt x="22" y="29"/>
                </a:cubicBezTo>
                <a:cubicBezTo>
                  <a:pt x="22" y="29"/>
                  <a:pt x="22" y="29"/>
                  <a:pt x="22" y="29"/>
                </a:cubicBezTo>
                <a:cubicBezTo>
                  <a:pt x="20" y="29"/>
                  <a:pt x="18" y="29"/>
                  <a:pt x="16" y="27"/>
                </a:cubicBezTo>
                <a:cubicBezTo>
                  <a:pt x="14" y="25"/>
                  <a:pt x="14" y="23"/>
                  <a:pt x="14" y="21"/>
                </a:cubicBezTo>
                <a:cubicBezTo>
                  <a:pt x="14" y="20"/>
                  <a:pt x="14" y="20"/>
                  <a:pt x="14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10" y="59"/>
                  <a:pt x="10" y="59"/>
                  <a:pt x="10" y="59"/>
                </a:cubicBezTo>
                <a:close/>
                <a:moveTo>
                  <a:pt x="20" y="67"/>
                </a:moveTo>
                <a:cubicBezTo>
                  <a:pt x="16" y="62"/>
                  <a:pt x="16" y="62"/>
                  <a:pt x="16" y="62"/>
                </a:cubicBezTo>
                <a:cubicBezTo>
                  <a:pt x="13" y="64"/>
                  <a:pt x="13" y="64"/>
                  <a:pt x="13" y="64"/>
                </a:cubicBezTo>
                <a:cubicBezTo>
                  <a:pt x="20" y="67"/>
                  <a:pt x="20" y="67"/>
                  <a:pt x="20" y="67"/>
                </a:cubicBezTo>
                <a:close/>
                <a:moveTo>
                  <a:pt x="54" y="49"/>
                </a:moveTo>
                <a:cubicBezTo>
                  <a:pt x="54" y="56"/>
                  <a:pt x="54" y="56"/>
                  <a:pt x="54" y="56"/>
                </a:cubicBezTo>
                <a:cubicBezTo>
                  <a:pt x="66" y="56"/>
                  <a:pt x="66" y="56"/>
                  <a:pt x="66" y="56"/>
                </a:cubicBezTo>
                <a:cubicBezTo>
                  <a:pt x="66" y="49"/>
                  <a:pt x="66" y="49"/>
                  <a:pt x="66" y="49"/>
                </a:cubicBezTo>
                <a:cubicBezTo>
                  <a:pt x="54" y="49"/>
                  <a:pt x="54" y="49"/>
                  <a:pt x="54" y="49"/>
                </a:cubicBezTo>
                <a:close/>
                <a:moveTo>
                  <a:pt x="38" y="49"/>
                </a:moveTo>
                <a:cubicBezTo>
                  <a:pt x="38" y="56"/>
                  <a:pt x="38" y="56"/>
                  <a:pt x="38" y="56"/>
                </a:cubicBezTo>
                <a:cubicBezTo>
                  <a:pt x="49" y="56"/>
                  <a:pt x="49" y="56"/>
                  <a:pt x="49" y="56"/>
                </a:cubicBezTo>
                <a:cubicBezTo>
                  <a:pt x="49" y="49"/>
                  <a:pt x="49" y="49"/>
                  <a:pt x="49" y="49"/>
                </a:cubicBezTo>
                <a:cubicBezTo>
                  <a:pt x="38" y="49"/>
                  <a:pt x="38" y="49"/>
                  <a:pt x="38" y="49"/>
                </a:cubicBezTo>
                <a:close/>
                <a:moveTo>
                  <a:pt x="20" y="49"/>
                </a:moveTo>
                <a:cubicBezTo>
                  <a:pt x="20" y="56"/>
                  <a:pt x="20" y="56"/>
                  <a:pt x="20" y="56"/>
                </a:cubicBezTo>
                <a:cubicBezTo>
                  <a:pt x="32" y="56"/>
                  <a:pt x="32" y="56"/>
                  <a:pt x="32" y="56"/>
                </a:cubicBezTo>
                <a:cubicBezTo>
                  <a:pt x="32" y="49"/>
                  <a:pt x="32" y="49"/>
                  <a:pt x="32" y="49"/>
                </a:cubicBezTo>
                <a:cubicBezTo>
                  <a:pt x="20" y="49"/>
                  <a:pt x="20" y="49"/>
                  <a:pt x="20" y="49"/>
                </a:cubicBezTo>
                <a:close/>
                <a:moveTo>
                  <a:pt x="54" y="36"/>
                </a:moveTo>
                <a:cubicBezTo>
                  <a:pt x="54" y="43"/>
                  <a:pt x="54" y="43"/>
                  <a:pt x="54" y="43"/>
                </a:cubicBezTo>
                <a:cubicBezTo>
                  <a:pt x="66" y="43"/>
                  <a:pt x="66" y="43"/>
                  <a:pt x="66" y="43"/>
                </a:cubicBezTo>
                <a:cubicBezTo>
                  <a:pt x="66" y="36"/>
                  <a:pt x="66" y="36"/>
                  <a:pt x="66" y="36"/>
                </a:cubicBezTo>
                <a:cubicBezTo>
                  <a:pt x="54" y="36"/>
                  <a:pt x="54" y="36"/>
                  <a:pt x="54" y="36"/>
                </a:cubicBezTo>
                <a:close/>
                <a:moveTo>
                  <a:pt x="38" y="36"/>
                </a:moveTo>
                <a:cubicBezTo>
                  <a:pt x="38" y="43"/>
                  <a:pt x="38" y="43"/>
                  <a:pt x="38" y="43"/>
                </a:cubicBezTo>
                <a:cubicBezTo>
                  <a:pt x="49" y="43"/>
                  <a:pt x="49" y="43"/>
                  <a:pt x="49" y="43"/>
                </a:cubicBezTo>
                <a:cubicBezTo>
                  <a:pt x="49" y="36"/>
                  <a:pt x="49" y="36"/>
                  <a:pt x="49" y="36"/>
                </a:cubicBezTo>
                <a:cubicBezTo>
                  <a:pt x="38" y="36"/>
                  <a:pt x="38" y="36"/>
                  <a:pt x="38" y="36"/>
                </a:cubicBezTo>
                <a:close/>
                <a:moveTo>
                  <a:pt x="20" y="36"/>
                </a:moveTo>
                <a:cubicBezTo>
                  <a:pt x="20" y="43"/>
                  <a:pt x="20" y="43"/>
                  <a:pt x="20" y="43"/>
                </a:cubicBezTo>
                <a:cubicBezTo>
                  <a:pt x="32" y="43"/>
                  <a:pt x="32" y="43"/>
                  <a:pt x="32" y="43"/>
                </a:cubicBezTo>
                <a:cubicBezTo>
                  <a:pt x="32" y="36"/>
                  <a:pt x="32" y="36"/>
                  <a:pt x="32" y="36"/>
                </a:cubicBezTo>
                <a:cubicBezTo>
                  <a:pt x="20" y="36"/>
                  <a:pt x="20" y="36"/>
                  <a:pt x="20" y="36"/>
                </a:cubicBezTo>
                <a:close/>
                <a:moveTo>
                  <a:pt x="64" y="5"/>
                </a:moveTo>
                <a:cubicBezTo>
                  <a:pt x="64" y="5"/>
                  <a:pt x="64" y="5"/>
                  <a:pt x="64" y="5"/>
                </a:cubicBezTo>
                <a:cubicBezTo>
                  <a:pt x="63" y="5"/>
                  <a:pt x="63" y="5"/>
                  <a:pt x="62" y="6"/>
                </a:cubicBezTo>
                <a:cubicBezTo>
                  <a:pt x="61" y="7"/>
                  <a:pt x="61" y="8"/>
                  <a:pt x="61" y="9"/>
                </a:cubicBezTo>
                <a:cubicBezTo>
                  <a:pt x="61" y="21"/>
                  <a:pt x="61" y="21"/>
                  <a:pt x="61" y="21"/>
                </a:cubicBezTo>
                <a:cubicBezTo>
                  <a:pt x="61" y="22"/>
                  <a:pt x="61" y="23"/>
                  <a:pt x="62" y="23"/>
                </a:cubicBezTo>
                <a:cubicBezTo>
                  <a:pt x="63" y="24"/>
                  <a:pt x="63" y="25"/>
                  <a:pt x="64" y="25"/>
                </a:cubicBezTo>
                <a:cubicBezTo>
                  <a:pt x="64" y="25"/>
                  <a:pt x="64" y="25"/>
                  <a:pt x="64" y="25"/>
                </a:cubicBezTo>
                <a:cubicBezTo>
                  <a:pt x="65" y="25"/>
                  <a:pt x="66" y="24"/>
                  <a:pt x="67" y="23"/>
                </a:cubicBezTo>
                <a:cubicBezTo>
                  <a:pt x="67" y="23"/>
                  <a:pt x="68" y="22"/>
                  <a:pt x="68" y="21"/>
                </a:cubicBezTo>
                <a:cubicBezTo>
                  <a:pt x="68" y="9"/>
                  <a:pt x="68" y="9"/>
                  <a:pt x="68" y="9"/>
                </a:cubicBezTo>
                <a:cubicBezTo>
                  <a:pt x="68" y="8"/>
                  <a:pt x="67" y="7"/>
                  <a:pt x="67" y="6"/>
                </a:cubicBezTo>
                <a:cubicBezTo>
                  <a:pt x="66" y="5"/>
                  <a:pt x="65" y="5"/>
                  <a:pt x="64" y="5"/>
                </a:cubicBezTo>
                <a:close/>
                <a:moveTo>
                  <a:pt x="43" y="5"/>
                </a:moveTo>
                <a:cubicBezTo>
                  <a:pt x="43" y="5"/>
                  <a:pt x="43" y="5"/>
                  <a:pt x="43" y="5"/>
                </a:cubicBezTo>
                <a:cubicBezTo>
                  <a:pt x="42" y="5"/>
                  <a:pt x="42" y="5"/>
                  <a:pt x="41" y="6"/>
                </a:cubicBezTo>
                <a:cubicBezTo>
                  <a:pt x="40" y="7"/>
                  <a:pt x="40" y="8"/>
                  <a:pt x="40" y="9"/>
                </a:cubicBezTo>
                <a:cubicBezTo>
                  <a:pt x="40" y="21"/>
                  <a:pt x="40" y="21"/>
                  <a:pt x="40" y="21"/>
                </a:cubicBezTo>
                <a:cubicBezTo>
                  <a:pt x="40" y="22"/>
                  <a:pt x="40" y="23"/>
                  <a:pt x="41" y="23"/>
                </a:cubicBezTo>
                <a:cubicBezTo>
                  <a:pt x="42" y="24"/>
                  <a:pt x="42" y="25"/>
                  <a:pt x="43" y="25"/>
                </a:cubicBezTo>
                <a:cubicBezTo>
                  <a:pt x="43" y="25"/>
                  <a:pt x="43" y="25"/>
                  <a:pt x="43" y="25"/>
                </a:cubicBezTo>
                <a:cubicBezTo>
                  <a:pt x="44" y="25"/>
                  <a:pt x="45" y="24"/>
                  <a:pt x="46" y="23"/>
                </a:cubicBezTo>
                <a:cubicBezTo>
                  <a:pt x="46" y="23"/>
                  <a:pt x="47" y="22"/>
                  <a:pt x="47" y="21"/>
                </a:cubicBezTo>
                <a:cubicBezTo>
                  <a:pt x="47" y="9"/>
                  <a:pt x="47" y="9"/>
                  <a:pt x="47" y="9"/>
                </a:cubicBezTo>
                <a:cubicBezTo>
                  <a:pt x="47" y="8"/>
                  <a:pt x="46" y="7"/>
                  <a:pt x="46" y="6"/>
                </a:cubicBezTo>
                <a:cubicBezTo>
                  <a:pt x="45" y="5"/>
                  <a:pt x="44" y="5"/>
                  <a:pt x="43" y="5"/>
                </a:cubicBezTo>
                <a:close/>
                <a:moveTo>
                  <a:pt x="22" y="5"/>
                </a:moveTo>
                <a:cubicBezTo>
                  <a:pt x="22" y="5"/>
                  <a:pt x="22" y="5"/>
                  <a:pt x="22" y="5"/>
                </a:cubicBezTo>
                <a:cubicBezTo>
                  <a:pt x="21" y="5"/>
                  <a:pt x="20" y="5"/>
                  <a:pt x="20" y="6"/>
                </a:cubicBezTo>
                <a:cubicBezTo>
                  <a:pt x="19" y="7"/>
                  <a:pt x="19" y="8"/>
                  <a:pt x="19" y="9"/>
                </a:cubicBezTo>
                <a:cubicBezTo>
                  <a:pt x="19" y="21"/>
                  <a:pt x="19" y="21"/>
                  <a:pt x="19" y="21"/>
                </a:cubicBezTo>
                <a:cubicBezTo>
                  <a:pt x="19" y="22"/>
                  <a:pt x="19" y="23"/>
                  <a:pt x="20" y="23"/>
                </a:cubicBezTo>
                <a:cubicBezTo>
                  <a:pt x="20" y="24"/>
                  <a:pt x="21" y="25"/>
                  <a:pt x="22" y="25"/>
                </a:cubicBezTo>
                <a:cubicBezTo>
                  <a:pt x="22" y="25"/>
                  <a:pt x="22" y="25"/>
                  <a:pt x="22" y="25"/>
                </a:cubicBezTo>
                <a:cubicBezTo>
                  <a:pt x="23" y="25"/>
                  <a:pt x="24" y="24"/>
                  <a:pt x="24" y="23"/>
                </a:cubicBezTo>
                <a:cubicBezTo>
                  <a:pt x="25" y="23"/>
                  <a:pt x="25" y="22"/>
                  <a:pt x="25" y="21"/>
                </a:cubicBezTo>
                <a:cubicBezTo>
                  <a:pt x="25" y="9"/>
                  <a:pt x="25" y="9"/>
                  <a:pt x="25" y="9"/>
                </a:cubicBezTo>
                <a:cubicBezTo>
                  <a:pt x="25" y="8"/>
                  <a:pt x="25" y="7"/>
                  <a:pt x="24" y="6"/>
                </a:cubicBezTo>
                <a:cubicBezTo>
                  <a:pt x="24" y="5"/>
                  <a:pt x="23" y="5"/>
                  <a:pt x="22" y="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1483" name="Freeform 105"/>
          <p:cNvSpPr>
            <a:spLocks noEditPoints="1" noChangeArrowheads="1"/>
          </p:cNvSpPr>
          <p:nvPr/>
        </p:nvSpPr>
        <p:spPr bwMode="auto">
          <a:xfrm>
            <a:off x="7171267" y="1449918"/>
            <a:ext cx="412751" cy="425449"/>
          </a:xfrm>
          <a:custGeom>
            <a:avLst/>
            <a:gdLst>
              <a:gd name="T0" fmla="*/ 1055898982 w 91"/>
              <a:gd name="T1" fmla="*/ 1098259713 h 93"/>
              <a:gd name="T2" fmla="*/ 81224569 w 91"/>
              <a:gd name="T3" fmla="*/ 1015595593 h 93"/>
              <a:gd name="T4" fmla="*/ 23207020 w 91"/>
              <a:gd name="T5" fmla="*/ 862073574 h 93"/>
              <a:gd name="T6" fmla="*/ 127635206 w 91"/>
              <a:gd name="T7" fmla="*/ 826648055 h 93"/>
              <a:gd name="T8" fmla="*/ 23207020 w 91"/>
              <a:gd name="T9" fmla="*/ 743983935 h 93"/>
              <a:gd name="T10" fmla="*/ 23207020 w 91"/>
              <a:gd name="T11" fmla="*/ 614081216 h 93"/>
              <a:gd name="T12" fmla="*/ 127635206 w 91"/>
              <a:gd name="T13" fmla="*/ 578652266 h 93"/>
              <a:gd name="T14" fmla="*/ 23207020 w 91"/>
              <a:gd name="T15" fmla="*/ 484178497 h 93"/>
              <a:gd name="T16" fmla="*/ 23207020 w 91"/>
              <a:gd name="T17" fmla="*/ 354275777 h 93"/>
              <a:gd name="T18" fmla="*/ 127635206 w 91"/>
              <a:gd name="T19" fmla="*/ 330659908 h 93"/>
              <a:gd name="T20" fmla="*/ 23207020 w 91"/>
              <a:gd name="T21" fmla="*/ 236186139 h 93"/>
              <a:gd name="T22" fmla="*/ 23207020 w 91"/>
              <a:gd name="T23" fmla="*/ 106283419 h 93"/>
              <a:gd name="T24" fmla="*/ 127635206 w 91"/>
              <a:gd name="T25" fmla="*/ 0 h 93"/>
              <a:gd name="T26" fmla="*/ 69621059 w 91"/>
              <a:gd name="T27" fmla="*/ 401514377 h 93"/>
              <a:gd name="T28" fmla="*/ 69621059 w 91"/>
              <a:gd name="T29" fmla="*/ 436943327 h 93"/>
              <a:gd name="T30" fmla="*/ 266873922 w 91"/>
              <a:gd name="T31" fmla="*/ 436943327 h 93"/>
              <a:gd name="T32" fmla="*/ 266873922 w 91"/>
              <a:gd name="T33" fmla="*/ 401514377 h 93"/>
              <a:gd name="T34" fmla="*/ 81224569 w 91"/>
              <a:gd name="T35" fmla="*/ 141712369 h 93"/>
              <a:gd name="T36" fmla="*/ 58017549 w 91"/>
              <a:gd name="T37" fmla="*/ 177137889 h 93"/>
              <a:gd name="T38" fmla="*/ 243670304 w 91"/>
              <a:gd name="T39" fmla="*/ 200757189 h 93"/>
              <a:gd name="T40" fmla="*/ 266873922 w 91"/>
              <a:gd name="T41" fmla="*/ 153518588 h 93"/>
              <a:gd name="T42" fmla="*/ 81224569 w 91"/>
              <a:gd name="T43" fmla="*/ 897502524 h 93"/>
              <a:gd name="T44" fmla="*/ 58017549 w 91"/>
              <a:gd name="T45" fmla="*/ 921121824 h 93"/>
              <a:gd name="T46" fmla="*/ 243670304 w 91"/>
              <a:gd name="T47" fmla="*/ 956547343 h 93"/>
              <a:gd name="T48" fmla="*/ 266873922 w 91"/>
              <a:gd name="T49" fmla="*/ 897502524 h 93"/>
              <a:gd name="T50" fmla="*/ 81224569 w 91"/>
              <a:gd name="T51" fmla="*/ 649506735 h 93"/>
              <a:gd name="T52" fmla="*/ 58017549 w 91"/>
              <a:gd name="T53" fmla="*/ 673126035 h 93"/>
              <a:gd name="T54" fmla="*/ 243670304 w 91"/>
              <a:gd name="T55" fmla="*/ 708554985 h 93"/>
              <a:gd name="T56" fmla="*/ 266873922 w 91"/>
              <a:gd name="T57" fmla="*/ 649506735 h 93"/>
              <a:gd name="T58" fmla="*/ 348098491 w 91"/>
              <a:gd name="T59" fmla="*/ 460559196 h 93"/>
              <a:gd name="T60" fmla="*/ 498940717 w 91"/>
              <a:gd name="T61" fmla="*/ 507797797 h 93"/>
              <a:gd name="T62" fmla="*/ 812228678 w 91"/>
              <a:gd name="T63" fmla="*/ 436943327 h 93"/>
              <a:gd name="T64" fmla="*/ 916660266 w 91"/>
              <a:gd name="T65" fmla="*/ 531417097 h 93"/>
              <a:gd name="T66" fmla="*/ 974674414 w 91"/>
              <a:gd name="T67" fmla="*/ 425133677 h 93"/>
              <a:gd name="T68" fmla="*/ 568561775 w 91"/>
              <a:gd name="T69" fmla="*/ 460559196 h 93"/>
              <a:gd name="T70" fmla="*/ 452526677 w 91"/>
              <a:gd name="T71" fmla="*/ 566842616 h 93"/>
              <a:gd name="T72" fmla="*/ 672989962 w 91"/>
              <a:gd name="T73" fmla="*/ 743983935 h 93"/>
              <a:gd name="T74" fmla="*/ 881849737 w 91"/>
              <a:gd name="T75" fmla="*/ 566842616 h 93"/>
              <a:gd name="T76" fmla="*/ 765818041 w 91"/>
              <a:gd name="T77" fmla="*/ 460559196 h 93"/>
              <a:gd name="T78" fmla="*/ 672989962 w 91"/>
              <a:gd name="T79" fmla="*/ 519607447 h 93"/>
              <a:gd name="T80" fmla="*/ 603372305 w 91"/>
              <a:gd name="T81" fmla="*/ 684935685 h 93"/>
              <a:gd name="T82" fmla="*/ 707800491 w 91"/>
              <a:gd name="T83" fmla="*/ 661316385 h 93"/>
              <a:gd name="T84" fmla="*/ 614975815 w 91"/>
              <a:gd name="T85" fmla="*/ 614081216 h 93"/>
              <a:gd name="T86" fmla="*/ 707800491 w 91"/>
              <a:gd name="T87" fmla="*/ 578652266 h 93"/>
              <a:gd name="T88" fmla="*/ 754214531 w 91"/>
              <a:gd name="T89" fmla="*/ 661316385 h 93"/>
              <a:gd name="T90" fmla="*/ 672989962 w 91"/>
              <a:gd name="T91" fmla="*/ 519607447 h 93"/>
              <a:gd name="T92" fmla="*/ 812228678 w 91"/>
              <a:gd name="T93" fmla="*/ 803028755 h 93"/>
              <a:gd name="T94" fmla="*/ 464130187 w 91"/>
              <a:gd name="T95" fmla="*/ 755790154 h 93"/>
              <a:gd name="T96" fmla="*/ 522147736 w 91"/>
              <a:gd name="T97" fmla="*/ 755790154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91"/>
              <a:gd name="T148" fmla="*/ 0 h 93"/>
              <a:gd name="T149" fmla="*/ 91 w 91"/>
              <a:gd name="T150" fmla="*/ 93 h 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91" h="93">
                <a:moveTo>
                  <a:pt x="11" y="0"/>
                </a:moveTo>
                <a:cubicBezTo>
                  <a:pt x="91" y="0"/>
                  <a:pt x="91" y="0"/>
                  <a:pt x="91" y="0"/>
                </a:cubicBezTo>
                <a:cubicBezTo>
                  <a:pt x="91" y="93"/>
                  <a:pt x="91" y="93"/>
                  <a:pt x="91" y="93"/>
                </a:cubicBezTo>
                <a:cubicBezTo>
                  <a:pt x="11" y="93"/>
                  <a:pt x="11" y="93"/>
                  <a:pt x="11" y="93"/>
                </a:cubicBezTo>
                <a:cubicBezTo>
                  <a:pt x="11" y="86"/>
                  <a:pt x="11" y="86"/>
                  <a:pt x="11" y="86"/>
                </a:cubicBezTo>
                <a:cubicBezTo>
                  <a:pt x="7" y="86"/>
                  <a:pt x="7" y="86"/>
                  <a:pt x="7" y="86"/>
                </a:cubicBezTo>
                <a:cubicBezTo>
                  <a:pt x="5" y="86"/>
                  <a:pt x="3" y="85"/>
                  <a:pt x="2" y="84"/>
                </a:cubicBezTo>
                <a:cubicBezTo>
                  <a:pt x="1" y="82"/>
                  <a:pt x="0" y="80"/>
                  <a:pt x="0" y="78"/>
                </a:cubicBezTo>
                <a:cubicBezTo>
                  <a:pt x="0" y="76"/>
                  <a:pt x="1" y="74"/>
                  <a:pt x="2" y="73"/>
                </a:cubicBezTo>
                <a:cubicBezTo>
                  <a:pt x="2" y="73"/>
                  <a:pt x="2" y="73"/>
                  <a:pt x="2" y="73"/>
                </a:cubicBezTo>
                <a:cubicBezTo>
                  <a:pt x="3" y="71"/>
                  <a:pt x="5" y="70"/>
                  <a:pt x="7" y="70"/>
                </a:cubicBezTo>
                <a:cubicBezTo>
                  <a:pt x="11" y="70"/>
                  <a:pt x="11" y="70"/>
                  <a:pt x="11" y="70"/>
                </a:cubicBezTo>
                <a:cubicBezTo>
                  <a:pt x="11" y="65"/>
                  <a:pt x="11" y="65"/>
                  <a:pt x="11" y="65"/>
                </a:cubicBezTo>
                <a:cubicBezTo>
                  <a:pt x="7" y="65"/>
                  <a:pt x="7" y="65"/>
                  <a:pt x="7" y="65"/>
                </a:cubicBezTo>
                <a:cubicBezTo>
                  <a:pt x="5" y="65"/>
                  <a:pt x="3" y="64"/>
                  <a:pt x="2" y="63"/>
                </a:cubicBezTo>
                <a:cubicBezTo>
                  <a:pt x="1" y="61"/>
                  <a:pt x="0" y="59"/>
                  <a:pt x="0" y="57"/>
                </a:cubicBezTo>
                <a:cubicBezTo>
                  <a:pt x="0" y="55"/>
                  <a:pt x="1" y="53"/>
                  <a:pt x="2" y="52"/>
                </a:cubicBezTo>
                <a:cubicBezTo>
                  <a:pt x="2" y="52"/>
                  <a:pt x="2" y="52"/>
                  <a:pt x="2" y="52"/>
                </a:cubicBezTo>
                <a:cubicBezTo>
                  <a:pt x="2" y="52"/>
                  <a:pt x="2" y="52"/>
                  <a:pt x="2" y="52"/>
                </a:cubicBezTo>
                <a:cubicBezTo>
                  <a:pt x="3" y="50"/>
                  <a:pt x="5" y="49"/>
                  <a:pt x="7" y="49"/>
                </a:cubicBezTo>
                <a:cubicBezTo>
                  <a:pt x="11" y="49"/>
                  <a:pt x="11" y="49"/>
                  <a:pt x="11" y="49"/>
                </a:cubicBezTo>
                <a:cubicBezTo>
                  <a:pt x="11" y="43"/>
                  <a:pt x="11" y="43"/>
                  <a:pt x="11" y="43"/>
                </a:cubicBezTo>
                <a:cubicBezTo>
                  <a:pt x="7" y="43"/>
                  <a:pt x="7" y="43"/>
                  <a:pt x="7" y="43"/>
                </a:cubicBezTo>
                <a:cubicBezTo>
                  <a:pt x="5" y="43"/>
                  <a:pt x="3" y="42"/>
                  <a:pt x="2" y="41"/>
                </a:cubicBezTo>
                <a:cubicBezTo>
                  <a:pt x="1" y="39"/>
                  <a:pt x="0" y="38"/>
                  <a:pt x="0" y="35"/>
                </a:cubicBezTo>
                <a:cubicBezTo>
                  <a:pt x="0" y="33"/>
                  <a:pt x="1" y="31"/>
                  <a:pt x="2" y="30"/>
                </a:cubicBezTo>
                <a:cubicBezTo>
                  <a:pt x="2" y="30"/>
                  <a:pt x="2" y="30"/>
                  <a:pt x="2" y="30"/>
                </a:cubicBezTo>
                <a:cubicBezTo>
                  <a:pt x="2" y="30"/>
                  <a:pt x="2" y="30"/>
                  <a:pt x="2" y="30"/>
                </a:cubicBezTo>
                <a:cubicBezTo>
                  <a:pt x="3" y="29"/>
                  <a:pt x="5" y="28"/>
                  <a:pt x="7" y="28"/>
                </a:cubicBezTo>
                <a:cubicBezTo>
                  <a:pt x="11" y="28"/>
                  <a:pt x="11" y="28"/>
                  <a:pt x="11" y="28"/>
                </a:cubicBezTo>
                <a:cubicBezTo>
                  <a:pt x="11" y="22"/>
                  <a:pt x="11" y="22"/>
                  <a:pt x="11" y="22"/>
                </a:cubicBezTo>
                <a:cubicBezTo>
                  <a:pt x="7" y="22"/>
                  <a:pt x="7" y="22"/>
                  <a:pt x="7" y="22"/>
                </a:cubicBezTo>
                <a:cubicBezTo>
                  <a:pt x="5" y="22"/>
                  <a:pt x="3" y="22"/>
                  <a:pt x="2" y="20"/>
                </a:cubicBezTo>
                <a:cubicBezTo>
                  <a:pt x="1" y="19"/>
                  <a:pt x="0" y="17"/>
                  <a:pt x="0" y="15"/>
                </a:cubicBezTo>
                <a:cubicBezTo>
                  <a:pt x="0" y="13"/>
                  <a:pt x="1" y="11"/>
                  <a:pt x="2" y="9"/>
                </a:cubicBezTo>
                <a:cubicBezTo>
                  <a:pt x="2" y="9"/>
                  <a:pt x="2" y="9"/>
                  <a:pt x="2" y="9"/>
                </a:cubicBezTo>
                <a:cubicBezTo>
                  <a:pt x="3" y="8"/>
                  <a:pt x="5" y="7"/>
                  <a:pt x="7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1" y="0"/>
                  <a:pt x="11" y="0"/>
                  <a:pt x="11" y="0"/>
                </a:cubicBezTo>
                <a:close/>
                <a:moveTo>
                  <a:pt x="21" y="33"/>
                </a:moveTo>
                <a:cubicBezTo>
                  <a:pt x="7" y="33"/>
                  <a:pt x="7" y="33"/>
                  <a:pt x="7" y="33"/>
                </a:cubicBezTo>
                <a:cubicBezTo>
                  <a:pt x="7" y="33"/>
                  <a:pt x="6" y="33"/>
                  <a:pt x="6" y="34"/>
                </a:cubicBezTo>
                <a:cubicBezTo>
                  <a:pt x="6" y="34"/>
                  <a:pt x="6" y="34"/>
                  <a:pt x="6" y="34"/>
                </a:cubicBezTo>
                <a:cubicBezTo>
                  <a:pt x="5" y="34"/>
                  <a:pt x="5" y="35"/>
                  <a:pt x="5" y="35"/>
                </a:cubicBezTo>
                <a:cubicBezTo>
                  <a:pt x="5" y="36"/>
                  <a:pt x="5" y="37"/>
                  <a:pt x="6" y="37"/>
                </a:cubicBezTo>
                <a:cubicBezTo>
                  <a:pt x="6" y="38"/>
                  <a:pt x="7" y="38"/>
                  <a:pt x="7" y="38"/>
                </a:cubicBezTo>
                <a:cubicBezTo>
                  <a:pt x="21" y="38"/>
                  <a:pt x="21" y="38"/>
                  <a:pt x="21" y="38"/>
                </a:cubicBezTo>
                <a:cubicBezTo>
                  <a:pt x="22" y="38"/>
                  <a:pt x="23" y="38"/>
                  <a:pt x="23" y="37"/>
                </a:cubicBezTo>
                <a:cubicBezTo>
                  <a:pt x="24" y="37"/>
                  <a:pt x="24" y="36"/>
                  <a:pt x="24" y="35"/>
                </a:cubicBezTo>
                <a:cubicBezTo>
                  <a:pt x="24" y="35"/>
                  <a:pt x="24" y="34"/>
                  <a:pt x="23" y="34"/>
                </a:cubicBezTo>
                <a:cubicBezTo>
                  <a:pt x="23" y="34"/>
                  <a:pt x="23" y="34"/>
                  <a:pt x="23" y="34"/>
                </a:cubicBezTo>
                <a:cubicBezTo>
                  <a:pt x="23" y="33"/>
                  <a:pt x="22" y="33"/>
                  <a:pt x="21" y="33"/>
                </a:cubicBezTo>
                <a:close/>
                <a:moveTo>
                  <a:pt x="21" y="12"/>
                </a:moveTo>
                <a:cubicBezTo>
                  <a:pt x="7" y="12"/>
                  <a:pt x="7" y="12"/>
                  <a:pt x="7" y="12"/>
                </a:cubicBezTo>
                <a:cubicBezTo>
                  <a:pt x="7" y="12"/>
                  <a:pt x="6" y="12"/>
                  <a:pt x="6" y="13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5" y="14"/>
                  <a:pt x="5" y="15"/>
                </a:cubicBezTo>
                <a:cubicBezTo>
                  <a:pt x="5" y="15"/>
                  <a:pt x="5" y="16"/>
                  <a:pt x="6" y="17"/>
                </a:cubicBezTo>
                <a:cubicBezTo>
                  <a:pt x="6" y="17"/>
                  <a:pt x="7" y="17"/>
                  <a:pt x="7" y="17"/>
                </a:cubicBezTo>
                <a:cubicBezTo>
                  <a:pt x="21" y="17"/>
                  <a:pt x="21" y="17"/>
                  <a:pt x="21" y="17"/>
                </a:cubicBezTo>
                <a:cubicBezTo>
                  <a:pt x="22" y="17"/>
                  <a:pt x="23" y="17"/>
                  <a:pt x="23" y="17"/>
                </a:cubicBezTo>
                <a:cubicBezTo>
                  <a:pt x="24" y="16"/>
                  <a:pt x="24" y="15"/>
                  <a:pt x="24" y="15"/>
                </a:cubicBezTo>
                <a:cubicBezTo>
                  <a:pt x="24" y="14"/>
                  <a:pt x="24" y="13"/>
                  <a:pt x="23" y="13"/>
                </a:cubicBezTo>
                <a:cubicBezTo>
                  <a:pt x="23" y="12"/>
                  <a:pt x="22" y="12"/>
                  <a:pt x="21" y="12"/>
                </a:cubicBezTo>
                <a:close/>
                <a:moveTo>
                  <a:pt x="21" y="76"/>
                </a:moveTo>
                <a:cubicBezTo>
                  <a:pt x="7" y="76"/>
                  <a:pt x="7" y="76"/>
                  <a:pt x="7" y="76"/>
                </a:cubicBezTo>
                <a:cubicBezTo>
                  <a:pt x="7" y="76"/>
                  <a:pt x="6" y="76"/>
                  <a:pt x="6" y="76"/>
                </a:cubicBezTo>
                <a:cubicBezTo>
                  <a:pt x="6" y="76"/>
                  <a:pt x="6" y="76"/>
                  <a:pt x="6" y="76"/>
                </a:cubicBezTo>
                <a:cubicBezTo>
                  <a:pt x="5" y="77"/>
                  <a:pt x="5" y="77"/>
                  <a:pt x="5" y="78"/>
                </a:cubicBezTo>
                <a:cubicBezTo>
                  <a:pt x="5" y="79"/>
                  <a:pt x="5" y="79"/>
                  <a:pt x="6" y="80"/>
                </a:cubicBezTo>
                <a:cubicBezTo>
                  <a:pt x="6" y="80"/>
                  <a:pt x="7" y="81"/>
                  <a:pt x="7" y="81"/>
                </a:cubicBezTo>
                <a:cubicBezTo>
                  <a:pt x="21" y="81"/>
                  <a:pt x="21" y="81"/>
                  <a:pt x="21" y="81"/>
                </a:cubicBezTo>
                <a:cubicBezTo>
                  <a:pt x="22" y="81"/>
                  <a:pt x="23" y="80"/>
                  <a:pt x="23" y="80"/>
                </a:cubicBezTo>
                <a:cubicBezTo>
                  <a:pt x="24" y="79"/>
                  <a:pt x="24" y="79"/>
                  <a:pt x="24" y="78"/>
                </a:cubicBezTo>
                <a:cubicBezTo>
                  <a:pt x="24" y="77"/>
                  <a:pt x="24" y="77"/>
                  <a:pt x="23" y="76"/>
                </a:cubicBezTo>
                <a:cubicBezTo>
                  <a:pt x="23" y="76"/>
                  <a:pt x="22" y="76"/>
                  <a:pt x="21" y="76"/>
                </a:cubicBezTo>
                <a:close/>
                <a:moveTo>
                  <a:pt x="21" y="55"/>
                </a:moveTo>
                <a:cubicBezTo>
                  <a:pt x="7" y="55"/>
                  <a:pt x="7" y="55"/>
                  <a:pt x="7" y="55"/>
                </a:cubicBezTo>
                <a:cubicBezTo>
                  <a:pt x="7" y="55"/>
                  <a:pt x="6" y="55"/>
                  <a:pt x="6" y="55"/>
                </a:cubicBezTo>
                <a:cubicBezTo>
                  <a:pt x="6" y="55"/>
                  <a:pt x="6" y="55"/>
                  <a:pt x="6" y="55"/>
                </a:cubicBezTo>
                <a:cubicBezTo>
                  <a:pt x="5" y="56"/>
                  <a:pt x="5" y="56"/>
                  <a:pt x="5" y="57"/>
                </a:cubicBezTo>
                <a:cubicBezTo>
                  <a:pt x="5" y="58"/>
                  <a:pt x="5" y="59"/>
                  <a:pt x="6" y="59"/>
                </a:cubicBezTo>
                <a:cubicBezTo>
                  <a:pt x="6" y="59"/>
                  <a:pt x="7" y="60"/>
                  <a:pt x="7" y="60"/>
                </a:cubicBezTo>
                <a:cubicBezTo>
                  <a:pt x="21" y="60"/>
                  <a:pt x="21" y="60"/>
                  <a:pt x="21" y="60"/>
                </a:cubicBezTo>
                <a:cubicBezTo>
                  <a:pt x="22" y="60"/>
                  <a:pt x="23" y="59"/>
                  <a:pt x="23" y="59"/>
                </a:cubicBezTo>
                <a:cubicBezTo>
                  <a:pt x="24" y="59"/>
                  <a:pt x="24" y="58"/>
                  <a:pt x="24" y="57"/>
                </a:cubicBezTo>
                <a:cubicBezTo>
                  <a:pt x="24" y="56"/>
                  <a:pt x="24" y="56"/>
                  <a:pt x="23" y="55"/>
                </a:cubicBezTo>
                <a:cubicBezTo>
                  <a:pt x="23" y="55"/>
                  <a:pt x="23" y="55"/>
                  <a:pt x="23" y="55"/>
                </a:cubicBezTo>
                <a:cubicBezTo>
                  <a:pt x="23" y="55"/>
                  <a:pt x="22" y="55"/>
                  <a:pt x="21" y="55"/>
                </a:cubicBezTo>
                <a:close/>
                <a:moveTo>
                  <a:pt x="30" y="39"/>
                </a:moveTo>
                <a:cubicBezTo>
                  <a:pt x="31" y="41"/>
                  <a:pt x="32" y="43"/>
                  <a:pt x="33" y="45"/>
                </a:cubicBezTo>
                <a:cubicBezTo>
                  <a:pt x="33" y="45"/>
                  <a:pt x="34" y="46"/>
                  <a:pt x="35" y="45"/>
                </a:cubicBezTo>
                <a:cubicBezTo>
                  <a:pt x="38" y="45"/>
                  <a:pt x="41" y="44"/>
                  <a:pt x="43" y="43"/>
                </a:cubicBezTo>
                <a:cubicBezTo>
                  <a:pt x="45" y="43"/>
                  <a:pt x="45" y="42"/>
                  <a:pt x="45" y="41"/>
                </a:cubicBezTo>
                <a:cubicBezTo>
                  <a:pt x="45" y="40"/>
                  <a:pt x="45" y="38"/>
                  <a:pt x="45" y="37"/>
                </a:cubicBezTo>
                <a:cubicBezTo>
                  <a:pt x="52" y="34"/>
                  <a:pt x="62" y="34"/>
                  <a:pt x="70" y="37"/>
                </a:cubicBezTo>
                <a:cubicBezTo>
                  <a:pt x="70" y="38"/>
                  <a:pt x="69" y="40"/>
                  <a:pt x="69" y="41"/>
                </a:cubicBezTo>
                <a:cubicBezTo>
                  <a:pt x="69" y="42"/>
                  <a:pt x="70" y="43"/>
                  <a:pt x="71" y="43"/>
                </a:cubicBezTo>
                <a:cubicBezTo>
                  <a:pt x="74" y="44"/>
                  <a:pt x="77" y="45"/>
                  <a:pt x="79" y="45"/>
                </a:cubicBezTo>
                <a:cubicBezTo>
                  <a:pt x="80" y="46"/>
                  <a:pt x="81" y="45"/>
                  <a:pt x="82" y="45"/>
                </a:cubicBezTo>
                <a:cubicBezTo>
                  <a:pt x="82" y="43"/>
                  <a:pt x="83" y="41"/>
                  <a:pt x="84" y="39"/>
                </a:cubicBezTo>
                <a:cubicBezTo>
                  <a:pt x="85" y="37"/>
                  <a:pt x="85" y="37"/>
                  <a:pt x="84" y="36"/>
                </a:cubicBezTo>
                <a:cubicBezTo>
                  <a:pt x="66" y="26"/>
                  <a:pt x="49" y="26"/>
                  <a:pt x="31" y="36"/>
                </a:cubicBezTo>
                <a:cubicBezTo>
                  <a:pt x="30" y="37"/>
                  <a:pt x="29" y="37"/>
                  <a:pt x="30" y="39"/>
                </a:cubicBezTo>
                <a:close/>
                <a:moveTo>
                  <a:pt x="49" y="39"/>
                </a:moveTo>
                <a:cubicBezTo>
                  <a:pt x="49" y="40"/>
                  <a:pt x="49" y="42"/>
                  <a:pt x="49" y="43"/>
                </a:cubicBezTo>
                <a:cubicBezTo>
                  <a:pt x="49" y="45"/>
                  <a:pt x="48" y="46"/>
                  <a:pt x="46" y="46"/>
                </a:cubicBezTo>
                <a:cubicBezTo>
                  <a:pt x="44" y="47"/>
                  <a:pt x="42" y="47"/>
                  <a:pt x="39" y="48"/>
                </a:cubicBezTo>
                <a:cubicBezTo>
                  <a:pt x="38" y="48"/>
                  <a:pt x="37" y="49"/>
                  <a:pt x="37" y="50"/>
                </a:cubicBezTo>
                <a:cubicBezTo>
                  <a:pt x="37" y="55"/>
                  <a:pt x="37" y="59"/>
                  <a:pt x="37" y="63"/>
                </a:cubicBezTo>
                <a:cubicBezTo>
                  <a:pt x="58" y="63"/>
                  <a:pt x="58" y="63"/>
                  <a:pt x="58" y="63"/>
                </a:cubicBezTo>
                <a:cubicBezTo>
                  <a:pt x="78" y="63"/>
                  <a:pt x="78" y="63"/>
                  <a:pt x="78" y="63"/>
                </a:cubicBezTo>
                <a:cubicBezTo>
                  <a:pt x="78" y="59"/>
                  <a:pt x="78" y="55"/>
                  <a:pt x="78" y="50"/>
                </a:cubicBezTo>
                <a:cubicBezTo>
                  <a:pt x="78" y="49"/>
                  <a:pt x="77" y="48"/>
                  <a:pt x="76" y="48"/>
                </a:cubicBezTo>
                <a:cubicBezTo>
                  <a:pt x="73" y="47"/>
                  <a:pt x="71" y="47"/>
                  <a:pt x="69" y="46"/>
                </a:cubicBezTo>
                <a:cubicBezTo>
                  <a:pt x="67" y="46"/>
                  <a:pt x="66" y="45"/>
                  <a:pt x="66" y="43"/>
                </a:cubicBezTo>
                <a:cubicBezTo>
                  <a:pt x="66" y="42"/>
                  <a:pt x="66" y="40"/>
                  <a:pt x="66" y="39"/>
                </a:cubicBezTo>
                <a:cubicBezTo>
                  <a:pt x="63" y="38"/>
                  <a:pt x="60" y="38"/>
                  <a:pt x="58" y="38"/>
                </a:cubicBezTo>
                <a:cubicBezTo>
                  <a:pt x="55" y="38"/>
                  <a:pt x="52" y="38"/>
                  <a:pt x="49" y="39"/>
                </a:cubicBezTo>
                <a:close/>
                <a:moveTo>
                  <a:pt x="58" y="44"/>
                </a:moveTo>
                <a:cubicBezTo>
                  <a:pt x="55" y="44"/>
                  <a:pt x="53" y="45"/>
                  <a:pt x="52" y="46"/>
                </a:cubicBezTo>
                <a:cubicBezTo>
                  <a:pt x="50" y="48"/>
                  <a:pt x="49" y="50"/>
                  <a:pt x="49" y="52"/>
                </a:cubicBezTo>
                <a:cubicBezTo>
                  <a:pt x="49" y="55"/>
                  <a:pt x="50" y="57"/>
                  <a:pt x="52" y="58"/>
                </a:cubicBezTo>
                <a:cubicBezTo>
                  <a:pt x="53" y="60"/>
                  <a:pt x="55" y="61"/>
                  <a:pt x="58" y="61"/>
                </a:cubicBezTo>
                <a:cubicBezTo>
                  <a:pt x="60" y="61"/>
                  <a:pt x="62" y="60"/>
                  <a:pt x="63" y="59"/>
                </a:cubicBezTo>
                <a:cubicBezTo>
                  <a:pt x="61" y="56"/>
                  <a:pt x="61" y="56"/>
                  <a:pt x="61" y="56"/>
                </a:cubicBezTo>
                <a:cubicBezTo>
                  <a:pt x="60" y="57"/>
                  <a:pt x="59" y="57"/>
                  <a:pt x="58" y="57"/>
                </a:cubicBezTo>
                <a:cubicBezTo>
                  <a:pt x="56" y="57"/>
                  <a:pt x="55" y="56"/>
                  <a:pt x="54" y="56"/>
                </a:cubicBezTo>
                <a:cubicBezTo>
                  <a:pt x="53" y="55"/>
                  <a:pt x="53" y="54"/>
                  <a:pt x="53" y="52"/>
                </a:cubicBezTo>
                <a:cubicBezTo>
                  <a:pt x="53" y="51"/>
                  <a:pt x="53" y="50"/>
                  <a:pt x="54" y="49"/>
                </a:cubicBezTo>
                <a:cubicBezTo>
                  <a:pt x="55" y="48"/>
                  <a:pt x="56" y="48"/>
                  <a:pt x="58" y="48"/>
                </a:cubicBezTo>
                <a:cubicBezTo>
                  <a:pt x="59" y="48"/>
                  <a:pt x="60" y="48"/>
                  <a:pt x="61" y="49"/>
                </a:cubicBezTo>
                <a:cubicBezTo>
                  <a:pt x="62" y="50"/>
                  <a:pt x="62" y="51"/>
                  <a:pt x="62" y="52"/>
                </a:cubicBezTo>
                <a:cubicBezTo>
                  <a:pt x="62" y="53"/>
                  <a:pt x="62" y="54"/>
                  <a:pt x="62" y="55"/>
                </a:cubicBezTo>
                <a:cubicBezTo>
                  <a:pt x="65" y="56"/>
                  <a:pt x="65" y="56"/>
                  <a:pt x="65" y="56"/>
                </a:cubicBezTo>
                <a:cubicBezTo>
                  <a:pt x="66" y="55"/>
                  <a:pt x="66" y="54"/>
                  <a:pt x="66" y="52"/>
                </a:cubicBezTo>
                <a:cubicBezTo>
                  <a:pt x="66" y="50"/>
                  <a:pt x="65" y="48"/>
                  <a:pt x="64" y="46"/>
                </a:cubicBezTo>
                <a:cubicBezTo>
                  <a:pt x="62" y="45"/>
                  <a:pt x="60" y="44"/>
                  <a:pt x="58" y="44"/>
                </a:cubicBezTo>
                <a:close/>
                <a:moveTo>
                  <a:pt x="75" y="64"/>
                </a:moveTo>
                <a:cubicBezTo>
                  <a:pt x="74" y="64"/>
                  <a:pt x="72" y="64"/>
                  <a:pt x="70" y="64"/>
                </a:cubicBezTo>
                <a:cubicBezTo>
                  <a:pt x="70" y="65"/>
                  <a:pt x="70" y="67"/>
                  <a:pt x="70" y="68"/>
                </a:cubicBezTo>
                <a:cubicBezTo>
                  <a:pt x="72" y="68"/>
                  <a:pt x="73" y="68"/>
                  <a:pt x="74" y="68"/>
                </a:cubicBezTo>
                <a:cubicBezTo>
                  <a:pt x="74" y="67"/>
                  <a:pt x="75" y="65"/>
                  <a:pt x="75" y="64"/>
                </a:cubicBezTo>
                <a:close/>
                <a:moveTo>
                  <a:pt x="40" y="64"/>
                </a:moveTo>
                <a:cubicBezTo>
                  <a:pt x="40" y="65"/>
                  <a:pt x="41" y="67"/>
                  <a:pt x="41" y="68"/>
                </a:cubicBezTo>
                <a:cubicBezTo>
                  <a:pt x="42" y="68"/>
                  <a:pt x="44" y="68"/>
                  <a:pt x="45" y="68"/>
                </a:cubicBezTo>
                <a:cubicBezTo>
                  <a:pt x="45" y="67"/>
                  <a:pt x="45" y="65"/>
                  <a:pt x="45" y="64"/>
                </a:cubicBezTo>
                <a:cubicBezTo>
                  <a:pt x="43" y="64"/>
                  <a:pt x="41" y="64"/>
                  <a:pt x="40" y="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02" name="Freeform 6"/>
          <p:cNvSpPr>
            <a:spLocks noEditPoints="1" noChangeArrowheads="1"/>
          </p:cNvSpPr>
          <p:nvPr/>
        </p:nvSpPr>
        <p:spPr bwMode="auto">
          <a:xfrm>
            <a:off x="2133600" y="4002618"/>
            <a:ext cx="340784" cy="311149"/>
          </a:xfrm>
          <a:custGeom>
            <a:avLst/>
            <a:gdLst>
              <a:gd name="T0" fmla="*/ 0 w 77"/>
              <a:gd name="T1" fmla="*/ 29 h 70"/>
              <a:gd name="T2" fmla="*/ 5 w 77"/>
              <a:gd name="T3" fmla="*/ 29 h 70"/>
              <a:gd name="T4" fmla="*/ 5 w 77"/>
              <a:gd name="T5" fmla="*/ 26 h 70"/>
              <a:gd name="T6" fmla="*/ 13 w 77"/>
              <a:gd name="T7" fmla="*/ 8 h 70"/>
              <a:gd name="T8" fmla="*/ 31 w 77"/>
              <a:gd name="T9" fmla="*/ 0 h 70"/>
              <a:gd name="T10" fmla="*/ 48 w 77"/>
              <a:gd name="T11" fmla="*/ 0 h 70"/>
              <a:gd name="T12" fmla="*/ 66 w 77"/>
              <a:gd name="T13" fmla="*/ 8 h 70"/>
              <a:gd name="T14" fmla="*/ 74 w 77"/>
              <a:gd name="T15" fmla="*/ 26 h 70"/>
              <a:gd name="T16" fmla="*/ 74 w 77"/>
              <a:gd name="T17" fmla="*/ 29 h 70"/>
              <a:gd name="T18" fmla="*/ 77 w 77"/>
              <a:gd name="T19" fmla="*/ 29 h 70"/>
              <a:gd name="T20" fmla="*/ 77 w 77"/>
              <a:gd name="T21" fmla="*/ 58 h 70"/>
              <a:gd name="T22" fmla="*/ 71 w 77"/>
              <a:gd name="T23" fmla="*/ 58 h 70"/>
              <a:gd name="T24" fmla="*/ 71 w 77"/>
              <a:gd name="T25" fmla="*/ 70 h 70"/>
              <a:gd name="T26" fmla="*/ 56 w 77"/>
              <a:gd name="T27" fmla="*/ 70 h 70"/>
              <a:gd name="T28" fmla="*/ 56 w 77"/>
              <a:gd name="T29" fmla="*/ 58 h 70"/>
              <a:gd name="T30" fmla="*/ 21 w 77"/>
              <a:gd name="T31" fmla="*/ 58 h 70"/>
              <a:gd name="T32" fmla="*/ 21 w 77"/>
              <a:gd name="T33" fmla="*/ 70 h 70"/>
              <a:gd name="T34" fmla="*/ 7 w 77"/>
              <a:gd name="T35" fmla="*/ 70 h 70"/>
              <a:gd name="T36" fmla="*/ 7 w 77"/>
              <a:gd name="T37" fmla="*/ 58 h 70"/>
              <a:gd name="T38" fmla="*/ 0 w 77"/>
              <a:gd name="T39" fmla="*/ 58 h 70"/>
              <a:gd name="T40" fmla="*/ 0 w 77"/>
              <a:gd name="T41" fmla="*/ 29 h 70"/>
              <a:gd name="T42" fmla="*/ 16 w 77"/>
              <a:gd name="T43" fmla="*/ 29 h 70"/>
              <a:gd name="T44" fmla="*/ 63 w 77"/>
              <a:gd name="T45" fmla="*/ 29 h 70"/>
              <a:gd name="T46" fmla="*/ 63 w 77"/>
              <a:gd name="T47" fmla="*/ 26 h 70"/>
              <a:gd name="T48" fmla="*/ 59 w 77"/>
              <a:gd name="T49" fmla="*/ 15 h 70"/>
              <a:gd name="T50" fmla="*/ 48 w 77"/>
              <a:gd name="T51" fmla="*/ 11 h 70"/>
              <a:gd name="T52" fmla="*/ 31 w 77"/>
              <a:gd name="T53" fmla="*/ 11 h 70"/>
              <a:gd name="T54" fmla="*/ 20 w 77"/>
              <a:gd name="T55" fmla="*/ 15 h 70"/>
              <a:gd name="T56" fmla="*/ 16 w 77"/>
              <a:gd name="T57" fmla="*/ 26 h 70"/>
              <a:gd name="T58" fmla="*/ 16 w 77"/>
              <a:gd name="T59" fmla="*/ 29 h 70"/>
              <a:gd name="T60" fmla="*/ 70 w 77"/>
              <a:gd name="T61" fmla="*/ 37 h 70"/>
              <a:gd name="T62" fmla="*/ 53 w 77"/>
              <a:gd name="T63" fmla="*/ 40 h 70"/>
              <a:gd name="T64" fmla="*/ 53 w 77"/>
              <a:gd name="T65" fmla="*/ 48 h 70"/>
              <a:gd name="T66" fmla="*/ 63 w 77"/>
              <a:gd name="T67" fmla="*/ 48 h 70"/>
              <a:gd name="T68" fmla="*/ 70 w 77"/>
              <a:gd name="T69" fmla="*/ 48 h 70"/>
              <a:gd name="T70" fmla="*/ 70 w 77"/>
              <a:gd name="T71" fmla="*/ 37 h 70"/>
              <a:gd name="T72" fmla="*/ 7 w 77"/>
              <a:gd name="T73" fmla="*/ 37 h 70"/>
              <a:gd name="T74" fmla="*/ 7 w 77"/>
              <a:gd name="T75" fmla="*/ 48 h 70"/>
              <a:gd name="T76" fmla="*/ 16 w 77"/>
              <a:gd name="T77" fmla="*/ 48 h 70"/>
              <a:gd name="T78" fmla="*/ 24 w 77"/>
              <a:gd name="T79" fmla="*/ 48 h 70"/>
              <a:gd name="T80" fmla="*/ 24 w 77"/>
              <a:gd name="T81" fmla="*/ 40 h 70"/>
              <a:gd name="T82" fmla="*/ 7 w 77"/>
              <a:gd name="T83" fmla="*/ 37 h 7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77"/>
              <a:gd name="T127" fmla="*/ 0 h 70"/>
              <a:gd name="T128" fmla="*/ 77 w 77"/>
              <a:gd name="T129" fmla="*/ 70 h 70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77" h="70">
                <a:moveTo>
                  <a:pt x="0" y="29"/>
                </a:moveTo>
                <a:cubicBezTo>
                  <a:pt x="5" y="29"/>
                  <a:pt x="5" y="29"/>
                  <a:pt x="5" y="29"/>
                </a:cubicBezTo>
                <a:cubicBezTo>
                  <a:pt x="5" y="26"/>
                  <a:pt x="5" y="26"/>
                  <a:pt x="5" y="26"/>
                </a:cubicBezTo>
                <a:cubicBezTo>
                  <a:pt x="5" y="19"/>
                  <a:pt x="8" y="12"/>
                  <a:pt x="13" y="8"/>
                </a:cubicBezTo>
                <a:cubicBezTo>
                  <a:pt x="17" y="3"/>
                  <a:pt x="24" y="0"/>
                  <a:pt x="31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55" y="0"/>
                  <a:pt x="61" y="3"/>
                  <a:pt x="66" y="8"/>
                </a:cubicBezTo>
                <a:cubicBezTo>
                  <a:pt x="71" y="12"/>
                  <a:pt x="74" y="19"/>
                  <a:pt x="74" y="26"/>
                </a:cubicBezTo>
                <a:cubicBezTo>
                  <a:pt x="74" y="29"/>
                  <a:pt x="74" y="29"/>
                  <a:pt x="74" y="29"/>
                </a:cubicBezTo>
                <a:cubicBezTo>
                  <a:pt x="77" y="29"/>
                  <a:pt x="77" y="29"/>
                  <a:pt x="77" y="29"/>
                </a:cubicBezTo>
                <a:cubicBezTo>
                  <a:pt x="77" y="58"/>
                  <a:pt x="77" y="58"/>
                  <a:pt x="77" y="58"/>
                </a:cubicBezTo>
                <a:cubicBezTo>
                  <a:pt x="71" y="58"/>
                  <a:pt x="71" y="58"/>
                  <a:pt x="71" y="58"/>
                </a:cubicBezTo>
                <a:cubicBezTo>
                  <a:pt x="71" y="70"/>
                  <a:pt x="71" y="70"/>
                  <a:pt x="71" y="70"/>
                </a:cubicBezTo>
                <a:cubicBezTo>
                  <a:pt x="56" y="70"/>
                  <a:pt x="56" y="70"/>
                  <a:pt x="56" y="70"/>
                </a:cubicBezTo>
                <a:cubicBezTo>
                  <a:pt x="56" y="58"/>
                  <a:pt x="56" y="58"/>
                  <a:pt x="56" y="58"/>
                </a:cubicBezTo>
                <a:cubicBezTo>
                  <a:pt x="21" y="58"/>
                  <a:pt x="21" y="58"/>
                  <a:pt x="21" y="58"/>
                </a:cubicBezTo>
                <a:cubicBezTo>
                  <a:pt x="21" y="70"/>
                  <a:pt x="21" y="70"/>
                  <a:pt x="21" y="70"/>
                </a:cubicBezTo>
                <a:cubicBezTo>
                  <a:pt x="7" y="70"/>
                  <a:pt x="7" y="70"/>
                  <a:pt x="7" y="70"/>
                </a:cubicBezTo>
                <a:cubicBezTo>
                  <a:pt x="7" y="58"/>
                  <a:pt x="7" y="58"/>
                  <a:pt x="7" y="58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9"/>
                  <a:pt x="0" y="29"/>
                  <a:pt x="0" y="29"/>
                </a:cubicBezTo>
                <a:close/>
                <a:moveTo>
                  <a:pt x="16" y="29"/>
                </a:moveTo>
                <a:cubicBezTo>
                  <a:pt x="63" y="29"/>
                  <a:pt x="63" y="29"/>
                  <a:pt x="63" y="29"/>
                </a:cubicBezTo>
                <a:cubicBezTo>
                  <a:pt x="63" y="26"/>
                  <a:pt x="63" y="26"/>
                  <a:pt x="63" y="26"/>
                </a:cubicBezTo>
                <a:cubicBezTo>
                  <a:pt x="63" y="22"/>
                  <a:pt x="61" y="18"/>
                  <a:pt x="59" y="15"/>
                </a:cubicBezTo>
                <a:cubicBezTo>
                  <a:pt x="56" y="13"/>
                  <a:pt x="52" y="11"/>
                  <a:pt x="48" y="11"/>
                </a:cubicBezTo>
                <a:cubicBezTo>
                  <a:pt x="31" y="11"/>
                  <a:pt x="31" y="11"/>
                  <a:pt x="31" y="11"/>
                </a:cubicBezTo>
                <a:cubicBezTo>
                  <a:pt x="27" y="11"/>
                  <a:pt x="23" y="13"/>
                  <a:pt x="20" y="15"/>
                </a:cubicBezTo>
                <a:cubicBezTo>
                  <a:pt x="18" y="18"/>
                  <a:pt x="16" y="22"/>
                  <a:pt x="16" y="26"/>
                </a:cubicBezTo>
                <a:cubicBezTo>
                  <a:pt x="16" y="29"/>
                  <a:pt x="16" y="29"/>
                  <a:pt x="16" y="29"/>
                </a:cubicBezTo>
                <a:close/>
                <a:moveTo>
                  <a:pt x="70" y="37"/>
                </a:moveTo>
                <a:cubicBezTo>
                  <a:pt x="53" y="40"/>
                  <a:pt x="53" y="40"/>
                  <a:pt x="53" y="40"/>
                </a:cubicBezTo>
                <a:cubicBezTo>
                  <a:pt x="53" y="48"/>
                  <a:pt x="53" y="48"/>
                  <a:pt x="53" y="48"/>
                </a:cubicBezTo>
                <a:cubicBezTo>
                  <a:pt x="63" y="48"/>
                  <a:pt x="63" y="48"/>
                  <a:pt x="63" y="48"/>
                </a:cubicBezTo>
                <a:cubicBezTo>
                  <a:pt x="70" y="48"/>
                  <a:pt x="70" y="48"/>
                  <a:pt x="70" y="48"/>
                </a:cubicBezTo>
                <a:cubicBezTo>
                  <a:pt x="70" y="37"/>
                  <a:pt x="70" y="37"/>
                  <a:pt x="70" y="37"/>
                </a:cubicBezTo>
                <a:close/>
                <a:moveTo>
                  <a:pt x="7" y="37"/>
                </a:moveTo>
                <a:cubicBezTo>
                  <a:pt x="7" y="48"/>
                  <a:pt x="7" y="48"/>
                  <a:pt x="7" y="48"/>
                </a:cubicBezTo>
                <a:cubicBezTo>
                  <a:pt x="16" y="48"/>
                  <a:pt x="16" y="48"/>
                  <a:pt x="16" y="48"/>
                </a:cubicBezTo>
                <a:cubicBezTo>
                  <a:pt x="24" y="48"/>
                  <a:pt x="24" y="48"/>
                  <a:pt x="24" y="48"/>
                </a:cubicBezTo>
                <a:cubicBezTo>
                  <a:pt x="24" y="40"/>
                  <a:pt x="24" y="40"/>
                  <a:pt x="24" y="40"/>
                </a:cubicBezTo>
                <a:lnTo>
                  <a:pt x="7" y="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03" name="Freeform 11"/>
          <p:cNvSpPr>
            <a:spLocks noEditPoints="1" noChangeArrowheads="1"/>
          </p:cNvSpPr>
          <p:nvPr/>
        </p:nvSpPr>
        <p:spPr bwMode="auto">
          <a:xfrm>
            <a:off x="2937934" y="2311401"/>
            <a:ext cx="419100" cy="410633"/>
          </a:xfrm>
          <a:custGeom>
            <a:avLst/>
            <a:gdLst>
              <a:gd name="T0" fmla="*/ 90 w 94"/>
              <a:gd name="T1" fmla="*/ 55 h 92"/>
              <a:gd name="T2" fmla="*/ 90 w 94"/>
              <a:gd name="T3" fmla="*/ 85 h 92"/>
              <a:gd name="T4" fmla="*/ 53 w 94"/>
              <a:gd name="T5" fmla="*/ 89 h 92"/>
              <a:gd name="T6" fmla="*/ 54 w 94"/>
              <a:gd name="T7" fmla="*/ 59 h 92"/>
              <a:gd name="T8" fmla="*/ 46 w 94"/>
              <a:gd name="T9" fmla="*/ 0 h 92"/>
              <a:gd name="T10" fmla="*/ 0 w 94"/>
              <a:gd name="T11" fmla="*/ 46 h 92"/>
              <a:gd name="T12" fmla="*/ 46 w 94"/>
              <a:gd name="T13" fmla="*/ 92 h 92"/>
              <a:gd name="T14" fmla="*/ 45 w 94"/>
              <a:gd name="T15" fmla="*/ 84 h 92"/>
              <a:gd name="T16" fmla="*/ 20 w 94"/>
              <a:gd name="T17" fmla="*/ 72 h 92"/>
              <a:gd name="T18" fmla="*/ 20 w 94"/>
              <a:gd name="T19" fmla="*/ 20 h 92"/>
              <a:gd name="T20" fmla="*/ 72 w 94"/>
              <a:gd name="T21" fmla="*/ 20 h 92"/>
              <a:gd name="T22" fmla="*/ 83 w 94"/>
              <a:gd name="T23" fmla="*/ 50 h 92"/>
              <a:gd name="T24" fmla="*/ 92 w 94"/>
              <a:gd name="T25" fmla="*/ 50 h 92"/>
              <a:gd name="T26" fmla="*/ 79 w 94"/>
              <a:gd name="T27" fmla="*/ 13 h 92"/>
              <a:gd name="T28" fmla="*/ 47 w 94"/>
              <a:gd name="T29" fmla="*/ 41 h 92"/>
              <a:gd name="T30" fmla="*/ 31 w 94"/>
              <a:gd name="T31" fmla="*/ 19 h 92"/>
              <a:gd name="T32" fmla="*/ 41 w 94"/>
              <a:gd name="T33" fmla="*/ 44 h 92"/>
              <a:gd name="T34" fmla="*/ 47 w 94"/>
              <a:gd name="T35" fmla="*/ 55 h 92"/>
              <a:gd name="T36" fmla="*/ 54 w 94"/>
              <a:gd name="T37" fmla="*/ 47 h 92"/>
              <a:gd name="T38" fmla="*/ 62 w 94"/>
              <a:gd name="T39" fmla="*/ 30 h 92"/>
              <a:gd name="T40" fmla="*/ 47 w 94"/>
              <a:gd name="T41" fmla="*/ 41 h 92"/>
              <a:gd name="T42" fmla="*/ 88 w 94"/>
              <a:gd name="T43" fmla="*/ 75 h 92"/>
              <a:gd name="T44" fmla="*/ 87 w 94"/>
              <a:gd name="T45" fmla="*/ 74 h 92"/>
              <a:gd name="T46" fmla="*/ 86 w 94"/>
              <a:gd name="T47" fmla="*/ 71 h 92"/>
              <a:gd name="T48" fmla="*/ 81 w 94"/>
              <a:gd name="T49" fmla="*/ 83 h 92"/>
              <a:gd name="T50" fmla="*/ 85 w 94"/>
              <a:gd name="T51" fmla="*/ 76 h 92"/>
              <a:gd name="T52" fmla="*/ 86 w 94"/>
              <a:gd name="T53" fmla="*/ 76 h 92"/>
              <a:gd name="T54" fmla="*/ 87 w 94"/>
              <a:gd name="T55" fmla="*/ 83 h 92"/>
              <a:gd name="T56" fmla="*/ 66 w 94"/>
              <a:gd name="T57" fmla="*/ 80 h 92"/>
              <a:gd name="T58" fmla="*/ 67 w 94"/>
              <a:gd name="T59" fmla="*/ 69 h 92"/>
              <a:gd name="T60" fmla="*/ 68 w 94"/>
              <a:gd name="T61" fmla="*/ 61 h 92"/>
              <a:gd name="T62" fmla="*/ 57 w 94"/>
              <a:gd name="T63" fmla="*/ 64 h 92"/>
              <a:gd name="T64" fmla="*/ 61 w 94"/>
              <a:gd name="T65" fmla="*/ 68 h 92"/>
              <a:gd name="T66" fmla="*/ 63 w 94"/>
              <a:gd name="T67" fmla="*/ 63 h 92"/>
              <a:gd name="T68" fmla="*/ 62 w 94"/>
              <a:gd name="T69" fmla="*/ 69 h 92"/>
              <a:gd name="T70" fmla="*/ 54 w 94"/>
              <a:gd name="T71" fmla="*/ 83 h 92"/>
              <a:gd name="T72" fmla="*/ 81 w 94"/>
              <a:gd name="T73" fmla="*/ 80 h 92"/>
              <a:gd name="T74" fmla="*/ 79 w 94"/>
              <a:gd name="T75" fmla="*/ 76 h 92"/>
              <a:gd name="T76" fmla="*/ 75 w 94"/>
              <a:gd name="T77" fmla="*/ 60 h 92"/>
              <a:gd name="T78" fmla="*/ 66 w 94"/>
              <a:gd name="T79" fmla="*/ 80 h 92"/>
              <a:gd name="T80" fmla="*/ 73 w 94"/>
              <a:gd name="T81" fmla="*/ 83 h 92"/>
              <a:gd name="T82" fmla="*/ 78 w 94"/>
              <a:gd name="T83" fmla="*/ 80 h 92"/>
              <a:gd name="T84" fmla="*/ 74 w 94"/>
              <a:gd name="T85" fmla="*/ 76 h 92"/>
              <a:gd name="T86" fmla="*/ 72 w 94"/>
              <a:gd name="T87" fmla="*/ 76 h 9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94"/>
              <a:gd name="T133" fmla="*/ 0 h 92"/>
              <a:gd name="T134" fmla="*/ 94 w 94"/>
              <a:gd name="T135" fmla="*/ 92 h 9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94" h="92">
                <a:moveTo>
                  <a:pt x="58" y="55"/>
                </a:moveTo>
                <a:cubicBezTo>
                  <a:pt x="90" y="55"/>
                  <a:pt x="90" y="55"/>
                  <a:pt x="90" y="55"/>
                </a:cubicBezTo>
                <a:cubicBezTo>
                  <a:pt x="92" y="55"/>
                  <a:pt x="94" y="56"/>
                  <a:pt x="93" y="59"/>
                </a:cubicBezTo>
                <a:cubicBezTo>
                  <a:pt x="90" y="85"/>
                  <a:pt x="90" y="85"/>
                  <a:pt x="90" y="85"/>
                </a:cubicBezTo>
                <a:cubicBezTo>
                  <a:pt x="89" y="87"/>
                  <a:pt x="87" y="89"/>
                  <a:pt x="85" y="89"/>
                </a:cubicBezTo>
                <a:cubicBezTo>
                  <a:pt x="53" y="89"/>
                  <a:pt x="53" y="89"/>
                  <a:pt x="53" y="89"/>
                </a:cubicBezTo>
                <a:cubicBezTo>
                  <a:pt x="51" y="89"/>
                  <a:pt x="49" y="87"/>
                  <a:pt x="50" y="85"/>
                </a:cubicBezTo>
                <a:cubicBezTo>
                  <a:pt x="54" y="59"/>
                  <a:pt x="54" y="59"/>
                  <a:pt x="54" y="59"/>
                </a:cubicBezTo>
                <a:cubicBezTo>
                  <a:pt x="54" y="56"/>
                  <a:pt x="56" y="55"/>
                  <a:pt x="58" y="55"/>
                </a:cubicBezTo>
                <a:close/>
                <a:moveTo>
                  <a:pt x="46" y="0"/>
                </a:moveTo>
                <a:cubicBezTo>
                  <a:pt x="34" y="0"/>
                  <a:pt x="22" y="5"/>
                  <a:pt x="14" y="13"/>
                </a:cubicBezTo>
                <a:cubicBezTo>
                  <a:pt x="6" y="22"/>
                  <a:pt x="0" y="33"/>
                  <a:pt x="0" y="46"/>
                </a:cubicBezTo>
                <a:cubicBezTo>
                  <a:pt x="0" y="58"/>
                  <a:pt x="6" y="70"/>
                  <a:pt x="14" y="78"/>
                </a:cubicBezTo>
                <a:cubicBezTo>
                  <a:pt x="22" y="86"/>
                  <a:pt x="34" y="92"/>
                  <a:pt x="46" y="92"/>
                </a:cubicBezTo>
                <a:cubicBezTo>
                  <a:pt x="47" y="92"/>
                  <a:pt x="47" y="92"/>
                  <a:pt x="48" y="91"/>
                </a:cubicBezTo>
                <a:cubicBezTo>
                  <a:pt x="46" y="90"/>
                  <a:pt x="45" y="87"/>
                  <a:pt x="45" y="84"/>
                </a:cubicBezTo>
                <a:cubicBezTo>
                  <a:pt x="46" y="82"/>
                  <a:pt x="46" y="82"/>
                  <a:pt x="46" y="82"/>
                </a:cubicBezTo>
                <a:cubicBezTo>
                  <a:pt x="36" y="82"/>
                  <a:pt x="27" y="78"/>
                  <a:pt x="20" y="72"/>
                </a:cubicBezTo>
                <a:cubicBezTo>
                  <a:pt x="14" y="65"/>
                  <a:pt x="10" y="56"/>
                  <a:pt x="10" y="46"/>
                </a:cubicBezTo>
                <a:cubicBezTo>
                  <a:pt x="10" y="36"/>
                  <a:pt x="14" y="26"/>
                  <a:pt x="20" y="20"/>
                </a:cubicBezTo>
                <a:cubicBezTo>
                  <a:pt x="27" y="13"/>
                  <a:pt x="36" y="9"/>
                  <a:pt x="46" y="9"/>
                </a:cubicBezTo>
                <a:cubicBezTo>
                  <a:pt x="56" y="9"/>
                  <a:pt x="66" y="13"/>
                  <a:pt x="72" y="20"/>
                </a:cubicBezTo>
                <a:cubicBezTo>
                  <a:pt x="79" y="26"/>
                  <a:pt x="83" y="36"/>
                  <a:pt x="83" y="46"/>
                </a:cubicBezTo>
                <a:cubicBezTo>
                  <a:pt x="83" y="47"/>
                  <a:pt x="83" y="49"/>
                  <a:pt x="83" y="50"/>
                </a:cubicBezTo>
                <a:cubicBezTo>
                  <a:pt x="90" y="50"/>
                  <a:pt x="90" y="50"/>
                  <a:pt x="90" y="50"/>
                </a:cubicBezTo>
                <a:cubicBezTo>
                  <a:pt x="91" y="50"/>
                  <a:pt x="91" y="50"/>
                  <a:pt x="92" y="50"/>
                </a:cubicBezTo>
                <a:cubicBezTo>
                  <a:pt x="92" y="49"/>
                  <a:pt x="92" y="47"/>
                  <a:pt x="92" y="46"/>
                </a:cubicBezTo>
                <a:cubicBezTo>
                  <a:pt x="92" y="33"/>
                  <a:pt x="87" y="22"/>
                  <a:pt x="79" y="13"/>
                </a:cubicBezTo>
                <a:cubicBezTo>
                  <a:pt x="70" y="5"/>
                  <a:pt x="59" y="0"/>
                  <a:pt x="46" y="0"/>
                </a:cubicBezTo>
                <a:close/>
                <a:moveTo>
                  <a:pt x="47" y="41"/>
                </a:moveTo>
                <a:cubicBezTo>
                  <a:pt x="46" y="41"/>
                  <a:pt x="45" y="41"/>
                  <a:pt x="45" y="41"/>
                </a:cubicBezTo>
                <a:cubicBezTo>
                  <a:pt x="41" y="34"/>
                  <a:pt x="36" y="26"/>
                  <a:pt x="31" y="19"/>
                </a:cubicBezTo>
                <a:cubicBezTo>
                  <a:pt x="30" y="20"/>
                  <a:pt x="29" y="21"/>
                  <a:pt x="27" y="21"/>
                </a:cubicBezTo>
                <a:cubicBezTo>
                  <a:pt x="31" y="30"/>
                  <a:pt x="36" y="37"/>
                  <a:pt x="41" y="44"/>
                </a:cubicBezTo>
                <a:cubicBezTo>
                  <a:pt x="40" y="45"/>
                  <a:pt x="40" y="47"/>
                  <a:pt x="40" y="48"/>
                </a:cubicBezTo>
                <a:cubicBezTo>
                  <a:pt x="40" y="52"/>
                  <a:pt x="43" y="55"/>
                  <a:pt x="47" y="55"/>
                </a:cubicBezTo>
                <a:cubicBezTo>
                  <a:pt x="51" y="55"/>
                  <a:pt x="54" y="52"/>
                  <a:pt x="54" y="48"/>
                </a:cubicBezTo>
                <a:cubicBezTo>
                  <a:pt x="54" y="48"/>
                  <a:pt x="54" y="47"/>
                  <a:pt x="54" y="47"/>
                </a:cubicBezTo>
                <a:cubicBezTo>
                  <a:pt x="58" y="43"/>
                  <a:pt x="62" y="39"/>
                  <a:pt x="65" y="33"/>
                </a:cubicBezTo>
                <a:cubicBezTo>
                  <a:pt x="64" y="32"/>
                  <a:pt x="63" y="31"/>
                  <a:pt x="62" y="30"/>
                </a:cubicBezTo>
                <a:cubicBezTo>
                  <a:pt x="57" y="34"/>
                  <a:pt x="53" y="38"/>
                  <a:pt x="50" y="42"/>
                </a:cubicBezTo>
                <a:cubicBezTo>
                  <a:pt x="49" y="41"/>
                  <a:pt x="48" y="41"/>
                  <a:pt x="47" y="41"/>
                </a:cubicBezTo>
                <a:close/>
                <a:moveTo>
                  <a:pt x="87" y="83"/>
                </a:moveTo>
                <a:cubicBezTo>
                  <a:pt x="88" y="75"/>
                  <a:pt x="88" y="75"/>
                  <a:pt x="88" y="75"/>
                </a:cubicBezTo>
                <a:cubicBezTo>
                  <a:pt x="88" y="75"/>
                  <a:pt x="88" y="74"/>
                  <a:pt x="88" y="74"/>
                </a:cubicBezTo>
                <a:cubicBezTo>
                  <a:pt x="87" y="74"/>
                  <a:pt x="87" y="74"/>
                  <a:pt x="87" y="74"/>
                </a:cubicBezTo>
                <a:cubicBezTo>
                  <a:pt x="86" y="74"/>
                  <a:pt x="85" y="74"/>
                  <a:pt x="85" y="74"/>
                </a:cubicBezTo>
                <a:cubicBezTo>
                  <a:pt x="86" y="71"/>
                  <a:pt x="86" y="71"/>
                  <a:pt x="86" y="71"/>
                </a:cubicBezTo>
                <a:cubicBezTo>
                  <a:pt x="83" y="71"/>
                  <a:pt x="83" y="71"/>
                  <a:pt x="83" y="71"/>
                </a:cubicBezTo>
                <a:cubicBezTo>
                  <a:pt x="81" y="83"/>
                  <a:pt x="81" y="83"/>
                  <a:pt x="81" y="83"/>
                </a:cubicBezTo>
                <a:cubicBezTo>
                  <a:pt x="83" y="83"/>
                  <a:pt x="83" y="83"/>
                  <a:pt x="83" y="83"/>
                </a:cubicBezTo>
                <a:cubicBezTo>
                  <a:pt x="85" y="76"/>
                  <a:pt x="85" y="76"/>
                  <a:pt x="85" y="76"/>
                </a:cubicBezTo>
                <a:cubicBezTo>
                  <a:pt x="85" y="75"/>
                  <a:pt x="85" y="75"/>
                  <a:pt x="85" y="75"/>
                </a:cubicBezTo>
                <a:cubicBezTo>
                  <a:pt x="86" y="75"/>
                  <a:pt x="86" y="75"/>
                  <a:pt x="86" y="76"/>
                </a:cubicBezTo>
                <a:cubicBezTo>
                  <a:pt x="84" y="83"/>
                  <a:pt x="84" y="83"/>
                  <a:pt x="84" y="83"/>
                </a:cubicBezTo>
                <a:cubicBezTo>
                  <a:pt x="87" y="83"/>
                  <a:pt x="87" y="83"/>
                  <a:pt x="87" y="83"/>
                </a:cubicBezTo>
                <a:close/>
                <a:moveTo>
                  <a:pt x="65" y="83"/>
                </a:moveTo>
                <a:cubicBezTo>
                  <a:pt x="66" y="80"/>
                  <a:pt x="66" y="80"/>
                  <a:pt x="66" y="80"/>
                </a:cubicBezTo>
                <a:cubicBezTo>
                  <a:pt x="60" y="80"/>
                  <a:pt x="60" y="80"/>
                  <a:pt x="60" y="80"/>
                </a:cubicBezTo>
                <a:cubicBezTo>
                  <a:pt x="67" y="69"/>
                  <a:pt x="67" y="69"/>
                  <a:pt x="67" y="69"/>
                </a:cubicBezTo>
                <a:cubicBezTo>
                  <a:pt x="68" y="68"/>
                  <a:pt x="68" y="67"/>
                  <a:pt x="68" y="66"/>
                </a:cubicBezTo>
                <a:cubicBezTo>
                  <a:pt x="69" y="64"/>
                  <a:pt x="69" y="62"/>
                  <a:pt x="68" y="61"/>
                </a:cubicBezTo>
                <a:cubicBezTo>
                  <a:pt x="67" y="60"/>
                  <a:pt x="66" y="59"/>
                  <a:pt x="64" y="59"/>
                </a:cubicBezTo>
                <a:cubicBezTo>
                  <a:pt x="60" y="59"/>
                  <a:pt x="58" y="61"/>
                  <a:pt x="57" y="64"/>
                </a:cubicBezTo>
                <a:cubicBezTo>
                  <a:pt x="56" y="68"/>
                  <a:pt x="56" y="68"/>
                  <a:pt x="56" y="68"/>
                </a:cubicBezTo>
                <a:cubicBezTo>
                  <a:pt x="61" y="68"/>
                  <a:pt x="61" y="68"/>
                  <a:pt x="61" y="68"/>
                </a:cubicBezTo>
                <a:cubicBezTo>
                  <a:pt x="62" y="64"/>
                  <a:pt x="62" y="64"/>
                  <a:pt x="62" y="64"/>
                </a:cubicBezTo>
                <a:cubicBezTo>
                  <a:pt x="62" y="63"/>
                  <a:pt x="62" y="63"/>
                  <a:pt x="63" y="63"/>
                </a:cubicBezTo>
                <a:cubicBezTo>
                  <a:pt x="64" y="63"/>
                  <a:pt x="64" y="64"/>
                  <a:pt x="64" y="65"/>
                </a:cubicBezTo>
                <a:cubicBezTo>
                  <a:pt x="63" y="67"/>
                  <a:pt x="63" y="68"/>
                  <a:pt x="62" y="69"/>
                </a:cubicBezTo>
                <a:cubicBezTo>
                  <a:pt x="54" y="80"/>
                  <a:pt x="54" y="80"/>
                  <a:pt x="54" y="80"/>
                </a:cubicBezTo>
                <a:cubicBezTo>
                  <a:pt x="54" y="83"/>
                  <a:pt x="54" y="83"/>
                  <a:pt x="54" y="83"/>
                </a:cubicBezTo>
                <a:cubicBezTo>
                  <a:pt x="65" y="83"/>
                  <a:pt x="65" y="83"/>
                  <a:pt x="65" y="83"/>
                </a:cubicBezTo>
                <a:close/>
                <a:moveTo>
                  <a:pt x="81" y="80"/>
                </a:moveTo>
                <a:cubicBezTo>
                  <a:pt x="81" y="76"/>
                  <a:pt x="81" y="76"/>
                  <a:pt x="81" y="76"/>
                </a:cubicBezTo>
                <a:cubicBezTo>
                  <a:pt x="79" y="76"/>
                  <a:pt x="79" y="76"/>
                  <a:pt x="79" y="76"/>
                </a:cubicBezTo>
                <a:cubicBezTo>
                  <a:pt x="82" y="60"/>
                  <a:pt x="82" y="60"/>
                  <a:pt x="82" y="60"/>
                </a:cubicBezTo>
                <a:cubicBezTo>
                  <a:pt x="75" y="60"/>
                  <a:pt x="75" y="60"/>
                  <a:pt x="75" y="60"/>
                </a:cubicBezTo>
                <a:cubicBezTo>
                  <a:pt x="67" y="76"/>
                  <a:pt x="67" y="76"/>
                  <a:pt x="67" y="76"/>
                </a:cubicBezTo>
                <a:cubicBezTo>
                  <a:pt x="66" y="80"/>
                  <a:pt x="66" y="80"/>
                  <a:pt x="66" y="80"/>
                </a:cubicBezTo>
                <a:cubicBezTo>
                  <a:pt x="73" y="80"/>
                  <a:pt x="73" y="80"/>
                  <a:pt x="73" y="80"/>
                </a:cubicBezTo>
                <a:cubicBezTo>
                  <a:pt x="73" y="83"/>
                  <a:pt x="73" y="83"/>
                  <a:pt x="73" y="83"/>
                </a:cubicBezTo>
                <a:cubicBezTo>
                  <a:pt x="78" y="83"/>
                  <a:pt x="78" y="83"/>
                  <a:pt x="78" y="83"/>
                </a:cubicBezTo>
                <a:cubicBezTo>
                  <a:pt x="78" y="80"/>
                  <a:pt x="78" y="80"/>
                  <a:pt x="78" y="80"/>
                </a:cubicBezTo>
                <a:cubicBezTo>
                  <a:pt x="81" y="80"/>
                  <a:pt x="81" y="80"/>
                  <a:pt x="81" y="80"/>
                </a:cubicBezTo>
                <a:close/>
                <a:moveTo>
                  <a:pt x="74" y="76"/>
                </a:moveTo>
                <a:cubicBezTo>
                  <a:pt x="75" y="67"/>
                  <a:pt x="75" y="67"/>
                  <a:pt x="75" y="67"/>
                </a:cubicBezTo>
                <a:cubicBezTo>
                  <a:pt x="72" y="76"/>
                  <a:pt x="72" y="76"/>
                  <a:pt x="72" y="76"/>
                </a:cubicBezTo>
                <a:lnTo>
                  <a:pt x="74" y="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08" name="Freeform 28"/>
          <p:cNvSpPr>
            <a:spLocks noEditPoints="1" noChangeArrowheads="1"/>
          </p:cNvSpPr>
          <p:nvPr/>
        </p:nvSpPr>
        <p:spPr bwMode="auto">
          <a:xfrm>
            <a:off x="2042585" y="4724401"/>
            <a:ext cx="419100" cy="438151"/>
          </a:xfrm>
          <a:custGeom>
            <a:avLst/>
            <a:gdLst>
              <a:gd name="T0" fmla="*/ 81 w 94"/>
              <a:gd name="T1" fmla="*/ 57 h 98"/>
              <a:gd name="T2" fmla="*/ 81 w 94"/>
              <a:gd name="T3" fmla="*/ 95 h 98"/>
              <a:gd name="T4" fmla="*/ 81 w 94"/>
              <a:gd name="T5" fmla="*/ 98 h 98"/>
              <a:gd name="T6" fmla="*/ 78 w 94"/>
              <a:gd name="T7" fmla="*/ 98 h 98"/>
              <a:gd name="T8" fmla="*/ 67 w 94"/>
              <a:gd name="T9" fmla="*/ 98 h 98"/>
              <a:gd name="T10" fmla="*/ 67 w 94"/>
              <a:gd name="T11" fmla="*/ 68 h 98"/>
              <a:gd name="T12" fmla="*/ 62 w 94"/>
              <a:gd name="T13" fmla="*/ 64 h 98"/>
              <a:gd name="T14" fmla="*/ 49 w 94"/>
              <a:gd name="T15" fmla="*/ 64 h 98"/>
              <a:gd name="T16" fmla="*/ 45 w 94"/>
              <a:gd name="T17" fmla="*/ 68 h 98"/>
              <a:gd name="T18" fmla="*/ 45 w 94"/>
              <a:gd name="T19" fmla="*/ 98 h 98"/>
              <a:gd name="T20" fmla="*/ 15 w 94"/>
              <a:gd name="T21" fmla="*/ 98 h 98"/>
              <a:gd name="T22" fmla="*/ 12 w 94"/>
              <a:gd name="T23" fmla="*/ 98 h 98"/>
              <a:gd name="T24" fmla="*/ 12 w 94"/>
              <a:gd name="T25" fmla="*/ 95 h 98"/>
              <a:gd name="T26" fmla="*/ 12 w 94"/>
              <a:gd name="T27" fmla="*/ 57 h 98"/>
              <a:gd name="T28" fmla="*/ 3 w 94"/>
              <a:gd name="T29" fmla="*/ 57 h 98"/>
              <a:gd name="T30" fmla="*/ 0 w 94"/>
              <a:gd name="T31" fmla="*/ 50 h 98"/>
              <a:gd name="T32" fmla="*/ 44 w 94"/>
              <a:gd name="T33" fmla="*/ 3 h 98"/>
              <a:gd name="T34" fmla="*/ 47 w 94"/>
              <a:gd name="T35" fmla="*/ 0 h 98"/>
              <a:gd name="T36" fmla="*/ 50 w 94"/>
              <a:gd name="T37" fmla="*/ 3 h 98"/>
              <a:gd name="T38" fmla="*/ 94 w 94"/>
              <a:gd name="T39" fmla="*/ 50 h 98"/>
              <a:gd name="T40" fmla="*/ 90 w 94"/>
              <a:gd name="T41" fmla="*/ 57 h 98"/>
              <a:gd name="T42" fmla="*/ 81 w 94"/>
              <a:gd name="T43" fmla="*/ 57 h 98"/>
              <a:gd name="T44" fmla="*/ 74 w 94"/>
              <a:gd name="T45" fmla="*/ 8 h 98"/>
              <a:gd name="T46" fmla="*/ 77 w 94"/>
              <a:gd name="T47" fmla="*/ 8 h 98"/>
              <a:gd name="T48" fmla="*/ 77 w 94"/>
              <a:gd name="T49" fmla="*/ 2 h 98"/>
              <a:gd name="T50" fmla="*/ 61 w 94"/>
              <a:gd name="T51" fmla="*/ 2 h 98"/>
              <a:gd name="T52" fmla="*/ 61 w 94"/>
              <a:gd name="T53" fmla="*/ 8 h 98"/>
              <a:gd name="T54" fmla="*/ 64 w 94"/>
              <a:gd name="T55" fmla="*/ 8 h 98"/>
              <a:gd name="T56" fmla="*/ 64 w 94"/>
              <a:gd name="T57" fmla="*/ 13 h 98"/>
              <a:gd name="T58" fmla="*/ 74 w 94"/>
              <a:gd name="T59" fmla="*/ 25 h 98"/>
              <a:gd name="T60" fmla="*/ 74 w 94"/>
              <a:gd name="T61" fmla="*/ 8 h 9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94"/>
              <a:gd name="T94" fmla="*/ 0 h 98"/>
              <a:gd name="T95" fmla="*/ 94 w 94"/>
              <a:gd name="T96" fmla="*/ 98 h 9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94" h="98">
                <a:moveTo>
                  <a:pt x="81" y="57"/>
                </a:moveTo>
                <a:cubicBezTo>
                  <a:pt x="81" y="95"/>
                  <a:pt x="81" y="95"/>
                  <a:pt x="81" y="95"/>
                </a:cubicBezTo>
                <a:cubicBezTo>
                  <a:pt x="81" y="98"/>
                  <a:pt x="81" y="98"/>
                  <a:pt x="81" y="98"/>
                </a:cubicBezTo>
                <a:cubicBezTo>
                  <a:pt x="78" y="98"/>
                  <a:pt x="78" y="98"/>
                  <a:pt x="78" y="98"/>
                </a:cubicBezTo>
                <a:cubicBezTo>
                  <a:pt x="67" y="98"/>
                  <a:pt x="67" y="98"/>
                  <a:pt x="67" y="98"/>
                </a:cubicBezTo>
                <a:cubicBezTo>
                  <a:pt x="67" y="68"/>
                  <a:pt x="67" y="68"/>
                  <a:pt x="67" y="68"/>
                </a:cubicBezTo>
                <a:cubicBezTo>
                  <a:pt x="67" y="66"/>
                  <a:pt x="65" y="64"/>
                  <a:pt x="62" y="64"/>
                </a:cubicBezTo>
                <a:cubicBezTo>
                  <a:pt x="49" y="64"/>
                  <a:pt x="49" y="64"/>
                  <a:pt x="49" y="64"/>
                </a:cubicBezTo>
                <a:cubicBezTo>
                  <a:pt x="47" y="64"/>
                  <a:pt x="45" y="66"/>
                  <a:pt x="45" y="68"/>
                </a:cubicBezTo>
                <a:cubicBezTo>
                  <a:pt x="45" y="98"/>
                  <a:pt x="45" y="98"/>
                  <a:pt x="45" y="98"/>
                </a:cubicBezTo>
                <a:cubicBezTo>
                  <a:pt x="15" y="98"/>
                  <a:pt x="15" y="98"/>
                  <a:pt x="15" y="98"/>
                </a:cubicBezTo>
                <a:cubicBezTo>
                  <a:pt x="12" y="98"/>
                  <a:pt x="12" y="98"/>
                  <a:pt x="12" y="98"/>
                </a:cubicBezTo>
                <a:cubicBezTo>
                  <a:pt x="12" y="95"/>
                  <a:pt x="12" y="95"/>
                  <a:pt x="12" y="95"/>
                </a:cubicBezTo>
                <a:cubicBezTo>
                  <a:pt x="12" y="57"/>
                  <a:pt x="12" y="57"/>
                  <a:pt x="12" y="57"/>
                </a:cubicBezTo>
                <a:cubicBezTo>
                  <a:pt x="3" y="57"/>
                  <a:pt x="3" y="57"/>
                  <a:pt x="3" y="57"/>
                </a:cubicBezTo>
                <a:cubicBezTo>
                  <a:pt x="0" y="50"/>
                  <a:pt x="0" y="50"/>
                  <a:pt x="0" y="50"/>
                </a:cubicBezTo>
                <a:cubicBezTo>
                  <a:pt x="44" y="3"/>
                  <a:pt x="44" y="3"/>
                  <a:pt x="44" y="3"/>
                </a:cubicBezTo>
                <a:cubicBezTo>
                  <a:pt x="47" y="0"/>
                  <a:pt x="47" y="0"/>
                  <a:pt x="47" y="0"/>
                </a:cubicBezTo>
                <a:cubicBezTo>
                  <a:pt x="50" y="3"/>
                  <a:pt x="50" y="3"/>
                  <a:pt x="50" y="3"/>
                </a:cubicBezTo>
                <a:cubicBezTo>
                  <a:pt x="94" y="50"/>
                  <a:pt x="94" y="50"/>
                  <a:pt x="94" y="50"/>
                </a:cubicBezTo>
                <a:cubicBezTo>
                  <a:pt x="90" y="57"/>
                  <a:pt x="90" y="57"/>
                  <a:pt x="90" y="57"/>
                </a:cubicBezTo>
                <a:cubicBezTo>
                  <a:pt x="81" y="57"/>
                  <a:pt x="81" y="57"/>
                  <a:pt x="81" y="57"/>
                </a:cubicBezTo>
                <a:close/>
                <a:moveTo>
                  <a:pt x="74" y="8"/>
                </a:moveTo>
                <a:cubicBezTo>
                  <a:pt x="77" y="8"/>
                  <a:pt x="77" y="8"/>
                  <a:pt x="77" y="8"/>
                </a:cubicBezTo>
                <a:cubicBezTo>
                  <a:pt x="77" y="2"/>
                  <a:pt x="77" y="2"/>
                  <a:pt x="77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8"/>
                  <a:pt x="61" y="8"/>
                  <a:pt x="61" y="8"/>
                </a:cubicBezTo>
                <a:cubicBezTo>
                  <a:pt x="64" y="8"/>
                  <a:pt x="64" y="8"/>
                  <a:pt x="64" y="8"/>
                </a:cubicBezTo>
                <a:cubicBezTo>
                  <a:pt x="64" y="13"/>
                  <a:pt x="64" y="13"/>
                  <a:pt x="64" y="13"/>
                </a:cubicBezTo>
                <a:cubicBezTo>
                  <a:pt x="74" y="25"/>
                  <a:pt x="74" y="25"/>
                  <a:pt x="74" y="25"/>
                </a:cubicBezTo>
                <a:lnTo>
                  <a:pt x="74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09" name="Freeform 29"/>
          <p:cNvSpPr>
            <a:spLocks noEditPoints="1" noChangeArrowheads="1"/>
          </p:cNvSpPr>
          <p:nvPr/>
        </p:nvSpPr>
        <p:spPr bwMode="auto">
          <a:xfrm>
            <a:off x="2861733" y="5547785"/>
            <a:ext cx="440267" cy="459316"/>
          </a:xfrm>
          <a:custGeom>
            <a:avLst/>
            <a:gdLst>
              <a:gd name="T0" fmla="*/ 13 w 99"/>
              <a:gd name="T1" fmla="*/ 34 h 103"/>
              <a:gd name="T2" fmla="*/ 14 w 99"/>
              <a:gd name="T3" fmla="*/ 48 h 103"/>
              <a:gd name="T4" fmla="*/ 15 w 99"/>
              <a:gd name="T5" fmla="*/ 2 h 103"/>
              <a:gd name="T6" fmla="*/ 18 w 99"/>
              <a:gd name="T7" fmla="*/ 0 h 103"/>
              <a:gd name="T8" fmla="*/ 65 w 99"/>
              <a:gd name="T9" fmla="*/ 0 h 103"/>
              <a:gd name="T10" fmla="*/ 83 w 99"/>
              <a:gd name="T11" fmla="*/ 9 h 103"/>
              <a:gd name="T12" fmla="*/ 84 w 99"/>
              <a:gd name="T13" fmla="*/ 11 h 103"/>
              <a:gd name="T14" fmla="*/ 85 w 99"/>
              <a:gd name="T15" fmla="*/ 48 h 103"/>
              <a:gd name="T16" fmla="*/ 87 w 99"/>
              <a:gd name="T17" fmla="*/ 34 h 103"/>
              <a:gd name="T18" fmla="*/ 96 w 99"/>
              <a:gd name="T19" fmla="*/ 83 h 103"/>
              <a:gd name="T20" fmla="*/ 84 w 99"/>
              <a:gd name="T21" fmla="*/ 103 h 103"/>
              <a:gd name="T22" fmla="*/ 15 w 99"/>
              <a:gd name="T23" fmla="*/ 103 h 103"/>
              <a:gd name="T24" fmla="*/ 3 w 99"/>
              <a:gd name="T25" fmla="*/ 83 h 103"/>
              <a:gd name="T26" fmla="*/ 22 w 99"/>
              <a:gd name="T27" fmla="*/ 48 h 103"/>
              <a:gd name="T28" fmla="*/ 78 w 99"/>
              <a:gd name="T29" fmla="*/ 16 h 103"/>
              <a:gd name="T30" fmla="*/ 65 w 99"/>
              <a:gd name="T31" fmla="*/ 16 h 103"/>
              <a:gd name="T32" fmla="*/ 63 w 99"/>
              <a:gd name="T33" fmla="*/ 7 h 103"/>
              <a:gd name="T34" fmla="*/ 22 w 99"/>
              <a:gd name="T35" fmla="*/ 48 h 103"/>
              <a:gd name="T36" fmla="*/ 22 w 99"/>
              <a:gd name="T37" fmla="*/ 73 h 103"/>
              <a:gd name="T38" fmla="*/ 77 w 99"/>
              <a:gd name="T39" fmla="*/ 96 h 103"/>
              <a:gd name="T40" fmla="*/ 28 w 99"/>
              <a:gd name="T41" fmla="*/ 16 h 103"/>
              <a:gd name="T42" fmla="*/ 58 w 99"/>
              <a:gd name="T43" fmla="*/ 20 h 103"/>
              <a:gd name="T44" fmla="*/ 28 w 99"/>
              <a:gd name="T45" fmla="*/ 16 h 103"/>
              <a:gd name="T46" fmla="*/ 28 w 99"/>
              <a:gd name="T47" fmla="*/ 37 h 103"/>
              <a:gd name="T48" fmla="*/ 71 w 99"/>
              <a:gd name="T49" fmla="*/ 33 h 103"/>
              <a:gd name="T50" fmla="*/ 28 w 99"/>
              <a:gd name="T51" fmla="*/ 24 h 103"/>
              <a:gd name="T52" fmla="*/ 71 w 99"/>
              <a:gd name="T53" fmla="*/ 28 h 103"/>
              <a:gd name="T54" fmla="*/ 28 w 99"/>
              <a:gd name="T55" fmla="*/ 24 h 103"/>
              <a:gd name="T56" fmla="*/ 67 w 99"/>
              <a:gd name="T57" fmla="*/ 13 h 103"/>
              <a:gd name="T58" fmla="*/ 67 w 99"/>
              <a:gd name="T59" fmla="*/ 8 h 103"/>
              <a:gd name="T60" fmla="*/ 76 w 99"/>
              <a:gd name="T61" fmla="*/ 60 h 103"/>
              <a:gd name="T62" fmla="*/ 84 w 99"/>
              <a:gd name="T63" fmla="*/ 60 h 103"/>
              <a:gd name="T64" fmla="*/ 87 w 99"/>
              <a:gd name="T65" fmla="*/ 56 h 103"/>
              <a:gd name="T66" fmla="*/ 79 w 99"/>
              <a:gd name="T67" fmla="*/ 56 h 10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9"/>
              <a:gd name="T103" fmla="*/ 0 h 103"/>
              <a:gd name="T104" fmla="*/ 99 w 99"/>
              <a:gd name="T105" fmla="*/ 103 h 10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9" h="103">
                <a:moveTo>
                  <a:pt x="3" y="34"/>
                </a:moveTo>
                <a:cubicBezTo>
                  <a:pt x="13" y="34"/>
                  <a:pt x="13" y="34"/>
                  <a:pt x="13" y="34"/>
                </a:cubicBezTo>
                <a:cubicBezTo>
                  <a:pt x="13" y="48"/>
                  <a:pt x="13" y="48"/>
                  <a:pt x="13" y="48"/>
                </a:cubicBezTo>
                <a:cubicBezTo>
                  <a:pt x="14" y="48"/>
                  <a:pt x="14" y="48"/>
                  <a:pt x="14" y="48"/>
                </a:cubicBezTo>
                <a:cubicBezTo>
                  <a:pt x="15" y="48"/>
                  <a:pt x="15" y="48"/>
                  <a:pt x="15" y="48"/>
                </a:cubicBezTo>
                <a:cubicBezTo>
                  <a:pt x="15" y="2"/>
                  <a:pt x="15" y="2"/>
                  <a:pt x="15" y="2"/>
                </a:cubicBezTo>
                <a:cubicBezTo>
                  <a:pt x="15" y="0"/>
                  <a:pt x="15" y="0"/>
                  <a:pt x="15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6" y="0"/>
                  <a:pt x="66" y="0"/>
                  <a:pt x="66" y="0"/>
                </a:cubicBezTo>
                <a:cubicBezTo>
                  <a:pt x="83" y="9"/>
                  <a:pt x="83" y="9"/>
                  <a:pt x="83" y="9"/>
                </a:cubicBezTo>
                <a:cubicBezTo>
                  <a:pt x="84" y="10"/>
                  <a:pt x="84" y="10"/>
                  <a:pt x="84" y="10"/>
                </a:cubicBezTo>
                <a:cubicBezTo>
                  <a:pt x="84" y="11"/>
                  <a:pt x="84" y="11"/>
                  <a:pt x="84" y="11"/>
                </a:cubicBezTo>
                <a:cubicBezTo>
                  <a:pt x="84" y="48"/>
                  <a:pt x="84" y="48"/>
                  <a:pt x="84" y="48"/>
                </a:cubicBezTo>
                <a:cubicBezTo>
                  <a:pt x="85" y="48"/>
                  <a:pt x="85" y="48"/>
                  <a:pt x="85" y="48"/>
                </a:cubicBezTo>
                <a:cubicBezTo>
                  <a:pt x="87" y="48"/>
                  <a:pt x="87" y="48"/>
                  <a:pt x="87" y="48"/>
                </a:cubicBezTo>
                <a:cubicBezTo>
                  <a:pt x="87" y="34"/>
                  <a:pt x="87" y="34"/>
                  <a:pt x="87" y="34"/>
                </a:cubicBezTo>
                <a:cubicBezTo>
                  <a:pt x="96" y="34"/>
                  <a:pt x="96" y="34"/>
                  <a:pt x="96" y="34"/>
                </a:cubicBezTo>
                <a:cubicBezTo>
                  <a:pt x="99" y="50"/>
                  <a:pt x="99" y="67"/>
                  <a:pt x="96" y="83"/>
                </a:cubicBezTo>
                <a:cubicBezTo>
                  <a:pt x="84" y="83"/>
                  <a:pt x="84" y="83"/>
                  <a:pt x="84" y="83"/>
                </a:cubicBezTo>
                <a:cubicBezTo>
                  <a:pt x="84" y="103"/>
                  <a:pt x="84" y="103"/>
                  <a:pt x="84" y="103"/>
                </a:cubicBezTo>
                <a:cubicBezTo>
                  <a:pt x="84" y="103"/>
                  <a:pt x="84" y="103"/>
                  <a:pt x="84" y="103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5" y="83"/>
                  <a:pt x="15" y="83"/>
                  <a:pt x="15" y="83"/>
                </a:cubicBezTo>
                <a:cubicBezTo>
                  <a:pt x="3" y="83"/>
                  <a:pt x="3" y="83"/>
                  <a:pt x="3" y="83"/>
                </a:cubicBezTo>
                <a:cubicBezTo>
                  <a:pt x="0" y="67"/>
                  <a:pt x="0" y="51"/>
                  <a:pt x="3" y="34"/>
                </a:cubicBezTo>
                <a:close/>
                <a:moveTo>
                  <a:pt x="22" y="48"/>
                </a:moveTo>
                <a:cubicBezTo>
                  <a:pt x="78" y="48"/>
                  <a:pt x="78" y="48"/>
                  <a:pt x="78" y="48"/>
                </a:cubicBezTo>
                <a:cubicBezTo>
                  <a:pt x="78" y="16"/>
                  <a:pt x="78" y="16"/>
                  <a:pt x="78" y="16"/>
                </a:cubicBezTo>
                <a:cubicBezTo>
                  <a:pt x="66" y="16"/>
                  <a:pt x="66" y="16"/>
                  <a:pt x="66" y="16"/>
                </a:cubicBezTo>
                <a:cubicBezTo>
                  <a:pt x="65" y="16"/>
                  <a:pt x="65" y="16"/>
                  <a:pt x="65" y="16"/>
                </a:cubicBezTo>
                <a:cubicBezTo>
                  <a:pt x="64" y="14"/>
                  <a:pt x="64" y="14"/>
                  <a:pt x="64" y="14"/>
                </a:cubicBezTo>
                <a:cubicBezTo>
                  <a:pt x="63" y="7"/>
                  <a:pt x="63" y="7"/>
                  <a:pt x="63" y="7"/>
                </a:cubicBezTo>
                <a:cubicBezTo>
                  <a:pt x="22" y="7"/>
                  <a:pt x="22" y="7"/>
                  <a:pt x="22" y="7"/>
                </a:cubicBezTo>
                <a:cubicBezTo>
                  <a:pt x="22" y="48"/>
                  <a:pt x="22" y="48"/>
                  <a:pt x="22" y="48"/>
                </a:cubicBezTo>
                <a:close/>
                <a:moveTo>
                  <a:pt x="77" y="73"/>
                </a:moveTo>
                <a:cubicBezTo>
                  <a:pt x="22" y="73"/>
                  <a:pt x="22" y="73"/>
                  <a:pt x="22" y="73"/>
                </a:cubicBezTo>
                <a:cubicBezTo>
                  <a:pt x="22" y="96"/>
                  <a:pt x="22" y="96"/>
                  <a:pt x="22" y="96"/>
                </a:cubicBezTo>
                <a:cubicBezTo>
                  <a:pt x="77" y="96"/>
                  <a:pt x="77" y="96"/>
                  <a:pt x="77" y="96"/>
                </a:cubicBezTo>
                <a:cubicBezTo>
                  <a:pt x="77" y="73"/>
                  <a:pt x="77" y="73"/>
                  <a:pt x="77" y="73"/>
                </a:cubicBezTo>
                <a:close/>
                <a:moveTo>
                  <a:pt x="28" y="16"/>
                </a:moveTo>
                <a:cubicBezTo>
                  <a:pt x="28" y="20"/>
                  <a:pt x="28" y="20"/>
                  <a:pt x="28" y="20"/>
                </a:cubicBezTo>
                <a:cubicBezTo>
                  <a:pt x="58" y="20"/>
                  <a:pt x="58" y="20"/>
                  <a:pt x="58" y="20"/>
                </a:cubicBezTo>
                <a:cubicBezTo>
                  <a:pt x="58" y="16"/>
                  <a:pt x="58" y="16"/>
                  <a:pt x="58" y="16"/>
                </a:cubicBezTo>
                <a:cubicBezTo>
                  <a:pt x="28" y="16"/>
                  <a:pt x="28" y="16"/>
                  <a:pt x="28" y="16"/>
                </a:cubicBezTo>
                <a:close/>
                <a:moveTo>
                  <a:pt x="28" y="33"/>
                </a:moveTo>
                <a:cubicBezTo>
                  <a:pt x="28" y="37"/>
                  <a:pt x="28" y="37"/>
                  <a:pt x="28" y="37"/>
                </a:cubicBezTo>
                <a:cubicBezTo>
                  <a:pt x="71" y="37"/>
                  <a:pt x="71" y="37"/>
                  <a:pt x="71" y="37"/>
                </a:cubicBezTo>
                <a:cubicBezTo>
                  <a:pt x="71" y="33"/>
                  <a:pt x="71" y="33"/>
                  <a:pt x="71" y="33"/>
                </a:cubicBezTo>
                <a:cubicBezTo>
                  <a:pt x="28" y="33"/>
                  <a:pt x="28" y="33"/>
                  <a:pt x="28" y="33"/>
                </a:cubicBezTo>
                <a:close/>
                <a:moveTo>
                  <a:pt x="28" y="24"/>
                </a:moveTo>
                <a:cubicBezTo>
                  <a:pt x="28" y="28"/>
                  <a:pt x="28" y="28"/>
                  <a:pt x="28" y="28"/>
                </a:cubicBezTo>
                <a:cubicBezTo>
                  <a:pt x="71" y="28"/>
                  <a:pt x="71" y="28"/>
                  <a:pt x="71" y="28"/>
                </a:cubicBezTo>
                <a:cubicBezTo>
                  <a:pt x="71" y="24"/>
                  <a:pt x="71" y="24"/>
                  <a:pt x="71" y="24"/>
                </a:cubicBezTo>
                <a:cubicBezTo>
                  <a:pt x="28" y="24"/>
                  <a:pt x="28" y="24"/>
                  <a:pt x="28" y="24"/>
                </a:cubicBezTo>
                <a:close/>
                <a:moveTo>
                  <a:pt x="67" y="8"/>
                </a:moveTo>
                <a:cubicBezTo>
                  <a:pt x="67" y="13"/>
                  <a:pt x="67" y="13"/>
                  <a:pt x="67" y="13"/>
                </a:cubicBezTo>
                <a:cubicBezTo>
                  <a:pt x="75" y="13"/>
                  <a:pt x="75" y="13"/>
                  <a:pt x="75" y="13"/>
                </a:cubicBezTo>
                <a:cubicBezTo>
                  <a:pt x="67" y="8"/>
                  <a:pt x="67" y="8"/>
                  <a:pt x="67" y="8"/>
                </a:cubicBezTo>
                <a:close/>
                <a:moveTo>
                  <a:pt x="76" y="56"/>
                </a:moveTo>
                <a:cubicBezTo>
                  <a:pt x="76" y="60"/>
                  <a:pt x="76" y="60"/>
                  <a:pt x="76" y="60"/>
                </a:cubicBezTo>
                <a:cubicBezTo>
                  <a:pt x="79" y="60"/>
                  <a:pt x="79" y="60"/>
                  <a:pt x="79" y="60"/>
                </a:cubicBezTo>
                <a:cubicBezTo>
                  <a:pt x="84" y="60"/>
                  <a:pt x="84" y="60"/>
                  <a:pt x="84" y="60"/>
                </a:cubicBezTo>
                <a:cubicBezTo>
                  <a:pt x="87" y="60"/>
                  <a:pt x="87" y="60"/>
                  <a:pt x="87" y="60"/>
                </a:cubicBezTo>
                <a:cubicBezTo>
                  <a:pt x="87" y="56"/>
                  <a:pt x="87" y="56"/>
                  <a:pt x="87" y="56"/>
                </a:cubicBezTo>
                <a:cubicBezTo>
                  <a:pt x="84" y="56"/>
                  <a:pt x="84" y="56"/>
                  <a:pt x="84" y="56"/>
                </a:cubicBezTo>
                <a:cubicBezTo>
                  <a:pt x="79" y="56"/>
                  <a:pt x="79" y="56"/>
                  <a:pt x="79" y="56"/>
                </a:cubicBezTo>
                <a:lnTo>
                  <a:pt x="76" y="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0" name="Freeform 30"/>
          <p:cNvSpPr>
            <a:spLocks noEditPoints="1" noChangeArrowheads="1"/>
          </p:cNvSpPr>
          <p:nvPr/>
        </p:nvSpPr>
        <p:spPr bwMode="auto">
          <a:xfrm>
            <a:off x="3780367" y="5564717"/>
            <a:ext cx="330200" cy="431800"/>
          </a:xfrm>
          <a:custGeom>
            <a:avLst/>
            <a:gdLst>
              <a:gd name="T0" fmla="*/ 60 w 74"/>
              <a:gd name="T1" fmla="*/ 0 h 97"/>
              <a:gd name="T2" fmla="*/ 72 w 74"/>
              <a:gd name="T3" fmla="*/ 11 h 97"/>
              <a:gd name="T4" fmla="*/ 70 w 74"/>
              <a:gd name="T5" fmla="*/ 52 h 97"/>
              <a:gd name="T6" fmla="*/ 63 w 74"/>
              <a:gd name="T7" fmla="*/ 11 h 97"/>
              <a:gd name="T8" fmla="*/ 60 w 74"/>
              <a:gd name="T9" fmla="*/ 8 h 97"/>
              <a:gd name="T10" fmla="*/ 26 w 74"/>
              <a:gd name="T11" fmla="*/ 11 h 97"/>
              <a:gd name="T12" fmla="*/ 26 w 74"/>
              <a:gd name="T13" fmla="*/ 18 h 97"/>
              <a:gd name="T14" fmla="*/ 19 w 74"/>
              <a:gd name="T15" fmla="*/ 24 h 97"/>
              <a:gd name="T16" fmla="*/ 12 w 74"/>
              <a:gd name="T17" fmla="*/ 24 h 97"/>
              <a:gd name="T18" fmla="*/ 8 w 74"/>
              <a:gd name="T19" fmla="*/ 79 h 97"/>
              <a:gd name="T20" fmla="*/ 9 w 74"/>
              <a:gd name="T21" fmla="*/ 81 h 97"/>
              <a:gd name="T22" fmla="*/ 28 w 74"/>
              <a:gd name="T23" fmla="*/ 82 h 97"/>
              <a:gd name="T24" fmla="*/ 37 w 74"/>
              <a:gd name="T25" fmla="*/ 90 h 97"/>
              <a:gd name="T26" fmla="*/ 3 w 74"/>
              <a:gd name="T27" fmla="*/ 87 h 97"/>
              <a:gd name="T28" fmla="*/ 3 w 74"/>
              <a:gd name="T29" fmla="*/ 87 h 97"/>
              <a:gd name="T30" fmla="*/ 0 w 74"/>
              <a:gd name="T31" fmla="*/ 20 h 97"/>
              <a:gd name="T32" fmla="*/ 1 w 74"/>
              <a:gd name="T33" fmla="*/ 17 h 97"/>
              <a:gd name="T34" fmla="*/ 19 w 74"/>
              <a:gd name="T35" fmla="*/ 0 h 97"/>
              <a:gd name="T36" fmla="*/ 17 w 74"/>
              <a:gd name="T37" fmla="*/ 52 h 97"/>
              <a:gd name="T38" fmla="*/ 27 w 74"/>
              <a:gd name="T39" fmla="*/ 56 h 97"/>
              <a:gd name="T40" fmla="*/ 17 w 74"/>
              <a:gd name="T41" fmla="*/ 52 h 97"/>
              <a:gd name="T42" fmla="*/ 17 w 74"/>
              <a:gd name="T43" fmla="*/ 44 h 97"/>
              <a:gd name="T44" fmla="*/ 56 w 74"/>
              <a:gd name="T45" fmla="*/ 40 h 97"/>
              <a:gd name="T46" fmla="*/ 17 w 74"/>
              <a:gd name="T47" fmla="*/ 28 h 97"/>
              <a:gd name="T48" fmla="*/ 56 w 74"/>
              <a:gd name="T49" fmla="*/ 33 h 97"/>
              <a:gd name="T50" fmla="*/ 17 w 74"/>
              <a:gd name="T51" fmla="*/ 28 h 97"/>
              <a:gd name="T52" fmla="*/ 34 w 74"/>
              <a:gd name="T53" fmla="*/ 22 h 97"/>
              <a:gd name="T54" fmla="*/ 56 w 74"/>
              <a:gd name="T55" fmla="*/ 17 h 97"/>
              <a:gd name="T56" fmla="*/ 41 w 74"/>
              <a:gd name="T57" fmla="*/ 69 h 97"/>
              <a:gd name="T58" fmla="*/ 41 w 74"/>
              <a:gd name="T59" fmla="*/ 69 h 97"/>
              <a:gd name="T60" fmla="*/ 31 w 74"/>
              <a:gd name="T61" fmla="*/ 66 h 97"/>
              <a:gd name="T62" fmla="*/ 47 w 74"/>
              <a:gd name="T63" fmla="*/ 86 h 97"/>
              <a:gd name="T64" fmla="*/ 59 w 74"/>
              <a:gd name="T65" fmla="*/ 87 h 97"/>
              <a:gd name="T66" fmla="*/ 71 w 74"/>
              <a:gd name="T67" fmla="*/ 96 h 97"/>
              <a:gd name="T68" fmla="*/ 72 w 74"/>
              <a:gd name="T69" fmla="*/ 90 h 97"/>
              <a:gd name="T70" fmla="*/ 63 w 74"/>
              <a:gd name="T71" fmla="*/ 80 h 97"/>
              <a:gd name="T72" fmla="*/ 64 w 74"/>
              <a:gd name="T73" fmla="*/ 57 h 97"/>
              <a:gd name="T74" fmla="*/ 38 w 74"/>
              <a:gd name="T75" fmla="*/ 54 h 97"/>
              <a:gd name="T76" fmla="*/ 42 w 74"/>
              <a:gd name="T77" fmla="*/ 58 h 97"/>
              <a:gd name="T78" fmla="*/ 40 w 74"/>
              <a:gd name="T79" fmla="*/ 76 h 97"/>
              <a:gd name="T80" fmla="*/ 57 w 74"/>
              <a:gd name="T81" fmla="*/ 78 h 97"/>
              <a:gd name="T82" fmla="*/ 59 w 74"/>
              <a:gd name="T83" fmla="*/ 61 h 97"/>
              <a:gd name="T84" fmla="*/ 21 w 74"/>
              <a:gd name="T85" fmla="*/ 9 h 97"/>
              <a:gd name="T86" fmla="*/ 13 w 74"/>
              <a:gd name="T87" fmla="*/ 19 h 97"/>
              <a:gd name="T88" fmla="*/ 17 w 74"/>
              <a:gd name="T89" fmla="*/ 20 h 97"/>
              <a:gd name="T90" fmla="*/ 18 w 74"/>
              <a:gd name="T91" fmla="*/ 20 h 97"/>
              <a:gd name="T92" fmla="*/ 22 w 74"/>
              <a:gd name="T93" fmla="*/ 17 h 97"/>
              <a:gd name="T94" fmla="*/ 22 w 74"/>
              <a:gd name="T95" fmla="*/ 15 h 97"/>
              <a:gd name="T96" fmla="*/ 21 w 74"/>
              <a:gd name="T97" fmla="*/ 11 h 9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74"/>
              <a:gd name="T148" fmla="*/ 0 h 97"/>
              <a:gd name="T149" fmla="*/ 74 w 74"/>
              <a:gd name="T150" fmla="*/ 97 h 9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74" h="97">
                <a:moveTo>
                  <a:pt x="21" y="0"/>
                </a:moveTo>
                <a:cubicBezTo>
                  <a:pt x="60" y="0"/>
                  <a:pt x="60" y="0"/>
                  <a:pt x="60" y="0"/>
                </a:cubicBezTo>
                <a:cubicBezTo>
                  <a:pt x="64" y="0"/>
                  <a:pt x="66" y="1"/>
                  <a:pt x="68" y="3"/>
                </a:cubicBezTo>
                <a:cubicBezTo>
                  <a:pt x="70" y="5"/>
                  <a:pt x="72" y="8"/>
                  <a:pt x="72" y="11"/>
                </a:cubicBezTo>
                <a:cubicBezTo>
                  <a:pt x="72" y="56"/>
                  <a:pt x="72" y="56"/>
                  <a:pt x="72" y="56"/>
                </a:cubicBezTo>
                <a:cubicBezTo>
                  <a:pt x="71" y="55"/>
                  <a:pt x="70" y="53"/>
                  <a:pt x="70" y="52"/>
                </a:cubicBezTo>
                <a:cubicBezTo>
                  <a:pt x="68" y="50"/>
                  <a:pt x="66" y="48"/>
                  <a:pt x="63" y="47"/>
                </a:cubicBezTo>
                <a:cubicBezTo>
                  <a:pt x="63" y="11"/>
                  <a:pt x="63" y="11"/>
                  <a:pt x="63" y="11"/>
                </a:cubicBezTo>
                <a:cubicBezTo>
                  <a:pt x="63" y="10"/>
                  <a:pt x="63" y="9"/>
                  <a:pt x="62" y="9"/>
                </a:cubicBezTo>
                <a:cubicBezTo>
                  <a:pt x="62" y="8"/>
                  <a:pt x="61" y="8"/>
                  <a:pt x="60" y="8"/>
                </a:cubicBezTo>
                <a:cubicBezTo>
                  <a:pt x="25" y="8"/>
                  <a:pt x="25" y="8"/>
                  <a:pt x="25" y="8"/>
                </a:cubicBezTo>
                <a:cubicBezTo>
                  <a:pt x="26" y="11"/>
                  <a:pt x="26" y="11"/>
                  <a:pt x="26" y="11"/>
                </a:cubicBezTo>
                <a:cubicBezTo>
                  <a:pt x="26" y="14"/>
                  <a:pt x="26" y="14"/>
                  <a:pt x="26" y="14"/>
                </a:cubicBezTo>
                <a:cubicBezTo>
                  <a:pt x="26" y="16"/>
                  <a:pt x="26" y="17"/>
                  <a:pt x="26" y="18"/>
                </a:cubicBezTo>
                <a:cubicBezTo>
                  <a:pt x="26" y="19"/>
                  <a:pt x="25" y="21"/>
                  <a:pt x="23" y="22"/>
                </a:cubicBezTo>
                <a:cubicBezTo>
                  <a:pt x="22" y="23"/>
                  <a:pt x="21" y="24"/>
                  <a:pt x="19" y="24"/>
                </a:cubicBezTo>
                <a:cubicBezTo>
                  <a:pt x="18" y="24"/>
                  <a:pt x="17" y="24"/>
                  <a:pt x="16" y="24"/>
                </a:cubicBezTo>
                <a:cubicBezTo>
                  <a:pt x="12" y="24"/>
                  <a:pt x="12" y="24"/>
                  <a:pt x="12" y="24"/>
                </a:cubicBezTo>
                <a:cubicBezTo>
                  <a:pt x="8" y="23"/>
                  <a:pt x="8" y="23"/>
                  <a:pt x="8" y="23"/>
                </a:cubicBezTo>
                <a:cubicBezTo>
                  <a:pt x="8" y="79"/>
                  <a:pt x="8" y="79"/>
                  <a:pt x="8" y="79"/>
                </a:cubicBezTo>
                <a:cubicBezTo>
                  <a:pt x="8" y="80"/>
                  <a:pt x="9" y="80"/>
                  <a:pt x="9" y="81"/>
                </a:cubicBezTo>
                <a:cubicBezTo>
                  <a:pt x="9" y="81"/>
                  <a:pt x="9" y="81"/>
                  <a:pt x="9" y="81"/>
                </a:cubicBezTo>
                <a:cubicBezTo>
                  <a:pt x="10" y="81"/>
                  <a:pt x="10" y="82"/>
                  <a:pt x="11" y="82"/>
                </a:cubicBezTo>
                <a:cubicBezTo>
                  <a:pt x="28" y="82"/>
                  <a:pt x="28" y="82"/>
                  <a:pt x="28" y="82"/>
                </a:cubicBezTo>
                <a:cubicBezTo>
                  <a:pt x="28" y="82"/>
                  <a:pt x="29" y="83"/>
                  <a:pt x="29" y="84"/>
                </a:cubicBezTo>
                <a:cubicBezTo>
                  <a:pt x="31" y="86"/>
                  <a:pt x="34" y="88"/>
                  <a:pt x="37" y="90"/>
                </a:cubicBezTo>
                <a:cubicBezTo>
                  <a:pt x="11" y="90"/>
                  <a:pt x="11" y="90"/>
                  <a:pt x="11" y="90"/>
                </a:cubicBezTo>
                <a:cubicBezTo>
                  <a:pt x="8" y="90"/>
                  <a:pt x="5" y="89"/>
                  <a:pt x="3" y="87"/>
                </a:cubicBezTo>
                <a:cubicBezTo>
                  <a:pt x="3" y="87"/>
                  <a:pt x="3" y="87"/>
                  <a:pt x="3" y="87"/>
                </a:cubicBezTo>
                <a:cubicBezTo>
                  <a:pt x="3" y="87"/>
                  <a:pt x="3" y="87"/>
                  <a:pt x="3" y="87"/>
                </a:cubicBezTo>
                <a:cubicBezTo>
                  <a:pt x="1" y="85"/>
                  <a:pt x="0" y="82"/>
                  <a:pt x="0" y="79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8"/>
                  <a:pt x="0" y="18"/>
                  <a:pt x="0" y="18"/>
                </a:cubicBezTo>
                <a:cubicBezTo>
                  <a:pt x="1" y="17"/>
                  <a:pt x="1" y="17"/>
                  <a:pt x="1" y="17"/>
                </a:cubicBezTo>
                <a:cubicBezTo>
                  <a:pt x="18" y="1"/>
                  <a:pt x="18" y="1"/>
                  <a:pt x="18" y="1"/>
                </a:cubicBezTo>
                <a:cubicBezTo>
                  <a:pt x="19" y="0"/>
                  <a:pt x="19" y="0"/>
                  <a:pt x="19" y="0"/>
                </a:cubicBezTo>
                <a:cubicBezTo>
                  <a:pt x="21" y="0"/>
                  <a:pt x="21" y="0"/>
                  <a:pt x="21" y="0"/>
                </a:cubicBezTo>
                <a:close/>
                <a:moveTo>
                  <a:pt x="17" y="52"/>
                </a:moveTo>
                <a:cubicBezTo>
                  <a:pt x="17" y="56"/>
                  <a:pt x="17" y="56"/>
                  <a:pt x="17" y="56"/>
                </a:cubicBezTo>
                <a:cubicBezTo>
                  <a:pt x="27" y="56"/>
                  <a:pt x="27" y="56"/>
                  <a:pt x="27" y="56"/>
                </a:cubicBezTo>
                <a:cubicBezTo>
                  <a:pt x="27" y="52"/>
                  <a:pt x="27" y="52"/>
                  <a:pt x="27" y="52"/>
                </a:cubicBezTo>
                <a:cubicBezTo>
                  <a:pt x="17" y="52"/>
                  <a:pt x="17" y="52"/>
                  <a:pt x="17" y="52"/>
                </a:cubicBezTo>
                <a:close/>
                <a:moveTo>
                  <a:pt x="17" y="40"/>
                </a:moveTo>
                <a:cubicBezTo>
                  <a:pt x="17" y="44"/>
                  <a:pt x="17" y="44"/>
                  <a:pt x="17" y="44"/>
                </a:cubicBezTo>
                <a:cubicBezTo>
                  <a:pt x="56" y="44"/>
                  <a:pt x="56" y="44"/>
                  <a:pt x="56" y="44"/>
                </a:cubicBezTo>
                <a:cubicBezTo>
                  <a:pt x="56" y="40"/>
                  <a:pt x="56" y="40"/>
                  <a:pt x="56" y="40"/>
                </a:cubicBezTo>
                <a:cubicBezTo>
                  <a:pt x="17" y="40"/>
                  <a:pt x="17" y="40"/>
                  <a:pt x="17" y="40"/>
                </a:cubicBezTo>
                <a:close/>
                <a:moveTo>
                  <a:pt x="17" y="28"/>
                </a:moveTo>
                <a:cubicBezTo>
                  <a:pt x="17" y="33"/>
                  <a:pt x="17" y="33"/>
                  <a:pt x="17" y="33"/>
                </a:cubicBezTo>
                <a:cubicBezTo>
                  <a:pt x="56" y="33"/>
                  <a:pt x="56" y="33"/>
                  <a:pt x="56" y="33"/>
                </a:cubicBezTo>
                <a:cubicBezTo>
                  <a:pt x="56" y="28"/>
                  <a:pt x="56" y="28"/>
                  <a:pt x="56" y="28"/>
                </a:cubicBezTo>
                <a:cubicBezTo>
                  <a:pt x="17" y="28"/>
                  <a:pt x="17" y="28"/>
                  <a:pt x="17" y="28"/>
                </a:cubicBezTo>
                <a:close/>
                <a:moveTo>
                  <a:pt x="34" y="17"/>
                </a:moveTo>
                <a:cubicBezTo>
                  <a:pt x="34" y="22"/>
                  <a:pt x="34" y="22"/>
                  <a:pt x="34" y="22"/>
                </a:cubicBezTo>
                <a:cubicBezTo>
                  <a:pt x="56" y="22"/>
                  <a:pt x="56" y="22"/>
                  <a:pt x="56" y="22"/>
                </a:cubicBezTo>
                <a:cubicBezTo>
                  <a:pt x="56" y="17"/>
                  <a:pt x="56" y="17"/>
                  <a:pt x="56" y="17"/>
                </a:cubicBezTo>
                <a:cubicBezTo>
                  <a:pt x="34" y="17"/>
                  <a:pt x="34" y="17"/>
                  <a:pt x="34" y="17"/>
                </a:cubicBezTo>
                <a:close/>
                <a:moveTo>
                  <a:pt x="41" y="69"/>
                </a:moveTo>
                <a:cubicBezTo>
                  <a:pt x="43" y="64"/>
                  <a:pt x="48" y="61"/>
                  <a:pt x="55" y="60"/>
                </a:cubicBezTo>
                <a:cubicBezTo>
                  <a:pt x="48" y="56"/>
                  <a:pt x="39" y="62"/>
                  <a:pt x="41" y="69"/>
                </a:cubicBezTo>
                <a:close/>
                <a:moveTo>
                  <a:pt x="38" y="54"/>
                </a:moveTo>
                <a:cubicBezTo>
                  <a:pt x="34" y="57"/>
                  <a:pt x="32" y="61"/>
                  <a:pt x="31" y="66"/>
                </a:cubicBezTo>
                <a:cubicBezTo>
                  <a:pt x="31" y="70"/>
                  <a:pt x="32" y="75"/>
                  <a:pt x="35" y="79"/>
                </a:cubicBezTo>
                <a:cubicBezTo>
                  <a:pt x="38" y="83"/>
                  <a:pt x="43" y="86"/>
                  <a:pt x="47" y="86"/>
                </a:cubicBezTo>
                <a:cubicBezTo>
                  <a:pt x="51" y="87"/>
                  <a:pt x="55" y="86"/>
                  <a:pt x="58" y="84"/>
                </a:cubicBezTo>
                <a:cubicBezTo>
                  <a:pt x="58" y="85"/>
                  <a:pt x="58" y="86"/>
                  <a:pt x="59" y="87"/>
                </a:cubicBezTo>
                <a:cubicBezTo>
                  <a:pt x="65" y="95"/>
                  <a:pt x="65" y="95"/>
                  <a:pt x="65" y="95"/>
                </a:cubicBezTo>
                <a:cubicBezTo>
                  <a:pt x="67" y="97"/>
                  <a:pt x="69" y="97"/>
                  <a:pt x="71" y="96"/>
                </a:cubicBezTo>
                <a:cubicBezTo>
                  <a:pt x="71" y="96"/>
                  <a:pt x="71" y="96"/>
                  <a:pt x="71" y="96"/>
                </a:cubicBezTo>
                <a:cubicBezTo>
                  <a:pt x="73" y="94"/>
                  <a:pt x="74" y="91"/>
                  <a:pt x="72" y="90"/>
                </a:cubicBezTo>
                <a:cubicBezTo>
                  <a:pt x="66" y="82"/>
                  <a:pt x="66" y="82"/>
                  <a:pt x="66" y="82"/>
                </a:cubicBezTo>
                <a:cubicBezTo>
                  <a:pt x="65" y="81"/>
                  <a:pt x="64" y="80"/>
                  <a:pt x="63" y="80"/>
                </a:cubicBezTo>
                <a:cubicBezTo>
                  <a:pt x="66" y="77"/>
                  <a:pt x="67" y="74"/>
                  <a:pt x="68" y="70"/>
                </a:cubicBezTo>
                <a:cubicBezTo>
                  <a:pt x="68" y="66"/>
                  <a:pt x="67" y="61"/>
                  <a:pt x="64" y="57"/>
                </a:cubicBezTo>
                <a:cubicBezTo>
                  <a:pt x="61" y="53"/>
                  <a:pt x="56" y="50"/>
                  <a:pt x="52" y="50"/>
                </a:cubicBezTo>
                <a:cubicBezTo>
                  <a:pt x="47" y="49"/>
                  <a:pt x="42" y="50"/>
                  <a:pt x="38" y="54"/>
                </a:cubicBezTo>
                <a:close/>
                <a:moveTo>
                  <a:pt x="51" y="56"/>
                </a:moveTo>
                <a:cubicBezTo>
                  <a:pt x="48" y="56"/>
                  <a:pt x="45" y="56"/>
                  <a:pt x="42" y="58"/>
                </a:cubicBezTo>
                <a:cubicBezTo>
                  <a:pt x="39" y="61"/>
                  <a:pt x="38" y="63"/>
                  <a:pt x="37" y="67"/>
                </a:cubicBezTo>
                <a:cubicBezTo>
                  <a:pt x="37" y="70"/>
                  <a:pt x="38" y="73"/>
                  <a:pt x="40" y="76"/>
                </a:cubicBezTo>
                <a:cubicBezTo>
                  <a:pt x="42" y="78"/>
                  <a:pt x="45" y="80"/>
                  <a:pt x="48" y="80"/>
                </a:cubicBezTo>
                <a:cubicBezTo>
                  <a:pt x="51" y="80"/>
                  <a:pt x="54" y="80"/>
                  <a:pt x="57" y="78"/>
                </a:cubicBezTo>
                <a:cubicBezTo>
                  <a:pt x="60" y="76"/>
                  <a:pt x="61" y="73"/>
                  <a:pt x="61" y="69"/>
                </a:cubicBezTo>
                <a:cubicBezTo>
                  <a:pt x="62" y="66"/>
                  <a:pt x="61" y="63"/>
                  <a:pt x="59" y="61"/>
                </a:cubicBezTo>
                <a:cubicBezTo>
                  <a:pt x="57" y="58"/>
                  <a:pt x="54" y="56"/>
                  <a:pt x="51" y="56"/>
                </a:cubicBezTo>
                <a:close/>
                <a:moveTo>
                  <a:pt x="21" y="9"/>
                </a:moveTo>
                <a:cubicBezTo>
                  <a:pt x="11" y="19"/>
                  <a:pt x="11" y="19"/>
                  <a:pt x="11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7" y="20"/>
                  <a:pt x="17" y="20"/>
                  <a:pt x="17" y="20"/>
                </a:cubicBezTo>
                <a:cubicBezTo>
                  <a:pt x="17" y="20"/>
                  <a:pt x="17" y="20"/>
                  <a:pt x="17" y="20"/>
                </a:cubicBezTo>
                <a:cubicBezTo>
                  <a:pt x="17" y="20"/>
                  <a:pt x="17" y="20"/>
                  <a:pt x="17" y="20"/>
                </a:cubicBezTo>
                <a:cubicBezTo>
                  <a:pt x="17" y="20"/>
                  <a:pt x="18" y="20"/>
                  <a:pt x="18" y="20"/>
                </a:cubicBezTo>
                <a:cubicBezTo>
                  <a:pt x="19" y="20"/>
                  <a:pt x="20" y="19"/>
                  <a:pt x="21" y="19"/>
                </a:cubicBezTo>
                <a:cubicBezTo>
                  <a:pt x="21" y="18"/>
                  <a:pt x="22" y="17"/>
                  <a:pt x="22" y="17"/>
                </a:cubicBezTo>
                <a:cubicBezTo>
                  <a:pt x="22" y="16"/>
                  <a:pt x="22" y="16"/>
                  <a:pt x="22" y="15"/>
                </a:cubicBezTo>
                <a:cubicBezTo>
                  <a:pt x="22" y="15"/>
                  <a:pt x="22" y="15"/>
                  <a:pt x="22" y="15"/>
                </a:cubicBezTo>
                <a:cubicBezTo>
                  <a:pt x="22" y="15"/>
                  <a:pt x="22" y="15"/>
                  <a:pt x="22" y="15"/>
                </a:cubicBezTo>
                <a:cubicBezTo>
                  <a:pt x="21" y="11"/>
                  <a:pt x="21" y="11"/>
                  <a:pt x="21" y="11"/>
                </a:cubicBezTo>
                <a:lnTo>
                  <a:pt x="21" y="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1" name="Freeform 31"/>
          <p:cNvSpPr>
            <a:spLocks noEditPoints="1" noChangeArrowheads="1"/>
          </p:cNvSpPr>
          <p:nvPr/>
        </p:nvSpPr>
        <p:spPr bwMode="auto">
          <a:xfrm>
            <a:off x="2055284" y="5590118"/>
            <a:ext cx="370416" cy="372533"/>
          </a:xfrm>
          <a:custGeom>
            <a:avLst/>
            <a:gdLst>
              <a:gd name="T0" fmla="*/ 42 w 83"/>
              <a:gd name="T1" fmla="*/ 0 h 83"/>
              <a:gd name="T2" fmla="*/ 71 w 83"/>
              <a:gd name="T3" fmla="*/ 12 h 83"/>
              <a:gd name="T4" fmla="*/ 83 w 83"/>
              <a:gd name="T5" fmla="*/ 41 h 83"/>
              <a:gd name="T6" fmla="*/ 71 w 83"/>
              <a:gd name="T7" fmla="*/ 71 h 83"/>
              <a:gd name="T8" fmla="*/ 42 w 83"/>
              <a:gd name="T9" fmla="*/ 83 h 83"/>
              <a:gd name="T10" fmla="*/ 12 w 83"/>
              <a:gd name="T11" fmla="*/ 71 h 83"/>
              <a:gd name="T12" fmla="*/ 0 w 83"/>
              <a:gd name="T13" fmla="*/ 41 h 83"/>
              <a:gd name="T14" fmla="*/ 12 w 83"/>
              <a:gd name="T15" fmla="*/ 12 h 83"/>
              <a:gd name="T16" fmla="*/ 42 w 83"/>
              <a:gd name="T17" fmla="*/ 0 h 83"/>
              <a:gd name="T18" fmla="*/ 58 w 83"/>
              <a:gd name="T19" fmla="*/ 46 h 83"/>
              <a:gd name="T20" fmla="*/ 59 w 83"/>
              <a:gd name="T21" fmla="*/ 37 h 83"/>
              <a:gd name="T22" fmla="*/ 48 w 83"/>
              <a:gd name="T23" fmla="*/ 31 h 83"/>
              <a:gd name="T24" fmla="*/ 37 w 83"/>
              <a:gd name="T25" fmla="*/ 25 h 83"/>
              <a:gd name="T26" fmla="*/ 29 w 83"/>
              <a:gd name="T27" fmla="*/ 29 h 83"/>
              <a:gd name="T28" fmla="*/ 29 w 83"/>
              <a:gd name="T29" fmla="*/ 41 h 83"/>
              <a:gd name="T30" fmla="*/ 29 w 83"/>
              <a:gd name="T31" fmla="*/ 53 h 83"/>
              <a:gd name="T32" fmla="*/ 36 w 83"/>
              <a:gd name="T33" fmla="*/ 59 h 83"/>
              <a:gd name="T34" fmla="*/ 48 w 83"/>
              <a:gd name="T35" fmla="*/ 52 h 83"/>
              <a:gd name="T36" fmla="*/ 58 w 83"/>
              <a:gd name="T37" fmla="*/ 46 h 83"/>
              <a:gd name="T38" fmla="*/ 61 w 83"/>
              <a:gd name="T39" fmla="*/ 23 h 83"/>
              <a:gd name="T40" fmla="*/ 42 w 83"/>
              <a:gd name="T41" fmla="*/ 15 h 83"/>
              <a:gd name="T42" fmla="*/ 23 w 83"/>
              <a:gd name="T43" fmla="*/ 23 h 83"/>
              <a:gd name="T44" fmla="*/ 15 w 83"/>
              <a:gd name="T45" fmla="*/ 41 h 83"/>
              <a:gd name="T46" fmla="*/ 23 w 83"/>
              <a:gd name="T47" fmla="*/ 60 h 83"/>
              <a:gd name="T48" fmla="*/ 42 w 83"/>
              <a:gd name="T49" fmla="*/ 68 h 83"/>
              <a:gd name="T50" fmla="*/ 61 w 83"/>
              <a:gd name="T51" fmla="*/ 60 h 83"/>
              <a:gd name="T52" fmla="*/ 69 w 83"/>
              <a:gd name="T53" fmla="*/ 41 h 83"/>
              <a:gd name="T54" fmla="*/ 61 w 83"/>
              <a:gd name="T55" fmla="*/ 23 h 83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83"/>
              <a:gd name="T85" fmla="*/ 0 h 83"/>
              <a:gd name="T86" fmla="*/ 83 w 83"/>
              <a:gd name="T87" fmla="*/ 83 h 83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83" h="83">
                <a:moveTo>
                  <a:pt x="42" y="0"/>
                </a:moveTo>
                <a:cubicBezTo>
                  <a:pt x="53" y="0"/>
                  <a:pt x="64" y="5"/>
                  <a:pt x="71" y="12"/>
                </a:cubicBezTo>
                <a:cubicBezTo>
                  <a:pt x="79" y="20"/>
                  <a:pt x="83" y="30"/>
                  <a:pt x="83" y="41"/>
                </a:cubicBezTo>
                <a:cubicBezTo>
                  <a:pt x="83" y="53"/>
                  <a:pt x="79" y="63"/>
                  <a:pt x="71" y="71"/>
                </a:cubicBezTo>
                <a:cubicBezTo>
                  <a:pt x="64" y="78"/>
                  <a:pt x="53" y="83"/>
                  <a:pt x="42" y="83"/>
                </a:cubicBezTo>
                <a:cubicBezTo>
                  <a:pt x="30" y="83"/>
                  <a:pt x="20" y="78"/>
                  <a:pt x="12" y="71"/>
                </a:cubicBezTo>
                <a:cubicBezTo>
                  <a:pt x="5" y="63"/>
                  <a:pt x="0" y="53"/>
                  <a:pt x="0" y="41"/>
                </a:cubicBezTo>
                <a:cubicBezTo>
                  <a:pt x="0" y="30"/>
                  <a:pt x="5" y="20"/>
                  <a:pt x="12" y="12"/>
                </a:cubicBezTo>
                <a:cubicBezTo>
                  <a:pt x="20" y="5"/>
                  <a:pt x="30" y="0"/>
                  <a:pt x="42" y="0"/>
                </a:cubicBezTo>
                <a:close/>
                <a:moveTo>
                  <a:pt x="58" y="46"/>
                </a:moveTo>
                <a:cubicBezTo>
                  <a:pt x="62" y="44"/>
                  <a:pt x="63" y="40"/>
                  <a:pt x="59" y="37"/>
                </a:cubicBezTo>
                <a:cubicBezTo>
                  <a:pt x="55" y="35"/>
                  <a:pt x="51" y="33"/>
                  <a:pt x="48" y="31"/>
                </a:cubicBezTo>
                <a:cubicBezTo>
                  <a:pt x="44" y="29"/>
                  <a:pt x="41" y="27"/>
                  <a:pt x="37" y="25"/>
                </a:cubicBezTo>
                <a:cubicBezTo>
                  <a:pt x="33" y="22"/>
                  <a:pt x="29" y="24"/>
                  <a:pt x="29" y="29"/>
                </a:cubicBezTo>
                <a:cubicBezTo>
                  <a:pt x="29" y="33"/>
                  <a:pt x="29" y="37"/>
                  <a:pt x="29" y="41"/>
                </a:cubicBezTo>
                <a:cubicBezTo>
                  <a:pt x="29" y="45"/>
                  <a:pt x="29" y="49"/>
                  <a:pt x="29" y="53"/>
                </a:cubicBezTo>
                <a:cubicBezTo>
                  <a:pt x="29" y="58"/>
                  <a:pt x="32" y="61"/>
                  <a:pt x="36" y="59"/>
                </a:cubicBezTo>
                <a:cubicBezTo>
                  <a:pt x="40" y="56"/>
                  <a:pt x="44" y="54"/>
                  <a:pt x="48" y="52"/>
                </a:cubicBezTo>
                <a:cubicBezTo>
                  <a:pt x="51" y="50"/>
                  <a:pt x="55" y="48"/>
                  <a:pt x="58" y="46"/>
                </a:cubicBezTo>
                <a:close/>
                <a:moveTo>
                  <a:pt x="61" y="23"/>
                </a:moveTo>
                <a:cubicBezTo>
                  <a:pt x="56" y="18"/>
                  <a:pt x="49" y="15"/>
                  <a:pt x="42" y="15"/>
                </a:cubicBezTo>
                <a:cubicBezTo>
                  <a:pt x="34" y="15"/>
                  <a:pt x="28" y="18"/>
                  <a:pt x="23" y="23"/>
                </a:cubicBezTo>
                <a:cubicBezTo>
                  <a:pt x="18" y="27"/>
                  <a:pt x="15" y="34"/>
                  <a:pt x="15" y="41"/>
                </a:cubicBezTo>
                <a:cubicBezTo>
                  <a:pt x="15" y="49"/>
                  <a:pt x="18" y="56"/>
                  <a:pt x="23" y="60"/>
                </a:cubicBezTo>
                <a:cubicBezTo>
                  <a:pt x="28" y="65"/>
                  <a:pt x="34" y="68"/>
                  <a:pt x="42" y="68"/>
                </a:cubicBezTo>
                <a:cubicBezTo>
                  <a:pt x="49" y="68"/>
                  <a:pt x="56" y="65"/>
                  <a:pt x="61" y="60"/>
                </a:cubicBezTo>
                <a:cubicBezTo>
                  <a:pt x="66" y="56"/>
                  <a:pt x="69" y="49"/>
                  <a:pt x="69" y="41"/>
                </a:cubicBezTo>
                <a:cubicBezTo>
                  <a:pt x="69" y="34"/>
                  <a:pt x="66" y="27"/>
                  <a:pt x="61" y="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2" name="Freeform 32"/>
          <p:cNvSpPr>
            <a:spLocks noEditPoints="1" noChangeArrowheads="1"/>
          </p:cNvSpPr>
          <p:nvPr/>
        </p:nvSpPr>
        <p:spPr bwMode="auto">
          <a:xfrm>
            <a:off x="4620685" y="5600701"/>
            <a:ext cx="317500" cy="361951"/>
          </a:xfrm>
          <a:custGeom>
            <a:avLst/>
            <a:gdLst>
              <a:gd name="T0" fmla="*/ 0 w 168"/>
              <a:gd name="T1" fmla="*/ 0 h 192"/>
              <a:gd name="T2" fmla="*/ 121 w 168"/>
              <a:gd name="T3" fmla="*/ 0 h 192"/>
              <a:gd name="T4" fmla="*/ 121 w 168"/>
              <a:gd name="T5" fmla="*/ 21 h 192"/>
              <a:gd name="T6" fmla="*/ 99 w 168"/>
              <a:gd name="T7" fmla="*/ 21 h 192"/>
              <a:gd name="T8" fmla="*/ 99 w 168"/>
              <a:gd name="T9" fmla="*/ 55 h 192"/>
              <a:gd name="T10" fmla="*/ 66 w 168"/>
              <a:gd name="T11" fmla="*/ 55 h 192"/>
              <a:gd name="T12" fmla="*/ 66 w 168"/>
              <a:gd name="T13" fmla="*/ 111 h 192"/>
              <a:gd name="T14" fmla="*/ 99 w 168"/>
              <a:gd name="T15" fmla="*/ 111 h 192"/>
              <a:gd name="T16" fmla="*/ 99 w 168"/>
              <a:gd name="T17" fmla="*/ 144 h 192"/>
              <a:gd name="T18" fmla="*/ 121 w 168"/>
              <a:gd name="T19" fmla="*/ 144 h 192"/>
              <a:gd name="T20" fmla="*/ 121 w 168"/>
              <a:gd name="T21" fmla="*/ 192 h 192"/>
              <a:gd name="T22" fmla="*/ 62 w 168"/>
              <a:gd name="T23" fmla="*/ 137 h 192"/>
              <a:gd name="T24" fmla="*/ 0 w 168"/>
              <a:gd name="T25" fmla="*/ 192 h 192"/>
              <a:gd name="T26" fmla="*/ 0 w 168"/>
              <a:gd name="T27" fmla="*/ 0 h 192"/>
              <a:gd name="T28" fmla="*/ 0 w 168"/>
              <a:gd name="T29" fmla="*/ 0 h 192"/>
              <a:gd name="T30" fmla="*/ 85 w 168"/>
              <a:gd name="T31" fmla="*/ 69 h 192"/>
              <a:gd name="T32" fmla="*/ 85 w 168"/>
              <a:gd name="T33" fmla="*/ 95 h 192"/>
              <a:gd name="T34" fmla="*/ 114 w 168"/>
              <a:gd name="T35" fmla="*/ 95 h 192"/>
              <a:gd name="T36" fmla="*/ 114 w 168"/>
              <a:gd name="T37" fmla="*/ 123 h 192"/>
              <a:gd name="T38" fmla="*/ 140 w 168"/>
              <a:gd name="T39" fmla="*/ 123 h 192"/>
              <a:gd name="T40" fmla="*/ 140 w 168"/>
              <a:gd name="T41" fmla="*/ 95 h 192"/>
              <a:gd name="T42" fmla="*/ 168 w 168"/>
              <a:gd name="T43" fmla="*/ 95 h 192"/>
              <a:gd name="T44" fmla="*/ 168 w 168"/>
              <a:gd name="T45" fmla="*/ 69 h 192"/>
              <a:gd name="T46" fmla="*/ 140 w 168"/>
              <a:gd name="T47" fmla="*/ 69 h 192"/>
              <a:gd name="T48" fmla="*/ 140 w 168"/>
              <a:gd name="T49" fmla="*/ 40 h 192"/>
              <a:gd name="T50" fmla="*/ 114 w 168"/>
              <a:gd name="T51" fmla="*/ 40 h 192"/>
              <a:gd name="T52" fmla="*/ 114 w 168"/>
              <a:gd name="T53" fmla="*/ 69 h 192"/>
              <a:gd name="T54" fmla="*/ 85 w 168"/>
              <a:gd name="T55" fmla="*/ 69 h 19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68"/>
              <a:gd name="T85" fmla="*/ 0 h 192"/>
              <a:gd name="T86" fmla="*/ 168 w 168"/>
              <a:gd name="T87" fmla="*/ 192 h 19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68" h="192">
                <a:moveTo>
                  <a:pt x="0" y="0"/>
                </a:moveTo>
                <a:lnTo>
                  <a:pt x="121" y="0"/>
                </a:lnTo>
                <a:lnTo>
                  <a:pt x="121" y="21"/>
                </a:lnTo>
                <a:lnTo>
                  <a:pt x="99" y="21"/>
                </a:lnTo>
                <a:lnTo>
                  <a:pt x="99" y="55"/>
                </a:lnTo>
                <a:lnTo>
                  <a:pt x="66" y="55"/>
                </a:lnTo>
                <a:lnTo>
                  <a:pt x="66" y="111"/>
                </a:lnTo>
                <a:lnTo>
                  <a:pt x="99" y="111"/>
                </a:lnTo>
                <a:lnTo>
                  <a:pt x="99" y="144"/>
                </a:lnTo>
                <a:lnTo>
                  <a:pt x="121" y="144"/>
                </a:lnTo>
                <a:lnTo>
                  <a:pt x="121" y="192"/>
                </a:lnTo>
                <a:lnTo>
                  <a:pt x="62" y="137"/>
                </a:lnTo>
                <a:lnTo>
                  <a:pt x="0" y="192"/>
                </a:lnTo>
                <a:lnTo>
                  <a:pt x="0" y="0"/>
                </a:lnTo>
                <a:lnTo>
                  <a:pt x="0" y="0"/>
                </a:lnTo>
                <a:close/>
                <a:moveTo>
                  <a:pt x="85" y="69"/>
                </a:moveTo>
                <a:lnTo>
                  <a:pt x="85" y="95"/>
                </a:lnTo>
                <a:lnTo>
                  <a:pt x="114" y="95"/>
                </a:lnTo>
                <a:lnTo>
                  <a:pt x="114" y="123"/>
                </a:lnTo>
                <a:lnTo>
                  <a:pt x="140" y="123"/>
                </a:lnTo>
                <a:lnTo>
                  <a:pt x="140" y="95"/>
                </a:lnTo>
                <a:lnTo>
                  <a:pt x="168" y="95"/>
                </a:lnTo>
                <a:lnTo>
                  <a:pt x="168" y="69"/>
                </a:lnTo>
                <a:lnTo>
                  <a:pt x="140" y="69"/>
                </a:lnTo>
                <a:lnTo>
                  <a:pt x="140" y="40"/>
                </a:lnTo>
                <a:lnTo>
                  <a:pt x="114" y="40"/>
                </a:lnTo>
                <a:lnTo>
                  <a:pt x="114" y="69"/>
                </a:lnTo>
                <a:lnTo>
                  <a:pt x="85" y="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3" name="Freeform 33"/>
          <p:cNvSpPr>
            <a:spLocks noEditPoints="1" noChangeArrowheads="1"/>
          </p:cNvSpPr>
          <p:nvPr/>
        </p:nvSpPr>
        <p:spPr bwMode="auto">
          <a:xfrm>
            <a:off x="2865967" y="4828118"/>
            <a:ext cx="419100" cy="273049"/>
          </a:xfrm>
          <a:custGeom>
            <a:avLst/>
            <a:gdLst>
              <a:gd name="T0" fmla="*/ 13 w 94"/>
              <a:gd name="T1" fmla="*/ 0 h 61"/>
              <a:gd name="T2" fmla="*/ 82 w 94"/>
              <a:gd name="T3" fmla="*/ 0 h 61"/>
              <a:gd name="T4" fmla="*/ 89 w 94"/>
              <a:gd name="T5" fmla="*/ 2 h 61"/>
              <a:gd name="T6" fmla="*/ 47 w 94"/>
              <a:gd name="T7" fmla="*/ 33 h 61"/>
              <a:gd name="T8" fmla="*/ 6 w 94"/>
              <a:gd name="T9" fmla="*/ 2 h 61"/>
              <a:gd name="T10" fmla="*/ 13 w 94"/>
              <a:gd name="T11" fmla="*/ 0 h 61"/>
              <a:gd name="T12" fmla="*/ 94 w 94"/>
              <a:gd name="T13" fmla="*/ 9 h 61"/>
              <a:gd name="T14" fmla="*/ 67 w 94"/>
              <a:gd name="T15" fmla="*/ 29 h 61"/>
              <a:gd name="T16" fmla="*/ 93 w 94"/>
              <a:gd name="T17" fmla="*/ 53 h 61"/>
              <a:gd name="T18" fmla="*/ 94 w 94"/>
              <a:gd name="T19" fmla="*/ 48 h 61"/>
              <a:gd name="T20" fmla="*/ 94 w 94"/>
              <a:gd name="T21" fmla="*/ 12 h 61"/>
              <a:gd name="T22" fmla="*/ 94 w 94"/>
              <a:gd name="T23" fmla="*/ 9 h 61"/>
              <a:gd name="T24" fmla="*/ 87 w 94"/>
              <a:gd name="T25" fmla="*/ 60 h 61"/>
              <a:gd name="T26" fmla="*/ 82 w 94"/>
              <a:gd name="T27" fmla="*/ 61 h 61"/>
              <a:gd name="T28" fmla="*/ 13 w 94"/>
              <a:gd name="T29" fmla="*/ 61 h 61"/>
              <a:gd name="T30" fmla="*/ 6 w 94"/>
              <a:gd name="T31" fmla="*/ 59 h 61"/>
              <a:gd name="T32" fmla="*/ 34 w 94"/>
              <a:gd name="T33" fmla="*/ 34 h 61"/>
              <a:gd name="T34" fmla="*/ 44 w 94"/>
              <a:gd name="T35" fmla="*/ 42 h 61"/>
              <a:gd name="T36" fmla="*/ 47 w 94"/>
              <a:gd name="T37" fmla="*/ 44 h 61"/>
              <a:gd name="T38" fmla="*/ 50 w 94"/>
              <a:gd name="T39" fmla="*/ 42 h 61"/>
              <a:gd name="T40" fmla="*/ 60 w 94"/>
              <a:gd name="T41" fmla="*/ 35 h 61"/>
              <a:gd name="T42" fmla="*/ 87 w 94"/>
              <a:gd name="T43" fmla="*/ 60 h 61"/>
              <a:gd name="T44" fmla="*/ 1 w 94"/>
              <a:gd name="T45" fmla="*/ 52 h 61"/>
              <a:gd name="T46" fmla="*/ 27 w 94"/>
              <a:gd name="T47" fmla="*/ 29 h 61"/>
              <a:gd name="T48" fmla="*/ 1 w 94"/>
              <a:gd name="T49" fmla="*/ 9 h 61"/>
              <a:gd name="T50" fmla="*/ 0 w 94"/>
              <a:gd name="T51" fmla="*/ 12 h 61"/>
              <a:gd name="T52" fmla="*/ 0 w 94"/>
              <a:gd name="T53" fmla="*/ 48 h 61"/>
              <a:gd name="T54" fmla="*/ 1 w 94"/>
              <a:gd name="T55" fmla="*/ 52 h 6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94"/>
              <a:gd name="T85" fmla="*/ 0 h 61"/>
              <a:gd name="T86" fmla="*/ 94 w 94"/>
              <a:gd name="T87" fmla="*/ 61 h 61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94" h="61">
                <a:moveTo>
                  <a:pt x="13" y="0"/>
                </a:moveTo>
                <a:cubicBezTo>
                  <a:pt x="82" y="0"/>
                  <a:pt x="82" y="0"/>
                  <a:pt x="82" y="0"/>
                </a:cubicBezTo>
                <a:cubicBezTo>
                  <a:pt x="84" y="0"/>
                  <a:pt x="87" y="1"/>
                  <a:pt x="89" y="2"/>
                </a:cubicBezTo>
                <a:cubicBezTo>
                  <a:pt x="47" y="33"/>
                  <a:pt x="47" y="33"/>
                  <a:pt x="47" y="33"/>
                </a:cubicBezTo>
                <a:cubicBezTo>
                  <a:pt x="6" y="2"/>
                  <a:pt x="6" y="2"/>
                  <a:pt x="6" y="2"/>
                </a:cubicBezTo>
                <a:cubicBezTo>
                  <a:pt x="8" y="1"/>
                  <a:pt x="10" y="0"/>
                  <a:pt x="13" y="0"/>
                </a:cubicBezTo>
                <a:close/>
                <a:moveTo>
                  <a:pt x="94" y="9"/>
                </a:moveTo>
                <a:cubicBezTo>
                  <a:pt x="67" y="29"/>
                  <a:pt x="67" y="29"/>
                  <a:pt x="67" y="29"/>
                </a:cubicBezTo>
                <a:cubicBezTo>
                  <a:pt x="93" y="53"/>
                  <a:pt x="93" y="53"/>
                  <a:pt x="93" y="53"/>
                </a:cubicBezTo>
                <a:cubicBezTo>
                  <a:pt x="94" y="52"/>
                  <a:pt x="94" y="50"/>
                  <a:pt x="94" y="48"/>
                </a:cubicBezTo>
                <a:cubicBezTo>
                  <a:pt x="94" y="12"/>
                  <a:pt x="94" y="12"/>
                  <a:pt x="94" y="12"/>
                </a:cubicBezTo>
                <a:cubicBezTo>
                  <a:pt x="94" y="11"/>
                  <a:pt x="94" y="10"/>
                  <a:pt x="94" y="9"/>
                </a:cubicBezTo>
                <a:close/>
                <a:moveTo>
                  <a:pt x="87" y="60"/>
                </a:moveTo>
                <a:cubicBezTo>
                  <a:pt x="85" y="60"/>
                  <a:pt x="84" y="61"/>
                  <a:pt x="82" y="61"/>
                </a:cubicBezTo>
                <a:cubicBezTo>
                  <a:pt x="13" y="61"/>
                  <a:pt x="13" y="61"/>
                  <a:pt x="13" y="61"/>
                </a:cubicBezTo>
                <a:cubicBezTo>
                  <a:pt x="10" y="61"/>
                  <a:pt x="8" y="60"/>
                  <a:pt x="6" y="59"/>
                </a:cubicBezTo>
                <a:cubicBezTo>
                  <a:pt x="34" y="34"/>
                  <a:pt x="34" y="34"/>
                  <a:pt x="34" y="34"/>
                </a:cubicBezTo>
                <a:cubicBezTo>
                  <a:pt x="44" y="42"/>
                  <a:pt x="44" y="42"/>
                  <a:pt x="44" y="42"/>
                </a:cubicBezTo>
                <a:cubicBezTo>
                  <a:pt x="47" y="44"/>
                  <a:pt x="47" y="44"/>
                  <a:pt x="47" y="44"/>
                </a:cubicBezTo>
                <a:cubicBezTo>
                  <a:pt x="50" y="42"/>
                  <a:pt x="50" y="42"/>
                  <a:pt x="50" y="42"/>
                </a:cubicBezTo>
                <a:cubicBezTo>
                  <a:pt x="60" y="35"/>
                  <a:pt x="60" y="35"/>
                  <a:pt x="60" y="35"/>
                </a:cubicBezTo>
                <a:cubicBezTo>
                  <a:pt x="87" y="60"/>
                  <a:pt x="87" y="60"/>
                  <a:pt x="87" y="60"/>
                </a:cubicBezTo>
                <a:close/>
                <a:moveTo>
                  <a:pt x="1" y="52"/>
                </a:moveTo>
                <a:cubicBezTo>
                  <a:pt x="27" y="29"/>
                  <a:pt x="27" y="29"/>
                  <a:pt x="27" y="29"/>
                </a:cubicBezTo>
                <a:cubicBezTo>
                  <a:pt x="1" y="9"/>
                  <a:pt x="1" y="9"/>
                  <a:pt x="1" y="9"/>
                </a:cubicBezTo>
                <a:cubicBezTo>
                  <a:pt x="0" y="10"/>
                  <a:pt x="0" y="11"/>
                  <a:pt x="0" y="12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49"/>
                  <a:pt x="0" y="51"/>
                  <a:pt x="1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4" name="Freeform 34"/>
          <p:cNvSpPr>
            <a:spLocks noEditPoints="1" noChangeArrowheads="1"/>
          </p:cNvSpPr>
          <p:nvPr/>
        </p:nvSpPr>
        <p:spPr bwMode="auto">
          <a:xfrm>
            <a:off x="3744384" y="4730751"/>
            <a:ext cx="446616" cy="488949"/>
          </a:xfrm>
          <a:custGeom>
            <a:avLst/>
            <a:gdLst>
              <a:gd name="T0" fmla="*/ 65 w 100"/>
              <a:gd name="T1" fmla="*/ 0 h 110"/>
              <a:gd name="T2" fmla="*/ 77 w 100"/>
              <a:gd name="T3" fmla="*/ 12 h 110"/>
              <a:gd name="T4" fmla="*/ 68 w 100"/>
              <a:gd name="T5" fmla="*/ 40 h 110"/>
              <a:gd name="T6" fmla="*/ 67 w 100"/>
              <a:gd name="T7" fmla="*/ 10 h 110"/>
              <a:gd name="T8" fmla="*/ 28 w 100"/>
              <a:gd name="T9" fmla="*/ 9 h 110"/>
              <a:gd name="T10" fmla="*/ 28 w 100"/>
              <a:gd name="T11" fmla="*/ 16 h 110"/>
              <a:gd name="T12" fmla="*/ 25 w 100"/>
              <a:gd name="T13" fmla="*/ 24 h 110"/>
              <a:gd name="T14" fmla="*/ 18 w 100"/>
              <a:gd name="T15" fmla="*/ 26 h 110"/>
              <a:gd name="T16" fmla="*/ 9 w 100"/>
              <a:gd name="T17" fmla="*/ 25 h 110"/>
              <a:gd name="T18" fmla="*/ 10 w 100"/>
              <a:gd name="T19" fmla="*/ 87 h 110"/>
              <a:gd name="T20" fmla="*/ 12 w 100"/>
              <a:gd name="T21" fmla="*/ 88 h 110"/>
              <a:gd name="T22" fmla="*/ 44 w 100"/>
              <a:gd name="T23" fmla="*/ 97 h 110"/>
              <a:gd name="T24" fmla="*/ 4 w 100"/>
              <a:gd name="T25" fmla="*/ 93 h 110"/>
              <a:gd name="T26" fmla="*/ 4 w 100"/>
              <a:gd name="T27" fmla="*/ 93 h 110"/>
              <a:gd name="T28" fmla="*/ 0 w 100"/>
              <a:gd name="T29" fmla="*/ 22 h 110"/>
              <a:gd name="T30" fmla="*/ 2 w 100"/>
              <a:gd name="T31" fmla="*/ 19 h 110"/>
              <a:gd name="T32" fmla="*/ 21 w 100"/>
              <a:gd name="T33" fmla="*/ 0 h 110"/>
              <a:gd name="T34" fmla="*/ 90 w 100"/>
              <a:gd name="T35" fmla="*/ 45 h 110"/>
              <a:gd name="T36" fmla="*/ 84 w 100"/>
              <a:gd name="T37" fmla="*/ 39 h 110"/>
              <a:gd name="T38" fmla="*/ 83 w 100"/>
              <a:gd name="T39" fmla="*/ 47 h 110"/>
              <a:gd name="T40" fmla="*/ 94 w 100"/>
              <a:gd name="T41" fmla="*/ 53 h 110"/>
              <a:gd name="T42" fmla="*/ 86 w 100"/>
              <a:gd name="T43" fmla="*/ 81 h 110"/>
              <a:gd name="T44" fmla="*/ 100 w 100"/>
              <a:gd name="T45" fmla="*/ 51 h 110"/>
              <a:gd name="T46" fmla="*/ 90 w 100"/>
              <a:gd name="T47" fmla="*/ 45 h 110"/>
              <a:gd name="T48" fmla="*/ 54 w 100"/>
              <a:gd name="T49" fmla="*/ 84 h 110"/>
              <a:gd name="T50" fmla="*/ 90 w 100"/>
              <a:gd name="T51" fmla="*/ 55 h 110"/>
              <a:gd name="T52" fmla="*/ 52 w 100"/>
              <a:gd name="T53" fmla="*/ 87 h 110"/>
              <a:gd name="T54" fmla="*/ 51 w 100"/>
              <a:gd name="T55" fmla="*/ 103 h 110"/>
              <a:gd name="T56" fmla="*/ 52 w 100"/>
              <a:gd name="T57" fmla="*/ 110 h 110"/>
              <a:gd name="T58" fmla="*/ 56 w 100"/>
              <a:gd name="T59" fmla="*/ 106 h 110"/>
              <a:gd name="T60" fmla="*/ 52 w 100"/>
              <a:gd name="T61" fmla="*/ 87 h 110"/>
              <a:gd name="T62" fmla="*/ 18 w 100"/>
              <a:gd name="T63" fmla="*/ 60 h 110"/>
              <a:gd name="T64" fmla="*/ 30 w 100"/>
              <a:gd name="T65" fmla="*/ 56 h 110"/>
              <a:gd name="T66" fmla="*/ 18 w 100"/>
              <a:gd name="T67" fmla="*/ 43 h 110"/>
              <a:gd name="T68" fmla="*/ 60 w 100"/>
              <a:gd name="T69" fmla="*/ 48 h 110"/>
              <a:gd name="T70" fmla="*/ 18 w 100"/>
              <a:gd name="T71" fmla="*/ 43 h 110"/>
              <a:gd name="T72" fmla="*/ 18 w 100"/>
              <a:gd name="T73" fmla="*/ 36 h 110"/>
              <a:gd name="T74" fmla="*/ 60 w 100"/>
              <a:gd name="T75" fmla="*/ 31 h 110"/>
              <a:gd name="T76" fmla="*/ 37 w 100"/>
              <a:gd name="T77" fmla="*/ 19 h 110"/>
              <a:gd name="T78" fmla="*/ 60 w 100"/>
              <a:gd name="T79" fmla="*/ 24 h 110"/>
              <a:gd name="T80" fmla="*/ 37 w 100"/>
              <a:gd name="T81" fmla="*/ 19 h 110"/>
              <a:gd name="T82" fmla="*/ 14 w 100"/>
              <a:gd name="T83" fmla="*/ 21 h 110"/>
              <a:gd name="T84" fmla="*/ 18 w 100"/>
              <a:gd name="T85" fmla="*/ 22 h 110"/>
              <a:gd name="T86" fmla="*/ 20 w 100"/>
              <a:gd name="T87" fmla="*/ 22 h 110"/>
              <a:gd name="T88" fmla="*/ 24 w 100"/>
              <a:gd name="T89" fmla="*/ 18 h 110"/>
              <a:gd name="T90" fmla="*/ 24 w 100"/>
              <a:gd name="T91" fmla="*/ 17 h 110"/>
              <a:gd name="T92" fmla="*/ 23 w 100"/>
              <a:gd name="T93" fmla="*/ 12 h 110"/>
              <a:gd name="T94" fmla="*/ 12 w 100"/>
              <a:gd name="T95" fmla="*/ 21 h 11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00"/>
              <a:gd name="T145" fmla="*/ 0 h 110"/>
              <a:gd name="T146" fmla="*/ 100 w 100"/>
              <a:gd name="T147" fmla="*/ 110 h 11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00" h="110">
                <a:moveTo>
                  <a:pt x="23" y="0"/>
                </a:moveTo>
                <a:cubicBezTo>
                  <a:pt x="65" y="0"/>
                  <a:pt x="65" y="0"/>
                  <a:pt x="65" y="0"/>
                </a:cubicBezTo>
                <a:cubicBezTo>
                  <a:pt x="68" y="0"/>
                  <a:pt x="71" y="1"/>
                  <a:pt x="74" y="4"/>
                </a:cubicBezTo>
                <a:cubicBezTo>
                  <a:pt x="76" y="6"/>
                  <a:pt x="77" y="9"/>
                  <a:pt x="77" y="12"/>
                </a:cubicBezTo>
                <a:cubicBezTo>
                  <a:pt x="77" y="35"/>
                  <a:pt x="77" y="35"/>
                  <a:pt x="77" y="35"/>
                </a:cubicBezTo>
                <a:cubicBezTo>
                  <a:pt x="68" y="40"/>
                  <a:pt x="68" y="40"/>
                  <a:pt x="68" y="40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11"/>
                  <a:pt x="68" y="11"/>
                  <a:pt x="67" y="10"/>
                </a:cubicBezTo>
                <a:cubicBezTo>
                  <a:pt x="67" y="10"/>
                  <a:pt x="66" y="9"/>
                  <a:pt x="65" y="9"/>
                </a:cubicBezTo>
                <a:cubicBezTo>
                  <a:pt x="28" y="9"/>
                  <a:pt x="28" y="9"/>
                  <a:pt x="28" y="9"/>
                </a:cubicBezTo>
                <a:cubicBezTo>
                  <a:pt x="28" y="12"/>
                  <a:pt x="28" y="12"/>
                  <a:pt x="28" y="12"/>
                </a:cubicBezTo>
                <a:cubicBezTo>
                  <a:pt x="28" y="16"/>
                  <a:pt x="28" y="16"/>
                  <a:pt x="28" y="16"/>
                </a:cubicBezTo>
                <a:cubicBezTo>
                  <a:pt x="28" y="17"/>
                  <a:pt x="28" y="18"/>
                  <a:pt x="28" y="19"/>
                </a:cubicBezTo>
                <a:cubicBezTo>
                  <a:pt x="28" y="21"/>
                  <a:pt x="27" y="23"/>
                  <a:pt x="25" y="24"/>
                </a:cubicBezTo>
                <a:cubicBezTo>
                  <a:pt x="24" y="25"/>
                  <a:pt x="23" y="26"/>
                  <a:pt x="21" y="26"/>
                </a:cubicBezTo>
                <a:cubicBezTo>
                  <a:pt x="20" y="26"/>
                  <a:pt x="19" y="26"/>
                  <a:pt x="18" y="26"/>
                </a:cubicBezTo>
                <a:cubicBezTo>
                  <a:pt x="14" y="26"/>
                  <a:pt x="14" y="26"/>
                  <a:pt x="14" y="26"/>
                </a:cubicBezTo>
                <a:cubicBezTo>
                  <a:pt x="9" y="25"/>
                  <a:pt x="9" y="25"/>
                  <a:pt x="9" y="25"/>
                </a:cubicBezTo>
                <a:cubicBezTo>
                  <a:pt x="9" y="85"/>
                  <a:pt x="9" y="85"/>
                  <a:pt x="9" y="85"/>
                </a:cubicBezTo>
                <a:cubicBezTo>
                  <a:pt x="9" y="86"/>
                  <a:pt x="10" y="86"/>
                  <a:pt x="10" y="87"/>
                </a:cubicBezTo>
                <a:cubicBezTo>
                  <a:pt x="10" y="87"/>
                  <a:pt x="10" y="87"/>
                  <a:pt x="10" y="87"/>
                </a:cubicBezTo>
                <a:cubicBezTo>
                  <a:pt x="11" y="87"/>
                  <a:pt x="11" y="88"/>
                  <a:pt x="12" y="88"/>
                </a:cubicBezTo>
                <a:cubicBezTo>
                  <a:pt x="45" y="88"/>
                  <a:pt x="45" y="88"/>
                  <a:pt x="45" y="88"/>
                </a:cubicBezTo>
                <a:cubicBezTo>
                  <a:pt x="44" y="97"/>
                  <a:pt x="44" y="97"/>
                  <a:pt x="44" y="97"/>
                </a:cubicBezTo>
                <a:cubicBezTo>
                  <a:pt x="12" y="97"/>
                  <a:pt x="12" y="97"/>
                  <a:pt x="12" y="97"/>
                </a:cubicBezTo>
                <a:cubicBezTo>
                  <a:pt x="9" y="97"/>
                  <a:pt x="6" y="96"/>
                  <a:pt x="4" y="93"/>
                </a:cubicBezTo>
                <a:cubicBezTo>
                  <a:pt x="4" y="93"/>
                  <a:pt x="4" y="93"/>
                  <a:pt x="4" y="93"/>
                </a:cubicBezTo>
                <a:cubicBezTo>
                  <a:pt x="4" y="93"/>
                  <a:pt x="4" y="93"/>
                  <a:pt x="4" y="93"/>
                </a:cubicBezTo>
                <a:cubicBezTo>
                  <a:pt x="2" y="91"/>
                  <a:pt x="0" y="88"/>
                  <a:pt x="0" y="85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20"/>
                  <a:pt x="0" y="20"/>
                  <a:pt x="0" y="20"/>
                </a:cubicBezTo>
                <a:cubicBezTo>
                  <a:pt x="2" y="19"/>
                  <a:pt x="2" y="19"/>
                  <a:pt x="2" y="19"/>
                </a:cubicBezTo>
                <a:cubicBezTo>
                  <a:pt x="20" y="1"/>
                  <a:pt x="20" y="1"/>
                  <a:pt x="20" y="1"/>
                </a:cubicBezTo>
                <a:cubicBezTo>
                  <a:pt x="21" y="0"/>
                  <a:pt x="21" y="0"/>
                  <a:pt x="21" y="0"/>
                </a:cubicBezTo>
                <a:cubicBezTo>
                  <a:pt x="23" y="0"/>
                  <a:pt x="23" y="0"/>
                  <a:pt x="23" y="0"/>
                </a:cubicBezTo>
                <a:close/>
                <a:moveTo>
                  <a:pt x="90" y="45"/>
                </a:moveTo>
                <a:cubicBezTo>
                  <a:pt x="90" y="43"/>
                  <a:pt x="90" y="43"/>
                  <a:pt x="90" y="43"/>
                </a:cubicBezTo>
                <a:cubicBezTo>
                  <a:pt x="84" y="39"/>
                  <a:pt x="84" y="39"/>
                  <a:pt x="84" y="39"/>
                </a:cubicBezTo>
                <a:cubicBezTo>
                  <a:pt x="75" y="44"/>
                  <a:pt x="75" y="44"/>
                  <a:pt x="75" y="44"/>
                </a:cubicBezTo>
                <a:cubicBezTo>
                  <a:pt x="83" y="47"/>
                  <a:pt x="83" y="47"/>
                  <a:pt x="83" y="47"/>
                </a:cubicBezTo>
                <a:cubicBezTo>
                  <a:pt x="91" y="52"/>
                  <a:pt x="91" y="52"/>
                  <a:pt x="91" y="52"/>
                </a:cubicBezTo>
                <a:cubicBezTo>
                  <a:pt x="94" y="53"/>
                  <a:pt x="94" y="53"/>
                  <a:pt x="94" y="53"/>
                </a:cubicBezTo>
                <a:cubicBezTo>
                  <a:pt x="92" y="62"/>
                  <a:pt x="88" y="70"/>
                  <a:pt x="82" y="77"/>
                </a:cubicBezTo>
                <a:cubicBezTo>
                  <a:pt x="86" y="81"/>
                  <a:pt x="86" y="81"/>
                  <a:pt x="86" y="81"/>
                </a:cubicBezTo>
                <a:cubicBezTo>
                  <a:pt x="93" y="73"/>
                  <a:pt x="98" y="63"/>
                  <a:pt x="100" y="53"/>
                </a:cubicBezTo>
                <a:cubicBezTo>
                  <a:pt x="100" y="51"/>
                  <a:pt x="100" y="51"/>
                  <a:pt x="100" y="51"/>
                </a:cubicBezTo>
                <a:cubicBezTo>
                  <a:pt x="98" y="50"/>
                  <a:pt x="98" y="50"/>
                  <a:pt x="98" y="50"/>
                </a:cubicBezTo>
                <a:cubicBezTo>
                  <a:pt x="90" y="45"/>
                  <a:pt x="90" y="45"/>
                  <a:pt x="90" y="45"/>
                </a:cubicBezTo>
                <a:close/>
                <a:moveTo>
                  <a:pt x="74" y="47"/>
                </a:moveTo>
                <a:cubicBezTo>
                  <a:pt x="64" y="58"/>
                  <a:pt x="58" y="70"/>
                  <a:pt x="54" y="84"/>
                </a:cubicBezTo>
                <a:cubicBezTo>
                  <a:pt x="59" y="86"/>
                  <a:pt x="64" y="89"/>
                  <a:pt x="70" y="92"/>
                </a:cubicBezTo>
                <a:cubicBezTo>
                  <a:pt x="78" y="81"/>
                  <a:pt x="85" y="68"/>
                  <a:pt x="90" y="55"/>
                </a:cubicBezTo>
                <a:cubicBezTo>
                  <a:pt x="84" y="52"/>
                  <a:pt x="79" y="50"/>
                  <a:pt x="74" y="47"/>
                </a:cubicBezTo>
                <a:close/>
                <a:moveTo>
                  <a:pt x="52" y="87"/>
                </a:moveTo>
                <a:cubicBezTo>
                  <a:pt x="50" y="103"/>
                  <a:pt x="50" y="103"/>
                  <a:pt x="50" y="103"/>
                </a:cubicBezTo>
                <a:cubicBezTo>
                  <a:pt x="51" y="103"/>
                  <a:pt x="51" y="103"/>
                  <a:pt x="51" y="103"/>
                </a:cubicBezTo>
                <a:cubicBezTo>
                  <a:pt x="50" y="108"/>
                  <a:pt x="50" y="108"/>
                  <a:pt x="50" y="108"/>
                </a:cubicBezTo>
                <a:cubicBezTo>
                  <a:pt x="52" y="110"/>
                  <a:pt x="52" y="110"/>
                  <a:pt x="52" y="110"/>
                </a:cubicBezTo>
                <a:cubicBezTo>
                  <a:pt x="55" y="106"/>
                  <a:pt x="55" y="106"/>
                  <a:pt x="55" y="106"/>
                </a:cubicBezTo>
                <a:cubicBezTo>
                  <a:pt x="56" y="106"/>
                  <a:pt x="56" y="106"/>
                  <a:pt x="56" y="106"/>
                </a:cubicBezTo>
                <a:cubicBezTo>
                  <a:pt x="68" y="95"/>
                  <a:pt x="68" y="95"/>
                  <a:pt x="68" y="95"/>
                </a:cubicBezTo>
                <a:cubicBezTo>
                  <a:pt x="52" y="87"/>
                  <a:pt x="52" y="87"/>
                  <a:pt x="52" y="87"/>
                </a:cubicBezTo>
                <a:close/>
                <a:moveTo>
                  <a:pt x="18" y="56"/>
                </a:moveTo>
                <a:cubicBezTo>
                  <a:pt x="18" y="60"/>
                  <a:pt x="18" y="60"/>
                  <a:pt x="18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0" y="56"/>
                  <a:pt x="30" y="56"/>
                  <a:pt x="30" y="56"/>
                </a:cubicBezTo>
                <a:cubicBezTo>
                  <a:pt x="18" y="56"/>
                  <a:pt x="18" y="56"/>
                  <a:pt x="18" y="56"/>
                </a:cubicBezTo>
                <a:close/>
                <a:moveTo>
                  <a:pt x="18" y="43"/>
                </a:moveTo>
                <a:cubicBezTo>
                  <a:pt x="18" y="48"/>
                  <a:pt x="18" y="48"/>
                  <a:pt x="18" y="48"/>
                </a:cubicBezTo>
                <a:cubicBezTo>
                  <a:pt x="60" y="48"/>
                  <a:pt x="60" y="48"/>
                  <a:pt x="60" y="48"/>
                </a:cubicBezTo>
                <a:cubicBezTo>
                  <a:pt x="60" y="43"/>
                  <a:pt x="60" y="43"/>
                  <a:pt x="60" y="43"/>
                </a:cubicBezTo>
                <a:cubicBezTo>
                  <a:pt x="18" y="43"/>
                  <a:pt x="18" y="43"/>
                  <a:pt x="18" y="43"/>
                </a:cubicBezTo>
                <a:close/>
                <a:moveTo>
                  <a:pt x="18" y="31"/>
                </a:moveTo>
                <a:cubicBezTo>
                  <a:pt x="18" y="36"/>
                  <a:pt x="18" y="36"/>
                  <a:pt x="18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0" y="31"/>
                  <a:pt x="60" y="31"/>
                  <a:pt x="60" y="31"/>
                </a:cubicBezTo>
                <a:cubicBezTo>
                  <a:pt x="18" y="31"/>
                  <a:pt x="18" y="31"/>
                  <a:pt x="18" y="31"/>
                </a:cubicBezTo>
                <a:close/>
                <a:moveTo>
                  <a:pt x="37" y="19"/>
                </a:moveTo>
                <a:cubicBezTo>
                  <a:pt x="37" y="24"/>
                  <a:pt x="37" y="24"/>
                  <a:pt x="37" y="24"/>
                </a:cubicBezTo>
                <a:cubicBezTo>
                  <a:pt x="60" y="24"/>
                  <a:pt x="60" y="24"/>
                  <a:pt x="60" y="24"/>
                </a:cubicBezTo>
                <a:cubicBezTo>
                  <a:pt x="60" y="19"/>
                  <a:pt x="60" y="19"/>
                  <a:pt x="60" y="19"/>
                </a:cubicBezTo>
                <a:cubicBezTo>
                  <a:pt x="37" y="19"/>
                  <a:pt x="37" y="19"/>
                  <a:pt x="37" y="19"/>
                </a:cubicBezTo>
                <a:close/>
                <a:moveTo>
                  <a:pt x="12" y="21"/>
                </a:moveTo>
                <a:cubicBezTo>
                  <a:pt x="14" y="21"/>
                  <a:pt x="14" y="21"/>
                  <a:pt x="14" y="21"/>
                </a:cubicBezTo>
                <a:cubicBezTo>
                  <a:pt x="18" y="22"/>
                  <a:pt x="18" y="22"/>
                  <a:pt x="18" y="22"/>
                </a:cubicBezTo>
                <a:cubicBezTo>
                  <a:pt x="18" y="22"/>
                  <a:pt x="18" y="22"/>
                  <a:pt x="18" y="22"/>
                </a:cubicBezTo>
                <a:cubicBezTo>
                  <a:pt x="19" y="22"/>
                  <a:pt x="19" y="22"/>
                  <a:pt x="19" y="22"/>
                </a:cubicBezTo>
                <a:cubicBezTo>
                  <a:pt x="19" y="22"/>
                  <a:pt x="19" y="22"/>
                  <a:pt x="20" y="22"/>
                </a:cubicBezTo>
                <a:cubicBezTo>
                  <a:pt x="21" y="22"/>
                  <a:pt x="22" y="21"/>
                  <a:pt x="22" y="20"/>
                </a:cubicBezTo>
                <a:cubicBezTo>
                  <a:pt x="23" y="20"/>
                  <a:pt x="24" y="19"/>
                  <a:pt x="24" y="18"/>
                </a:cubicBezTo>
                <a:cubicBezTo>
                  <a:pt x="24" y="18"/>
                  <a:pt x="24" y="17"/>
                  <a:pt x="24" y="17"/>
                </a:cubicBezTo>
                <a:cubicBezTo>
                  <a:pt x="24" y="17"/>
                  <a:pt x="24" y="17"/>
                  <a:pt x="24" y="17"/>
                </a:cubicBezTo>
                <a:cubicBezTo>
                  <a:pt x="24" y="16"/>
                  <a:pt x="24" y="16"/>
                  <a:pt x="24" y="16"/>
                </a:cubicBezTo>
                <a:cubicBezTo>
                  <a:pt x="23" y="12"/>
                  <a:pt x="23" y="12"/>
                  <a:pt x="23" y="12"/>
                </a:cubicBezTo>
                <a:cubicBezTo>
                  <a:pt x="23" y="11"/>
                  <a:pt x="23" y="11"/>
                  <a:pt x="23" y="11"/>
                </a:cubicBezTo>
                <a:lnTo>
                  <a:pt x="12" y="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5" name="Freeform 35"/>
          <p:cNvSpPr>
            <a:spLocks noEditPoints="1" noChangeArrowheads="1"/>
          </p:cNvSpPr>
          <p:nvPr/>
        </p:nvSpPr>
        <p:spPr bwMode="auto">
          <a:xfrm>
            <a:off x="4557184" y="4785784"/>
            <a:ext cx="406400" cy="364067"/>
          </a:xfrm>
          <a:custGeom>
            <a:avLst/>
            <a:gdLst>
              <a:gd name="T0" fmla="*/ 91 w 91"/>
              <a:gd name="T1" fmla="*/ 17 h 81"/>
              <a:gd name="T2" fmla="*/ 91 w 91"/>
              <a:gd name="T3" fmla="*/ 63 h 81"/>
              <a:gd name="T4" fmla="*/ 86 w 91"/>
              <a:gd name="T5" fmla="*/ 76 h 81"/>
              <a:gd name="T6" fmla="*/ 74 w 91"/>
              <a:gd name="T7" fmla="*/ 81 h 81"/>
              <a:gd name="T8" fmla="*/ 17 w 91"/>
              <a:gd name="T9" fmla="*/ 81 h 81"/>
              <a:gd name="T10" fmla="*/ 5 w 91"/>
              <a:gd name="T11" fmla="*/ 76 h 81"/>
              <a:gd name="T12" fmla="*/ 0 w 91"/>
              <a:gd name="T13" fmla="*/ 63 h 81"/>
              <a:gd name="T14" fmla="*/ 0 w 91"/>
              <a:gd name="T15" fmla="*/ 17 h 81"/>
              <a:gd name="T16" fmla="*/ 0 w 91"/>
              <a:gd name="T17" fmla="*/ 12 h 81"/>
              <a:gd name="T18" fmla="*/ 5 w 91"/>
              <a:gd name="T19" fmla="*/ 12 h 81"/>
              <a:gd name="T20" fmla="*/ 15 w 91"/>
              <a:gd name="T21" fmla="*/ 12 h 81"/>
              <a:gd name="T22" fmla="*/ 15 w 91"/>
              <a:gd name="T23" fmla="*/ 24 h 81"/>
              <a:gd name="T24" fmla="*/ 21 w 91"/>
              <a:gd name="T25" fmla="*/ 30 h 81"/>
              <a:gd name="T26" fmla="*/ 21 w 91"/>
              <a:gd name="T27" fmla="*/ 30 h 81"/>
              <a:gd name="T28" fmla="*/ 24 w 91"/>
              <a:gd name="T29" fmla="*/ 30 h 81"/>
              <a:gd name="T30" fmla="*/ 21 w 91"/>
              <a:gd name="T31" fmla="*/ 24 h 81"/>
              <a:gd name="T32" fmla="*/ 21 w 91"/>
              <a:gd name="T33" fmla="*/ 6 h 81"/>
              <a:gd name="T34" fmla="*/ 27 w 91"/>
              <a:gd name="T35" fmla="*/ 0 h 81"/>
              <a:gd name="T36" fmla="*/ 27 w 91"/>
              <a:gd name="T37" fmla="*/ 0 h 81"/>
              <a:gd name="T38" fmla="*/ 33 w 91"/>
              <a:gd name="T39" fmla="*/ 6 h 81"/>
              <a:gd name="T40" fmla="*/ 33 w 91"/>
              <a:gd name="T41" fmla="*/ 12 h 81"/>
              <a:gd name="T42" fmla="*/ 59 w 91"/>
              <a:gd name="T43" fmla="*/ 12 h 81"/>
              <a:gd name="T44" fmla="*/ 59 w 91"/>
              <a:gd name="T45" fmla="*/ 24 h 81"/>
              <a:gd name="T46" fmla="*/ 64 w 91"/>
              <a:gd name="T47" fmla="*/ 30 h 81"/>
              <a:gd name="T48" fmla="*/ 64 w 91"/>
              <a:gd name="T49" fmla="*/ 30 h 81"/>
              <a:gd name="T50" fmla="*/ 67 w 91"/>
              <a:gd name="T51" fmla="*/ 30 h 81"/>
              <a:gd name="T52" fmla="*/ 64 w 91"/>
              <a:gd name="T53" fmla="*/ 24 h 81"/>
              <a:gd name="T54" fmla="*/ 64 w 91"/>
              <a:gd name="T55" fmla="*/ 6 h 81"/>
              <a:gd name="T56" fmla="*/ 70 w 91"/>
              <a:gd name="T57" fmla="*/ 0 h 81"/>
              <a:gd name="T58" fmla="*/ 70 w 91"/>
              <a:gd name="T59" fmla="*/ 0 h 81"/>
              <a:gd name="T60" fmla="*/ 76 w 91"/>
              <a:gd name="T61" fmla="*/ 6 h 81"/>
              <a:gd name="T62" fmla="*/ 76 w 91"/>
              <a:gd name="T63" fmla="*/ 12 h 81"/>
              <a:gd name="T64" fmla="*/ 86 w 91"/>
              <a:gd name="T65" fmla="*/ 12 h 81"/>
              <a:gd name="T66" fmla="*/ 91 w 91"/>
              <a:gd name="T67" fmla="*/ 12 h 81"/>
              <a:gd name="T68" fmla="*/ 91 w 91"/>
              <a:gd name="T69" fmla="*/ 17 h 81"/>
              <a:gd name="T70" fmla="*/ 44 w 91"/>
              <a:gd name="T71" fmla="*/ 68 h 81"/>
              <a:gd name="T72" fmla="*/ 44 w 91"/>
              <a:gd name="T73" fmla="*/ 40 h 81"/>
              <a:gd name="T74" fmla="*/ 39 w 91"/>
              <a:gd name="T75" fmla="*/ 40 h 81"/>
              <a:gd name="T76" fmla="*/ 38 w 91"/>
              <a:gd name="T77" fmla="*/ 42 h 81"/>
              <a:gd name="T78" fmla="*/ 36 w 91"/>
              <a:gd name="T79" fmla="*/ 43 h 81"/>
              <a:gd name="T80" fmla="*/ 36 w 91"/>
              <a:gd name="T81" fmla="*/ 47 h 81"/>
              <a:gd name="T82" fmla="*/ 38 w 91"/>
              <a:gd name="T83" fmla="*/ 47 h 81"/>
              <a:gd name="T84" fmla="*/ 38 w 91"/>
              <a:gd name="T85" fmla="*/ 68 h 81"/>
              <a:gd name="T86" fmla="*/ 44 w 91"/>
              <a:gd name="T87" fmla="*/ 68 h 81"/>
              <a:gd name="T88" fmla="*/ 54 w 91"/>
              <a:gd name="T89" fmla="*/ 68 h 81"/>
              <a:gd name="T90" fmla="*/ 54 w 91"/>
              <a:gd name="T91" fmla="*/ 40 h 81"/>
              <a:gd name="T92" fmla="*/ 49 w 91"/>
              <a:gd name="T93" fmla="*/ 40 h 81"/>
              <a:gd name="T94" fmla="*/ 48 w 91"/>
              <a:gd name="T95" fmla="*/ 42 h 81"/>
              <a:gd name="T96" fmla="*/ 46 w 91"/>
              <a:gd name="T97" fmla="*/ 43 h 81"/>
              <a:gd name="T98" fmla="*/ 46 w 91"/>
              <a:gd name="T99" fmla="*/ 47 h 81"/>
              <a:gd name="T100" fmla="*/ 48 w 91"/>
              <a:gd name="T101" fmla="*/ 47 h 81"/>
              <a:gd name="T102" fmla="*/ 48 w 91"/>
              <a:gd name="T103" fmla="*/ 68 h 81"/>
              <a:gd name="T104" fmla="*/ 54 w 91"/>
              <a:gd name="T105" fmla="*/ 68 h 81"/>
              <a:gd name="T106" fmla="*/ 81 w 91"/>
              <a:gd name="T107" fmla="*/ 36 h 81"/>
              <a:gd name="T108" fmla="*/ 10 w 91"/>
              <a:gd name="T109" fmla="*/ 36 h 81"/>
              <a:gd name="T110" fmla="*/ 10 w 91"/>
              <a:gd name="T111" fmla="*/ 63 h 81"/>
              <a:gd name="T112" fmla="*/ 12 w 91"/>
              <a:gd name="T113" fmla="*/ 69 h 81"/>
              <a:gd name="T114" fmla="*/ 17 w 91"/>
              <a:gd name="T115" fmla="*/ 71 h 81"/>
              <a:gd name="T116" fmla="*/ 74 w 91"/>
              <a:gd name="T117" fmla="*/ 71 h 81"/>
              <a:gd name="T118" fmla="*/ 79 w 91"/>
              <a:gd name="T119" fmla="*/ 69 h 81"/>
              <a:gd name="T120" fmla="*/ 81 w 91"/>
              <a:gd name="T121" fmla="*/ 63 h 81"/>
              <a:gd name="T122" fmla="*/ 81 w 91"/>
              <a:gd name="T123" fmla="*/ 36 h 8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91"/>
              <a:gd name="T187" fmla="*/ 0 h 81"/>
              <a:gd name="T188" fmla="*/ 91 w 91"/>
              <a:gd name="T189" fmla="*/ 81 h 81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91" h="81">
                <a:moveTo>
                  <a:pt x="91" y="17"/>
                </a:moveTo>
                <a:cubicBezTo>
                  <a:pt x="91" y="63"/>
                  <a:pt x="91" y="63"/>
                  <a:pt x="91" y="63"/>
                </a:cubicBezTo>
                <a:cubicBezTo>
                  <a:pt x="91" y="68"/>
                  <a:pt x="89" y="72"/>
                  <a:pt x="86" y="76"/>
                </a:cubicBezTo>
                <a:cubicBezTo>
                  <a:pt x="83" y="79"/>
                  <a:pt x="78" y="81"/>
                  <a:pt x="74" y="81"/>
                </a:cubicBezTo>
                <a:cubicBezTo>
                  <a:pt x="17" y="81"/>
                  <a:pt x="17" y="81"/>
                  <a:pt x="17" y="81"/>
                </a:cubicBezTo>
                <a:cubicBezTo>
                  <a:pt x="13" y="81"/>
                  <a:pt x="8" y="79"/>
                  <a:pt x="5" y="76"/>
                </a:cubicBezTo>
                <a:cubicBezTo>
                  <a:pt x="2" y="72"/>
                  <a:pt x="0" y="68"/>
                  <a:pt x="0" y="63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12"/>
                  <a:pt x="0" y="12"/>
                  <a:pt x="0" y="12"/>
                </a:cubicBezTo>
                <a:cubicBezTo>
                  <a:pt x="5" y="12"/>
                  <a:pt x="5" y="12"/>
                  <a:pt x="5" y="12"/>
                </a:cubicBezTo>
                <a:cubicBezTo>
                  <a:pt x="15" y="12"/>
                  <a:pt x="15" y="12"/>
                  <a:pt x="15" y="12"/>
                </a:cubicBezTo>
                <a:cubicBezTo>
                  <a:pt x="15" y="24"/>
                  <a:pt x="15" y="24"/>
                  <a:pt x="15" y="24"/>
                </a:cubicBezTo>
                <a:cubicBezTo>
                  <a:pt x="15" y="28"/>
                  <a:pt x="18" y="30"/>
                  <a:pt x="21" y="30"/>
                </a:cubicBezTo>
                <a:cubicBezTo>
                  <a:pt x="21" y="30"/>
                  <a:pt x="21" y="30"/>
                  <a:pt x="21" y="30"/>
                </a:cubicBezTo>
                <a:cubicBezTo>
                  <a:pt x="22" y="30"/>
                  <a:pt x="23" y="30"/>
                  <a:pt x="24" y="30"/>
                </a:cubicBezTo>
                <a:cubicBezTo>
                  <a:pt x="22" y="28"/>
                  <a:pt x="21" y="27"/>
                  <a:pt x="21" y="24"/>
                </a:cubicBezTo>
                <a:cubicBezTo>
                  <a:pt x="21" y="6"/>
                  <a:pt x="21" y="6"/>
                  <a:pt x="21" y="6"/>
                </a:cubicBezTo>
                <a:cubicBezTo>
                  <a:pt x="21" y="3"/>
                  <a:pt x="24" y="0"/>
                  <a:pt x="27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30" y="0"/>
                  <a:pt x="33" y="3"/>
                  <a:pt x="33" y="6"/>
                </a:cubicBezTo>
                <a:cubicBezTo>
                  <a:pt x="33" y="12"/>
                  <a:pt x="33" y="12"/>
                  <a:pt x="33" y="12"/>
                </a:cubicBezTo>
                <a:cubicBezTo>
                  <a:pt x="59" y="12"/>
                  <a:pt x="59" y="12"/>
                  <a:pt x="59" y="12"/>
                </a:cubicBezTo>
                <a:cubicBezTo>
                  <a:pt x="59" y="24"/>
                  <a:pt x="59" y="24"/>
                  <a:pt x="59" y="24"/>
                </a:cubicBezTo>
                <a:cubicBezTo>
                  <a:pt x="59" y="28"/>
                  <a:pt x="61" y="30"/>
                  <a:pt x="64" y="30"/>
                </a:cubicBezTo>
                <a:cubicBezTo>
                  <a:pt x="64" y="30"/>
                  <a:pt x="64" y="30"/>
                  <a:pt x="64" y="30"/>
                </a:cubicBezTo>
                <a:cubicBezTo>
                  <a:pt x="66" y="30"/>
                  <a:pt x="67" y="30"/>
                  <a:pt x="67" y="30"/>
                </a:cubicBezTo>
                <a:cubicBezTo>
                  <a:pt x="66" y="28"/>
                  <a:pt x="64" y="27"/>
                  <a:pt x="64" y="24"/>
                </a:cubicBezTo>
                <a:cubicBezTo>
                  <a:pt x="64" y="6"/>
                  <a:pt x="64" y="6"/>
                  <a:pt x="64" y="6"/>
                </a:cubicBezTo>
                <a:cubicBezTo>
                  <a:pt x="64" y="3"/>
                  <a:pt x="67" y="0"/>
                  <a:pt x="70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74" y="0"/>
                  <a:pt x="76" y="3"/>
                  <a:pt x="76" y="6"/>
                </a:cubicBezTo>
                <a:cubicBezTo>
                  <a:pt x="76" y="12"/>
                  <a:pt x="76" y="12"/>
                  <a:pt x="76" y="12"/>
                </a:cubicBezTo>
                <a:cubicBezTo>
                  <a:pt x="86" y="12"/>
                  <a:pt x="86" y="12"/>
                  <a:pt x="86" y="12"/>
                </a:cubicBezTo>
                <a:cubicBezTo>
                  <a:pt x="91" y="12"/>
                  <a:pt x="91" y="12"/>
                  <a:pt x="91" y="12"/>
                </a:cubicBezTo>
                <a:cubicBezTo>
                  <a:pt x="91" y="17"/>
                  <a:pt x="91" y="17"/>
                  <a:pt x="91" y="17"/>
                </a:cubicBezTo>
                <a:close/>
                <a:moveTo>
                  <a:pt x="44" y="68"/>
                </a:moveTo>
                <a:cubicBezTo>
                  <a:pt x="44" y="40"/>
                  <a:pt x="44" y="40"/>
                  <a:pt x="44" y="40"/>
                </a:cubicBezTo>
                <a:cubicBezTo>
                  <a:pt x="39" y="40"/>
                  <a:pt x="39" y="40"/>
                  <a:pt x="39" y="40"/>
                </a:cubicBezTo>
                <a:cubicBezTo>
                  <a:pt x="39" y="40"/>
                  <a:pt x="39" y="41"/>
                  <a:pt x="38" y="42"/>
                </a:cubicBezTo>
                <a:cubicBezTo>
                  <a:pt x="37" y="43"/>
                  <a:pt x="37" y="43"/>
                  <a:pt x="36" y="43"/>
                </a:cubicBezTo>
                <a:cubicBezTo>
                  <a:pt x="36" y="47"/>
                  <a:pt x="36" y="47"/>
                  <a:pt x="36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68"/>
                  <a:pt x="38" y="68"/>
                  <a:pt x="38" y="68"/>
                </a:cubicBezTo>
                <a:cubicBezTo>
                  <a:pt x="44" y="68"/>
                  <a:pt x="44" y="68"/>
                  <a:pt x="44" y="68"/>
                </a:cubicBezTo>
                <a:close/>
                <a:moveTo>
                  <a:pt x="54" y="68"/>
                </a:moveTo>
                <a:cubicBezTo>
                  <a:pt x="54" y="40"/>
                  <a:pt x="54" y="40"/>
                  <a:pt x="54" y="40"/>
                </a:cubicBezTo>
                <a:cubicBezTo>
                  <a:pt x="49" y="40"/>
                  <a:pt x="49" y="40"/>
                  <a:pt x="49" y="40"/>
                </a:cubicBezTo>
                <a:cubicBezTo>
                  <a:pt x="49" y="40"/>
                  <a:pt x="49" y="41"/>
                  <a:pt x="48" y="42"/>
                </a:cubicBezTo>
                <a:cubicBezTo>
                  <a:pt x="47" y="43"/>
                  <a:pt x="47" y="43"/>
                  <a:pt x="46" y="43"/>
                </a:cubicBezTo>
                <a:cubicBezTo>
                  <a:pt x="46" y="47"/>
                  <a:pt x="46" y="47"/>
                  <a:pt x="46" y="47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68"/>
                  <a:pt x="48" y="68"/>
                  <a:pt x="48" y="68"/>
                </a:cubicBezTo>
                <a:cubicBezTo>
                  <a:pt x="54" y="68"/>
                  <a:pt x="54" y="68"/>
                  <a:pt x="54" y="68"/>
                </a:cubicBezTo>
                <a:close/>
                <a:moveTo>
                  <a:pt x="81" y="36"/>
                </a:moveTo>
                <a:cubicBezTo>
                  <a:pt x="10" y="36"/>
                  <a:pt x="10" y="36"/>
                  <a:pt x="10" y="36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5"/>
                  <a:pt x="11" y="67"/>
                  <a:pt x="12" y="69"/>
                </a:cubicBezTo>
                <a:cubicBezTo>
                  <a:pt x="13" y="70"/>
                  <a:pt x="15" y="71"/>
                  <a:pt x="17" y="71"/>
                </a:cubicBezTo>
                <a:cubicBezTo>
                  <a:pt x="74" y="71"/>
                  <a:pt x="74" y="71"/>
                  <a:pt x="74" y="71"/>
                </a:cubicBezTo>
                <a:cubicBezTo>
                  <a:pt x="76" y="71"/>
                  <a:pt x="78" y="70"/>
                  <a:pt x="79" y="69"/>
                </a:cubicBezTo>
                <a:cubicBezTo>
                  <a:pt x="80" y="67"/>
                  <a:pt x="81" y="65"/>
                  <a:pt x="81" y="63"/>
                </a:cubicBezTo>
                <a:lnTo>
                  <a:pt x="81" y="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6" name="Freeform 70"/>
          <p:cNvSpPr>
            <a:spLocks noChangeArrowheads="1"/>
          </p:cNvSpPr>
          <p:nvPr/>
        </p:nvSpPr>
        <p:spPr bwMode="auto">
          <a:xfrm>
            <a:off x="3767667" y="3966634"/>
            <a:ext cx="378884" cy="347133"/>
          </a:xfrm>
          <a:custGeom>
            <a:avLst/>
            <a:gdLst>
              <a:gd name="T0" fmla="*/ 29 w 85"/>
              <a:gd name="T1" fmla="*/ 0 h 78"/>
              <a:gd name="T2" fmla="*/ 34 w 85"/>
              <a:gd name="T3" fmla="*/ 29 h 78"/>
              <a:gd name="T4" fmla="*/ 8 w 85"/>
              <a:gd name="T5" fmla="*/ 29 h 78"/>
              <a:gd name="T6" fmla="*/ 6 w 85"/>
              <a:gd name="T7" fmla="*/ 29 h 78"/>
              <a:gd name="T8" fmla="*/ 0 w 85"/>
              <a:gd name="T9" fmla="*/ 35 h 78"/>
              <a:gd name="T10" fmla="*/ 0 w 85"/>
              <a:gd name="T11" fmla="*/ 35 h 78"/>
              <a:gd name="T12" fmla="*/ 4 w 85"/>
              <a:gd name="T13" fmla="*/ 42 h 78"/>
              <a:gd name="T14" fmla="*/ 0 w 85"/>
              <a:gd name="T15" fmla="*/ 47 h 78"/>
              <a:gd name="T16" fmla="*/ 0 w 85"/>
              <a:gd name="T17" fmla="*/ 47 h 78"/>
              <a:gd name="T18" fmla="*/ 5 w 85"/>
              <a:gd name="T19" fmla="*/ 54 h 78"/>
              <a:gd name="T20" fmla="*/ 4 w 85"/>
              <a:gd name="T21" fmla="*/ 58 h 78"/>
              <a:gd name="T22" fmla="*/ 4 w 85"/>
              <a:gd name="T23" fmla="*/ 58 h 78"/>
              <a:gd name="T24" fmla="*/ 10 w 85"/>
              <a:gd name="T25" fmla="*/ 65 h 78"/>
              <a:gd name="T26" fmla="*/ 11 w 85"/>
              <a:gd name="T27" fmla="*/ 65 h 78"/>
              <a:gd name="T28" fmla="*/ 9 w 85"/>
              <a:gd name="T29" fmla="*/ 70 h 78"/>
              <a:gd name="T30" fmla="*/ 9 w 85"/>
              <a:gd name="T31" fmla="*/ 70 h 78"/>
              <a:gd name="T32" fmla="*/ 15 w 85"/>
              <a:gd name="T33" fmla="*/ 77 h 78"/>
              <a:gd name="T34" fmla="*/ 29 w 85"/>
              <a:gd name="T35" fmla="*/ 77 h 78"/>
              <a:gd name="T36" fmla="*/ 45 w 85"/>
              <a:gd name="T37" fmla="*/ 77 h 78"/>
              <a:gd name="T38" fmla="*/ 46 w 85"/>
              <a:gd name="T39" fmla="*/ 77 h 78"/>
              <a:gd name="T40" fmla="*/ 51 w 85"/>
              <a:gd name="T41" fmla="*/ 71 h 78"/>
              <a:gd name="T42" fmla="*/ 66 w 85"/>
              <a:gd name="T43" fmla="*/ 69 h 78"/>
              <a:gd name="T44" fmla="*/ 66 w 85"/>
              <a:gd name="T45" fmla="*/ 78 h 78"/>
              <a:gd name="T46" fmla="*/ 85 w 85"/>
              <a:gd name="T47" fmla="*/ 78 h 78"/>
              <a:gd name="T48" fmla="*/ 85 w 85"/>
              <a:gd name="T49" fmla="*/ 25 h 78"/>
              <a:gd name="T50" fmla="*/ 66 w 85"/>
              <a:gd name="T51" fmla="*/ 25 h 78"/>
              <a:gd name="T52" fmla="*/ 66 w 85"/>
              <a:gd name="T53" fmla="*/ 32 h 78"/>
              <a:gd name="T54" fmla="*/ 61 w 85"/>
              <a:gd name="T55" fmla="*/ 32 h 78"/>
              <a:gd name="T56" fmla="*/ 29 w 85"/>
              <a:gd name="T57" fmla="*/ 0 h 7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5"/>
              <a:gd name="T88" fmla="*/ 0 h 78"/>
              <a:gd name="T89" fmla="*/ 85 w 85"/>
              <a:gd name="T90" fmla="*/ 78 h 78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5" h="78">
                <a:moveTo>
                  <a:pt x="29" y="0"/>
                </a:moveTo>
                <a:cubicBezTo>
                  <a:pt x="1" y="7"/>
                  <a:pt x="33" y="28"/>
                  <a:pt x="34" y="29"/>
                </a:cubicBezTo>
                <a:cubicBezTo>
                  <a:pt x="8" y="29"/>
                  <a:pt x="8" y="29"/>
                  <a:pt x="8" y="29"/>
                </a:cubicBezTo>
                <a:cubicBezTo>
                  <a:pt x="6" y="29"/>
                  <a:pt x="6" y="29"/>
                  <a:pt x="6" y="29"/>
                </a:cubicBezTo>
                <a:cubicBezTo>
                  <a:pt x="3" y="29"/>
                  <a:pt x="0" y="32"/>
                  <a:pt x="0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38"/>
                  <a:pt x="1" y="41"/>
                  <a:pt x="4" y="42"/>
                </a:cubicBezTo>
                <a:cubicBezTo>
                  <a:pt x="2" y="43"/>
                  <a:pt x="0" y="45"/>
                  <a:pt x="0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51"/>
                  <a:pt x="2" y="53"/>
                  <a:pt x="5" y="54"/>
                </a:cubicBezTo>
                <a:cubicBezTo>
                  <a:pt x="4" y="55"/>
                  <a:pt x="4" y="57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62"/>
                  <a:pt x="7" y="65"/>
                  <a:pt x="10" y="65"/>
                </a:cubicBezTo>
                <a:cubicBezTo>
                  <a:pt x="11" y="65"/>
                  <a:pt x="11" y="65"/>
                  <a:pt x="11" y="65"/>
                </a:cubicBezTo>
                <a:cubicBezTo>
                  <a:pt x="9" y="66"/>
                  <a:pt x="9" y="68"/>
                  <a:pt x="9" y="70"/>
                </a:cubicBezTo>
                <a:cubicBezTo>
                  <a:pt x="9" y="70"/>
                  <a:pt x="9" y="70"/>
                  <a:pt x="9" y="70"/>
                </a:cubicBezTo>
                <a:cubicBezTo>
                  <a:pt x="9" y="74"/>
                  <a:pt x="12" y="77"/>
                  <a:pt x="15" y="77"/>
                </a:cubicBezTo>
                <a:cubicBezTo>
                  <a:pt x="29" y="77"/>
                  <a:pt x="29" y="77"/>
                  <a:pt x="29" y="77"/>
                </a:cubicBezTo>
                <a:cubicBezTo>
                  <a:pt x="45" y="77"/>
                  <a:pt x="45" y="77"/>
                  <a:pt x="45" y="77"/>
                </a:cubicBezTo>
                <a:cubicBezTo>
                  <a:pt x="46" y="77"/>
                  <a:pt x="46" y="77"/>
                  <a:pt x="46" y="77"/>
                </a:cubicBezTo>
                <a:cubicBezTo>
                  <a:pt x="51" y="71"/>
                  <a:pt x="51" y="71"/>
                  <a:pt x="51" y="71"/>
                </a:cubicBezTo>
                <a:cubicBezTo>
                  <a:pt x="66" y="69"/>
                  <a:pt x="66" y="69"/>
                  <a:pt x="66" y="69"/>
                </a:cubicBezTo>
                <a:cubicBezTo>
                  <a:pt x="66" y="78"/>
                  <a:pt x="66" y="78"/>
                  <a:pt x="66" y="78"/>
                </a:cubicBezTo>
                <a:cubicBezTo>
                  <a:pt x="85" y="78"/>
                  <a:pt x="85" y="78"/>
                  <a:pt x="85" y="78"/>
                </a:cubicBezTo>
                <a:cubicBezTo>
                  <a:pt x="85" y="25"/>
                  <a:pt x="85" y="25"/>
                  <a:pt x="85" y="25"/>
                </a:cubicBezTo>
                <a:cubicBezTo>
                  <a:pt x="66" y="25"/>
                  <a:pt x="66" y="25"/>
                  <a:pt x="66" y="25"/>
                </a:cubicBezTo>
                <a:cubicBezTo>
                  <a:pt x="66" y="32"/>
                  <a:pt x="66" y="32"/>
                  <a:pt x="66" y="32"/>
                </a:cubicBezTo>
                <a:cubicBezTo>
                  <a:pt x="61" y="32"/>
                  <a:pt x="61" y="32"/>
                  <a:pt x="61" y="32"/>
                </a:cubicBezTo>
                <a:cubicBezTo>
                  <a:pt x="57" y="16"/>
                  <a:pt x="32" y="17"/>
                  <a:pt x="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7" name="Freeform 71"/>
          <p:cNvSpPr>
            <a:spLocks noEditPoints="1" noChangeArrowheads="1"/>
          </p:cNvSpPr>
          <p:nvPr/>
        </p:nvSpPr>
        <p:spPr bwMode="auto">
          <a:xfrm>
            <a:off x="3731685" y="3113617"/>
            <a:ext cx="419100" cy="440267"/>
          </a:xfrm>
          <a:custGeom>
            <a:avLst/>
            <a:gdLst>
              <a:gd name="T0" fmla="*/ 170 w 222"/>
              <a:gd name="T1" fmla="*/ 28 h 233"/>
              <a:gd name="T2" fmla="*/ 182 w 222"/>
              <a:gd name="T3" fmla="*/ 7 h 233"/>
              <a:gd name="T4" fmla="*/ 151 w 222"/>
              <a:gd name="T5" fmla="*/ 18 h 233"/>
              <a:gd name="T6" fmla="*/ 7 w 222"/>
              <a:gd name="T7" fmla="*/ 158 h 233"/>
              <a:gd name="T8" fmla="*/ 31 w 222"/>
              <a:gd name="T9" fmla="*/ 222 h 233"/>
              <a:gd name="T10" fmla="*/ 31 w 222"/>
              <a:gd name="T11" fmla="*/ 170 h 233"/>
              <a:gd name="T12" fmla="*/ 109 w 222"/>
              <a:gd name="T13" fmla="*/ 113 h 233"/>
              <a:gd name="T14" fmla="*/ 116 w 222"/>
              <a:gd name="T15" fmla="*/ 92 h 233"/>
              <a:gd name="T16" fmla="*/ 88 w 222"/>
              <a:gd name="T17" fmla="*/ 103 h 233"/>
              <a:gd name="T18" fmla="*/ 76 w 222"/>
              <a:gd name="T19" fmla="*/ 99 h 233"/>
              <a:gd name="T20" fmla="*/ 116 w 222"/>
              <a:gd name="T21" fmla="*/ 82 h 233"/>
              <a:gd name="T22" fmla="*/ 132 w 222"/>
              <a:gd name="T23" fmla="*/ 89 h 233"/>
              <a:gd name="T24" fmla="*/ 132 w 222"/>
              <a:gd name="T25" fmla="*/ 18 h 233"/>
              <a:gd name="T26" fmla="*/ 180 w 222"/>
              <a:gd name="T27" fmla="*/ 0 h 233"/>
              <a:gd name="T28" fmla="*/ 182 w 222"/>
              <a:gd name="T29" fmla="*/ 0 h 233"/>
              <a:gd name="T30" fmla="*/ 222 w 222"/>
              <a:gd name="T31" fmla="*/ 18 h 233"/>
              <a:gd name="T32" fmla="*/ 173 w 222"/>
              <a:gd name="T33" fmla="*/ 186 h 233"/>
              <a:gd name="T34" fmla="*/ 158 w 222"/>
              <a:gd name="T35" fmla="*/ 179 h 233"/>
              <a:gd name="T36" fmla="*/ 106 w 222"/>
              <a:gd name="T37" fmla="*/ 210 h 233"/>
              <a:gd name="T38" fmla="*/ 90 w 222"/>
              <a:gd name="T39" fmla="*/ 200 h 233"/>
              <a:gd name="T40" fmla="*/ 38 w 222"/>
              <a:gd name="T41" fmla="*/ 233 h 233"/>
              <a:gd name="T42" fmla="*/ 3 w 222"/>
              <a:gd name="T43" fmla="*/ 217 h 233"/>
              <a:gd name="T44" fmla="*/ 0 w 222"/>
              <a:gd name="T45" fmla="*/ 212 h 233"/>
              <a:gd name="T46" fmla="*/ 0 w 222"/>
              <a:gd name="T47" fmla="*/ 146 h 233"/>
              <a:gd name="T48" fmla="*/ 47 w 222"/>
              <a:gd name="T49" fmla="*/ 127 h 233"/>
              <a:gd name="T50" fmla="*/ 50 w 222"/>
              <a:gd name="T51" fmla="*/ 127 h 233"/>
              <a:gd name="T52" fmla="*/ 90 w 222"/>
              <a:gd name="T53" fmla="*/ 146 h 233"/>
              <a:gd name="T54" fmla="*/ 99 w 222"/>
              <a:gd name="T55" fmla="*/ 198 h 233"/>
              <a:gd name="T56" fmla="*/ 76 w 222"/>
              <a:gd name="T57" fmla="*/ 113 h 233"/>
              <a:gd name="T58" fmla="*/ 69 w 222"/>
              <a:gd name="T59" fmla="*/ 137 h 233"/>
              <a:gd name="T60" fmla="*/ 69 w 222"/>
              <a:gd name="T61" fmla="*/ 101 h 233"/>
              <a:gd name="T62" fmla="*/ 140 w 222"/>
              <a:gd name="T63" fmla="*/ 94 h 233"/>
              <a:gd name="T64" fmla="*/ 158 w 222"/>
              <a:gd name="T65" fmla="*/ 101 h 233"/>
              <a:gd name="T66" fmla="*/ 166 w 222"/>
              <a:gd name="T67" fmla="*/ 174 h 233"/>
              <a:gd name="T68" fmla="*/ 140 w 222"/>
              <a:gd name="T69" fmla="*/ 30 h 233"/>
              <a:gd name="T70" fmla="*/ 140 w 222"/>
              <a:gd name="T71" fmla="*/ 94 h 233"/>
              <a:gd name="T72" fmla="*/ 38 w 222"/>
              <a:gd name="T73" fmla="*/ 158 h 233"/>
              <a:gd name="T74" fmla="*/ 47 w 222"/>
              <a:gd name="T75" fmla="*/ 137 h 233"/>
              <a:gd name="T76" fmla="*/ 19 w 222"/>
              <a:gd name="T77" fmla="*/ 148 h 233"/>
              <a:gd name="T78" fmla="*/ 173 w 222"/>
              <a:gd name="T79" fmla="*/ 35 h 233"/>
              <a:gd name="T80" fmla="*/ 173 w 222"/>
              <a:gd name="T81" fmla="*/ 37 h 23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22"/>
              <a:gd name="T124" fmla="*/ 0 h 233"/>
              <a:gd name="T125" fmla="*/ 222 w 222"/>
              <a:gd name="T126" fmla="*/ 233 h 23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22" h="233">
                <a:moveTo>
                  <a:pt x="151" y="18"/>
                </a:moveTo>
                <a:lnTo>
                  <a:pt x="170" y="28"/>
                </a:lnTo>
                <a:lnTo>
                  <a:pt x="203" y="18"/>
                </a:lnTo>
                <a:lnTo>
                  <a:pt x="182" y="7"/>
                </a:lnTo>
                <a:lnTo>
                  <a:pt x="151" y="18"/>
                </a:lnTo>
                <a:lnTo>
                  <a:pt x="151" y="18"/>
                </a:lnTo>
                <a:close/>
                <a:moveTo>
                  <a:pt x="31" y="170"/>
                </a:moveTo>
                <a:lnTo>
                  <a:pt x="7" y="158"/>
                </a:lnTo>
                <a:lnTo>
                  <a:pt x="7" y="210"/>
                </a:lnTo>
                <a:lnTo>
                  <a:pt x="31" y="222"/>
                </a:lnTo>
                <a:lnTo>
                  <a:pt x="31" y="170"/>
                </a:lnTo>
                <a:lnTo>
                  <a:pt x="31" y="170"/>
                </a:lnTo>
                <a:close/>
                <a:moveTo>
                  <a:pt x="88" y="103"/>
                </a:moveTo>
                <a:lnTo>
                  <a:pt x="109" y="113"/>
                </a:lnTo>
                <a:lnTo>
                  <a:pt x="137" y="101"/>
                </a:lnTo>
                <a:lnTo>
                  <a:pt x="116" y="92"/>
                </a:lnTo>
                <a:lnTo>
                  <a:pt x="88" y="103"/>
                </a:lnTo>
                <a:lnTo>
                  <a:pt x="88" y="103"/>
                </a:lnTo>
                <a:close/>
                <a:moveTo>
                  <a:pt x="69" y="101"/>
                </a:moveTo>
                <a:lnTo>
                  <a:pt x="76" y="99"/>
                </a:lnTo>
                <a:lnTo>
                  <a:pt x="116" y="82"/>
                </a:lnTo>
                <a:lnTo>
                  <a:pt x="116" y="82"/>
                </a:lnTo>
                <a:lnTo>
                  <a:pt x="118" y="82"/>
                </a:lnTo>
                <a:lnTo>
                  <a:pt x="132" y="89"/>
                </a:lnTo>
                <a:lnTo>
                  <a:pt x="132" y="23"/>
                </a:lnTo>
                <a:lnTo>
                  <a:pt x="132" y="18"/>
                </a:lnTo>
                <a:lnTo>
                  <a:pt x="140" y="14"/>
                </a:lnTo>
                <a:lnTo>
                  <a:pt x="180" y="0"/>
                </a:lnTo>
                <a:lnTo>
                  <a:pt x="182" y="0"/>
                </a:lnTo>
                <a:lnTo>
                  <a:pt x="182" y="0"/>
                </a:lnTo>
                <a:lnTo>
                  <a:pt x="215" y="14"/>
                </a:lnTo>
                <a:lnTo>
                  <a:pt x="222" y="18"/>
                </a:lnTo>
                <a:lnTo>
                  <a:pt x="222" y="167"/>
                </a:lnTo>
                <a:lnTo>
                  <a:pt x="173" y="186"/>
                </a:lnTo>
                <a:lnTo>
                  <a:pt x="168" y="184"/>
                </a:lnTo>
                <a:lnTo>
                  <a:pt x="158" y="179"/>
                </a:lnTo>
                <a:lnTo>
                  <a:pt x="158" y="191"/>
                </a:lnTo>
                <a:lnTo>
                  <a:pt x="106" y="210"/>
                </a:lnTo>
                <a:lnTo>
                  <a:pt x="102" y="207"/>
                </a:lnTo>
                <a:lnTo>
                  <a:pt x="90" y="200"/>
                </a:lnTo>
                <a:lnTo>
                  <a:pt x="90" y="214"/>
                </a:lnTo>
                <a:lnTo>
                  <a:pt x="38" y="233"/>
                </a:lnTo>
                <a:lnTo>
                  <a:pt x="33" y="231"/>
                </a:lnTo>
                <a:lnTo>
                  <a:pt x="3" y="217"/>
                </a:lnTo>
                <a:lnTo>
                  <a:pt x="0" y="214"/>
                </a:lnTo>
                <a:lnTo>
                  <a:pt x="0" y="212"/>
                </a:lnTo>
                <a:lnTo>
                  <a:pt x="0" y="153"/>
                </a:lnTo>
                <a:lnTo>
                  <a:pt x="0" y="146"/>
                </a:lnTo>
                <a:lnTo>
                  <a:pt x="7" y="144"/>
                </a:lnTo>
                <a:lnTo>
                  <a:pt x="47" y="127"/>
                </a:lnTo>
                <a:lnTo>
                  <a:pt x="47" y="127"/>
                </a:lnTo>
                <a:lnTo>
                  <a:pt x="50" y="127"/>
                </a:lnTo>
                <a:lnTo>
                  <a:pt x="80" y="144"/>
                </a:lnTo>
                <a:lnTo>
                  <a:pt x="90" y="146"/>
                </a:lnTo>
                <a:lnTo>
                  <a:pt x="90" y="193"/>
                </a:lnTo>
                <a:lnTo>
                  <a:pt x="99" y="198"/>
                </a:lnTo>
                <a:lnTo>
                  <a:pt x="99" y="125"/>
                </a:lnTo>
                <a:lnTo>
                  <a:pt x="76" y="113"/>
                </a:lnTo>
                <a:lnTo>
                  <a:pt x="76" y="141"/>
                </a:lnTo>
                <a:lnTo>
                  <a:pt x="69" y="137"/>
                </a:lnTo>
                <a:lnTo>
                  <a:pt x="69" y="108"/>
                </a:lnTo>
                <a:lnTo>
                  <a:pt x="69" y="101"/>
                </a:lnTo>
                <a:lnTo>
                  <a:pt x="69" y="101"/>
                </a:lnTo>
                <a:close/>
                <a:moveTo>
                  <a:pt x="140" y="94"/>
                </a:moveTo>
                <a:lnTo>
                  <a:pt x="149" y="99"/>
                </a:lnTo>
                <a:lnTo>
                  <a:pt x="158" y="101"/>
                </a:lnTo>
                <a:lnTo>
                  <a:pt x="158" y="170"/>
                </a:lnTo>
                <a:lnTo>
                  <a:pt x="166" y="174"/>
                </a:lnTo>
                <a:lnTo>
                  <a:pt x="166" y="42"/>
                </a:lnTo>
                <a:lnTo>
                  <a:pt x="140" y="30"/>
                </a:lnTo>
                <a:lnTo>
                  <a:pt x="140" y="94"/>
                </a:lnTo>
                <a:lnTo>
                  <a:pt x="140" y="94"/>
                </a:lnTo>
                <a:close/>
                <a:moveTo>
                  <a:pt x="19" y="148"/>
                </a:moveTo>
                <a:lnTo>
                  <a:pt x="38" y="158"/>
                </a:lnTo>
                <a:lnTo>
                  <a:pt x="71" y="146"/>
                </a:lnTo>
                <a:lnTo>
                  <a:pt x="47" y="137"/>
                </a:lnTo>
                <a:lnTo>
                  <a:pt x="19" y="148"/>
                </a:lnTo>
                <a:lnTo>
                  <a:pt x="19" y="148"/>
                </a:lnTo>
                <a:close/>
                <a:moveTo>
                  <a:pt x="173" y="37"/>
                </a:moveTo>
                <a:lnTo>
                  <a:pt x="173" y="35"/>
                </a:lnTo>
                <a:lnTo>
                  <a:pt x="173" y="37"/>
                </a:lnTo>
                <a:lnTo>
                  <a:pt x="173" y="37"/>
                </a:lnTo>
                <a:lnTo>
                  <a:pt x="173" y="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8" name="Freeform 72"/>
          <p:cNvSpPr>
            <a:spLocks noEditPoints="1" noChangeArrowheads="1"/>
          </p:cNvSpPr>
          <p:nvPr/>
        </p:nvSpPr>
        <p:spPr bwMode="auto">
          <a:xfrm>
            <a:off x="4652434" y="3956052"/>
            <a:ext cx="277284" cy="385233"/>
          </a:xfrm>
          <a:custGeom>
            <a:avLst/>
            <a:gdLst>
              <a:gd name="T0" fmla="*/ 62 w 62"/>
              <a:gd name="T1" fmla="*/ 8 h 86"/>
              <a:gd name="T2" fmla="*/ 0 w 62"/>
              <a:gd name="T3" fmla="*/ 86 h 86"/>
              <a:gd name="T4" fmla="*/ 8 w 62"/>
              <a:gd name="T5" fmla="*/ 14 h 86"/>
              <a:gd name="T6" fmla="*/ 54 w 62"/>
              <a:gd name="T7" fmla="*/ 29 h 86"/>
              <a:gd name="T8" fmla="*/ 8 w 62"/>
              <a:gd name="T9" fmla="*/ 14 h 86"/>
              <a:gd name="T10" fmla="*/ 8 w 62"/>
              <a:gd name="T11" fmla="*/ 41 h 86"/>
              <a:gd name="T12" fmla="*/ 18 w 62"/>
              <a:gd name="T13" fmla="*/ 41 h 86"/>
              <a:gd name="T14" fmla="*/ 50 w 62"/>
              <a:gd name="T15" fmla="*/ 63 h 86"/>
              <a:gd name="T16" fmla="*/ 50 w 62"/>
              <a:gd name="T17" fmla="*/ 73 h 86"/>
              <a:gd name="T18" fmla="*/ 50 w 62"/>
              <a:gd name="T19" fmla="*/ 63 h 86"/>
              <a:gd name="T20" fmla="*/ 32 w 62"/>
              <a:gd name="T21" fmla="*/ 68 h 86"/>
              <a:gd name="T22" fmla="*/ 42 w 62"/>
              <a:gd name="T23" fmla="*/ 68 h 86"/>
              <a:gd name="T24" fmla="*/ 25 w 62"/>
              <a:gd name="T25" fmla="*/ 63 h 86"/>
              <a:gd name="T26" fmla="*/ 25 w 62"/>
              <a:gd name="T27" fmla="*/ 73 h 86"/>
              <a:gd name="T28" fmla="*/ 25 w 62"/>
              <a:gd name="T29" fmla="*/ 63 h 86"/>
              <a:gd name="T30" fmla="*/ 8 w 62"/>
              <a:gd name="T31" fmla="*/ 68 h 86"/>
              <a:gd name="T32" fmla="*/ 18 w 62"/>
              <a:gd name="T33" fmla="*/ 68 h 86"/>
              <a:gd name="T34" fmla="*/ 50 w 62"/>
              <a:gd name="T35" fmla="*/ 50 h 86"/>
              <a:gd name="T36" fmla="*/ 50 w 62"/>
              <a:gd name="T37" fmla="*/ 60 h 86"/>
              <a:gd name="T38" fmla="*/ 50 w 62"/>
              <a:gd name="T39" fmla="*/ 50 h 86"/>
              <a:gd name="T40" fmla="*/ 32 w 62"/>
              <a:gd name="T41" fmla="*/ 55 h 86"/>
              <a:gd name="T42" fmla="*/ 42 w 62"/>
              <a:gd name="T43" fmla="*/ 55 h 86"/>
              <a:gd name="T44" fmla="*/ 25 w 62"/>
              <a:gd name="T45" fmla="*/ 50 h 86"/>
              <a:gd name="T46" fmla="*/ 25 w 62"/>
              <a:gd name="T47" fmla="*/ 60 h 86"/>
              <a:gd name="T48" fmla="*/ 25 w 62"/>
              <a:gd name="T49" fmla="*/ 50 h 86"/>
              <a:gd name="T50" fmla="*/ 8 w 62"/>
              <a:gd name="T51" fmla="*/ 55 h 86"/>
              <a:gd name="T52" fmla="*/ 18 w 62"/>
              <a:gd name="T53" fmla="*/ 55 h 86"/>
              <a:gd name="T54" fmla="*/ 50 w 62"/>
              <a:gd name="T55" fmla="*/ 36 h 86"/>
              <a:gd name="T56" fmla="*/ 50 w 62"/>
              <a:gd name="T57" fmla="*/ 46 h 86"/>
              <a:gd name="T58" fmla="*/ 50 w 62"/>
              <a:gd name="T59" fmla="*/ 36 h 86"/>
              <a:gd name="T60" fmla="*/ 32 w 62"/>
              <a:gd name="T61" fmla="*/ 41 h 86"/>
              <a:gd name="T62" fmla="*/ 42 w 62"/>
              <a:gd name="T63" fmla="*/ 41 h 86"/>
              <a:gd name="T64" fmla="*/ 25 w 62"/>
              <a:gd name="T65" fmla="*/ 36 h 86"/>
              <a:gd name="T66" fmla="*/ 25 w 62"/>
              <a:gd name="T67" fmla="*/ 46 h 86"/>
              <a:gd name="T68" fmla="*/ 25 w 62"/>
              <a:gd name="T69" fmla="*/ 36 h 8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62"/>
              <a:gd name="T106" fmla="*/ 0 h 86"/>
              <a:gd name="T107" fmla="*/ 62 w 62"/>
              <a:gd name="T108" fmla="*/ 86 h 8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62" h="86">
                <a:moveTo>
                  <a:pt x="0" y="8"/>
                </a:moveTo>
                <a:cubicBezTo>
                  <a:pt x="21" y="0"/>
                  <a:pt x="42" y="0"/>
                  <a:pt x="62" y="8"/>
                </a:cubicBezTo>
                <a:cubicBezTo>
                  <a:pt x="62" y="34"/>
                  <a:pt x="62" y="60"/>
                  <a:pt x="62" y="86"/>
                </a:cubicBezTo>
                <a:cubicBezTo>
                  <a:pt x="41" y="86"/>
                  <a:pt x="21" y="86"/>
                  <a:pt x="0" y="86"/>
                </a:cubicBezTo>
                <a:cubicBezTo>
                  <a:pt x="0" y="60"/>
                  <a:pt x="0" y="34"/>
                  <a:pt x="0" y="8"/>
                </a:cubicBezTo>
                <a:close/>
                <a:moveTo>
                  <a:pt x="8" y="14"/>
                </a:moveTo>
                <a:cubicBezTo>
                  <a:pt x="8" y="29"/>
                  <a:pt x="8" y="29"/>
                  <a:pt x="8" y="29"/>
                </a:cubicBezTo>
                <a:cubicBezTo>
                  <a:pt x="54" y="29"/>
                  <a:pt x="54" y="29"/>
                  <a:pt x="54" y="29"/>
                </a:cubicBezTo>
                <a:cubicBezTo>
                  <a:pt x="54" y="14"/>
                  <a:pt x="54" y="14"/>
                  <a:pt x="54" y="14"/>
                </a:cubicBezTo>
                <a:cubicBezTo>
                  <a:pt x="8" y="14"/>
                  <a:pt x="8" y="14"/>
                  <a:pt x="8" y="14"/>
                </a:cubicBezTo>
                <a:close/>
                <a:moveTo>
                  <a:pt x="13" y="36"/>
                </a:moveTo>
                <a:cubicBezTo>
                  <a:pt x="10" y="36"/>
                  <a:pt x="8" y="38"/>
                  <a:pt x="8" y="41"/>
                </a:cubicBezTo>
                <a:cubicBezTo>
                  <a:pt x="8" y="44"/>
                  <a:pt x="10" y="46"/>
                  <a:pt x="13" y="46"/>
                </a:cubicBezTo>
                <a:cubicBezTo>
                  <a:pt x="16" y="46"/>
                  <a:pt x="18" y="44"/>
                  <a:pt x="18" y="41"/>
                </a:cubicBezTo>
                <a:cubicBezTo>
                  <a:pt x="18" y="38"/>
                  <a:pt x="16" y="36"/>
                  <a:pt x="13" y="36"/>
                </a:cubicBezTo>
                <a:close/>
                <a:moveTo>
                  <a:pt x="50" y="63"/>
                </a:moveTo>
                <a:cubicBezTo>
                  <a:pt x="47" y="63"/>
                  <a:pt x="45" y="66"/>
                  <a:pt x="45" y="68"/>
                </a:cubicBezTo>
                <a:cubicBezTo>
                  <a:pt x="45" y="71"/>
                  <a:pt x="47" y="73"/>
                  <a:pt x="50" y="73"/>
                </a:cubicBezTo>
                <a:cubicBezTo>
                  <a:pt x="52" y="73"/>
                  <a:pt x="54" y="71"/>
                  <a:pt x="54" y="68"/>
                </a:cubicBezTo>
                <a:cubicBezTo>
                  <a:pt x="54" y="66"/>
                  <a:pt x="52" y="63"/>
                  <a:pt x="50" y="63"/>
                </a:cubicBezTo>
                <a:close/>
                <a:moveTo>
                  <a:pt x="37" y="63"/>
                </a:moveTo>
                <a:cubicBezTo>
                  <a:pt x="34" y="63"/>
                  <a:pt x="32" y="66"/>
                  <a:pt x="32" y="68"/>
                </a:cubicBezTo>
                <a:cubicBezTo>
                  <a:pt x="32" y="71"/>
                  <a:pt x="34" y="73"/>
                  <a:pt x="37" y="73"/>
                </a:cubicBezTo>
                <a:cubicBezTo>
                  <a:pt x="40" y="73"/>
                  <a:pt x="42" y="71"/>
                  <a:pt x="42" y="68"/>
                </a:cubicBezTo>
                <a:cubicBezTo>
                  <a:pt x="42" y="66"/>
                  <a:pt x="40" y="63"/>
                  <a:pt x="37" y="63"/>
                </a:cubicBezTo>
                <a:close/>
                <a:moveTo>
                  <a:pt x="25" y="63"/>
                </a:moveTo>
                <a:cubicBezTo>
                  <a:pt x="22" y="63"/>
                  <a:pt x="20" y="66"/>
                  <a:pt x="20" y="68"/>
                </a:cubicBezTo>
                <a:cubicBezTo>
                  <a:pt x="20" y="71"/>
                  <a:pt x="22" y="73"/>
                  <a:pt x="25" y="73"/>
                </a:cubicBezTo>
                <a:cubicBezTo>
                  <a:pt x="28" y="73"/>
                  <a:pt x="30" y="71"/>
                  <a:pt x="30" y="68"/>
                </a:cubicBezTo>
                <a:cubicBezTo>
                  <a:pt x="30" y="66"/>
                  <a:pt x="28" y="63"/>
                  <a:pt x="25" y="63"/>
                </a:cubicBezTo>
                <a:close/>
                <a:moveTo>
                  <a:pt x="13" y="63"/>
                </a:moveTo>
                <a:cubicBezTo>
                  <a:pt x="10" y="63"/>
                  <a:pt x="8" y="66"/>
                  <a:pt x="8" y="68"/>
                </a:cubicBezTo>
                <a:cubicBezTo>
                  <a:pt x="8" y="71"/>
                  <a:pt x="10" y="73"/>
                  <a:pt x="13" y="73"/>
                </a:cubicBezTo>
                <a:cubicBezTo>
                  <a:pt x="16" y="73"/>
                  <a:pt x="18" y="71"/>
                  <a:pt x="18" y="68"/>
                </a:cubicBezTo>
                <a:cubicBezTo>
                  <a:pt x="18" y="66"/>
                  <a:pt x="16" y="63"/>
                  <a:pt x="13" y="63"/>
                </a:cubicBezTo>
                <a:close/>
                <a:moveTo>
                  <a:pt x="50" y="50"/>
                </a:moveTo>
                <a:cubicBezTo>
                  <a:pt x="47" y="50"/>
                  <a:pt x="45" y="52"/>
                  <a:pt x="45" y="55"/>
                </a:cubicBezTo>
                <a:cubicBezTo>
                  <a:pt x="45" y="57"/>
                  <a:pt x="47" y="60"/>
                  <a:pt x="50" y="60"/>
                </a:cubicBezTo>
                <a:cubicBezTo>
                  <a:pt x="52" y="60"/>
                  <a:pt x="54" y="57"/>
                  <a:pt x="54" y="55"/>
                </a:cubicBezTo>
                <a:cubicBezTo>
                  <a:pt x="54" y="52"/>
                  <a:pt x="52" y="50"/>
                  <a:pt x="50" y="50"/>
                </a:cubicBezTo>
                <a:close/>
                <a:moveTo>
                  <a:pt x="37" y="50"/>
                </a:moveTo>
                <a:cubicBezTo>
                  <a:pt x="34" y="50"/>
                  <a:pt x="32" y="52"/>
                  <a:pt x="32" y="55"/>
                </a:cubicBezTo>
                <a:cubicBezTo>
                  <a:pt x="32" y="57"/>
                  <a:pt x="34" y="60"/>
                  <a:pt x="37" y="60"/>
                </a:cubicBezTo>
                <a:cubicBezTo>
                  <a:pt x="40" y="60"/>
                  <a:pt x="42" y="57"/>
                  <a:pt x="42" y="55"/>
                </a:cubicBezTo>
                <a:cubicBezTo>
                  <a:pt x="42" y="52"/>
                  <a:pt x="40" y="50"/>
                  <a:pt x="37" y="50"/>
                </a:cubicBezTo>
                <a:close/>
                <a:moveTo>
                  <a:pt x="25" y="50"/>
                </a:moveTo>
                <a:cubicBezTo>
                  <a:pt x="22" y="50"/>
                  <a:pt x="20" y="52"/>
                  <a:pt x="20" y="55"/>
                </a:cubicBezTo>
                <a:cubicBezTo>
                  <a:pt x="20" y="57"/>
                  <a:pt x="22" y="60"/>
                  <a:pt x="25" y="60"/>
                </a:cubicBezTo>
                <a:cubicBezTo>
                  <a:pt x="28" y="60"/>
                  <a:pt x="30" y="57"/>
                  <a:pt x="30" y="55"/>
                </a:cubicBezTo>
                <a:cubicBezTo>
                  <a:pt x="30" y="52"/>
                  <a:pt x="28" y="50"/>
                  <a:pt x="25" y="50"/>
                </a:cubicBezTo>
                <a:close/>
                <a:moveTo>
                  <a:pt x="13" y="50"/>
                </a:moveTo>
                <a:cubicBezTo>
                  <a:pt x="10" y="50"/>
                  <a:pt x="8" y="52"/>
                  <a:pt x="8" y="55"/>
                </a:cubicBezTo>
                <a:cubicBezTo>
                  <a:pt x="8" y="57"/>
                  <a:pt x="10" y="60"/>
                  <a:pt x="13" y="60"/>
                </a:cubicBezTo>
                <a:cubicBezTo>
                  <a:pt x="16" y="60"/>
                  <a:pt x="18" y="57"/>
                  <a:pt x="18" y="55"/>
                </a:cubicBezTo>
                <a:cubicBezTo>
                  <a:pt x="18" y="52"/>
                  <a:pt x="16" y="50"/>
                  <a:pt x="13" y="50"/>
                </a:cubicBezTo>
                <a:close/>
                <a:moveTo>
                  <a:pt x="50" y="36"/>
                </a:moveTo>
                <a:cubicBezTo>
                  <a:pt x="47" y="36"/>
                  <a:pt x="45" y="38"/>
                  <a:pt x="45" y="41"/>
                </a:cubicBezTo>
                <a:cubicBezTo>
                  <a:pt x="45" y="44"/>
                  <a:pt x="47" y="46"/>
                  <a:pt x="50" y="46"/>
                </a:cubicBezTo>
                <a:cubicBezTo>
                  <a:pt x="52" y="46"/>
                  <a:pt x="54" y="44"/>
                  <a:pt x="54" y="41"/>
                </a:cubicBezTo>
                <a:cubicBezTo>
                  <a:pt x="54" y="38"/>
                  <a:pt x="52" y="36"/>
                  <a:pt x="50" y="36"/>
                </a:cubicBezTo>
                <a:close/>
                <a:moveTo>
                  <a:pt x="37" y="36"/>
                </a:moveTo>
                <a:cubicBezTo>
                  <a:pt x="34" y="36"/>
                  <a:pt x="32" y="38"/>
                  <a:pt x="32" y="41"/>
                </a:cubicBezTo>
                <a:cubicBezTo>
                  <a:pt x="32" y="44"/>
                  <a:pt x="34" y="46"/>
                  <a:pt x="37" y="46"/>
                </a:cubicBezTo>
                <a:cubicBezTo>
                  <a:pt x="40" y="46"/>
                  <a:pt x="42" y="44"/>
                  <a:pt x="42" y="41"/>
                </a:cubicBezTo>
                <a:cubicBezTo>
                  <a:pt x="42" y="38"/>
                  <a:pt x="40" y="36"/>
                  <a:pt x="37" y="36"/>
                </a:cubicBezTo>
                <a:close/>
                <a:moveTo>
                  <a:pt x="25" y="36"/>
                </a:moveTo>
                <a:cubicBezTo>
                  <a:pt x="22" y="36"/>
                  <a:pt x="20" y="38"/>
                  <a:pt x="20" y="41"/>
                </a:cubicBezTo>
                <a:cubicBezTo>
                  <a:pt x="20" y="44"/>
                  <a:pt x="22" y="46"/>
                  <a:pt x="25" y="46"/>
                </a:cubicBezTo>
                <a:cubicBezTo>
                  <a:pt x="28" y="46"/>
                  <a:pt x="30" y="44"/>
                  <a:pt x="30" y="41"/>
                </a:cubicBezTo>
                <a:cubicBezTo>
                  <a:pt x="30" y="38"/>
                  <a:pt x="28" y="36"/>
                  <a:pt x="25" y="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19" name="Freeform 73"/>
          <p:cNvSpPr>
            <a:spLocks noEditPoints="1" noChangeArrowheads="1"/>
          </p:cNvSpPr>
          <p:nvPr/>
        </p:nvSpPr>
        <p:spPr bwMode="auto">
          <a:xfrm>
            <a:off x="2927351" y="3090334"/>
            <a:ext cx="397933" cy="423333"/>
          </a:xfrm>
          <a:custGeom>
            <a:avLst/>
            <a:gdLst>
              <a:gd name="T0" fmla="*/ 75 w 89"/>
              <a:gd name="T1" fmla="*/ 22 h 95"/>
              <a:gd name="T2" fmla="*/ 89 w 89"/>
              <a:gd name="T3" fmla="*/ 53 h 95"/>
              <a:gd name="T4" fmla="*/ 78 w 89"/>
              <a:gd name="T5" fmla="*/ 80 h 95"/>
              <a:gd name="T6" fmla="*/ 47 w 89"/>
              <a:gd name="T7" fmla="*/ 53 h 95"/>
              <a:gd name="T8" fmla="*/ 75 w 89"/>
              <a:gd name="T9" fmla="*/ 22 h 95"/>
              <a:gd name="T10" fmla="*/ 76 w 89"/>
              <a:gd name="T11" fmla="*/ 83 h 95"/>
              <a:gd name="T12" fmla="*/ 69 w 89"/>
              <a:gd name="T13" fmla="*/ 88 h 95"/>
              <a:gd name="T14" fmla="*/ 74 w 89"/>
              <a:gd name="T15" fmla="*/ 81 h 95"/>
              <a:gd name="T16" fmla="*/ 76 w 89"/>
              <a:gd name="T17" fmla="*/ 83 h 95"/>
              <a:gd name="T18" fmla="*/ 64 w 89"/>
              <a:gd name="T19" fmla="*/ 92 h 95"/>
              <a:gd name="T20" fmla="*/ 72 w 89"/>
              <a:gd name="T21" fmla="*/ 79 h 95"/>
              <a:gd name="T22" fmla="*/ 70 w 89"/>
              <a:gd name="T23" fmla="*/ 77 h 95"/>
              <a:gd name="T24" fmla="*/ 60 w 89"/>
              <a:gd name="T25" fmla="*/ 94 h 95"/>
              <a:gd name="T26" fmla="*/ 64 w 89"/>
              <a:gd name="T27" fmla="*/ 92 h 95"/>
              <a:gd name="T28" fmla="*/ 58 w 89"/>
              <a:gd name="T29" fmla="*/ 91 h 95"/>
              <a:gd name="T30" fmla="*/ 67 w 89"/>
              <a:gd name="T31" fmla="*/ 75 h 95"/>
              <a:gd name="T32" fmla="*/ 65 w 89"/>
              <a:gd name="T33" fmla="*/ 74 h 95"/>
              <a:gd name="T34" fmla="*/ 57 w 89"/>
              <a:gd name="T35" fmla="*/ 88 h 95"/>
              <a:gd name="T36" fmla="*/ 58 w 89"/>
              <a:gd name="T37" fmla="*/ 91 h 95"/>
              <a:gd name="T38" fmla="*/ 56 w 89"/>
              <a:gd name="T39" fmla="*/ 84 h 95"/>
              <a:gd name="T40" fmla="*/ 63 w 89"/>
              <a:gd name="T41" fmla="*/ 72 h 95"/>
              <a:gd name="T42" fmla="*/ 61 w 89"/>
              <a:gd name="T43" fmla="*/ 70 h 95"/>
              <a:gd name="T44" fmla="*/ 55 w 89"/>
              <a:gd name="T45" fmla="*/ 81 h 95"/>
              <a:gd name="T46" fmla="*/ 56 w 89"/>
              <a:gd name="T47" fmla="*/ 84 h 95"/>
              <a:gd name="T48" fmla="*/ 53 w 89"/>
              <a:gd name="T49" fmla="*/ 78 h 95"/>
              <a:gd name="T50" fmla="*/ 59 w 89"/>
              <a:gd name="T51" fmla="*/ 68 h 95"/>
              <a:gd name="T52" fmla="*/ 57 w 89"/>
              <a:gd name="T53" fmla="*/ 66 h 95"/>
              <a:gd name="T54" fmla="*/ 52 w 89"/>
              <a:gd name="T55" fmla="*/ 75 h 95"/>
              <a:gd name="T56" fmla="*/ 53 w 89"/>
              <a:gd name="T57" fmla="*/ 78 h 95"/>
              <a:gd name="T58" fmla="*/ 51 w 89"/>
              <a:gd name="T59" fmla="*/ 71 h 95"/>
              <a:gd name="T60" fmla="*/ 55 w 89"/>
              <a:gd name="T61" fmla="*/ 64 h 95"/>
              <a:gd name="T62" fmla="*/ 53 w 89"/>
              <a:gd name="T63" fmla="*/ 62 h 95"/>
              <a:gd name="T64" fmla="*/ 50 w 89"/>
              <a:gd name="T65" fmla="*/ 68 h 95"/>
              <a:gd name="T66" fmla="*/ 51 w 89"/>
              <a:gd name="T67" fmla="*/ 71 h 95"/>
              <a:gd name="T68" fmla="*/ 48 w 89"/>
              <a:gd name="T69" fmla="*/ 65 h 95"/>
              <a:gd name="T70" fmla="*/ 51 w 89"/>
              <a:gd name="T71" fmla="*/ 61 h 95"/>
              <a:gd name="T72" fmla="*/ 49 w 89"/>
              <a:gd name="T73" fmla="*/ 59 h 95"/>
              <a:gd name="T74" fmla="*/ 47 w 89"/>
              <a:gd name="T75" fmla="*/ 61 h 95"/>
              <a:gd name="T76" fmla="*/ 48 w 89"/>
              <a:gd name="T77" fmla="*/ 65 h 95"/>
              <a:gd name="T78" fmla="*/ 46 w 89"/>
              <a:gd name="T79" fmla="*/ 58 h 95"/>
              <a:gd name="T80" fmla="*/ 45 w 89"/>
              <a:gd name="T81" fmla="*/ 55 h 95"/>
              <a:gd name="T82" fmla="*/ 47 w 89"/>
              <a:gd name="T83" fmla="*/ 57 h 95"/>
              <a:gd name="T84" fmla="*/ 46 w 89"/>
              <a:gd name="T85" fmla="*/ 58 h 95"/>
              <a:gd name="T86" fmla="*/ 59 w 89"/>
              <a:gd name="T87" fmla="*/ 17 h 95"/>
              <a:gd name="T88" fmla="*/ 41 w 89"/>
              <a:gd name="T89" fmla="*/ 54 h 95"/>
              <a:gd name="T90" fmla="*/ 36 w 89"/>
              <a:gd name="T91" fmla="*/ 13 h 95"/>
              <a:gd name="T92" fmla="*/ 0 w 89"/>
              <a:gd name="T93" fmla="*/ 54 h 95"/>
              <a:gd name="T94" fmla="*/ 41 w 89"/>
              <a:gd name="T95" fmla="*/ 95 h 95"/>
              <a:gd name="T96" fmla="*/ 55 w 89"/>
              <a:gd name="T97" fmla="*/ 93 h 95"/>
              <a:gd name="T98" fmla="*/ 41 w 89"/>
              <a:gd name="T99" fmla="*/ 54 h 95"/>
              <a:gd name="T100" fmla="*/ 68 w 89"/>
              <a:gd name="T101" fmla="*/ 23 h 95"/>
              <a:gd name="T102" fmla="*/ 59 w 89"/>
              <a:gd name="T103" fmla="*/ 17 h 95"/>
              <a:gd name="T104" fmla="*/ 43 w 89"/>
              <a:gd name="T105" fmla="*/ 0 h 95"/>
              <a:gd name="T106" fmla="*/ 38 w 89"/>
              <a:gd name="T107" fmla="*/ 0 h 95"/>
              <a:gd name="T108" fmla="*/ 43 w 89"/>
              <a:gd name="T109" fmla="*/ 41 h 95"/>
              <a:gd name="T110" fmla="*/ 61 w 89"/>
              <a:gd name="T111" fmla="*/ 4 h 95"/>
              <a:gd name="T112" fmla="*/ 43 w 89"/>
              <a:gd name="T113" fmla="*/ 0 h 9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89"/>
              <a:gd name="T172" fmla="*/ 0 h 95"/>
              <a:gd name="T173" fmla="*/ 89 w 89"/>
              <a:gd name="T174" fmla="*/ 95 h 9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89" h="95">
                <a:moveTo>
                  <a:pt x="75" y="22"/>
                </a:moveTo>
                <a:cubicBezTo>
                  <a:pt x="83" y="29"/>
                  <a:pt x="89" y="40"/>
                  <a:pt x="89" y="53"/>
                </a:cubicBezTo>
                <a:cubicBezTo>
                  <a:pt x="89" y="63"/>
                  <a:pt x="85" y="73"/>
                  <a:pt x="78" y="80"/>
                </a:cubicBezTo>
                <a:cubicBezTo>
                  <a:pt x="47" y="53"/>
                  <a:pt x="47" y="53"/>
                  <a:pt x="47" y="53"/>
                </a:cubicBezTo>
                <a:cubicBezTo>
                  <a:pt x="75" y="22"/>
                  <a:pt x="75" y="22"/>
                  <a:pt x="75" y="22"/>
                </a:cubicBezTo>
                <a:close/>
                <a:moveTo>
                  <a:pt x="76" y="83"/>
                </a:moveTo>
                <a:cubicBezTo>
                  <a:pt x="74" y="85"/>
                  <a:pt x="72" y="87"/>
                  <a:pt x="69" y="88"/>
                </a:cubicBezTo>
                <a:cubicBezTo>
                  <a:pt x="74" y="81"/>
                  <a:pt x="74" y="81"/>
                  <a:pt x="74" y="81"/>
                </a:cubicBezTo>
                <a:cubicBezTo>
                  <a:pt x="76" y="83"/>
                  <a:pt x="76" y="83"/>
                  <a:pt x="76" y="83"/>
                </a:cubicBezTo>
                <a:close/>
                <a:moveTo>
                  <a:pt x="64" y="92"/>
                </a:moveTo>
                <a:cubicBezTo>
                  <a:pt x="72" y="79"/>
                  <a:pt x="72" y="79"/>
                  <a:pt x="72" y="79"/>
                </a:cubicBezTo>
                <a:cubicBezTo>
                  <a:pt x="70" y="77"/>
                  <a:pt x="70" y="77"/>
                  <a:pt x="70" y="77"/>
                </a:cubicBezTo>
                <a:cubicBezTo>
                  <a:pt x="60" y="94"/>
                  <a:pt x="60" y="94"/>
                  <a:pt x="60" y="94"/>
                </a:cubicBezTo>
                <a:cubicBezTo>
                  <a:pt x="61" y="93"/>
                  <a:pt x="63" y="92"/>
                  <a:pt x="64" y="92"/>
                </a:cubicBezTo>
                <a:close/>
                <a:moveTo>
                  <a:pt x="58" y="91"/>
                </a:moveTo>
                <a:cubicBezTo>
                  <a:pt x="67" y="75"/>
                  <a:pt x="67" y="75"/>
                  <a:pt x="67" y="75"/>
                </a:cubicBezTo>
                <a:cubicBezTo>
                  <a:pt x="65" y="74"/>
                  <a:pt x="65" y="74"/>
                  <a:pt x="65" y="74"/>
                </a:cubicBezTo>
                <a:cubicBezTo>
                  <a:pt x="57" y="88"/>
                  <a:pt x="57" y="88"/>
                  <a:pt x="57" y="88"/>
                </a:cubicBezTo>
                <a:cubicBezTo>
                  <a:pt x="58" y="91"/>
                  <a:pt x="58" y="91"/>
                  <a:pt x="58" y="91"/>
                </a:cubicBezTo>
                <a:close/>
                <a:moveTo>
                  <a:pt x="56" y="84"/>
                </a:moveTo>
                <a:cubicBezTo>
                  <a:pt x="63" y="72"/>
                  <a:pt x="63" y="72"/>
                  <a:pt x="63" y="72"/>
                </a:cubicBezTo>
                <a:cubicBezTo>
                  <a:pt x="61" y="70"/>
                  <a:pt x="61" y="70"/>
                  <a:pt x="61" y="70"/>
                </a:cubicBezTo>
                <a:cubicBezTo>
                  <a:pt x="55" y="81"/>
                  <a:pt x="55" y="81"/>
                  <a:pt x="55" y="81"/>
                </a:cubicBezTo>
                <a:cubicBezTo>
                  <a:pt x="56" y="84"/>
                  <a:pt x="56" y="84"/>
                  <a:pt x="56" y="84"/>
                </a:cubicBezTo>
                <a:close/>
                <a:moveTo>
                  <a:pt x="53" y="78"/>
                </a:moveTo>
                <a:cubicBezTo>
                  <a:pt x="59" y="68"/>
                  <a:pt x="59" y="68"/>
                  <a:pt x="59" y="68"/>
                </a:cubicBezTo>
                <a:cubicBezTo>
                  <a:pt x="57" y="66"/>
                  <a:pt x="57" y="66"/>
                  <a:pt x="57" y="66"/>
                </a:cubicBezTo>
                <a:cubicBezTo>
                  <a:pt x="52" y="75"/>
                  <a:pt x="52" y="75"/>
                  <a:pt x="52" y="75"/>
                </a:cubicBezTo>
                <a:cubicBezTo>
                  <a:pt x="53" y="78"/>
                  <a:pt x="53" y="78"/>
                  <a:pt x="53" y="78"/>
                </a:cubicBezTo>
                <a:close/>
                <a:moveTo>
                  <a:pt x="51" y="71"/>
                </a:moveTo>
                <a:cubicBezTo>
                  <a:pt x="55" y="64"/>
                  <a:pt x="55" y="64"/>
                  <a:pt x="55" y="64"/>
                </a:cubicBezTo>
                <a:cubicBezTo>
                  <a:pt x="53" y="62"/>
                  <a:pt x="53" y="62"/>
                  <a:pt x="53" y="62"/>
                </a:cubicBezTo>
                <a:cubicBezTo>
                  <a:pt x="50" y="68"/>
                  <a:pt x="50" y="68"/>
                  <a:pt x="50" y="68"/>
                </a:cubicBezTo>
                <a:cubicBezTo>
                  <a:pt x="51" y="71"/>
                  <a:pt x="51" y="71"/>
                  <a:pt x="51" y="71"/>
                </a:cubicBezTo>
                <a:close/>
                <a:moveTo>
                  <a:pt x="48" y="65"/>
                </a:moveTo>
                <a:cubicBezTo>
                  <a:pt x="51" y="61"/>
                  <a:pt x="51" y="61"/>
                  <a:pt x="51" y="61"/>
                </a:cubicBezTo>
                <a:cubicBezTo>
                  <a:pt x="49" y="59"/>
                  <a:pt x="49" y="59"/>
                  <a:pt x="49" y="59"/>
                </a:cubicBezTo>
                <a:cubicBezTo>
                  <a:pt x="47" y="61"/>
                  <a:pt x="47" y="61"/>
                  <a:pt x="47" y="61"/>
                </a:cubicBezTo>
                <a:cubicBezTo>
                  <a:pt x="48" y="65"/>
                  <a:pt x="48" y="65"/>
                  <a:pt x="48" y="65"/>
                </a:cubicBezTo>
                <a:close/>
                <a:moveTo>
                  <a:pt x="46" y="58"/>
                </a:moveTo>
                <a:cubicBezTo>
                  <a:pt x="45" y="55"/>
                  <a:pt x="45" y="55"/>
                  <a:pt x="45" y="55"/>
                </a:cubicBezTo>
                <a:cubicBezTo>
                  <a:pt x="47" y="57"/>
                  <a:pt x="47" y="57"/>
                  <a:pt x="47" y="57"/>
                </a:cubicBezTo>
                <a:cubicBezTo>
                  <a:pt x="46" y="58"/>
                  <a:pt x="46" y="58"/>
                  <a:pt x="46" y="58"/>
                </a:cubicBezTo>
                <a:close/>
                <a:moveTo>
                  <a:pt x="59" y="17"/>
                </a:moveTo>
                <a:cubicBezTo>
                  <a:pt x="41" y="54"/>
                  <a:pt x="41" y="54"/>
                  <a:pt x="41" y="54"/>
                </a:cubicBezTo>
                <a:cubicBezTo>
                  <a:pt x="41" y="54"/>
                  <a:pt x="38" y="28"/>
                  <a:pt x="36" y="13"/>
                </a:cubicBezTo>
                <a:cubicBezTo>
                  <a:pt x="16" y="15"/>
                  <a:pt x="0" y="33"/>
                  <a:pt x="0" y="54"/>
                </a:cubicBezTo>
                <a:cubicBezTo>
                  <a:pt x="0" y="77"/>
                  <a:pt x="18" y="95"/>
                  <a:pt x="41" y="95"/>
                </a:cubicBezTo>
                <a:cubicBezTo>
                  <a:pt x="46" y="95"/>
                  <a:pt x="51" y="94"/>
                  <a:pt x="55" y="93"/>
                </a:cubicBezTo>
                <a:cubicBezTo>
                  <a:pt x="41" y="54"/>
                  <a:pt x="41" y="54"/>
                  <a:pt x="41" y="54"/>
                </a:cubicBezTo>
                <a:cubicBezTo>
                  <a:pt x="68" y="23"/>
                  <a:pt x="68" y="23"/>
                  <a:pt x="68" y="23"/>
                </a:cubicBezTo>
                <a:cubicBezTo>
                  <a:pt x="66" y="20"/>
                  <a:pt x="63" y="18"/>
                  <a:pt x="59" y="17"/>
                </a:cubicBezTo>
                <a:close/>
                <a:moveTo>
                  <a:pt x="43" y="0"/>
                </a:moveTo>
                <a:cubicBezTo>
                  <a:pt x="41" y="0"/>
                  <a:pt x="40" y="0"/>
                  <a:pt x="38" y="0"/>
                </a:cubicBezTo>
                <a:cubicBezTo>
                  <a:pt x="40" y="15"/>
                  <a:pt x="43" y="41"/>
                  <a:pt x="43" y="41"/>
                </a:cubicBezTo>
                <a:cubicBezTo>
                  <a:pt x="61" y="4"/>
                  <a:pt x="61" y="4"/>
                  <a:pt x="61" y="4"/>
                </a:cubicBezTo>
                <a:cubicBezTo>
                  <a:pt x="56" y="1"/>
                  <a:pt x="49" y="0"/>
                  <a:pt x="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0" name="Freeform 74"/>
          <p:cNvSpPr>
            <a:spLocks noEditPoints="1" noChangeArrowheads="1"/>
          </p:cNvSpPr>
          <p:nvPr/>
        </p:nvSpPr>
        <p:spPr bwMode="auto">
          <a:xfrm>
            <a:off x="4563533" y="3202517"/>
            <a:ext cx="440267" cy="287867"/>
          </a:xfrm>
          <a:custGeom>
            <a:avLst/>
            <a:gdLst>
              <a:gd name="T0" fmla="*/ 18 w 99"/>
              <a:gd name="T1" fmla="*/ 58 h 65"/>
              <a:gd name="T2" fmla="*/ 53 w 99"/>
              <a:gd name="T3" fmla="*/ 65 h 65"/>
              <a:gd name="T4" fmla="*/ 87 w 99"/>
              <a:gd name="T5" fmla="*/ 57 h 65"/>
              <a:gd name="T6" fmla="*/ 87 w 99"/>
              <a:gd name="T7" fmla="*/ 23 h 65"/>
              <a:gd name="T8" fmla="*/ 53 w 99"/>
              <a:gd name="T9" fmla="*/ 28 h 65"/>
              <a:gd name="T10" fmla="*/ 18 w 99"/>
              <a:gd name="T11" fmla="*/ 23 h 65"/>
              <a:gd name="T12" fmla="*/ 18 w 99"/>
              <a:gd name="T13" fmla="*/ 58 h 65"/>
              <a:gd name="T14" fmla="*/ 99 w 99"/>
              <a:gd name="T15" fmla="*/ 8 h 65"/>
              <a:gd name="T16" fmla="*/ 99 w 99"/>
              <a:gd name="T17" fmla="*/ 17 h 65"/>
              <a:gd name="T18" fmla="*/ 53 w 99"/>
              <a:gd name="T19" fmla="*/ 24 h 65"/>
              <a:gd name="T20" fmla="*/ 7 w 99"/>
              <a:gd name="T21" fmla="*/ 17 h 65"/>
              <a:gd name="T22" fmla="*/ 7 w 99"/>
              <a:gd name="T23" fmla="*/ 34 h 65"/>
              <a:gd name="T24" fmla="*/ 9 w 99"/>
              <a:gd name="T25" fmla="*/ 37 h 65"/>
              <a:gd name="T26" fmla="*/ 5 w 99"/>
              <a:gd name="T27" fmla="*/ 41 h 65"/>
              <a:gd name="T28" fmla="*/ 2 w 99"/>
              <a:gd name="T29" fmla="*/ 37 h 65"/>
              <a:gd name="T30" fmla="*/ 4 w 99"/>
              <a:gd name="T31" fmla="*/ 34 h 65"/>
              <a:gd name="T32" fmla="*/ 4 w 99"/>
              <a:gd name="T33" fmla="*/ 8 h 65"/>
              <a:gd name="T34" fmla="*/ 53 w 99"/>
              <a:gd name="T35" fmla="*/ 0 h 65"/>
              <a:gd name="T36" fmla="*/ 99 w 99"/>
              <a:gd name="T37" fmla="*/ 8 h 65"/>
              <a:gd name="T38" fmla="*/ 8 w 99"/>
              <a:gd name="T39" fmla="*/ 42 h 65"/>
              <a:gd name="T40" fmla="*/ 3 w 99"/>
              <a:gd name="T41" fmla="*/ 42 h 65"/>
              <a:gd name="T42" fmla="*/ 0 w 99"/>
              <a:gd name="T43" fmla="*/ 58 h 65"/>
              <a:gd name="T44" fmla="*/ 2 w 99"/>
              <a:gd name="T45" fmla="*/ 58 h 65"/>
              <a:gd name="T46" fmla="*/ 3 w 99"/>
              <a:gd name="T47" fmla="*/ 56 h 65"/>
              <a:gd name="T48" fmla="*/ 3 w 99"/>
              <a:gd name="T49" fmla="*/ 58 h 65"/>
              <a:gd name="T50" fmla="*/ 6 w 99"/>
              <a:gd name="T51" fmla="*/ 59 h 65"/>
              <a:gd name="T52" fmla="*/ 7 w 99"/>
              <a:gd name="T53" fmla="*/ 57 h 65"/>
              <a:gd name="T54" fmla="*/ 7 w 99"/>
              <a:gd name="T55" fmla="*/ 59 h 65"/>
              <a:gd name="T56" fmla="*/ 8 w 99"/>
              <a:gd name="T57" fmla="*/ 59 h 65"/>
              <a:gd name="T58" fmla="*/ 8 w 99"/>
              <a:gd name="T59" fmla="*/ 51 h 65"/>
              <a:gd name="T60" fmla="*/ 9 w 99"/>
              <a:gd name="T61" fmla="*/ 58 h 65"/>
              <a:gd name="T62" fmla="*/ 11 w 99"/>
              <a:gd name="T63" fmla="*/ 58 h 65"/>
              <a:gd name="T64" fmla="*/ 8 w 99"/>
              <a:gd name="T65" fmla="*/ 42 h 6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99"/>
              <a:gd name="T100" fmla="*/ 0 h 65"/>
              <a:gd name="T101" fmla="*/ 99 w 99"/>
              <a:gd name="T102" fmla="*/ 65 h 6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99" h="65">
                <a:moveTo>
                  <a:pt x="18" y="58"/>
                </a:moveTo>
                <a:cubicBezTo>
                  <a:pt x="30" y="58"/>
                  <a:pt x="42" y="60"/>
                  <a:pt x="53" y="65"/>
                </a:cubicBezTo>
                <a:cubicBezTo>
                  <a:pt x="64" y="60"/>
                  <a:pt x="75" y="57"/>
                  <a:pt x="87" y="57"/>
                </a:cubicBezTo>
                <a:cubicBezTo>
                  <a:pt x="87" y="23"/>
                  <a:pt x="87" y="23"/>
                  <a:pt x="87" y="23"/>
                </a:cubicBezTo>
                <a:cubicBezTo>
                  <a:pt x="53" y="28"/>
                  <a:pt x="53" y="28"/>
                  <a:pt x="53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18" y="58"/>
                  <a:pt x="18" y="58"/>
                  <a:pt x="18" y="58"/>
                </a:cubicBezTo>
                <a:close/>
                <a:moveTo>
                  <a:pt x="99" y="8"/>
                </a:moveTo>
                <a:cubicBezTo>
                  <a:pt x="99" y="17"/>
                  <a:pt x="99" y="17"/>
                  <a:pt x="99" y="17"/>
                </a:cubicBezTo>
                <a:cubicBezTo>
                  <a:pt x="53" y="24"/>
                  <a:pt x="53" y="24"/>
                  <a:pt x="53" y="24"/>
                </a:cubicBezTo>
                <a:cubicBezTo>
                  <a:pt x="7" y="17"/>
                  <a:pt x="7" y="17"/>
                  <a:pt x="7" y="17"/>
                </a:cubicBezTo>
                <a:cubicBezTo>
                  <a:pt x="7" y="34"/>
                  <a:pt x="7" y="34"/>
                  <a:pt x="7" y="34"/>
                </a:cubicBezTo>
                <a:cubicBezTo>
                  <a:pt x="8" y="35"/>
                  <a:pt x="9" y="36"/>
                  <a:pt x="9" y="37"/>
                </a:cubicBezTo>
                <a:cubicBezTo>
                  <a:pt x="9" y="39"/>
                  <a:pt x="7" y="41"/>
                  <a:pt x="5" y="41"/>
                </a:cubicBezTo>
                <a:cubicBezTo>
                  <a:pt x="4" y="41"/>
                  <a:pt x="2" y="39"/>
                  <a:pt x="2" y="37"/>
                </a:cubicBezTo>
                <a:cubicBezTo>
                  <a:pt x="2" y="36"/>
                  <a:pt x="3" y="35"/>
                  <a:pt x="4" y="34"/>
                </a:cubicBezTo>
                <a:cubicBezTo>
                  <a:pt x="4" y="25"/>
                  <a:pt x="4" y="17"/>
                  <a:pt x="4" y="8"/>
                </a:cubicBezTo>
                <a:cubicBezTo>
                  <a:pt x="53" y="0"/>
                  <a:pt x="53" y="0"/>
                  <a:pt x="53" y="0"/>
                </a:cubicBezTo>
                <a:cubicBezTo>
                  <a:pt x="99" y="8"/>
                  <a:pt x="99" y="8"/>
                  <a:pt x="99" y="8"/>
                </a:cubicBezTo>
                <a:close/>
                <a:moveTo>
                  <a:pt x="8" y="42"/>
                </a:moveTo>
                <a:cubicBezTo>
                  <a:pt x="6" y="43"/>
                  <a:pt x="5" y="43"/>
                  <a:pt x="3" y="42"/>
                </a:cubicBezTo>
                <a:cubicBezTo>
                  <a:pt x="2" y="47"/>
                  <a:pt x="1" y="52"/>
                  <a:pt x="0" y="58"/>
                </a:cubicBezTo>
                <a:cubicBezTo>
                  <a:pt x="1" y="58"/>
                  <a:pt x="2" y="58"/>
                  <a:pt x="2" y="58"/>
                </a:cubicBezTo>
                <a:cubicBezTo>
                  <a:pt x="3" y="56"/>
                  <a:pt x="3" y="56"/>
                  <a:pt x="3" y="56"/>
                </a:cubicBezTo>
                <a:cubicBezTo>
                  <a:pt x="3" y="58"/>
                  <a:pt x="3" y="58"/>
                  <a:pt x="3" y="58"/>
                </a:cubicBezTo>
                <a:cubicBezTo>
                  <a:pt x="4" y="59"/>
                  <a:pt x="5" y="59"/>
                  <a:pt x="6" y="59"/>
                </a:cubicBezTo>
                <a:cubicBezTo>
                  <a:pt x="7" y="57"/>
                  <a:pt x="7" y="57"/>
                  <a:pt x="7" y="57"/>
                </a:cubicBezTo>
                <a:cubicBezTo>
                  <a:pt x="7" y="59"/>
                  <a:pt x="7" y="59"/>
                  <a:pt x="7" y="59"/>
                </a:cubicBezTo>
                <a:cubicBezTo>
                  <a:pt x="7" y="59"/>
                  <a:pt x="8" y="59"/>
                  <a:pt x="8" y="59"/>
                </a:cubicBezTo>
                <a:cubicBezTo>
                  <a:pt x="8" y="51"/>
                  <a:pt x="8" y="51"/>
                  <a:pt x="8" y="51"/>
                </a:cubicBezTo>
                <a:cubicBezTo>
                  <a:pt x="9" y="58"/>
                  <a:pt x="9" y="58"/>
                  <a:pt x="9" y="58"/>
                </a:cubicBezTo>
                <a:cubicBezTo>
                  <a:pt x="10" y="58"/>
                  <a:pt x="10" y="58"/>
                  <a:pt x="11" y="58"/>
                </a:cubicBezTo>
                <a:cubicBezTo>
                  <a:pt x="10" y="52"/>
                  <a:pt x="9" y="47"/>
                  <a:pt x="8" y="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1" name="Freeform 75"/>
          <p:cNvSpPr>
            <a:spLocks noEditPoints="1" noChangeArrowheads="1"/>
          </p:cNvSpPr>
          <p:nvPr/>
        </p:nvSpPr>
        <p:spPr bwMode="auto">
          <a:xfrm>
            <a:off x="2110318" y="3151718"/>
            <a:ext cx="412749" cy="393700"/>
          </a:xfrm>
          <a:custGeom>
            <a:avLst/>
            <a:gdLst>
              <a:gd name="T0" fmla="*/ 89 w 93"/>
              <a:gd name="T1" fmla="*/ 0 h 88"/>
              <a:gd name="T2" fmla="*/ 93 w 93"/>
              <a:gd name="T3" fmla="*/ 5 h 88"/>
              <a:gd name="T4" fmla="*/ 93 w 93"/>
              <a:gd name="T5" fmla="*/ 74 h 88"/>
              <a:gd name="T6" fmla="*/ 81 w 93"/>
              <a:gd name="T7" fmla="*/ 74 h 88"/>
              <a:gd name="T8" fmla="*/ 82 w 93"/>
              <a:gd name="T9" fmla="*/ 65 h 88"/>
              <a:gd name="T10" fmla="*/ 84 w 93"/>
              <a:gd name="T11" fmla="*/ 10 h 88"/>
              <a:gd name="T12" fmla="*/ 10 w 93"/>
              <a:gd name="T13" fmla="*/ 65 h 88"/>
              <a:gd name="T14" fmla="*/ 48 w 93"/>
              <a:gd name="T15" fmla="*/ 72 h 88"/>
              <a:gd name="T16" fmla="*/ 5 w 93"/>
              <a:gd name="T17" fmla="*/ 74 h 88"/>
              <a:gd name="T18" fmla="*/ 0 w 93"/>
              <a:gd name="T19" fmla="*/ 69 h 88"/>
              <a:gd name="T20" fmla="*/ 0 w 93"/>
              <a:gd name="T21" fmla="*/ 0 h 88"/>
              <a:gd name="T22" fmla="*/ 64 w 93"/>
              <a:gd name="T23" fmla="*/ 51 h 88"/>
              <a:gd name="T24" fmla="*/ 55 w 93"/>
              <a:gd name="T25" fmla="*/ 71 h 88"/>
              <a:gd name="T26" fmla="*/ 57 w 93"/>
              <a:gd name="T27" fmla="*/ 82 h 88"/>
              <a:gd name="T28" fmla="*/ 64 w 93"/>
              <a:gd name="T29" fmla="*/ 78 h 88"/>
              <a:gd name="T30" fmla="*/ 72 w 93"/>
              <a:gd name="T31" fmla="*/ 84 h 88"/>
              <a:gd name="T32" fmla="*/ 74 w 93"/>
              <a:gd name="T33" fmla="*/ 71 h 88"/>
              <a:gd name="T34" fmla="*/ 64 w 93"/>
              <a:gd name="T35" fmla="*/ 51 h 88"/>
              <a:gd name="T36" fmla="*/ 64 w 93"/>
              <a:gd name="T37" fmla="*/ 69 h 88"/>
              <a:gd name="T38" fmla="*/ 64 w 93"/>
              <a:gd name="T39" fmla="*/ 72 h 88"/>
              <a:gd name="T40" fmla="*/ 62 w 93"/>
              <a:gd name="T41" fmla="*/ 55 h 88"/>
              <a:gd name="T42" fmla="*/ 71 w 93"/>
              <a:gd name="T43" fmla="*/ 64 h 88"/>
              <a:gd name="T44" fmla="*/ 62 w 93"/>
              <a:gd name="T45" fmla="*/ 55 h 88"/>
              <a:gd name="T46" fmla="*/ 18 w 93"/>
              <a:gd name="T47" fmla="*/ 46 h 88"/>
              <a:gd name="T48" fmla="*/ 77 w 93"/>
              <a:gd name="T49" fmla="*/ 41 h 88"/>
              <a:gd name="T50" fmla="*/ 47 w 93"/>
              <a:gd name="T51" fmla="*/ 29 h 88"/>
              <a:gd name="T52" fmla="*/ 77 w 93"/>
              <a:gd name="T53" fmla="*/ 34 h 88"/>
              <a:gd name="T54" fmla="*/ 47 w 93"/>
              <a:gd name="T55" fmla="*/ 29 h 88"/>
              <a:gd name="T56" fmla="*/ 47 w 93"/>
              <a:gd name="T57" fmla="*/ 22 h 88"/>
              <a:gd name="T58" fmla="*/ 77 w 93"/>
              <a:gd name="T59" fmla="*/ 17 h 88"/>
              <a:gd name="T60" fmla="*/ 18 w 93"/>
              <a:gd name="T61" fmla="*/ 17 h 88"/>
              <a:gd name="T62" fmla="*/ 40 w 93"/>
              <a:gd name="T63" fmla="*/ 35 h 88"/>
              <a:gd name="T64" fmla="*/ 18 w 93"/>
              <a:gd name="T65" fmla="*/ 17 h 8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93"/>
              <a:gd name="T100" fmla="*/ 0 h 88"/>
              <a:gd name="T101" fmla="*/ 93 w 93"/>
              <a:gd name="T102" fmla="*/ 88 h 8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93" h="88">
                <a:moveTo>
                  <a:pt x="5" y="0"/>
                </a:moveTo>
                <a:cubicBezTo>
                  <a:pt x="89" y="0"/>
                  <a:pt x="89" y="0"/>
                  <a:pt x="89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93" y="5"/>
                  <a:pt x="93" y="5"/>
                  <a:pt x="93" y="5"/>
                </a:cubicBezTo>
                <a:cubicBezTo>
                  <a:pt x="93" y="69"/>
                  <a:pt x="93" y="69"/>
                  <a:pt x="93" y="69"/>
                </a:cubicBezTo>
                <a:cubicBezTo>
                  <a:pt x="93" y="74"/>
                  <a:pt x="93" y="74"/>
                  <a:pt x="93" y="74"/>
                </a:cubicBezTo>
                <a:cubicBezTo>
                  <a:pt x="89" y="74"/>
                  <a:pt x="89" y="74"/>
                  <a:pt x="89" y="74"/>
                </a:cubicBezTo>
                <a:cubicBezTo>
                  <a:pt x="81" y="74"/>
                  <a:pt x="81" y="74"/>
                  <a:pt x="81" y="74"/>
                </a:cubicBezTo>
                <a:cubicBezTo>
                  <a:pt x="80" y="72"/>
                  <a:pt x="80" y="72"/>
                  <a:pt x="80" y="72"/>
                </a:cubicBezTo>
                <a:cubicBezTo>
                  <a:pt x="81" y="69"/>
                  <a:pt x="82" y="67"/>
                  <a:pt x="82" y="65"/>
                </a:cubicBezTo>
                <a:cubicBezTo>
                  <a:pt x="84" y="65"/>
                  <a:pt x="84" y="65"/>
                  <a:pt x="84" y="65"/>
                </a:cubicBezTo>
                <a:cubicBezTo>
                  <a:pt x="84" y="10"/>
                  <a:pt x="84" y="10"/>
                  <a:pt x="84" y="10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65"/>
                  <a:pt x="10" y="65"/>
                  <a:pt x="10" y="65"/>
                </a:cubicBezTo>
                <a:cubicBezTo>
                  <a:pt x="46" y="65"/>
                  <a:pt x="46" y="65"/>
                  <a:pt x="46" y="65"/>
                </a:cubicBezTo>
                <a:cubicBezTo>
                  <a:pt x="46" y="67"/>
                  <a:pt x="47" y="69"/>
                  <a:pt x="48" y="72"/>
                </a:cubicBezTo>
                <a:cubicBezTo>
                  <a:pt x="47" y="74"/>
                  <a:pt x="47" y="74"/>
                  <a:pt x="47" y="74"/>
                </a:cubicBezTo>
                <a:cubicBezTo>
                  <a:pt x="5" y="74"/>
                  <a:pt x="5" y="74"/>
                  <a:pt x="5" y="74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5"/>
                  <a:pt x="0" y="5"/>
                  <a:pt x="0" y="5"/>
                </a:cubicBezTo>
                <a:cubicBezTo>
                  <a:pt x="0" y="0"/>
                  <a:pt x="0" y="0"/>
                  <a:pt x="0" y="0"/>
                </a:cubicBezTo>
                <a:cubicBezTo>
                  <a:pt x="5" y="0"/>
                  <a:pt x="5" y="0"/>
                  <a:pt x="5" y="0"/>
                </a:cubicBezTo>
                <a:close/>
                <a:moveTo>
                  <a:pt x="64" y="51"/>
                </a:moveTo>
                <a:cubicBezTo>
                  <a:pt x="57" y="51"/>
                  <a:pt x="52" y="56"/>
                  <a:pt x="52" y="63"/>
                </a:cubicBezTo>
                <a:cubicBezTo>
                  <a:pt x="52" y="66"/>
                  <a:pt x="53" y="69"/>
                  <a:pt x="55" y="71"/>
                </a:cubicBezTo>
                <a:cubicBezTo>
                  <a:pt x="50" y="82"/>
                  <a:pt x="50" y="82"/>
                  <a:pt x="50" y="82"/>
                </a:cubicBezTo>
                <a:cubicBezTo>
                  <a:pt x="57" y="82"/>
                  <a:pt x="57" y="82"/>
                  <a:pt x="57" y="82"/>
                </a:cubicBezTo>
                <a:cubicBezTo>
                  <a:pt x="61" y="86"/>
                  <a:pt x="61" y="86"/>
                  <a:pt x="61" y="86"/>
                </a:cubicBezTo>
                <a:cubicBezTo>
                  <a:pt x="64" y="78"/>
                  <a:pt x="64" y="78"/>
                  <a:pt x="64" y="78"/>
                </a:cubicBezTo>
                <a:cubicBezTo>
                  <a:pt x="68" y="88"/>
                  <a:pt x="68" y="88"/>
                  <a:pt x="68" y="88"/>
                </a:cubicBezTo>
                <a:cubicBezTo>
                  <a:pt x="72" y="84"/>
                  <a:pt x="72" y="84"/>
                  <a:pt x="72" y="84"/>
                </a:cubicBezTo>
                <a:cubicBezTo>
                  <a:pt x="78" y="84"/>
                  <a:pt x="78" y="84"/>
                  <a:pt x="78" y="84"/>
                </a:cubicBezTo>
                <a:cubicBezTo>
                  <a:pt x="74" y="71"/>
                  <a:pt x="74" y="71"/>
                  <a:pt x="74" y="71"/>
                </a:cubicBezTo>
                <a:cubicBezTo>
                  <a:pt x="75" y="69"/>
                  <a:pt x="76" y="66"/>
                  <a:pt x="76" y="63"/>
                </a:cubicBezTo>
                <a:cubicBezTo>
                  <a:pt x="76" y="56"/>
                  <a:pt x="71" y="51"/>
                  <a:pt x="64" y="51"/>
                </a:cubicBezTo>
                <a:close/>
                <a:moveTo>
                  <a:pt x="71" y="67"/>
                </a:moveTo>
                <a:cubicBezTo>
                  <a:pt x="69" y="68"/>
                  <a:pt x="67" y="69"/>
                  <a:pt x="64" y="69"/>
                </a:cubicBezTo>
                <a:cubicBezTo>
                  <a:pt x="62" y="69"/>
                  <a:pt x="59" y="68"/>
                  <a:pt x="57" y="67"/>
                </a:cubicBezTo>
                <a:cubicBezTo>
                  <a:pt x="58" y="69"/>
                  <a:pt x="61" y="72"/>
                  <a:pt x="64" y="72"/>
                </a:cubicBezTo>
                <a:cubicBezTo>
                  <a:pt x="67" y="72"/>
                  <a:pt x="70" y="70"/>
                  <a:pt x="71" y="67"/>
                </a:cubicBezTo>
                <a:close/>
                <a:moveTo>
                  <a:pt x="62" y="55"/>
                </a:moveTo>
                <a:cubicBezTo>
                  <a:pt x="64" y="55"/>
                  <a:pt x="66" y="56"/>
                  <a:pt x="68" y="58"/>
                </a:cubicBezTo>
                <a:cubicBezTo>
                  <a:pt x="70" y="60"/>
                  <a:pt x="71" y="62"/>
                  <a:pt x="71" y="64"/>
                </a:cubicBezTo>
                <a:cubicBezTo>
                  <a:pt x="73" y="62"/>
                  <a:pt x="72" y="58"/>
                  <a:pt x="70" y="56"/>
                </a:cubicBezTo>
                <a:cubicBezTo>
                  <a:pt x="68" y="54"/>
                  <a:pt x="65" y="54"/>
                  <a:pt x="62" y="55"/>
                </a:cubicBezTo>
                <a:close/>
                <a:moveTo>
                  <a:pt x="18" y="41"/>
                </a:moveTo>
                <a:cubicBezTo>
                  <a:pt x="18" y="46"/>
                  <a:pt x="18" y="46"/>
                  <a:pt x="18" y="46"/>
                </a:cubicBezTo>
                <a:cubicBezTo>
                  <a:pt x="77" y="46"/>
                  <a:pt x="77" y="46"/>
                  <a:pt x="77" y="46"/>
                </a:cubicBezTo>
                <a:cubicBezTo>
                  <a:pt x="77" y="41"/>
                  <a:pt x="77" y="41"/>
                  <a:pt x="77" y="41"/>
                </a:cubicBezTo>
                <a:cubicBezTo>
                  <a:pt x="18" y="41"/>
                  <a:pt x="18" y="41"/>
                  <a:pt x="18" y="41"/>
                </a:cubicBezTo>
                <a:close/>
                <a:moveTo>
                  <a:pt x="47" y="29"/>
                </a:moveTo>
                <a:cubicBezTo>
                  <a:pt x="47" y="34"/>
                  <a:pt x="47" y="34"/>
                  <a:pt x="47" y="34"/>
                </a:cubicBezTo>
                <a:cubicBezTo>
                  <a:pt x="77" y="34"/>
                  <a:pt x="77" y="34"/>
                  <a:pt x="77" y="34"/>
                </a:cubicBezTo>
                <a:cubicBezTo>
                  <a:pt x="77" y="29"/>
                  <a:pt x="77" y="29"/>
                  <a:pt x="77" y="29"/>
                </a:cubicBezTo>
                <a:cubicBezTo>
                  <a:pt x="47" y="29"/>
                  <a:pt x="47" y="29"/>
                  <a:pt x="47" y="29"/>
                </a:cubicBezTo>
                <a:close/>
                <a:moveTo>
                  <a:pt x="47" y="17"/>
                </a:moveTo>
                <a:cubicBezTo>
                  <a:pt x="47" y="22"/>
                  <a:pt x="47" y="22"/>
                  <a:pt x="47" y="22"/>
                </a:cubicBezTo>
                <a:cubicBezTo>
                  <a:pt x="77" y="22"/>
                  <a:pt x="77" y="22"/>
                  <a:pt x="77" y="22"/>
                </a:cubicBezTo>
                <a:cubicBezTo>
                  <a:pt x="77" y="17"/>
                  <a:pt x="77" y="17"/>
                  <a:pt x="77" y="17"/>
                </a:cubicBezTo>
                <a:cubicBezTo>
                  <a:pt x="47" y="17"/>
                  <a:pt x="47" y="17"/>
                  <a:pt x="47" y="17"/>
                </a:cubicBezTo>
                <a:close/>
                <a:moveTo>
                  <a:pt x="18" y="17"/>
                </a:moveTo>
                <a:cubicBezTo>
                  <a:pt x="18" y="35"/>
                  <a:pt x="18" y="35"/>
                  <a:pt x="18" y="35"/>
                </a:cubicBezTo>
                <a:cubicBezTo>
                  <a:pt x="40" y="35"/>
                  <a:pt x="40" y="35"/>
                  <a:pt x="40" y="35"/>
                </a:cubicBezTo>
                <a:cubicBezTo>
                  <a:pt x="40" y="17"/>
                  <a:pt x="40" y="17"/>
                  <a:pt x="40" y="17"/>
                </a:cubicBezTo>
                <a:lnTo>
                  <a:pt x="18" y="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2" name="Freeform 76"/>
          <p:cNvSpPr>
            <a:spLocks noEditPoints="1" noChangeArrowheads="1"/>
          </p:cNvSpPr>
          <p:nvPr/>
        </p:nvSpPr>
        <p:spPr bwMode="auto">
          <a:xfrm>
            <a:off x="2914651" y="3894668"/>
            <a:ext cx="378883" cy="472017"/>
          </a:xfrm>
          <a:custGeom>
            <a:avLst/>
            <a:gdLst>
              <a:gd name="T0" fmla="*/ 49 w 85"/>
              <a:gd name="T1" fmla="*/ 26 h 106"/>
              <a:gd name="T2" fmla="*/ 33 w 85"/>
              <a:gd name="T3" fmla="*/ 22 h 106"/>
              <a:gd name="T4" fmla="*/ 26 w 85"/>
              <a:gd name="T5" fmla="*/ 42 h 106"/>
              <a:gd name="T6" fmla="*/ 34 w 85"/>
              <a:gd name="T7" fmla="*/ 55 h 106"/>
              <a:gd name="T8" fmla="*/ 35 w 85"/>
              <a:gd name="T9" fmla="*/ 59 h 106"/>
              <a:gd name="T10" fmla="*/ 49 w 85"/>
              <a:gd name="T11" fmla="*/ 63 h 106"/>
              <a:gd name="T12" fmla="*/ 63 w 85"/>
              <a:gd name="T13" fmla="*/ 59 h 106"/>
              <a:gd name="T14" fmla="*/ 63 w 85"/>
              <a:gd name="T15" fmla="*/ 55 h 106"/>
              <a:gd name="T16" fmla="*/ 72 w 85"/>
              <a:gd name="T17" fmla="*/ 42 h 106"/>
              <a:gd name="T18" fmla="*/ 64 w 85"/>
              <a:gd name="T19" fmla="*/ 22 h 106"/>
              <a:gd name="T20" fmla="*/ 49 w 85"/>
              <a:gd name="T21" fmla="*/ 26 h 106"/>
              <a:gd name="T22" fmla="*/ 84 w 85"/>
              <a:gd name="T23" fmla="*/ 77 h 106"/>
              <a:gd name="T24" fmla="*/ 14 w 85"/>
              <a:gd name="T25" fmla="*/ 77 h 106"/>
              <a:gd name="T26" fmla="*/ 11 w 85"/>
              <a:gd name="T27" fmla="*/ 87 h 106"/>
              <a:gd name="T28" fmla="*/ 11 w 85"/>
              <a:gd name="T29" fmla="*/ 87 h 106"/>
              <a:gd name="T30" fmla="*/ 14 w 85"/>
              <a:gd name="T31" fmla="*/ 96 h 106"/>
              <a:gd name="T32" fmla="*/ 85 w 85"/>
              <a:gd name="T33" fmla="*/ 96 h 106"/>
              <a:gd name="T34" fmla="*/ 85 w 85"/>
              <a:gd name="T35" fmla="*/ 106 h 106"/>
              <a:gd name="T36" fmla="*/ 12 w 85"/>
              <a:gd name="T37" fmla="*/ 106 h 106"/>
              <a:gd name="T38" fmla="*/ 10 w 85"/>
              <a:gd name="T39" fmla="*/ 106 h 106"/>
              <a:gd name="T40" fmla="*/ 8 w 85"/>
              <a:gd name="T41" fmla="*/ 105 h 106"/>
              <a:gd name="T42" fmla="*/ 7 w 85"/>
              <a:gd name="T43" fmla="*/ 104 h 106"/>
              <a:gd name="T44" fmla="*/ 0 w 85"/>
              <a:gd name="T45" fmla="*/ 87 h 106"/>
              <a:gd name="T46" fmla="*/ 0 w 85"/>
              <a:gd name="T47" fmla="*/ 87 h 106"/>
              <a:gd name="T48" fmla="*/ 7 w 85"/>
              <a:gd name="T49" fmla="*/ 69 h 106"/>
              <a:gd name="T50" fmla="*/ 8 w 85"/>
              <a:gd name="T51" fmla="*/ 68 h 106"/>
              <a:gd name="T52" fmla="*/ 9 w 85"/>
              <a:gd name="T53" fmla="*/ 66 h 106"/>
              <a:gd name="T54" fmla="*/ 12 w 85"/>
              <a:gd name="T55" fmla="*/ 66 h 106"/>
              <a:gd name="T56" fmla="*/ 84 w 85"/>
              <a:gd name="T57" fmla="*/ 66 h 106"/>
              <a:gd name="T58" fmla="*/ 84 w 85"/>
              <a:gd name="T59" fmla="*/ 77 h 106"/>
              <a:gd name="T60" fmla="*/ 16 w 85"/>
              <a:gd name="T61" fmla="*/ 91 h 106"/>
              <a:gd name="T62" fmla="*/ 16 w 85"/>
              <a:gd name="T63" fmla="*/ 93 h 106"/>
              <a:gd name="T64" fmla="*/ 78 w 85"/>
              <a:gd name="T65" fmla="*/ 93 h 106"/>
              <a:gd name="T66" fmla="*/ 78 w 85"/>
              <a:gd name="T67" fmla="*/ 91 h 106"/>
              <a:gd name="T68" fmla="*/ 16 w 85"/>
              <a:gd name="T69" fmla="*/ 91 h 106"/>
              <a:gd name="T70" fmla="*/ 16 w 85"/>
              <a:gd name="T71" fmla="*/ 80 h 106"/>
              <a:gd name="T72" fmla="*/ 16 w 85"/>
              <a:gd name="T73" fmla="*/ 82 h 106"/>
              <a:gd name="T74" fmla="*/ 78 w 85"/>
              <a:gd name="T75" fmla="*/ 82 h 106"/>
              <a:gd name="T76" fmla="*/ 78 w 85"/>
              <a:gd name="T77" fmla="*/ 80 h 106"/>
              <a:gd name="T78" fmla="*/ 16 w 85"/>
              <a:gd name="T79" fmla="*/ 80 h 106"/>
              <a:gd name="T80" fmla="*/ 16 w 85"/>
              <a:gd name="T81" fmla="*/ 85 h 106"/>
              <a:gd name="T82" fmla="*/ 16 w 85"/>
              <a:gd name="T83" fmla="*/ 88 h 106"/>
              <a:gd name="T84" fmla="*/ 78 w 85"/>
              <a:gd name="T85" fmla="*/ 88 h 106"/>
              <a:gd name="T86" fmla="*/ 78 w 85"/>
              <a:gd name="T87" fmla="*/ 85 h 106"/>
              <a:gd name="T88" fmla="*/ 16 w 85"/>
              <a:gd name="T89" fmla="*/ 85 h 106"/>
              <a:gd name="T90" fmla="*/ 50 w 85"/>
              <a:gd name="T91" fmla="*/ 10 h 106"/>
              <a:gd name="T92" fmla="*/ 73 w 85"/>
              <a:gd name="T93" fmla="*/ 8 h 106"/>
              <a:gd name="T94" fmla="*/ 51 w 85"/>
              <a:gd name="T95" fmla="*/ 15 h 106"/>
              <a:gd name="T96" fmla="*/ 50 w 85"/>
              <a:gd name="T97" fmla="*/ 24 h 106"/>
              <a:gd name="T98" fmla="*/ 48 w 85"/>
              <a:gd name="T99" fmla="*/ 24 h 106"/>
              <a:gd name="T100" fmla="*/ 40 w 85"/>
              <a:gd name="T101" fmla="*/ 8 h 106"/>
              <a:gd name="T102" fmla="*/ 46 w 85"/>
              <a:gd name="T103" fmla="*/ 4 h 106"/>
              <a:gd name="T104" fmla="*/ 50 w 85"/>
              <a:gd name="T105" fmla="*/ 10 h 10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85"/>
              <a:gd name="T160" fmla="*/ 0 h 106"/>
              <a:gd name="T161" fmla="*/ 85 w 85"/>
              <a:gd name="T162" fmla="*/ 106 h 10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85" h="106">
                <a:moveTo>
                  <a:pt x="49" y="26"/>
                </a:moveTo>
                <a:cubicBezTo>
                  <a:pt x="47" y="24"/>
                  <a:pt x="40" y="19"/>
                  <a:pt x="33" y="22"/>
                </a:cubicBezTo>
                <a:cubicBezTo>
                  <a:pt x="25" y="25"/>
                  <a:pt x="22" y="34"/>
                  <a:pt x="26" y="42"/>
                </a:cubicBezTo>
                <a:cubicBezTo>
                  <a:pt x="30" y="50"/>
                  <a:pt x="33" y="53"/>
                  <a:pt x="34" y="55"/>
                </a:cubicBezTo>
                <a:cubicBezTo>
                  <a:pt x="35" y="56"/>
                  <a:pt x="34" y="58"/>
                  <a:pt x="35" y="59"/>
                </a:cubicBezTo>
                <a:cubicBezTo>
                  <a:pt x="36" y="64"/>
                  <a:pt x="46" y="66"/>
                  <a:pt x="49" y="63"/>
                </a:cubicBezTo>
                <a:cubicBezTo>
                  <a:pt x="52" y="66"/>
                  <a:pt x="62" y="64"/>
                  <a:pt x="63" y="59"/>
                </a:cubicBezTo>
                <a:cubicBezTo>
                  <a:pt x="63" y="58"/>
                  <a:pt x="63" y="56"/>
                  <a:pt x="63" y="55"/>
                </a:cubicBezTo>
                <a:cubicBezTo>
                  <a:pt x="64" y="53"/>
                  <a:pt x="68" y="50"/>
                  <a:pt x="72" y="42"/>
                </a:cubicBezTo>
                <a:cubicBezTo>
                  <a:pt x="76" y="34"/>
                  <a:pt x="73" y="25"/>
                  <a:pt x="64" y="22"/>
                </a:cubicBezTo>
                <a:cubicBezTo>
                  <a:pt x="58" y="19"/>
                  <a:pt x="51" y="24"/>
                  <a:pt x="49" y="26"/>
                </a:cubicBezTo>
                <a:close/>
                <a:moveTo>
                  <a:pt x="84" y="77"/>
                </a:moveTo>
                <a:cubicBezTo>
                  <a:pt x="14" y="77"/>
                  <a:pt x="14" y="77"/>
                  <a:pt x="14" y="77"/>
                </a:cubicBezTo>
                <a:cubicBezTo>
                  <a:pt x="11" y="80"/>
                  <a:pt x="10" y="83"/>
                  <a:pt x="11" y="87"/>
                </a:cubicBezTo>
                <a:cubicBezTo>
                  <a:pt x="11" y="87"/>
                  <a:pt x="11" y="87"/>
                  <a:pt x="11" y="87"/>
                </a:cubicBezTo>
                <a:cubicBezTo>
                  <a:pt x="11" y="90"/>
                  <a:pt x="12" y="93"/>
                  <a:pt x="14" y="96"/>
                </a:cubicBezTo>
                <a:cubicBezTo>
                  <a:pt x="85" y="96"/>
                  <a:pt x="85" y="96"/>
                  <a:pt x="85" y="96"/>
                </a:cubicBezTo>
                <a:cubicBezTo>
                  <a:pt x="85" y="106"/>
                  <a:pt x="85" y="106"/>
                  <a:pt x="85" y="106"/>
                </a:cubicBezTo>
                <a:cubicBezTo>
                  <a:pt x="12" y="106"/>
                  <a:pt x="12" y="106"/>
                  <a:pt x="12" y="106"/>
                </a:cubicBezTo>
                <a:cubicBezTo>
                  <a:pt x="10" y="106"/>
                  <a:pt x="10" y="106"/>
                  <a:pt x="10" y="106"/>
                </a:cubicBezTo>
                <a:cubicBezTo>
                  <a:pt x="8" y="105"/>
                  <a:pt x="8" y="105"/>
                  <a:pt x="8" y="105"/>
                </a:cubicBezTo>
                <a:cubicBezTo>
                  <a:pt x="8" y="104"/>
                  <a:pt x="7" y="104"/>
                  <a:pt x="7" y="104"/>
                </a:cubicBezTo>
                <a:cubicBezTo>
                  <a:pt x="3" y="99"/>
                  <a:pt x="0" y="93"/>
                  <a:pt x="0" y="87"/>
                </a:cubicBezTo>
                <a:cubicBezTo>
                  <a:pt x="0" y="87"/>
                  <a:pt x="0" y="87"/>
                  <a:pt x="0" y="87"/>
                </a:cubicBezTo>
                <a:cubicBezTo>
                  <a:pt x="0" y="81"/>
                  <a:pt x="2" y="74"/>
                  <a:pt x="7" y="69"/>
                </a:cubicBezTo>
                <a:cubicBezTo>
                  <a:pt x="7" y="69"/>
                  <a:pt x="7" y="68"/>
                  <a:pt x="8" y="68"/>
                </a:cubicBezTo>
                <a:cubicBezTo>
                  <a:pt x="9" y="66"/>
                  <a:pt x="9" y="66"/>
                  <a:pt x="9" y="66"/>
                </a:cubicBezTo>
                <a:cubicBezTo>
                  <a:pt x="12" y="66"/>
                  <a:pt x="12" y="66"/>
                  <a:pt x="12" y="66"/>
                </a:cubicBezTo>
                <a:cubicBezTo>
                  <a:pt x="84" y="66"/>
                  <a:pt x="84" y="66"/>
                  <a:pt x="84" y="66"/>
                </a:cubicBezTo>
                <a:cubicBezTo>
                  <a:pt x="84" y="77"/>
                  <a:pt x="84" y="77"/>
                  <a:pt x="84" y="77"/>
                </a:cubicBezTo>
                <a:close/>
                <a:moveTo>
                  <a:pt x="16" y="91"/>
                </a:moveTo>
                <a:cubicBezTo>
                  <a:pt x="16" y="93"/>
                  <a:pt x="16" y="93"/>
                  <a:pt x="16" y="93"/>
                </a:cubicBezTo>
                <a:cubicBezTo>
                  <a:pt x="78" y="93"/>
                  <a:pt x="78" y="93"/>
                  <a:pt x="78" y="93"/>
                </a:cubicBezTo>
                <a:cubicBezTo>
                  <a:pt x="78" y="91"/>
                  <a:pt x="78" y="91"/>
                  <a:pt x="78" y="91"/>
                </a:cubicBezTo>
                <a:cubicBezTo>
                  <a:pt x="16" y="91"/>
                  <a:pt x="16" y="91"/>
                  <a:pt x="16" y="91"/>
                </a:cubicBezTo>
                <a:close/>
                <a:moveTo>
                  <a:pt x="16" y="80"/>
                </a:moveTo>
                <a:cubicBezTo>
                  <a:pt x="16" y="82"/>
                  <a:pt x="16" y="82"/>
                  <a:pt x="16" y="82"/>
                </a:cubicBezTo>
                <a:cubicBezTo>
                  <a:pt x="78" y="82"/>
                  <a:pt x="78" y="82"/>
                  <a:pt x="78" y="82"/>
                </a:cubicBezTo>
                <a:cubicBezTo>
                  <a:pt x="78" y="80"/>
                  <a:pt x="78" y="80"/>
                  <a:pt x="78" y="80"/>
                </a:cubicBezTo>
                <a:cubicBezTo>
                  <a:pt x="16" y="80"/>
                  <a:pt x="16" y="80"/>
                  <a:pt x="16" y="80"/>
                </a:cubicBezTo>
                <a:close/>
                <a:moveTo>
                  <a:pt x="16" y="85"/>
                </a:moveTo>
                <a:cubicBezTo>
                  <a:pt x="16" y="88"/>
                  <a:pt x="16" y="88"/>
                  <a:pt x="16" y="88"/>
                </a:cubicBezTo>
                <a:cubicBezTo>
                  <a:pt x="78" y="88"/>
                  <a:pt x="78" y="88"/>
                  <a:pt x="78" y="88"/>
                </a:cubicBezTo>
                <a:cubicBezTo>
                  <a:pt x="78" y="85"/>
                  <a:pt x="78" y="85"/>
                  <a:pt x="78" y="85"/>
                </a:cubicBezTo>
                <a:cubicBezTo>
                  <a:pt x="16" y="85"/>
                  <a:pt x="16" y="85"/>
                  <a:pt x="16" y="85"/>
                </a:cubicBezTo>
                <a:close/>
                <a:moveTo>
                  <a:pt x="50" y="10"/>
                </a:moveTo>
                <a:cubicBezTo>
                  <a:pt x="54" y="0"/>
                  <a:pt x="64" y="5"/>
                  <a:pt x="73" y="8"/>
                </a:cubicBezTo>
                <a:cubicBezTo>
                  <a:pt x="69" y="14"/>
                  <a:pt x="58" y="18"/>
                  <a:pt x="51" y="15"/>
                </a:cubicBezTo>
                <a:cubicBezTo>
                  <a:pt x="51" y="18"/>
                  <a:pt x="50" y="21"/>
                  <a:pt x="50" y="24"/>
                </a:cubicBezTo>
                <a:cubicBezTo>
                  <a:pt x="48" y="24"/>
                  <a:pt x="48" y="24"/>
                  <a:pt x="48" y="24"/>
                </a:cubicBezTo>
                <a:cubicBezTo>
                  <a:pt x="48" y="17"/>
                  <a:pt x="46" y="13"/>
                  <a:pt x="40" y="8"/>
                </a:cubicBezTo>
                <a:cubicBezTo>
                  <a:pt x="46" y="4"/>
                  <a:pt x="46" y="4"/>
                  <a:pt x="46" y="4"/>
                </a:cubicBezTo>
                <a:cubicBezTo>
                  <a:pt x="48" y="6"/>
                  <a:pt x="50" y="8"/>
                  <a:pt x="50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3" name="Freeform 91"/>
          <p:cNvSpPr>
            <a:spLocks noEditPoints="1" noChangeArrowheads="1"/>
          </p:cNvSpPr>
          <p:nvPr/>
        </p:nvSpPr>
        <p:spPr bwMode="auto">
          <a:xfrm>
            <a:off x="2048934" y="2307167"/>
            <a:ext cx="484717" cy="393700"/>
          </a:xfrm>
          <a:custGeom>
            <a:avLst/>
            <a:gdLst>
              <a:gd name="T0" fmla="*/ 86 w 109"/>
              <a:gd name="T1" fmla="*/ 88 h 88"/>
              <a:gd name="T2" fmla="*/ 84 w 109"/>
              <a:gd name="T3" fmla="*/ 44 h 88"/>
              <a:gd name="T4" fmla="*/ 80 w 109"/>
              <a:gd name="T5" fmla="*/ 71 h 88"/>
              <a:gd name="T6" fmla="*/ 109 w 109"/>
              <a:gd name="T7" fmla="*/ 0 h 88"/>
              <a:gd name="T8" fmla="*/ 92 w 109"/>
              <a:gd name="T9" fmla="*/ 33 h 88"/>
              <a:gd name="T10" fmla="*/ 80 w 109"/>
              <a:gd name="T11" fmla="*/ 25 h 88"/>
              <a:gd name="T12" fmla="*/ 67 w 109"/>
              <a:gd name="T13" fmla="*/ 68 h 88"/>
              <a:gd name="T14" fmla="*/ 37 w 109"/>
              <a:gd name="T15" fmla="*/ 73 h 88"/>
              <a:gd name="T16" fmla="*/ 19 w 109"/>
              <a:gd name="T17" fmla="*/ 63 h 88"/>
              <a:gd name="T18" fmla="*/ 0 w 109"/>
              <a:gd name="T19" fmla="*/ 56 h 88"/>
              <a:gd name="T20" fmla="*/ 25 w 109"/>
              <a:gd name="T21" fmla="*/ 48 h 88"/>
              <a:gd name="T22" fmla="*/ 30 w 109"/>
              <a:gd name="T23" fmla="*/ 57 h 88"/>
              <a:gd name="T24" fmla="*/ 44 w 109"/>
              <a:gd name="T25" fmla="*/ 29 h 88"/>
              <a:gd name="T26" fmla="*/ 66 w 109"/>
              <a:gd name="T27" fmla="*/ 50 h 88"/>
              <a:gd name="T28" fmla="*/ 68 w 109"/>
              <a:gd name="T29" fmla="*/ 18 h 88"/>
              <a:gd name="T30" fmla="*/ 78 w 109"/>
              <a:gd name="T31" fmla="*/ 12 h 88"/>
              <a:gd name="T32" fmla="*/ 90 w 109"/>
              <a:gd name="T33" fmla="*/ 1 h 88"/>
              <a:gd name="T34" fmla="*/ 22 w 109"/>
              <a:gd name="T35" fmla="*/ 88 h 88"/>
              <a:gd name="T36" fmla="*/ 29 w 109"/>
              <a:gd name="T37" fmla="*/ 80 h 88"/>
              <a:gd name="T38" fmla="*/ 22 w 109"/>
              <a:gd name="T39" fmla="*/ 79 h 88"/>
              <a:gd name="T40" fmla="*/ 11 w 109"/>
              <a:gd name="T41" fmla="*/ 88 h 88"/>
              <a:gd name="T42" fmla="*/ 17 w 109"/>
              <a:gd name="T43" fmla="*/ 71 h 88"/>
              <a:gd name="T44" fmla="*/ 11 w 109"/>
              <a:gd name="T45" fmla="*/ 73 h 88"/>
              <a:gd name="T46" fmla="*/ 34 w 109"/>
              <a:gd name="T47" fmla="*/ 88 h 88"/>
              <a:gd name="T48" fmla="*/ 40 w 109"/>
              <a:gd name="T49" fmla="*/ 79 h 88"/>
              <a:gd name="T50" fmla="*/ 34 w 109"/>
              <a:gd name="T51" fmla="*/ 80 h 88"/>
              <a:gd name="T52" fmla="*/ 45 w 109"/>
              <a:gd name="T53" fmla="*/ 88 h 88"/>
              <a:gd name="T54" fmla="*/ 52 w 109"/>
              <a:gd name="T55" fmla="*/ 63 h 88"/>
              <a:gd name="T56" fmla="*/ 45 w 109"/>
              <a:gd name="T57" fmla="*/ 69 h 88"/>
              <a:gd name="T58" fmla="*/ 57 w 109"/>
              <a:gd name="T59" fmla="*/ 88 h 88"/>
              <a:gd name="T60" fmla="*/ 63 w 109"/>
              <a:gd name="T61" fmla="*/ 73 h 88"/>
              <a:gd name="T62" fmla="*/ 57 w 109"/>
              <a:gd name="T63" fmla="*/ 88 h 88"/>
              <a:gd name="T64" fmla="*/ 75 w 109"/>
              <a:gd name="T65" fmla="*/ 88 h 88"/>
              <a:gd name="T66" fmla="*/ 68 w 109"/>
              <a:gd name="T67" fmla="*/ 75 h 8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09"/>
              <a:gd name="T103" fmla="*/ 0 h 88"/>
              <a:gd name="T104" fmla="*/ 109 w 109"/>
              <a:gd name="T105" fmla="*/ 88 h 8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09" h="88">
                <a:moveTo>
                  <a:pt x="80" y="88"/>
                </a:moveTo>
                <a:cubicBezTo>
                  <a:pt x="86" y="88"/>
                  <a:pt x="86" y="88"/>
                  <a:pt x="86" y="88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44"/>
                  <a:pt x="84" y="44"/>
                  <a:pt x="84" y="44"/>
                </a:cubicBezTo>
                <a:cubicBezTo>
                  <a:pt x="82" y="70"/>
                  <a:pt x="82" y="70"/>
                  <a:pt x="82" y="70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88"/>
                  <a:pt x="80" y="88"/>
                  <a:pt x="80" y="88"/>
                </a:cubicBezTo>
                <a:close/>
                <a:moveTo>
                  <a:pt x="109" y="0"/>
                </a:moveTo>
                <a:cubicBezTo>
                  <a:pt x="100" y="17"/>
                  <a:pt x="100" y="17"/>
                  <a:pt x="100" y="17"/>
                </a:cubicBezTo>
                <a:cubicBezTo>
                  <a:pt x="92" y="33"/>
                  <a:pt x="92" y="33"/>
                  <a:pt x="92" y="33"/>
                </a:cubicBezTo>
                <a:cubicBezTo>
                  <a:pt x="84" y="22"/>
                  <a:pt x="84" y="22"/>
                  <a:pt x="84" y="22"/>
                </a:cubicBezTo>
                <a:cubicBezTo>
                  <a:pt x="80" y="25"/>
                  <a:pt x="80" y="25"/>
                  <a:pt x="80" y="25"/>
                </a:cubicBezTo>
                <a:cubicBezTo>
                  <a:pt x="77" y="64"/>
                  <a:pt x="77" y="64"/>
                  <a:pt x="77" y="64"/>
                </a:cubicBezTo>
                <a:cubicBezTo>
                  <a:pt x="67" y="68"/>
                  <a:pt x="67" y="68"/>
                  <a:pt x="67" y="68"/>
                </a:cubicBezTo>
                <a:cubicBezTo>
                  <a:pt x="48" y="50"/>
                  <a:pt x="48" y="50"/>
                  <a:pt x="48" y="50"/>
                </a:cubicBezTo>
                <a:cubicBezTo>
                  <a:pt x="37" y="73"/>
                  <a:pt x="37" y="73"/>
                  <a:pt x="37" y="73"/>
                </a:cubicBezTo>
                <a:cubicBezTo>
                  <a:pt x="26" y="73"/>
                  <a:pt x="26" y="73"/>
                  <a:pt x="26" y="73"/>
                </a:cubicBezTo>
                <a:cubicBezTo>
                  <a:pt x="19" y="63"/>
                  <a:pt x="19" y="63"/>
                  <a:pt x="19" y="63"/>
                </a:cubicBezTo>
                <a:cubicBezTo>
                  <a:pt x="4" y="67"/>
                  <a:pt x="4" y="67"/>
                  <a:pt x="4" y="67"/>
                </a:cubicBezTo>
                <a:cubicBezTo>
                  <a:pt x="0" y="56"/>
                  <a:pt x="0" y="56"/>
                  <a:pt x="0" y="56"/>
                </a:cubicBezTo>
                <a:cubicBezTo>
                  <a:pt x="20" y="50"/>
                  <a:pt x="20" y="50"/>
                  <a:pt x="20" y="50"/>
                </a:cubicBezTo>
                <a:cubicBezTo>
                  <a:pt x="25" y="48"/>
                  <a:pt x="25" y="48"/>
                  <a:pt x="25" y="48"/>
                </a:cubicBezTo>
                <a:cubicBezTo>
                  <a:pt x="27" y="52"/>
                  <a:pt x="27" y="52"/>
                  <a:pt x="27" y="52"/>
                </a:cubicBezTo>
                <a:cubicBezTo>
                  <a:pt x="30" y="57"/>
                  <a:pt x="30" y="57"/>
                  <a:pt x="30" y="57"/>
                </a:cubicBezTo>
                <a:cubicBezTo>
                  <a:pt x="40" y="37"/>
                  <a:pt x="40" y="37"/>
                  <a:pt x="40" y="37"/>
                </a:cubicBezTo>
                <a:cubicBezTo>
                  <a:pt x="44" y="29"/>
                  <a:pt x="44" y="29"/>
                  <a:pt x="44" y="29"/>
                </a:cubicBezTo>
                <a:cubicBezTo>
                  <a:pt x="50" y="35"/>
                  <a:pt x="50" y="35"/>
                  <a:pt x="50" y="35"/>
                </a:cubicBezTo>
                <a:cubicBezTo>
                  <a:pt x="66" y="50"/>
                  <a:pt x="66" y="50"/>
                  <a:pt x="66" y="50"/>
                </a:cubicBezTo>
                <a:cubicBezTo>
                  <a:pt x="68" y="21"/>
                  <a:pt x="68" y="21"/>
                  <a:pt x="68" y="21"/>
                </a:cubicBezTo>
                <a:cubicBezTo>
                  <a:pt x="68" y="18"/>
                  <a:pt x="68" y="18"/>
                  <a:pt x="68" y="18"/>
                </a:cubicBezTo>
                <a:cubicBezTo>
                  <a:pt x="71" y="16"/>
                  <a:pt x="71" y="16"/>
                  <a:pt x="71" y="16"/>
                </a:cubicBezTo>
                <a:cubicBezTo>
                  <a:pt x="78" y="12"/>
                  <a:pt x="78" y="12"/>
                  <a:pt x="78" y="12"/>
                </a:cubicBezTo>
                <a:cubicBezTo>
                  <a:pt x="72" y="2"/>
                  <a:pt x="72" y="2"/>
                  <a:pt x="72" y="2"/>
                </a:cubicBezTo>
                <a:cubicBezTo>
                  <a:pt x="90" y="1"/>
                  <a:pt x="90" y="1"/>
                  <a:pt x="90" y="1"/>
                </a:cubicBezTo>
                <a:cubicBezTo>
                  <a:pt x="109" y="0"/>
                  <a:pt x="109" y="0"/>
                  <a:pt x="109" y="0"/>
                </a:cubicBezTo>
                <a:close/>
                <a:moveTo>
                  <a:pt x="22" y="88"/>
                </a:moveTo>
                <a:cubicBezTo>
                  <a:pt x="24" y="88"/>
                  <a:pt x="27" y="88"/>
                  <a:pt x="29" y="88"/>
                </a:cubicBezTo>
                <a:cubicBezTo>
                  <a:pt x="29" y="80"/>
                  <a:pt x="29" y="80"/>
                  <a:pt x="29" y="80"/>
                </a:cubicBezTo>
                <a:cubicBezTo>
                  <a:pt x="23" y="81"/>
                  <a:pt x="23" y="81"/>
                  <a:pt x="23" y="81"/>
                </a:cubicBezTo>
                <a:cubicBezTo>
                  <a:pt x="22" y="79"/>
                  <a:pt x="22" y="79"/>
                  <a:pt x="22" y="79"/>
                </a:cubicBezTo>
                <a:cubicBezTo>
                  <a:pt x="22" y="88"/>
                  <a:pt x="22" y="88"/>
                  <a:pt x="22" y="88"/>
                </a:cubicBezTo>
                <a:close/>
                <a:moveTo>
                  <a:pt x="11" y="88"/>
                </a:moveTo>
                <a:cubicBezTo>
                  <a:pt x="17" y="88"/>
                  <a:pt x="17" y="88"/>
                  <a:pt x="17" y="88"/>
                </a:cubicBezTo>
                <a:cubicBezTo>
                  <a:pt x="17" y="71"/>
                  <a:pt x="17" y="71"/>
                  <a:pt x="17" y="71"/>
                </a:cubicBezTo>
                <a:cubicBezTo>
                  <a:pt x="17" y="71"/>
                  <a:pt x="17" y="71"/>
                  <a:pt x="17" y="71"/>
                </a:cubicBezTo>
                <a:cubicBezTo>
                  <a:pt x="11" y="73"/>
                  <a:pt x="11" y="73"/>
                  <a:pt x="11" y="73"/>
                </a:cubicBezTo>
                <a:cubicBezTo>
                  <a:pt x="11" y="88"/>
                  <a:pt x="11" y="88"/>
                  <a:pt x="11" y="88"/>
                </a:cubicBezTo>
                <a:close/>
                <a:moveTo>
                  <a:pt x="34" y="88"/>
                </a:moveTo>
                <a:cubicBezTo>
                  <a:pt x="36" y="88"/>
                  <a:pt x="38" y="88"/>
                  <a:pt x="40" y="88"/>
                </a:cubicBezTo>
                <a:cubicBezTo>
                  <a:pt x="40" y="79"/>
                  <a:pt x="40" y="79"/>
                  <a:pt x="40" y="79"/>
                </a:cubicBezTo>
                <a:cubicBezTo>
                  <a:pt x="40" y="80"/>
                  <a:pt x="40" y="80"/>
                  <a:pt x="40" y="80"/>
                </a:cubicBezTo>
                <a:cubicBezTo>
                  <a:pt x="34" y="80"/>
                  <a:pt x="34" y="80"/>
                  <a:pt x="34" y="80"/>
                </a:cubicBezTo>
                <a:cubicBezTo>
                  <a:pt x="34" y="88"/>
                  <a:pt x="34" y="88"/>
                  <a:pt x="34" y="88"/>
                </a:cubicBezTo>
                <a:close/>
                <a:moveTo>
                  <a:pt x="45" y="88"/>
                </a:moveTo>
                <a:cubicBezTo>
                  <a:pt x="47" y="88"/>
                  <a:pt x="50" y="88"/>
                  <a:pt x="52" y="88"/>
                </a:cubicBezTo>
                <a:cubicBezTo>
                  <a:pt x="52" y="63"/>
                  <a:pt x="52" y="63"/>
                  <a:pt x="52" y="63"/>
                </a:cubicBezTo>
                <a:cubicBezTo>
                  <a:pt x="49" y="60"/>
                  <a:pt x="49" y="60"/>
                  <a:pt x="49" y="60"/>
                </a:cubicBezTo>
                <a:cubicBezTo>
                  <a:pt x="45" y="69"/>
                  <a:pt x="45" y="69"/>
                  <a:pt x="45" y="69"/>
                </a:cubicBezTo>
                <a:cubicBezTo>
                  <a:pt x="45" y="88"/>
                  <a:pt x="45" y="88"/>
                  <a:pt x="45" y="88"/>
                </a:cubicBezTo>
                <a:close/>
                <a:moveTo>
                  <a:pt x="57" y="88"/>
                </a:moveTo>
                <a:cubicBezTo>
                  <a:pt x="59" y="88"/>
                  <a:pt x="61" y="88"/>
                  <a:pt x="63" y="88"/>
                </a:cubicBezTo>
                <a:cubicBezTo>
                  <a:pt x="63" y="73"/>
                  <a:pt x="63" y="73"/>
                  <a:pt x="63" y="73"/>
                </a:cubicBezTo>
                <a:cubicBezTo>
                  <a:pt x="57" y="67"/>
                  <a:pt x="57" y="67"/>
                  <a:pt x="57" y="67"/>
                </a:cubicBezTo>
                <a:cubicBezTo>
                  <a:pt x="57" y="88"/>
                  <a:pt x="57" y="88"/>
                  <a:pt x="57" y="88"/>
                </a:cubicBezTo>
                <a:close/>
                <a:moveTo>
                  <a:pt x="68" y="88"/>
                </a:moveTo>
                <a:cubicBezTo>
                  <a:pt x="70" y="88"/>
                  <a:pt x="73" y="88"/>
                  <a:pt x="75" y="88"/>
                </a:cubicBezTo>
                <a:cubicBezTo>
                  <a:pt x="75" y="72"/>
                  <a:pt x="75" y="72"/>
                  <a:pt x="75" y="72"/>
                </a:cubicBezTo>
                <a:cubicBezTo>
                  <a:pt x="68" y="75"/>
                  <a:pt x="68" y="75"/>
                  <a:pt x="68" y="75"/>
                </a:cubicBezTo>
                <a:lnTo>
                  <a:pt x="68" y="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4" name="Freeform 96"/>
          <p:cNvSpPr>
            <a:spLocks noEditPoints="1" noChangeArrowheads="1"/>
          </p:cNvSpPr>
          <p:nvPr/>
        </p:nvSpPr>
        <p:spPr bwMode="auto">
          <a:xfrm>
            <a:off x="3757084" y="2250018"/>
            <a:ext cx="372533" cy="499533"/>
          </a:xfrm>
          <a:custGeom>
            <a:avLst/>
            <a:gdLst>
              <a:gd name="T0" fmla="*/ 15 w 83"/>
              <a:gd name="T1" fmla="*/ 35 h 112"/>
              <a:gd name="T2" fmla="*/ 38 w 83"/>
              <a:gd name="T3" fmla="*/ 78 h 112"/>
              <a:gd name="T4" fmla="*/ 80 w 83"/>
              <a:gd name="T5" fmla="*/ 55 h 112"/>
              <a:gd name="T6" fmla="*/ 58 w 83"/>
              <a:gd name="T7" fmla="*/ 13 h 112"/>
              <a:gd name="T8" fmla="*/ 34 w 83"/>
              <a:gd name="T9" fmla="*/ 68 h 112"/>
              <a:gd name="T10" fmla="*/ 46 w 83"/>
              <a:gd name="T11" fmla="*/ 72 h 112"/>
              <a:gd name="T12" fmla="*/ 34 w 83"/>
              <a:gd name="T13" fmla="*/ 68 h 112"/>
              <a:gd name="T14" fmla="*/ 56 w 83"/>
              <a:gd name="T15" fmla="*/ 61 h 112"/>
              <a:gd name="T16" fmla="*/ 62 w 83"/>
              <a:gd name="T17" fmla="*/ 60 h 112"/>
              <a:gd name="T18" fmla="*/ 51 w 83"/>
              <a:gd name="T19" fmla="*/ 66 h 112"/>
              <a:gd name="T20" fmla="*/ 69 w 83"/>
              <a:gd name="T21" fmla="*/ 52 h 112"/>
              <a:gd name="T22" fmla="*/ 73 w 83"/>
              <a:gd name="T23" fmla="*/ 53 h 112"/>
              <a:gd name="T24" fmla="*/ 69 w 83"/>
              <a:gd name="T25" fmla="*/ 52 h 112"/>
              <a:gd name="T26" fmla="*/ 54 w 83"/>
              <a:gd name="T27" fmla="*/ 24 h 112"/>
              <a:gd name="T28" fmla="*/ 56 w 83"/>
              <a:gd name="T29" fmla="*/ 20 h 112"/>
              <a:gd name="T30" fmla="*/ 46 w 83"/>
              <a:gd name="T31" fmla="*/ 27 h 112"/>
              <a:gd name="T32" fmla="*/ 33 w 83"/>
              <a:gd name="T33" fmla="*/ 33 h 112"/>
              <a:gd name="T34" fmla="*/ 35 w 83"/>
              <a:gd name="T35" fmla="*/ 22 h 112"/>
              <a:gd name="T36" fmla="*/ 46 w 83"/>
              <a:gd name="T37" fmla="*/ 27 h 112"/>
              <a:gd name="T38" fmla="*/ 21 w 83"/>
              <a:gd name="T39" fmla="*/ 44 h 112"/>
              <a:gd name="T40" fmla="*/ 25 w 83"/>
              <a:gd name="T41" fmla="*/ 32 h 112"/>
              <a:gd name="T42" fmla="*/ 33 w 83"/>
              <a:gd name="T43" fmla="*/ 60 h 112"/>
              <a:gd name="T44" fmla="*/ 27 w 83"/>
              <a:gd name="T45" fmla="*/ 49 h 112"/>
              <a:gd name="T46" fmla="*/ 32 w 83"/>
              <a:gd name="T47" fmla="*/ 54 h 112"/>
              <a:gd name="T48" fmla="*/ 33 w 83"/>
              <a:gd name="T49" fmla="*/ 60 h 112"/>
              <a:gd name="T50" fmla="*/ 43 w 83"/>
              <a:gd name="T51" fmla="*/ 36 h 112"/>
              <a:gd name="T52" fmla="*/ 57 w 83"/>
              <a:gd name="T53" fmla="*/ 41 h 112"/>
              <a:gd name="T54" fmla="*/ 52 w 83"/>
              <a:gd name="T55" fmla="*/ 54 h 112"/>
              <a:gd name="T56" fmla="*/ 39 w 83"/>
              <a:gd name="T57" fmla="*/ 50 h 112"/>
              <a:gd name="T58" fmla="*/ 60 w 83"/>
              <a:gd name="T59" fmla="*/ 31 h 112"/>
              <a:gd name="T60" fmla="*/ 71 w 83"/>
              <a:gd name="T61" fmla="*/ 33 h 112"/>
              <a:gd name="T62" fmla="*/ 66 w 83"/>
              <a:gd name="T63" fmla="*/ 44 h 112"/>
              <a:gd name="T64" fmla="*/ 60 w 83"/>
              <a:gd name="T65" fmla="*/ 31 h 112"/>
              <a:gd name="T66" fmla="*/ 71 w 83"/>
              <a:gd name="T67" fmla="*/ 112 h 112"/>
              <a:gd name="T68" fmla="*/ 30 w 83"/>
              <a:gd name="T69" fmla="*/ 104 h 112"/>
              <a:gd name="T70" fmla="*/ 44 w 83"/>
              <a:gd name="T71" fmla="*/ 93 h 112"/>
              <a:gd name="T72" fmla="*/ 0 w 83"/>
              <a:gd name="T73" fmla="*/ 45 h 112"/>
              <a:gd name="T74" fmla="*/ 32 w 83"/>
              <a:gd name="T75" fmla="*/ 0 h 112"/>
              <a:gd name="T76" fmla="*/ 21 w 83"/>
              <a:gd name="T77" fmla="*/ 18 h 112"/>
              <a:gd name="T78" fmla="*/ 21 w 83"/>
              <a:gd name="T79" fmla="*/ 72 h 112"/>
              <a:gd name="T80" fmla="*/ 72 w 83"/>
              <a:gd name="T81" fmla="*/ 75 h 112"/>
              <a:gd name="T82" fmla="*/ 56 w 83"/>
              <a:gd name="T83" fmla="*/ 92 h 112"/>
              <a:gd name="T84" fmla="*/ 71 w 83"/>
              <a:gd name="T85" fmla="*/ 104 h 11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3"/>
              <a:gd name="T130" fmla="*/ 0 h 112"/>
              <a:gd name="T131" fmla="*/ 83 w 83"/>
              <a:gd name="T132" fmla="*/ 112 h 112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3" h="112">
                <a:moveTo>
                  <a:pt x="32" y="15"/>
                </a:moveTo>
                <a:cubicBezTo>
                  <a:pt x="24" y="20"/>
                  <a:pt x="18" y="27"/>
                  <a:pt x="15" y="35"/>
                </a:cubicBezTo>
                <a:cubicBezTo>
                  <a:pt x="13" y="44"/>
                  <a:pt x="13" y="53"/>
                  <a:pt x="18" y="61"/>
                </a:cubicBezTo>
                <a:cubicBezTo>
                  <a:pt x="22" y="69"/>
                  <a:pt x="29" y="75"/>
                  <a:pt x="38" y="78"/>
                </a:cubicBezTo>
                <a:cubicBezTo>
                  <a:pt x="46" y="80"/>
                  <a:pt x="55" y="80"/>
                  <a:pt x="63" y="75"/>
                </a:cubicBezTo>
                <a:cubicBezTo>
                  <a:pt x="72" y="71"/>
                  <a:pt x="77" y="64"/>
                  <a:pt x="80" y="55"/>
                </a:cubicBezTo>
                <a:cubicBezTo>
                  <a:pt x="83" y="47"/>
                  <a:pt x="82" y="38"/>
                  <a:pt x="78" y="30"/>
                </a:cubicBezTo>
                <a:cubicBezTo>
                  <a:pt x="73" y="21"/>
                  <a:pt x="66" y="16"/>
                  <a:pt x="58" y="13"/>
                </a:cubicBezTo>
                <a:cubicBezTo>
                  <a:pt x="50" y="10"/>
                  <a:pt x="40" y="11"/>
                  <a:pt x="32" y="15"/>
                </a:cubicBezTo>
                <a:close/>
                <a:moveTo>
                  <a:pt x="34" y="68"/>
                </a:moveTo>
                <a:cubicBezTo>
                  <a:pt x="36" y="68"/>
                  <a:pt x="39" y="67"/>
                  <a:pt x="41" y="67"/>
                </a:cubicBezTo>
                <a:cubicBezTo>
                  <a:pt x="43" y="69"/>
                  <a:pt x="45" y="70"/>
                  <a:pt x="46" y="72"/>
                </a:cubicBezTo>
                <a:cubicBezTo>
                  <a:pt x="44" y="71"/>
                  <a:pt x="42" y="71"/>
                  <a:pt x="40" y="70"/>
                </a:cubicBezTo>
                <a:cubicBezTo>
                  <a:pt x="38" y="70"/>
                  <a:pt x="36" y="69"/>
                  <a:pt x="34" y="68"/>
                </a:cubicBezTo>
                <a:close/>
                <a:moveTo>
                  <a:pt x="49" y="64"/>
                </a:moveTo>
                <a:cubicBezTo>
                  <a:pt x="51" y="63"/>
                  <a:pt x="54" y="62"/>
                  <a:pt x="56" y="61"/>
                </a:cubicBezTo>
                <a:cubicBezTo>
                  <a:pt x="58" y="60"/>
                  <a:pt x="60" y="59"/>
                  <a:pt x="62" y="57"/>
                </a:cubicBezTo>
                <a:cubicBezTo>
                  <a:pt x="62" y="58"/>
                  <a:pt x="62" y="59"/>
                  <a:pt x="62" y="60"/>
                </a:cubicBezTo>
                <a:cubicBezTo>
                  <a:pt x="63" y="64"/>
                  <a:pt x="62" y="68"/>
                  <a:pt x="60" y="69"/>
                </a:cubicBezTo>
                <a:cubicBezTo>
                  <a:pt x="58" y="70"/>
                  <a:pt x="55" y="68"/>
                  <a:pt x="51" y="66"/>
                </a:cubicBezTo>
                <a:cubicBezTo>
                  <a:pt x="51" y="65"/>
                  <a:pt x="50" y="65"/>
                  <a:pt x="49" y="64"/>
                </a:cubicBezTo>
                <a:close/>
                <a:moveTo>
                  <a:pt x="69" y="52"/>
                </a:moveTo>
                <a:cubicBezTo>
                  <a:pt x="71" y="50"/>
                  <a:pt x="73" y="49"/>
                  <a:pt x="74" y="47"/>
                </a:cubicBezTo>
                <a:cubicBezTo>
                  <a:pt x="74" y="49"/>
                  <a:pt x="73" y="51"/>
                  <a:pt x="73" y="53"/>
                </a:cubicBezTo>
                <a:cubicBezTo>
                  <a:pt x="72" y="55"/>
                  <a:pt x="71" y="57"/>
                  <a:pt x="70" y="59"/>
                </a:cubicBezTo>
                <a:cubicBezTo>
                  <a:pt x="70" y="57"/>
                  <a:pt x="70" y="55"/>
                  <a:pt x="69" y="52"/>
                </a:cubicBezTo>
                <a:close/>
                <a:moveTo>
                  <a:pt x="61" y="23"/>
                </a:moveTo>
                <a:cubicBezTo>
                  <a:pt x="59" y="23"/>
                  <a:pt x="57" y="23"/>
                  <a:pt x="54" y="24"/>
                </a:cubicBezTo>
                <a:cubicBezTo>
                  <a:pt x="53" y="22"/>
                  <a:pt x="51" y="20"/>
                  <a:pt x="49" y="19"/>
                </a:cubicBezTo>
                <a:cubicBezTo>
                  <a:pt x="51" y="19"/>
                  <a:pt x="53" y="20"/>
                  <a:pt x="56" y="20"/>
                </a:cubicBezTo>
                <a:cubicBezTo>
                  <a:pt x="58" y="21"/>
                  <a:pt x="60" y="22"/>
                  <a:pt x="61" y="23"/>
                </a:cubicBezTo>
                <a:close/>
                <a:moveTo>
                  <a:pt x="46" y="27"/>
                </a:moveTo>
                <a:cubicBezTo>
                  <a:pt x="44" y="27"/>
                  <a:pt x="42" y="28"/>
                  <a:pt x="39" y="30"/>
                </a:cubicBezTo>
                <a:cubicBezTo>
                  <a:pt x="37" y="31"/>
                  <a:pt x="35" y="32"/>
                  <a:pt x="33" y="33"/>
                </a:cubicBezTo>
                <a:cubicBezTo>
                  <a:pt x="33" y="33"/>
                  <a:pt x="33" y="32"/>
                  <a:pt x="33" y="31"/>
                </a:cubicBezTo>
                <a:cubicBezTo>
                  <a:pt x="33" y="26"/>
                  <a:pt x="34" y="23"/>
                  <a:pt x="35" y="22"/>
                </a:cubicBezTo>
                <a:cubicBezTo>
                  <a:pt x="37" y="21"/>
                  <a:pt x="41" y="22"/>
                  <a:pt x="44" y="25"/>
                </a:cubicBezTo>
                <a:cubicBezTo>
                  <a:pt x="45" y="25"/>
                  <a:pt x="46" y="26"/>
                  <a:pt x="46" y="27"/>
                </a:cubicBezTo>
                <a:close/>
                <a:moveTo>
                  <a:pt x="26" y="39"/>
                </a:moveTo>
                <a:cubicBezTo>
                  <a:pt x="24" y="40"/>
                  <a:pt x="23" y="42"/>
                  <a:pt x="21" y="44"/>
                </a:cubicBezTo>
                <a:cubicBezTo>
                  <a:pt x="22" y="42"/>
                  <a:pt x="22" y="40"/>
                  <a:pt x="23" y="38"/>
                </a:cubicBezTo>
                <a:cubicBezTo>
                  <a:pt x="23" y="35"/>
                  <a:pt x="24" y="33"/>
                  <a:pt x="25" y="32"/>
                </a:cubicBezTo>
                <a:cubicBezTo>
                  <a:pt x="25" y="34"/>
                  <a:pt x="26" y="36"/>
                  <a:pt x="26" y="39"/>
                </a:cubicBezTo>
                <a:close/>
                <a:moveTo>
                  <a:pt x="33" y="60"/>
                </a:moveTo>
                <a:cubicBezTo>
                  <a:pt x="29" y="60"/>
                  <a:pt x="25" y="60"/>
                  <a:pt x="24" y="58"/>
                </a:cubicBezTo>
                <a:cubicBezTo>
                  <a:pt x="23" y="56"/>
                  <a:pt x="25" y="52"/>
                  <a:pt x="27" y="49"/>
                </a:cubicBezTo>
                <a:cubicBezTo>
                  <a:pt x="28" y="48"/>
                  <a:pt x="28" y="48"/>
                  <a:pt x="29" y="47"/>
                </a:cubicBezTo>
                <a:cubicBezTo>
                  <a:pt x="30" y="49"/>
                  <a:pt x="31" y="51"/>
                  <a:pt x="32" y="54"/>
                </a:cubicBezTo>
                <a:cubicBezTo>
                  <a:pt x="33" y="56"/>
                  <a:pt x="34" y="58"/>
                  <a:pt x="36" y="60"/>
                </a:cubicBezTo>
                <a:cubicBezTo>
                  <a:pt x="35" y="60"/>
                  <a:pt x="34" y="60"/>
                  <a:pt x="33" y="60"/>
                </a:cubicBezTo>
                <a:close/>
                <a:moveTo>
                  <a:pt x="35" y="41"/>
                </a:moveTo>
                <a:cubicBezTo>
                  <a:pt x="37" y="40"/>
                  <a:pt x="40" y="38"/>
                  <a:pt x="43" y="36"/>
                </a:cubicBezTo>
                <a:cubicBezTo>
                  <a:pt x="46" y="35"/>
                  <a:pt x="49" y="34"/>
                  <a:pt x="52" y="33"/>
                </a:cubicBezTo>
                <a:cubicBezTo>
                  <a:pt x="53" y="35"/>
                  <a:pt x="55" y="38"/>
                  <a:pt x="57" y="41"/>
                </a:cubicBezTo>
                <a:cubicBezTo>
                  <a:pt x="58" y="44"/>
                  <a:pt x="59" y="46"/>
                  <a:pt x="60" y="49"/>
                </a:cubicBezTo>
                <a:cubicBezTo>
                  <a:pt x="58" y="51"/>
                  <a:pt x="55" y="53"/>
                  <a:pt x="52" y="54"/>
                </a:cubicBezTo>
                <a:cubicBezTo>
                  <a:pt x="49" y="56"/>
                  <a:pt x="47" y="57"/>
                  <a:pt x="44" y="58"/>
                </a:cubicBezTo>
                <a:cubicBezTo>
                  <a:pt x="42" y="56"/>
                  <a:pt x="40" y="53"/>
                  <a:pt x="39" y="50"/>
                </a:cubicBezTo>
                <a:cubicBezTo>
                  <a:pt x="37" y="47"/>
                  <a:pt x="36" y="44"/>
                  <a:pt x="35" y="41"/>
                </a:cubicBezTo>
                <a:close/>
                <a:moveTo>
                  <a:pt x="60" y="31"/>
                </a:moveTo>
                <a:cubicBezTo>
                  <a:pt x="60" y="31"/>
                  <a:pt x="61" y="31"/>
                  <a:pt x="62" y="31"/>
                </a:cubicBezTo>
                <a:cubicBezTo>
                  <a:pt x="67" y="30"/>
                  <a:pt x="70" y="31"/>
                  <a:pt x="71" y="33"/>
                </a:cubicBezTo>
                <a:cubicBezTo>
                  <a:pt x="72" y="35"/>
                  <a:pt x="71" y="38"/>
                  <a:pt x="68" y="42"/>
                </a:cubicBezTo>
                <a:cubicBezTo>
                  <a:pt x="68" y="43"/>
                  <a:pt x="67" y="43"/>
                  <a:pt x="66" y="44"/>
                </a:cubicBezTo>
                <a:cubicBezTo>
                  <a:pt x="66" y="42"/>
                  <a:pt x="65" y="39"/>
                  <a:pt x="63" y="37"/>
                </a:cubicBezTo>
                <a:cubicBezTo>
                  <a:pt x="62" y="35"/>
                  <a:pt x="61" y="33"/>
                  <a:pt x="60" y="31"/>
                </a:cubicBezTo>
                <a:close/>
                <a:moveTo>
                  <a:pt x="71" y="104"/>
                </a:moveTo>
                <a:cubicBezTo>
                  <a:pt x="71" y="112"/>
                  <a:pt x="71" y="112"/>
                  <a:pt x="71" y="112"/>
                </a:cubicBezTo>
                <a:cubicBezTo>
                  <a:pt x="30" y="112"/>
                  <a:pt x="30" y="112"/>
                  <a:pt x="30" y="112"/>
                </a:cubicBezTo>
                <a:cubicBezTo>
                  <a:pt x="30" y="104"/>
                  <a:pt x="30" y="104"/>
                  <a:pt x="30" y="104"/>
                </a:cubicBezTo>
                <a:cubicBezTo>
                  <a:pt x="44" y="104"/>
                  <a:pt x="44" y="104"/>
                  <a:pt x="44" y="104"/>
                </a:cubicBezTo>
                <a:cubicBezTo>
                  <a:pt x="44" y="93"/>
                  <a:pt x="44" y="93"/>
                  <a:pt x="44" y="93"/>
                </a:cubicBezTo>
                <a:cubicBezTo>
                  <a:pt x="32" y="92"/>
                  <a:pt x="22" y="87"/>
                  <a:pt x="14" y="79"/>
                </a:cubicBezTo>
                <a:cubicBezTo>
                  <a:pt x="5" y="71"/>
                  <a:pt x="0" y="59"/>
                  <a:pt x="0" y="45"/>
                </a:cubicBezTo>
                <a:cubicBezTo>
                  <a:pt x="0" y="32"/>
                  <a:pt x="5" y="20"/>
                  <a:pt x="14" y="12"/>
                </a:cubicBezTo>
                <a:cubicBezTo>
                  <a:pt x="19" y="7"/>
                  <a:pt x="25" y="3"/>
                  <a:pt x="32" y="0"/>
                </a:cubicBezTo>
                <a:cubicBezTo>
                  <a:pt x="37" y="9"/>
                  <a:pt x="37" y="9"/>
                  <a:pt x="37" y="9"/>
                </a:cubicBezTo>
                <a:cubicBezTo>
                  <a:pt x="31" y="11"/>
                  <a:pt x="25" y="14"/>
                  <a:pt x="21" y="18"/>
                </a:cubicBezTo>
                <a:cubicBezTo>
                  <a:pt x="14" y="25"/>
                  <a:pt x="9" y="35"/>
                  <a:pt x="9" y="45"/>
                </a:cubicBezTo>
                <a:cubicBezTo>
                  <a:pt x="9" y="56"/>
                  <a:pt x="14" y="65"/>
                  <a:pt x="21" y="72"/>
                </a:cubicBezTo>
                <a:cubicBezTo>
                  <a:pt x="27" y="79"/>
                  <a:pt x="37" y="84"/>
                  <a:pt x="48" y="84"/>
                </a:cubicBezTo>
                <a:cubicBezTo>
                  <a:pt x="57" y="84"/>
                  <a:pt x="65" y="80"/>
                  <a:pt x="72" y="75"/>
                </a:cubicBezTo>
                <a:cubicBezTo>
                  <a:pt x="76" y="83"/>
                  <a:pt x="76" y="83"/>
                  <a:pt x="76" y="83"/>
                </a:cubicBezTo>
                <a:cubicBezTo>
                  <a:pt x="70" y="88"/>
                  <a:pt x="63" y="91"/>
                  <a:pt x="56" y="92"/>
                </a:cubicBezTo>
                <a:cubicBezTo>
                  <a:pt x="56" y="104"/>
                  <a:pt x="56" y="104"/>
                  <a:pt x="56" y="104"/>
                </a:cubicBezTo>
                <a:lnTo>
                  <a:pt x="71" y="1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5" name="Freeform 99"/>
          <p:cNvSpPr>
            <a:spLocks noEditPoints="1" noChangeArrowheads="1"/>
          </p:cNvSpPr>
          <p:nvPr/>
        </p:nvSpPr>
        <p:spPr bwMode="auto">
          <a:xfrm>
            <a:off x="4536017" y="2379134"/>
            <a:ext cx="465667" cy="270933"/>
          </a:xfrm>
          <a:custGeom>
            <a:avLst/>
            <a:gdLst>
              <a:gd name="T0" fmla="*/ 62 w 246"/>
              <a:gd name="T1" fmla="*/ 0 h 144"/>
              <a:gd name="T2" fmla="*/ 189 w 246"/>
              <a:gd name="T3" fmla="*/ 0 h 144"/>
              <a:gd name="T4" fmla="*/ 246 w 246"/>
              <a:gd name="T5" fmla="*/ 80 h 144"/>
              <a:gd name="T6" fmla="*/ 232 w 246"/>
              <a:gd name="T7" fmla="*/ 80 h 144"/>
              <a:gd name="T8" fmla="*/ 232 w 246"/>
              <a:gd name="T9" fmla="*/ 130 h 144"/>
              <a:gd name="T10" fmla="*/ 246 w 246"/>
              <a:gd name="T11" fmla="*/ 130 h 144"/>
              <a:gd name="T12" fmla="*/ 246 w 246"/>
              <a:gd name="T13" fmla="*/ 144 h 144"/>
              <a:gd name="T14" fmla="*/ 0 w 246"/>
              <a:gd name="T15" fmla="*/ 144 h 144"/>
              <a:gd name="T16" fmla="*/ 0 w 246"/>
              <a:gd name="T17" fmla="*/ 130 h 144"/>
              <a:gd name="T18" fmla="*/ 19 w 246"/>
              <a:gd name="T19" fmla="*/ 130 h 144"/>
              <a:gd name="T20" fmla="*/ 19 w 246"/>
              <a:gd name="T21" fmla="*/ 88 h 144"/>
              <a:gd name="T22" fmla="*/ 7 w 246"/>
              <a:gd name="T23" fmla="*/ 88 h 144"/>
              <a:gd name="T24" fmla="*/ 0 w 246"/>
              <a:gd name="T25" fmla="*/ 73 h 144"/>
              <a:gd name="T26" fmla="*/ 62 w 246"/>
              <a:gd name="T27" fmla="*/ 0 h 144"/>
              <a:gd name="T28" fmla="*/ 62 w 246"/>
              <a:gd name="T29" fmla="*/ 0 h 144"/>
              <a:gd name="T30" fmla="*/ 213 w 246"/>
              <a:gd name="T31" fmla="*/ 130 h 144"/>
              <a:gd name="T32" fmla="*/ 213 w 246"/>
              <a:gd name="T33" fmla="*/ 80 h 144"/>
              <a:gd name="T34" fmla="*/ 142 w 246"/>
              <a:gd name="T35" fmla="*/ 80 h 144"/>
              <a:gd name="T36" fmla="*/ 142 w 246"/>
              <a:gd name="T37" fmla="*/ 130 h 144"/>
              <a:gd name="T38" fmla="*/ 152 w 246"/>
              <a:gd name="T39" fmla="*/ 130 h 144"/>
              <a:gd name="T40" fmla="*/ 152 w 246"/>
              <a:gd name="T41" fmla="*/ 85 h 144"/>
              <a:gd name="T42" fmla="*/ 180 w 246"/>
              <a:gd name="T43" fmla="*/ 85 h 144"/>
              <a:gd name="T44" fmla="*/ 180 w 246"/>
              <a:gd name="T45" fmla="*/ 130 h 144"/>
              <a:gd name="T46" fmla="*/ 213 w 246"/>
              <a:gd name="T47" fmla="*/ 130 h 144"/>
              <a:gd name="T48" fmla="*/ 213 w 246"/>
              <a:gd name="T49" fmla="*/ 130 h 144"/>
              <a:gd name="T50" fmla="*/ 123 w 246"/>
              <a:gd name="T51" fmla="*/ 130 h 144"/>
              <a:gd name="T52" fmla="*/ 123 w 246"/>
              <a:gd name="T53" fmla="*/ 80 h 144"/>
              <a:gd name="T54" fmla="*/ 118 w 246"/>
              <a:gd name="T55" fmla="*/ 80 h 144"/>
              <a:gd name="T56" fmla="*/ 71 w 246"/>
              <a:gd name="T57" fmla="*/ 14 h 144"/>
              <a:gd name="T58" fmla="*/ 26 w 246"/>
              <a:gd name="T59" fmla="*/ 69 h 144"/>
              <a:gd name="T60" fmla="*/ 29 w 246"/>
              <a:gd name="T61" fmla="*/ 69 h 144"/>
              <a:gd name="T62" fmla="*/ 38 w 246"/>
              <a:gd name="T63" fmla="*/ 69 h 144"/>
              <a:gd name="T64" fmla="*/ 38 w 246"/>
              <a:gd name="T65" fmla="*/ 130 h 144"/>
              <a:gd name="T66" fmla="*/ 123 w 246"/>
              <a:gd name="T67" fmla="*/ 130 h 144"/>
              <a:gd name="T68" fmla="*/ 123 w 246"/>
              <a:gd name="T69" fmla="*/ 130 h 144"/>
              <a:gd name="T70" fmla="*/ 62 w 246"/>
              <a:gd name="T71" fmla="*/ 78 h 144"/>
              <a:gd name="T72" fmla="*/ 62 w 246"/>
              <a:gd name="T73" fmla="*/ 114 h 144"/>
              <a:gd name="T74" fmla="*/ 85 w 246"/>
              <a:gd name="T75" fmla="*/ 114 h 144"/>
              <a:gd name="T76" fmla="*/ 85 w 246"/>
              <a:gd name="T77" fmla="*/ 78 h 144"/>
              <a:gd name="T78" fmla="*/ 62 w 246"/>
              <a:gd name="T79" fmla="*/ 78 h 144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46"/>
              <a:gd name="T121" fmla="*/ 0 h 144"/>
              <a:gd name="T122" fmla="*/ 246 w 246"/>
              <a:gd name="T123" fmla="*/ 144 h 144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46" h="144">
                <a:moveTo>
                  <a:pt x="62" y="0"/>
                </a:moveTo>
                <a:lnTo>
                  <a:pt x="189" y="0"/>
                </a:lnTo>
                <a:lnTo>
                  <a:pt x="246" y="80"/>
                </a:lnTo>
                <a:lnTo>
                  <a:pt x="232" y="80"/>
                </a:lnTo>
                <a:lnTo>
                  <a:pt x="232" y="130"/>
                </a:lnTo>
                <a:lnTo>
                  <a:pt x="246" y="130"/>
                </a:lnTo>
                <a:lnTo>
                  <a:pt x="246" y="144"/>
                </a:lnTo>
                <a:lnTo>
                  <a:pt x="0" y="144"/>
                </a:lnTo>
                <a:lnTo>
                  <a:pt x="0" y="130"/>
                </a:lnTo>
                <a:lnTo>
                  <a:pt x="19" y="130"/>
                </a:lnTo>
                <a:lnTo>
                  <a:pt x="19" y="88"/>
                </a:lnTo>
                <a:lnTo>
                  <a:pt x="7" y="88"/>
                </a:lnTo>
                <a:lnTo>
                  <a:pt x="0" y="73"/>
                </a:lnTo>
                <a:lnTo>
                  <a:pt x="62" y="0"/>
                </a:lnTo>
                <a:lnTo>
                  <a:pt x="62" y="0"/>
                </a:lnTo>
                <a:close/>
                <a:moveTo>
                  <a:pt x="213" y="130"/>
                </a:moveTo>
                <a:lnTo>
                  <a:pt x="213" y="80"/>
                </a:lnTo>
                <a:lnTo>
                  <a:pt x="142" y="80"/>
                </a:lnTo>
                <a:lnTo>
                  <a:pt x="142" y="130"/>
                </a:lnTo>
                <a:lnTo>
                  <a:pt x="152" y="130"/>
                </a:lnTo>
                <a:lnTo>
                  <a:pt x="152" y="85"/>
                </a:lnTo>
                <a:lnTo>
                  <a:pt x="180" y="85"/>
                </a:lnTo>
                <a:lnTo>
                  <a:pt x="180" y="130"/>
                </a:lnTo>
                <a:lnTo>
                  <a:pt x="213" y="130"/>
                </a:lnTo>
                <a:lnTo>
                  <a:pt x="213" y="130"/>
                </a:lnTo>
                <a:close/>
                <a:moveTo>
                  <a:pt x="123" y="130"/>
                </a:moveTo>
                <a:lnTo>
                  <a:pt x="123" y="80"/>
                </a:lnTo>
                <a:lnTo>
                  <a:pt x="118" y="80"/>
                </a:lnTo>
                <a:lnTo>
                  <a:pt x="71" y="14"/>
                </a:lnTo>
                <a:lnTo>
                  <a:pt x="26" y="69"/>
                </a:lnTo>
                <a:lnTo>
                  <a:pt x="29" y="69"/>
                </a:lnTo>
                <a:lnTo>
                  <a:pt x="38" y="69"/>
                </a:lnTo>
                <a:lnTo>
                  <a:pt x="38" y="130"/>
                </a:lnTo>
                <a:lnTo>
                  <a:pt x="123" y="130"/>
                </a:lnTo>
                <a:lnTo>
                  <a:pt x="123" y="130"/>
                </a:lnTo>
                <a:close/>
                <a:moveTo>
                  <a:pt x="62" y="78"/>
                </a:moveTo>
                <a:lnTo>
                  <a:pt x="62" y="114"/>
                </a:lnTo>
                <a:lnTo>
                  <a:pt x="85" y="114"/>
                </a:lnTo>
                <a:lnTo>
                  <a:pt x="85" y="78"/>
                </a:lnTo>
                <a:lnTo>
                  <a:pt x="62" y="7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6" name="Freeform 101"/>
          <p:cNvSpPr>
            <a:spLocks noEditPoints="1" noChangeArrowheads="1"/>
          </p:cNvSpPr>
          <p:nvPr/>
        </p:nvSpPr>
        <p:spPr bwMode="auto">
          <a:xfrm>
            <a:off x="3780368" y="1462618"/>
            <a:ext cx="370417" cy="423333"/>
          </a:xfrm>
          <a:custGeom>
            <a:avLst/>
            <a:gdLst>
              <a:gd name="T0" fmla="*/ 51 w 83"/>
              <a:gd name="T1" fmla="*/ 28 h 95"/>
              <a:gd name="T2" fmla="*/ 57 w 83"/>
              <a:gd name="T3" fmla="*/ 58 h 95"/>
              <a:gd name="T4" fmla="*/ 70 w 83"/>
              <a:gd name="T5" fmla="*/ 95 h 95"/>
              <a:gd name="T6" fmla="*/ 20 w 83"/>
              <a:gd name="T7" fmla="*/ 95 h 95"/>
              <a:gd name="T8" fmla="*/ 16 w 83"/>
              <a:gd name="T9" fmla="*/ 89 h 95"/>
              <a:gd name="T10" fmla="*/ 35 w 83"/>
              <a:gd name="T11" fmla="*/ 35 h 95"/>
              <a:gd name="T12" fmla="*/ 42 w 83"/>
              <a:gd name="T13" fmla="*/ 18 h 95"/>
              <a:gd name="T14" fmla="*/ 44 w 83"/>
              <a:gd name="T15" fmla="*/ 45 h 95"/>
              <a:gd name="T16" fmla="*/ 39 w 83"/>
              <a:gd name="T17" fmla="*/ 50 h 95"/>
              <a:gd name="T18" fmla="*/ 45 w 83"/>
              <a:gd name="T19" fmla="*/ 50 h 95"/>
              <a:gd name="T20" fmla="*/ 48 w 83"/>
              <a:gd name="T21" fmla="*/ 58 h 95"/>
              <a:gd name="T22" fmla="*/ 50 w 83"/>
              <a:gd name="T23" fmla="*/ 64 h 95"/>
              <a:gd name="T24" fmla="*/ 54 w 83"/>
              <a:gd name="T25" fmla="*/ 73 h 95"/>
              <a:gd name="T26" fmla="*/ 56 w 83"/>
              <a:gd name="T27" fmla="*/ 79 h 95"/>
              <a:gd name="T28" fmla="*/ 58 w 83"/>
              <a:gd name="T29" fmla="*/ 86 h 95"/>
              <a:gd name="T30" fmla="*/ 29 w 83"/>
              <a:gd name="T31" fmla="*/ 86 h 95"/>
              <a:gd name="T32" fmla="*/ 29 w 83"/>
              <a:gd name="T33" fmla="*/ 78 h 95"/>
              <a:gd name="T34" fmla="*/ 29 w 83"/>
              <a:gd name="T35" fmla="*/ 86 h 95"/>
              <a:gd name="T36" fmla="*/ 43 w 83"/>
              <a:gd name="T37" fmla="*/ 63 h 95"/>
              <a:gd name="T38" fmla="*/ 31 w 83"/>
              <a:gd name="T39" fmla="*/ 70 h 95"/>
              <a:gd name="T40" fmla="*/ 67 w 83"/>
              <a:gd name="T41" fmla="*/ 6 h 95"/>
              <a:gd name="T42" fmla="*/ 66 w 83"/>
              <a:gd name="T43" fmla="*/ 49 h 95"/>
              <a:gd name="T44" fmla="*/ 83 w 83"/>
              <a:gd name="T45" fmla="*/ 28 h 95"/>
              <a:gd name="T46" fmla="*/ 11 w 83"/>
              <a:gd name="T47" fmla="*/ 55 h 95"/>
              <a:gd name="T48" fmla="*/ 9 w 83"/>
              <a:gd name="T49" fmla="*/ 28 h 95"/>
              <a:gd name="T50" fmla="*/ 10 w 83"/>
              <a:gd name="T51" fmla="*/ 1 h 95"/>
              <a:gd name="T52" fmla="*/ 11 w 83"/>
              <a:gd name="T53" fmla="*/ 55 h 95"/>
              <a:gd name="T54" fmla="*/ 55 w 83"/>
              <a:gd name="T55" fmla="*/ 16 h 95"/>
              <a:gd name="T56" fmla="*/ 55 w 83"/>
              <a:gd name="T57" fmla="*/ 39 h 95"/>
              <a:gd name="T58" fmla="*/ 68 w 83"/>
              <a:gd name="T59" fmla="*/ 28 h 95"/>
              <a:gd name="T60" fmla="*/ 22 w 83"/>
              <a:gd name="T61" fmla="*/ 45 h 95"/>
              <a:gd name="T62" fmla="*/ 24 w 83"/>
              <a:gd name="T63" fmla="*/ 28 h 95"/>
              <a:gd name="T64" fmla="*/ 22 w 83"/>
              <a:gd name="T65" fmla="*/ 10 h 95"/>
              <a:gd name="T66" fmla="*/ 22 w 83"/>
              <a:gd name="T67" fmla="*/ 45 h 9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83"/>
              <a:gd name="T103" fmla="*/ 0 h 95"/>
              <a:gd name="T104" fmla="*/ 83 w 83"/>
              <a:gd name="T105" fmla="*/ 95 h 95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83" h="95">
                <a:moveTo>
                  <a:pt x="42" y="18"/>
                </a:moveTo>
                <a:cubicBezTo>
                  <a:pt x="47" y="18"/>
                  <a:pt x="51" y="22"/>
                  <a:pt x="51" y="28"/>
                </a:cubicBezTo>
                <a:cubicBezTo>
                  <a:pt x="51" y="30"/>
                  <a:pt x="50" y="33"/>
                  <a:pt x="49" y="34"/>
                </a:cubicBezTo>
                <a:cubicBezTo>
                  <a:pt x="57" y="58"/>
                  <a:pt x="57" y="58"/>
                  <a:pt x="57" y="58"/>
                </a:cubicBezTo>
                <a:cubicBezTo>
                  <a:pt x="68" y="89"/>
                  <a:pt x="68" y="89"/>
                  <a:pt x="68" y="89"/>
                </a:cubicBezTo>
                <a:cubicBezTo>
                  <a:pt x="70" y="95"/>
                  <a:pt x="70" y="95"/>
                  <a:pt x="70" y="95"/>
                </a:cubicBezTo>
                <a:cubicBezTo>
                  <a:pt x="64" y="95"/>
                  <a:pt x="64" y="95"/>
                  <a:pt x="64" y="95"/>
                </a:cubicBezTo>
                <a:cubicBezTo>
                  <a:pt x="26" y="95"/>
                  <a:pt x="56" y="95"/>
                  <a:pt x="20" y="95"/>
                </a:cubicBezTo>
                <a:cubicBezTo>
                  <a:pt x="14" y="95"/>
                  <a:pt x="14" y="95"/>
                  <a:pt x="14" y="95"/>
                </a:cubicBezTo>
                <a:cubicBezTo>
                  <a:pt x="16" y="89"/>
                  <a:pt x="16" y="89"/>
                  <a:pt x="16" y="89"/>
                </a:cubicBezTo>
                <a:cubicBezTo>
                  <a:pt x="27" y="58"/>
                  <a:pt x="27" y="58"/>
                  <a:pt x="27" y="58"/>
                </a:cubicBezTo>
                <a:cubicBezTo>
                  <a:pt x="35" y="35"/>
                  <a:pt x="35" y="35"/>
                  <a:pt x="35" y="35"/>
                </a:cubicBezTo>
                <a:cubicBezTo>
                  <a:pt x="33" y="33"/>
                  <a:pt x="32" y="30"/>
                  <a:pt x="32" y="28"/>
                </a:cubicBezTo>
                <a:cubicBezTo>
                  <a:pt x="32" y="22"/>
                  <a:pt x="36" y="18"/>
                  <a:pt x="42" y="18"/>
                </a:cubicBezTo>
                <a:close/>
                <a:moveTo>
                  <a:pt x="44" y="46"/>
                </a:moveTo>
                <a:cubicBezTo>
                  <a:pt x="44" y="45"/>
                  <a:pt x="44" y="45"/>
                  <a:pt x="44" y="45"/>
                </a:cubicBezTo>
                <a:cubicBezTo>
                  <a:pt x="42" y="41"/>
                  <a:pt x="42" y="41"/>
                  <a:pt x="42" y="41"/>
                </a:cubicBezTo>
                <a:cubicBezTo>
                  <a:pt x="39" y="50"/>
                  <a:pt x="39" y="50"/>
                  <a:pt x="39" y="50"/>
                </a:cubicBezTo>
                <a:cubicBezTo>
                  <a:pt x="44" y="46"/>
                  <a:pt x="44" y="46"/>
                  <a:pt x="44" y="46"/>
                </a:cubicBezTo>
                <a:close/>
                <a:moveTo>
                  <a:pt x="45" y="50"/>
                </a:moveTo>
                <a:cubicBezTo>
                  <a:pt x="37" y="58"/>
                  <a:pt x="37" y="58"/>
                  <a:pt x="37" y="58"/>
                </a:cubicBezTo>
                <a:cubicBezTo>
                  <a:pt x="48" y="58"/>
                  <a:pt x="48" y="58"/>
                  <a:pt x="48" y="58"/>
                </a:cubicBezTo>
                <a:cubicBezTo>
                  <a:pt x="45" y="50"/>
                  <a:pt x="45" y="50"/>
                  <a:pt x="45" y="50"/>
                </a:cubicBezTo>
                <a:close/>
                <a:moveTo>
                  <a:pt x="50" y="64"/>
                </a:moveTo>
                <a:cubicBezTo>
                  <a:pt x="36" y="73"/>
                  <a:pt x="36" y="73"/>
                  <a:pt x="36" y="73"/>
                </a:cubicBezTo>
                <a:cubicBezTo>
                  <a:pt x="54" y="73"/>
                  <a:pt x="54" y="73"/>
                  <a:pt x="54" y="73"/>
                </a:cubicBezTo>
                <a:cubicBezTo>
                  <a:pt x="50" y="64"/>
                  <a:pt x="50" y="64"/>
                  <a:pt x="50" y="64"/>
                </a:cubicBezTo>
                <a:close/>
                <a:moveTo>
                  <a:pt x="56" y="79"/>
                </a:moveTo>
                <a:cubicBezTo>
                  <a:pt x="40" y="86"/>
                  <a:pt x="40" y="86"/>
                  <a:pt x="40" y="86"/>
                </a:cubicBezTo>
                <a:cubicBezTo>
                  <a:pt x="58" y="86"/>
                  <a:pt x="58" y="86"/>
                  <a:pt x="58" y="86"/>
                </a:cubicBezTo>
                <a:cubicBezTo>
                  <a:pt x="56" y="79"/>
                  <a:pt x="56" y="79"/>
                  <a:pt x="56" y="79"/>
                </a:cubicBezTo>
                <a:close/>
                <a:moveTo>
                  <a:pt x="29" y="86"/>
                </a:moveTo>
                <a:cubicBezTo>
                  <a:pt x="47" y="78"/>
                  <a:pt x="47" y="78"/>
                  <a:pt x="47" y="78"/>
                </a:cubicBezTo>
                <a:cubicBezTo>
                  <a:pt x="29" y="78"/>
                  <a:pt x="29" y="78"/>
                  <a:pt x="29" y="78"/>
                </a:cubicBezTo>
                <a:cubicBezTo>
                  <a:pt x="26" y="86"/>
                  <a:pt x="26" y="86"/>
                  <a:pt x="26" y="86"/>
                </a:cubicBezTo>
                <a:cubicBezTo>
                  <a:pt x="29" y="86"/>
                  <a:pt x="29" y="86"/>
                  <a:pt x="29" y="86"/>
                </a:cubicBezTo>
                <a:close/>
                <a:moveTo>
                  <a:pt x="31" y="70"/>
                </a:moveTo>
                <a:cubicBezTo>
                  <a:pt x="43" y="63"/>
                  <a:pt x="43" y="63"/>
                  <a:pt x="43" y="63"/>
                </a:cubicBezTo>
                <a:cubicBezTo>
                  <a:pt x="34" y="63"/>
                  <a:pt x="34" y="63"/>
                  <a:pt x="34" y="63"/>
                </a:cubicBezTo>
                <a:cubicBezTo>
                  <a:pt x="31" y="70"/>
                  <a:pt x="31" y="70"/>
                  <a:pt x="31" y="70"/>
                </a:cubicBezTo>
                <a:close/>
                <a:moveTo>
                  <a:pt x="73" y="0"/>
                </a:moveTo>
                <a:cubicBezTo>
                  <a:pt x="67" y="6"/>
                  <a:pt x="67" y="6"/>
                  <a:pt x="67" y="6"/>
                </a:cubicBezTo>
                <a:cubicBezTo>
                  <a:pt x="72" y="12"/>
                  <a:pt x="75" y="19"/>
                  <a:pt x="75" y="28"/>
                </a:cubicBezTo>
                <a:cubicBezTo>
                  <a:pt x="75" y="36"/>
                  <a:pt x="71" y="44"/>
                  <a:pt x="66" y="49"/>
                </a:cubicBezTo>
                <a:cubicBezTo>
                  <a:pt x="73" y="55"/>
                  <a:pt x="73" y="55"/>
                  <a:pt x="73" y="55"/>
                </a:cubicBezTo>
                <a:cubicBezTo>
                  <a:pt x="79" y="48"/>
                  <a:pt x="83" y="38"/>
                  <a:pt x="83" y="28"/>
                </a:cubicBezTo>
                <a:cubicBezTo>
                  <a:pt x="83" y="17"/>
                  <a:pt x="79" y="8"/>
                  <a:pt x="73" y="0"/>
                </a:cubicBezTo>
                <a:close/>
                <a:moveTo>
                  <a:pt x="11" y="55"/>
                </a:moveTo>
                <a:cubicBezTo>
                  <a:pt x="17" y="49"/>
                  <a:pt x="17" y="49"/>
                  <a:pt x="17" y="49"/>
                </a:cubicBezTo>
                <a:cubicBezTo>
                  <a:pt x="12" y="44"/>
                  <a:pt x="9" y="36"/>
                  <a:pt x="9" y="28"/>
                </a:cubicBezTo>
                <a:cubicBezTo>
                  <a:pt x="9" y="19"/>
                  <a:pt x="12" y="12"/>
                  <a:pt x="17" y="6"/>
                </a:cubicBezTo>
                <a:cubicBezTo>
                  <a:pt x="10" y="1"/>
                  <a:pt x="10" y="1"/>
                  <a:pt x="10" y="1"/>
                </a:cubicBezTo>
                <a:cubicBezTo>
                  <a:pt x="4" y="8"/>
                  <a:pt x="0" y="17"/>
                  <a:pt x="0" y="28"/>
                </a:cubicBezTo>
                <a:cubicBezTo>
                  <a:pt x="0" y="38"/>
                  <a:pt x="4" y="47"/>
                  <a:pt x="11" y="55"/>
                </a:cubicBezTo>
                <a:close/>
                <a:moveTo>
                  <a:pt x="61" y="10"/>
                </a:moveTo>
                <a:cubicBezTo>
                  <a:pt x="55" y="16"/>
                  <a:pt x="55" y="16"/>
                  <a:pt x="55" y="16"/>
                </a:cubicBezTo>
                <a:cubicBezTo>
                  <a:pt x="58" y="19"/>
                  <a:pt x="59" y="23"/>
                  <a:pt x="59" y="28"/>
                </a:cubicBezTo>
                <a:cubicBezTo>
                  <a:pt x="59" y="32"/>
                  <a:pt x="57" y="36"/>
                  <a:pt x="55" y="39"/>
                </a:cubicBezTo>
                <a:cubicBezTo>
                  <a:pt x="61" y="45"/>
                  <a:pt x="61" y="45"/>
                  <a:pt x="61" y="45"/>
                </a:cubicBezTo>
                <a:cubicBezTo>
                  <a:pt x="65" y="40"/>
                  <a:pt x="68" y="34"/>
                  <a:pt x="68" y="28"/>
                </a:cubicBezTo>
                <a:cubicBezTo>
                  <a:pt x="68" y="21"/>
                  <a:pt x="65" y="15"/>
                  <a:pt x="61" y="10"/>
                </a:cubicBezTo>
                <a:close/>
                <a:moveTo>
                  <a:pt x="22" y="45"/>
                </a:moveTo>
                <a:cubicBezTo>
                  <a:pt x="29" y="39"/>
                  <a:pt x="29" y="39"/>
                  <a:pt x="29" y="39"/>
                </a:cubicBezTo>
                <a:cubicBezTo>
                  <a:pt x="26" y="36"/>
                  <a:pt x="24" y="32"/>
                  <a:pt x="24" y="28"/>
                </a:cubicBezTo>
                <a:cubicBezTo>
                  <a:pt x="24" y="23"/>
                  <a:pt x="26" y="19"/>
                  <a:pt x="29" y="16"/>
                </a:cubicBezTo>
                <a:cubicBezTo>
                  <a:pt x="22" y="10"/>
                  <a:pt x="22" y="10"/>
                  <a:pt x="22" y="10"/>
                </a:cubicBezTo>
                <a:cubicBezTo>
                  <a:pt x="18" y="15"/>
                  <a:pt x="16" y="21"/>
                  <a:pt x="16" y="28"/>
                </a:cubicBezTo>
                <a:cubicBezTo>
                  <a:pt x="16" y="34"/>
                  <a:pt x="18" y="40"/>
                  <a:pt x="22" y="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7" name="Freeform 102"/>
          <p:cNvSpPr>
            <a:spLocks noEditPoints="1" noChangeArrowheads="1"/>
          </p:cNvSpPr>
          <p:nvPr/>
        </p:nvSpPr>
        <p:spPr bwMode="auto">
          <a:xfrm>
            <a:off x="4544484" y="1458385"/>
            <a:ext cx="465667" cy="478367"/>
          </a:xfrm>
          <a:custGeom>
            <a:avLst/>
            <a:gdLst>
              <a:gd name="T0" fmla="*/ 19 w 104"/>
              <a:gd name="T1" fmla="*/ 40 h 107"/>
              <a:gd name="T2" fmla="*/ 25 w 104"/>
              <a:gd name="T3" fmla="*/ 35 h 107"/>
              <a:gd name="T4" fmla="*/ 27 w 104"/>
              <a:gd name="T5" fmla="*/ 26 h 107"/>
              <a:gd name="T6" fmla="*/ 37 w 104"/>
              <a:gd name="T7" fmla="*/ 26 h 107"/>
              <a:gd name="T8" fmla="*/ 42 w 104"/>
              <a:gd name="T9" fmla="*/ 22 h 107"/>
              <a:gd name="T10" fmla="*/ 44 w 104"/>
              <a:gd name="T11" fmla="*/ 13 h 107"/>
              <a:gd name="T12" fmla="*/ 54 w 104"/>
              <a:gd name="T13" fmla="*/ 13 h 107"/>
              <a:gd name="T14" fmla="*/ 60 w 104"/>
              <a:gd name="T15" fmla="*/ 8 h 107"/>
              <a:gd name="T16" fmla="*/ 62 w 104"/>
              <a:gd name="T17" fmla="*/ 0 h 107"/>
              <a:gd name="T18" fmla="*/ 99 w 104"/>
              <a:gd name="T19" fmla="*/ 38 h 107"/>
              <a:gd name="T20" fmla="*/ 103 w 104"/>
              <a:gd name="T21" fmla="*/ 47 h 107"/>
              <a:gd name="T22" fmla="*/ 100 w 104"/>
              <a:gd name="T23" fmla="*/ 59 h 107"/>
              <a:gd name="T24" fmla="*/ 37 w 104"/>
              <a:gd name="T25" fmla="*/ 106 h 107"/>
              <a:gd name="T26" fmla="*/ 28 w 104"/>
              <a:gd name="T27" fmla="*/ 104 h 107"/>
              <a:gd name="T28" fmla="*/ 1 w 104"/>
              <a:gd name="T29" fmla="*/ 70 h 107"/>
              <a:gd name="T30" fmla="*/ 1 w 104"/>
              <a:gd name="T31" fmla="*/ 66 h 107"/>
              <a:gd name="T32" fmla="*/ 8 w 104"/>
              <a:gd name="T33" fmla="*/ 52 h 107"/>
              <a:gd name="T34" fmla="*/ 33 w 104"/>
              <a:gd name="T35" fmla="*/ 83 h 107"/>
              <a:gd name="T36" fmla="*/ 10 w 104"/>
              <a:gd name="T37" fmla="*/ 64 h 107"/>
              <a:gd name="T38" fmla="*/ 32 w 104"/>
              <a:gd name="T39" fmla="*/ 99 h 107"/>
              <a:gd name="T40" fmla="*/ 39 w 104"/>
              <a:gd name="T41" fmla="*/ 98 h 107"/>
              <a:gd name="T42" fmla="*/ 37 w 104"/>
              <a:gd name="T43" fmla="*/ 84 h 107"/>
              <a:gd name="T44" fmla="*/ 11 w 104"/>
              <a:gd name="T45" fmla="*/ 50 h 107"/>
              <a:gd name="T46" fmla="*/ 16 w 104"/>
              <a:gd name="T47" fmla="*/ 42 h 107"/>
              <a:gd name="T48" fmla="*/ 40 w 104"/>
              <a:gd name="T49" fmla="*/ 64 h 107"/>
              <a:gd name="T50" fmla="*/ 66 w 104"/>
              <a:gd name="T51" fmla="*/ 18 h 107"/>
              <a:gd name="T52" fmla="*/ 67 w 104"/>
              <a:gd name="T53" fmla="*/ 59 h 107"/>
              <a:gd name="T54" fmla="*/ 88 w 104"/>
              <a:gd name="T55" fmla="*/ 48 h 107"/>
              <a:gd name="T56" fmla="*/ 67 w 104"/>
              <a:gd name="T57" fmla="*/ 59 h 107"/>
              <a:gd name="T58" fmla="*/ 49 w 104"/>
              <a:gd name="T59" fmla="*/ 79 h 107"/>
              <a:gd name="T60" fmla="*/ 64 w 104"/>
              <a:gd name="T61" fmla="*/ 61 h 107"/>
              <a:gd name="T62" fmla="*/ 63 w 104"/>
              <a:gd name="T63" fmla="*/ 52 h 107"/>
              <a:gd name="T64" fmla="*/ 84 w 104"/>
              <a:gd name="T65" fmla="*/ 42 h 107"/>
              <a:gd name="T66" fmla="*/ 63 w 104"/>
              <a:gd name="T67" fmla="*/ 52 h 107"/>
              <a:gd name="T68" fmla="*/ 45 w 104"/>
              <a:gd name="T69" fmla="*/ 72 h 107"/>
              <a:gd name="T70" fmla="*/ 60 w 104"/>
              <a:gd name="T71" fmla="*/ 54 h 107"/>
              <a:gd name="T72" fmla="*/ 69 w 104"/>
              <a:gd name="T73" fmla="*/ 10 h 107"/>
              <a:gd name="T74" fmla="*/ 42 w 104"/>
              <a:gd name="T75" fmla="*/ 80 h 107"/>
              <a:gd name="T76" fmla="*/ 47 w 104"/>
              <a:gd name="T77" fmla="*/ 90 h 107"/>
              <a:gd name="T78" fmla="*/ 95 w 104"/>
              <a:gd name="T79" fmla="*/ 54 h 107"/>
              <a:gd name="T80" fmla="*/ 94 w 104"/>
              <a:gd name="T81" fmla="*/ 42 h 107"/>
              <a:gd name="T82" fmla="*/ 69 w 104"/>
              <a:gd name="T83" fmla="*/ 10 h 10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04"/>
              <a:gd name="T127" fmla="*/ 0 h 107"/>
              <a:gd name="T128" fmla="*/ 104 w 104"/>
              <a:gd name="T129" fmla="*/ 107 h 10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04" h="107">
                <a:moveTo>
                  <a:pt x="16" y="42"/>
                </a:moveTo>
                <a:cubicBezTo>
                  <a:pt x="19" y="40"/>
                  <a:pt x="19" y="40"/>
                  <a:pt x="19" y="40"/>
                </a:cubicBezTo>
                <a:cubicBezTo>
                  <a:pt x="19" y="33"/>
                  <a:pt x="19" y="33"/>
                  <a:pt x="19" y="33"/>
                </a:cubicBezTo>
                <a:cubicBezTo>
                  <a:pt x="25" y="35"/>
                  <a:pt x="25" y="35"/>
                  <a:pt x="25" y="35"/>
                </a:cubicBezTo>
                <a:cubicBezTo>
                  <a:pt x="28" y="33"/>
                  <a:pt x="28" y="33"/>
                  <a:pt x="28" y="33"/>
                </a:cubicBezTo>
                <a:cubicBezTo>
                  <a:pt x="27" y="26"/>
                  <a:pt x="27" y="26"/>
                  <a:pt x="27" y="26"/>
                </a:cubicBezTo>
                <a:cubicBezTo>
                  <a:pt x="34" y="29"/>
                  <a:pt x="34" y="29"/>
                  <a:pt x="34" y="29"/>
                </a:cubicBezTo>
                <a:cubicBezTo>
                  <a:pt x="37" y="26"/>
                  <a:pt x="37" y="26"/>
                  <a:pt x="37" y="26"/>
                </a:cubicBezTo>
                <a:cubicBezTo>
                  <a:pt x="36" y="20"/>
                  <a:pt x="36" y="20"/>
                  <a:pt x="36" y="20"/>
                </a:cubicBezTo>
                <a:cubicBezTo>
                  <a:pt x="42" y="22"/>
                  <a:pt x="42" y="22"/>
                  <a:pt x="42" y="22"/>
                </a:cubicBezTo>
                <a:cubicBezTo>
                  <a:pt x="45" y="19"/>
                  <a:pt x="45" y="19"/>
                  <a:pt x="45" y="19"/>
                </a:cubicBezTo>
                <a:cubicBezTo>
                  <a:pt x="44" y="13"/>
                  <a:pt x="44" y="13"/>
                  <a:pt x="44" y="13"/>
                </a:cubicBezTo>
                <a:cubicBezTo>
                  <a:pt x="51" y="15"/>
                  <a:pt x="51" y="15"/>
                  <a:pt x="51" y="15"/>
                </a:cubicBezTo>
                <a:cubicBezTo>
                  <a:pt x="54" y="13"/>
                  <a:pt x="54" y="13"/>
                  <a:pt x="54" y="13"/>
                </a:cubicBezTo>
                <a:cubicBezTo>
                  <a:pt x="53" y="6"/>
                  <a:pt x="53" y="6"/>
                  <a:pt x="53" y="6"/>
                </a:cubicBezTo>
                <a:cubicBezTo>
                  <a:pt x="60" y="8"/>
                  <a:pt x="60" y="8"/>
                  <a:pt x="60" y="8"/>
                </a:cubicBezTo>
                <a:cubicBezTo>
                  <a:pt x="63" y="6"/>
                  <a:pt x="63" y="6"/>
                  <a:pt x="63" y="6"/>
                </a:cubicBezTo>
                <a:cubicBezTo>
                  <a:pt x="62" y="0"/>
                  <a:pt x="62" y="0"/>
                  <a:pt x="62" y="0"/>
                </a:cubicBezTo>
                <a:cubicBezTo>
                  <a:pt x="72" y="3"/>
                  <a:pt x="72" y="3"/>
                  <a:pt x="72" y="3"/>
                </a:cubicBezTo>
                <a:cubicBezTo>
                  <a:pt x="99" y="38"/>
                  <a:pt x="99" y="38"/>
                  <a:pt x="99" y="38"/>
                </a:cubicBezTo>
                <a:cubicBezTo>
                  <a:pt x="99" y="38"/>
                  <a:pt x="99" y="38"/>
                  <a:pt x="99" y="38"/>
                </a:cubicBezTo>
                <a:cubicBezTo>
                  <a:pt x="102" y="41"/>
                  <a:pt x="103" y="44"/>
                  <a:pt x="103" y="47"/>
                </a:cubicBezTo>
                <a:cubicBezTo>
                  <a:pt x="104" y="51"/>
                  <a:pt x="103" y="54"/>
                  <a:pt x="101" y="58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44" y="102"/>
                  <a:pt x="44" y="102"/>
                  <a:pt x="44" y="102"/>
                </a:cubicBezTo>
                <a:cubicBezTo>
                  <a:pt x="42" y="104"/>
                  <a:pt x="40" y="106"/>
                  <a:pt x="37" y="106"/>
                </a:cubicBezTo>
                <a:cubicBezTo>
                  <a:pt x="34" y="107"/>
                  <a:pt x="31" y="106"/>
                  <a:pt x="28" y="105"/>
                </a:cubicBezTo>
                <a:cubicBezTo>
                  <a:pt x="28" y="104"/>
                  <a:pt x="28" y="104"/>
                  <a:pt x="28" y="104"/>
                </a:cubicBezTo>
                <a:cubicBezTo>
                  <a:pt x="27" y="104"/>
                  <a:pt x="27" y="104"/>
                  <a:pt x="27" y="104"/>
                </a:cubicBezTo>
                <a:cubicBezTo>
                  <a:pt x="1" y="70"/>
                  <a:pt x="1" y="70"/>
                  <a:pt x="1" y="70"/>
                </a:cubicBezTo>
                <a:cubicBezTo>
                  <a:pt x="0" y="68"/>
                  <a:pt x="0" y="68"/>
                  <a:pt x="0" y="68"/>
                </a:cubicBezTo>
                <a:cubicBezTo>
                  <a:pt x="1" y="66"/>
                  <a:pt x="1" y="66"/>
                  <a:pt x="1" y="66"/>
                </a:cubicBezTo>
                <a:cubicBezTo>
                  <a:pt x="6" y="56"/>
                  <a:pt x="6" y="56"/>
                  <a:pt x="6" y="56"/>
                </a:cubicBezTo>
                <a:cubicBezTo>
                  <a:pt x="8" y="52"/>
                  <a:pt x="8" y="52"/>
                  <a:pt x="8" y="52"/>
                </a:cubicBezTo>
                <a:cubicBezTo>
                  <a:pt x="12" y="56"/>
                  <a:pt x="12" y="56"/>
                  <a:pt x="12" y="56"/>
                </a:cubicBezTo>
                <a:cubicBezTo>
                  <a:pt x="33" y="83"/>
                  <a:pt x="33" y="83"/>
                  <a:pt x="33" y="83"/>
                </a:cubicBezTo>
                <a:cubicBezTo>
                  <a:pt x="27" y="87"/>
                  <a:pt x="27" y="87"/>
                  <a:pt x="27" y="87"/>
                </a:cubicBezTo>
                <a:cubicBezTo>
                  <a:pt x="10" y="64"/>
                  <a:pt x="10" y="64"/>
                  <a:pt x="10" y="64"/>
                </a:cubicBezTo>
                <a:cubicBezTo>
                  <a:pt x="8" y="68"/>
                  <a:pt x="8" y="68"/>
                  <a:pt x="8" y="68"/>
                </a:cubicBezTo>
                <a:cubicBezTo>
                  <a:pt x="32" y="99"/>
                  <a:pt x="32" y="99"/>
                  <a:pt x="32" y="99"/>
                </a:cubicBezTo>
                <a:cubicBezTo>
                  <a:pt x="33" y="100"/>
                  <a:pt x="34" y="100"/>
                  <a:pt x="35" y="99"/>
                </a:cubicBezTo>
                <a:cubicBezTo>
                  <a:pt x="37" y="99"/>
                  <a:pt x="38" y="99"/>
                  <a:pt x="39" y="98"/>
                </a:cubicBezTo>
                <a:cubicBezTo>
                  <a:pt x="40" y="95"/>
                  <a:pt x="40" y="93"/>
                  <a:pt x="40" y="91"/>
                </a:cubicBezTo>
                <a:cubicBezTo>
                  <a:pt x="40" y="88"/>
                  <a:pt x="39" y="86"/>
                  <a:pt x="37" y="84"/>
                </a:cubicBezTo>
                <a:cubicBezTo>
                  <a:pt x="37" y="84"/>
                  <a:pt x="37" y="84"/>
                  <a:pt x="37" y="84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40"/>
                  <a:pt x="10" y="40"/>
                  <a:pt x="10" y="40"/>
                </a:cubicBezTo>
                <a:cubicBezTo>
                  <a:pt x="16" y="42"/>
                  <a:pt x="16" y="42"/>
                  <a:pt x="16" y="42"/>
                </a:cubicBezTo>
                <a:close/>
                <a:moveTo>
                  <a:pt x="28" y="48"/>
                </a:moveTo>
                <a:cubicBezTo>
                  <a:pt x="40" y="64"/>
                  <a:pt x="40" y="64"/>
                  <a:pt x="40" y="64"/>
                </a:cubicBezTo>
                <a:cubicBezTo>
                  <a:pt x="79" y="34"/>
                  <a:pt x="79" y="34"/>
                  <a:pt x="79" y="34"/>
                </a:cubicBezTo>
                <a:cubicBezTo>
                  <a:pt x="66" y="18"/>
                  <a:pt x="66" y="18"/>
                  <a:pt x="66" y="18"/>
                </a:cubicBezTo>
                <a:cubicBezTo>
                  <a:pt x="28" y="48"/>
                  <a:pt x="28" y="48"/>
                  <a:pt x="28" y="48"/>
                </a:cubicBezTo>
                <a:close/>
                <a:moveTo>
                  <a:pt x="67" y="59"/>
                </a:moveTo>
                <a:cubicBezTo>
                  <a:pt x="70" y="62"/>
                  <a:pt x="70" y="62"/>
                  <a:pt x="70" y="62"/>
                </a:cubicBezTo>
                <a:cubicBezTo>
                  <a:pt x="88" y="48"/>
                  <a:pt x="88" y="48"/>
                  <a:pt x="88" y="48"/>
                </a:cubicBezTo>
                <a:cubicBezTo>
                  <a:pt x="85" y="45"/>
                  <a:pt x="85" y="45"/>
                  <a:pt x="85" y="45"/>
                </a:cubicBezTo>
                <a:cubicBezTo>
                  <a:pt x="67" y="59"/>
                  <a:pt x="67" y="59"/>
                  <a:pt x="67" y="59"/>
                </a:cubicBezTo>
                <a:close/>
                <a:moveTo>
                  <a:pt x="46" y="75"/>
                </a:moveTo>
                <a:cubicBezTo>
                  <a:pt x="49" y="79"/>
                  <a:pt x="49" y="79"/>
                  <a:pt x="49" y="79"/>
                </a:cubicBezTo>
                <a:cubicBezTo>
                  <a:pt x="67" y="65"/>
                  <a:pt x="67" y="65"/>
                  <a:pt x="67" y="65"/>
                </a:cubicBezTo>
                <a:cubicBezTo>
                  <a:pt x="64" y="61"/>
                  <a:pt x="64" y="61"/>
                  <a:pt x="64" y="61"/>
                </a:cubicBezTo>
                <a:cubicBezTo>
                  <a:pt x="46" y="75"/>
                  <a:pt x="46" y="75"/>
                  <a:pt x="46" y="75"/>
                </a:cubicBezTo>
                <a:close/>
                <a:moveTo>
                  <a:pt x="63" y="52"/>
                </a:moveTo>
                <a:cubicBezTo>
                  <a:pt x="66" y="56"/>
                  <a:pt x="66" y="56"/>
                  <a:pt x="66" y="56"/>
                </a:cubicBezTo>
                <a:cubicBezTo>
                  <a:pt x="84" y="42"/>
                  <a:pt x="84" y="42"/>
                  <a:pt x="84" y="42"/>
                </a:cubicBezTo>
                <a:cubicBezTo>
                  <a:pt x="81" y="38"/>
                  <a:pt x="81" y="38"/>
                  <a:pt x="81" y="38"/>
                </a:cubicBezTo>
                <a:cubicBezTo>
                  <a:pt x="63" y="52"/>
                  <a:pt x="63" y="52"/>
                  <a:pt x="63" y="52"/>
                </a:cubicBezTo>
                <a:close/>
                <a:moveTo>
                  <a:pt x="42" y="68"/>
                </a:moveTo>
                <a:cubicBezTo>
                  <a:pt x="45" y="72"/>
                  <a:pt x="45" y="72"/>
                  <a:pt x="45" y="72"/>
                </a:cubicBezTo>
                <a:cubicBezTo>
                  <a:pt x="63" y="58"/>
                  <a:pt x="63" y="58"/>
                  <a:pt x="63" y="58"/>
                </a:cubicBezTo>
                <a:cubicBezTo>
                  <a:pt x="60" y="54"/>
                  <a:pt x="60" y="54"/>
                  <a:pt x="60" y="54"/>
                </a:cubicBezTo>
                <a:cubicBezTo>
                  <a:pt x="42" y="68"/>
                  <a:pt x="42" y="68"/>
                  <a:pt x="42" y="68"/>
                </a:cubicBezTo>
                <a:close/>
                <a:moveTo>
                  <a:pt x="69" y="10"/>
                </a:moveTo>
                <a:cubicBezTo>
                  <a:pt x="19" y="49"/>
                  <a:pt x="19" y="49"/>
                  <a:pt x="19" y="49"/>
                </a:cubicBezTo>
                <a:cubicBezTo>
                  <a:pt x="42" y="80"/>
                  <a:pt x="42" y="80"/>
                  <a:pt x="42" y="80"/>
                </a:cubicBezTo>
                <a:cubicBezTo>
                  <a:pt x="42" y="80"/>
                  <a:pt x="42" y="80"/>
                  <a:pt x="42" y="80"/>
                </a:cubicBezTo>
                <a:cubicBezTo>
                  <a:pt x="45" y="83"/>
                  <a:pt x="46" y="86"/>
                  <a:pt x="47" y="90"/>
                </a:cubicBezTo>
                <a:cubicBezTo>
                  <a:pt x="47" y="90"/>
                  <a:pt x="47" y="91"/>
                  <a:pt x="47" y="91"/>
                </a:cubicBezTo>
                <a:cubicBezTo>
                  <a:pt x="95" y="54"/>
                  <a:pt x="95" y="54"/>
                  <a:pt x="95" y="54"/>
                </a:cubicBezTo>
                <a:cubicBezTo>
                  <a:pt x="96" y="52"/>
                  <a:pt x="97" y="50"/>
                  <a:pt x="96" y="48"/>
                </a:cubicBezTo>
                <a:cubicBezTo>
                  <a:pt x="96" y="46"/>
                  <a:pt x="95" y="44"/>
                  <a:pt x="94" y="42"/>
                </a:cubicBezTo>
                <a:cubicBezTo>
                  <a:pt x="94" y="42"/>
                  <a:pt x="94" y="42"/>
                  <a:pt x="94" y="42"/>
                </a:cubicBezTo>
                <a:lnTo>
                  <a:pt x="69" y="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8" name="Freeform 105"/>
          <p:cNvSpPr>
            <a:spLocks noEditPoints="1" noChangeArrowheads="1"/>
          </p:cNvSpPr>
          <p:nvPr/>
        </p:nvSpPr>
        <p:spPr bwMode="auto">
          <a:xfrm>
            <a:off x="2127251" y="1475318"/>
            <a:ext cx="345016" cy="416983"/>
          </a:xfrm>
          <a:custGeom>
            <a:avLst/>
            <a:gdLst>
              <a:gd name="T0" fmla="*/ 0 w 77"/>
              <a:gd name="T1" fmla="*/ 85 h 93"/>
              <a:gd name="T2" fmla="*/ 30 w 77"/>
              <a:gd name="T3" fmla="*/ 20 h 93"/>
              <a:gd name="T4" fmla="*/ 38 w 77"/>
              <a:gd name="T5" fmla="*/ 26 h 93"/>
              <a:gd name="T6" fmla="*/ 39 w 77"/>
              <a:gd name="T7" fmla="*/ 27 h 93"/>
              <a:gd name="T8" fmla="*/ 39 w 77"/>
              <a:gd name="T9" fmla="*/ 27 h 93"/>
              <a:gd name="T10" fmla="*/ 40 w 77"/>
              <a:gd name="T11" fmla="*/ 27 h 93"/>
              <a:gd name="T12" fmla="*/ 40 w 77"/>
              <a:gd name="T13" fmla="*/ 28 h 93"/>
              <a:gd name="T14" fmla="*/ 40 w 77"/>
              <a:gd name="T15" fmla="*/ 28 h 93"/>
              <a:gd name="T16" fmla="*/ 41 w 77"/>
              <a:gd name="T17" fmla="*/ 28 h 93"/>
              <a:gd name="T18" fmla="*/ 41 w 77"/>
              <a:gd name="T19" fmla="*/ 29 h 93"/>
              <a:gd name="T20" fmla="*/ 42 w 77"/>
              <a:gd name="T21" fmla="*/ 29 h 93"/>
              <a:gd name="T22" fmla="*/ 42 w 77"/>
              <a:gd name="T23" fmla="*/ 29 h 93"/>
              <a:gd name="T24" fmla="*/ 43 w 77"/>
              <a:gd name="T25" fmla="*/ 29 h 93"/>
              <a:gd name="T26" fmla="*/ 43 w 77"/>
              <a:gd name="T27" fmla="*/ 30 h 93"/>
              <a:gd name="T28" fmla="*/ 43 w 77"/>
              <a:gd name="T29" fmla="*/ 30 h 93"/>
              <a:gd name="T30" fmla="*/ 48 w 77"/>
              <a:gd name="T31" fmla="*/ 33 h 93"/>
              <a:gd name="T32" fmla="*/ 48 w 77"/>
              <a:gd name="T33" fmla="*/ 33 h 93"/>
              <a:gd name="T34" fmla="*/ 49 w 77"/>
              <a:gd name="T35" fmla="*/ 34 h 93"/>
              <a:gd name="T36" fmla="*/ 49 w 77"/>
              <a:gd name="T37" fmla="*/ 34 h 93"/>
              <a:gd name="T38" fmla="*/ 50 w 77"/>
              <a:gd name="T39" fmla="*/ 34 h 93"/>
              <a:gd name="T40" fmla="*/ 50 w 77"/>
              <a:gd name="T41" fmla="*/ 35 h 93"/>
              <a:gd name="T42" fmla="*/ 50 w 77"/>
              <a:gd name="T43" fmla="*/ 35 h 93"/>
              <a:gd name="T44" fmla="*/ 51 w 77"/>
              <a:gd name="T45" fmla="*/ 35 h 93"/>
              <a:gd name="T46" fmla="*/ 51 w 77"/>
              <a:gd name="T47" fmla="*/ 36 h 93"/>
              <a:gd name="T48" fmla="*/ 52 w 77"/>
              <a:gd name="T49" fmla="*/ 36 h 93"/>
              <a:gd name="T50" fmla="*/ 52 w 77"/>
              <a:gd name="T51" fmla="*/ 36 h 93"/>
              <a:gd name="T52" fmla="*/ 53 w 77"/>
              <a:gd name="T53" fmla="*/ 37 h 93"/>
              <a:gd name="T54" fmla="*/ 53 w 77"/>
              <a:gd name="T55" fmla="*/ 37 h 93"/>
              <a:gd name="T56" fmla="*/ 48 w 77"/>
              <a:gd name="T57" fmla="*/ 79 h 93"/>
              <a:gd name="T58" fmla="*/ 7 w 77"/>
              <a:gd name="T59" fmla="*/ 91 h 93"/>
              <a:gd name="T60" fmla="*/ 35 w 77"/>
              <a:gd name="T61" fmla="*/ 64 h 93"/>
              <a:gd name="T62" fmla="*/ 19 w 77"/>
              <a:gd name="T63" fmla="*/ 53 h 93"/>
              <a:gd name="T64" fmla="*/ 3 w 77"/>
              <a:gd name="T65" fmla="*/ 88 h 93"/>
              <a:gd name="T66" fmla="*/ 73 w 77"/>
              <a:gd name="T67" fmla="*/ 93 h 93"/>
              <a:gd name="T68" fmla="*/ 54 w 77"/>
              <a:gd name="T69" fmla="*/ 83 h 93"/>
              <a:gd name="T70" fmla="*/ 69 w 77"/>
              <a:gd name="T71" fmla="*/ 42 h 93"/>
              <a:gd name="T72" fmla="*/ 34 w 77"/>
              <a:gd name="T73" fmla="*/ 0 h 93"/>
              <a:gd name="T74" fmla="*/ 69 w 77"/>
              <a:gd name="T75" fmla="*/ 42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77"/>
              <a:gd name="T115" fmla="*/ 0 h 93"/>
              <a:gd name="T116" fmla="*/ 77 w 77"/>
              <a:gd name="T117" fmla="*/ 93 h 9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77" h="93">
                <a:moveTo>
                  <a:pt x="3" y="88"/>
                </a:moveTo>
                <a:cubicBezTo>
                  <a:pt x="2" y="87"/>
                  <a:pt x="1" y="86"/>
                  <a:pt x="0" y="85"/>
                </a:cubicBezTo>
                <a:cubicBezTo>
                  <a:pt x="0" y="72"/>
                  <a:pt x="0" y="58"/>
                  <a:pt x="0" y="45"/>
                </a:cubicBezTo>
                <a:cubicBezTo>
                  <a:pt x="12" y="40"/>
                  <a:pt x="21" y="32"/>
                  <a:pt x="30" y="20"/>
                </a:cubicBezTo>
                <a:cubicBezTo>
                  <a:pt x="38" y="26"/>
                  <a:pt x="38" y="26"/>
                  <a:pt x="38" y="26"/>
                </a:cubicBezTo>
                <a:cubicBezTo>
                  <a:pt x="38" y="26"/>
                  <a:pt x="38" y="26"/>
                  <a:pt x="38" y="26"/>
                </a:cubicBezTo>
                <a:cubicBezTo>
                  <a:pt x="38" y="27"/>
                  <a:pt x="38" y="27"/>
                  <a:pt x="38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39" y="27"/>
                  <a:pt x="39" y="27"/>
                  <a:pt x="39" y="27"/>
                </a:cubicBezTo>
                <a:cubicBezTo>
                  <a:pt x="40" y="27"/>
                  <a:pt x="40" y="27"/>
                  <a:pt x="40" y="27"/>
                </a:cubicBezTo>
                <a:cubicBezTo>
                  <a:pt x="40" y="27"/>
                  <a:pt x="40" y="27"/>
                  <a:pt x="40" y="27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9"/>
                  <a:pt x="41" y="29"/>
                  <a:pt x="41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2" y="29"/>
                  <a:pt x="42" y="29"/>
                  <a:pt x="42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30"/>
                  <a:pt x="43" y="30"/>
                  <a:pt x="43" y="30"/>
                </a:cubicBezTo>
                <a:cubicBezTo>
                  <a:pt x="43" y="30"/>
                  <a:pt x="43" y="30"/>
                  <a:pt x="43" y="30"/>
                </a:cubicBezTo>
                <a:cubicBezTo>
                  <a:pt x="44" y="30"/>
                  <a:pt x="44" y="30"/>
                  <a:pt x="44" y="30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4"/>
                  <a:pt x="48" y="34"/>
                  <a:pt x="48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49" y="34"/>
                  <a:pt x="49" y="34"/>
                  <a:pt x="49" y="34"/>
                </a:cubicBezTo>
                <a:cubicBezTo>
                  <a:pt x="50" y="34"/>
                  <a:pt x="50" y="34"/>
                  <a:pt x="50" y="34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5"/>
                  <a:pt x="51" y="35"/>
                  <a:pt x="51" y="35"/>
                </a:cubicBezTo>
                <a:cubicBezTo>
                  <a:pt x="51" y="36"/>
                  <a:pt x="51" y="36"/>
                  <a:pt x="51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3" y="37"/>
                  <a:pt x="53" y="37"/>
                  <a:pt x="53" y="37"/>
                </a:cubicBezTo>
                <a:cubicBezTo>
                  <a:pt x="53" y="37"/>
                  <a:pt x="53" y="37"/>
                  <a:pt x="53" y="37"/>
                </a:cubicBezTo>
                <a:cubicBezTo>
                  <a:pt x="53" y="37"/>
                  <a:pt x="53" y="37"/>
                  <a:pt x="53" y="37"/>
                </a:cubicBezTo>
                <a:cubicBezTo>
                  <a:pt x="62" y="43"/>
                  <a:pt x="62" y="43"/>
                  <a:pt x="62" y="43"/>
                </a:cubicBezTo>
                <a:cubicBezTo>
                  <a:pt x="53" y="55"/>
                  <a:pt x="49" y="67"/>
                  <a:pt x="48" y="79"/>
                </a:cubicBezTo>
                <a:cubicBezTo>
                  <a:pt x="36" y="84"/>
                  <a:pt x="23" y="88"/>
                  <a:pt x="11" y="93"/>
                </a:cubicBezTo>
                <a:cubicBezTo>
                  <a:pt x="9" y="92"/>
                  <a:pt x="8" y="91"/>
                  <a:pt x="7" y="91"/>
                </a:cubicBezTo>
                <a:cubicBezTo>
                  <a:pt x="23" y="68"/>
                  <a:pt x="23" y="68"/>
                  <a:pt x="23" y="68"/>
                </a:cubicBezTo>
                <a:cubicBezTo>
                  <a:pt x="27" y="69"/>
                  <a:pt x="32" y="68"/>
                  <a:pt x="35" y="64"/>
                </a:cubicBezTo>
                <a:cubicBezTo>
                  <a:pt x="38" y="60"/>
                  <a:pt x="37" y="54"/>
                  <a:pt x="32" y="51"/>
                </a:cubicBezTo>
                <a:cubicBezTo>
                  <a:pt x="28" y="47"/>
                  <a:pt x="22" y="49"/>
                  <a:pt x="19" y="53"/>
                </a:cubicBezTo>
                <a:cubicBezTo>
                  <a:pt x="16" y="57"/>
                  <a:pt x="16" y="62"/>
                  <a:pt x="19" y="65"/>
                </a:cubicBezTo>
                <a:cubicBezTo>
                  <a:pt x="3" y="88"/>
                  <a:pt x="3" y="88"/>
                  <a:pt x="3" y="88"/>
                </a:cubicBezTo>
                <a:close/>
                <a:moveTo>
                  <a:pt x="27" y="93"/>
                </a:moveTo>
                <a:cubicBezTo>
                  <a:pt x="73" y="93"/>
                  <a:pt x="73" y="93"/>
                  <a:pt x="73" y="93"/>
                </a:cubicBezTo>
                <a:cubicBezTo>
                  <a:pt x="73" y="83"/>
                  <a:pt x="73" y="83"/>
                  <a:pt x="73" y="83"/>
                </a:cubicBezTo>
                <a:cubicBezTo>
                  <a:pt x="54" y="83"/>
                  <a:pt x="54" y="83"/>
                  <a:pt x="54" y="83"/>
                </a:cubicBezTo>
                <a:cubicBezTo>
                  <a:pt x="27" y="93"/>
                  <a:pt x="27" y="93"/>
                  <a:pt x="27" y="93"/>
                </a:cubicBezTo>
                <a:close/>
                <a:moveTo>
                  <a:pt x="69" y="42"/>
                </a:moveTo>
                <a:cubicBezTo>
                  <a:pt x="77" y="31"/>
                  <a:pt x="77" y="31"/>
                  <a:pt x="77" y="31"/>
                </a:cubicBezTo>
                <a:cubicBezTo>
                  <a:pt x="34" y="0"/>
                  <a:pt x="34" y="0"/>
                  <a:pt x="34" y="0"/>
                </a:cubicBezTo>
                <a:cubicBezTo>
                  <a:pt x="26" y="12"/>
                  <a:pt x="26" y="12"/>
                  <a:pt x="26" y="12"/>
                </a:cubicBezTo>
                <a:lnTo>
                  <a:pt x="69" y="4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29" name="Freeform 106"/>
          <p:cNvSpPr>
            <a:spLocks noChangeArrowheads="1"/>
          </p:cNvSpPr>
          <p:nvPr/>
        </p:nvSpPr>
        <p:spPr bwMode="auto">
          <a:xfrm>
            <a:off x="2967567" y="1458385"/>
            <a:ext cx="277284" cy="510116"/>
          </a:xfrm>
          <a:custGeom>
            <a:avLst/>
            <a:gdLst>
              <a:gd name="T0" fmla="*/ 62 w 147"/>
              <a:gd name="T1" fmla="*/ 0 h 269"/>
              <a:gd name="T2" fmla="*/ 133 w 147"/>
              <a:gd name="T3" fmla="*/ 0 h 269"/>
              <a:gd name="T4" fmla="*/ 133 w 147"/>
              <a:gd name="T5" fmla="*/ 44 h 269"/>
              <a:gd name="T6" fmla="*/ 118 w 147"/>
              <a:gd name="T7" fmla="*/ 44 h 269"/>
              <a:gd name="T8" fmla="*/ 147 w 147"/>
              <a:gd name="T9" fmla="*/ 222 h 269"/>
              <a:gd name="T10" fmla="*/ 99 w 147"/>
              <a:gd name="T11" fmla="*/ 269 h 269"/>
              <a:gd name="T12" fmla="*/ 45 w 147"/>
              <a:gd name="T13" fmla="*/ 224 h 269"/>
              <a:gd name="T14" fmla="*/ 62 w 147"/>
              <a:gd name="T15" fmla="*/ 127 h 269"/>
              <a:gd name="T16" fmla="*/ 12 w 147"/>
              <a:gd name="T17" fmla="*/ 170 h 269"/>
              <a:gd name="T18" fmla="*/ 0 w 147"/>
              <a:gd name="T19" fmla="*/ 153 h 269"/>
              <a:gd name="T20" fmla="*/ 71 w 147"/>
              <a:gd name="T21" fmla="*/ 77 h 269"/>
              <a:gd name="T22" fmla="*/ 76 w 147"/>
              <a:gd name="T23" fmla="*/ 44 h 269"/>
              <a:gd name="T24" fmla="*/ 62 w 147"/>
              <a:gd name="T25" fmla="*/ 44 h 269"/>
              <a:gd name="T26" fmla="*/ 62 w 147"/>
              <a:gd name="T27" fmla="*/ 0 h 26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47"/>
              <a:gd name="T43" fmla="*/ 0 h 269"/>
              <a:gd name="T44" fmla="*/ 147 w 147"/>
              <a:gd name="T45" fmla="*/ 269 h 26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47" h="269">
                <a:moveTo>
                  <a:pt x="62" y="0"/>
                </a:moveTo>
                <a:lnTo>
                  <a:pt x="133" y="0"/>
                </a:lnTo>
                <a:lnTo>
                  <a:pt x="133" y="44"/>
                </a:lnTo>
                <a:lnTo>
                  <a:pt x="118" y="44"/>
                </a:lnTo>
                <a:lnTo>
                  <a:pt x="147" y="222"/>
                </a:lnTo>
                <a:lnTo>
                  <a:pt x="99" y="269"/>
                </a:lnTo>
                <a:lnTo>
                  <a:pt x="45" y="224"/>
                </a:lnTo>
                <a:lnTo>
                  <a:pt x="62" y="127"/>
                </a:lnTo>
                <a:lnTo>
                  <a:pt x="12" y="170"/>
                </a:lnTo>
                <a:lnTo>
                  <a:pt x="0" y="153"/>
                </a:lnTo>
                <a:lnTo>
                  <a:pt x="71" y="77"/>
                </a:lnTo>
                <a:lnTo>
                  <a:pt x="76" y="44"/>
                </a:lnTo>
                <a:lnTo>
                  <a:pt x="62" y="44"/>
                </a:lnTo>
                <a:lnTo>
                  <a:pt x="6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30" name="Freeform 10"/>
          <p:cNvSpPr>
            <a:spLocks noEditPoints="1" noChangeArrowheads="1"/>
          </p:cNvSpPr>
          <p:nvPr/>
        </p:nvSpPr>
        <p:spPr bwMode="auto">
          <a:xfrm>
            <a:off x="1331384" y="4781551"/>
            <a:ext cx="446616" cy="393700"/>
          </a:xfrm>
          <a:custGeom>
            <a:avLst/>
            <a:gdLst>
              <a:gd name="T0" fmla="*/ 55 w 100"/>
              <a:gd name="T1" fmla="*/ 4 h 88"/>
              <a:gd name="T2" fmla="*/ 76 w 100"/>
              <a:gd name="T3" fmla="*/ 41 h 88"/>
              <a:gd name="T4" fmla="*/ 76 w 100"/>
              <a:gd name="T5" fmla="*/ 41 h 88"/>
              <a:gd name="T6" fmla="*/ 98 w 100"/>
              <a:gd name="T7" fmla="*/ 79 h 88"/>
              <a:gd name="T8" fmla="*/ 96 w 100"/>
              <a:gd name="T9" fmla="*/ 87 h 88"/>
              <a:gd name="T10" fmla="*/ 92 w 100"/>
              <a:gd name="T11" fmla="*/ 88 h 88"/>
              <a:gd name="T12" fmla="*/ 92 w 100"/>
              <a:gd name="T13" fmla="*/ 88 h 88"/>
              <a:gd name="T14" fmla="*/ 49 w 100"/>
              <a:gd name="T15" fmla="*/ 88 h 88"/>
              <a:gd name="T16" fmla="*/ 7 w 100"/>
              <a:gd name="T17" fmla="*/ 88 h 88"/>
              <a:gd name="T18" fmla="*/ 0 w 100"/>
              <a:gd name="T19" fmla="*/ 82 h 88"/>
              <a:gd name="T20" fmla="*/ 1 w 100"/>
              <a:gd name="T21" fmla="*/ 78 h 88"/>
              <a:gd name="T22" fmla="*/ 23 w 100"/>
              <a:gd name="T23" fmla="*/ 41 h 88"/>
              <a:gd name="T24" fmla="*/ 23 w 100"/>
              <a:gd name="T25" fmla="*/ 41 h 88"/>
              <a:gd name="T26" fmla="*/ 44 w 100"/>
              <a:gd name="T27" fmla="*/ 4 h 88"/>
              <a:gd name="T28" fmla="*/ 53 w 100"/>
              <a:gd name="T29" fmla="*/ 2 h 88"/>
              <a:gd name="T30" fmla="*/ 55 w 100"/>
              <a:gd name="T31" fmla="*/ 4 h 88"/>
              <a:gd name="T32" fmla="*/ 44 w 100"/>
              <a:gd name="T33" fmla="*/ 34 h 88"/>
              <a:gd name="T34" fmla="*/ 44 w 100"/>
              <a:gd name="T35" fmla="*/ 37 h 88"/>
              <a:gd name="T36" fmla="*/ 46 w 100"/>
              <a:gd name="T37" fmla="*/ 62 h 88"/>
              <a:gd name="T38" fmla="*/ 52 w 100"/>
              <a:gd name="T39" fmla="*/ 62 h 88"/>
              <a:gd name="T40" fmla="*/ 54 w 100"/>
              <a:gd name="T41" fmla="*/ 37 h 88"/>
              <a:gd name="T42" fmla="*/ 54 w 100"/>
              <a:gd name="T43" fmla="*/ 34 h 88"/>
              <a:gd name="T44" fmla="*/ 44 w 100"/>
              <a:gd name="T45" fmla="*/ 34 h 88"/>
              <a:gd name="T46" fmla="*/ 49 w 100"/>
              <a:gd name="T47" fmla="*/ 72 h 88"/>
              <a:gd name="T48" fmla="*/ 53 w 100"/>
              <a:gd name="T49" fmla="*/ 69 h 88"/>
              <a:gd name="T50" fmla="*/ 49 w 100"/>
              <a:gd name="T51" fmla="*/ 65 h 88"/>
              <a:gd name="T52" fmla="*/ 45 w 100"/>
              <a:gd name="T53" fmla="*/ 69 h 88"/>
              <a:gd name="T54" fmla="*/ 49 w 100"/>
              <a:gd name="T55" fmla="*/ 72 h 88"/>
              <a:gd name="T56" fmla="*/ 65 w 100"/>
              <a:gd name="T57" fmla="*/ 48 h 88"/>
              <a:gd name="T58" fmla="*/ 49 w 100"/>
              <a:gd name="T59" fmla="*/ 20 h 88"/>
              <a:gd name="T60" fmla="*/ 34 w 100"/>
              <a:gd name="T61" fmla="*/ 47 h 88"/>
              <a:gd name="T62" fmla="*/ 33 w 100"/>
              <a:gd name="T63" fmla="*/ 48 h 88"/>
              <a:gd name="T64" fmla="*/ 17 w 100"/>
              <a:gd name="T65" fmla="*/ 75 h 88"/>
              <a:gd name="T66" fmla="*/ 49 w 100"/>
              <a:gd name="T67" fmla="*/ 75 h 88"/>
              <a:gd name="T68" fmla="*/ 81 w 100"/>
              <a:gd name="T69" fmla="*/ 75 h 88"/>
              <a:gd name="T70" fmla="*/ 65 w 100"/>
              <a:gd name="T71" fmla="*/ 48 h 88"/>
              <a:gd name="T72" fmla="*/ 65 w 100"/>
              <a:gd name="T73" fmla="*/ 48 h 8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00"/>
              <a:gd name="T112" fmla="*/ 0 h 88"/>
              <a:gd name="T113" fmla="*/ 100 w 100"/>
              <a:gd name="T114" fmla="*/ 88 h 8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00" h="88">
                <a:moveTo>
                  <a:pt x="55" y="4"/>
                </a:moveTo>
                <a:cubicBezTo>
                  <a:pt x="76" y="41"/>
                  <a:pt x="76" y="41"/>
                  <a:pt x="76" y="41"/>
                </a:cubicBezTo>
                <a:cubicBezTo>
                  <a:pt x="76" y="41"/>
                  <a:pt x="76" y="41"/>
                  <a:pt x="76" y="41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82"/>
                  <a:pt x="99" y="85"/>
                  <a:pt x="96" y="87"/>
                </a:cubicBezTo>
                <a:cubicBezTo>
                  <a:pt x="95" y="88"/>
                  <a:pt x="93" y="88"/>
                  <a:pt x="92" y="88"/>
                </a:cubicBezTo>
                <a:cubicBezTo>
                  <a:pt x="92" y="88"/>
                  <a:pt x="92" y="88"/>
                  <a:pt x="92" y="88"/>
                </a:cubicBezTo>
                <a:cubicBezTo>
                  <a:pt x="49" y="88"/>
                  <a:pt x="49" y="88"/>
                  <a:pt x="49" y="88"/>
                </a:cubicBezTo>
                <a:cubicBezTo>
                  <a:pt x="7" y="88"/>
                  <a:pt x="7" y="88"/>
                  <a:pt x="7" y="88"/>
                </a:cubicBezTo>
                <a:cubicBezTo>
                  <a:pt x="3" y="88"/>
                  <a:pt x="0" y="85"/>
                  <a:pt x="0" y="82"/>
                </a:cubicBezTo>
                <a:cubicBezTo>
                  <a:pt x="0" y="80"/>
                  <a:pt x="1" y="79"/>
                  <a:pt x="1" y="78"/>
                </a:cubicBezTo>
                <a:cubicBezTo>
                  <a:pt x="23" y="41"/>
                  <a:pt x="23" y="41"/>
                  <a:pt x="23" y="41"/>
                </a:cubicBezTo>
                <a:cubicBezTo>
                  <a:pt x="23" y="41"/>
                  <a:pt x="23" y="41"/>
                  <a:pt x="23" y="41"/>
                </a:cubicBezTo>
                <a:cubicBezTo>
                  <a:pt x="44" y="4"/>
                  <a:pt x="44" y="4"/>
                  <a:pt x="44" y="4"/>
                </a:cubicBezTo>
                <a:cubicBezTo>
                  <a:pt x="46" y="1"/>
                  <a:pt x="50" y="0"/>
                  <a:pt x="53" y="2"/>
                </a:cubicBezTo>
                <a:cubicBezTo>
                  <a:pt x="54" y="3"/>
                  <a:pt x="54" y="3"/>
                  <a:pt x="55" y="4"/>
                </a:cubicBezTo>
                <a:close/>
                <a:moveTo>
                  <a:pt x="44" y="34"/>
                </a:moveTo>
                <a:cubicBezTo>
                  <a:pt x="44" y="37"/>
                  <a:pt x="44" y="37"/>
                  <a:pt x="44" y="37"/>
                </a:cubicBezTo>
                <a:cubicBezTo>
                  <a:pt x="46" y="62"/>
                  <a:pt x="46" y="62"/>
                  <a:pt x="46" y="62"/>
                </a:cubicBezTo>
                <a:cubicBezTo>
                  <a:pt x="52" y="62"/>
                  <a:pt x="52" y="62"/>
                  <a:pt x="52" y="62"/>
                </a:cubicBezTo>
                <a:cubicBezTo>
                  <a:pt x="54" y="37"/>
                  <a:pt x="54" y="37"/>
                  <a:pt x="54" y="37"/>
                </a:cubicBezTo>
                <a:cubicBezTo>
                  <a:pt x="54" y="34"/>
                  <a:pt x="54" y="34"/>
                  <a:pt x="54" y="34"/>
                </a:cubicBezTo>
                <a:cubicBezTo>
                  <a:pt x="44" y="34"/>
                  <a:pt x="44" y="34"/>
                  <a:pt x="44" y="34"/>
                </a:cubicBezTo>
                <a:close/>
                <a:moveTo>
                  <a:pt x="49" y="72"/>
                </a:moveTo>
                <a:cubicBezTo>
                  <a:pt x="52" y="72"/>
                  <a:pt x="53" y="71"/>
                  <a:pt x="53" y="69"/>
                </a:cubicBezTo>
                <a:cubicBezTo>
                  <a:pt x="53" y="66"/>
                  <a:pt x="51" y="65"/>
                  <a:pt x="49" y="65"/>
                </a:cubicBezTo>
                <a:cubicBezTo>
                  <a:pt x="47" y="65"/>
                  <a:pt x="45" y="66"/>
                  <a:pt x="45" y="69"/>
                </a:cubicBezTo>
                <a:cubicBezTo>
                  <a:pt x="45" y="71"/>
                  <a:pt x="47" y="72"/>
                  <a:pt x="49" y="72"/>
                </a:cubicBezTo>
                <a:close/>
                <a:moveTo>
                  <a:pt x="65" y="48"/>
                </a:moveTo>
                <a:cubicBezTo>
                  <a:pt x="49" y="20"/>
                  <a:pt x="49" y="20"/>
                  <a:pt x="49" y="20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8"/>
                  <a:pt x="34" y="48"/>
                  <a:pt x="33" y="48"/>
                </a:cubicBezTo>
                <a:cubicBezTo>
                  <a:pt x="17" y="75"/>
                  <a:pt x="17" y="75"/>
                  <a:pt x="17" y="75"/>
                </a:cubicBezTo>
                <a:cubicBezTo>
                  <a:pt x="49" y="75"/>
                  <a:pt x="49" y="75"/>
                  <a:pt x="49" y="75"/>
                </a:cubicBezTo>
                <a:cubicBezTo>
                  <a:pt x="81" y="75"/>
                  <a:pt x="81" y="75"/>
                  <a:pt x="81" y="75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8"/>
                  <a:pt x="65" y="48"/>
                  <a:pt x="65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32" name="Freeform 67"/>
          <p:cNvSpPr>
            <a:spLocks noEditPoints="1" noChangeArrowheads="1"/>
          </p:cNvSpPr>
          <p:nvPr/>
        </p:nvSpPr>
        <p:spPr bwMode="auto">
          <a:xfrm>
            <a:off x="1384301" y="5543551"/>
            <a:ext cx="345017" cy="503767"/>
          </a:xfrm>
          <a:custGeom>
            <a:avLst/>
            <a:gdLst>
              <a:gd name="T0" fmla="*/ 20 w 77"/>
              <a:gd name="T1" fmla="*/ 37 h 113"/>
              <a:gd name="T2" fmla="*/ 20 w 77"/>
              <a:gd name="T3" fmla="*/ 12 h 113"/>
              <a:gd name="T4" fmla="*/ 57 w 77"/>
              <a:gd name="T5" fmla="*/ 12 h 113"/>
              <a:gd name="T6" fmla="*/ 56 w 77"/>
              <a:gd name="T7" fmla="*/ 36 h 113"/>
              <a:gd name="T8" fmla="*/ 52 w 77"/>
              <a:gd name="T9" fmla="*/ 47 h 113"/>
              <a:gd name="T10" fmla="*/ 38 w 77"/>
              <a:gd name="T11" fmla="*/ 54 h 113"/>
              <a:gd name="T12" fmla="*/ 38 w 77"/>
              <a:gd name="T13" fmla="*/ 54 h 113"/>
              <a:gd name="T14" fmla="*/ 25 w 77"/>
              <a:gd name="T15" fmla="*/ 47 h 113"/>
              <a:gd name="T16" fmla="*/ 20 w 77"/>
              <a:gd name="T17" fmla="*/ 37 h 113"/>
              <a:gd name="T18" fmla="*/ 12 w 77"/>
              <a:gd name="T19" fmla="*/ 108 h 113"/>
              <a:gd name="T20" fmla="*/ 66 w 77"/>
              <a:gd name="T21" fmla="*/ 108 h 113"/>
              <a:gd name="T22" fmla="*/ 63 w 77"/>
              <a:gd name="T23" fmla="*/ 113 h 113"/>
              <a:gd name="T24" fmla="*/ 15 w 77"/>
              <a:gd name="T25" fmla="*/ 113 h 113"/>
              <a:gd name="T26" fmla="*/ 12 w 77"/>
              <a:gd name="T27" fmla="*/ 108 h 113"/>
              <a:gd name="T28" fmla="*/ 69 w 77"/>
              <a:gd name="T29" fmla="*/ 67 h 113"/>
              <a:gd name="T30" fmla="*/ 75 w 77"/>
              <a:gd name="T31" fmla="*/ 90 h 113"/>
              <a:gd name="T32" fmla="*/ 67 w 77"/>
              <a:gd name="T33" fmla="*/ 104 h 113"/>
              <a:gd name="T34" fmla="*/ 65 w 77"/>
              <a:gd name="T35" fmla="*/ 104 h 113"/>
              <a:gd name="T36" fmla="*/ 65 w 77"/>
              <a:gd name="T37" fmla="*/ 73 h 113"/>
              <a:gd name="T38" fmla="*/ 41 w 77"/>
              <a:gd name="T39" fmla="*/ 73 h 113"/>
              <a:gd name="T40" fmla="*/ 48 w 77"/>
              <a:gd name="T41" fmla="*/ 57 h 113"/>
              <a:gd name="T42" fmla="*/ 50 w 77"/>
              <a:gd name="T43" fmla="*/ 55 h 113"/>
              <a:gd name="T44" fmla="*/ 64 w 77"/>
              <a:gd name="T45" fmla="*/ 58 h 113"/>
              <a:gd name="T46" fmla="*/ 65 w 77"/>
              <a:gd name="T47" fmla="*/ 58 h 113"/>
              <a:gd name="T48" fmla="*/ 65 w 77"/>
              <a:gd name="T49" fmla="*/ 59 h 113"/>
              <a:gd name="T50" fmla="*/ 69 w 77"/>
              <a:gd name="T51" fmla="*/ 68 h 113"/>
              <a:gd name="T52" fmla="*/ 69 w 77"/>
              <a:gd name="T53" fmla="*/ 67 h 113"/>
              <a:gd name="T54" fmla="*/ 13 w 77"/>
              <a:gd name="T55" fmla="*/ 104 h 113"/>
              <a:gd name="T56" fmla="*/ 10 w 77"/>
              <a:gd name="T57" fmla="*/ 104 h 113"/>
              <a:gd name="T58" fmla="*/ 2 w 77"/>
              <a:gd name="T59" fmla="*/ 90 h 113"/>
              <a:gd name="T60" fmla="*/ 8 w 77"/>
              <a:gd name="T61" fmla="*/ 67 h 113"/>
              <a:gd name="T62" fmla="*/ 13 w 77"/>
              <a:gd name="T63" fmla="*/ 58 h 113"/>
              <a:gd name="T64" fmla="*/ 13 w 77"/>
              <a:gd name="T65" fmla="*/ 58 h 113"/>
              <a:gd name="T66" fmla="*/ 14 w 77"/>
              <a:gd name="T67" fmla="*/ 58 h 113"/>
              <a:gd name="T68" fmla="*/ 27 w 77"/>
              <a:gd name="T69" fmla="*/ 55 h 113"/>
              <a:gd name="T70" fmla="*/ 29 w 77"/>
              <a:gd name="T71" fmla="*/ 57 h 113"/>
              <a:gd name="T72" fmla="*/ 37 w 77"/>
              <a:gd name="T73" fmla="*/ 73 h 113"/>
              <a:gd name="T74" fmla="*/ 13 w 77"/>
              <a:gd name="T75" fmla="*/ 73 h 113"/>
              <a:gd name="T76" fmla="*/ 13 w 77"/>
              <a:gd name="T77" fmla="*/ 104 h 11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77"/>
              <a:gd name="T118" fmla="*/ 0 h 113"/>
              <a:gd name="T119" fmla="*/ 77 w 77"/>
              <a:gd name="T120" fmla="*/ 113 h 113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77" h="113">
                <a:moveTo>
                  <a:pt x="20" y="37"/>
                </a:moveTo>
                <a:cubicBezTo>
                  <a:pt x="19" y="28"/>
                  <a:pt x="19" y="19"/>
                  <a:pt x="20" y="12"/>
                </a:cubicBezTo>
                <a:cubicBezTo>
                  <a:pt x="37" y="0"/>
                  <a:pt x="44" y="14"/>
                  <a:pt x="57" y="12"/>
                </a:cubicBezTo>
                <a:cubicBezTo>
                  <a:pt x="58" y="20"/>
                  <a:pt x="58" y="30"/>
                  <a:pt x="56" y="36"/>
                </a:cubicBezTo>
                <a:cubicBezTo>
                  <a:pt x="56" y="41"/>
                  <a:pt x="54" y="44"/>
                  <a:pt x="52" y="47"/>
                </a:cubicBezTo>
                <a:cubicBezTo>
                  <a:pt x="48" y="51"/>
                  <a:pt x="44" y="54"/>
                  <a:pt x="38" y="54"/>
                </a:cubicBezTo>
                <a:cubicBezTo>
                  <a:pt x="38" y="54"/>
                  <a:pt x="38" y="54"/>
                  <a:pt x="38" y="54"/>
                </a:cubicBezTo>
                <a:cubicBezTo>
                  <a:pt x="33" y="54"/>
                  <a:pt x="28" y="51"/>
                  <a:pt x="25" y="47"/>
                </a:cubicBezTo>
                <a:cubicBezTo>
                  <a:pt x="23" y="44"/>
                  <a:pt x="21" y="41"/>
                  <a:pt x="20" y="37"/>
                </a:cubicBezTo>
                <a:close/>
                <a:moveTo>
                  <a:pt x="12" y="108"/>
                </a:moveTo>
                <a:cubicBezTo>
                  <a:pt x="66" y="108"/>
                  <a:pt x="66" y="108"/>
                  <a:pt x="66" y="108"/>
                </a:cubicBezTo>
                <a:cubicBezTo>
                  <a:pt x="63" y="113"/>
                  <a:pt x="63" y="113"/>
                  <a:pt x="63" y="113"/>
                </a:cubicBezTo>
                <a:cubicBezTo>
                  <a:pt x="15" y="113"/>
                  <a:pt x="15" y="113"/>
                  <a:pt x="15" y="113"/>
                </a:cubicBezTo>
                <a:cubicBezTo>
                  <a:pt x="12" y="108"/>
                  <a:pt x="12" y="108"/>
                  <a:pt x="12" y="108"/>
                </a:cubicBezTo>
                <a:close/>
                <a:moveTo>
                  <a:pt x="69" y="67"/>
                </a:moveTo>
                <a:cubicBezTo>
                  <a:pt x="75" y="90"/>
                  <a:pt x="75" y="90"/>
                  <a:pt x="75" y="90"/>
                </a:cubicBezTo>
                <a:cubicBezTo>
                  <a:pt x="77" y="98"/>
                  <a:pt x="76" y="104"/>
                  <a:pt x="67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65" y="73"/>
                  <a:pt x="65" y="73"/>
                  <a:pt x="65" y="73"/>
                </a:cubicBezTo>
                <a:cubicBezTo>
                  <a:pt x="41" y="73"/>
                  <a:pt x="41" y="73"/>
                  <a:pt x="41" y="73"/>
                </a:cubicBezTo>
                <a:cubicBezTo>
                  <a:pt x="48" y="57"/>
                  <a:pt x="48" y="57"/>
                  <a:pt x="48" y="57"/>
                </a:cubicBezTo>
                <a:cubicBezTo>
                  <a:pt x="50" y="55"/>
                  <a:pt x="50" y="55"/>
                  <a:pt x="50" y="55"/>
                </a:cubicBezTo>
                <a:cubicBezTo>
                  <a:pt x="64" y="58"/>
                  <a:pt x="64" y="58"/>
                  <a:pt x="64" y="58"/>
                </a:cubicBezTo>
                <a:cubicBezTo>
                  <a:pt x="65" y="58"/>
                  <a:pt x="65" y="58"/>
                  <a:pt x="65" y="58"/>
                </a:cubicBezTo>
                <a:cubicBezTo>
                  <a:pt x="65" y="59"/>
                  <a:pt x="65" y="59"/>
                  <a:pt x="65" y="59"/>
                </a:cubicBezTo>
                <a:cubicBezTo>
                  <a:pt x="67" y="61"/>
                  <a:pt x="68" y="64"/>
                  <a:pt x="69" y="68"/>
                </a:cubicBezTo>
                <a:cubicBezTo>
                  <a:pt x="69" y="67"/>
                  <a:pt x="69" y="67"/>
                  <a:pt x="69" y="67"/>
                </a:cubicBezTo>
                <a:close/>
                <a:moveTo>
                  <a:pt x="13" y="104"/>
                </a:moveTo>
                <a:cubicBezTo>
                  <a:pt x="10" y="104"/>
                  <a:pt x="10" y="104"/>
                  <a:pt x="10" y="104"/>
                </a:cubicBezTo>
                <a:cubicBezTo>
                  <a:pt x="1" y="104"/>
                  <a:pt x="0" y="98"/>
                  <a:pt x="2" y="90"/>
                </a:cubicBezTo>
                <a:cubicBezTo>
                  <a:pt x="8" y="67"/>
                  <a:pt x="8" y="67"/>
                  <a:pt x="8" y="67"/>
                </a:cubicBezTo>
                <a:cubicBezTo>
                  <a:pt x="8" y="64"/>
                  <a:pt x="10" y="61"/>
                  <a:pt x="13" y="58"/>
                </a:cubicBezTo>
                <a:cubicBezTo>
                  <a:pt x="13" y="58"/>
                  <a:pt x="13" y="58"/>
                  <a:pt x="13" y="58"/>
                </a:cubicBezTo>
                <a:cubicBezTo>
                  <a:pt x="14" y="58"/>
                  <a:pt x="14" y="58"/>
                  <a:pt x="14" y="58"/>
                </a:cubicBezTo>
                <a:cubicBezTo>
                  <a:pt x="27" y="55"/>
                  <a:pt x="27" y="55"/>
                  <a:pt x="27" y="55"/>
                </a:cubicBezTo>
                <a:cubicBezTo>
                  <a:pt x="29" y="57"/>
                  <a:pt x="29" y="57"/>
                  <a:pt x="29" y="57"/>
                </a:cubicBezTo>
                <a:cubicBezTo>
                  <a:pt x="37" y="73"/>
                  <a:pt x="37" y="73"/>
                  <a:pt x="37" y="73"/>
                </a:cubicBezTo>
                <a:cubicBezTo>
                  <a:pt x="13" y="73"/>
                  <a:pt x="13" y="73"/>
                  <a:pt x="13" y="73"/>
                </a:cubicBezTo>
                <a:lnTo>
                  <a:pt x="13" y="1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33" name="Freeform 79"/>
          <p:cNvSpPr>
            <a:spLocks noEditPoints="1" noChangeArrowheads="1"/>
          </p:cNvSpPr>
          <p:nvPr/>
        </p:nvSpPr>
        <p:spPr bwMode="auto">
          <a:xfrm>
            <a:off x="1312333" y="3111501"/>
            <a:ext cx="442384" cy="446617"/>
          </a:xfrm>
          <a:custGeom>
            <a:avLst/>
            <a:gdLst>
              <a:gd name="T0" fmla="*/ 49 w 99"/>
              <a:gd name="T1" fmla="*/ 0 h 100"/>
              <a:gd name="T2" fmla="*/ 99 w 99"/>
              <a:gd name="T3" fmla="*/ 50 h 100"/>
              <a:gd name="T4" fmla="*/ 49 w 99"/>
              <a:gd name="T5" fmla="*/ 100 h 100"/>
              <a:gd name="T6" fmla="*/ 0 w 99"/>
              <a:gd name="T7" fmla="*/ 50 h 100"/>
              <a:gd name="T8" fmla="*/ 49 w 99"/>
              <a:gd name="T9" fmla="*/ 0 h 100"/>
              <a:gd name="T10" fmla="*/ 45 w 99"/>
              <a:gd name="T11" fmla="*/ 15 h 100"/>
              <a:gd name="T12" fmla="*/ 45 w 99"/>
              <a:gd name="T13" fmla="*/ 44 h 100"/>
              <a:gd name="T14" fmla="*/ 54 w 99"/>
              <a:gd name="T15" fmla="*/ 44 h 100"/>
              <a:gd name="T16" fmla="*/ 54 w 99"/>
              <a:gd name="T17" fmla="*/ 15 h 100"/>
              <a:gd name="T18" fmla="*/ 45 w 99"/>
              <a:gd name="T19" fmla="*/ 15 h 100"/>
              <a:gd name="T20" fmla="*/ 67 w 99"/>
              <a:gd name="T21" fmla="*/ 24 h 100"/>
              <a:gd name="T22" fmla="*/ 61 w 99"/>
              <a:gd name="T23" fmla="*/ 32 h 100"/>
              <a:gd name="T24" fmla="*/ 64 w 99"/>
              <a:gd name="T25" fmla="*/ 35 h 100"/>
              <a:gd name="T26" fmla="*/ 70 w 99"/>
              <a:gd name="T27" fmla="*/ 50 h 100"/>
              <a:gd name="T28" fmla="*/ 64 w 99"/>
              <a:gd name="T29" fmla="*/ 65 h 100"/>
              <a:gd name="T30" fmla="*/ 49 w 99"/>
              <a:gd name="T31" fmla="*/ 71 h 100"/>
              <a:gd name="T32" fmla="*/ 35 w 99"/>
              <a:gd name="T33" fmla="*/ 65 h 100"/>
              <a:gd name="T34" fmla="*/ 28 w 99"/>
              <a:gd name="T35" fmla="*/ 50 h 100"/>
              <a:gd name="T36" fmla="*/ 35 w 99"/>
              <a:gd name="T37" fmla="*/ 35 h 100"/>
              <a:gd name="T38" fmla="*/ 37 w 99"/>
              <a:gd name="T39" fmla="*/ 32 h 100"/>
              <a:gd name="T40" fmla="*/ 31 w 99"/>
              <a:gd name="T41" fmla="*/ 24 h 100"/>
              <a:gd name="T42" fmla="*/ 27 w 99"/>
              <a:gd name="T43" fmla="*/ 28 h 100"/>
              <a:gd name="T44" fmla="*/ 18 w 99"/>
              <a:gd name="T45" fmla="*/ 50 h 100"/>
              <a:gd name="T46" fmla="*/ 27 w 99"/>
              <a:gd name="T47" fmla="*/ 72 h 100"/>
              <a:gd name="T48" fmla="*/ 49 w 99"/>
              <a:gd name="T49" fmla="*/ 81 h 100"/>
              <a:gd name="T50" fmla="*/ 72 w 99"/>
              <a:gd name="T51" fmla="*/ 72 h 100"/>
              <a:gd name="T52" fmla="*/ 81 w 99"/>
              <a:gd name="T53" fmla="*/ 50 h 100"/>
              <a:gd name="T54" fmla="*/ 72 w 99"/>
              <a:gd name="T55" fmla="*/ 28 h 100"/>
              <a:gd name="T56" fmla="*/ 67 w 99"/>
              <a:gd name="T57" fmla="*/ 24 h 10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99"/>
              <a:gd name="T88" fmla="*/ 0 h 100"/>
              <a:gd name="T89" fmla="*/ 99 w 99"/>
              <a:gd name="T90" fmla="*/ 100 h 100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99" h="100">
                <a:moveTo>
                  <a:pt x="49" y="0"/>
                </a:moveTo>
                <a:cubicBezTo>
                  <a:pt x="77" y="0"/>
                  <a:pt x="99" y="22"/>
                  <a:pt x="99" y="50"/>
                </a:cubicBezTo>
                <a:cubicBezTo>
                  <a:pt x="99" y="77"/>
                  <a:pt x="77" y="100"/>
                  <a:pt x="49" y="100"/>
                </a:cubicBezTo>
                <a:cubicBezTo>
                  <a:pt x="22" y="100"/>
                  <a:pt x="0" y="77"/>
                  <a:pt x="0" y="50"/>
                </a:cubicBezTo>
                <a:cubicBezTo>
                  <a:pt x="0" y="22"/>
                  <a:pt x="22" y="0"/>
                  <a:pt x="49" y="0"/>
                </a:cubicBezTo>
                <a:close/>
                <a:moveTo>
                  <a:pt x="45" y="15"/>
                </a:moveTo>
                <a:cubicBezTo>
                  <a:pt x="45" y="44"/>
                  <a:pt x="45" y="44"/>
                  <a:pt x="45" y="44"/>
                </a:cubicBezTo>
                <a:cubicBezTo>
                  <a:pt x="54" y="44"/>
                  <a:pt x="54" y="44"/>
                  <a:pt x="54" y="44"/>
                </a:cubicBezTo>
                <a:cubicBezTo>
                  <a:pt x="54" y="15"/>
                  <a:pt x="54" y="15"/>
                  <a:pt x="54" y="15"/>
                </a:cubicBezTo>
                <a:cubicBezTo>
                  <a:pt x="45" y="15"/>
                  <a:pt x="45" y="15"/>
                  <a:pt x="45" y="15"/>
                </a:cubicBezTo>
                <a:close/>
                <a:moveTo>
                  <a:pt x="67" y="24"/>
                </a:moveTo>
                <a:cubicBezTo>
                  <a:pt x="61" y="32"/>
                  <a:pt x="61" y="32"/>
                  <a:pt x="61" y="32"/>
                </a:cubicBezTo>
                <a:cubicBezTo>
                  <a:pt x="62" y="33"/>
                  <a:pt x="63" y="34"/>
                  <a:pt x="64" y="35"/>
                </a:cubicBezTo>
                <a:cubicBezTo>
                  <a:pt x="68" y="39"/>
                  <a:pt x="70" y="44"/>
                  <a:pt x="70" y="50"/>
                </a:cubicBezTo>
                <a:cubicBezTo>
                  <a:pt x="70" y="55"/>
                  <a:pt x="68" y="61"/>
                  <a:pt x="64" y="65"/>
                </a:cubicBezTo>
                <a:cubicBezTo>
                  <a:pt x="60" y="68"/>
                  <a:pt x="55" y="71"/>
                  <a:pt x="49" y="71"/>
                </a:cubicBezTo>
                <a:cubicBezTo>
                  <a:pt x="44" y="71"/>
                  <a:pt x="38" y="68"/>
                  <a:pt x="35" y="65"/>
                </a:cubicBezTo>
                <a:cubicBezTo>
                  <a:pt x="31" y="61"/>
                  <a:pt x="28" y="55"/>
                  <a:pt x="28" y="50"/>
                </a:cubicBezTo>
                <a:cubicBezTo>
                  <a:pt x="28" y="44"/>
                  <a:pt x="31" y="39"/>
                  <a:pt x="35" y="35"/>
                </a:cubicBezTo>
                <a:cubicBezTo>
                  <a:pt x="35" y="34"/>
                  <a:pt x="36" y="33"/>
                  <a:pt x="37" y="32"/>
                </a:cubicBezTo>
                <a:cubicBezTo>
                  <a:pt x="31" y="24"/>
                  <a:pt x="31" y="24"/>
                  <a:pt x="31" y="24"/>
                </a:cubicBezTo>
                <a:cubicBezTo>
                  <a:pt x="30" y="25"/>
                  <a:pt x="29" y="26"/>
                  <a:pt x="27" y="28"/>
                </a:cubicBezTo>
                <a:cubicBezTo>
                  <a:pt x="22" y="33"/>
                  <a:pt x="18" y="41"/>
                  <a:pt x="18" y="50"/>
                </a:cubicBezTo>
                <a:cubicBezTo>
                  <a:pt x="18" y="58"/>
                  <a:pt x="22" y="66"/>
                  <a:pt x="27" y="72"/>
                </a:cubicBezTo>
                <a:cubicBezTo>
                  <a:pt x="33" y="77"/>
                  <a:pt x="41" y="81"/>
                  <a:pt x="49" y="81"/>
                </a:cubicBezTo>
                <a:cubicBezTo>
                  <a:pt x="58" y="81"/>
                  <a:pt x="66" y="77"/>
                  <a:pt x="72" y="72"/>
                </a:cubicBezTo>
                <a:cubicBezTo>
                  <a:pt x="77" y="66"/>
                  <a:pt x="81" y="58"/>
                  <a:pt x="81" y="50"/>
                </a:cubicBezTo>
                <a:cubicBezTo>
                  <a:pt x="81" y="41"/>
                  <a:pt x="77" y="33"/>
                  <a:pt x="72" y="28"/>
                </a:cubicBezTo>
                <a:cubicBezTo>
                  <a:pt x="70" y="26"/>
                  <a:pt x="69" y="25"/>
                  <a:pt x="67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34" name="Freeform 83"/>
          <p:cNvSpPr>
            <a:spLocks noEditPoints="1" noChangeArrowheads="1"/>
          </p:cNvSpPr>
          <p:nvPr/>
        </p:nvSpPr>
        <p:spPr bwMode="auto">
          <a:xfrm>
            <a:off x="1305985" y="3928533"/>
            <a:ext cx="476249" cy="482600"/>
          </a:xfrm>
          <a:custGeom>
            <a:avLst/>
            <a:gdLst>
              <a:gd name="T0" fmla="*/ 94 w 107"/>
              <a:gd name="T1" fmla="*/ 30 h 108"/>
              <a:gd name="T2" fmla="*/ 77 w 107"/>
              <a:gd name="T3" fmla="*/ 95 h 108"/>
              <a:gd name="T4" fmla="*/ 13 w 107"/>
              <a:gd name="T5" fmla="*/ 77 h 108"/>
              <a:gd name="T6" fmla="*/ 30 w 107"/>
              <a:gd name="T7" fmla="*/ 13 h 108"/>
              <a:gd name="T8" fmla="*/ 94 w 107"/>
              <a:gd name="T9" fmla="*/ 30 h 108"/>
              <a:gd name="T10" fmla="*/ 68 w 107"/>
              <a:gd name="T11" fmla="*/ 46 h 108"/>
              <a:gd name="T12" fmla="*/ 68 w 107"/>
              <a:gd name="T13" fmla="*/ 46 h 108"/>
              <a:gd name="T14" fmla="*/ 58 w 107"/>
              <a:gd name="T15" fmla="*/ 38 h 108"/>
              <a:gd name="T16" fmla="*/ 45 w 107"/>
              <a:gd name="T17" fmla="*/ 40 h 108"/>
              <a:gd name="T18" fmla="*/ 45 w 107"/>
              <a:gd name="T19" fmla="*/ 40 h 108"/>
              <a:gd name="T20" fmla="*/ 38 w 107"/>
              <a:gd name="T21" fmla="*/ 50 h 108"/>
              <a:gd name="T22" fmla="*/ 39 w 107"/>
              <a:gd name="T23" fmla="*/ 62 h 108"/>
              <a:gd name="T24" fmla="*/ 39 w 107"/>
              <a:gd name="T25" fmla="*/ 62 h 108"/>
              <a:gd name="T26" fmla="*/ 49 w 107"/>
              <a:gd name="T27" fmla="*/ 69 h 108"/>
              <a:gd name="T28" fmla="*/ 62 w 107"/>
              <a:gd name="T29" fmla="*/ 68 h 108"/>
              <a:gd name="T30" fmla="*/ 62 w 107"/>
              <a:gd name="T31" fmla="*/ 68 h 108"/>
              <a:gd name="T32" fmla="*/ 69 w 107"/>
              <a:gd name="T33" fmla="*/ 58 h 108"/>
              <a:gd name="T34" fmla="*/ 68 w 107"/>
              <a:gd name="T35" fmla="*/ 46 h 108"/>
              <a:gd name="T36" fmla="*/ 63 w 107"/>
              <a:gd name="T37" fmla="*/ 56 h 108"/>
              <a:gd name="T38" fmla="*/ 62 w 107"/>
              <a:gd name="T39" fmla="*/ 49 h 108"/>
              <a:gd name="T40" fmla="*/ 62 w 107"/>
              <a:gd name="T41" fmla="*/ 49 h 108"/>
              <a:gd name="T42" fmla="*/ 56 w 107"/>
              <a:gd name="T43" fmla="*/ 44 h 108"/>
              <a:gd name="T44" fmla="*/ 48 w 107"/>
              <a:gd name="T45" fmla="*/ 45 h 108"/>
              <a:gd name="T46" fmla="*/ 48 w 107"/>
              <a:gd name="T47" fmla="*/ 45 h 108"/>
              <a:gd name="T48" fmla="*/ 44 w 107"/>
              <a:gd name="T49" fmla="*/ 51 h 108"/>
              <a:gd name="T50" fmla="*/ 45 w 107"/>
              <a:gd name="T51" fmla="*/ 59 h 108"/>
              <a:gd name="T52" fmla="*/ 45 w 107"/>
              <a:gd name="T53" fmla="*/ 59 h 108"/>
              <a:gd name="T54" fmla="*/ 51 w 107"/>
              <a:gd name="T55" fmla="*/ 64 h 108"/>
              <a:gd name="T56" fmla="*/ 59 w 107"/>
              <a:gd name="T57" fmla="*/ 63 h 108"/>
              <a:gd name="T58" fmla="*/ 59 w 107"/>
              <a:gd name="T59" fmla="*/ 63 h 108"/>
              <a:gd name="T60" fmla="*/ 63 w 107"/>
              <a:gd name="T61" fmla="*/ 56 h 108"/>
              <a:gd name="T62" fmla="*/ 29 w 107"/>
              <a:gd name="T63" fmla="*/ 24 h 108"/>
              <a:gd name="T64" fmla="*/ 17 w 107"/>
              <a:gd name="T65" fmla="*/ 65 h 108"/>
              <a:gd name="T66" fmla="*/ 25 w 107"/>
              <a:gd name="T67" fmla="*/ 63 h 108"/>
              <a:gd name="T68" fmla="*/ 29 w 107"/>
              <a:gd name="T69" fmla="*/ 24 h 108"/>
              <a:gd name="T70" fmla="*/ 69 w 107"/>
              <a:gd name="T71" fmla="*/ 37 h 108"/>
              <a:gd name="T72" fmla="*/ 73 w 107"/>
              <a:gd name="T73" fmla="*/ 42 h 108"/>
              <a:gd name="T74" fmla="*/ 74 w 107"/>
              <a:gd name="T75" fmla="*/ 45 h 108"/>
              <a:gd name="T76" fmla="*/ 91 w 107"/>
              <a:gd name="T77" fmla="*/ 38 h 108"/>
              <a:gd name="T78" fmla="*/ 89 w 107"/>
              <a:gd name="T79" fmla="*/ 33 h 108"/>
              <a:gd name="T80" fmla="*/ 82 w 107"/>
              <a:gd name="T81" fmla="*/ 25 h 108"/>
              <a:gd name="T82" fmla="*/ 69 w 107"/>
              <a:gd name="T83" fmla="*/ 37 h 108"/>
              <a:gd name="T84" fmla="*/ 92 w 107"/>
              <a:gd name="T85" fmla="*/ 43 h 108"/>
              <a:gd name="T86" fmla="*/ 75 w 107"/>
              <a:gd name="T87" fmla="*/ 47 h 108"/>
              <a:gd name="T88" fmla="*/ 76 w 107"/>
              <a:gd name="T89" fmla="*/ 53 h 108"/>
              <a:gd name="T90" fmla="*/ 93 w 107"/>
              <a:gd name="T91" fmla="*/ 54 h 108"/>
              <a:gd name="T92" fmla="*/ 92 w 107"/>
              <a:gd name="T93" fmla="*/ 43 h 108"/>
              <a:gd name="T94" fmla="*/ 70 w 107"/>
              <a:gd name="T95" fmla="*/ 44 h 108"/>
              <a:gd name="T96" fmla="*/ 44 w 107"/>
              <a:gd name="T97" fmla="*/ 37 h 108"/>
              <a:gd name="T98" fmla="*/ 37 w 107"/>
              <a:gd name="T99" fmla="*/ 63 h 108"/>
              <a:gd name="T100" fmla="*/ 63 w 107"/>
              <a:gd name="T101" fmla="*/ 70 h 108"/>
              <a:gd name="T102" fmla="*/ 70 w 107"/>
              <a:gd name="T103" fmla="*/ 44 h 10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07"/>
              <a:gd name="T157" fmla="*/ 0 h 108"/>
              <a:gd name="T158" fmla="*/ 107 w 107"/>
              <a:gd name="T159" fmla="*/ 108 h 10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07" h="108">
                <a:moveTo>
                  <a:pt x="94" y="30"/>
                </a:moveTo>
                <a:cubicBezTo>
                  <a:pt x="107" y="53"/>
                  <a:pt x="100" y="82"/>
                  <a:pt x="77" y="95"/>
                </a:cubicBezTo>
                <a:cubicBezTo>
                  <a:pt x="54" y="108"/>
                  <a:pt x="26" y="100"/>
                  <a:pt x="13" y="77"/>
                </a:cubicBezTo>
                <a:cubicBezTo>
                  <a:pt x="0" y="55"/>
                  <a:pt x="7" y="26"/>
                  <a:pt x="30" y="13"/>
                </a:cubicBezTo>
                <a:cubicBezTo>
                  <a:pt x="52" y="0"/>
                  <a:pt x="81" y="8"/>
                  <a:pt x="94" y="30"/>
                </a:cubicBezTo>
                <a:close/>
                <a:moveTo>
                  <a:pt x="68" y="46"/>
                </a:moveTo>
                <a:cubicBezTo>
                  <a:pt x="68" y="46"/>
                  <a:pt x="68" y="46"/>
                  <a:pt x="68" y="46"/>
                </a:cubicBezTo>
                <a:cubicBezTo>
                  <a:pt x="65" y="42"/>
                  <a:pt x="62" y="39"/>
                  <a:pt x="58" y="38"/>
                </a:cubicBezTo>
                <a:cubicBezTo>
                  <a:pt x="54" y="37"/>
                  <a:pt x="49" y="37"/>
                  <a:pt x="45" y="40"/>
                </a:cubicBezTo>
                <a:cubicBezTo>
                  <a:pt x="45" y="40"/>
                  <a:pt x="45" y="40"/>
                  <a:pt x="45" y="40"/>
                </a:cubicBezTo>
                <a:cubicBezTo>
                  <a:pt x="41" y="42"/>
                  <a:pt x="39" y="46"/>
                  <a:pt x="38" y="50"/>
                </a:cubicBezTo>
                <a:cubicBezTo>
                  <a:pt x="37" y="54"/>
                  <a:pt x="37" y="58"/>
                  <a:pt x="39" y="62"/>
                </a:cubicBezTo>
                <a:cubicBezTo>
                  <a:pt x="39" y="62"/>
                  <a:pt x="39" y="62"/>
                  <a:pt x="39" y="62"/>
                </a:cubicBezTo>
                <a:cubicBezTo>
                  <a:pt x="42" y="66"/>
                  <a:pt x="45" y="68"/>
                  <a:pt x="49" y="69"/>
                </a:cubicBezTo>
                <a:cubicBezTo>
                  <a:pt x="53" y="71"/>
                  <a:pt x="58" y="70"/>
                  <a:pt x="62" y="68"/>
                </a:cubicBezTo>
                <a:cubicBezTo>
                  <a:pt x="62" y="68"/>
                  <a:pt x="62" y="68"/>
                  <a:pt x="62" y="68"/>
                </a:cubicBezTo>
                <a:cubicBezTo>
                  <a:pt x="65" y="66"/>
                  <a:pt x="68" y="62"/>
                  <a:pt x="69" y="58"/>
                </a:cubicBezTo>
                <a:cubicBezTo>
                  <a:pt x="70" y="54"/>
                  <a:pt x="70" y="50"/>
                  <a:pt x="68" y="46"/>
                </a:cubicBezTo>
                <a:close/>
                <a:moveTo>
                  <a:pt x="63" y="56"/>
                </a:moveTo>
                <a:cubicBezTo>
                  <a:pt x="64" y="54"/>
                  <a:pt x="64" y="51"/>
                  <a:pt x="62" y="49"/>
                </a:cubicBezTo>
                <a:cubicBezTo>
                  <a:pt x="62" y="49"/>
                  <a:pt x="62" y="49"/>
                  <a:pt x="62" y="49"/>
                </a:cubicBezTo>
                <a:cubicBezTo>
                  <a:pt x="61" y="46"/>
                  <a:pt x="59" y="45"/>
                  <a:pt x="56" y="44"/>
                </a:cubicBezTo>
                <a:cubicBezTo>
                  <a:pt x="54" y="43"/>
                  <a:pt x="51" y="44"/>
                  <a:pt x="48" y="45"/>
                </a:cubicBezTo>
                <a:cubicBezTo>
                  <a:pt x="48" y="45"/>
                  <a:pt x="48" y="45"/>
                  <a:pt x="48" y="45"/>
                </a:cubicBezTo>
                <a:cubicBezTo>
                  <a:pt x="46" y="46"/>
                  <a:pt x="44" y="49"/>
                  <a:pt x="44" y="51"/>
                </a:cubicBezTo>
                <a:cubicBezTo>
                  <a:pt x="43" y="54"/>
                  <a:pt x="43" y="56"/>
                  <a:pt x="45" y="59"/>
                </a:cubicBezTo>
                <a:cubicBezTo>
                  <a:pt x="45" y="59"/>
                  <a:pt x="45" y="59"/>
                  <a:pt x="45" y="59"/>
                </a:cubicBezTo>
                <a:cubicBezTo>
                  <a:pt x="46" y="61"/>
                  <a:pt x="48" y="63"/>
                  <a:pt x="51" y="64"/>
                </a:cubicBezTo>
                <a:cubicBezTo>
                  <a:pt x="53" y="64"/>
                  <a:pt x="56" y="64"/>
                  <a:pt x="59" y="63"/>
                </a:cubicBezTo>
                <a:cubicBezTo>
                  <a:pt x="59" y="63"/>
                  <a:pt x="59" y="63"/>
                  <a:pt x="59" y="63"/>
                </a:cubicBezTo>
                <a:cubicBezTo>
                  <a:pt x="61" y="61"/>
                  <a:pt x="63" y="59"/>
                  <a:pt x="63" y="56"/>
                </a:cubicBezTo>
                <a:close/>
                <a:moveTo>
                  <a:pt x="29" y="24"/>
                </a:moveTo>
                <a:cubicBezTo>
                  <a:pt x="16" y="36"/>
                  <a:pt x="14" y="50"/>
                  <a:pt x="17" y="65"/>
                </a:cubicBezTo>
                <a:cubicBezTo>
                  <a:pt x="20" y="64"/>
                  <a:pt x="23" y="64"/>
                  <a:pt x="25" y="63"/>
                </a:cubicBezTo>
                <a:cubicBezTo>
                  <a:pt x="21" y="49"/>
                  <a:pt x="22" y="36"/>
                  <a:pt x="29" y="24"/>
                </a:cubicBezTo>
                <a:close/>
                <a:moveTo>
                  <a:pt x="69" y="37"/>
                </a:moveTo>
                <a:cubicBezTo>
                  <a:pt x="70" y="38"/>
                  <a:pt x="72" y="40"/>
                  <a:pt x="73" y="42"/>
                </a:cubicBezTo>
                <a:cubicBezTo>
                  <a:pt x="74" y="43"/>
                  <a:pt x="74" y="44"/>
                  <a:pt x="74" y="45"/>
                </a:cubicBezTo>
                <a:cubicBezTo>
                  <a:pt x="91" y="38"/>
                  <a:pt x="91" y="38"/>
                  <a:pt x="91" y="38"/>
                </a:cubicBezTo>
                <a:cubicBezTo>
                  <a:pt x="90" y="36"/>
                  <a:pt x="89" y="35"/>
                  <a:pt x="89" y="33"/>
                </a:cubicBezTo>
                <a:cubicBezTo>
                  <a:pt x="87" y="30"/>
                  <a:pt x="85" y="28"/>
                  <a:pt x="82" y="25"/>
                </a:cubicBezTo>
                <a:cubicBezTo>
                  <a:pt x="69" y="37"/>
                  <a:pt x="69" y="37"/>
                  <a:pt x="69" y="37"/>
                </a:cubicBezTo>
                <a:close/>
                <a:moveTo>
                  <a:pt x="92" y="43"/>
                </a:moveTo>
                <a:cubicBezTo>
                  <a:pt x="75" y="47"/>
                  <a:pt x="75" y="47"/>
                  <a:pt x="75" y="47"/>
                </a:cubicBezTo>
                <a:cubicBezTo>
                  <a:pt x="76" y="49"/>
                  <a:pt x="76" y="51"/>
                  <a:pt x="76" y="53"/>
                </a:cubicBezTo>
                <a:cubicBezTo>
                  <a:pt x="93" y="54"/>
                  <a:pt x="93" y="54"/>
                  <a:pt x="93" y="54"/>
                </a:cubicBezTo>
                <a:cubicBezTo>
                  <a:pt x="94" y="50"/>
                  <a:pt x="93" y="46"/>
                  <a:pt x="92" y="43"/>
                </a:cubicBezTo>
                <a:close/>
                <a:moveTo>
                  <a:pt x="70" y="44"/>
                </a:moveTo>
                <a:cubicBezTo>
                  <a:pt x="65" y="35"/>
                  <a:pt x="53" y="32"/>
                  <a:pt x="44" y="37"/>
                </a:cubicBezTo>
                <a:cubicBezTo>
                  <a:pt x="35" y="42"/>
                  <a:pt x="32" y="54"/>
                  <a:pt x="37" y="63"/>
                </a:cubicBezTo>
                <a:cubicBezTo>
                  <a:pt x="42" y="72"/>
                  <a:pt x="54" y="76"/>
                  <a:pt x="63" y="70"/>
                </a:cubicBezTo>
                <a:cubicBezTo>
                  <a:pt x="72" y="65"/>
                  <a:pt x="75" y="53"/>
                  <a:pt x="70" y="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35" name="Freeform 93"/>
          <p:cNvSpPr>
            <a:spLocks noEditPoints="1" noChangeArrowheads="1"/>
          </p:cNvSpPr>
          <p:nvPr/>
        </p:nvSpPr>
        <p:spPr bwMode="auto">
          <a:xfrm>
            <a:off x="1325033" y="2298701"/>
            <a:ext cx="442384" cy="446617"/>
          </a:xfrm>
          <a:custGeom>
            <a:avLst/>
            <a:gdLst>
              <a:gd name="T0" fmla="*/ 22 w 99"/>
              <a:gd name="T1" fmla="*/ 2 h 100"/>
              <a:gd name="T2" fmla="*/ 1 w 99"/>
              <a:gd name="T3" fmla="*/ 33 h 100"/>
              <a:gd name="T4" fmla="*/ 53 w 99"/>
              <a:gd name="T5" fmla="*/ 96 h 100"/>
              <a:gd name="T6" fmla="*/ 86 w 99"/>
              <a:gd name="T7" fmla="*/ 20 h 100"/>
              <a:gd name="T8" fmla="*/ 64 w 99"/>
              <a:gd name="T9" fmla="*/ 25 h 100"/>
              <a:gd name="T10" fmla="*/ 22 w 99"/>
              <a:gd name="T11" fmla="*/ 2 h 100"/>
              <a:gd name="T12" fmla="*/ 73 w 99"/>
              <a:gd name="T13" fmla="*/ 37 h 100"/>
              <a:gd name="T14" fmla="*/ 78 w 99"/>
              <a:gd name="T15" fmla="*/ 49 h 100"/>
              <a:gd name="T16" fmla="*/ 70 w 99"/>
              <a:gd name="T17" fmla="*/ 60 h 100"/>
              <a:gd name="T18" fmla="*/ 64 w 99"/>
              <a:gd name="T19" fmla="*/ 48 h 100"/>
              <a:gd name="T20" fmla="*/ 73 w 99"/>
              <a:gd name="T21" fmla="*/ 37 h 1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9"/>
              <a:gd name="T34" fmla="*/ 0 h 100"/>
              <a:gd name="T35" fmla="*/ 99 w 99"/>
              <a:gd name="T36" fmla="*/ 100 h 1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9" h="100">
                <a:moveTo>
                  <a:pt x="22" y="2"/>
                </a:moveTo>
                <a:cubicBezTo>
                  <a:pt x="3" y="2"/>
                  <a:pt x="0" y="16"/>
                  <a:pt x="1" y="33"/>
                </a:cubicBezTo>
                <a:cubicBezTo>
                  <a:pt x="2" y="62"/>
                  <a:pt x="20" y="100"/>
                  <a:pt x="53" y="96"/>
                </a:cubicBezTo>
                <a:cubicBezTo>
                  <a:pt x="99" y="91"/>
                  <a:pt x="98" y="24"/>
                  <a:pt x="86" y="20"/>
                </a:cubicBezTo>
                <a:cubicBezTo>
                  <a:pt x="76" y="16"/>
                  <a:pt x="73" y="22"/>
                  <a:pt x="64" y="25"/>
                </a:cubicBezTo>
                <a:cubicBezTo>
                  <a:pt x="42" y="34"/>
                  <a:pt x="51" y="0"/>
                  <a:pt x="22" y="2"/>
                </a:cubicBezTo>
                <a:close/>
                <a:moveTo>
                  <a:pt x="73" y="37"/>
                </a:moveTo>
                <a:cubicBezTo>
                  <a:pt x="76" y="38"/>
                  <a:pt x="79" y="43"/>
                  <a:pt x="78" y="49"/>
                </a:cubicBezTo>
                <a:cubicBezTo>
                  <a:pt x="77" y="56"/>
                  <a:pt x="74" y="60"/>
                  <a:pt x="70" y="60"/>
                </a:cubicBezTo>
                <a:cubicBezTo>
                  <a:pt x="66" y="59"/>
                  <a:pt x="64" y="54"/>
                  <a:pt x="64" y="48"/>
                </a:cubicBezTo>
                <a:cubicBezTo>
                  <a:pt x="65" y="42"/>
                  <a:pt x="69" y="37"/>
                  <a:pt x="73" y="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  <p:sp>
        <p:nvSpPr>
          <p:cNvPr id="536" name="Freeform 98"/>
          <p:cNvSpPr>
            <a:spLocks noEditPoints="1" noChangeArrowheads="1"/>
          </p:cNvSpPr>
          <p:nvPr/>
        </p:nvSpPr>
        <p:spPr bwMode="auto">
          <a:xfrm>
            <a:off x="1295401" y="1551518"/>
            <a:ext cx="461433" cy="357716"/>
          </a:xfrm>
          <a:custGeom>
            <a:avLst/>
            <a:gdLst>
              <a:gd name="T0" fmla="*/ 21 w 104"/>
              <a:gd name="T1" fmla="*/ 44 h 80"/>
              <a:gd name="T2" fmla="*/ 13 w 104"/>
              <a:gd name="T3" fmla="*/ 73 h 80"/>
              <a:gd name="T4" fmla="*/ 33 w 104"/>
              <a:gd name="T5" fmla="*/ 73 h 80"/>
              <a:gd name="T6" fmla="*/ 51 w 104"/>
              <a:gd name="T7" fmla="*/ 80 h 80"/>
              <a:gd name="T8" fmla="*/ 69 w 104"/>
              <a:gd name="T9" fmla="*/ 73 h 80"/>
              <a:gd name="T10" fmla="*/ 87 w 104"/>
              <a:gd name="T11" fmla="*/ 73 h 80"/>
              <a:gd name="T12" fmla="*/ 81 w 104"/>
              <a:gd name="T13" fmla="*/ 44 h 80"/>
              <a:gd name="T14" fmla="*/ 86 w 104"/>
              <a:gd name="T15" fmla="*/ 44 h 80"/>
              <a:gd name="T16" fmla="*/ 86 w 104"/>
              <a:gd name="T17" fmla="*/ 28 h 80"/>
              <a:gd name="T18" fmla="*/ 97 w 104"/>
              <a:gd name="T19" fmla="*/ 25 h 80"/>
              <a:gd name="T20" fmla="*/ 97 w 104"/>
              <a:gd name="T21" fmla="*/ 34 h 80"/>
              <a:gd name="T22" fmla="*/ 95 w 104"/>
              <a:gd name="T23" fmla="*/ 51 h 80"/>
              <a:gd name="T24" fmla="*/ 103 w 104"/>
              <a:gd name="T25" fmla="*/ 51 h 80"/>
              <a:gd name="T26" fmla="*/ 101 w 104"/>
              <a:gd name="T27" fmla="*/ 34 h 80"/>
              <a:gd name="T28" fmla="*/ 101 w 104"/>
              <a:gd name="T29" fmla="*/ 23 h 80"/>
              <a:gd name="T30" fmla="*/ 104 w 104"/>
              <a:gd name="T31" fmla="*/ 22 h 80"/>
              <a:gd name="T32" fmla="*/ 104 w 104"/>
              <a:gd name="T33" fmla="*/ 15 h 80"/>
              <a:gd name="T34" fmla="*/ 52 w 104"/>
              <a:gd name="T35" fmla="*/ 0 h 80"/>
              <a:gd name="T36" fmla="*/ 0 w 104"/>
              <a:gd name="T37" fmla="*/ 15 h 80"/>
              <a:gd name="T38" fmla="*/ 0 w 104"/>
              <a:gd name="T39" fmla="*/ 22 h 80"/>
              <a:gd name="T40" fmla="*/ 19 w 104"/>
              <a:gd name="T41" fmla="*/ 28 h 80"/>
              <a:gd name="T42" fmla="*/ 19 w 104"/>
              <a:gd name="T43" fmla="*/ 44 h 80"/>
              <a:gd name="T44" fmla="*/ 21 w 104"/>
              <a:gd name="T45" fmla="*/ 44 h 80"/>
              <a:gd name="T46" fmla="*/ 71 w 104"/>
              <a:gd name="T47" fmla="*/ 44 h 80"/>
              <a:gd name="T48" fmla="*/ 72 w 104"/>
              <a:gd name="T49" fmla="*/ 48 h 80"/>
              <a:gd name="T50" fmla="*/ 65 w 104"/>
              <a:gd name="T51" fmla="*/ 66 h 80"/>
              <a:gd name="T52" fmla="*/ 51 w 104"/>
              <a:gd name="T53" fmla="*/ 73 h 80"/>
              <a:gd name="T54" fmla="*/ 37 w 104"/>
              <a:gd name="T55" fmla="*/ 66 h 80"/>
              <a:gd name="T56" fmla="*/ 31 w 104"/>
              <a:gd name="T57" fmla="*/ 48 h 80"/>
              <a:gd name="T58" fmla="*/ 31 w 104"/>
              <a:gd name="T59" fmla="*/ 44 h 80"/>
              <a:gd name="T60" fmla="*/ 71 w 104"/>
              <a:gd name="T61" fmla="*/ 44 h 8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04"/>
              <a:gd name="T94" fmla="*/ 0 h 80"/>
              <a:gd name="T95" fmla="*/ 104 w 104"/>
              <a:gd name="T96" fmla="*/ 80 h 8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04" h="80">
                <a:moveTo>
                  <a:pt x="21" y="44"/>
                </a:moveTo>
                <a:cubicBezTo>
                  <a:pt x="13" y="73"/>
                  <a:pt x="13" y="73"/>
                  <a:pt x="13" y="73"/>
                </a:cubicBezTo>
                <a:cubicBezTo>
                  <a:pt x="33" y="73"/>
                  <a:pt x="33" y="73"/>
                  <a:pt x="33" y="73"/>
                </a:cubicBezTo>
                <a:cubicBezTo>
                  <a:pt x="38" y="78"/>
                  <a:pt x="44" y="80"/>
                  <a:pt x="51" y="80"/>
                </a:cubicBezTo>
                <a:cubicBezTo>
                  <a:pt x="58" y="80"/>
                  <a:pt x="64" y="78"/>
                  <a:pt x="69" y="73"/>
                </a:cubicBezTo>
                <a:cubicBezTo>
                  <a:pt x="87" y="73"/>
                  <a:pt x="87" y="73"/>
                  <a:pt x="87" y="73"/>
                </a:cubicBezTo>
                <a:cubicBezTo>
                  <a:pt x="81" y="44"/>
                  <a:pt x="81" y="44"/>
                  <a:pt x="81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6" y="28"/>
                  <a:pt x="86" y="28"/>
                  <a:pt x="86" y="28"/>
                </a:cubicBezTo>
                <a:cubicBezTo>
                  <a:pt x="97" y="25"/>
                  <a:pt x="97" y="25"/>
                  <a:pt x="97" y="25"/>
                </a:cubicBezTo>
                <a:cubicBezTo>
                  <a:pt x="97" y="34"/>
                  <a:pt x="97" y="34"/>
                  <a:pt x="97" y="34"/>
                </a:cubicBezTo>
                <a:cubicBezTo>
                  <a:pt x="95" y="51"/>
                  <a:pt x="95" y="51"/>
                  <a:pt x="95" y="51"/>
                </a:cubicBezTo>
                <a:cubicBezTo>
                  <a:pt x="103" y="51"/>
                  <a:pt x="103" y="51"/>
                  <a:pt x="103" y="51"/>
                </a:cubicBezTo>
                <a:cubicBezTo>
                  <a:pt x="101" y="34"/>
                  <a:pt x="101" y="34"/>
                  <a:pt x="101" y="34"/>
                </a:cubicBezTo>
                <a:cubicBezTo>
                  <a:pt x="101" y="23"/>
                  <a:pt x="101" y="23"/>
                  <a:pt x="101" y="23"/>
                </a:cubicBezTo>
                <a:cubicBezTo>
                  <a:pt x="104" y="22"/>
                  <a:pt x="104" y="22"/>
                  <a:pt x="104" y="22"/>
                </a:cubicBezTo>
                <a:cubicBezTo>
                  <a:pt x="104" y="15"/>
                  <a:pt x="104" y="15"/>
                  <a:pt x="104" y="15"/>
                </a:cubicBezTo>
                <a:cubicBezTo>
                  <a:pt x="52" y="0"/>
                  <a:pt x="52" y="0"/>
                  <a:pt x="52" y="0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22"/>
                  <a:pt x="0" y="22"/>
                  <a:pt x="0" y="22"/>
                </a:cubicBezTo>
                <a:cubicBezTo>
                  <a:pt x="19" y="28"/>
                  <a:pt x="19" y="28"/>
                  <a:pt x="19" y="28"/>
                </a:cubicBezTo>
                <a:cubicBezTo>
                  <a:pt x="19" y="44"/>
                  <a:pt x="19" y="44"/>
                  <a:pt x="19" y="44"/>
                </a:cubicBezTo>
                <a:cubicBezTo>
                  <a:pt x="21" y="44"/>
                  <a:pt x="21" y="44"/>
                  <a:pt x="21" y="44"/>
                </a:cubicBezTo>
                <a:close/>
                <a:moveTo>
                  <a:pt x="71" y="44"/>
                </a:moveTo>
                <a:cubicBezTo>
                  <a:pt x="72" y="46"/>
                  <a:pt x="72" y="47"/>
                  <a:pt x="72" y="48"/>
                </a:cubicBezTo>
                <a:cubicBezTo>
                  <a:pt x="72" y="55"/>
                  <a:pt x="69" y="61"/>
                  <a:pt x="65" y="66"/>
                </a:cubicBezTo>
                <a:cubicBezTo>
                  <a:pt x="62" y="70"/>
                  <a:pt x="57" y="73"/>
                  <a:pt x="51" y="73"/>
                </a:cubicBezTo>
                <a:cubicBezTo>
                  <a:pt x="46" y="73"/>
                  <a:pt x="41" y="70"/>
                  <a:pt x="37" y="66"/>
                </a:cubicBezTo>
                <a:cubicBezTo>
                  <a:pt x="33" y="61"/>
                  <a:pt x="31" y="55"/>
                  <a:pt x="31" y="48"/>
                </a:cubicBezTo>
                <a:cubicBezTo>
                  <a:pt x="31" y="47"/>
                  <a:pt x="31" y="46"/>
                  <a:pt x="31" y="44"/>
                </a:cubicBezTo>
                <a:lnTo>
                  <a:pt x="71" y="4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zh-CN" sz="11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等线" panose="02010600030101010101" pitchFamily="2" charset="-122"/>
              <a:cs typeface="+mn-cs"/>
              <a:sym typeface="宋体" pitchFamily="2" charset="-122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98" name="Google Shape;2635;p64">
            <a:extLst>
              <a:ext uri="{FF2B5EF4-FFF2-40B4-BE49-F238E27FC236}">
                <a16:creationId xmlns:a16="http://schemas.microsoft.com/office/drawing/2014/main" id="{CE228DE0-9F30-010D-F634-BB7FFFCE9067}"/>
              </a:ext>
            </a:extLst>
          </p:cNvPr>
          <p:cNvGrpSpPr/>
          <p:nvPr/>
        </p:nvGrpSpPr>
        <p:grpSpPr>
          <a:xfrm>
            <a:off x="4857268" y="1568987"/>
            <a:ext cx="2770909" cy="1822077"/>
            <a:chOff x="235800" y="830650"/>
            <a:chExt cx="6978450" cy="4588844"/>
          </a:xfrm>
        </p:grpSpPr>
        <p:sp>
          <p:nvSpPr>
            <p:cNvPr id="6499" name="Google Shape;2636;p64">
              <a:extLst>
                <a:ext uri="{FF2B5EF4-FFF2-40B4-BE49-F238E27FC236}">
                  <a16:creationId xmlns:a16="http://schemas.microsoft.com/office/drawing/2014/main" id="{F38F322C-A1BC-4B70-8283-06CE63A6C785}"/>
                </a:ext>
              </a:extLst>
            </p:cNvPr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00" name="Google Shape;2637;p64">
              <a:extLst>
                <a:ext uri="{FF2B5EF4-FFF2-40B4-BE49-F238E27FC236}">
                  <a16:creationId xmlns:a16="http://schemas.microsoft.com/office/drawing/2014/main" id="{36EDC73D-53C8-6E85-AD5A-4EE8D7FDCC44}"/>
                </a:ext>
              </a:extLst>
            </p:cNvPr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01" name="Google Shape;2638;p64">
              <a:extLst>
                <a:ext uri="{FF2B5EF4-FFF2-40B4-BE49-F238E27FC236}">
                  <a16:creationId xmlns:a16="http://schemas.microsoft.com/office/drawing/2014/main" id="{9BD6B302-65E7-35E2-F243-7CE0039CAEDF}"/>
                </a:ext>
              </a:extLst>
            </p:cNvPr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02" name="Google Shape;2639;p64">
              <a:extLst>
                <a:ext uri="{FF2B5EF4-FFF2-40B4-BE49-F238E27FC236}">
                  <a16:creationId xmlns:a16="http://schemas.microsoft.com/office/drawing/2014/main" id="{A95D7138-5630-0CD2-3343-D85940C152D1}"/>
                </a:ext>
              </a:extLst>
            </p:cNvPr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03" name="Google Shape;2640;p64">
              <a:extLst>
                <a:ext uri="{FF2B5EF4-FFF2-40B4-BE49-F238E27FC236}">
                  <a16:creationId xmlns:a16="http://schemas.microsoft.com/office/drawing/2014/main" id="{51B4F23E-9C02-B308-25FE-38100F978F88}"/>
                </a:ext>
              </a:extLst>
            </p:cNvPr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04" name="Google Shape;2641;p64">
              <a:extLst>
                <a:ext uri="{FF2B5EF4-FFF2-40B4-BE49-F238E27FC236}">
                  <a16:creationId xmlns:a16="http://schemas.microsoft.com/office/drawing/2014/main" id="{C957A4EC-A4A2-F783-2B5F-479E40E59FD8}"/>
                </a:ext>
              </a:extLst>
            </p:cNvPr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1E7E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6505" name="Google Shape;2642;p64">
            <a:extLst>
              <a:ext uri="{FF2B5EF4-FFF2-40B4-BE49-F238E27FC236}">
                <a16:creationId xmlns:a16="http://schemas.microsoft.com/office/drawing/2014/main" id="{4ACD80EC-5659-7FB2-2D5A-A0409C51D846}"/>
              </a:ext>
            </a:extLst>
          </p:cNvPr>
          <p:cNvGrpSpPr/>
          <p:nvPr/>
        </p:nvGrpSpPr>
        <p:grpSpPr>
          <a:xfrm>
            <a:off x="984605" y="4010456"/>
            <a:ext cx="3497168" cy="1778053"/>
            <a:chOff x="238125" y="1038125"/>
            <a:chExt cx="7146800" cy="3633625"/>
          </a:xfrm>
        </p:grpSpPr>
        <p:sp>
          <p:nvSpPr>
            <p:cNvPr id="6506" name="Google Shape;2643;p64">
              <a:extLst>
                <a:ext uri="{FF2B5EF4-FFF2-40B4-BE49-F238E27FC236}">
                  <a16:creationId xmlns:a16="http://schemas.microsoft.com/office/drawing/2014/main" id="{5763AF6F-2FC6-0838-4A9D-22008118CB34}"/>
                </a:ext>
              </a:extLst>
            </p:cNvPr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07" name="Google Shape;2644;p64">
              <a:extLst>
                <a:ext uri="{FF2B5EF4-FFF2-40B4-BE49-F238E27FC236}">
                  <a16:creationId xmlns:a16="http://schemas.microsoft.com/office/drawing/2014/main" id="{52A3FD7D-0F05-8C38-9E81-85287E649D2C}"/>
                </a:ext>
              </a:extLst>
            </p:cNvPr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08" name="Google Shape;2645;p64">
              <a:extLst>
                <a:ext uri="{FF2B5EF4-FFF2-40B4-BE49-F238E27FC236}">
                  <a16:creationId xmlns:a16="http://schemas.microsoft.com/office/drawing/2014/main" id="{AA259D9C-0CF5-F2F8-0A1A-CBEB6047E630}"/>
                </a:ext>
              </a:extLst>
            </p:cNvPr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09" name="Google Shape;2646;p64">
              <a:extLst>
                <a:ext uri="{FF2B5EF4-FFF2-40B4-BE49-F238E27FC236}">
                  <a16:creationId xmlns:a16="http://schemas.microsoft.com/office/drawing/2014/main" id="{0F5CEB77-EA01-54D9-33ED-7B57433E0261}"/>
                </a:ext>
              </a:extLst>
            </p:cNvPr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0" name="Google Shape;2647;p64">
              <a:extLst>
                <a:ext uri="{FF2B5EF4-FFF2-40B4-BE49-F238E27FC236}">
                  <a16:creationId xmlns:a16="http://schemas.microsoft.com/office/drawing/2014/main" id="{BFB2A867-7111-B2ED-A8B0-2025ACF31E9C}"/>
                </a:ext>
              </a:extLst>
            </p:cNvPr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1" name="Google Shape;2648;p64">
              <a:extLst>
                <a:ext uri="{FF2B5EF4-FFF2-40B4-BE49-F238E27FC236}">
                  <a16:creationId xmlns:a16="http://schemas.microsoft.com/office/drawing/2014/main" id="{8B656126-80F9-A361-9B89-A6314A61077B}"/>
                </a:ext>
              </a:extLst>
            </p:cNvPr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2" name="Google Shape;2649;p64">
              <a:extLst>
                <a:ext uri="{FF2B5EF4-FFF2-40B4-BE49-F238E27FC236}">
                  <a16:creationId xmlns:a16="http://schemas.microsoft.com/office/drawing/2014/main" id="{A69D6B33-7DD8-9DDE-0AE6-C734576DED23}"/>
                </a:ext>
              </a:extLst>
            </p:cNvPr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3" name="Google Shape;2650;p64">
              <a:extLst>
                <a:ext uri="{FF2B5EF4-FFF2-40B4-BE49-F238E27FC236}">
                  <a16:creationId xmlns:a16="http://schemas.microsoft.com/office/drawing/2014/main" id="{210DC925-F5A9-A681-D282-E7761B5C789A}"/>
                </a:ext>
              </a:extLst>
            </p:cNvPr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4" name="Google Shape;2651;p64">
              <a:extLst>
                <a:ext uri="{FF2B5EF4-FFF2-40B4-BE49-F238E27FC236}">
                  <a16:creationId xmlns:a16="http://schemas.microsoft.com/office/drawing/2014/main" id="{75DA425D-1C84-2E4F-DE16-6B8BCE825C8A}"/>
                </a:ext>
              </a:extLst>
            </p:cNvPr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5" name="Google Shape;2652;p64">
              <a:extLst>
                <a:ext uri="{FF2B5EF4-FFF2-40B4-BE49-F238E27FC236}">
                  <a16:creationId xmlns:a16="http://schemas.microsoft.com/office/drawing/2014/main" id="{2ABCC5C7-2B4B-92E5-6FC0-91FE5194DC50}"/>
                </a:ext>
              </a:extLst>
            </p:cNvPr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6" name="Google Shape;2653;p64">
              <a:extLst>
                <a:ext uri="{FF2B5EF4-FFF2-40B4-BE49-F238E27FC236}">
                  <a16:creationId xmlns:a16="http://schemas.microsoft.com/office/drawing/2014/main" id="{25A68D32-78C9-98FF-2B45-A2F61D28FB13}"/>
                </a:ext>
              </a:extLst>
            </p:cNvPr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7" name="Google Shape;2654;p64">
              <a:extLst>
                <a:ext uri="{FF2B5EF4-FFF2-40B4-BE49-F238E27FC236}">
                  <a16:creationId xmlns:a16="http://schemas.microsoft.com/office/drawing/2014/main" id="{F362B73E-4310-4DB6-BDB2-E758EC6FD0FC}"/>
                </a:ext>
              </a:extLst>
            </p:cNvPr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8" name="Google Shape;2655;p64">
              <a:extLst>
                <a:ext uri="{FF2B5EF4-FFF2-40B4-BE49-F238E27FC236}">
                  <a16:creationId xmlns:a16="http://schemas.microsoft.com/office/drawing/2014/main" id="{B47B058C-2DA8-9AA5-373E-308BECD663CE}"/>
                </a:ext>
              </a:extLst>
            </p:cNvPr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9" name="Google Shape;2656;p64">
              <a:extLst>
                <a:ext uri="{FF2B5EF4-FFF2-40B4-BE49-F238E27FC236}">
                  <a16:creationId xmlns:a16="http://schemas.microsoft.com/office/drawing/2014/main" id="{655935FF-7FB5-E597-ACBD-B6418D11224A}"/>
                </a:ext>
              </a:extLst>
            </p:cNvPr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0" name="Google Shape;2657;p64">
              <a:extLst>
                <a:ext uri="{FF2B5EF4-FFF2-40B4-BE49-F238E27FC236}">
                  <a16:creationId xmlns:a16="http://schemas.microsoft.com/office/drawing/2014/main" id="{5982917C-F174-47B7-7322-8919D762C525}"/>
                </a:ext>
              </a:extLst>
            </p:cNvPr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1" name="Google Shape;2658;p64">
              <a:extLst>
                <a:ext uri="{FF2B5EF4-FFF2-40B4-BE49-F238E27FC236}">
                  <a16:creationId xmlns:a16="http://schemas.microsoft.com/office/drawing/2014/main" id="{956B39CE-8F27-3133-7782-05057C01BC8A}"/>
                </a:ext>
              </a:extLst>
            </p:cNvPr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2" name="Google Shape;2659;p64">
              <a:extLst>
                <a:ext uri="{FF2B5EF4-FFF2-40B4-BE49-F238E27FC236}">
                  <a16:creationId xmlns:a16="http://schemas.microsoft.com/office/drawing/2014/main" id="{23CFC915-6538-86C5-BE27-B50163A89AAE}"/>
                </a:ext>
              </a:extLst>
            </p:cNvPr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3" name="Google Shape;2660;p64">
              <a:extLst>
                <a:ext uri="{FF2B5EF4-FFF2-40B4-BE49-F238E27FC236}">
                  <a16:creationId xmlns:a16="http://schemas.microsoft.com/office/drawing/2014/main" id="{5C5F1BCC-2994-82F0-CAA8-829D11B7B1D7}"/>
                </a:ext>
              </a:extLst>
            </p:cNvPr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4" name="Google Shape;2661;p64">
              <a:extLst>
                <a:ext uri="{FF2B5EF4-FFF2-40B4-BE49-F238E27FC236}">
                  <a16:creationId xmlns:a16="http://schemas.microsoft.com/office/drawing/2014/main" id="{54FE541E-DE42-4010-F6BA-1B92DF6791B1}"/>
                </a:ext>
              </a:extLst>
            </p:cNvPr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5" name="Google Shape;2662;p64">
              <a:extLst>
                <a:ext uri="{FF2B5EF4-FFF2-40B4-BE49-F238E27FC236}">
                  <a16:creationId xmlns:a16="http://schemas.microsoft.com/office/drawing/2014/main" id="{66738DCB-7AE9-E4FE-4EA7-1017D33DEB61}"/>
                </a:ext>
              </a:extLst>
            </p:cNvPr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6" name="Google Shape;2663;p64">
              <a:extLst>
                <a:ext uri="{FF2B5EF4-FFF2-40B4-BE49-F238E27FC236}">
                  <a16:creationId xmlns:a16="http://schemas.microsoft.com/office/drawing/2014/main" id="{89C3CC52-EF78-F90F-1C4C-E4F9444A4110}"/>
                </a:ext>
              </a:extLst>
            </p:cNvPr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7" name="Google Shape;2664;p64">
              <a:extLst>
                <a:ext uri="{FF2B5EF4-FFF2-40B4-BE49-F238E27FC236}">
                  <a16:creationId xmlns:a16="http://schemas.microsoft.com/office/drawing/2014/main" id="{CCA738EA-73C5-6309-DE2B-C79640B5E3B0}"/>
                </a:ext>
              </a:extLst>
            </p:cNvPr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8" name="Google Shape;2665;p64">
              <a:extLst>
                <a:ext uri="{FF2B5EF4-FFF2-40B4-BE49-F238E27FC236}">
                  <a16:creationId xmlns:a16="http://schemas.microsoft.com/office/drawing/2014/main" id="{40E15E0B-9CB7-0074-AC2B-A47F8EFE42F6}"/>
                </a:ext>
              </a:extLst>
            </p:cNvPr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9" name="Google Shape;2666;p64">
              <a:extLst>
                <a:ext uri="{FF2B5EF4-FFF2-40B4-BE49-F238E27FC236}">
                  <a16:creationId xmlns:a16="http://schemas.microsoft.com/office/drawing/2014/main" id="{C52A74AD-9095-1E93-0E55-AB54AE2538A8}"/>
                </a:ext>
              </a:extLst>
            </p:cNvPr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0" name="Google Shape;2667;p64">
              <a:extLst>
                <a:ext uri="{FF2B5EF4-FFF2-40B4-BE49-F238E27FC236}">
                  <a16:creationId xmlns:a16="http://schemas.microsoft.com/office/drawing/2014/main" id="{54D941DA-7BBF-191A-C394-17CFC1D8D5D8}"/>
                </a:ext>
              </a:extLst>
            </p:cNvPr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1" name="Google Shape;2668;p64">
              <a:extLst>
                <a:ext uri="{FF2B5EF4-FFF2-40B4-BE49-F238E27FC236}">
                  <a16:creationId xmlns:a16="http://schemas.microsoft.com/office/drawing/2014/main" id="{7C92A332-1C38-649A-472B-0C0869998C0E}"/>
                </a:ext>
              </a:extLst>
            </p:cNvPr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2" name="Google Shape;2669;p64">
              <a:extLst>
                <a:ext uri="{FF2B5EF4-FFF2-40B4-BE49-F238E27FC236}">
                  <a16:creationId xmlns:a16="http://schemas.microsoft.com/office/drawing/2014/main" id="{C7A9BD84-3F6D-DBAB-8AE1-30DDBB399C30}"/>
                </a:ext>
              </a:extLst>
            </p:cNvPr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3" name="Google Shape;2670;p64">
              <a:extLst>
                <a:ext uri="{FF2B5EF4-FFF2-40B4-BE49-F238E27FC236}">
                  <a16:creationId xmlns:a16="http://schemas.microsoft.com/office/drawing/2014/main" id="{71D1B73A-4C80-3723-A6E1-67A962E82E1C}"/>
                </a:ext>
              </a:extLst>
            </p:cNvPr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4" name="Google Shape;2671;p64">
              <a:extLst>
                <a:ext uri="{FF2B5EF4-FFF2-40B4-BE49-F238E27FC236}">
                  <a16:creationId xmlns:a16="http://schemas.microsoft.com/office/drawing/2014/main" id="{78F6C731-2361-7BA6-4677-E8FD4E995979}"/>
                </a:ext>
              </a:extLst>
            </p:cNvPr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5" name="Google Shape;2672;p64">
              <a:extLst>
                <a:ext uri="{FF2B5EF4-FFF2-40B4-BE49-F238E27FC236}">
                  <a16:creationId xmlns:a16="http://schemas.microsoft.com/office/drawing/2014/main" id="{4739A50C-69A9-F407-4C3D-BEEDD27FE387}"/>
                </a:ext>
              </a:extLst>
            </p:cNvPr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6" name="Google Shape;2673;p64">
              <a:extLst>
                <a:ext uri="{FF2B5EF4-FFF2-40B4-BE49-F238E27FC236}">
                  <a16:creationId xmlns:a16="http://schemas.microsoft.com/office/drawing/2014/main" id="{5B1E4B99-1941-CE6A-9BFC-787F3A799112}"/>
                </a:ext>
              </a:extLst>
            </p:cNvPr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7" name="Google Shape;2674;p64">
              <a:extLst>
                <a:ext uri="{FF2B5EF4-FFF2-40B4-BE49-F238E27FC236}">
                  <a16:creationId xmlns:a16="http://schemas.microsoft.com/office/drawing/2014/main" id="{D53942FF-6566-2D44-5A32-E0A0205B11C8}"/>
                </a:ext>
              </a:extLst>
            </p:cNvPr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8" name="Google Shape;2675;p64">
              <a:extLst>
                <a:ext uri="{FF2B5EF4-FFF2-40B4-BE49-F238E27FC236}">
                  <a16:creationId xmlns:a16="http://schemas.microsoft.com/office/drawing/2014/main" id="{320DF036-D27D-DDA9-7982-1DC73F217AE6}"/>
                </a:ext>
              </a:extLst>
            </p:cNvPr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9" name="Google Shape;2676;p64">
              <a:extLst>
                <a:ext uri="{FF2B5EF4-FFF2-40B4-BE49-F238E27FC236}">
                  <a16:creationId xmlns:a16="http://schemas.microsoft.com/office/drawing/2014/main" id="{8DF7F0A5-ECF3-D24E-7271-F154C3F085E5}"/>
                </a:ext>
              </a:extLst>
            </p:cNvPr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0" name="Google Shape;2677;p64">
              <a:extLst>
                <a:ext uri="{FF2B5EF4-FFF2-40B4-BE49-F238E27FC236}">
                  <a16:creationId xmlns:a16="http://schemas.microsoft.com/office/drawing/2014/main" id="{D8DD15A1-13BC-F191-9270-462F07DCFBCB}"/>
                </a:ext>
              </a:extLst>
            </p:cNvPr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1" name="Google Shape;2678;p64">
              <a:extLst>
                <a:ext uri="{FF2B5EF4-FFF2-40B4-BE49-F238E27FC236}">
                  <a16:creationId xmlns:a16="http://schemas.microsoft.com/office/drawing/2014/main" id="{53AD96AA-8454-C347-978D-B9BFAE8ACCE9}"/>
                </a:ext>
              </a:extLst>
            </p:cNvPr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2" name="Google Shape;2679;p64">
              <a:extLst>
                <a:ext uri="{FF2B5EF4-FFF2-40B4-BE49-F238E27FC236}">
                  <a16:creationId xmlns:a16="http://schemas.microsoft.com/office/drawing/2014/main" id="{20DD91E8-B4E7-3919-866F-3771D80CE344}"/>
                </a:ext>
              </a:extLst>
            </p:cNvPr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3" name="Google Shape;2680;p64">
              <a:extLst>
                <a:ext uri="{FF2B5EF4-FFF2-40B4-BE49-F238E27FC236}">
                  <a16:creationId xmlns:a16="http://schemas.microsoft.com/office/drawing/2014/main" id="{2F5701BF-03E1-5516-DFA6-11E0DF852E1F}"/>
                </a:ext>
              </a:extLst>
            </p:cNvPr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4" name="Google Shape;2681;p64">
              <a:extLst>
                <a:ext uri="{FF2B5EF4-FFF2-40B4-BE49-F238E27FC236}">
                  <a16:creationId xmlns:a16="http://schemas.microsoft.com/office/drawing/2014/main" id="{8825D32D-788D-091A-64DD-CB6198816E49}"/>
                </a:ext>
              </a:extLst>
            </p:cNvPr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5" name="Google Shape;2682;p64">
              <a:extLst>
                <a:ext uri="{FF2B5EF4-FFF2-40B4-BE49-F238E27FC236}">
                  <a16:creationId xmlns:a16="http://schemas.microsoft.com/office/drawing/2014/main" id="{5A8088C4-6A31-F236-9CE6-D67FEF9223AD}"/>
                </a:ext>
              </a:extLst>
            </p:cNvPr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6" name="Google Shape;2683;p64">
              <a:extLst>
                <a:ext uri="{FF2B5EF4-FFF2-40B4-BE49-F238E27FC236}">
                  <a16:creationId xmlns:a16="http://schemas.microsoft.com/office/drawing/2014/main" id="{2301492D-9550-8B35-0F6A-D0FFCA80FEA2}"/>
                </a:ext>
              </a:extLst>
            </p:cNvPr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7" name="Google Shape;2684;p64">
              <a:extLst>
                <a:ext uri="{FF2B5EF4-FFF2-40B4-BE49-F238E27FC236}">
                  <a16:creationId xmlns:a16="http://schemas.microsoft.com/office/drawing/2014/main" id="{60EC5088-09A0-A75F-FC65-35047DE153DF}"/>
                </a:ext>
              </a:extLst>
            </p:cNvPr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8" name="Google Shape;2685;p64">
              <a:extLst>
                <a:ext uri="{FF2B5EF4-FFF2-40B4-BE49-F238E27FC236}">
                  <a16:creationId xmlns:a16="http://schemas.microsoft.com/office/drawing/2014/main" id="{C2CA445C-76C4-5894-9F81-A742E85FD822}"/>
                </a:ext>
              </a:extLst>
            </p:cNvPr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9" name="Google Shape;2686;p64">
              <a:extLst>
                <a:ext uri="{FF2B5EF4-FFF2-40B4-BE49-F238E27FC236}">
                  <a16:creationId xmlns:a16="http://schemas.microsoft.com/office/drawing/2014/main" id="{6F021C09-3096-B4E4-294A-4B3A83C1CF62}"/>
                </a:ext>
              </a:extLst>
            </p:cNvPr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0" name="Google Shape;2687;p64">
              <a:extLst>
                <a:ext uri="{FF2B5EF4-FFF2-40B4-BE49-F238E27FC236}">
                  <a16:creationId xmlns:a16="http://schemas.microsoft.com/office/drawing/2014/main" id="{B19C2C4D-6AA8-AC1D-F47B-63F692CC6C62}"/>
                </a:ext>
              </a:extLst>
            </p:cNvPr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1" name="Google Shape;2688;p64">
              <a:extLst>
                <a:ext uri="{FF2B5EF4-FFF2-40B4-BE49-F238E27FC236}">
                  <a16:creationId xmlns:a16="http://schemas.microsoft.com/office/drawing/2014/main" id="{6255E09B-4BDA-8350-A063-8A663EA1A229}"/>
                </a:ext>
              </a:extLst>
            </p:cNvPr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2" name="Google Shape;2689;p64">
              <a:extLst>
                <a:ext uri="{FF2B5EF4-FFF2-40B4-BE49-F238E27FC236}">
                  <a16:creationId xmlns:a16="http://schemas.microsoft.com/office/drawing/2014/main" id="{BD9494DE-EBEA-F251-383D-6814425FBF1F}"/>
                </a:ext>
              </a:extLst>
            </p:cNvPr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3" name="Google Shape;2690;p64">
              <a:extLst>
                <a:ext uri="{FF2B5EF4-FFF2-40B4-BE49-F238E27FC236}">
                  <a16:creationId xmlns:a16="http://schemas.microsoft.com/office/drawing/2014/main" id="{7B820B4A-E025-3331-C1E8-0518FCF49E87}"/>
                </a:ext>
              </a:extLst>
            </p:cNvPr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4" name="Google Shape;2691;p64">
              <a:extLst>
                <a:ext uri="{FF2B5EF4-FFF2-40B4-BE49-F238E27FC236}">
                  <a16:creationId xmlns:a16="http://schemas.microsoft.com/office/drawing/2014/main" id="{6DC553E8-DC19-AE5B-05B9-19AC2B515CE7}"/>
                </a:ext>
              </a:extLst>
            </p:cNvPr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5" name="Google Shape;2692;p64">
              <a:extLst>
                <a:ext uri="{FF2B5EF4-FFF2-40B4-BE49-F238E27FC236}">
                  <a16:creationId xmlns:a16="http://schemas.microsoft.com/office/drawing/2014/main" id="{8733D25D-4CC3-B3CF-7458-697A4A79E63E}"/>
                </a:ext>
              </a:extLst>
            </p:cNvPr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6" name="Google Shape;2693;p64">
              <a:extLst>
                <a:ext uri="{FF2B5EF4-FFF2-40B4-BE49-F238E27FC236}">
                  <a16:creationId xmlns:a16="http://schemas.microsoft.com/office/drawing/2014/main" id="{564F74AA-5B1B-5F57-0729-D4DD7F08355C}"/>
                </a:ext>
              </a:extLst>
            </p:cNvPr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7" name="Google Shape;2694;p64">
              <a:extLst>
                <a:ext uri="{FF2B5EF4-FFF2-40B4-BE49-F238E27FC236}">
                  <a16:creationId xmlns:a16="http://schemas.microsoft.com/office/drawing/2014/main" id="{1F3AAF88-6EF8-4987-10BF-42DE3C2B7BA5}"/>
                </a:ext>
              </a:extLst>
            </p:cNvPr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8" name="Google Shape;2695;p64">
              <a:extLst>
                <a:ext uri="{FF2B5EF4-FFF2-40B4-BE49-F238E27FC236}">
                  <a16:creationId xmlns:a16="http://schemas.microsoft.com/office/drawing/2014/main" id="{363E981D-7B16-72D4-6D9D-E9942FAFC347}"/>
                </a:ext>
              </a:extLst>
            </p:cNvPr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9" name="Google Shape;2696;p64">
              <a:extLst>
                <a:ext uri="{FF2B5EF4-FFF2-40B4-BE49-F238E27FC236}">
                  <a16:creationId xmlns:a16="http://schemas.microsoft.com/office/drawing/2014/main" id="{7E0738B4-C9A4-7575-655D-3B3A7E76C02C}"/>
                </a:ext>
              </a:extLst>
            </p:cNvPr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0" name="Google Shape;2697;p64">
              <a:extLst>
                <a:ext uri="{FF2B5EF4-FFF2-40B4-BE49-F238E27FC236}">
                  <a16:creationId xmlns:a16="http://schemas.microsoft.com/office/drawing/2014/main" id="{666F1848-1890-A32F-823B-A8E38CDEF0D1}"/>
                </a:ext>
              </a:extLst>
            </p:cNvPr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1" name="Google Shape;2698;p64">
              <a:extLst>
                <a:ext uri="{FF2B5EF4-FFF2-40B4-BE49-F238E27FC236}">
                  <a16:creationId xmlns:a16="http://schemas.microsoft.com/office/drawing/2014/main" id="{F445801E-A874-CFAF-539E-34611EA7F272}"/>
                </a:ext>
              </a:extLst>
            </p:cNvPr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2" name="Google Shape;2699;p64">
              <a:extLst>
                <a:ext uri="{FF2B5EF4-FFF2-40B4-BE49-F238E27FC236}">
                  <a16:creationId xmlns:a16="http://schemas.microsoft.com/office/drawing/2014/main" id="{A9BA80AD-7B9B-E613-95E2-B59848FBD93A}"/>
                </a:ext>
              </a:extLst>
            </p:cNvPr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3" name="Google Shape;2700;p64">
              <a:extLst>
                <a:ext uri="{FF2B5EF4-FFF2-40B4-BE49-F238E27FC236}">
                  <a16:creationId xmlns:a16="http://schemas.microsoft.com/office/drawing/2014/main" id="{1F52FED9-3A45-6982-D6C1-371CD4D7FE71}"/>
                </a:ext>
              </a:extLst>
            </p:cNvPr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4" name="Google Shape;2701;p64">
              <a:extLst>
                <a:ext uri="{FF2B5EF4-FFF2-40B4-BE49-F238E27FC236}">
                  <a16:creationId xmlns:a16="http://schemas.microsoft.com/office/drawing/2014/main" id="{B12F6834-6AC0-F8F8-ACC1-4D8106FE4127}"/>
                </a:ext>
              </a:extLst>
            </p:cNvPr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5" name="Google Shape;2702;p64">
              <a:extLst>
                <a:ext uri="{FF2B5EF4-FFF2-40B4-BE49-F238E27FC236}">
                  <a16:creationId xmlns:a16="http://schemas.microsoft.com/office/drawing/2014/main" id="{969252BA-C19E-F6F5-E9C6-B25339D7D7D8}"/>
                </a:ext>
              </a:extLst>
            </p:cNvPr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6" name="Google Shape;2703;p64">
              <a:extLst>
                <a:ext uri="{FF2B5EF4-FFF2-40B4-BE49-F238E27FC236}">
                  <a16:creationId xmlns:a16="http://schemas.microsoft.com/office/drawing/2014/main" id="{B30176DC-D4EA-9536-1F71-4347FC6A2E48}"/>
                </a:ext>
              </a:extLst>
            </p:cNvPr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7" name="Google Shape;2704;p64">
              <a:extLst>
                <a:ext uri="{FF2B5EF4-FFF2-40B4-BE49-F238E27FC236}">
                  <a16:creationId xmlns:a16="http://schemas.microsoft.com/office/drawing/2014/main" id="{2B1090F4-44F1-203C-8453-16839179504F}"/>
                </a:ext>
              </a:extLst>
            </p:cNvPr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8" name="Google Shape;2705;p64">
              <a:extLst>
                <a:ext uri="{FF2B5EF4-FFF2-40B4-BE49-F238E27FC236}">
                  <a16:creationId xmlns:a16="http://schemas.microsoft.com/office/drawing/2014/main" id="{BA7E8769-31CD-2D64-8338-85A8C8BC48D0}"/>
                </a:ext>
              </a:extLst>
            </p:cNvPr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9" name="Google Shape;2706;p64">
              <a:extLst>
                <a:ext uri="{FF2B5EF4-FFF2-40B4-BE49-F238E27FC236}">
                  <a16:creationId xmlns:a16="http://schemas.microsoft.com/office/drawing/2014/main" id="{8F447041-72F1-734A-9EB5-F21091A78C15}"/>
                </a:ext>
              </a:extLst>
            </p:cNvPr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0" name="Google Shape;2707;p64">
              <a:extLst>
                <a:ext uri="{FF2B5EF4-FFF2-40B4-BE49-F238E27FC236}">
                  <a16:creationId xmlns:a16="http://schemas.microsoft.com/office/drawing/2014/main" id="{D76DBB46-A3BB-4A0C-C43B-747F16632CE4}"/>
                </a:ext>
              </a:extLst>
            </p:cNvPr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1" name="Google Shape;2708;p64">
              <a:extLst>
                <a:ext uri="{FF2B5EF4-FFF2-40B4-BE49-F238E27FC236}">
                  <a16:creationId xmlns:a16="http://schemas.microsoft.com/office/drawing/2014/main" id="{4318DEE5-F71A-2942-FA90-FB651B578B38}"/>
                </a:ext>
              </a:extLst>
            </p:cNvPr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2" name="Google Shape;2709;p64">
              <a:extLst>
                <a:ext uri="{FF2B5EF4-FFF2-40B4-BE49-F238E27FC236}">
                  <a16:creationId xmlns:a16="http://schemas.microsoft.com/office/drawing/2014/main" id="{CF9E7865-9B0F-6AC8-F936-C7426FE24AD4}"/>
                </a:ext>
              </a:extLst>
            </p:cNvPr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3" name="Google Shape;2710;p64">
              <a:extLst>
                <a:ext uri="{FF2B5EF4-FFF2-40B4-BE49-F238E27FC236}">
                  <a16:creationId xmlns:a16="http://schemas.microsoft.com/office/drawing/2014/main" id="{9C0BA87C-BF02-EB9C-BB08-0C2FC231A41C}"/>
                </a:ext>
              </a:extLst>
            </p:cNvPr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4" name="Google Shape;2711;p64">
              <a:extLst>
                <a:ext uri="{FF2B5EF4-FFF2-40B4-BE49-F238E27FC236}">
                  <a16:creationId xmlns:a16="http://schemas.microsoft.com/office/drawing/2014/main" id="{50343270-4DBE-F3E6-CB64-44DA1E3FED71}"/>
                </a:ext>
              </a:extLst>
            </p:cNvPr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5" name="Google Shape;2712;p64">
              <a:extLst>
                <a:ext uri="{FF2B5EF4-FFF2-40B4-BE49-F238E27FC236}">
                  <a16:creationId xmlns:a16="http://schemas.microsoft.com/office/drawing/2014/main" id="{B5A1A5FD-0DA0-5608-799A-9D0777DDB34A}"/>
                </a:ext>
              </a:extLst>
            </p:cNvPr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6" name="Google Shape;2713;p64">
              <a:extLst>
                <a:ext uri="{FF2B5EF4-FFF2-40B4-BE49-F238E27FC236}">
                  <a16:creationId xmlns:a16="http://schemas.microsoft.com/office/drawing/2014/main" id="{FE98BECC-8D60-767C-AD46-9A9AD235CB89}"/>
                </a:ext>
              </a:extLst>
            </p:cNvPr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7" name="Google Shape;2714;p64">
              <a:extLst>
                <a:ext uri="{FF2B5EF4-FFF2-40B4-BE49-F238E27FC236}">
                  <a16:creationId xmlns:a16="http://schemas.microsoft.com/office/drawing/2014/main" id="{DFCBA409-972F-ED74-B6BD-CD75B19A32BB}"/>
                </a:ext>
              </a:extLst>
            </p:cNvPr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8" name="Google Shape;2715;p64">
              <a:extLst>
                <a:ext uri="{FF2B5EF4-FFF2-40B4-BE49-F238E27FC236}">
                  <a16:creationId xmlns:a16="http://schemas.microsoft.com/office/drawing/2014/main" id="{649039CF-2CDB-45A6-E44D-027C8C6F7EC3}"/>
                </a:ext>
              </a:extLst>
            </p:cNvPr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9" name="Google Shape;2716;p64">
              <a:extLst>
                <a:ext uri="{FF2B5EF4-FFF2-40B4-BE49-F238E27FC236}">
                  <a16:creationId xmlns:a16="http://schemas.microsoft.com/office/drawing/2014/main" id="{60AD85F2-4EF1-8DBD-0B32-66B6CF21461F}"/>
                </a:ext>
              </a:extLst>
            </p:cNvPr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0" name="Google Shape;2717;p64">
              <a:extLst>
                <a:ext uri="{FF2B5EF4-FFF2-40B4-BE49-F238E27FC236}">
                  <a16:creationId xmlns:a16="http://schemas.microsoft.com/office/drawing/2014/main" id="{549D4C48-2C60-1433-6E76-14DBE218A288}"/>
                </a:ext>
              </a:extLst>
            </p:cNvPr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1" name="Google Shape;2718;p64">
              <a:extLst>
                <a:ext uri="{FF2B5EF4-FFF2-40B4-BE49-F238E27FC236}">
                  <a16:creationId xmlns:a16="http://schemas.microsoft.com/office/drawing/2014/main" id="{2322319E-5796-28D5-E59E-DC8BC08BB354}"/>
                </a:ext>
              </a:extLst>
            </p:cNvPr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2" name="Google Shape;2719;p64">
              <a:extLst>
                <a:ext uri="{FF2B5EF4-FFF2-40B4-BE49-F238E27FC236}">
                  <a16:creationId xmlns:a16="http://schemas.microsoft.com/office/drawing/2014/main" id="{C1571D7F-8EA6-8DAD-2787-090441076F45}"/>
                </a:ext>
              </a:extLst>
            </p:cNvPr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3" name="Google Shape;2720;p64">
              <a:extLst>
                <a:ext uri="{FF2B5EF4-FFF2-40B4-BE49-F238E27FC236}">
                  <a16:creationId xmlns:a16="http://schemas.microsoft.com/office/drawing/2014/main" id="{DA6A2EE0-140A-1ABA-CD35-C3E795251EAC}"/>
                </a:ext>
              </a:extLst>
            </p:cNvPr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4" name="Google Shape;2721;p64">
              <a:extLst>
                <a:ext uri="{FF2B5EF4-FFF2-40B4-BE49-F238E27FC236}">
                  <a16:creationId xmlns:a16="http://schemas.microsoft.com/office/drawing/2014/main" id="{6FD3438B-15B2-757A-ECC8-EEC7C82B3075}"/>
                </a:ext>
              </a:extLst>
            </p:cNvPr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5" name="Google Shape;2722;p64">
              <a:extLst>
                <a:ext uri="{FF2B5EF4-FFF2-40B4-BE49-F238E27FC236}">
                  <a16:creationId xmlns:a16="http://schemas.microsoft.com/office/drawing/2014/main" id="{8DC897CC-77A0-0609-2FFA-E164A3F2776C}"/>
                </a:ext>
              </a:extLst>
            </p:cNvPr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6" name="Google Shape;2723;p64">
              <a:extLst>
                <a:ext uri="{FF2B5EF4-FFF2-40B4-BE49-F238E27FC236}">
                  <a16:creationId xmlns:a16="http://schemas.microsoft.com/office/drawing/2014/main" id="{B0109601-C658-8CCD-97D0-9E33D2BA2450}"/>
                </a:ext>
              </a:extLst>
            </p:cNvPr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7" name="Google Shape;2724;p64">
              <a:extLst>
                <a:ext uri="{FF2B5EF4-FFF2-40B4-BE49-F238E27FC236}">
                  <a16:creationId xmlns:a16="http://schemas.microsoft.com/office/drawing/2014/main" id="{BAA145AA-26CE-7409-EFFD-F3EE2D898D5E}"/>
                </a:ext>
              </a:extLst>
            </p:cNvPr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8" name="Google Shape;2725;p64">
              <a:extLst>
                <a:ext uri="{FF2B5EF4-FFF2-40B4-BE49-F238E27FC236}">
                  <a16:creationId xmlns:a16="http://schemas.microsoft.com/office/drawing/2014/main" id="{1E0302EE-6811-5BE2-7721-43C179A3BC6F}"/>
                </a:ext>
              </a:extLst>
            </p:cNvPr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9" name="Google Shape;2726;p64">
              <a:extLst>
                <a:ext uri="{FF2B5EF4-FFF2-40B4-BE49-F238E27FC236}">
                  <a16:creationId xmlns:a16="http://schemas.microsoft.com/office/drawing/2014/main" id="{57033D43-90AA-A1C0-6559-F3BBFE61685C}"/>
                </a:ext>
              </a:extLst>
            </p:cNvPr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0" name="Google Shape;2727;p64">
              <a:extLst>
                <a:ext uri="{FF2B5EF4-FFF2-40B4-BE49-F238E27FC236}">
                  <a16:creationId xmlns:a16="http://schemas.microsoft.com/office/drawing/2014/main" id="{4BB18D12-108E-594A-2AA6-5220C9D0C3E4}"/>
                </a:ext>
              </a:extLst>
            </p:cNvPr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1" name="Google Shape;2728;p64">
              <a:extLst>
                <a:ext uri="{FF2B5EF4-FFF2-40B4-BE49-F238E27FC236}">
                  <a16:creationId xmlns:a16="http://schemas.microsoft.com/office/drawing/2014/main" id="{1A4B568E-1887-1C78-96E5-7AEA7F49D7D6}"/>
                </a:ext>
              </a:extLst>
            </p:cNvPr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2" name="Google Shape;2729;p64">
              <a:extLst>
                <a:ext uri="{FF2B5EF4-FFF2-40B4-BE49-F238E27FC236}">
                  <a16:creationId xmlns:a16="http://schemas.microsoft.com/office/drawing/2014/main" id="{C1088966-8942-F097-B1E6-D10858C37310}"/>
                </a:ext>
              </a:extLst>
            </p:cNvPr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3" name="Google Shape;2730;p64">
              <a:extLst>
                <a:ext uri="{FF2B5EF4-FFF2-40B4-BE49-F238E27FC236}">
                  <a16:creationId xmlns:a16="http://schemas.microsoft.com/office/drawing/2014/main" id="{00CC5C65-B76C-EDE4-908D-D29DA1D58B98}"/>
                </a:ext>
              </a:extLst>
            </p:cNvPr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4" name="Google Shape;2731;p64">
              <a:extLst>
                <a:ext uri="{FF2B5EF4-FFF2-40B4-BE49-F238E27FC236}">
                  <a16:creationId xmlns:a16="http://schemas.microsoft.com/office/drawing/2014/main" id="{E462FD82-548B-19F7-BD7E-472077A5CA9E}"/>
                </a:ext>
              </a:extLst>
            </p:cNvPr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5" name="Google Shape;2732;p64">
              <a:extLst>
                <a:ext uri="{FF2B5EF4-FFF2-40B4-BE49-F238E27FC236}">
                  <a16:creationId xmlns:a16="http://schemas.microsoft.com/office/drawing/2014/main" id="{91C497C1-936B-6078-3FCA-1F864725914D}"/>
                </a:ext>
              </a:extLst>
            </p:cNvPr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6" name="Google Shape;2733;p64">
              <a:extLst>
                <a:ext uri="{FF2B5EF4-FFF2-40B4-BE49-F238E27FC236}">
                  <a16:creationId xmlns:a16="http://schemas.microsoft.com/office/drawing/2014/main" id="{EAD4C728-9994-680B-6B9F-B2AB4DF02558}"/>
                </a:ext>
              </a:extLst>
            </p:cNvPr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7" name="Google Shape;2734;p64">
              <a:extLst>
                <a:ext uri="{FF2B5EF4-FFF2-40B4-BE49-F238E27FC236}">
                  <a16:creationId xmlns:a16="http://schemas.microsoft.com/office/drawing/2014/main" id="{5D1ED23E-D535-50F0-91B1-C5D3E21099EC}"/>
                </a:ext>
              </a:extLst>
            </p:cNvPr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8" name="Google Shape;2735;p64">
              <a:extLst>
                <a:ext uri="{FF2B5EF4-FFF2-40B4-BE49-F238E27FC236}">
                  <a16:creationId xmlns:a16="http://schemas.microsoft.com/office/drawing/2014/main" id="{7B5F25BA-276C-1427-46E5-1BD3696C542C}"/>
                </a:ext>
              </a:extLst>
            </p:cNvPr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9" name="Google Shape;2736;p64">
              <a:extLst>
                <a:ext uri="{FF2B5EF4-FFF2-40B4-BE49-F238E27FC236}">
                  <a16:creationId xmlns:a16="http://schemas.microsoft.com/office/drawing/2014/main" id="{E10866BA-DB63-A6CF-C62D-DE286F372094}"/>
                </a:ext>
              </a:extLst>
            </p:cNvPr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0" name="Google Shape;2737;p64">
              <a:extLst>
                <a:ext uri="{FF2B5EF4-FFF2-40B4-BE49-F238E27FC236}">
                  <a16:creationId xmlns:a16="http://schemas.microsoft.com/office/drawing/2014/main" id="{AFBDEA6A-639B-8704-FCBA-876D8CE6AAC0}"/>
                </a:ext>
              </a:extLst>
            </p:cNvPr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1" name="Google Shape;2738;p64">
              <a:extLst>
                <a:ext uri="{FF2B5EF4-FFF2-40B4-BE49-F238E27FC236}">
                  <a16:creationId xmlns:a16="http://schemas.microsoft.com/office/drawing/2014/main" id="{8AD39F9B-9EDB-1365-218A-877EA71B334A}"/>
                </a:ext>
              </a:extLst>
            </p:cNvPr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2" name="Google Shape;2739;p64">
              <a:extLst>
                <a:ext uri="{FF2B5EF4-FFF2-40B4-BE49-F238E27FC236}">
                  <a16:creationId xmlns:a16="http://schemas.microsoft.com/office/drawing/2014/main" id="{0F9A76FF-438A-5B3D-E05E-84DF339E1ACB}"/>
                </a:ext>
              </a:extLst>
            </p:cNvPr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3" name="Google Shape;2740;p64">
              <a:extLst>
                <a:ext uri="{FF2B5EF4-FFF2-40B4-BE49-F238E27FC236}">
                  <a16:creationId xmlns:a16="http://schemas.microsoft.com/office/drawing/2014/main" id="{94DA6491-2B21-B974-0821-5180BFACDDD2}"/>
                </a:ext>
              </a:extLst>
            </p:cNvPr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4" name="Google Shape;2741;p64">
              <a:extLst>
                <a:ext uri="{FF2B5EF4-FFF2-40B4-BE49-F238E27FC236}">
                  <a16:creationId xmlns:a16="http://schemas.microsoft.com/office/drawing/2014/main" id="{AC86175F-AA6A-C668-8BEC-D50C832EC111}"/>
                </a:ext>
              </a:extLst>
            </p:cNvPr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5" name="Google Shape;2742;p64">
              <a:extLst>
                <a:ext uri="{FF2B5EF4-FFF2-40B4-BE49-F238E27FC236}">
                  <a16:creationId xmlns:a16="http://schemas.microsoft.com/office/drawing/2014/main" id="{6969F0D6-CFBE-3C8D-003A-EC3C2F068FF8}"/>
                </a:ext>
              </a:extLst>
            </p:cNvPr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6" name="Google Shape;2743;p64">
              <a:extLst>
                <a:ext uri="{FF2B5EF4-FFF2-40B4-BE49-F238E27FC236}">
                  <a16:creationId xmlns:a16="http://schemas.microsoft.com/office/drawing/2014/main" id="{2AEAD094-9FF8-BEE6-7128-814EC9350315}"/>
                </a:ext>
              </a:extLst>
            </p:cNvPr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7" name="Google Shape;2744;p64">
              <a:extLst>
                <a:ext uri="{FF2B5EF4-FFF2-40B4-BE49-F238E27FC236}">
                  <a16:creationId xmlns:a16="http://schemas.microsoft.com/office/drawing/2014/main" id="{650581C5-8866-3215-4AA0-F066034803F9}"/>
                </a:ext>
              </a:extLst>
            </p:cNvPr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8" name="Google Shape;2745;p64">
              <a:extLst>
                <a:ext uri="{FF2B5EF4-FFF2-40B4-BE49-F238E27FC236}">
                  <a16:creationId xmlns:a16="http://schemas.microsoft.com/office/drawing/2014/main" id="{F2072A56-9E74-C2E1-D265-D5540A989809}"/>
                </a:ext>
              </a:extLst>
            </p:cNvPr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9" name="Google Shape;2746;p64">
              <a:extLst>
                <a:ext uri="{FF2B5EF4-FFF2-40B4-BE49-F238E27FC236}">
                  <a16:creationId xmlns:a16="http://schemas.microsoft.com/office/drawing/2014/main" id="{10AE8B2F-6454-CB52-BAE2-AA5D09826326}"/>
                </a:ext>
              </a:extLst>
            </p:cNvPr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0" name="Google Shape;2747;p64">
              <a:extLst>
                <a:ext uri="{FF2B5EF4-FFF2-40B4-BE49-F238E27FC236}">
                  <a16:creationId xmlns:a16="http://schemas.microsoft.com/office/drawing/2014/main" id="{DEE5F351-12E5-3A0D-B9F5-C082BD30654A}"/>
                </a:ext>
              </a:extLst>
            </p:cNvPr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1" name="Google Shape;2748;p64">
              <a:extLst>
                <a:ext uri="{FF2B5EF4-FFF2-40B4-BE49-F238E27FC236}">
                  <a16:creationId xmlns:a16="http://schemas.microsoft.com/office/drawing/2014/main" id="{ECBAEEE5-8003-6BD0-83CC-62E893CA8B46}"/>
                </a:ext>
              </a:extLst>
            </p:cNvPr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2" name="Google Shape;2749;p64">
              <a:extLst>
                <a:ext uri="{FF2B5EF4-FFF2-40B4-BE49-F238E27FC236}">
                  <a16:creationId xmlns:a16="http://schemas.microsoft.com/office/drawing/2014/main" id="{06FE69C4-BD40-CF74-7328-0C6769F0AA60}"/>
                </a:ext>
              </a:extLst>
            </p:cNvPr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3" name="Google Shape;2750;p64">
              <a:extLst>
                <a:ext uri="{FF2B5EF4-FFF2-40B4-BE49-F238E27FC236}">
                  <a16:creationId xmlns:a16="http://schemas.microsoft.com/office/drawing/2014/main" id="{6B3C3092-E930-D16D-3BCE-781954D9EF21}"/>
                </a:ext>
              </a:extLst>
            </p:cNvPr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4" name="Google Shape;2751;p64">
              <a:extLst>
                <a:ext uri="{FF2B5EF4-FFF2-40B4-BE49-F238E27FC236}">
                  <a16:creationId xmlns:a16="http://schemas.microsoft.com/office/drawing/2014/main" id="{DEAC6D76-E2BC-3B3A-805F-81B4AA6A216B}"/>
                </a:ext>
              </a:extLst>
            </p:cNvPr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5" name="Google Shape;2752;p64">
              <a:extLst>
                <a:ext uri="{FF2B5EF4-FFF2-40B4-BE49-F238E27FC236}">
                  <a16:creationId xmlns:a16="http://schemas.microsoft.com/office/drawing/2014/main" id="{8C071C24-715C-AB6A-31AE-86EFCD57FC9C}"/>
                </a:ext>
              </a:extLst>
            </p:cNvPr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6" name="Google Shape;2753;p64">
              <a:extLst>
                <a:ext uri="{FF2B5EF4-FFF2-40B4-BE49-F238E27FC236}">
                  <a16:creationId xmlns:a16="http://schemas.microsoft.com/office/drawing/2014/main" id="{A079E3D2-DA38-3ABF-71D9-8083C2A7D89F}"/>
                </a:ext>
              </a:extLst>
            </p:cNvPr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7" name="Google Shape;2754;p64">
              <a:extLst>
                <a:ext uri="{FF2B5EF4-FFF2-40B4-BE49-F238E27FC236}">
                  <a16:creationId xmlns:a16="http://schemas.microsoft.com/office/drawing/2014/main" id="{2D5BB055-160B-2936-D614-42DC26557651}"/>
                </a:ext>
              </a:extLst>
            </p:cNvPr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8" name="Google Shape;2755;p64">
              <a:extLst>
                <a:ext uri="{FF2B5EF4-FFF2-40B4-BE49-F238E27FC236}">
                  <a16:creationId xmlns:a16="http://schemas.microsoft.com/office/drawing/2014/main" id="{5CEFE189-BC85-83C0-52B0-5293820632A9}"/>
                </a:ext>
              </a:extLst>
            </p:cNvPr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9" name="Google Shape;2756;p64">
              <a:extLst>
                <a:ext uri="{FF2B5EF4-FFF2-40B4-BE49-F238E27FC236}">
                  <a16:creationId xmlns:a16="http://schemas.microsoft.com/office/drawing/2014/main" id="{CAF2B7FD-1273-49D8-70E2-2B54D40A39D0}"/>
                </a:ext>
              </a:extLst>
            </p:cNvPr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0" name="Google Shape;2757;p64">
              <a:extLst>
                <a:ext uri="{FF2B5EF4-FFF2-40B4-BE49-F238E27FC236}">
                  <a16:creationId xmlns:a16="http://schemas.microsoft.com/office/drawing/2014/main" id="{D1AD8976-30B1-097B-FCF0-3BA13975508F}"/>
                </a:ext>
              </a:extLst>
            </p:cNvPr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1" name="Google Shape;2758;p64">
              <a:extLst>
                <a:ext uri="{FF2B5EF4-FFF2-40B4-BE49-F238E27FC236}">
                  <a16:creationId xmlns:a16="http://schemas.microsoft.com/office/drawing/2014/main" id="{A80BAB68-6A29-5AF2-0D70-16ABB84DE385}"/>
                </a:ext>
              </a:extLst>
            </p:cNvPr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2" name="Google Shape;2759;p64">
              <a:extLst>
                <a:ext uri="{FF2B5EF4-FFF2-40B4-BE49-F238E27FC236}">
                  <a16:creationId xmlns:a16="http://schemas.microsoft.com/office/drawing/2014/main" id="{CAF7EC85-D673-8D66-F019-BB43DC70730E}"/>
                </a:ext>
              </a:extLst>
            </p:cNvPr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3" name="Google Shape;2760;p64">
              <a:extLst>
                <a:ext uri="{FF2B5EF4-FFF2-40B4-BE49-F238E27FC236}">
                  <a16:creationId xmlns:a16="http://schemas.microsoft.com/office/drawing/2014/main" id="{F86CE9A3-E954-2F06-8D83-C305672FA8A0}"/>
                </a:ext>
              </a:extLst>
            </p:cNvPr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4" name="Google Shape;2761;p64">
              <a:extLst>
                <a:ext uri="{FF2B5EF4-FFF2-40B4-BE49-F238E27FC236}">
                  <a16:creationId xmlns:a16="http://schemas.microsoft.com/office/drawing/2014/main" id="{6ED6F8F8-F915-65F3-E6E4-7EF02F611A6E}"/>
                </a:ext>
              </a:extLst>
            </p:cNvPr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5" name="Google Shape;2762;p64">
              <a:extLst>
                <a:ext uri="{FF2B5EF4-FFF2-40B4-BE49-F238E27FC236}">
                  <a16:creationId xmlns:a16="http://schemas.microsoft.com/office/drawing/2014/main" id="{29F01239-B026-C4DA-5337-A1CDD5F7E3C6}"/>
                </a:ext>
              </a:extLst>
            </p:cNvPr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6" name="Google Shape;2763;p64">
              <a:extLst>
                <a:ext uri="{FF2B5EF4-FFF2-40B4-BE49-F238E27FC236}">
                  <a16:creationId xmlns:a16="http://schemas.microsoft.com/office/drawing/2014/main" id="{D2B48FEE-782F-37DF-F618-2F5B33D6E762}"/>
                </a:ext>
              </a:extLst>
            </p:cNvPr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7" name="Google Shape;2764;p64">
              <a:extLst>
                <a:ext uri="{FF2B5EF4-FFF2-40B4-BE49-F238E27FC236}">
                  <a16:creationId xmlns:a16="http://schemas.microsoft.com/office/drawing/2014/main" id="{DAF5EA89-232A-4DA1-790C-54600E60E618}"/>
                </a:ext>
              </a:extLst>
            </p:cNvPr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8" name="Google Shape;2765;p64">
              <a:extLst>
                <a:ext uri="{FF2B5EF4-FFF2-40B4-BE49-F238E27FC236}">
                  <a16:creationId xmlns:a16="http://schemas.microsoft.com/office/drawing/2014/main" id="{FA6B9913-99EB-C665-5B18-AC5514885059}"/>
                </a:ext>
              </a:extLst>
            </p:cNvPr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9" name="Google Shape;2766;p64">
              <a:extLst>
                <a:ext uri="{FF2B5EF4-FFF2-40B4-BE49-F238E27FC236}">
                  <a16:creationId xmlns:a16="http://schemas.microsoft.com/office/drawing/2014/main" id="{CE8CD3B6-AE7F-2547-838D-35DD6D08584E}"/>
                </a:ext>
              </a:extLst>
            </p:cNvPr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0" name="Google Shape;2767;p64">
              <a:extLst>
                <a:ext uri="{FF2B5EF4-FFF2-40B4-BE49-F238E27FC236}">
                  <a16:creationId xmlns:a16="http://schemas.microsoft.com/office/drawing/2014/main" id="{8C0F45CE-4733-0440-2775-39A1C9900EC4}"/>
                </a:ext>
              </a:extLst>
            </p:cNvPr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1" name="Google Shape;2768;p64">
              <a:extLst>
                <a:ext uri="{FF2B5EF4-FFF2-40B4-BE49-F238E27FC236}">
                  <a16:creationId xmlns:a16="http://schemas.microsoft.com/office/drawing/2014/main" id="{ED2CE99A-2EDA-BFB8-8645-E90F4017550D}"/>
                </a:ext>
              </a:extLst>
            </p:cNvPr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2" name="Google Shape;2769;p64">
              <a:extLst>
                <a:ext uri="{FF2B5EF4-FFF2-40B4-BE49-F238E27FC236}">
                  <a16:creationId xmlns:a16="http://schemas.microsoft.com/office/drawing/2014/main" id="{775FCEB1-FB31-917E-20B3-6C07311B463C}"/>
                </a:ext>
              </a:extLst>
            </p:cNvPr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3" name="Google Shape;2770;p64">
              <a:extLst>
                <a:ext uri="{FF2B5EF4-FFF2-40B4-BE49-F238E27FC236}">
                  <a16:creationId xmlns:a16="http://schemas.microsoft.com/office/drawing/2014/main" id="{8CA71DC6-4002-6B42-DE2B-8EF7A6B777DF}"/>
                </a:ext>
              </a:extLst>
            </p:cNvPr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4" name="Google Shape;2771;p64">
              <a:extLst>
                <a:ext uri="{FF2B5EF4-FFF2-40B4-BE49-F238E27FC236}">
                  <a16:creationId xmlns:a16="http://schemas.microsoft.com/office/drawing/2014/main" id="{C8182C96-1013-8CF5-0DDE-A67F37396179}"/>
                </a:ext>
              </a:extLst>
            </p:cNvPr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5" name="Google Shape;2772;p64">
              <a:extLst>
                <a:ext uri="{FF2B5EF4-FFF2-40B4-BE49-F238E27FC236}">
                  <a16:creationId xmlns:a16="http://schemas.microsoft.com/office/drawing/2014/main" id="{A8F994F2-7ACE-BA71-F53E-AFF0A12DBFC4}"/>
                </a:ext>
              </a:extLst>
            </p:cNvPr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6" name="Google Shape;2773;p64">
              <a:extLst>
                <a:ext uri="{FF2B5EF4-FFF2-40B4-BE49-F238E27FC236}">
                  <a16:creationId xmlns:a16="http://schemas.microsoft.com/office/drawing/2014/main" id="{67A5431D-F8FB-4F2A-CB61-04CFD445F506}"/>
                </a:ext>
              </a:extLst>
            </p:cNvPr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7" name="Google Shape;2774;p64">
              <a:extLst>
                <a:ext uri="{FF2B5EF4-FFF2-40B4-BE49-F238E27FC236}">
                  <a16:creationId xmlns:a16="http://schemas.microsoft.com/office/drawing/2014/main" id="{DF0C55C4-BFC9-B9ED-AC32-230833B631E8}"/>
                </a:ext>
              </a:extLst>
            </p:cNvPr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8" name="Google Shape;2775;p64">
              <a:extLst>
                <a:ext uri="{FF2B5EF4-FFF2-40B4-BE49-F238E27FC236}">
                  <a16:creationId xmlns:a16="http://schemas.microsoft.com/office/drawing/2014/main" id="{9EF3762F-BB1E-2310-DFE9-5A0B9DB5092B}"/>
                </a:ext>
              </a:extLst>
            </p:cNvPr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9" name="Google Shape;2776;p64">
              <a:extLst>
                <a:ext uri="{FF2B5EF4-FFF2-40B4-BE49-F238E27FC236}">
                  <a16:creationId xmlns:a16="http://schemas.microsoft.com/office/drawing/2014/main" id="{05370211-B384-960F-1D33-63261B6369D7}"/>
                </a:ext>
              </a:extLst>
            </p:cNvPr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0" name="Google Shape;2777;p64">
              <a:extLst>
                <a:ext uri="{FF2B5EF4-FFF2-40B4-BE49-F238E27FC236}">
                  <a16:creationId xmlns:a16="http://schemas.microsoft.com/office/drawing/2014/main" id="{33E23CEE-5077-EE5C-74F3-5647F166BB5B}"/>
                </a:ext>
              </a:extLst>
            </p:cNvPr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1" name="Google Shape;2778;p64">
              <a:extLst>
                <a:ext uri="{FF2B5EF4-FFF2-40B4-BE49-F238E27FC236}">
                  <a16:creationId xmlns:a16="http://schemas.microsoft.com/office/drawing/2014/main" id="{36248E02-384C-15C3-E32A-314F71619801}"/>
                </a:ext>
              </a:extLst>
            </p:cNvPr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2" name="Google Shape;2779;p64">
              <a:extLst>
                <a:ext uri="{FF2B5EF4-FFF2-40B4-BE49-F238E27FC236}">
                  <a16:creationId xmlns:a16="http://schemas.microsoft.com/office/drawing/2014/main" id="{FA998DAC-7EF6-70E4-836A-0F39C7CDC153}"/>
                </a:ext>
              </a:extLst>
            </p:cNvPr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3" name="Google Shape;2780;p64">
              <a:extLst>
                <a:ext uri="{FF2B5EF4-FFF2-40B4-BE49-F238E27FC236}">
                  <a16:creationId xmlns:a16="http://schemas.microsoft.com/office/drawing/2014/main" id="{99D13F55-DCB4-2AB2-880E-31694DF26EBF}"/>
                </a:ext>
              </a:extLst>
            </p:cNvPr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4" name="Google Shape;2781;p64">
              <a:extLst>
                <a:ext uri="{FF2B5EF4-FFF2-40B4-BE49-F238E27FC236}">
                  <a16:creationId xmlns:a16="http://schemas.microsoft.com/office/drawing/2014/main" id="{6DB6DEF5-19DD-E615-4BB9-5E804927B4B0}"/>
                </a:ext>
              </a:extLst>
            </p:cNvPr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5" name="Google Shape;2782;p64">
              <a:extLst>
                <a:ext uri="{FF2B5EF4-FFF2-40B4-BE49-F238E27FC236}">
                  <a16:creationId xmlns:a16="http://schemas.microsoft.com/office/drawing/2014/main" id="{A5E37D57-2F14-6313-683A-1C0550246A0C}"/>
                </a:ext>
              </a:extLst>
            </p:cNvPr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6" name="Google Shape;2783;p64">
              <a:extLst>
                <a:ext uri="{FF2B5EF4-FFF2-40B4-BE49-F238E27FC236}">
                  <a16:creationId xmlns:a16="http://schemas.microsoft.com/office/drawing/2014/main" id="{25D00C43-913E-1316-8526-3020CD4C363C}"/>
                </a:ext>
              </a:extLst>
            </p:cNvPr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7" name="Google Shape;2784;p64">
              <a:extLst>
                <a:ext uri="{FF2B5EF4-FFF2-40B4-BE49-F238E27FC236}">
                  <a16:creationId xmlns:a16="http://schemas.microsoft.com/office/drawing/2014/main" id="{BD8B8B68-1F4A-8943-F6BE-8F8610AD4BCE}"/>
                </a:ext>
              </a:extLst>
            </p:cNvPr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8" name="Google Shape;2785;p64">
              <a:extLst>
                <a:ext uri="{FF2B5EF4-FFF2-40B4-BE49-F238E27FC236}">
                  <a16:creationId xmlns:a16="http://schemas.microsoft.com/office/drawing/2014/main" id="{D33808F6-8D7B-5FCF-308D-2815C8374C18}"/>
                </a:ext>
              </a:extLst>
            </p:cNvPr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9" name="Google Shape;2786;p64">
              <a:extLst>
                <a:ext uri="{FF2B5EF4-FFF2-40B4-BE49-F238E27FC236}">
                  <a16:creationId xmlns:a16="http://schemas.microsoft.com/office/drawing/2014/main" id="{814410F8-4C17-52DB-3A81-D4374B6B530E}"/>
                </a:ext>
              </a:extLst>
            </p:cNvPr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0" name="Google Shape;2787;p64">
              <a:extLst>
                <a:ext uri="{FF2B5EF4-FFF2-40B4-BE49-F238E27FC236}">
                  <a16:creationId xmlns:a16="http://schemas.microsoft.com/office/drawing/2014/main" id="{E30D2DBA-18F5-4006-2FF9-E0E4DCAA1507}"/>
                </a:ext>
              </a:extLst>
            </p:cNvPr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1" name="Google Shape;2788;p64">
              <a:extLst>
                <a:ext uri="{FF2B5EF4-FFF2-40B4-BE49-F238E27FC236}">
                  <a16:creationId xmlns:a16="http://schemas.microsoft.com/office/drawing/2014/main" id="{A0F32669-8A59-471B-6B25-00A955A7CC21}"/>
                </a:ext>
              </a:extLst>
            </p:cNvPr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2" name="Google Shape;2789;p64">
              <a:extLst>
                <a:ext uri="{FF2B5EF4-FFF2-40B4-BE49-F238E27FC236}">
                  <a16:creationId xmlns:a16="http://schemas.microsoft.com/office/drawing/2014/main" id="{16A5C699-1DCF-6FDC-9833-08D0DE10DC67}"/>
                </a:ext>
              </a:extLst>
            </p:cNvPr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3" name="Google Shape;2790;p64">
              <a:extLst>
                <a:ext uri="{FF2B5EF4-FFF2-40B4-BE49-F238E27FC236}">
                  <a16:creationId xmlns:a16="http://schemas.microsoft.com/office/drawing/2014/main" id="{60EE6F30-8241-2BB1-3BD7-90B0674E25E3}"/>
                </a:ext>
              </a:extLst>
            </p:cNvPr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4" name="Google Shape;2791;p64">
              <a:extLst>
                <a:ext uri="{FF2B5EF4-FFF2-40B4-BE49-F238E27FC236}">
                  <a16:creationId xmlns:a16="http://schemas.microsoft.com/office/drawing/2014/main" id="{8E25F02A-9727-4ECA-AF61-D313561BD6F0}"/>
                </a:ext>
              </a:extLst>
            </p:cNvPr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5" name="Google Shape;2792;p64">
              <a:extLst>
                <a:ext uri="{FF2B5EF4-FFF2-40B4-BE49-F238E27FC236}">
                  <a16:creationId xmlns:a16="http://schemas.microsoft.com/office/drawing/2014/main" id="{244854E7-2E2B-0184-9753-684178D778F3}"/>
                </a:ext>
              </a:extLst>
            </p:cNvPr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6" name="Google Shape;2793;p64">
              <a:extLst>
                <a:ext uri="{FF2B5EF4-FFF2-40B4-BE49-F238E27FC236}">
                  <a16:creationId xmlns:a16="http://schemas.microsoft.com/office/drawing/2014/main" id="{F629A369-B3C2-8E12-80D6-579669FD4FBD}"/>
                </a:ext>
              </a:extLst>
            </p:cNvPr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7" name="Google Shape;2794;p64">
              <a:extLst>
                <a:ext uri="{FF2B5EF4-FFF2-40B4-BE49-F238E27FC236}">
                  <a16:creationId xmlns:a16="http://schemas.microsoft.com/office/drawing/2014/main" id="{67296A7C-1D0F-3CF7-74F8-7B2748409CBB}"/>
                </a:ext>
              </a:extLst>
            </p:cNvPr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8" name="Google Shape;2795;p64">
              <a:extLst>
                <a:ext uri="{FF2B5EF4-FFF2-40B4-BE49-F238E27FC236}">
                  <a16:creationId xmlns:a16="http://schemas.microsoft.com/office/drawing/2014/main" id="{EB9B5E0B-003F-71D1-7071-9DF56597E9DC}"/>
                </a:ext>
              </a:extLst>
            </p:cNvPr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9" name="Google Shape;2796;p64">
              <a:extLst>
                <a:ext uri="{FF2B5EF4-FFF2-40B4-BE49-F238E27FC236}">
                  <a16:creationId xmlns:a16="http://schemas.microsoft.com/office/drawing/2014/main" id="{FBA36D63-B785-1954-7E33-FB075A86287D}"/>
                </a:ext>
              </a:extLst>
            </p:cNvPr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0" name="Google Shape;2797;p64">
              <a:extLst>
                <a:ext uri="{FF2B5EF4-FFF2-40B4-BE49-F238E27FC236}">
                  <a16:creationId xmlns:a16="http://schemas.microsoft.com/office/drawing/2014/main" id="{CEB9FDC6-555A-057C-1FB7-5BE8A1B2CE0A}"/>
                </a:ext>
              </a:extLst>
            </p:cNvPr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1" name="Google Shape;2798;p64">
              <a:extLst>
                <a:ext uri="{FF2B5EF4-FFF2-40B4-BE49-F238E27FC236}">
                  <a16:creationId xmlns:a16="http://schemas.microsoft.com/office/drawing/2014/main" id="{2AF2C288-750C-5C1C-8F0D-710EEE3DE8EF}"/>
                </a:ext>
              </a:extLst>
            </p:cNvPr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2" name="Google Shape;2799;p64">
              <a:extLst>
                <a:ext uri="{FF2B5EF4-FFF2-40B4-BE49-F238E27FC236}">
                  <a16:creationId xmlns:a16="http://schemas.microsoft.com/office/drawing/2014/main" id="{66E22539-0357-4A7C-B107-4D7E0066E2A0}"/>
                </a:ext>
              </a:extLst>
            </p:cNvPr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3" name="Google Shape;2800;p64">
              <a:extLst>
                <a:ext uri="{FF2B5EF4-FFF2-40B4-BE49-F238E27FC236}">
                  <a16:creationId xmlns:a16="http://schemas.microsoft.com/office/drawing/2014/main" id="{FD9EC34E-87FA-2218-F983-109C4BFD995E}"/>
                </a:ext>
              </a:extLst>
            </p:cNvPr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4" name="Google Shape;2801;p64">
              <a:extLst>
                <a:ext uri="{FF2B5EF4-FFF2-40B4-BE49-F238E27FC236}">
                  <a16:creationId xmlns:a16="http://schemas.microsoft.com/office/drawing/2014/main" id="{4BA0AFBA-3E34-5C3C-7EA5-39D3CDE4131A}"/>
                </a:ext>
              </a:extLst>
            </p:cNvPr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5" name="Google Shape;2802;p64">
              <a:extLst>
                <a:ext uri="{FF2B5EF4-FFF2-40B4-BE49-F238E27FC236}">
                  <a16:creationId xmlns:a16="http://schemas.microsoft.com/office/drawing/2014/main" id="{FBD9B45B-1181-170A-1190-A642ADA2A780}"/>
                </a:ext>
              </a:extLst>
            </p:cNvPr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6" name="Google Shape;2803;p64">
              <a:extLst>
                <a:ext uri="{FF2B5EF4-FFF2-40B4-BE49-F238E27FC236}">
                  <a16:creationId xmlns:a16="http://schemas.microsoft.com/office/drawing/2014/main" id="{DF395B9B-EFCA-7C4B-97F3-92FDE89A11D3}"/>
                </a:ext>
              </a:extLst>
            </p:cNvPr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7" name="Google Shape;2804;p64">
              <a:extLst>
                <a:ext uri="{FF2B5EF4-FFF2-40B4-BE49-F238E27FC236}">
                  <a16:creationId xmlns:a16="http://schemas.microsoft.com/office/drawing/2014/main" id="{3D39D9DD-6F20-4383-98C0-C393FAE87BBA}"/>
                </a:ext>
              </a:extLst>
            </p:cNvPr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8" name="Google Shape;2805;p64">
              <a:extLst>
                <a:ext uri="{FF2B5EF4-FFF2-40B4-BE49-F238E27FC236}">
                  <a16:creationId xmlns:a16="http://schemas.microsoft.com/office/drawing/2014/main" id="{420E14D9-7E50-B1A5-057A-DE63ECD82B34}"/>
                </a:ext>
              </a:extLst>
            </p:cNvPr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9" name="Google Shape;2806;p64">
              <a:extLst>
                <a:ext uri="{FF2B5EF4-FFF2-40B4-BE49-F238E27FC236}">
                  <a16:creationId xmlns:a16="http://schemas.microsoft.com/office/drawing/2014/main" id="{CEB363AF-7A35-5639-D763-678E7B94F663}"/>
                </a:ext>
              </a:extLst>
            </p:cNvPr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0" name="Google Shape;2807;p64">
              <a:extLst>
                <a:ext uri="{FF2B5EF4-FFF2-40B4-BE49-F238E27FC236}">
                  <a16:creationId xmlns:a16="http://schemas.microsoft.com/office/drawing/2014/main" id="{963B76F9-A446-CFC2-28F2-D50E82841945}"/>
                </a:ext>
              </a:extLst>
            </p:cNvPr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1" name="Google Shape;2808;p64">
              <a:extLst>
                <a:ext uri="{FF2B5EF4-FFF2-40B4-BE49-F238E27FC236}">
                  <a16:creationId xmlns:a16="http://schemas.microsoft.com/office/drawing/2014/main" id="{237BB2F5-AC77-AAC0-B409-62C4F479E1CC}"/>
                </a:ext>
              </a:extLst>
            </p:cNvPr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2" name="Google Shape;2809;p64">
              <a:extLst>
                <a:ext uri="{FF2B5EF4-FFF2-40B4-BE49-F238E27FC236}">
                  <a16:creationId xmlns:a16="http://schemas.microsoft.com/office/drawing/2014/main" id="{942CF490-C0C1-5C91-8797-F34D4287F426}"/>
                </a:ext>
              </a:extLst>
            </p:cNvPr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3" name="Google Shape;2810;p64">
              <a:extLst>
                <a:ext uri="{FF2B5EF4-FFF2-40B4-BE49-F238E27FC236}">
                  <a16:creationId xmlns:a16="http://schemas.microsoft.com/office/drawing/2014/main" id="{315C6285-5D36-7634-91EE-78865B9B9464}"/>
                </a:ext>
              </a:extLst>
            </p:cNvPr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4" name="Google Shape;2811;p64">
              <a:extLst>
                <a:ext uri="{FF2B5EF4-FFF2-40B4-BE49-F238E27FC236}">
                  <a16:creationId xmlns:a16="http://schemas.microsoft.com/office/drawing/2014/main" id="{8BF8E771-B81E-4A8B-035A-0445FD393608}"/>
                </a:ext>
              </a:extLst>
            </p:cNvPr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5" name="Google Shape;2812;p64">
              <a:extLst>
                <a:ext uri="{FF2B5EF4-FFF2-40B4-BE49-F238E27FC236}">
                  <a16:creationId xmlns:a16="http://schemas.microsoft.com/office/drawing/2014/main" id="{9E5A5E06-17F4-784A-1840-EF705896D441}"/>
                </a:ext>
              </a:extLst>
            </p:cNvPr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6" name="Google Shape;2813;p64">
              <a:extLst>
                <a:ext uri="{FF2B5EF4-FFF2-40B4-BE49-F238E27FC236}">
                  <a16:creationId xmlns:a16="http://schemas.microsoft.com/office/drawing/2014/main" id="{EC074DA1-DE77-A02E-6AD4-6852E31B92B4}"/>
                </a:ext>
              </a:extLst>
            </p:cNvPr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7" name="Google Shape;2814;p64">
              <a:extLst>
                <a:ext uri="{FF2B5EF4-FFF2-40B4-BE49-F238E27FC236}">
                  <a16:creationId xmlns:a16="http://schemas.microsoft.com/office/drawing/2014/main" id="{1EB0FA0E-496B-9DD4-7E08-2CF4A4EBE9F9}"/>
                </a:ext>
              </a:extLst>
            </p:cNvPr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8" name="Google Shape;2815;p64">
              <a:extLst>
                <a:ext uri="{FF2B5EF4-FFF2-40B4-BE49-F238E27FC236}">
                  <a16:creationId xmlns:a16="http://schemas.microsoft.com/office/drawing/2014/main" id="{450FA823-E6F9-8B6D-2142-B3976D897570}"/>
                </a:ext>
              </a:extLst>
            </p:cNvPr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9" name="Google Shape;2816;p64">
              <a:extLst>
                <a:ext uri="{FF2B5EF4-FFF2-40B4-BE49-F238E27FC236}">
                  <a16:creationId xmlns:a16="http://schemas.microsoft.com/office/drawing/2014/main" id="{C53B47D5-5256-E01C-A742-8A38CD39746C}"/>
                </a:ext>
              </a:extLst>
            </p:cNvPr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0" name="Google Shape;2817;p64">
              <a:extLst>
                <a:ext uri="{FF2B5EF4-FFF2-40B4-BE49-F238E27FC236}">
                  <a16:creationId xmlns:a16="http://schemas.microsoft.com/office/drawing/2014/main" id="{CA1873FD-D102-AF0F-D954-C050BEE01689}"/>
                </a:ext>
              </a:extLst>
            </p:cNvPr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1" name="Google Shape;2818;p64">
              <a:extLst>
                <a:ext uri="{FF2B5EF4-FFF2-40B4-BE49-F238E27FC236}">
                  <a16:creationId xmlns:a16="http://schemas.microsoft.com/office/drawing/2014/main" id="{C6A45938-8B20-B593-EDF7-76828EFC3588}"/>
                </a:ext>
              </a:extLst>
            </p:cNvPr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2" name="Google Shape;2819;p64">
              <a:extLst>
                <a:ext uri="{FF2B5EF4-FFF2-40B4-BE49-F238E27FC236}">
                  <a16:creationId xmlns:a16="http://schemas.microsoft.com/office/drawing/2014/main" id="{4D31DCFB-6532-180D-79BB-D43E51A84226}"/>
                </a:ext>
              </a:extLst>
            </p:cNvPr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3" name="Google Shape;2820;p64">
              <a:extLst>
                <a:ext uri="{FF2B5EF4-FFF2-40B4-BE49-F238E27FC236}">
                  <a16:creationId xmlns:a16="http://schemas.microsoft.com/office/drawing/2014/main" id="{A539E070-B985-921F-FF1B-F6F682BE60FE}"/>
                </a:ext>
              </a:extLst>
            </p:cNvPr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4" name="Google Shape;2821;p64">
              <a:extLst>
                <a:ext uri="{FF2B5EF4-FFF2-40B4-BE49-F238E27FC236}">
                  <a16:creationId xmlns:a16="http://schemas.microsoft.com/office/drawing/2014/main" id="{6704FAE2-084E-5834-7FDE-BB47070270B8}"/>
                </a:ext>
              </a:extLst>
            </p:cNvPr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5" name="Google Shape;2822;p64">
              <a:extLst>
                <a:ext uri="{FF2B5EF4-FFF2-40B4-BE49-F238E27FC236}">
                  <a16:creationId xmlns:a16="http://schemas.microsoft.com/office/drawing/2014/main" id="{D72CF7F8-78B3-5CC1-998E-270E6DBC1C0D}"/>
                </a:ext>
              </a:extLst>
            </p:cNvPr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6" name="Google Shape;2823;p64">
              <a:extLst>
                <a:ext uri="{FF2B5EF4-FFF2-40B4-BE49-F238E27FC236}">
                  <a16:creationId xmlns:a16="http://schemas.microsoft.com/office/drawing/2014/main" id="{4E6BA2BB-E954-E8EB-A9B1-A70EB2667B49}"/>
                </a:ext>
              </a:extLst>
            </p:cNvPr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7" name="Google Shape;2824;p64">
              <a:extLst>
                <a:ext uri="{FF2B5EF4-FFF2-40B4-BE49-F238E27FC236}">
                  <a16:creationId xmlns:a16="http://schemas.microsoft.com/office/drawing/2014/main" id="{6F908997-77CD-5B50-B0D2-C744AF1E94E6}"/>
                </a:ext>
              </a:extLst>
            </p:cNvPr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8" name="Google Shape;2825;p64">
              <a:extLst>
                <a:ext uri="{FF2B5EF4-FFF2-40B4-BE49-F238E27FC236}">
                  <a16:creationId xmlns:a16="http://schemas.microsoft.com/office/drawing/2014/main" id="{8D10DF7B-825F-4B36-0FD0-9CE084F2A6FC}"/>
                </a:ext>
              </a:extLst>
            </p:cNvPr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9" name="Google Shape;2826;p64">
              <a:extLst>
                <a:ext uri="{FF2B5EF4-FFF2-40B4-BE49-F238E27FC236}">
                  <a16:creationId xmlns:a16="http://schemas.microsoft.com/office/drawing/2014/main" id="{E89BF41F-0DE8-F844-A020-7256FE14E335}"/>
                </a:ext>
              </a:extLst>
            </p:cNvPr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0" name="Google Shape;2827;p64">
              <a:extLst>
                <a:ext uri="{FF2B5EF4-FFF2-40B4-BE49-F238E27FC236}">
                  <a16:creationId xmlns:a16="http://schemas.microsoft.com/office/drawing/2014/main" id="{E0FADBB4-920D-B1D9-6D33-B117B4C65C33}"/>
                </a:ext>
              </a:extLst>
            </p:cNvPr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1" name="Google Shape;2828;p64">
              <a:extLst>
                <a:ext uri="{FF2B5EF4-FFF2-40B4-BE49-F238E27FC236}">
                  <a16:creationId xmlns:a16="http://schemas.microsoft.com/office/drawing/2014/main" id="{560504C4-9331-E3A7-5E17-271F004BA159}"/>
                </a:ext>
              </a:extLst>
            </p:cNvPr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2" name="Google Shape;2829;p64">
              <a:extLst>
                <a:ext uri="{FF2B5EF4-FFF2-40B4-BE49-F238E27FC236}">
                  <a16:creationId xmlns:a16="http://schemas.microsoft.com/office/drawing/2014/main" id="{B644BD5A-663D-5DC2-8023-BA926BB90F90}"/>
                </a:ext>
              </a:extLst>
            </p:cNvPr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3" name="Google Shape;2830;p64">
              <a:extLst>
                <a:ext uri="{FF2B5EF4-FFF2-40B4-BE49-F238E27FC236}">
                  <a16:creationId xmlns:a16="http://schemas.microsoft.com/office/drawing/2014/main" id="{7C52E1B3-7FBB-FA1E-AA57-0A6CF96361D5}"/>
                </a:ext>
              </a:extLst>
            </p:cNvPr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4" name="Google Shape;2831;p64">
              <a:extLst>
                <a:ext uri="{FF2B5EF4-FFF2-40B4-BE49-F238E27FC236}">
                  <a16:creationId xmlns:a16="http://schemas.microsoft.com/office/drawing/2014/main" id="{0DA41658-713E-0AC5-4147-7A6736900CA9}"/>
                </a:ext>
              </a:extLst>
            </p:cNvPr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5" name="Google Shape;2832;p64">
              <a:extLst>
                <a:ext uri="{FF2B5EF4-FFF2-40B4-BE49-F238E27FC236}">
                  <a16:creationId xmlns:a16="http://schemas.microsoft.com/office/drawing/2014/main" id="{A8CAB165-D6BC-5450-56D7-5958177A601A}"/>
                </a:ext>
              </a:extLst>
            </p:cNvPr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6" name="Google Shape;2833;p64">
              <a:extLst>
                <a:ext uri="{FF2B5EF4-FFF2-40B4-BE49-F238E27FC236}">
                  <a16:creationId xmlns:a16="http://schemas.microsoft.com/office/drawing/2014/main" id="{F35B3B21-B06E-25ED-9274-CA64A80F4250}"/>
                </a:ext>
              </a:extLst>
            </p:cNvPr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7" name="Google Shape;2834;p64">
              <a:extLst>
                <a:ext uri="{FF2B5EF4-FFF2-40B4-BE49-F238E27FC236}">
                  <a16:creationId xmlns:a16="http://schemas.microsoft.com/office/drawing/2014/main" id="{732CBDF4-FC95-7E88-5971-7F79B0145308}"/>
                </a:ext>
              </a:extLst>
            </p:cNvPr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8" name="Google Shape;2835;p64">
              <a:extLst>
                <a:ext uri="{FF2B5EF4-FFF2-40B4-BE49-F238E27FC236}">
                  <a16:creationId xmlns:a16="http://schemas.microsoft.com/office/drawing/2014/main" id="{C0D808D3-6BD9-4F45-A412-29FD85FF983C}"/>
                </a:ext>
              </a:extLst>
            </p:cNvPr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9" name="Google Shape;2836;p64">
              <a:extLst>
                <a:ext uri="{FF2B5EF4-FFF2-40B4-BE49-F238E27FC236}">
                  <a16:creationId xmlns:a16="http://schemas.microsoft.com/office/drawing/2014/main" id="{2FF371BA-C930-CA0B-BAC8-81BECC06713E}"/>
                </a:ext>
              </a:extLst>
            </p:cNvPr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0" name="Google Shape;2837;p64">
              <a:extLst>
                <a:ext uri="{FF2B5EF4-FFF2-40B4-BE49-F238E27FC236}">
                  <a16:creationId xmlns:a16="http://schemas.microsoft.com/office/drawing/2014/main" id="{9A641550-34E6-60D8-3967-33E302B45B60}"/>
                </a:ext>
              </a:extLst>
            </p:cNvPr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1" name="Google Shape;2838;p64">
              <a:extLst>
                <a:ext uri="{FF2B5EF4-FFF2-40B4-BE49-F238E27FC236}">
                  <a16:creationId xmlns:a16="http://schemas.microsoft.com/office/drawing/2014/main" id="{ECBDFE18-C350-5993-7E2F-A37AE1D7D8FA}"/>
                </a:ext>
              </a:extLst>
            </p:cNvPr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2" name="Google Shape;2839;p64">
              <a:extLst>
                <a:ext uri="{FF2B5EF4-FFF2-40B4-BE49-F238E27FC236}">
                  <a16:creationId xmlns:a16="http://schemas.microsoft.com/office/drawing/2014/main" id="{01AAAE97-B7B6-1AB7-62DC-F57708DB46A9}"/>
                </a:ext>
              </a:extLst>
            </p:cNvPr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3" name="Google Shape;2840;p64">
              <a:extLst>
                <a:ext uri="{FF2B5EF4-FFF2-40B4-BE49-F238E27FC236}">
                  <a16:creationId xmlns:a16="http://schemas.microsoft.com/office/drawing/2014/main" id="{0A341DF5-9AD7-9AA1-F277-0AC6F5BEB5F6}"/>
                </a:ext>
              </a:extLst>
            </p:cNvPr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4" name="Google Shape;2841;p64">
              <a:extLst>
                <a:ext uri="{FF2B5EF4-FFF2-40B4-BE49-F238E27FC236}">
                  <a16:creationId xmlns:a16="http://schemas.microsoft.com/office/drawing/2014/main" id="{4A557F89-31AD-4B14-193B-9AE0DE7D8589}"/>
                </a:ext>
              </a:extLst>
            </p:cNvPr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5" name="Google Shape;2842;p64">
              <a:extLst>
                <a:ext uri="{FF2B5EF4-FFF2-40B4-BE49-F238E27FC236}">
                  <a16:creationId xmlns:a16="http://schemas.microsoft.com/office/drawing/2014/main" id="{EF513910-7490-FAE0-65CE-7C31DCB33C08}"/>
                </a:ext>
              </a:extLst>
            </p:cNvPr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6" name="Google Shape;2843;p64">
              <a:extLst>
                <a:ext uri="{FF2B5EF4-FFF2-40B4-BE49-F238E27FC236}">
                  <a16:creationId xmlns:a16="http://schemas.microsoft.com/office/drawing/2014/main" id="{8AE938BE-506B-9219-8B91-23CBFC293E0E}"/>
                </a:ext>
              </a:extLst>
            </p:cNvPr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7" name="Google Shape;2844;p64">
              <a:extLst>
                <a:ext uri="{FF2B5EF4-FFF2-40B4-BE49-F238E27FC236}">
                  <a16:creationId xmlns:a16="http://schemas.microsoft.com/office/drawing/2014/main" id="{A92E5605-F272-562C-28DB-3B44355C31D3}"/>
                </a:ext>
              </a:extLst>
            </p:cNvPr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8" name="Google Shape;2845;p64">
              <a:extLst>
                <a:ext uri="{FF2B5EF4-FFF2-40B4-BE49-F238E27FC236}">
                  <a16:creationId xmlns:a16="http://schemas.microsoft.com/office/drawing/2014/main" id="{AF6E3AB5-2A2D-584F-546D-823A8DDFA443}"/>
                </a:ext>
              </a:extLst>
            </p:cNvPr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9" name="Google Shape;2846;p64">
              <a:extLst>
                <a:ext uri="{FF2B5EF4-FFF2-40B4-BE49-F238E27FC236}">
                  <a16:creationId xmlns:a16="http://schemas.microsoft.com/office/drawing/2014/main" id="{D00C6DF6-9BA7-E7C4-CB88-EA7552BDF354}"/>
                </a:ext>
              </a:extLst>
            </p:cNvPr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0" name="Google Shape;2847;p64">
              <a:extLst>
                <a:ext uri="{FF2B5EF4-FFF2-40B4-BE49-F238E27FC236}">
                  <a16:creationId xmlns:a16="http://schemas.microsoft.com/office/drawing/2014/main" id="{7EEFC8ED-7AC7-84AC-5C44-E50AFB7159DE}"/>
                </a:ext>
              </a:extLst>
            </p:cNvPr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1" name="Google Shape;2848;p64">
              <a:extLst>
                <a:ext uri="{FF2B5EF4-FFF2-40B4-BE49-F238E27FC236}">
                  <a16:creationId xmlns:a16="http://schemas.microsoft.com/office/drawing/2014/main" id="{7F12279E-B660-3B2C-E86D-5039258C694F}"/>
                </a:ext>
              </a:extLst>
            </p:cNvPr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2" name="Google Shape;2849;p64">
              <a:extLst>
                <a:ext uri="{FF2B5EF4-FFF2-40B4-BE49-F238E27FC236}">
                  <a16:creationId xmlns:a16="http://schemas.microsoft.com/office/drawing/2014/main" id="{6C80DF82-2329-63F1-9500-0DAF33F15B6F}"/>
                </a:ext>
              </a:extLst>
            </p:cNvPr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3" name="Google Shape;2850;p64">
              <a:extLst>
                <a:ext uri="{FF2B5EF4-FFF2-40B4-BE49-F238E27FC236}">
                  <a16:creationId xmlns:a16="http://schemas.microsoft.com/office/drawing/2014/main" id="{02F48E17-F692-3B62-D4BC-A5314EC8A447}"/>
                </a:ext>
              </a:extLst>
            </p:cNvPr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4" name="Google Shape;2851;p64">
              <a:extLst>
                <a:ext uri="{FF2B5EF4-FFF2-40B4-BE49-F238E27FC236}">
                  <a16:creationId xmlns:a16="http://schemas.microsoft.com/office/drawing/2014/main" id="{5E90D09C-DE6D-AD07-CD5C-4A9D71F3F0B5}"/>
                </a:ext>
              </a:extLst>
            </p:cNvPr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5" name="Google Shape;2852;p64">
              <a:extLst>
                <a:ext uri="{FF2B5EF4-FFF2-40B4-BE49-F238E27FC236}">
                  <a16:creationId xmlns:a16="http://schemas.microsoft.com/office/drawing/2014/main" id="{18A7795C-8A8C-F3E4-693C-8559CEA2476C}"/>
                </a:ext>
              </a:extLst>
            </p:cNvPr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6" name="Google Shape;2853;p64">
              <a:extLst>
                <a:ext uri="{FF2B5EF4-FFF2-40B4-BE49-F238E27FC236}">
                  <a16:creationId xmlns:a16="http://schemas.microsoft.com/office/drawing/2014/main" id="{D6948A25-2546-B88A-5E86-2F50D6FD0398}"/>
                </a:ext>
              </a:extLst>
            </p:cNvPr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7" name="Google Shape;2854;p64">
              <a:extLst>
                <a:ext uri="{FF2B5EF4-FFF2-40B4-BE49-F238E27FC236}">
                  <a16:creationId xmlns:a16="http://schemas.microsoft.com/office/drawing/2014/main" id="{7C40E349-FDC3-CFC2-8BFB-50717FFCA44A}"/>
                </a:ext>
              </a:extLst>
            </p:cNvPr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8" name="Google Shape;2855;p64">
              <a:extLst>
                <a:ext uri="{FF2B5EF4-FFF2-40B4-BE49-F238E27FC236}">
                  <a16:creationId xmlns:a16="http://schemas.microsoft.com/office/drawing/2014/main" id="{77838D45-9044-4689-7FD4-9F8376D33601}"/>
                </a:ext>
              </a:extLst>
            </p:cNvPr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9" name="Google Shape;2856;p64">
              <a:extLst>
                <a:ext uri="{FF2B5EF4-FFF2-40B4-BE49-F238E27FC236}">
                  <a16:creationId xmlns:a16="http://schemas.microsoft.com/office/drawing/2014/main" id="{2601D6F4-EFA4-6854-CAD4-E576C5F1FAA1}"/>
                </a:ext>
              </a:extLst>
            </p:cNvPr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0" name="Google Shape;2857;p64">
              <a:extLst>
                <a:ext uri="{FF2B5EF4-FFF2-40B4-BE49-F238E27FC236}">
                  <a16:creationId xmlns:a16="http://schemas.microsoft.com/office/drawing/2014/main" id="{4569193E-7C98-3B79-B5F9-FE48EEADFE1D}"/>
                </a:ext>
              </a:extLst>
            </p:cNvPr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1" name="Google Shape;2858;p64">
              <a:extLst>
                <a:ext uri="{FF2B5EF4-FFF2-40B4-BE49-F238E27FC236}">
                  <a16:creationId xmlns:a16="http://schemas.microsoft.com/office/drawing/2014/main" id="{6DC9BE8E-2650-9A70-EAC1-B8A71FC487A9}"/>
                </a:ext>
              </a:extLst>
            </p:cNvPr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2" name="Google Shape;2859;p64">
              <a:extLst>
                <a:ext uri="{FF2B5EF4-FFF2-40B4-BE49-F238E27FC236}">
                  <a16:creationId xmlns:a16="http://schemas.microsoft.com/office/drawing/2014/main" id="{80432FFF-3CF5-870E-0BAC-975011B8032C}"/>
                </a:ext>
              </a:extLst>
            </p:cNvPr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3" name="Google Shape;2860;p64">
              <a:extLst>
                <a:ext uri="{FF2B5EF4-FFF2-40B4-BE49-F238E27FC236}">
                  <a16:creationId xmlns:a16="http://schemas.microsoft.com/office/drawing/2014/main" id="{50D1C59D-82A7-D14E-BAB4-C96F17A5911D}"/>
                </a:ext>
              </a:extLst>
            </p:cNvPr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4" name="Google Shape;2861;p64">
              <a:extLst>
                <a:ext uri="{FF2B5EF4-FFF2-40B4-BE49-F238E27FC236}">
                  <a16:creationId xmlns:a16="http://schemas.microsoft.com/office/drawing/2014/main" id="{D76B7180-DACA-8FF5-3B3E-219D9B760521}"/>
                </a:ext>
              </a:extLst>
            </p:cNvPr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5" name="Google Shape;2862;p64">
              <a:extLst>
                <a:ext uri="{FF2B5EF4-FFF2-40B4-BE49-F238E27FC236}">
                  <a16:creationId xmlns:a16="http://schemas.microsoft.com/office/drawing/2014/main" id="{65F546B9-DE41-AFEE-5154-72E38EED67A9}"/>
                </a:ext>
              </a:extLst>
            </p:cNvPr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6" name="Google Shape;2863;p64">
              <a:extLst>
                <a:ext uri="{FF2B5EF4-FFF2-40B4-BE49-F238E27FC236}">
                  <a16:creationId xmlns:a16="http://schemas.microsoft.com/office/drawing/2014/main" id="{13BD3F3E-7676-2911-DE94-B92401D647B1}"/>
                </a:ext>
              </a:extLst>
            </p:cNvPr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7" name="Google Shape;2864;p64">
              <a:extLst>
                <a:ext uri="{FF2B5EF4-FFF2-40B4-BE49-F238E27FC236}">
                  <a16:creationId xmlns:a16="http://schemas.microsoft.com/office/drawing/2014/main" id="{398BD254-15A0-2245-1256-D59B50D26313}"/>
                </a:ext>
              </a:extLst>
            </p:cNvPr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8" name="Google Shape;2865;p64">
              <a:extLst>
                <a:ext uri="{FF2B5EF4-FFF2-40B4-BE49-F238E27FC236}">
                  <a16:creationId xmlns:a16="http://schemas.microsoft.com/office/drawing/2014/main" id="{EC312872-0DA9-5BD3-DFDF-92D29914A486}"/>
                </a:ext>
              </a:extLst>
            </p:cNvPr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9" name="Google Shape;2866;p64">
              <a:extLst>
                <a:ext uri="{FF2B5EF4-FFF2-40B4-BE49-F238E27FC236}">
                  <a16:creationId xmlns:a16="http://schemas.microsoft.com/office/drawing/2014/main" id="{F1439A1B-95FA-5718-7B74-9067A5B7264C}"/>
                </a:ext>
              </a:extLst>
            </p:cNvPr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0" name="Google Shape;2867;p64">
              <a:extLst>
                <a:ext uri="{FF2B5EF4-FFF2-40B4-BE49-F238E27FC236}">
                  <a16:creationId xmlns:a16="http://schemas.microsoft.com/office/drawing/2014/main" id="{19C1395D-D70C-19E4-C5BC-16261C6E890E}"/>
                </a:ext>
              </a:extLst>
            </p:cNvPr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1" name="Google Shape;2868;p64">
              <a:extLst>
                <a:ext uri="{FF2B5EF4-FFF2-40B4-BE49-F238E27FC236}">
                  <a16:creationId xmlns:a16="http://schemas.microsoft.com/office/drawing/2014/main" id="{F0475850-DFAB-B7F6-90D8-F19D0F784731}"/>
                </a:ext>
              </a:extLst>
            </p:cNvPr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2" name="Google Shape;2869;p64">
              <a:extLst>
                <a:ext uri="{FF2B5EF4-FFF2-40B4-BE49-F238E27FC236}">
                  <a16:creationId xmlns:a16="http://schemas.microsoft.com/office/drawing/2014/main" id="{5C7EEF7A-FD4B-9338-9F13-F8B34C3623E2}"/>
                </a:ext>
              </a:extLst>
            </p:cNvPr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3" name="Google Shape;2870;p64">
              <a:extLst>
                <a:ext uri="{FF2B5EF4-FFF2-40B4-BE49-F238E27FC236}">
                  <a16:creationId xmlns:a16="http://schemas.microsoft.com/office/drawing/2014/main" id="{C37BC489-9490-00B4-50FB-4D17BDC880CB}"/>
                </a:ext>
              </a:extLst>
            </p:cNvPr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4" name="Google Shape;2871;p64">
              <a:extLst>
                <a:ext uri="{FF2B5EF4-FFF2-40B4-BE49-F238E27FC236}">
                  <a16:creationId xmlns:a16="http://schemas.microsoft.com/office/drawing/2014/main" id="{B0D808F2-28AD-C06F-6EC0-17E05CACA572}"/>
                </a:ext>
              </a:extLst>
            </p:cNvPr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5" name="Google Shape;2872;p64">
              <a:extLst>
                <a:ext uri="{FF2B5EF4-FFF2-40B4-BE49-F238E27FC236}">
                  <a16:creationId xmlns:a16="http://schemas.microsoft.com/office/drawing/2014/main" id="{884A47DC-045D-217C-3597-D43ADBE0BC98}"/>
                </a:ext>
              </a:extLst>
            </p:cNvPr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6" name="Google Shape;2873;p64">
              <a:extLst>
                <a:ext uri="{FF2B5EF4-FFF2-40B4-BE49-F238E27FC236}">
                  <a16:creationId xmlns:a16="http://schemas.microsoft.com/office/drawing/2014/main" id="{FCD489F2-ADE9-8DBE-A517-E1CD06DAA778}"/>
                </a:ext>
              </a:extLst>
            </p:cNvPr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7" name="Google Shape;2874;p64">
              <a:extLst>
                <a:ext uri="{FF2B5EF4-FFF2-40B4-BE49-F238E27FC236}">
                  <a16:creationId xmlns:a16="http://schemas.microsoft.com/office/drawing/2014/main" id="{910D9B1B-36B0-320F-4758-5A2A88E4EA7B}"/>
                </a:ext>
              </a:extLst>
            </p:cNvPr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8" name="Google Shape;2875;p64">
              <a:extLst>
                <a:ext uri="{FF2B5EF4-FFF2-40B4-BE49-F238E27FC236}">
                  <a16:creationId xmlns:a16="http://schemas.microsoft.com/office/drawing/2014/main" id="{16DE0AA0-C20F-1D56-94AF-40D0122528D2}"/>
                </a:ext>
              </a:extLst>
            </p:cNvPr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9" name="Google Shape;2876;p64">
              <a:extLst>
                <a:ext uri="{FF2B5EF4-FFF2-40B4-BE49-F238E27FC236}">
                  <a16:creationId xmlns:a16="http://schemas.microsoft.com/office/drawing/2014/main" id="{55EBCBEA-BD55-43F1-5F32-87C08D95D6CD}"/>
                </a:ext>
              </a:extLst>
            </p:cNvPr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0" name="Google Shape;2877;p64">
              <a:extLst>
                <a:ext uri="{FF2B5EF4-FFF2-40B4-BE49-F238E27FC236}">
                  <a16:creationId xmlns:a16="http://schemas.microsoft.com/office/drawing/2014/main" id="{558DC036-9D09-FAC8-24B8-7CDCE51329B4}"/>
                </a:ext>
              </a:extLst>
            </p:cNvPr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1" name="Google Shape;2878;p64">
              <a:extLst>
                <a:ext uri="{FF2B5EF4-FFF2-40B4-BE49-F238E27FC236}">
                  <a16:creationId xmlns:a16="http://schemas.microsoft.com/office/drawing/2014/main" id="{C681D9A2-A6D6-A7C8-5787-77F0CD079EDA}"/>
                </a:ext>
              </a:extLst>
            </p:cNvPr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2" name="Google Shape;2879;p64">
              <a:extLst>
                <a:ext uri="{FF2B5EF4-FFF2-40B4-BE49-F238E27FC236}">
                  <a16:creationId xmlns:a16="http://schemas.microsoft.com/office/drawing/2014/main" id="{46963A4F-100A-349E-E77B-90D12AA868AD}"/>
                </a:ext>
              </a:extLst>
            </p:cNvPr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3" name="Google Shape;2880;p64">
              <a:extLst>
                <a:ext uri="{FF2B5EF4-FFF2-40B4-BE49-F238E27FC236}">
                  <a16:creationId xmlns:a16="http://schemas.microsoft.com/office/drawing/2014/main" id="{0D7F6AFB-79FC-732C-B626-A2CE5DA3AA31}"/>
                </a:ext>
              </a:extLst>
            </p:cNvPr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4" name="Google Shape;2881;p64">
              <a:extLst>
                <a:ext uri="{FF2B5EF4-FFF2-40B4-BE49-F238E27FC236}">
                  <a16:creationId xmlns:a16="http://schemas.microsoft.com/office/drawing/2014/main" id="{FBE99470-8FEE-A3BE-9AF7-B48670376C3A}"/>
                </a:ext>
              </a:extLst>
            </p:cNvPr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5" name="Google Shape;2882;p64">
              <a:extLst>
                <a:ext uri="{FF2B5EF4-FFF2-40B4-BE49-F238E27FC236}">
                  <a16:creationId xmlns:a16="http://schemas.microsoft.com/office/drawing/2014/main" id="{08393532-951E-7C39-978F-B002067FEE33}"/>
                </a:ext>
              </a:extLst>
            </p:cNvPr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6" name="Google Shape;2883;p64">
              <a:extLst>
                <a:ext uri="{FF2B5EF4-FFF2-40B4-BE49-F238E27FC236}">
                  <a16:creationId xmlns:a16="http://schemas.microsoft.com/office/drawing/2014/main" id="{3CF86FBE-3AE2-9B73-33CB-195B18BFADF3}"/>
                </a:ext>
              </a:extLst>
            </p:cNvPr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7" name="Google Shape;2884;p64">
              <a:extLst>
                <a:ext uri="{FF2B5EF4-FFF2-40B4-BE49-F238E27FC236}">
                  <a16:creationId xmlns:a16="http://schemas.microsoft.com/office/drawing/2014/main" id="{86C66C75-B463-75C8-8A64-61FED0889CA6}"/>
                </a:ext>
              </a:extLst>
            </p:cNvPr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8" name="Google Shape;2885;p64">
              <a:extLst>
                <a:ext uri="{FF2B5EF4-FFF2-40B4-BE49-F238E27FC236}">
                  <a16:creationId xmlns:a16="http://schemas.microsoft.com/office/drawing/2014/main" id="{7440D01D-C38E-2EB2-FB19-4D25F054618B}"/>
                </a:ext>
              </a:extLst>
            </p:cNvPr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9" name="Google Shape;2886;p64">
              <a:extLst>
                <a:ext uri="{FF2B5EF4-FFF2-40B4-BE49-F238E27FC236}">
                  <a16:creationId xmlns:a16="http://schemas.microsoft.com/office/drawing/2014/main" id="{A7682A43-ECA6-1933-55F2-7F4145F6D9E2}"/>
                </a:ext>
              </a:extLst>
            </p:cNvPr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0" name="Google Shape;2887;p64">
              <a:extLst>
                <a:ext uri="{FF2B5EF4-FFF2-40B4-BE49-F238E27FC236}">
                  <a16:creationId xmlns:a16="http://schemas.microsoft.com/office/drawing/2014/main" id="{1624D4B8-CABA-2F85-13A2-10E6615D1C95}"/>
                </a:ext>
              </a:extLst>
            </p:cNvPr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1" name="Google Shape;2888;p64">
              <a:extLst>
                <a:ext uri="{FF2B5EF4-FFF2-40B4-BE49-F238E27FC236}">
                  <a16:creationId xmlns:a16="http://schemas.microsoft.com/office/drawing/2014/main" id="{7AD64850-0643-F75F-4051-28D83D946981}"/>
                </a:ext>
              </a:extLst>
            </p:cNvPr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2" name="Google Shape;2889;p64">
              <a:extLst>
                <a:ext uri="{FF2B5EF4-FFF2-40B4-BE49-F238E27FC236}">
                  <a16:creationId xmlns:a16="http://schemas.microsoft.com/office/drawing/2014/main" id="{6F3FFC2A-54AC-E396-69E8-C1F7E20A7BD3}"/>
                </a:ext>
              </a:extLst>
            </p:cNvPr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3" name="Google Shape;2890;p64">
              <a:extLst>
                <a:ext uri="{FF2B5EF4-FFF2-40B4-BE49-F238E27FC236}">
                  <a16:creationId xmlns:a16="http://schemas.microsoft.com/office/drawing/2014/main" id="{B4447745-9BDB-CA8D-EA4F-D4B162E1115D}"/>
                </a:ext>
              </a:extLst>
            </p:cNvPr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4" name="Google Shape;2891;p64">
              <a:extLst>
                <a:ext uri="{FF2B5EF4-FFF2-40B4-BE49-F238E27FC236}">
                  <a16:creationId xmlns:a16="http://schemas.microsoft.com/office/drawing/2014/main" id="{0CA7B743-B544-8231-944B-CFEE06DC015F}"/>
                </a:ext>
              </a:extLst>
            </p:cNvPr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5" name="Google Shape;2892;p64">
              <a:extLst>
                <a:ext uri="{FF2B5EF4-FFF2-40B4-BE49-F238E27FC236}">
                  <a16:creationId xmlns:a16="http://schemas.microsoft.com/office/drawing/2014/main" id="{BED38CF0-3646-C8BB-2E1E-336AEBBA03DC}"/>
                </a:ext>
              </a:extLst>
            </p:cNvPr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6" name="Google Shape;2893;p64">
              <a:extLst>
                <a:ext uri="{FF2B5EF4-FFF2-40B4-BE49-F238E27FC236}">
                  <a16:creationId xmlns:a16="http://schemas.microsoft.com/office/drawing/2014/main" id="{894A5E45-4A0C-FFBF-15A6-57B69C5B47F6}"/>
                </a:ext>
              </a:extLst>
            </p:cNvPr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7" name="Google Shape;2894;p64">
              <a:extLst>
                <a:ext uri="{FF2B5EF4-FFF2-40B4-BE49-F238E27FC236}">
                  <a16:creationId xmlns:a16="http://schemas.microsoft.com/office/drawing/2014/main" id="{0656DAC3-0D4B-D484-D8F7-C2ECDFA2BCFC}"/>
                </a:ext>
              </a:extLst>
            </p:cNvPr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8" name="Google Shape;2895;p64">
              <a:extLst>
                <a:ext uri="{FF2B5EF4-FFF2-40B4-BE49-F238E27FC236}">
                  <a16:creationId xmlns:a16="http://schemas.microsoft.com/office/drawing/2014/main" id="{72C15E2C-F2F7-B5F7-43C3-C8AEBBE37087}"/>
                </a:ext>
              </a:extLst>
            </p:cNvPr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9" name="Google Shape;2896;p64">
              <a:extLst>
                <a:ext uri="{FF2B5EF4-FFF2-40B4-BE49-F238E27FC236}">
                  <a16:creationId xmlns:a16="http://schemas.microsoft.com/office/drawing/2014/main" id="{A0643FB4-DACA-9E42-15F0-243C935E82B4}"/>
                </a:ext>
              </a:extLst>
            </p:cNvPr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0" name="Google Shape;2897;p64">
              <a:extLst>
                <a:ext uri="{FF2B5EF4-FFF2-40B4-BE49-F238E27FC236}">
                  <a16:creationId xmlns:a16="http://schemas.microsoft.com/office/drawing/2014/main" id="{7E82AC20-51FA-F223-DBB6-269519CBAA1D}"/>
                </a:ext>
              </a:extLst>
            </p:cNvPr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1" name="Google Shape;2898;p64">
              <a:extLst>
                <a:ext uri="{FF2B5EF4-FFF2-40B4-BE49-F238E27FC236}">
                  <a16:creationId xmlns:a16="http://schemas.microsoft.com/office/drawing/2014/main" id="{079977BA-5225-941B-7B34-D22979779C5C}"/>
                </a:ext>
              </a:extLst>
            </p:cNvPr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2" name="Google Shape;2899;p64">
              <a:extLst>
                <a:ext uri="{FF2B5EF4-FFF2-40B4-BE49-F238E27FC236}">
                  <a16:creationId xmlns:a16="http://schemas.microsoft.com/office/drawing/2014/main" id="{7795D475-7B46-D19F-6F8A-7F7146974B1F}"/>
                </a:ext>
              </a:extLst>
            </p:cNvPr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3" name="Google Shape;2900;p64">
              <a:extLst>
                <a:ext uri="{FF2B5EF4-FFF2-40B4-BE49-F238E27FC236}">
                  <a16:creationId xmlns:a16="http://schemas.microsoft.com/office/drawing/2014/main" id="{063C8066-5D8A-D390-8A91-060733882F72}"/>
                </a:ext>
              </a:extLst>
            </p:cNvPr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4" name="Google Shape;2901;p64">
              <a:extLst>
                <a:ext uri="{FF2B5EF4-FFF2-40B4-BE49-F238E27FC236}">
                  <a16:creationId xmlns:a16="http://schemas.microsoft.com/office/drawing/2014/main" id="{61606F73-A134-81C9-D7D4-E49BFE1DD647}"/>
                </a:ext>
              </a:extLst>
            </p:cNvPr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5" name="Google Shape;2902;p64">
              <a:extLst>
                <a:ext uri="{FF2B5EF4-FFF2-40B4-BE49-F238E27FC236}">
                  <a16:creationId xmlns:a16="http://schemas.microsoft.com/office/drawing/2014/main" id="{DDD273EA-A12D-9FA7-C2AB-B8934D3BDDD9}"/>
                </a:ext>
              </a:extLst>
            </p:cNvPr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6" name="Google Shape;2903;p64">
              <a:extLst>
                <a:ext uri="{FF2B5EF4-FFF2-40B4-BE49-F238E27FC236}">
                  <a16:creationId xmlns:a16="http://schemas.microsoft.com/office/drawing/2014/main" id="{1341337C-3522-764B-8B7A-67EE4F45B73B}"/>
                </a:ext>
              </a:extLst>
            </p:cNvPr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7" name="Google Shape;2904;p64">
              <a:extLst>
                <a:ext uri="{FF2B5EF4-FFF2-40B4-BE49-F238E27FC236}">
                  <a16:creationId xmlns:a16="http://schemas.microsoft.com/office/drawing/2014/main" id="{6F8D0DFD-070A-12DB-F2FF-AD4AE7190313}"/>
                </a:ext>
              </a:extLst>
            </p:cNvPr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8" name="Google Shape;2905;p64">
              <a:extLst>
                <a:ext uri="{FF2B5EF4-FFF2-40B4-BE49-F238E27FC236}">
                  <a16:creationId xmlns:a16="http://schemas.microsoft.com/office/drawing/2014/main" id="{5A6CFE2A-623D-BA92-B85A-D1164E95D326}"/>
                </a:ext>
              </a:extLst>
            </p:cNvPr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9" name="Google Shape;2906;p64">
              <a:extLst>
                <a:ext uri="{FF2B5EF4-FFF2-40B4-BE49-F238E27FC236}">
                  <a16:creationId xmlns:a16="http://schemas.microsoft.com/office/drawing/2014/main" id="{501950C8-84E3-C9C3-2C30-9BC7D4474733}"/>
                </a:ext>
              </a:extLst>
            </p:cNvPr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0" name="Google Shape;2907;p64">
              <a:extLst>
                <a:ext uri="{FF2B5EF4-FFF2-40B4-BE49-F238E27FC236}">
                  <a16:creationId xmlns:a16="http://schemas.microsoft.com/office/drawing/2014/main" id="{7C6B8667-C2DD-4445-8831-B54D963D37F3}"/>
                </a:ext>
              </a:extLst>
            </p:cNvPr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1" name="Google Shape;2908;p64">
              <a:extLst>
                <a:ext uri="{FF2B5EF4-FFF2-40B4-BE49-F238E27FC236}">
                  <a16:creationId xmlns:a16="http://schemas.microsoft.com/office/drawing/2014/main" id="{B7754B74-B8BF-DCB5-C449-3BF659E22397}"/>
                </a:ext>
              </a:extLst>
            </p:cNvPr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2" name="Google Shape;2909;p64">
              <a:extLst>
                <a:ext uri="{FF2B5EF4-FFF2-40B4-BE49-F238E27FC236}">
                  <a16:creationId xmlns:a16="http://schemas.microsoft.com/office/drawing/2014/main" id="{AEA8075F-3B19-123C-5938-4339466EA216}"/>
                </a:ext>
              </a:extLst>
            </p:cNvPr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3" name="Google Shape;2910;p64">
              <a:extLst>
                <a:ext uri="{FF2B5EF4-FFF2-40B4-BE49-F238E27FC236}">
                  <a16:creationId xmlns:a16="http://schemas.microsoft.com/office/drawing/2014/main" id="{FF5AE6D4-3CFC-1E12-DF07-B6A7B3BA1029}"/>
                </a:ext>
              </a:extLst>
            </p:cNvPr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4" name="Google Shape;2911;p64">
              <a:extLst>
                <a:ext uri="{FF2B5EF4-FFF2-40B4-BE49-F238E27FC236}">
                  <a16:creationId xmlns:a16="http://schemas.microsoft.com/office/drawing/2014/main" id="{71EE5E7E-1567-5E72-6032-6855074D9BE5}"/>
                </a:ext>
              </a:extLst>
            </p:cNvPr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5" name="Google Shape;2912;p64">
              <a:extLst>
                <a:ext uri="{FF2B5EF4-FFF2-40B4-BE49-F238E27FC236}">
                  <a16:creationId xmlns:a16="http://schemas.microsoft.com/office/drawing/2014/main" id="{9A0C4EC5-C2D4-64DC-E2FD-71B7638D6AD9}"/>
                </a:ext>
              </a:extLst>
            </p:cNvPr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6" name="Google Shape;2913;p64">
              <a:extLst>
                <a:ext uri="{FF2B5EF4-FFF2-40B4-BE49-F238E27FC236}">
                  <a16:creationId xmlns:a16="http://schemas.microsoft.com/office/drawing/2014/main" id="{1EF1B578-7088-3D5E-E59C-3EE33DA29378}"/>
                </a:ext>
              </a:extLst>
            </p:cNvPr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7" name="Google Shape;2914;p64">
              <a:extLst>
                <a:ext uri="{FF2B5EF4-FFF2-40B4-BE49-F238E27FC236}">
                  <a16:creationId xmlns:a16="http://schemas.microsoft.com/office/drawing/2014/main" id="{1DD54A04-EE82-82D9-2E0F-F5ABF8D56EA9}"/>
                </a:ext>
              </a:extLst>
            </p:cNvPr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8" name="Google Shape;2915;p64">
              <a:extLst>
                <a:ext uri="{FF2B5EF4-FFF2-40B4-BE49-F238E27FC236}">
                  <a16:creationId xmlns:a16="http://schemas.microsoft.com/office/drawing/2014/main" id="{0549A75B-F121-6741-0648-8C201EFCC022}"/>
                </a:ext>
              </a:extLst>
            </p:cNvPr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9" name="Google Shape;2916;p64">
              <a:extLst>
                <a:ext uri="{FF2B5EF4-FFF2-40B4-BE49-F238E27FC236}">
                  <a16:creationId xmlns:a16="http://schemas.microsoft.com/office/drawing/2014/main" id="{99026B93-3284-C8F3-3B42-A2F2EB53661F}"/>
                </a:ext>
              </a:extLst>
            </p:cNvPr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0" name="Google Shape;2917;p64">
              <a:extLst>
                <a:ext uri="{FF2B5EF4-FFF2-40B4-BE49-F238E27FC236}">
                  <a16:creationId xmlns:a16="http://schemas.microsoft.com/office/drawing/2014/main" id="{067FF1A1-6D42-0277-FE6E-2B505399EC05}"/>
                </a:ext>
              </a:extLst>
            </p:cNvPr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1" name="Google Shape;2918;p64">
              <a:extLst>
                <a:ext uri="{FF2B5EF4-FFF2-40B4-BE49-F238E27FC236}">
                  <a16:creationId xmlns:a16="http://schemas.microsoft.com/office/drawing/2014/main" id="{A6A91273-0B78-273A-F085-E45C2FBF78F2}"/>
                </a:ext>
              </a:extLst>
            </p:cNvPr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2" name="Google Shape;2919;p64">
              <a:extLst>
                <a:ext uri="{FF2B5EF4-FFF2-40B4-BE49-F238E27FC236}">
                  <a16:creationId xmlns:a16="http://schemas.microsoft.com/office/drawing/2014/main" id="{DAD88178-C028-D71B-E4EE-A66EB21FD681}"/>
                </a:ext>
              </a:extLst>
            </p:cNvPr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3" name="Google Shape;2920;p64">
              <a:extLst>
                <a:ext uri="{FF2B5EF4-FFF2-40B4-BE49-F238E27FC236}">
                  <a16:creationId xmlns:a16="http://schemas.microsoft.com/office/drawing/2014/main" id="{DFC56CD7-D997-0CF0-20A7-A2094C7FF477}"/>
                </a:ext>
              </a:extLst>
            </p:cNvPr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4" name="Google Shape;2921;p64">
              <a:extLst>
                <a:ext uri="{FF2B5EF4-FFF2-40B4-BE49-F238E27FC236}">
                  <a16:creationId xmlns:a16="http://schemas.microsoft.com/office/drawing/2014/main" id="{20094302-51E5-1580-8E1B-928C048BE8C5}"/>
                </a:ext>
              </a:extLst>
            </p:cNvPr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5" name="Google Shape;2922;p64">
              <a:extLst>
                <a:ext uri="{FF2B5EF4-FFF2-40B4-BE49-F238E27FC236}">
                  <a16:creationId xmlns:a16="http://schemas.microsoft.com/office/drawing/2014/main" id="{F89E967D-7444-375C-1AA2-7B43E1F5096A}"/>
                </a:ext>
              </a:extLst>
            </p:cNvPr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6" name="Google Shape;2923;p64">
              <a:extLst>
                <a:ext uri="{FF2B5EF4-FFF2-40B4-BE49-F238E27FC236}">
                  <a16:creationId xmlns:a16="http://schemas.microsoft.com/office/drawing/2014/main" id="{39935B5F-016C-ED5F-7C81-4503082F7F67}"/>
                </a:ext>
              </a:extLst>
            </p:cNvPr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7" name="Google Shape;2924;p64">
              <a:extLst>
                <a:ext uri="{FF2B5EF4-FFF2-40B4-BE49-F238E27FC236}">
                  <a16:creationId xmlns:a16="http://schemas.microsoft.com/office/drawing/2014/main" id="{5FFCD650-140C-8907-151B-5934A518E10D}"/>
                </a:ext>
              </a:extLst>
            </p:cNvPr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8" name="Google Shape;2925;p64">
              <a:extLst>
                <a:ext uri="{FF2B5EF4-FFF2-40B4-BE49-F238E27FC236}">
                  <a16:creationId xmlns:a16="http://schemas.microsoft.com/office/drawing/2014/main" id="{A8B0B774-38BC-7012-EE19-CA42A97C7F87}"/>
                </a:ext>
              </a:extLst>
            </p:cNvPr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9" name="Google Shape;2926;p64">
              <a:extLst>
                <a:ext uri="{FF2B5EF4-FFF2-40B4-BE49-F238E27FC236}">
                  <a16:creationId xmlns:a16="http://schemas.microsoft.com/office/drawing/2014/main" id="{E6A4A87D-8DF9-34A9-8DD3-7F708A485C6F}"/>
                </a:ext>
              </a:extLst>
            </p:cNvPr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0" name="Google Shape;2927;p64">
              <a:extLst>
                <a:ext uri="{FF2B5EF4-FFF2-40B4-BE49-F238E27FC236}">
                  <a16:creationId xmlns:a16="http://schemas.microsoft.com/office/drawing/2014/main" id="{FF36B9B6-2B10-7938-FD58-F877CE6BE73F}"/>
                </a:ext>
              </a:extLst>
            </p:cNvPr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1" name="Google Shape;2928;p64">
              <a:extLst>
                <a:ext uri="{FF2B5EF4-FFF2-40B4-BE49-F238E27FC236}">
                  <a16:creationId xmlns:a16="http://schemas.microsoft.com/office/drawing/2014/main" id="{AACCD3CC-CB88-1F00-5C54-09DDAC2346D3}"/>
                </a:ext>
              </a:extLst>
            </p:cNvPr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2" name="Google Shape;2929;p64">
              <a:extLst>
                <a:ext uri="{FF2B5EF4-FFF2-40B4-BE49-F238E27FC236}">
                  <a16:creationId xmlns:a16="http://schemas.microsoft.com/office/drawing/2014/main" id="{F3B9F1DE-4056-75BD-5F18-0E91F65295FF}"/>
                </a:ext>
              </a:extLst>
            </p:cNvPr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3" name="Google Shape;2930;p64">
              <a:extLst>
                <a:ext uri="{FF2B5EF4-FFF2-40B4-BE49-F238E27FC236}">
                  <a16:creationId xmlns:a16="http://schemas.microsoft.com/office/drawing/2014/main" id="{16120EB4-834B-CD02-08C4-6C0A725E8DD8}"/>
                </a:ext>
              </a:extLst>
            </p:cNvPr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4" name="Google Shape;2931;p64">
              <a:extLst>
                <a:ext uri="{FF2B5EF4-FFF2-40B4-BE49-F238E27FC236}">
                  <a16:creationId xmlns:a16="http://schemas.microsoft.com/office/drawing/2014/main" id="{B4812390-33CA-C327-11D0-E3F9A8CBB665}"/>
                </a:ext>
              </a:extLst>
            </p:cNvPr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5" name="Google Shape;2932;p64">
              <a:extLst>
                <a:ext uri="{FF2B5EF4-FFF2-40B4-BE49-F238E27FC236}">
                  <a16:creationId xmlns:a16="http://schemas.microsoft.com/office/drawing/2014/main" id="{1965D7DC-3D28-8499-E735-740965C6B652}"/>
                </a:ext>
              </a:extLst>
            </p:cNvPr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6" name="Google Shape;2933;p64">
              <a:extLst>
                <a:ext uri="{FF2B5EF4-FFF2-40B4-BE49-F238E27FC236}">
                  <a16:creationId xmlns:a16="http://schemas.microsoft.com/office/drawing/2014/main" id="{D2C16F65-8D21-B906-AB6C-59986E97A035}"/>
                </a:ext>
              </a:extLst>
            </p:cNvPr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7" name="Google Shape;2934;p64">
              <a:extLst>
                <a:ext uri="{FF2B5EF4-FFF2-40B4-BE49-F238E27FC236}">
                  <a16:creationId xmlns:a16="http://schemas.microsoft.com/office/drawing/2014/main" id="{345214AA-E330-83C6-C1C1-FB5EBFCB0AE0}"/>
                </a:ext>
              </a:extLst>
            </p:cNvPr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8" name="Google Shape;2935;p64">
              <a:extLst>
                <a:ext uri="{FF2B5EF4-FFF2-40B4-BE49-F238E27FC236}">
                  <a16:creationId xmlns:a16="http://schemas.microsoft.com/office/drawing/2014/main" id="{E1A09F1C-0F41-8C47-0542-83E0C7D83D96}"/>
                </a:ext>
              </a:extLst>
            </p:cNvPr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9" name="Google Shape;2936;p64">
              <a:extLst>
                <a:ext uri="{FF2B5EF4-FFF2-40B4-BE49-F238E27FC236}">
                  <a16:creationId xmlns:a16="http://schemas.microsoft.com/office/drawing/2014/main" id="{E6C79A38-5076-337E-AD82-C10A7D903A5D}"/>
                </a:ext>
              </a:extLst>
            </p:cNvPr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0" name="Google Shape;2937;p64">
              <a:extLst>
                <a:ext uri="{FF2B5EF4-FFF2-40B4-BE49-F238E27FC236}">
                  <a16:creationId xmlns:a16="http://schemas.microsoft.com/office/drawing/2014/main" id="{C76CBD2A-2741-4C1C-2503-FF63D6D9A0C9}"/>
                </a:ext>
              </a:extLst>
            </p:cNvPr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1" name="Google Shape;2938;p64">
              <a:extLst>
                <a:ext uri="{FF2B5EF4-FFF2-40B4-BE49-F238E27FC236}">
                  <a16:creationId xmlns:a16="http://schemas.microsoft.com/office/drawing/2014/main" id="{AF4236F1-6262-44F1-913D-A47AE184C5CF}"/>
                </a:ext>
              </a:extLst>
            </p:cNvPr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2" name="Google Shape;2939;p64">
              <a:extLst>
                <a:ext uri="{FF2B5EF4-FFF2-40B4-BE49-F238E27FC236}">
                  <a16:creationId xmlns:a16="http://schemas.microsoft.com/office/drawing/2014/main" id="{F4E3FE65-3786-8B74-F0F4-5E15E1440C00}"/>
                </a:ext>
              </a:extLst>
            </p:cNvPr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3" name="Google Shape;2940;p64">
              <a:extLst>
                <a:ext uri="{FF2B5EF4-FFF2-40B4-BE49-F238E27FC236}">
                  <a16:creationId xmlns:a16="http://schemas.microsoft.com/office/drawing/2014/main" id="{BFDC9C56-7604-4301-A978-BC28E0322427}"/>
                </a:ext>
              </a:extLst>
            </p:cNvPr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4" name="Google Shape;2941;p64">
              <a:extLst>
                <a:ext uri="{FF2B5EF4-FFF2-40B4-BE49-F238E27FC236}">
                  <a16:creationId xmlns:a16="http://schemas.microsoft.com/office/drawing/2014/main" id="{AE48710C-0EE1-7B69-D96B-15D1F6783AD0}"/>
                </a:ext>
              </a:extLst>
            </p:cNvPr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5" name="Google Shape;2942;p64">
              <a:extLst>
                <a:ext uri="{FF2B5EF4-FFF2-40B4-BE49-F238E27FC236}">
                  <a16:creationId xmlns:a16="http://schemas.microsoft.com/office/drawing/2014/main" id="{4B049BFE-D14D-5E4C-DD6B-A49C907CB125}"/>
                </a:ext>
              </a:extLst>
            </p:cNvPr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6" name="Google Shape;2943;p64">
              <a:extLst>
                <a:ext uri="{FF2B5EF4-FFF2-40B4-BE49-F238E27FC236}">
                  <a16:creationId xmlns:a16="http://schemas.microsoft.com/office/drawing/2014/main" id="{3D8DF00D-4D97-8170-3A29-47E587974FDC}"/>
                </a:ext>
              </a:extLst>
            </p:cNvPr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7" name="Google Shape;2944;p64">
              <a:extLst>
                <a:ext uri="{FF2B5EF4-FFF2-40B4-BE49-F238E27FC236}">
                  <a16:creationId xmlns:a16="http://schemas.microsoft.com/office/drawing/2014/main" id="{1EDC15B8-F518-FCED-D251-7B1C9765C3A7}"/>
                </a:ext>
              </a:extLst>
            </p:cNvPr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8" name="Google Shape;2945;p64">
              <a:extLst>
                <a:ext uri="{FF2B5EF4-FFF2-40B4-BE49-F238E27FC236}">
                  <a16:creationId xmlns:a16="http://schemas.microsoft.com/office/drawing/2014/main" id="{ED1210B7-D2AB-79EB-6FDA-0D19281EB4B3}"/>
                </a:ext>
              </a:extLst>
            </p:cNvPr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9" name="Google Shape;2946;p64">
              <a:extLst>
                <a:ext uri="{FF2B5EF4-FFF2-40B4-BE49-F238E27FC236}">
                  <a16:creationId xmlns:a16="http://schemas.microsoft.com/office/drawing/2014/main" id="{4B838E8C-3193-A64C-4745-A6F3C82897D7}"/>
                </a:ext>
              </a:extLst>
            </p:cNvPr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0" name="Google Shape;2947;p64">
              <a:extLst>
                <a:ext uri="{FF2B5EF4-FFF2-40B4-BE49-F238E27FC236}">
                  <a16:creationId xmlns:a16="http://schemas.microsoft.com/office/drawing/2014/main" id="{8115B02A-633C-A867-466B-9EB858FA6D19}"/>
                </a:ext>
              </a:extLst>
            </p:cNvPr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1" name="Google Shape;2948;p64">
              <a:extLst>
                <a:ext uri="{FF2B5EF4-FFF2-40B4-BE49-F238E27FC236}">
                  <a16:creationId xmlns:a16="http://schemas.microsoft.com/office/drawing/2014/main" id="{7ADF72F3-3313-5ADE-46C9-C2B36ED4E900}"/>
                </a:ext>
              </a:extLst>
            </p:cNvPr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2" name="Google Shape;2949;p64">
              <a:extLst>
                <a:ext uri="{FF2B5EF4-FFF2-40B4-BE49-F238E27FC236}">
                  <a16:creationId xmlns:a16="http://schemas.microsoft.com/office/drawing/2014/main" id="{33699563-9890-375B-9FED-28E8464C02AB}"/>
                </a:ext>
              </a:extLst>
            </p:cNvPr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3" name="Google Shape;2950;p64">
              <a:extLst>
                <a:ext uri="{FF2B5EF4-FFF2-40B4-BE49-F238E27FC236}">
                  <a16:creationId xmlns:a16="http://schemas.microsoft.com/office/drawing/2014/main" id="{4C92CAC7-20D8-F69A-E66F-9BBAB71D82FE}"/>
                </a:ext>
              </a:extLst>
            </p:cNvPr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4" name="Google Shape;2951;p64">
              <a:extLst>
                <a:ext uri="{FF2B5EF4-FFF2-40B4-BE49-F238E27FC236}">
                  <a16:creationId xmlns:a16="http://schemas.microsoft.com/office/drawing/2014/main" id="{7EBCD1C8-146A-9AA0-49B6-F7AC246AB7FC}"/>
                </a:ext>
              </a:extLst>
            </p:cNvPr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5" name="Google Shape;2952;p64">
              <a:extLst>
                <a:ext uri="{FF2B5EF4-FFF2-40B4-BE49-F238E27FC236}">
                  <a16:creationId xmlns:a16="http://schemas.microsoft.com/office/drawing/2014/main" id="{3A88BDB1-D109-5222-E238-D85BAC0FA1BD}"/>
                </a:ext>
              </a:extLst>
            </p:cNvPr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6" name="Google Shape;2953;p64">
              <a:extLst>
                <a:ext uri="{FF2B5EF4-FFF2-40B4-BE49-F238E27FC236}">
                  <a16:creationId xmlns:a16="http://schemas.microsoft.com/office/drawing/2014/main" id="{CDC775D9-4A7F-D344-F1A8-268593810483}"/>
                </a:ext>
              </a:extLst>
            </p:cNvPr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7" name="Google Shape;2954;p64">
              <a:extLst>
                <a:ext uri="{FF2B5EF4-FFF2-40B4-BE49-F238E27FC236}">
                  <a16:creationId xmlns:a16="http://schemas.microsoft.com/office/drawing/2014/main" id="{3D115BB0-03EA-FDFF-FDD2-18521918AC7C}"/>
                </a:ext>
              </a:extLst>
            </p:cNvPr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8" name="Google Shape;2955;p64">
              <a:extLst>
                <a:ext uri="{FF2B5EF4-FFF2-40B4-BE49-F238E27FC236}">
                  <a16:creationId xmlns:a16="http://schemas.microsoft.com/office/drawing/2014/main" id="{1BFD9577-A180-8D7B-7271-65DDF8A673D4}"/>
                </a:ext>
              </a:extLst>
            </p:cNvPr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9" name="Google Shape;2956;p64">
              <a:extLst>
                <a:ext uri="{FF2B5EF4-FFF2-40B4-BE49-F238E27FC236}">
                  <a16:creationId xmlns:a16="http://schemas.microsoft.com/office/drawing/2014/main" id="{CFBE3EB0-4156-A9EC-AD01-EE1E0FBC8AFE}"/>
                </a:ext>
              </a:extLst>
            </p:cNvPr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0" name="Google Shape;2957;p64">
              <a:extLst>
                <a:ext uri="{FF2B5EF4-FFF2-40B4-BE49-F238E27FC236}">
                  <a16:creationId xmlns:a16="http://schemas.microsoft.com/office/drawing/2014/main" id="{4CFD555F-375B-4C61-F981-C504EA1E3458}"/>
                </a:ext>
              </a:extLst>
            </p:cNvPr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1" name="Google Shape;2958;p64">
              <a:extLst>
                <a:ext uri="{FF2B5EF4-FFF2-40B4-BE49-F238E27FC236}">
                  <a16:creationId xmlns:a16="http://schemas.microsoft.com/office/drawing/2014/main" id="{D6813879-595B-3F96-9BDA-88072A68B539}"/>
                </a:ext>
              </a:extLst>
            </p:cNvPr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2" name="Google Shape;2959;p64">
              <a:extLst>
                <a:ext uri="{FF2B5EF4-FFF2-40B4-BE49-F238E27FC236}">
                  <a16:creationId xmlns:a16="http://schemas.microsoft.com/office/drawing/2014/main" id="{69236DEB-7FBA-C417-6783-288026C9CC5D}"/>
                </a:ext>
              </a:extLst>
            </p:cNvPr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3" name="Google Shape;2960;p64">
              <a:extLst>
                <a:ext uri="{FF2B5EF4-FFF2-40B4-BE49-F238E27FC236}">
                  <a16:creationId xmlns:a16="http://schemas.microsoft.com/office/drawing/2014/main" id="{412893FF-2788-05C0-F905-A369F2F1F8B7}"/>
                </a:ext>
              </a:extLst>
            </p:cNvPr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4" name="Google Shape;2961;p64">
              <a:extLst>
                <a:ext uri="{FF2B5EF4-FFF2-40B4-BE49-F238E27FC236}">
                  <a16:creationId xmlns:a16="http://schemas.microsoft.com/office/drawing/2014/main" id="{922861F9-34A1-408D-74B9-76E59B36336D}"/>
                </a:ext>
              </a:extLst>
            </p:cNvPr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5" name="Google Shape;2962;p64">
              <a:extLst>
                <a:ext uri="{FF2B5EF4-FFF2-40B4-BE49-F238E27FC236}">
                  <a16:creationId xmlns:a16="http://schemas.microsoft.com/office/drawing/2014/main" id="{25B174FC-36FD-63C5-248F-422443FE1BF5}"/>
                </a:ext>
              </a:extLst>
            </p:cNvPr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6" name="Google Shape;2963;p64">
              <a:extLst>
                <a:ext uri="{FF2B5EF4-FFF2-40B4-BE49-F238E27FC236}">
                  <a16:creationId xmlns:a16="http://schemas.microsoft.com/office/drawing/2014/main" id="{C8163D9E-0D97-293A-F692-A52EAB792481}"/>
                </a:ext>
              </a:extLst>
            </p:cNvPr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7" name="Google Shape;2964;p64">
              <a:extLst>
                <a:ext uri="{FF2B5EF4-FFF2-40B4-BE49-F238E27FC236}">
                  <a16:creationId xmlns:a16="http://schemas.microsoft.com/office/drawing/2014/main" id="{E4281AE6-7C36-BAAD-096D-40FB26C39543}"/>
                </a:ext>
              </a:extLst>
            </p:cNvPr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8" name="Google Shape;2965;p64">
              <a:extLst>
                <a:ext uri="{FF2B5EF4-FFF2-40B4-BE49-F238E27FC236}">
                  <a16:creationId xmlns:a16="http://schemas.microsoft.com/office/drawing/2014/main" id="{6DE5A4C3-CA49-C6FA-F6BA-811F8DCE4D8D}"/>
                </a:ext>
              </a:extLst>
            </p:cNvPr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9" name="Google Shape;2966;p64">
              <a:extLst>
                <a:ext uri="{FF2B5EF4-FFF2-40B4-BE49-F238E27FC236}">
                  <a16:creationId xmlns:a16="http://schemas.microsoft.com/office/drawing/2014/main" id="{95B525E7-D6A7-C087-0535-5660D512BD10}"/>
                </a:ext>
              </a:extLst>
            </p:cNvPr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0" name="Google Shape;2967;p64">
              <a:extLst>
                <a:ext uri="{FF2B5EF4-FFF2-40B4-BE49-F238E27FC236}">
                  <a16:creationId xmlns:a16="http://schemas.microsoft.com/office/drawing/2014/main" id="{0E89DC7E-48D7-161C-F28B-4EAAB93A3F6A}"/>
                </a:ext>
              </a:extLst>
            </p:cNvPr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1" name="Google Shape;2968;p64">
              <a:extLst>
                <a:ext uri="{FF2B5EF4-FFF2-40B4-BE49-F238E27FC236}">
                  <a16:creationId xmlns:a16="http://schemas.microsoft.com/office/drawing/2014/main" id="{7137232D-927B-2EB4-D960-31A89ED1362E}"/>
                </a:ext>
              </a:extLst>
            </p:cNvPr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2" name="Google Shape;2969;p64">
              <a:extLst>
                <a:ext uri="{FF2B5EF4-FFF2-40B4-BE49-F238E27FC236}">
                  <a16:creationId xmlns:a16="http://schemas.microsoft.com/office/drawing/2014/main" id="{A310493E-C2BC-4FD6-0ED2-F036776D1304}"/>
                </a:ext>
              </a:extLst>
            </p:cNvPr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3" name="Google Shape;2970;p64">
              <a:extLst>
                <a:ext uri="{FF2B5EF4-FFF2-40B4-BE49-F238E27FC236}">
                  <a16:creationId xmlns:a16="http://schemas.microsoft.com/office/drawing/2014/main" id="{F504AD60-F1A6-2528-554E-5434BA466658}"/>
                </a:ext>
              </a:extLst>
            </p:cNvPr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4" name="Google Shape;2971;p64">
              <a:extLst>
                <a:ext uri="{FF2B5EF4-FFF2-40B4-BE49-F238E27FC236}">
                  <a16:creationId xmlns:a16="http://schemas.microsoft.com/office/drawing/2014/main" id="{BB261E17-7DC7-2F7D-BC89-1939CCDFBA4D}"/>
                </a:ext>
              </a:extLst>
            </p:cNvPr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5" name="Google Shape;2972;p64">
              <a:extLst>
                <a:ext uri="{FF2B5EF4-FFF2-40B4-BE49-F238E27FC236}">
                  <a16:creationId xmlns:a16="http://schemas.microsoft.com/office/drawing/2014/main" id="{5C8A74B0-93A7-B7E9-5C88-AD0861022C22}"/>
                </a:ext>
              </a:extLst>
            </p:cNvPr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6" name="Google Shape;2973;p64">
              <a:extLst>
                <a:ext uri="{FF2B5EF4-FFF2-40B4-BE49-F238E27FC236}">
                  <a16:creationId xmlns:a16="http://schemas.microsoft.com/office/drawing/2014/main" id="{465D8104-B0C0-BFBF-C718-16388A9CFA5A}"/>
                </a:ext>
              </a:extLst>
            </p:cNvPr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7" name="Google Shape;2974;p64">
              <a:extLst>
                <a:ext uri="{FF2B5EF4-FFF2-40B4-BE49-F238E27FC236}">
                  <a16:creationId xmlns:a16="http://schemas.microsoft.com/office/drawing/2014/main" id="{54B04F53-FEA4-1BFB-19C2-67371333B7C0}"/>
                </a:ext>
              </a:extLst>
            </p:cNvPr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8" name="Google Shape;2975;p64">
              <a:extLst>
                <a:ext uri="{FF2B5EF4-FFF2-40B4-BE49-F238E27FC236}">
                  <a16:creationId xmlns:a16="http://schemas.microsoft.com/office/drawing/2014/main" id="{13A6225E-A3F2-CFD2-0AD2-66A96CD037C6}"/>
                </a:ext>
              </a:extLst>
            </p:cNvPr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9" name="Google Shape;2976;p64">
              <a:extLst>
                <a:ext uri="{FF2B5EF4-FFF2-40B4-BE49-F238E27FC236}">
                  <a16:creationId xmlns:a16="http://schemas.microsoft.com/office/drawing/2014/main" id="{63ADC631-2E26-7EB9-D27A-CDDABEBCAD7A}"/>
                </a:ext>
              </a:extLst>
            </p:cNvPr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0" name="Google Shape;2977;p64">
              <a:extLst>
                <a:ext uri="{FF2B5EF4-FFF2-40B4-BE49-F238E27FC236}">
                  <a16:creationId xmlns:a16="http://schemas.microsoft.com/office/drawing/2014/main" id="{C5088D9E-9544-1E2A-41B7-6608EB8EF3B9}"/>
                </a:ext>
              </a:extLst>
            </p:cNvPr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1" name="Google Shape;2978;p64">
              <a:extLst>
                <a:ext uri="{FF2B5EF4-FFF2-40B4-BE49-F238E27FC236}">
                  <a16:creationId xmlns:a16="http://schemas.microsoft.com/office/drawing/2014/main" id="{D8C53229-6DF3-D00C-C93B-142D3E30B750}"/>
                </a:ext>
              </a:extLst>
            </p:cNvPr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2" name="Google Shape;2979;p64">
              <a:extLst>
                <a:ext uri="{FF2B5EF4-FFF2-40B4-BE49-F238E27FC236}">
                  <a16:creationId xmlns:a16="http://schemas.microsoft.com/office/drawing/2014/main" id="{F751B30C-386C-A243-F400-82C7C6687D9D}"/>
                </a:ext>
              </a:extLst>
            </p:cNvPr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3" name="Google Shape;2980;p64">
              <a:extLst>
                <a:ext uri="{FF2B5EF4-FFF2-40B4-BE49-F238E27FC236}">
                  <a16:creationId xmlns:a16="http://schemas.microsoft.com/office/drawing/2014/main" id="{BF312771-F68C-CFEA-FA07-F0AA04D7F0A6}"/>
                </a:ext>
              </a:extLst>
            </p:cNvPr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4" name="Google Shape;2981;p64">
              <a:extLst>
                <a:ext uri="{FF2B5EF4-FFF2-40B4-BE49-F238E27FC236}">
                  <a16:creationId xmlns:a16="http://schemas.microsoft.com/office/drawing/2014/main" id="{3C8A5DC0-B875-D565-01E1-DD2096C29B12}"/>
                </a:ext>
              </a:extLst>
            </p:cNvPr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5" name="Google Shape;2982;p64">
              <a:extLst>
                <a:ext uri="{FF2B5EF4-FFF2-40B4-BE49-F238E27FC236}">
                  <a16:creationId xmlns:a16="http://schemas.microsoft.com/office/drawing/2014/main" id="{F5345F3A-E343-B158-542C-6649C01484B5}"/>
                </a:ext>
              </a:extLst>
            </p:cNvPr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6" name="Google Shape;2983;p64">
              <a:extLst>
                <a:ext uri="{FF2B5EF4-FFF2-40B4-BE49-F238E27FC236}">
                  <a16:creationId xmlns:a16="http://schemas.microsoft.com/office/drawing/2014/main" id="{58C00B8F-C477-1212-FB2F-10F15960824B}"/>
                </a:ext>
              </a:extLst>
            </p:cNvPr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7" name="Google Shape;2984;p64">
              <a:extLst>
                <a:ext uri="{FF2B5EF4-FFF2-40B4-BE49-F238E27FC236}">
                  <a16:creationId xmlns:a16="http://schemas.microsoft.com/office/drawing/2014/main" id="{C2684179-D70A-5A41-360F-291DA780C167}"/>
                </a:ext>
              </a:extLst>
            </p:cNvPr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8" name="Google Shape;2985;p64">
              <a:extLst>
                <a:ext uri="{FF2B5EF4-FFF2-40B4-BE49-F238E27FC236}">
                  <a16:creationId xmlns:a16="http://schemas.microsoft.com/office/drawing/2014/main" id="{D6FC762D-0F3D-8D85-D1F2-96F50AE929BF}"/>
                </a:ext>
              </a:extLst>
            </p:cNvPr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9" name="Google Shape;2986;p64">
              <a:extLst>
                <a:ext uri="{FF2B5EF4-FFF2-40B4-BE49-F238E27FC236}">
                  <a16:creationId xmlns:a16="http://schemas.microsoft.com/office/drawing/2014/main" id="{315E6C42-A413-84BC-4843-3BDE708E2757}"/>
                </a:ext>
              </a:extLst>
            </p:cNvPr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0" name="Google Shape;2987;p64">
              <a:extLst>
                <a:ext uri="{FF2B5EF4-FFF2-40B4-BE49-F238E27FC236}">
                  <a16:creationId xmlns:a16="http://schemas.microsoft.com/office/drawing/2014/main" id="{93655C1D-63C3-F12C-A57B-3B9F10BBF100}"/>
                </a:ext>
              </a:extLst>
            </p:cNvPr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1" name="Google Shape;2988;p64">
              <a:extLst>
                <a:ext uri="{FF2B5EF4-FFF2-40B4-BE49-F238E27FC236}">
                  <a16:creationId xmlns:a16="http://schemas.microsoft.com/office/drawing/2014/main" id="{49F9178C-D564-8885-9921-3A79E6DE969F}"/>
                </a:ext>
              </a:extLst>
            </p:cNvPr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2" name="Google Shape;2989;p64">
              <a:extLst>
                <a:ext uri="{FF2B5EF4-FFF2-40B4-BE49-F238E27FC236}">
                  <a16:creationId xmlns:a16="http://schemas.microsoft.com/office/drawing/2014/main" id="{02E255A9-1169-76D1-B5CD-C3FA6C815D4C}"/>
                </a:ext>
              </a:extLst>
            </p:cNvPr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3" name="Google Shape;2990;p64">
              <a:extLst>
                <a:ext uri="{FF2B5EF4-FFF2-40B4-BE49-F238E27FC236}">
                  <a16:creationId xmlns:a16="http://schemas.microsoft.com/office/drawing/2014/main" id="{B986FE66-B438-2230-7E04-CCCAE07E5524}"/>
                </a:ext>
              </a:extLst>
            </p:cNvPr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4" name="Google Shape;2991;p64">
              <a:extLst>
                <a:ext uri="{FF2B5EF4-FFF2-40B4-BE49-F238E27FC236}">
                  <a16:creationId xmlns:a16="http://schemas.microsoft.com/office/drawing/2014/main" id="{DB6359E9-1AC3-4E71-D455-34E475208768}"/>
                </a:ext>
              </a:extLst>
            </p:cNvPr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5" name="Google Shape;2992;p64">
              <a:extLst>
                <a:ext uri="{FF2B5EF4-FFF2-40B4-BE49-F238E27FC236}">
                  <a16:creationId xmlns:a16="http://schemas.microsoft.com/office/drawing/2014/main" id="{C197BE64-BD05-8B9F-49DB-65C86641AE87}"/>
                </a:ext>
              </a:extLst>
            </p:cNvPr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6" name="Google Shape;2993;p64">
              <a:extLst>
                <a:ext uri="{FF2B5EF4-FFF2-40B4-BE49-F238E27FC236}">
                  <a16:creationId xmlns:a16="http://schemas.microsoft.com/office/drawing/2014/main" id="{8CB413A5-1687-E4B0-A984-64A6D05B669D}"/>
                </a:ext>
              </a:extLst>
            </p:cNvPr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7" name="Google Shape;2994;p64">
              <a:extLst>
                <a:ext uri="{FF2B5EF4-FFF2-40B4-BE49-F238E27FC236}">
                  <a16:creationId xmlns:a16="http://schemas.microsoft.com/office/drawing/2014/main" id="{2B745790-6A59-9738-E21F-8053C771C1F2}"/>
                </a:ext>
              </a:extLst>
            </p:cNvPr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8" name="Google Shape;2995;p64">
              <a:extLst>
                <a:ext uri="{FF2B5EF4-FFF2-40B4-BE49-F238E27FC236}">
                  <a16:creationId xmlns:a16="http://schemas.microsoft.com/office/drawing/2014/main" id="{451B654A-250E-8710-A7F0-BB3F196E84A3}"/>
                </a:ext>
              </a:extLst>
            </p:cNvPr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9" name="Google Shape;2996;p64">
              <a:extLst>
                <a:ext uri="{FF2B5EF4-FFF2-40B4-BE49-F238E27FC236}">
                  <a16:creationId xmlns:a16="http://schemas.microsoft.com/office/drawing/2014/main" id="{32FC3B64-96A7-B1D2-8614-42EFA35648B0}"/>
                </a:ext>
              </a:extLst>
            </p:cNvPr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0" name="Google Shape;2997;p64">
              <a:extLst>
                <a:ext uri="{FF2B5EF4-FFF2-40B4-BE49-F238E27FC236}">
                  <a16:creationId xmlns:a16="http://schemas.microsoft.com/office/drawing/2014/main" id="{0431A2E7-6874-F335-0A66-B577A224F6C8}"/>
                </a:ext>
              </a:extLst>
            </p:cNvPr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1" name="Google Shape;2998;p64">
              <a:extLst>
                <a:ext uri="{FF2B5EF4-FFF2-40B4-BE49-F238E27FC236}">
                  <a16:creationId xmlns:a16="http://schemas.microsoft.com/office/drawing/2014/main" id="{0996C397-0796-272F-2773-CC3332F278DB}"/>
                </a:ext>
              </a:extLst>
            </p:cNvPr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2" name="Google Shape;2999;p64">
              <a:extLst>
                <a:ext uri="{FF2B5EF4-FFF2-40B4-BE49-F238E27FC236}">
                  <a16:creationId xmlns:a16="http://schemas.microsoft.com/office/drawing/2014/main" id="{B339851B-6C2C-CF62-14D3-D66672D1FBE1}"/>
                </a:ext>
              </a:extLst>
            </p:cNvPr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3" name="Google Shape;3000;p64">
              <a:extLst>
                <a:ext uri="{FF2B5EF4-FFF2-40B4-BE49-F238E27FC236}">
                  <a16:creationId xmlns:a16="http://schemas.microsoft.com/office/drawing/2014/main" id="{B389332C-0957-2C62-720D-2F97EE0BC971}"/>
                </a:ext>
              </a:extLst>
            </p:cNvPr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4" name="Google Shape;3001;p64">
              <a:extLst>
                <a:ext uri="{FF2B5EF4-FFF2-40B4-BE49-F238E27FC236}">
                  <a16:creationId xmlns:a16="http://schemas.microsoft.com/office/drawing/2014/main" id="{73C1F7B1-9489-C5A6-87D0-B0AB367FA4CA}"/>
                </a:ext>
              </a:extLst>
            </p:cNvPr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5" name="Google Shape;3002;p64">
              <a:extLst>
                <a:ext uri="{FF2B5EF4-FFF2-40B4-BE49-F238E27FC236}">
                  <a16:creationId xmlns:a16="http://schemas.microsoft.com/office/drawing/2014/main" id="{DA0699AD-CF38-19AD-EBB2-5B0856DB281C}"/>
                </a:ext>
              </a:extLst>
            </p:cNvPr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6" name="Google Shape;3003;p64">
              <a:extLst>
                <a:ext uri="{FF2B5EF4-FFF2-40B4-BE49-F238E27FC236}">
                  <a16:creationId xmlns:a16="http://schemas.microsoft.com/office/drawing/2014/main" id="{FAA7E62C-166A-D467-009C-2D257ED9A6AD}"/>
                </a:ext>
              </a:extLst>
            </p:cNvPr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7" name="Google Shape;3004;p64">
              <a:extLst>
                <a:ext uri="{FF2B5EF4-FFF2-40B4-BE49-F238E27FC236}">
                  <a16:creationId xmlns:a16="http://schemas.microsoft.com/office/drawing/2014/main" id="{D61EE96C-BAE8-8D8F-C610-3EA8C8FB8F60}"/>
                </a:ext>
              </a:extLst>
            </p:cNvPr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8" name="Google Shape;3005;p64">
              <a:extLst>
                <a:ext uri="{FF2B5EF4-FFF2-40B4-BE49-F238E27FC236}">
                  <a16:creationId xmlns:a16="http://schemas.microsoft.com/office/drawing/2014/main" id="{F9E09BD3-EEA0-F024-A393-36982DD8336B}"/>
                </a:ext>
              </a:extLst>
            </p:cNvPr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9" name="Google Shape;3006;p64">
              <a:extLst>
                <a:ext uri="{FF2B5EF4-FFF2-40B4-BE49-F238E27FC236}">
                  <a16:creationId xmlns:a16="http://schemas.microsoft.com/office/drawing/2014/main" id="{19CE1B51-594A-A818-7058-7CBE4BDB0E4D}"/>
                </a:ext>
              </a:extLst>
            </p:cNvPr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0" name="Google Shape;3007;p64">
              <a:extLst>
                <a:ext uri="{FF2B5EF4-FFF2-40B4-BE49-F238E27FC236}">
                  <a16:creationId xmlns:a16="http://schemas.microsoft.com/office/drawing/2014/main" id="{A1D80371-C81E-B382-C408-F7F08E500C57}"/>
                </a:ext>
              </a:extLst>
            </p:cNvPr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1" name="Google Shape;3008;p64">
              <a:extLst>
                <a:ext uri="{FF2B5EF4-FFF2-40B4-BE49-F238E27FC236}">
                  <a16:creationId xmlns:a16="http://schemas.microsoft.com/office/drawing/2014/main" id="{6F089EC6-53CF-F35B-12AB-EE0B893EB22E}"/>
                </a:ext>
              </a:extLst>
            </p:cNvPr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2" name="Google Shape;3009;p64">
              <a:extLst>
                <a:ext uri="{FF2B5EF4-FFF2-40B4-BE49-F238E27FC236}">
                  <a16:creationId xmlns:a16="http://schemas.microsoft.com/office/drawing/2014/main" id="{0516953B-73F6-7E41-2082-7666C36BDDCA}"/>
                </a:ext>
              </a:extLst>
            </p:cNvPr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3" name="Google Shape;3010;p64">
              <a:extLst>
                <a:ext uri="{FF2B5EF4-FFF2-40B4-BE49-F238E27FC236}">
                  <a16:creationId xmlns:a16="http://schemas.microsoft.com/office/drawing/2014/main" id="{77EE1669-0588-9C7C-8B75-EBB6BA3BB363}"/>
                </a:ext>
              </a:extLst>
            </p:cNvPr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4" name="Google Shape;3011;p64">
              <a:extLst>
                <a:ext uri="{FF2B5EF4-FFF2-40B4-BE49-F238E27FC236}">
                  <a16:creationId xmlns:a16="http://schemas.microsoft.com/office/drawing/2014/main" id="{6D9AF668-CB2C-9D94-61E1-074C341BF65A}"/>
                </a:ext>
              </a:extLst>
            </p:cNvPr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5" name="Google Shape;3012;p64">
              <a:extLst>
                <a:ext uri="{FF2B5EF4-FFF2-40B4-BE49-F238E27FC236}">
                  <a16:creationId xmlns:a16="http://schemas.microsoft.com/office/drawing/2014/main" id="{4D2657B2-E642-F7DC-20B4-2C4AC39F5488}"/>
                </a:ext>
              </a:extLst>
            </p:cNvPr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6" name="Google Shape;3013;p64">
              <a:extLst>
                <a:ext uri="{FF2B5EF4-FFF2-40B4-BE49-F238E27FC236}">
                  <a16:creationId xmlns:a16="http://schemas.microsoft.com/office/drawing/2014/main" id="{BD47511B-1E72-C5E1-6BEA-B6D9D7F92E8C}"/>
                </a:ext>
              </a:extLst>
            </p:cNvPr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7" name="Google Shape;3014;p64">
              <a:extLst>
                <a:ext uri="{FF2B5EF4-FFF2-40B4-BE49-F238E27FC236}">
                  <a16:creationId xmlns:a16="http://schemas.microsoft.com/office/drawing/2014/main" id="{05A65610-FB64-E290-FE7D-51876F074DC1}"/>
                </a:ext>
              </a:extLst>
            </p:cNvPr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8" name="Google Shape;3015;p64">
              <a:extLst>
                <a:ext uri="{FF2B5EF4-FFF2-40B4-BE49-F238E27FC236}">
                  <a16:creationId xmlns:a16="http://schemas.microsoft.com/office/drawing/2014/main" id="{F8EA1013-B5F3-952E-3052-DC07677A5BBF}"/>
                </a:ext>
              </a:extLst>
            </p:cNvPr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9" name="Google Shape;3016;p64">
              <a:extLst>
                <a:ext uri="{FF2B5EF4-FFF2-40B4-BE49-F238E27FC236}">
                  <a16:creationId xmlns:a16="http://schemas.microsoft.com/office/drawing/2014/main" id="{F633F35F-D3DA-0E0C-747D-793BD59DD0C8}"/>
                </a:ext>
              </a:extLst>
            </p:cNvPr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0" name="Google Shape;3017;p64">
              <a:extLst>
                <a:ext uri="{FF2B5EF4-FFF2-40B4-BE49-F238E27FC236}">
                  <a16:creationId xmlns:a16="http://schemas.microsoft.com/office/drawing/2014/main" id="{34CAB487-3269-47B7-AC41-573C394C7C4E}"/>
                </a:ext>
              </a:extLst>
            </p:cNvPr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1" name="Google Shape;3018;p64">
              <a:extLst>
                <a:ext uri="{FF2B5EF4-FFF2-40B4-BE49-F238E27FC236}">
                  <a16:creationId xmlns:a16="http://schemas.microsoft.com/office/drawing/2014/main" id="{C372A5EF-EE2A-2456-A6BB-9C859D26DB44}"/>
                </a:ext>
              </a:extLst>
            </p:cNvPr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2" name="Google Shape;3019;p64">
              <a:extLst>
                <a:ext uri="{FF2B5EF4-FFF2-40B4-BE49-F238E27FC236}">
                  <a16:creationId xmlns:a16="http://schemas.microsoft.com/office/drawing/2014/main" id="{207633A9-23D9-8F0A-2595-C0CEB658696A}"/>
                </a:ext>
              </a:extLst>
            </p:cNvPr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3" name="Google Shape;3020;p64">
              <a:extLst>
                <a:ext uri="{FF2B5EF4-FFF2-40B4-BE49-F238E27FC236}">
                  <a16:creationId xmlns:a16="http://schemas.microsoft.com/office/drawing/2014/main" id="{5F5FE364-B39F-3F4A-9273-25E8657F4619}"/>
                </a:ext>
              </a:extLst>
            </p:cNvPr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4" name="Google Shape;3021;p64">
              <a:extLst>
                <a:ext uri="{FF2B5EF4-FFF2-40B4-BE49-F238E27FC236}">
                  <a16:creationId xmlns:a16="http://schemas.microsoft.com/office/drawing/2014/main" id="{8D5245A0-5746-BCC2-4249-87B0372AA861}"/>
                </a:ext>
              </a:extLst>
            </p:cNvPr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5" name="Google Shape;3022;p64">
              <a:extLst>
                <a:ext uri="{FF2B5EF4-FFF2-40B4-BE49-F238E27FC236}">
                  <a16:creationId xmlns:a16="http://schemas.microsoft.com/office/drawing/2014/main" id="{CBC8B67D-984D-0E8E-E437-FA9A4DEAD9BA}"/>
                </a:ext>
              </a:extLst>
            </p:cNvPr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6" name="Google Shape;3023;p64">
              <a:extLst>
                <a:ext uri="{FF2B5EF4-FFF2-40B4-BE49-F238E27FC236}">
                  <a16:creationId xmlns:a16="http://schemas.microsoft.com/office/drawing/2014/main" id="{83957AAD-3499-4284-46D4-4CD0B12BA162}"/>
                </a:ext>
              </a:extLst>
            </p:cNvPr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7" name="Google Shape;3024;p64">
              <a:extLst>
                <a:ext uri="{FF2B5EF4-FFF2-40B4-BE49-F238E27FC236}">
                  <a16:creationId xmlns:a16="http://schemas.microsoft.com/office/drawing/2014/main" id="{AB3E557D-026F-76DA-26EB-7D678568A786}"/>
                </a:ext>
              </a:extLst>
            </p:cNvPr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8" name="Google Shape;3025;p64">
              <a:extLst>
                <a:ext uri="{FF2B5EF4-FFF2-40B4-BE49-F238E27FC236}">
                  <a16:creationId xmlns:a16="http://schemas.microsoft.com/office/drawing/2014/main" id="{26F2C066-35A1-DD79-3EB3-18CA94B3C986}"/>
                </a:ext>
              </a:extLst>
            </p:cNvPr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9" name="Google Shape;3026;p64">
              <a:extLst>
                <a:ext uri="{FF2B5EF4-FFF2-40B4-BE49-F238E27FC236}">
                  <a16:creationId xmlns:a16="http://schemas.microsoft.com/office/drawing/2014/main" id="{D4F8A4BE-BE67-6F66-4FF4-C81079D2B501}"/>
                </a:ext>
              </a:extLst>
            </p:cNvPr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0" name="Google Shape;3027;p64">
              <a:extLst>
                <a:ext uri="{FF2B5EF4-FFF2-40B4-BE49-F238E27FC236}">
                  <a16:creationId xmlns:a16="http://schemas.microsoft.com/office/drawing/2014/main" id="{890B053A-79A2-59D3-0D3A-051708373454}"/>
                </a:ext>
              </a:extLst>
            </p:cNvPr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1" name="Google Shape;3028;p64">
              <a:extLst>
                <a:ext uri="{FF2B5EF4-FFF2-40B4-BE49-F238E27FC236}">
                  <a16:creationId xmlns:a16="http://schemas.microsoft.com/office/drawing/2014/main" id="{BD4C2C52-F7B6-1638-93B4-DA99852A68A8}"/>
                </a:ext>
              </a:extLst>
            </p:cNvPr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2" name="Google Shape;3029;p64">
              <a:extLst>
                <a:ext uri="{FF2B5EF4-FFF2-40B4-BE49-F238E27FC236}">
                  <a16:creationId xmlns:a16="http://schemas.microsoft.com/office/drawing/2014/main" id="{F9772880-1F8B-C650-D622-55B16DD673BE}"/>
                </a:ext>
              </a:extLst>
            </p:cNvPr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3" name="Google Shape;3030;p64">
              <a:extLst>
                <a:ext uri="{FF2B5EF4-FFF2-40B4-BE49-F238E27FC236}">
                  <a16:creationId xmlns:a16="http://schemas.microsoft.com/office/drawing/2014/main" id="{FFCCD8B7-2FBE-AF23-C55B-E96BA5CCD375}"/>
                </a:ext>
              </a:extLst>
            </p:cNvPr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4" name="Google Shape;3031;p64">
              <a:extLst>
                <a:ext uri="{FF2B5EF4-FFF2-40B4-BE49-F238E27FC236}">
                  <a16:creationId xmlns:a16="http://schemas.microsoft.com/office/drawing/2014/main" id="{FB73E617-7570-4FFC-EE62-542D156F4D4E}"/>
                </a:ext>
              </a:extLst>
            </p:cNvPr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5" name="Google Shape;3032;p64">
              <a:extLst>
                <a:ext uri="{FF2B5EF4-FFF2-40B4-BE49-F238E27FC236}">
                  <a16:creationId xmlns:a16="http://schemas.microsoft.com/office/drawing/2014/main" id="{669614DE-E253-4B61-31A0-6CD8006C08FB}"/>
                </a:ext>
              </a:extLst>
            </p:cNvPr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6" name="Google Shape;3033;p64">
              <a:extLst>
                <a:ext uri="{FF2B5EF4-FFF2-40B4-BE49-F238E27FC236}">
                  <a16:creationId xmlns:a16="http://schemas.microsoft.com/office/drawing/2014/main" id="{64554516-8945-A03A-AF4F-FE3335641891}"/>
                </a:ext>
              </a:extLst>
            </p:cNvPr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7" name="Google Shape;3034;p64">
              <a:extLst>
                <a:ext uri="{FF2B5EF4-FFF2-40B4-BE49-F238E27FC236}">
                  <a16:creationId xmlns:a16="http://schemas.microsoft.com/office/drawing/2014/main" id="{A9CD36B2-CF58-5FC2-2077-60F81B73E3A0}"/>
                </a:ext>
              </a:extLst>
            </p:cNvPr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8" name="Google Shape;3035;p64">
              <a:extLst>
                <a:ext uri="{FF2B5EF4-FFF2-40B4-BE49-F238E27FC236}">
                  <a16:creationId xmlns:a16="http://schemas.microsoft.com/office/drawing/2014/main" id="{16E9C3DD-99B6-B0A4-54BB-1966B5B21633}"/>
                </a:ext>
              </a:extLst>
            </p:cNvPr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9" name="Google Shape;3036;p64">
              <a:extLst>
                <a:ext uri="{FF2B5EF4-FFF2-40B4-BE49-F238E27FC236}">
                  <a16:creationId xmlns:a16="http://schemas.microsoft.com/office/drawing/2014/main" id="{E26539FA-747F-0D38-6940-9331B699905A}"/>
                </a:ext>
              </a:extLst>
            </p:cNvPr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0" name="Google Shape;3037;p64">
              <a:extLst>
                <a:ext uri="{FF2B5EF4-FFF2-40B4-BE49-F238E27FC236}">
                  <a16:creationId xmlns:a16="http://schemas.microsoft.com/office/drawing/2014/main" id="{FE3A7AAE-0495-7F23-AAF8-4FA1E8949117}"/>
                </a:ext>
              </a:extLst>
            </p:cNvPr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1" name="Google Shape;3038;p64">
              <a:extLst>
                <a:ext uri="{FF2B5EF4-FFF2-40B4-BE49-F238E27FC236}">
                  <a16:creationId xmlns:a16="http://schemas.microsoft.com/office/drawing/2014/main" id="{5514F377-9050-4E80-D243-3506653133D5}"/>
                </a:ext>
              </a:extLst>
            </p:cNvPr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2" name="Google Shape;3039;p64">
              <a:extLst>
                <a:ext uri="{FF2B5EF4-FFF2-40B4-BE49-F238E27FC236}">
                  <a16:creationId xmlns:a16="http://schemas.microsoft.com/office/drawing/2014/main" id="{D5F0BFA5-FDDC-1FD4-343A-770556558106}"/>
                </a:ext>
              </a:extLst>
            </p:cNvPr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3" name="Google Shape;3040;p64">
              <a:extLst>
                <a:ext uri="{FF2B5EF4-FFF2-40B4-BE49-F238E27FC236}">
                  <a16:creationId xmlns:a16="http://schemas.microsoft.com/office/drawing/2014/main" id="{1760302A-2EFC-DCFB-72AB-F8633EE7AD57}"/>
                </a:ext>
              </a:extLst>
            </p:cNvPr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4" name="Google Shape;3041;p64">
              <a:extLst>
                <a:ext uri="{FF2B5EF4-FFF2-40B4-BE49-F238E27FC236}">
                  <a16:creationId xmlns:a16="http://schemas.microsoft.com/office/drawing/2014/main" id="{FDDE08B9-EAB0-7561-AD50-8086839352E9}"/>
                </a:ext>
              </a:extLst>
            </p:cNvPr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5" name="Google Shape;3042;p64">
              <a:extLst>
                <a:ext uri="{FF2B5EF4-FFF2-40B4-BE49-F238E27FC236}">
                  <a16:creationId xmlns:a16="http://schemas.microsoft.com/office/drawing/2014/main" id="{FFA3CA70-F82C-ABF3-05D0-409933AC4A1D}"/>
                </a:ext>
              </a:extLst>
            </p:cNvPr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6" name="Google Shape;3043;p64">
              <a:extLst>
                <a:ext uri="{FF2B5EF4-FFF2-40B4-BE49-F238E27FC236}">
                  <a16:creationId xmlns:a16="http://schemas.microsoft.com/office/drawing/2014/main" id="{ACF26220-9519-FA91-3365-DA4332E35CE3}"/>
                </a:ext>
              </a:extLst>
            </p:cNvPr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7" name="Google Shape;3044;p64">
              <a:extLst>
                <a:ext uri="{FF2B5EF4-FFF2-40B4-BE49-F238E27FC236}">
                  <a16:creationId xmlns:a16="http://schemas.microsoft.com/office/drawing/2014/main" id="{FC2BAC53-29A3-5EEB-5EBB-C984E0C39C28}"/>
                </a:ext>
              </a:extLst>
            </p:cNvPr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8" name="Google Shape;3045;p64">
              <a:extLst>
                <a:ext uri="{FF2B5EF4-FFF2-40B4-BE49-F238E27FC236}">
                  <a16:creationId xmlns:a16="http://schemas.microsoft.com/office/drawing/2014/main" id="{7386E80B-3D40-F096-410D-A2C8A116AF18}"/>
                </a:ext>
              </a:extLst>
            </p:cNvPr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9" name="Google Shape;3046;p64">
              <a:extLst>
                <a:ext uri="{FF2B5EF4-FFF2-40B4-BE49-F238E27FC236}">
                  <a16:creationId xmlns:a16="http://schemas.microsoft.com/office/drawing/2014/main" id="{AEE36A17-F537-EE20-1AA0-297BF7FC02AD}"/>
                </a:ext>
              </a:extLst>
            </p:cNvPr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0" name="Google Shape;3047;p64">
              <a:extLst>
                <a:ext uri="{FF2B5EF4-FFF2-40B4-BE49-F238E27FC236}">
                  <a16:creationId xmlns:a16="http://schemas.microsoft.com/office/drawing/2014/main" id="{F501D01A-BCE0-5392-8A0D-413034B0AA8E}"/>
                </a:ext>
              </a:extLst>
            </p:cNvPr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1" name="Google Shape;3048;p64">
              <a:extLst>
                <a:ext uri="{FF2B5EF4-FFF2-40B4-BE49-F238E27FC236}">
                  <a16:creationId xmlns:a16="http://schemas.microsoft.com/office/drawing/2014/main" id="{790F5387-30D6-9649-66F1-71BEBBB8620E}"/>
                </a:ext>
              </a:extLst>
            </p:cNvPr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2" name="Google Shape;3049;p64">
              <a:extLst>
                <a:ext uri="{FF2B5EF4-FFF2-40B4-BE49-F238E27FC236}">
                  <a16:creationId xmlns:a16="http://schemas.microsoft.com/office/drawing/2014/main" id="{2CAE1AF9-BD9F-71AF-BFE9-6C3E94339482}"/>
                </a:ext>
              </a:extLst>
            </p:cNvPr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3" name="Google Shape;3050;p64">
              <a:extLst>
                <a:ext uri="{FF2B5EF4-FFF2-40B4-BE49-F238E27FC236}">
                  <a16:creationId xmlns:a16="http://schemas.microsoft.com/office/drawing/2014/main" id="{0E0E7CB7-DC6A-D94D-BB50-DA124427AF1E}"/>
                </a:ext>
              </a:extLst>
            </p:cNvPr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4" name="Google Shape;3051;p64">
              <a:extLst>
                <a:ext uri="{FF2B5EF4-FFF2-40B4-BE49-F238E27FC236}">
                  <a16:creationId xmlns:a16="http://schemas.microsoft.com/office/drawing/2014/main" id="{E31A904C-1770-729A-DD6D-5D7D58455A5E}"/>
                </a:ext>
              </a:extLst>
            </p:cNvPr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5" name="Google Shape;3052;p64">
              <a:extLst>
                <a:ext uri="{FF2B5EF4-FFF2-40B4-BE49-F238E27FC236}">
                  <a16:creationId xmlns:a16="http://schemas.microsoft.com/office/drawing/2014/main" id="{9C20249C-F06C-2CF9-033C-2F333CAAEF22}"/>
                </a:ext>
              </a:extLst>
            </p:cNvPr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6" name="Google Shape;3053;p64">
              <a:extLst>
                <a:ext uri="{FF2B5EF4-FFF2-40B4-BE49-F238E27FC236}">
                  <a16:creationId xmlns:a16="http://schemas.microsoft.com/office/drawing/2014/main" id="{FA0326F2-A6D9-A913-DA95-929D01CF8F6E}"/>
                </a:ext>
              </a:extLst>
            </p:cNvPr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7" name="Google Shape;3054;p64">
              <a:extLst>
                <a:ext uri="{FF2B5EF4-FFF2-40B4-BE49-F238E27FC236}">
                  <a16:creationId xmlns:a16="http://schemas.microsoft.com/office/drawing/2014/main" id="{06F6782B-E0F0-505E-88B6-8A4A84515F76}"/>
                </a:ext>
              </a:extLst>
            </p:cNvPr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8" name="Google Shape;3055;p64">
              <a:extLst>
                <a:ext uri="{FF2B5EF4-FFF2-40B4-BE49-F238E27FC236}">
                  <a16:creationId xmlns:a16="http://schemas.microsoft.com/office/drawing/2014/main" id="{813DD5F5-F02C-370A-BCB8-356EBDE0F30F}"/>
                </a:ext>
              </a:extLst>
            </p:cNvPr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9" name="Google Shape;3056;p64">
              <a:extLst>
                <a:ext uri="{FF2B5EF4-FFF2-40B4-BE49-F238E27FC236}">
                  <a16:creationId xmlns:a16="http://schemas.microsoft.com/office/drawing/2014/main" id="{5661A07D-ED5A-D9A8-FDB2-76589CCE769B}"/>
                </a:ext>
              </a:extLst>
            </p:cNvPr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0" name="Google Shape;3057;p64">
              <a:extLst>
                <a:ext uri="{FF2B5EF4-FFF2-40B4-BE49-F238E27FC236}">
                  <a16:creationId xmlns:a16="http://schemas.microsoft.com/office/drawing/2014/main" id="{B03BB47F-1372-7DC2-1D8D-46DD6BDC563D}"/>
                </a:ext>
              </a:extLst>
            </p:cNvPr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1" name="Google Shape;3058;p64">
              <a:extLst>
                <a:ext uri="{FF2B5EF4-FFF2-40B4-BE49-F238E27FC236}">
                  <a16:creationId xmlns:a16="http://schemas.microsoft.com/office/drawing/2014/main" id="{1D6E7AD6-456F-181C-15C1-8CA85B821B10}"/>
                </a:ext>
              </a:extLst>
            </p:cNvPr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2" name="Google Shape;3059;p64">
              <a:extLst>
                <a:ext uri="{FF2B5EF4-FFF2-40B4-BE49-F238E27FC236}">
                  <a16:creationId xmlns:a16="http://schemas.microsoft.com/office/drawing/2014/main" id="{7CDF8C50-FB25-39A0-E51A-96CD50E169E9}"/>
                </a:ext>
              </a:extLst>
            </p:cNvPr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3" name="Google Shape;3060;p64">
              <a:extLst>
                <a:ext uri="{FF2B5EF4-FFF2-40B4-BE49-F238E27FC236}">
                  <a16:creationId xmlns:a16="http://schemas.microsoft.com/office/drawing/2014/main" id="{FA227E22-47D8-4A23-6D99-826F93AE3013}"/>
                </a:ext>
              </a:extLst>
            </p:cNvPr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4" name="Google Shape;3061;p64">
              <a:extLst>
                <a:ext uri="{FF2B5EF4-FFF2-40B4-BE49-F238E27FC236}">
                  <a16:creationId xmlns:a16="http://schemas.microsoft.com/office/drawing/2014/main" id="{C2DACE8A-DAF8-F3B5-238D-0F14DAE5E084}"/>
                </a:ext>
              </a:extLst>
            </p:cNvPr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5" name="Google Shape;3062;p64">
              <a:extLst>
                <a:ext uri="{FF2B5EF4-FFF2-40B4-BE49-F238E27FC236}">
                  <a16:creationId xmlns:a16="http://schemas.microsoft.com/office/drawing/2014/main" id="{929E607D-F12B-0EBB-B805-1D8504BAE3BF}"/>
                </a:ext>
              </a:extLst>
            </p:cNvPr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6" name="Google Shape;3063;p64">
              <a:extLst>
                <a:ext uri="{FF2B5EF4-FFF2-40B4-BE49-F238E27FC236}">
                  <a16:creationId xmlns:a16="http://schemas.microsoft.com/office/drawing/2014/main" id="{56FA1BB3-D3CF-FCE5-F072-8283A6ABB6BF}"/>
                </a:ext>
              </a:extLst>
            </p:cNvPr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7" name="Google Shape;3064;p64">
              <a:extLst>
                <a:ext uri="{FF2B5EF4-FFF2-40B4-BE49-F238E27FC236}">
                  <a16:creationId xmlns:a16="http://schemas.microsoft.com/office/drawing/2014/main" id="{6556B65C-3AA0-F8A4-D89E-9053043F1539}"/>
                </a:ext>
              </a:extLst>
            </p:cNvPr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8" name="Google Shape;3065;p64">
              <a:extLst>
                <a:ext uri="{FF2B5EF4-FFF2-40B4-BE49-F238E27FC236}">
                  <a16:creationId xmlns:a16="http://schemas.microsoft.com/office/drawing/2014/main" id="{CB40D555-871E-1E23-E407-A5AF39959E73}"/>
                </a:ext>
              </a:extLst>
            </p:cNvPr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9" name="Google Shape;3066;p64">
              <a:extLst>
                <a:ext uri="{FF2B5EF4-FFF2-40B4-BE49-F238E27FC236}">
                  <a16:creationId xmlns:a16="http://schemas.microsoft.com/office/drawing/2014/main" id="{C497C85F-DC47-17CF-E8C3-DF7E14389266}"/>
                </a:ext>
              </a:extLst>
            </p:cNvPr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0" name="Google Shape;3067;p64">
              <a:extLst>
                <a:ext uri="{FF2B5EF4-FFF2-40B4-BE49-F238E27FC236}">
                  <a16:creationId xmlns:a16="http://schemas.microsoft.com/office/drawing/2014/main" id="{138E45A9-9791-B31F-2708-82D4B5B7B89C}"/>
                </a:ext>
              </a:extLst>
            </p:cNvPr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1" name="Google Shape;3068;p64">
              <a:extLst>
                <a:ext uri="{FF2B5EF4-FFF2-40B4-BE49-F238E27FC236}">
                  <a16:creationId xmlns:a16="http://schemas.microsoft.com/office/drawing/2014/main" id="{B0C638BD-C779-5C51-8156-65D5C32D3371}"/>
                </a:ext>
              </a:extLst>
            </p:cNvPr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2" name="Google Shape;3069;p64">
              <a:extLst>
                <a:ext uri="{FF2B5EF4-FFF2-40B4-BE49-F238E27FC236}">
                  <a16:creationId xmlns:a16="http://schemas.microsoft.com/office/drawing/2014/main" id="{525A56B4-02E9-13EF-6F8E-464C3ED14FA0}"/>
                </a:ext>
              </a:extLst>
            </p:cNvPr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3" name="Google Shape;3070;p64">
              <a:extLst>
                <a:ext uri="{FF2B5EF4-FFF2-40B4-BE49-F238E27FC236}">
                  <a16:creationId xmlns:a16="http://schemas.microsoft.com/office/drawing/2014/main" id="{F49ACBC5-5523-BE3E-724C-D66131F28E5A}"/>
                </a:ext>
              </a:extLst>
            </p:cNvPr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4" name="Google Shape;3071;p64">
              <a:extLst>
                <a:ext uri="{FF2B5EF4-FFF2-40B4-BE49-F238E27FC236}">
                  <a16:creationId xmlns:a16="http://schemas.microsoft.com/office/drawing/2014/main" id="{D2EDBE53-6912-A4A3-7A89-4D3092883DD4}"/>
                </a:ext>
              </a:extLst>
            </p:cNvPr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5" name="Google Shape;3072;p64">
              <a:extLst>
                <a:ext uri="{FF2B5EF4-FFF2-40B4-BE49-F238E27FC236}">
                  <a16:creationId xmlns:a16="http://schemas.microsoft.com/office/drawing/2014/main" id="{A7F553A2-F97E-0F21-EBFE-4B0F7429B9B9}"/>
                </a:ext>
              </a:extLst>
            </p:cNvPr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6" name="Google Shape;3073;p64">
              <a:extLst>
                <a:ext uri="{FF2B5EF4-FFF2-40B4-BE49-F238E27FC236}">
                  <a16:creationId xmlns:a16="http://schemas.microsoft.com/office/drawing/2014/main" id="{5AC3E3B7-6550-7932-6257-CA20B2DD02A0}"/>
                </a:ext>
              </a:extLst>
            </p:cNvPr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7" name="Google Shape;3074;p64">
              <a:extLst>
                <a:ext uri="{FF2B5EF4-FFF2-40B4-BE49-F238E27FC236}">
                  <a16:creationId xmlns:a16="http://schemas.microsoft.com/office/drawing/2014/main" id="{8DADB132-8670-5753-D260-C3B3EC9554E8}"/>
                </a:ext>
              </a:extLst>
            </p:cNvPr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8" name="Google Shape;3075;p64">
              <a:extLst>
                <a:ext uri="{FF2B5EF4-FFF2-40B4-BE49-F238E27FC236}">
                  <a16:creationId xmlns:a16="http://schemas.microsoft.com/office/drawing/2014/main" id="{DD3B4FE7-4F79-92D8-2439-37E403FB3008}"/>
                </a:ext>
              </a:extLst>
            </p:cNvPr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9" name="Google Shape;3076;p64">
              <a:extLst>
                <a:ext uri="{FF2B5EF4-FFF2-40B4-BE49-F238E27FC236}">
                  <a16:creationId xmlns:a16="http://schemas.microsoft.com/office/drawing/2014/main" id="{330FFB0C-D2DA-1F3D-C07D-C5D44A6D0374}"/>
                </a:ext>
              </a:extLst>
            </p:cNvPr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0" name="Google Shape;3077;p64">
              <a:extLst>
                <a:ext uri="{FF2B5EF4-FFF2-40B4-BE49-F238E27FC236}">
                  <a16:creationId xmlns:a16="http://schemas.microsoft.com/office/drawing/2014/main" id="{BCA8BE39-80D2-B579-B7A1-2FC7593F7AAB}"/>
                </a:ext>
              </a:extLst>
            </p:cNvPr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1" name="Google Shape;3078;p64">
              <a:extLst>
                <a:ext uri="{FF2B5EF4-FFF2-40B4-BE49-F238E27FC236}">
                  <a16:creationId xmlns:a16="http://schemas.microsoft.com/office/drawing/2014/main" id="{06ADABBB-B6AD-3F9F-261B-28CBAE4096F1}"/>
                </a:ext>
              </a:extLst>
            </p:cNvPr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2" name="Google Shape;3079;p64">
              <a:extLst>
                <a:ext uri="{FF2B5EF4-FFF2-40B4-BE49-F238E27FC236}">
                  <a16:creationId xmlns:a16="http://schemas.microsoft.com/office/drawing/2014/main" id="{BACDFD3B-4232-DEC9-EDEE-1D5AB9440BE6}"/>
                </a:ext>
              </a:extLst>
            </p:cNvPr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3" name="Google Shape;3080;p64">
              <a:extLst>
                <a:ext uri="{FF2B5EF4-FFF2-40B4-BE49-F238E27FC236}">
                  <a16:creationId xmlns:a16="http://schemas.microsoft.com/office/drawing/2014/main" id="{180E0A29-30AA-9413-DB8A-00952219570A}"/>
                </a:ext>
              </a:extLst>
            </p:cNvPr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4" name="Google Shape;3081;p64">
              <a:extLst>
                <a:ext uri="{FF2B5EF4-FFF2-40B4-BE49-F238E27FC236}">
                  <a16:creationId xmlns:a16="http://schemas.microsoft.com/office/drawing/2014/main" id="{12EAE750-F574-5E90-8329-E15FFE4E4CCD}"/>
                </a:ext>
              </a:extLst>
            </p:cNvPr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5" name="Google Shape;3082;p64">
              <a:extLst>
                <a:ext uri="{FF2B5EF4-FFF2-40B4-BE49-F238E27FC236}">
                  <a16:creationId xmlns:a16="http://schemas.microsoft.com/office/drawing/2014/main" id="{8A80D82F-7FDA-DE90-604F-F5DD0993716D}"/>
                </a:ext>
              </a:extLst>
            </p:cNvPr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6" name="Google Shape;3083;p64">
              <a:extLst>
                <a:ext uri="{FF2B5EF4-FFF2-40B4-BE49-F238E27FC236}">
                  <a16:creationId xmlns:a16="http://schemas.microsoft.com/office/drawing/2014/main" id="{F69D412E-638D-35E2-4559-16CB7FEF65ED}"/>
                </a:ext>
              </a:extLst>
            </p:cNvPr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7" name="Google Shape;3084;p64">
              <a:extLst>
                <a:ext uri="{FF2B5EF4-FFF2-40B4-BE49-F238E27FC236}">
                  <a16:creationId xmlns:a16="http://schemas.microsoft.com/office/drawing/2014/main" id="{E11EF179-EE1C-D998-9486-877A2F0F362A}"/>
                </a:ext>
              </a:extLst>
            </p:cNvPr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8" name="Google Shape;3085;p64">
              <a:extLst>
                <a:ext uri="{FF2B5EF4-FFF2-40B4-BE49-F238E27FC236}">
                  <a16:creationId xmlns:a16="http://schemas.microsoft.com/office/drawing/2014/main" id="{687D25D2-5949-8710-3C72-67DB628FB7EF}"/>
                </a:ext>
              </a:extLst>
            </p:cNvPr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9" name="Google Shape;3086;p64">
              <a:extLst>
                <a:ext uri="{FF2B5EF4-FFF2-40B4-BE49-F238E27FC236}">
                  <a16:creationId xmlns:a16="http://schemas.microsoft.com/office/drawing/2014/main" id="{AEA448D1-A977-06F1-B012-6A0FCBBDDE4C}"/>
                </a:ext>
              </a:extLst>
            </p:cNvPr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0" name="Google Shape;3087;p64">
              <a:extLst>
                <a:ext uri="{FF2B5EF4-FFF2-40B4-BE49-F238E27FC236}">
                  <a16:creationId xmlns:a16="http://schemas.microsoft.com/office/drawing/2014/main" id="{A5E009B4-68D6-AE22-2445-788F23F1D8FF}"/>
                </a:ext>
              </a:extLst>
            </p:cNvPr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1" name="Google Shape;3088;p64">
              <a:extLst>
                <a:ext uri="{FF2B5EF4-FFF2-40B4-BE49-F238E27FC236}">
                  <a16:creationId xmlns:a16="http://schemas.microsoft.com/office/drawing/2014/main" id="{14F178A8-9E12-56DF-0F71-205487F79648}"/>
                </a:ext>
              </a:extLst>
            </p:cNvPr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2" name="Google Shape;3089;p64">
              <a:extLst>
                <a:ext uri="{FF2B5EF4-FFF2-40B4-BE49-F238E27FC236}">
                  <a16:creationId xmlns:a16="http://schemas.microsoft.com/office/drawing/2014/main" id="{3E751729-ADA7-302C-CEBC-9E3752BA5998}"/>
                </a:ext>
              </a:extLst>
            </p:cNvPr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3" name="Google Shape;3090;p64">
              <a:extLst>
                <a:ext uri="{FF2B5EF4-FFF2-40B4-BE49-F238E27FC236}">
                  <a16:creationId xmlns:a16="http://schemas.microsoft.com/office/drawing/2014/main" id="{B28C95F0-67BF-BAD6-3B1E-DBCD8DFF584B}"/>
                </a:ext>
              </a:extLst>
            </p:cNvPr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4" name="Google Shape;3091;p64">
              <a:extLst>
                <a:ext uri="{FF2B5EF4-FFF2-40B4-BE49-F238E27FC236}">
                  <a16:creationId xmlns:a16="http://schemas.microsoft.com/office/drawing/2014/main" id="{3FEDBB9E-64B8-FAD5-8F15-CCA87BCAF676}"/>
                </a:ext>
              </a:extLst>
            </p:cNvPr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5" name="Google Shape;3092;p64">
              <a:extLst>
                <a:ext uri="{FF2B5EF4-FFF2-40B4-BE49-F238E27FC236}">
                  <a16:creationId xmlns:a16="http://schemas.microsoft.com/office/drawing/2014/main" id="{D10058E7-BDC6-2B56-93CC-01EF91131FBB}"/>
                </a:ext>
              </a:extLst>
            </p:cNvPr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6" name="Google Shape;3093;p64">
              <a:extLst>
                <a:ext uri="{FF2B5EF4-FFF2-40B4-BE49-F238E27FC236}">
                  <a16:creationId xmlns:a16="http://schemas.microsoft.com/office/drawing/2014/main" id="{EAADC047-3A2B-EB12-B592-C219C6EE5731}"/>
                </a:ext>
              </a:extLst>
            </p:cNvPr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7" name="Google Shape;3094;p64">
              <a:extLst>
                <a:ext uri="{FF2B5EF4-FFF2-40B4-BE49-F238E27FC236}">
                  <a16:creationId xmlns:a16="http://schemas.microsoft.com/office/drawing/2014/main" id="{3A952C5B-B74D-2847-4AC8-9D3C43A7E9D4}"/>
                </a:ext>
              </a:extLst>
            </p:cNvPr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8" name="Google Shape;3095;p64">
              <a:extLst>
                <a:ext uri="{FF2B5EF4-FFF2-40B4-BE49-F238E27FC236}">
                  <a16:creationId xmlns:a16="http://schemas.microsoft.com/office/drawing/2014/main" id="{5336BA7F-C7C3-9126-7467-65909B037ED5}"/>
                </a:ext>
              </a:extLst>
            </p:cNvPr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9" name="Google Shape;3096;p64">
              <a:extLst>
                <a:ext uri="{FF2B5EF4-FFF2-40B4-BE49-F238E27FC236}">
                  <a16:creationId xmlns:a16="http://schemas.microsoft.com/office/drawing/2014/main" id="{965FAF36-3B51-02F1-FA0D-4B7B551C67B3}"/>
                </a:ext>
              </a:extLst>
            </p:cNvPr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0" name="Google Shape;3097;p64">
              <a:extLst>
                <a:ext uri="{FF2B5EF4-FFF2-40B4-BE49-F238E27FC236}">
                  <a16:creationId xmlns:a16="http://schemas.microsoft.com/office/drawing/2014/main" id="{E38F0D0A-F629-C0AE-D49B-9A13885FA5E1}"/>
                </a:ext>
              </a:extLst>
            </p:cNvPr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1" name="Google Shape;3098;p64">
              <a:extLst>
                <a:ext uri="{FF2B5EF4-FFF2-40B4-BE49-F238E27FC236}">
                  <a16:creationId xmlns:a16="http://schemas.microsoft.com/office/drawing/2014/main" id="{2A35B2EF-33F9-0E08-9958-D4469C425485}"/>
                </a:ext>
              </a:extLst>
            </p:cNvPr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2" name="Google Shape;3099;p64">
              <a:extLst>
                <a:ext uri="{FF2B5EF4-FFF2-40B4-BE49-F238E27FC236}">
                  <a16:creationId xmlns:a16="http://schemas.microsoft.com/office/drawing/2014/main" id="{0A3BDB2E-D695-57B2-F040-CC53914CF37F}"/>
                </a:ext>
              </a:extLst>
            </p:cNvPr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3" name="Google Shape;3100;p64">
              <a:extLst>
                <a:ext uri="{FF2B5EF4-FFF2-40B4-BE49-F238E27FC236}">
                  <a16:creationId xmlns:a16="http://schemas.microsoft.com/office/drawing/2014/main" id="{76370F7C-79DC-4EFE-8504-48253B464E8E}"/>
                </a:ext>
              </a:extLst>
            </p:cNvPr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4" name="Google Shape;3101;p64">
              <a:extLst>
                <a:ext uri="{FF2B5EF4-FFF2-40B4-BE49-F238E27FC236}">
                  <a16:creationId xmlns:a16="http://schemas.microsoft.com/office/drawing/2014/main" id="{2C26A396-7016-C5B8-8705-5440C5350CFA}"/>
                </a:ext>
              </a:extLst>
            </p:cNvPr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5" name="Google Shape;3102;p64">
              <a:extLst>
                <a:ext uri="{FF2B5EF4-FFF2-40B4-BE49-F238E27FC236}">
                  <a16:creationId xmlns:a16="http://schemas.microsoft.com/office/drawing/2014/main" id="{C39E2B58-8DA4-0132-6F2D-1D8035AFE580}"/>
                </a:ext>
              </a:extLst>
            </p:cNvPr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6" name="Google Shape;3103;p64">
              <a:extLst>
                <a:ext uri="{FF2B5EF4-FFF2-40B4-BE49-F238E27FC236}">
                  <a16:creationId xmlns:a16="http://schemas.microsoft.com/office/drawing/2014/main" id="{9BCA105B-655A-1132-10FA-33E34D25A989}"/>
                </a:ext>
              </a:extLst>
            </p:cNvPr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7" name="Google Shape;3104;p64">
              <a:extLst>
                <a:ext uri="{FF2B5EF4-FFF2-40B4-BE49-F238E27FC236}">
                  <a16:creationId xmlns:a16="http://schemas.microsoft.com/office/drawing/2014/main" id="{7EE66471-3788-61E6-8701-ABCC80528C3D}"/>
                </a:ext>
              </a:extLst>
            </p:cNvPr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8" name="Google Shape;3105;p64">
              <a:extLst>
                <a:ext uri="{FF2B5EF4-FFF2-40B4-BE49-F238E27FC236}">
                  <a16:creationId xmlns:a16="http://schemas.microsoft.com/office/drawing/2014/main" id="{91B6CE53-6DAA-2169-DBB5-EA56242D857C}"/>
                </a:ext>
              </a:extLst>
            </p:cNvPr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9" name="Google Shape;3106;p64">
              <a:extLst>
                <a:ext uri="{FF2B5EF4-FFF2-40B4-BE49-F238E27FC236}">
                  <a16:creationId xmlns:a16="http://schemas.microsoft.com/office/drawing/2014/main" id="{D004A28D-41F1-0A87-9A18-D793DB9578E4}"/>
                </a:ext>
              </a:extLst>
            </p:cNvPr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0" name="Google Shape;3107;p64">
              <a:extLst>
                <a:ext uri="{FF2B5EF4-FFF2-40B4-BE49-F238E27FC236}">
                  <a16:creationId xmlns:a16="http://schemas.microsoft.com/office/drawing/2014/main" id="{6E1FF4B9-25DA-199D-E04C-A2AC038E1C6F}"/>
                </a:ext>
              </a:extLst>
            </p:cNvPr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1" name="Google Shape;3108;p64">
              <a:extLst>
                <a:ext uri="{FF2B5EF4-FFF2-40B4-BE49-F238E27FC236}">
                  <a16:creationId xmlns:a16="http://schemas.microsoft.com/office/drawing/2014/main" id="{7589EEE4-4FEB-F332-E2EA-9F21D0373F5E}"/>
                </a:ext>
              </a:extLst>
            </p:cNvPr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2" name="Google Shape;3109;p64">
              <a:extLst>
                <a:ext uri="{FF2B5EF4-FFF2-40B4-BE49-F238E27FC236}">
                  <a16:creationId xmlns:a16="http://schemas.microsoft.com/office/drawing/2014/main" id="{89637109-9590-E388-CA73-6E520E24002A}"/>
                </a:ext>
              </a:extLst>
            </p:cNvPr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3" name="Google Shape;3110;p64">
              <a:extLst>
                <a:ext uri="{FF2B5EF4-FFF2-40B4-BE49-F238E27FC236}">
                  <a16:creationId xmlns:a16="http://schemas.microsoft.com/office/drawing/2014/main" id="{9E5CECC9-B522-7B08-B596-A6EC0D2C8D61}"/>
                </a:ext>
              </a:extLst>
            </p:cNvPr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4" name="Google Shape;3111;p64">
              <a:extLst>
                <a:ext uri="{FF2B5EF4-FFF2-40B4-BE49-F238E27FC236}">
                  <a16:creationId xmlns:a16="http://schemas.microsoft.com/office/drawing/2014/main" id="{1472E483-2ECE-8095-E290-6EE21772E97F}"/>
                </a:ext>
              </a:extLst>
            </p:cNvPr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5" name="Google Shape;3112;p64">
              <a:extLst>
                <a:ext uri="{FF2B5EF4-FFF2-40B4-BE49-F238E27FC236}">
                  <a16:creationId xmlns:a16="http://schemas.microsoft.com/office/drawing/2014/main" id="{483CBF5D-B53B-E9F2-24C7-93194C1C2F0E}"/>
                </a:ext>
              </a:extLst>
            </p:cNvPr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6" name="Google Shape;3113;p64">
              <a:extLst>
                <a:ext uri="{FF2B5EF4-FFF2-40B4-BE49-F238E27FC236}">
                  <a16:creationId xmlns:a16="http://schemas.microsoft.com/office/drawing/2014/main" id="{E5F06522-322D-22E2-D44A-48D5351562DE}"/>
                </a:ext>
              </a:extLst>
            </p:cNvPr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7" name="Google Shape;3114;p64">
              <a:extLst>
                <a:ext uri="{FF2B5EF4-FFF2-40B4-BE49-F238E27FC236}">
                  <a16:creationId xmlns:a16="http://schemas.microsoft.com/office/drawing/2014/main" id="{A2C2395B-46E1-46EC-0AC3-D1C069C857AD}"/>
                </a:ext>
              </a:extLst>
            </p:cNvPr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8" name="Google Shape;3115;p64">
              <a:extLst>
                <a:ext uri="{FF2B5EF4-FFF2-40B4-BE49-F238E27FC236}">
                  <a16:creationId xmlns:a16="http://schemas.microsoft.com/office/drawing/2014/main" id="{85F03CFF-04C7-0EDE-7F0C-035F98F566BB}"/>
                </a:ext>
              </a:extLst>
            </p:cNvPr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9" name="Google Shape;3116;p64">
              <a:extLst>
                <a:ext uri="{FF2B5EF4-FFF2-40B4-BE49-F238E27FC236}">
                  <a16:creationId xmlns:a16="http://schemas.microsoft.com/office/drawing/2014/main" id="{DAB9CDC0-03CC-DA67-AE42-E8C0E61D1C1B}"/>
                </a:ext>
              </a:extLst>
            </p:cNvPr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0" name="Google Shape;3117;p64">
              <a:extLst>
                <a:ext uri="{FF2B5EF4-FFF2-40B4-BE49-F238E27FC236}">
                  <a16:creationId xmlns:a16="http://schemas.microsoft.com/office/drawing/2014/main" id="{F5EDE96B-CEB3-3162-1B4E-EEE760676FD9}"/>
                </a:ext>
              </a:extLst>
            </p:cNvPr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1" name="Google Shape;3118;p64">
              <a:extLst>
                <a:ext uri="{FF2B5EF4-FFF2-40B4-BE49-F238E27FC236}">
                  <a16:creationId xmlns:a16="http://schemas.microsoft.com/office/drawing/2014/main" id="{FE5076BE-BA90-F4B9-C552-BA797A6E5B94}"/>
                </a:ext>
              </a:extLst>
            </p:cNvPr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2" name="Google Shape;3119;p64">
              <a:extLst>
                <a:ext uri="{FF2B5EF4-FFF2-40B4-BE49-F238E27FC236}">
                  <a16:creationId xmlns:a16="http://schemas.microsoft.com/office/drawing/2014/main" id="{FFA9F006-7809-8399-1B2A-D31DED10FDE5}"/>
                </a:ext>
              </a:extLst>
            </p:cNvPr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3" name="Google Shape;3120;p64">
              <a:extLst>
                <a:ext uri="{FF2B5EF4-FFF2-40B4-BE49-F238E27FC236}">
                  <a16:creationId xmlns:a16="http://schemas.microsoft.com/office/drawing/2014/main" id="{11BD386C-6DAC-A887-388F-32A60049DD40}"/>
                </a:ext>
              </a:extLst>
            </p:cNvPr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4" name="Google Shape;3121;p64">
              <a:extLst>
                <a:ext uri="{FF2B5EF4-FFF2-40B4-BE49-F238E27FC236}">
                  <a16:creationId xmlns:a16="http://schemas.microsoft.com/office/drawing/2014/main" id="{049ECD70-9CCF-833A-A218-D9B8383606D3}"/>
                </a:ext>
              </a:extLst>
            </p:cNvPr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5" name="Google Shape;3122;p64">
              <a:extLst>
                <a:ext uri="{FF2B5EF4-FFF2-40B4-BE49-F238E27FC236}">
                  <a16:creationId xmlns:a16="http://schemas.microsoft.com/office/drawing/2014/main" id="{C1DAA538-BA1F-8DCA-01AF-CC06BE4775B9}"/>
                </a:ext>
              </a:extLst>
            </p:cNvPr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6" name="Google Shape;3123;p64">
              <a:extLst>
                <a:ext uri="{FF2B5EF4-FFF2-40B4-BE49-F238E27FC236}">
                  <a16:creationId xmlns:a16="http://schemas.microsoft.com/office/drawing/2014/main" id="{3369A1EB-92F5-D4C4-21CB-9FE6954BC5ED}"/>
                </a:ext>
              </a:extLst>
            </p:cNvPr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7" name="Google Shape;3124;p64">
              <a:extLst>
                <a:ext uri="{FF2B5EF4-FFF2-40B4-BE49-F238E27FC236}">
                  <a16:creationId xmlns:a16="http://schemas.microsoft.com/office/drawing/2014/main" id="{1A76ACE6-3957-4572-5F40-62E97D0C700D}"/>
                </a:ext>
              </a:extLst>
            </p:cNvPr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8" name="Google Shape;3125;p64">
              <a:extLst>
                <a:ext uri="{FF2B5EF4-FFF2-40B4-BE49-F238E27FC236}">
                  <a16:creationId xmlns:a16="http://schemas.microsoft.com/office/drawing/2014/main" id="{9CB8971C-DFE1-3FFC-D4FC-9305F632EA98}"/>
                </a:ext>
              </a:extLst>
            </p:cNvPr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9" name="Google Shape;3126;p64">
              <a:extLst>
                <a:ext uri="{FF2B5EF4-FFF2-40B4-BE49-F238E27FC236}">
                  <a16:creationId xmlns:a16="http://schemas.microsoft.com/office/drawing/2014/main" id="{E2630C1A-AA62-3D17-9508-2715F37C6E95}"/>
                </a:ext>
              </a:extLst>
            </p:cNvPr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0" name="Google Shape;3127;p64">
              <a:extLst>
                <a:ext uri="{FF2B5EF4-FFF2-40B4-BE49-F238E27FC236}">
                  <a16:creationId xmlns:a16="http://schemas.microsoft.com/office/drawing/2014/main" id="{64A30E4C-664A-2D81-E12A-AEC0B9BC3D68}"/>
                </a:ext>
              </a:extLst>
            </p:cNvPr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1" name="Google Shape;3128;p64">
              <a:extLst>
                <a:ext uri="{FF2B5EF4-FFF2-40B4-BE49-F238E27FC236}">
                  <a16:creationId xmlns:a16="http://schemas.microsoft.com/office/drawing/2014/main" id="{8DAAA8BA-4E74-DF68-1ECC-81D484E15EA8}"/>
                </a:ext>
              </a:extLst>
            </p:cNvPr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2" name="Google Shape;3129;p64">
              <a:extLst>
                <a:ext uri="{FF2B5EF4-FFF2-40B4-BE49-F238E27FC236}">
                  <a16:creationId xmlns:a16="http://schemas.microsoft.com/office/drawing/2014/main" id="{8BC3EF39-3ECB-55BB-9EE2-7C1B816E7D23}"/>
                </a:ext>
              </a:extLst>
            </p:cNvPr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3" name="Google Shape;3130;p64">
              <a:extLst>
                <a:ext uri="{FF2B5EF4-FFF2-40B4-BE49-F238E27FC236}">
                  <a16:creationId xmlns:a16="http://schemas.microsoft.com/office/drawing/2014/main" id="{1C82FFBB-A102-1B75-66DD-0D574FAF1490}"/>
                </a:ext>
              </a:extLst>
            </p:cNvPr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4" name="Google Shape;3131;p64">
              <a:extLst>
                <a:ext uri="{FF2B5EF4-FFF2-40B4-BE49-F238E27FC236}">
                  <a16:creationId xmlns:a16="http://schemas.microsoft.com/office/drawing/2014/main" id="{41F5D645-DD37-C3E9-2F12-E86A702ADBF4}"/>
                </a:ext>
              </a:extLst>
            </p:cNvPr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5" name="Google Shape;3132;p64">
              <a:extLst>
                <a:ext uri="{FF2B5EF4-FFF2-40B4-BE49-F238E27FC236}">
                  <a16:creationId xmlns:a16="http://schemas.microsoft.com/office/drawing/2014/main" id="{688B0482-7A80-5C49-CAA2-49A22708D068}"/>
                </a:ext>
              </a:extLst>
            </p:cNvPr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6" name="Google Shape;3133;p64">
              <a:extLst>
                <a:ext uri="{FF2B5EF4-FFF2-40B4-BE49-F238E27FC236}">
                  <a16:creationId xmlns:a16="http://schemas.microsoft.com/office/drawing/2014/main" id="{7420AE62-DC6C-DF88-9E86-42C38A8C4F78}"/>
                </a:ext>
              </a:extLst>
            </p:cNvPr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7" name="Google Shape;3134;p64">
              <a:extLst>
                <a:ext uri="{FF2B5EF4-FFF2-40B4-BE49-F238E27FC236}">
                  <a16:creationId xmlns:a16="http://schemas.microsoft.com/office/drawing/2014/main" id="{78B0B485-E0CA-7FA8-9907-8C224A554A46}"/>
                </a:ext>
              </a:extLst>
            </p:cNvPr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8" name="Google Shape;3135;p64">
              <a:extLst>
                <a:ext uri="{FF2B5EF4-FFF2-40B4-BE49-F238E27FC236}">
                  <a16:creationId xmlns:a16="http://schemas.microsoft.com/office/drawing/2014/main" id="{1CCE7F56-3AFB-88C8-7CF9-51A1CEFE86D5}"/>
                </a:ext>
              </a:extLst>
            </p:cNvPr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9" name="Google Shape;3136;p64">
              <a:extLst>
                <a:ext uri="{FF2B5EF4-FFF2-40B4-BE49-F238E27FC236}">
                  <a16:creationId xmlns:a16="http://schemas.microsoft.com/office/drawing/2014/main" id="{1E5D5408-78B9-5B17-AD1E-324FDFE06E0D}"/>
                </a:ext>
              </a:extLst>
            </p:cNvPr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0" name="Google Shape;3137;p64">
              <a:extLst>
                <a:ext uri="{FF2B5EF4-FFF2-40B4-BE49-F238E27FC236}">
                  <a16:creationId xmlns:a16="http://schemas.microsoft.com/office/drawing/2014/main" id="{DB5423D2-515A-6A83-2228-780977F73C60}"/>
                </a:ext>
              </a:extLst>
            </p:cNvPr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1" name="Google Shape;3138;p64">
              <a:extLst>
                <a:ext uri="{FF2B5EF4-FFF2-40B4-BE49-F238E27FC236}">
                  <a16:creationId xmlns:a16="http://schemas.microsoft.com/office/drawing/2014/main" id="{4211E5B1-3BA9-CDAF-C5F2-62EC38FC40DC}"/>
                </a:ext>
              </a:extLst>
            </p:cNvPr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2" name="Google Shape;3139;p64">
              <a:extLst>
                <a:ext uri="{FF2B5EF4-FFF2-40B4-BE49-F238E27FC236}">
                  <a16:creationId xmlns:a16="http://schemas.microsoft.com/office/drawing/2014/main" id="{95294B03-7BA1-45C2-A4F4-99CE2D8C8565}"/>
                </a:ext>
              </a:extLst>
            </p:cNvPr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3" name="Google Shape;3140;p64">
              <a:extLst>
                <a:ext uri="{FF2B5EF4-FFF2-40B4-BE49-F238E27FC236}">
                  <a16:creationId xmlns:a16="http://schemas.microsoft.com/office/drawing/2014/main" id="{F6175D28-7C4B-48E3-E3C6-331A7301EAA7}"/>
                </a:ext>
              </a:extLst>
            </p:cNvPr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4" name="Google Shape;3141;p64">
              <a:extLst>
                <a:ext uri="{FF2B5EF4-FFF2-40B4-BE49-F238E27FC236}">
                  <a16:creationId xmlns:a16="http://schemas.microsoft.com/office/drawing/2014/main" id="{152739CF-D6A9-B099-58A2-9C0D12E55A34}"/>
                </a:ext>
              </a:extLst>
            </p:cNvPr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5" name="Google Shape;3142;p64">
              <a:extLst>
                <a:ext uri="{FF2B5EF4-FFF2-40B4-BE49-F238E27FC236}">
                  <a16:creationId xmlns:a16="http://schemas.microsoft.com/office/drawing/2014/main" id="{20F4CDC0-6076-4DFD-A79A-643C3D8EDFFE}"/>
                </a:ext>
              </a:extLst>
            </p:cNvPr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6" name="Google Shape;3143;p64">
              <a:extLst>
                <a:ext uri="{FF2B5EF4-FFF2-40B4-BE49-F238E27FC236}">
                  <a16:creationId xmlns:a16="http://schemas.microsoft.com/office/drawing/2014/main" id="{F5AC2330-8776-C6B8-7631-1E9ED7FDF54A}"/>
                </a:ext>
              </a:extLst>
            </p:cNvPr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7" name="Google Shape;3144;p64">
              <a:extLst>
                <a:ext uri="{FF2B5EF4-FFF2-40B4-BE49-F238E27FC236}">
                  <a16:creationId xmlns:a16="http://schemas.microsoft.com/office/drawing/2014/main" id="{2C8F797D-F6BC-1858-4F30-78C6F304FEDA}"/>
                </a:ext>
              </a:extLst>
            </p:cNvPr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8" name="Google Shape;3145;p64">
              <a:extLst>
                <a:ext uri="{FF2B5EF4-FFF2-40B4-BE49-F238E27FC236}">
                  <a16:creationId xmlns:a16="http://schemas.microsoft.com/office/drawing/2014/main" id="{B41ABB07-9B6C-1A1B-21E8-AFACFE77B0BC}"/>
                </a:ext>
              </a:extLst>
            </p:cNvPr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9" name="Google Shape;3146;p64">
              <a:extLst>
                <a:ext uri="{FF2B5EF4-FFF2-40B4-BE49-F238E27FC236}">
                  <a16:creationId xmlns:a16="http://schemas.microsoft.com/office/drawing/2014/main" id="{BF30FFC0-D11E-0BD1-2B33-C88D2910EF63}"/>
                </a:ext>
              </a:extLst>
            </p:cNvPr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0" name="Google Shape;3147;p64">
              <a:extLst>
                <a:ext uri="{FF2B5EF4-FFF2-40B4-BE49-F238E27FC236}">
                  <a16:creationId xmlns:a16="http://schemas.microsoft.com/office/drawing/2014/main" id="{5A110767-59DA-301F-DE0C-832784E07DB3}"/>
                </a:ext>
              </a:extLst>
            </p:cNvPr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1" name="Google Shape;3148;p64">
              <a:extLst>
                <a:ext uri="{FF2B5EF4-FFF2-40B4-BE49-F238E27FC236}">
                  <a16:creationId xmlns:a16="http://schemas.microsoft.com/office/drawing/2014/main" id="{15D0E35D-6611-1AD1-66FC-F3FC6BFCA2AA}"/>
                </a:ext>
              </a:extLst>
            </p:cNvPr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2" name="Google Shape;3149;p64">
              <a:extLst>
                <a:ext uri="{FF2B5EF4-FFF2-40B4-BE49-F238E27FC236}">
                  <a16:creationId xmlns:a16="http://schemas.microsoft.com/office/drawing/2014/main" id="{0CCABF53-B640-60DF-6DAD-E185E5A5F8D8}"/>
                </a:ext>
              </a:extLst>
            </p:cNvPr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3" name="Google Shape;3150;p64">
              <a:extLst>
                <a:ext uri="{FF2B5EF4-FFF2-40B4-BE49-F238E27FC236}">
                  <a16:creationId xmlns:a16="http://schemas.microsoft.com/office/drawing/2014/main" id="{54D85BD4-D227-8B35-97CC-43DE9AB0FCA9}"/>
                </a:ext>
              </a:extLst>
            </p:cNvPr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4" name="Google Shape;3151;p64">
              <a:extLst>
                <a:ext uri="{FF2B5EF4-FFF2-40B4-BE49-F238E27FC236}">
                  <a16:creationId xmlns:a16="http://schemas.microsoft.com/office/drawing/2014/main" id="{05DBAEA5-93F9-7FD5-9AF1-F893E64C7DBD}"/>
                </a:ext>
              </a:extLst>
            </p:cNvPr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5" name="Google Shape;3152;p64">
              <a:extLst>
                <a:ext uri="{FF2B5EF4-FFF2-40B4-BE49-F238E27FC236}">
                  <a16:creationId xmlns:a16="http://schemas.microsoft.com/office/drawing/2014/main" id="{A07B0EDB-7DCB-4895-A152-0ADB4B38B3B3}"/>
                </a:ext>
              </a:extLst>
            </p:cNvPr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6" name="Google Shape;3153;p64">
              <a:extLst>
                <a:ext uri="{FF2B5EF4-FFF2-40B4-BE49-F238E27FC236}">
                  <a16:creationId xmlns:a16="http://schemas.microsoft.com/office/drawing/2014/main" id="{F86624D5-39EF-E494-B58E-7F3DA04AFE94}"/>
                </a:ext>
              </a:extLst>
            </p:cNvPr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7" name="Google Shape;3154;p64">
              <a:extLst>
                <a:ext uri="{FF2B5EF4-FFF2-40B4-BE49-F238E27FC236}">
                  <a16:creationId xmlns:a16="http://schemas.microsoft.com/office/drawing/2014/main" id="{668AB995-10FA-3B30-80FF-50E3CDDE8BD8}"/>
                </a:ext>
              </a:extLst>
            </p:cNvPr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8" name="Google Shape;3155;p64">
              <a:extLst>
                <a:ext uri="{FF2B5EF4-FFF2-40B4-BE49-F238E27FC236}">
                  <a16:creationId xmlns:a16="http://schemas.microsoft.com/office/drawing/2014/main" id="{761CB63F-99D4-1224-E9D5-6E2095E00FCF}"/>
                </a:ext>
              </a:extLst>
            </p:cNvPr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9" name="Google Shape;3156;p64">
              <a:extLst>
                <a:ext uri="{FF2B5EF4-FFF2-40B4-BE49-F238E27FC236}">
                  <a16:creationId xmlns:a16="http://schemas.microsoft.com/office/drawing/2014/main" id="{A3E93E5B-C743-11B9-9870-B5205C92A892}"/>
                </a:ext>
              </a:extLst>
            </p:cNvPr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0" name="Google Shape;3157;p64">
              <a:extLst>
                <a:ext uri="{FF2B5EF4-FFF2-40B4-BE49-F238E27FC236}">
                  <a16:creationId xmlns:a16="http://schemas.microsoft.com/office/drawing/2014/main" id="{1AE5F936-0F2A-FBB6-4D7A-960A27169D1A}"/>
                </a:ext>
              </a:extLst>
            </p:cNvPr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1" name="Google Shape;3158;p64">
              <a:extLst>
                <a:ext uri="{FF2B5EF4-FFF2-40B4-BE49-F238E27FC236}">
                  <a16:creationId xmlns:a16="http://schemas.microsoft.com/office/drawing/2014/main" id="{90BFEBE0-5584-00BD-D750-0F8F3032AFA0}"/>
                </a:ext>
              </a:extLst>
            </p:cNvPr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2" name="Google Shape;3159;p64">
              <a:extLst>
                <a:ext uri="{FF2B5EF4-FFF2-40B4-BE49-F238E27FC236}">
                  <a16:creationId xmlns:a16="http://schemas.microsoft.com/office/drawing/2014/main" id="{45C82E7A-9133-53CF-900F-6DB2D2F6D8EC}"/>
                </a:ext>
              </a:extLst>
            </p:cNvPr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3" name="Google Shape;3160;p64">
              <a:extLst>
                <a:ext uri="{FF2B5EF4-FFF2-40B4-BE49-F238E27FC236}">
                  <a16:creationId xmlns:a16="http://schemas.microsoft.com/office/drawing/2014/main" id="{041422E1-7414-C7A7-6979-6EBD128951E1}"/>
                </a:ext>
              </a:extLst>
            </p:cNvPr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4" name="Google Shape;3161;p64">
              <a:extLst>
                <a:ext uri="{FF2B5EF4-FFF2-40B4-BE49-F238E27FC236}">
                  <a16:creationId xmlns:a16="http://schemas.microsoft.com/office/drawing/2014/main" id="{993B6869-F0A1-8449-62AB-A72C81D55026}"/>
                </a:ext>
              </a:extLst>
            </p:cNvPr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5" name="Google Shape;3162;p64">
              <a:extLst>
                <a:ext uri="{FF2B5EF4-FFF2-40B4-BE49-F238E27FC236}">
                  <a16:creationId xmlns:a16="http://schemas.microsoft.com/office/drawing/2014/main" id="{1DD27B7F-7D2B-C70F-08D9-8F4BD28FB9D1}"/>
                </a:ext>
              </a:extLst>
            </p:cNvPr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6" name="Google Shape;3163;p64">
              <a:extLst>
                <a:ext uri="{FF2B5EF4-FFF2-40B4-BE49-F238E27FC236}">
                  <a16:creationId xmlns:a16="http://schemas.microsoft.com/office/drawing/2014/main" id="{862D1189-C17F-87C6-2EF2-9E38C718F041}"/>
                </a:ext>
              </a:extLst>
            </p:cNvPr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7" name="Google Shape;3164;p64">
              <a:extLst>
                <a:ext uri="{FF2B5EF4-FFF2-40B4-BE49-F238E27FC236}">
                  <a16:creationId xmlns:a16="http://schemas.microsoft.com/office/drawing/2014/main" id="{81B76FBA-600E-1CEC-1FA8-629D8EB001D3}"/>
                </a:ext>
              </a:extLst>
            </p:cNvPr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8" name="Google Shape;3165;p64">
              <a:extLst>
                <a:ext uri="{FF2B5EF4-FFF2-40B4-BE49-F238E27FC236}">
                  <a16:creationId xmlns:a16="http://schemas.microsoft.com/office/drawing/2014/main" id="{4112C20E-BCB8-E4BA-AD02-2C8D6614BA6D}"/>
                </a:ext>
              </a:extLst>
            </p:cNvPr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9" name="Google Shape;3166;p64">
              <a:extLst>
                <a:ext uri="{FF2B5EF4-FFF2-40B4-BE49-F238E27FC236}">
                  <a16:creationId xmlns:a16="http://schemas.microsoft.com/office/drawing/2014/main" id="{3A8BDFFC-5650-593F-784D-188BAE465757}"/>
                </a:ext>
              </a:extLst>
            </p:cNvPr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0" name="Google Shape;3167;p64">
              <a:extLst>
                <a:ext uri="{FF2B5EF4-FFF2-40B4-BE49-F238E27FC236}">
                  <a16:creationId xmlns:a16="http://schemas.microsoft.com/office/drawing/2014/main" id="{FAD03659-E7B0-9B21-DCFF-16774BFFD6BC}"/>
                </a:ext>
              </a:extLst>
            </p:cNvPr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1" name="Google Shape;3168;p64">
              <a:extLst>
                <a:ext uri="{FF2B5EF4-FFF2-40B4-BE49-F238E27FC236}">
                  <a16:creationId xmlns:a16="http://schemas.microsoft.com/office/drawing/2014/main" id="{FAF7621F-090D-E37A-3ED9-B9F90493F5A5}"/>
                </a:ext>
              </a:extLst>
            </p:cNvPr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2" name="Google Shape;3169;p64">
              <a:extLst>
                <a:ext uri="{FF2B5EF4-FFF2-40B4-BE49-F238E27FC236}">
                  <a16:creationId xmlns:a16="http://schemas.microsoft.com/office/drawing/2014/main" id="{D887724E-5993-7CB9-7173-719D6E0E6BAC}"/>
                </a:ext>
              </a:extLst>
            </p:cNvPr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3" name="Google Shape;3170;p64">
              <a:extLst>
                <a:ext uri="{FF2B5EF4-FFF2-40B4-BE49-F238E27FC236}">
                  <a16:creationId xmlns:a16="http://schemas.microsoft.com/office/drawing/2014/main" id="{F22D87BB-9C9A-FB98-C59B-4B911E8700F9}"/>
                </a:ext>
              </a:extLst>
            </p:cNvPr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4" name="Google Shape;3171;p64">
              <a:extLst>
                <a:ext uri="{FF2B5EF4-FFF2-40B4-BE49-F238E27FC236}">
                  <a16:creationId xmlns:a16="http://schemas.microsoft.com/office/drawing/2014/main" id="{740CF048-B814-CB99-C661-8F4B85625311}"/>
                </a:ext>
              </a:extLst>
            </p:cNvPr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5" name="Google Shape;3172;p64">
              <a:extLst>
                <a:ext uri="{FF2B5EF4-FFF2-40B4-BE49-F238E27FC236}">
                  <a16:creationId xmlns:a16="http://schemas.microsoft.com/office/drawing/2014/main" id="{F95E8F01-2CBC-B1AF-84F6-960C2F7D260A}"/>
                </a:ext>
              </a:extLst>
            </p:cNvPr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6" name="Google Shape;3173;p64">
              <a:extLst>
                <a:ext uri="{FF2B5EF4-FFF2-40B4-BE49-F238E27FC236}">
                  <a16:creationId xmlns:a16="http://schemas.microsoft.com/office/drawing/2014/main" id="{51AA8710-94F2-554F-C379-3E76F68D2397}"/>
                </a:ext>
              </a:extLst>
            </p:cNvPr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7" name="Google Shape;3174;p64">
              <a:extLst>
                <a:ext uri="{FF2B5EF4-FFF2-40B4-BE49-F238E27FC236}">
                  <a16:creationId xmlns:a16="http://schemas.microsoft.com/office/drawing/2014/main" id="{466B4E1D-371B-EAD2-CEFB-2FB35CB330DC}"/>
                </a:ext>
              </a:extLst>
            </p:cNvPr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8" name="Google Shape;3175;p64">
              <a:extLst>
                <a:ext uri="{FF2B5EF4-FFF2-40B4-BE49-F238E27FC236}">
                  <a16:creationId xmlns:a16="http://schemas.microsoft.com/office/drawing/2014/main" id="{7BDE5D80-A1F8-3ABD-1F7F-34DF2BD620D8}"/>
                </a:ext>
              </a:extLst>
            </p:cNvPr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9" name="Google Shape;3176;p64">
              <a:extLst>
                <a:ext uri="{FF2B5EF4-FFF2-40B4-BE49-F238E27FC236}">
                  <a16:creationId xmlns:a16="http://schemas.microsoft.com/office/drawing/2014/main" id="{FE75AD11-2AAF-EA79-9519-CF232B300730}"/>
                </a:ext>
              </a:extLst>
            </p:cNvPr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0" name="Google Shape;3177;p64">
              <a:extLst>
                <a:ext uri="{FF2B5EF4-FFF2-40B4-BE49-F238E27FC236}">
                  <a16:creationId xmlns:a16="http://schemas.microsoft.com/office/drawing/2014/main" id="{120497C4-F966-9ED3-571F-F6E8DF5347BF}"/>
                </a:ext>
              </a:extLst>
            </p:cNvPr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1" name="Google Shape;3178;p64">
              <a:extLst>
                <a:ext uri="{FF2B5EF4-FFF2-40B4-BE49-F238E27FC236}">
                  <a16:creationId xmlns:a16="http://schemas.microsoft.com/office/drawing/2014/main" id="{EB71DBA0-9491-8BD7-85A0-2C7DC83D0600}"/>
                </a:ext>
              </a:extLst>
            </p:cNvPr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2" name="Google Shape;3179;p64">
              <a:extLst>
                <a:ext uri="{FF2B5EF4-FFF2-40B4-BE49-F238E27FC236}">
                  <a16:creationId xmlns:a16="http://schemas.microsoft.com/office/drawing/2014/main" id="{7761ED4E-F7AC-EEF0-58A1-03CCB1D8ADA3}"/>
                </a:ext>
              </a:extLst>
            </p:cNvPr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3" name="Google Shape;3180;p64">
              <a:extLst>
                <a:ext uri="{FF2B5EF4-FFF2-40B4-BE49-F238E27FC236}">
                  <a16:creationId xmlns:a16="http://schemas.microsoft.com/office/drawing/2014/main" id="{13A52784-B06C-8131-A94B-DF7E497BFF4E}"/>
                </a:ext>
              </a:extLst>
            </p:cNvPr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4" name="Google Shape;3181;p64">
              <a:extLst>
                <a:ext uri="{FF2B5EF4-FFF2-40B4-BE49-F238E27FC236}">
                  <a16:creationId xmlns:a16="http://schemas.microsoft.com/office/drawing/2014/main" id="{4B5EF354-4821-FCD9-F462-84600FAE38CC}"/>
                </a:ext>
              </a:extLst>
            </p:cNvPr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5" name="Google Shape;3182;p64">
              <a:extLst>
                <a:ext uri="{FF2B5EF4-FFF2-40B4-BE49-F238E27FC236}">
                  <a16:creationId xmlns:a16="http://schemas.microsoft.com/office/drawing/2014/main" id="{912E3ABD-15D8-DB94-1D61-0C108A12B815}"/>
                </a:ext>
              </a:extLst>
            </p:cNvPr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6" name="Google Shape;3183;p64">
              <a:extLst>
                <a:ext uri="{FF2B5EF4-FFF2-40B4-BE49-F238E27FC236}">
                  <a16:creationId xmlns:a16="http://schemas.microsoft.com/office/drawing/2014/main" id="{4122D415-A298-DA06-677C-5EEDDDB7AE1E}"/>
                </a:ext>
              </a:extLst>
            </p:cNvPr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7" name="Google Shape;3184;p64">
              <a:extLst>
                <a:ext uri="{FF2B5EF4-FFF2-40B4-BE49-F238E27FC236}">
                  <a16:creationId xmlns:a16="http://schemas.microsoft.com/office/drawing/2014/main" id="{3F43BE05-ADD2-11F8-A91B-2CBC3B184885}"/>
                </a:ext>
              </a:extLst>
            </p:cNvPr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8" name="Google Shape;3185;p64">
              <a:extLst>
                <a:ext uri="{FF2B5EF4-FFF2-40B4-BE49-F238E27FC236}">
                  <a16:creationId xmlns:a16="http://schemas.microsoft.com/office/drawing/2014/main" id="{9A41EAD1-124B-6D48-8279-27FBD243D7B8}"/>
                </a:ext>
              </a:extLst>
            </p:cNvPr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9" name="Google Shape;3186;p64">
              <a:extLst>
                <a:ext uri="{FF2B5EF4-FFF2-40B4-BE49-F238E27FC236}">
                  <a16:creationId xmlns:a16="http://schemas.microsoft.com/office/drawing/2014/main" id="{9D98614F-068E-AD3E-A00F-69C765CE3FF2}"/>
                </a:ext>
              </a:extLst>
            </p:cNvPr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0" name="Google Shape;3187;p64">
              <a:extLst>
                <a:ext uri="{FF2B5EF4-FFF2-40B4-BE49-F238E27FC236}">
                  <a16:creationId xmlns:a16="http://schemas.microsoft.com/office/drawing/2014/main" id="{E1C96288-231E-F853-C9F5-B6923B9451AD}"/>
                </a:ext>
              </a:extLst>
            </p:cNvPr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1" name="Google Shape;3188;p64">
              <a:extLst>
                <a:ext uri="{FF2B5EF4-FFF2-40B4-BE49-F238E27FC236}">
                  <a16:creationId xmlns:a16="http://schemas.microsoft.com/office/drawing/2014/main" id="{581D31D6-C1DD-F36F-CC73-8F0303704C25}"/>
                </a:ext>
              </a:extLst>
            </p:cNvPr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2" name="Google Shape;3189;p64">
              <a:extLst>
                <a:ext uri="{FF2B5EF4-FFF2-40B4-BE49-F238E27FC236}">
                  <a16:creationId xmlns:a16="http://schemas.microsoft.com/office/drawing/2014/main" id="{5E92420D-1BA4-1424-3BC3-3D2F6AE4F06F}"/>
                </a:ext>
              </a:extLst>
            </p:cNvPr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3" name="Google Shape;3190;p64">
              <a:extLst>
                <a:ext uri="{FF2B5EF4-FFF2-40B4-BE49-F238E27FC236}">
                  <a16:creationId xmlns:a16="http://schemas.microsoft.com/office/drawing/2014/main" id="{43D4CE7D-A293-D2B4-87EA-4DEBF3D56D69}"/>
                </a:ext>
              </a:extLst>
            </p:cNvPr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4" name="Google Shape;3191;p64">
              <a:extLst>
                <a:ext uri="{FF2B5EF4-FFF2-40B4-BE49-F238E27FC236}">
                  <a16:creationId xmlns:a16="http://schemas.microsoft.com/office/drawing/2014/main" id="{985FCAA7-A14A-DA14-B0A9-C34C1A846C47}"/>
                </a:ext>
              </a:extLst>
            </p:cNvPr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5" name="Google Shape;3192;p64">
              <a:extLst>
                <a:ext uri="{FF2B5EF4-FFF2-40B4-BE49-F238E27FC236}">
                  <a16:creationId xmlns:a16="http://schemas.microsoft.com/office/drawing/2014/main" id="{845085E7-EB90-F959-8CF0-AFB53FD383B9}"/>
                </a:ext>
              </a:extLst>
            </p:cNvPr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6" name="Google Shape;3193;p64">
              <a:extLst>
                <a:ext uri="{FF2B5EF4-FFF2-40B4-BE49-F238E27FC236}">
                  <a16:creationId xmlns:a16="http://schemas.microsoft.com/office/drawing/2014/main" id="{A23D08F9-9130-253F-80DF-26903585C8B6}"/>
                </a:ext>
              </a:extLst>
            </p:cNvPr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7" name="Google Shape;3194;p64">
              <a:extLst>
                <a:ext uri="{FF2B5EF4-FFF2-40B4-BE49-F238E27FC236}">
                  <a16:creationId xmlns:a16="http://schemas.microsoft.com/office/drawing/2014/main" id="{B0F13146-AB02-9556-01C2-40A8A1B89078}"/>
                </a:ext>
              </a:extLst>
            </p:cNvPr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8" name="Google Shape;3195;p64">
              <a:extLst>
                <a:ext uri="{FF2B5EF4-FFF2-40B4-BE49-F238E27FC236}">
                  <a16:creationId xmlns:a16="http://schemas.microsoft.com/office/drawing/2014/main" id="{2855ABFA-56D2-6520-E5E5-442E5CC2AD04}"/>
                </a:ext>
              </a:extLst>
            </p:cNvPr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9" name="Google Shape;3196;p64">
              <a:extLst>
                <a:ext uri="{FF2B5EF4-FFF2-40B4-BE49-F238E27FC236}">
                  <a16:creationId xmlns:a16="http://schemas.microsoft.com/office/drawing/2014/main" id="{F388FC10-5D13-B451-ED4F-FCF000B50D00}"/>
                </a:ext>
              </a:extLst>
            </p:cNvPr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0" name="Google Shape;3197;p64">
              <a:extLst>
                <a:ext uri="{FF2B5EF4-FFF2-40B4-BE49-F238E27FC236}">
                  <a16:creationId xmlns:a16="http://schemas.microsoft.com/office/drawing/2014/main" id="{06FCB839-4B70-7D9C-8B7C-E9D3DF229EE6}"/>
                </a:ext>
              </a:extLst>
            </p:cNvPr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1" name="Google Shape;3198;p64">
              <a:extLst>
                <a:ext uri="{FF2B5EF4-FFF2-40B4-BE49-F238E27FC236}">
                  <a16:creationId xmlns:a16="http://schemas.microsoft.com/office/drawing/2014/main" id="{D6C84BDC-5C51-CBD5-DF61-94C63032EABA}"/>
                </a:ext>
              </a:extLst>
            </p:cNvPr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2" name="Google Shape;3199;p64">
              <a:extLst>
                <a:ext uri="{FF2B5EF4-FFF2-40B4-BE49-F238E27FC236}">
                  <a16:creationId xmlns:a16="http://schemas.microsoft.com/office/drawing/2014/main" id="{1D3B624F-028E-212B-4D6F-E069276147E6}"/>
                </a:ext>
              </a:extLst>
            </p:cNvPr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3" name="Google Shape;3200;p64">
              <a:extLst>
                <a:ext uri="{FF2B5EF4-FFF2-40B4-BE49-F238E27FC236}">
                  <a16:creationId xmlns:a16="http://schemas.microsoft.com/office/drawing/2014/main" id="{47097DCB-C632-CDD6-094F-CF688CBAD417}"/>
                </a:ext>
              </a:extLst>
            </p:cNvPr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4" name="Google Shape;3201;p64">
              <a:extLst>
                <a:ext uri="{FF2B5EF4-FFF2-40B4-BE49-F238E27FC236}">
                  <a16:creationId xmlns:a16="http://schemas.microsoft.com/office/drawing/2014/main" id="{2759137E-C409-12E6-DCEE-D8429E342E41}"/>
                </a:ext>
              </a:extLst>
            </p:cNvPr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5" name="Google Shape;3202;p64">
              <a:extLst>
                <a:ext uri="{FF2B5EF4-FFF2-40B4-BE49-F238E27FC236}">
                  <a16:creationId xmlns:a16="http://schemas.microsoft.com/office/drawing/2014/main" id="{EE9D55EA-EA16-E93D-3288-67FA76014DF9}"/>
                </a:ext>
              </a:extLst>
            </p:cNvPr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6" name="Google Shape;3203;p64">
              <a:extLst>
                <a:ext uri="{FF2B5EF4-FFF2-40B4-BE49-F238E27FC236}">
                  <a16:creationId xmlns:a16="http://schemas.microsoft.com/office/drawing/2014/main" id="{F88893A5-5F48-4200-20FF-6EDC463E84EB}"/>
                </a:ext>
              </a:extLst>
            </p:cNvPr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7" name="Google Shape;3204;p64">
              <a:extLst>
                <a:ext uri="{FF2B5EF4-FFF2-40B4-BE49-F238E27FC236}">
                  <a16:creationId xmlns:a16="http://schemas.microsoft.com/office/drawing/2014/main" id="{DDACA57B-49CC-A311-A498-9FE3217AE008}"/>
                </a:ext>
              </a:extLst>
            </p:cNvPr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8" name="Google Shape;3205;p64">
              <a:extLst>
                <a:ext uri="{FF2B5EF4-FFF2-40B4-BE49-F238E27FC236}">
                  <a16:creationId xmlns:a16="http://schemas.microsoft.com/office/drawing/2014/main" id="{AE37E183-67F3-3897-2CF5-2B973667E5D9}"/>
                </a:ext>
              </a:extLst>
            </p:cNvPr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9" name="Google Shape;3206;p64">
              <a:extLst>
                <a:ext uri="{FF2B5EF4-FFF2-40B4-BE49-F238E27FC236}">
                  <a16:creationId xmlns:a16="http://schemas.microsoft.com/office/drawing/2014/main" id="{C50CD8A6-2997-039F-A9CD-4619C4D4403A}"/>
                </a:ext>
              </a:extLst>
            </p:cNvPr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0" name="Google Shape;3207;p64">
              <a:extLst>
                <a:ext uri="{FF2B5EF4-FFF2-40B4-BE49-F238E27FC236}">
                  <a16:creationId xmlns:a16="http://schemas.microsoft.com/office/drawing/2014/main" id="{378CDA9D-5319-D8CE-14DA-778821F4F74F}"/>
                </a:ext>
              </a:extLst>
            </p:cNvPr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1" name="Google Shape;3208;p64">
              <a:extLst>
                <a:ext uri="{FF2B5EF4-FFF2-40B4-BE49-F238E27FC236}">
                  <a16:creationId xmlns:a16="http://schemas.microsoft.com/office/drawing/2014/main" id="{EE1175F8-01D4-3EFF-C89A-EBAA36218CBE}"/>
                </a:ext>
              </a:extLst>
            </p:cNvPr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2" name="Google Shape;3209;p64">
              <a:extLst>
                <a:ext uri="{FF2B5EF4-FFF2-40B4-BE49-F238E27FC236}">
                  <a16:creationId xmlns:a16="http://schemas.microsoft.com/office/drawing/2014/main" id="{924A7878-859D-F649-A181-CA82DC727CD8}"/>
                </a:ext>
              </a:extLst>
            </p:cNvPr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3" name="Google Shape;3210;p64">
              <a:extLst>
                <a:ext uri="{FF2B5EF4-FFF2-40B4-BE49-F238E27FC236}">
                  <a16:creationId xmlns:a16="http://schemas.microsoft.com/office/drawing/2014/main" id="{390AC7C5-D545-2FA0-1F97-4EBE665ECF7C}"/>
                </a:ext>
              </a:extLst>
            </p:cNvPr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4" name="Google Shape;3211;p64">
              <a:extLst>
                <a:ext uri="{FF2B5EF4-FFF2-40B4-BE49-F238E27FC236}">
                  <a16:creationId xmlns:a16="http://schemas.microsoft.com/office/drawing/2014/main" id="{51C515A0-D361-C579-BCF5-CE6C7BD94B0F}"/>
                </a:ext>
              </a:extLst>
            </p:cNvPr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5" name="Google Shape;3212;p64">
              <a:extLst>
                <a:ext uri="{FF2B5EF4-FFF2-40B4-BE49-F238E27FC236}">
                  <a16:creationId xmlns:a16="http://schemas.microsoft.com/office/drawing/2014/main" id="{473A2E38-0BFB-81B5-A663-E172DEA7A576}"/>
                </a:ext>
              </a:extLst>
            </p:cNvPr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6" name="Google Shape;3213;p64">
              <a:extLst>
                <a:ext uri="{FF2B5EF4-FFF2-40B4-BE49-F238E27FC236}">
                  <a16:creationId xmlns:a16="http://schemas.microsoft.com/office/drawing/2014/main" id="{AF1646C5-BE76-4EC6-85C1-9E48CF3C6427}"/>
                </a:ext>
              </a:extLst>
            </p:cNvPr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7" name="Google Shape;3214;p64">
              <a:extLst>
                <a:ext uri="{FF2B5EF4-FFF2-40B4-BE49-F238E27FC236}">
                  <a16:creationId xmlns:a16="http://schemas.microsoft.com/office/drawing/2014/main" id="{7C4E002D-E5A7-39B9-CEF3-3DCAA38E03D6}"/>
                </a:ext>
              </a:extLst>
            </p:cNvPr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8" name="Google Shape;3215;p64">
              <a:extLst>
                <a:ext uri="{FF2B5EF4-FFF2-40B4-BE49-F238E27FC236}">
                  <a16:creationId xmlns:a16="http://schemas.microsoft.com/office/drawing/2014/main" id="{07E3AC55-9D83-9ECC-F7D2-8B65ADB7F3FD}"/>
                </a:ext>
              </a:extLst>
            </p:cNvPr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9" name="Google Shape;3216;p64">
              <a:extLst>
                <a:ext uri="{FF2B5EF4-FFF2-40B4-BE49-F238E27FC236}">
                  <a16:creationId xmlns:a16="http://schemas.microsoft.com/office/drawing/2014/main" id="{80AA4468-FB23-E046-9CAA-9BC97653587E}"/>
                </a:ext>
              </a:extLst>
            </p:cNvPr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0" name="Google Shape;3217;p64">
              <a:extLst>
                <a:ext uri="{FF2B5EF4-FFF2-40B4-BE49-F238E27FC236}">
                  <a16:creationId xmlns:a16="http://schemas.microsoft.com/office/drawing/2014/main" id="{0CA95D38-9CEA-3EF5-6DA6-9A8021BEA9BB}"/>
                </a:ext>
              </a:extLst>
            </p:cNvPr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1" name="Google Shape;3218;p64">
              <a:extLst>
                <a:ext uri="{FF2B5EF4-FFF2-40B4-BE49-F238E27FC236}">
                  <a16:creationId xmlns:a16="http://schemas.microsoft.com/office/drawing/2014/main" id="{8E579E6C-67CF-BE2E-70F4-25D6CD714000}"/>
                </a:ext>
              </a:extLst>
            </p:cNvPr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2" name="Google Shape;3219;p64">
              <a:extLst>
                <a:ext uri="{FF2B5EF4-FFF2-40B4-BE49-F238E27FC236}">
                  <a16:creationId xmlns:a16="http://schemas.microsoft.com/office/drawing/2014/main" id="{A1D0B0F7-3D2C-C9CB-20B3-9C4DBDE4ECEC}"/>
                </a:ext>
              </a:extLst>
            </p:cNvPr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3" name="Google Shape;3220;p64">
              <a:extLst>
                <a:ext uri="{FF2B5EF4-FFF2-40B4-BE49-F238E27FC236}">
                  <a16:creationId xmlns:a16="http://schemas.microsoft.com/office/drawing/2014/main" id="{19C9AF79-29BF-AE53-F843-277E12B34FD6}"/>
                </a:ext>
              </a:extLst>
            </p:cNvPr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4" name="Google Shape;3221;p64">
              <a:extLst>
                <a:ext uri="{FF2B5EF4-FFF2-40B4-BE49-F238E27FC236}">
                  <a16:creationId xmlns:a16="http://schemas.microsoft.com/office/drawing/2014/main" id="{5D70F4E6-18A5-78EF-8734-7DE1A53C3AF6}"/>
                </a:ext>
              </a:extLst>
            </p:cNvPr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5" name="Google Shape;3222;p64">
              <a:extLst>
                <a:ext uri="{FF2B5EF4-FFF2-40B4-BE49-F238E27FC236}">
                  <a16:creationId xmlns:a16="http://schemas.microsoft.com/office/drawing/2014/main" id="{5833BBD4-C823-84FE-7E11-B26864A07164}"/>
                </a:ext>
              </a:extLst>
            </p:cNvPr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6" name="Google Shape;3223;p64">
              <a:extLst>
                <a:ext uri="{FF2B5EF4-FFF2-40B4-BE49-F238E27FC236}">
                  <a16:creationId xmlns:a16="http://schemas.microsoft.com/office/drawing/2014/main" id="{7F2631FA-DD49-375B-0698-04BBE608329A}"/>
                </a:ext>
              </a:extLst>
            </p:cNvPr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7" name="Google Shape;3224;p64">
              <a:extLst>
                <a:ext uri="{FF2B5EF4-FFF2-40B4-BE49-F238E27FC236}">
                  <a16:creationId xmlns:a16="http://schemas.microsoft.com/office/drawing/2014/main" id="{846ED581-0012-1898-5695-DDC992C87C4B}"/>
                </a:ext>
              </a:extLst>
            </p:cNvPr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8" name="Google Shape;3225;p64">
              <a:extLst>
                <a:ext uri="{FF2B5EF4-FFF2-40B4-BE49-F238E27FC236}">
                  <a16:creationId xmlns:a16="http://schemas.microsoft.com/office/drawing/2014/main" id="{2B887B3C-8CEA-2489-81BB-76D44B47196C}"/>
                </a:ext>
              </a:extLst>
            </p:cNvPr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9" name="Google Shape;3226;p64">
              <a:extLst>
                <a:ext uri="{FF2B5EF4-FFF2-40B4-BE49-F238E27FC236}">
                  <a16:creationId xmlns:a16="http://schemas.microsoft.com/office/drawing/2014/main" id="{E1FCBD59-2F16-755C-2906-72DCA09305F9}"/>
                </a:ext>
              </a:extLst>
            </p:cNvPr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0" name="Google Shape;3227;p64">
              <a:extLst>
                <a:ext uri="{FF2B5EF4-FFF2-40B4-BE49-F238E27FC236}">
                  <a16:creationId xmlns:a16="http://schemas.microsoft.com/office/drawing/2014/main" id="{8968030E-E80B-59F2-E0C7-043E630C2330}"/>
                </a:ext>
              </a:extLst>
            </p:cNvPr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1" name="Google Shape;3228;p64">
              <a:extLst>
                <a:ext uri="{FF2B5EF4-FFF2-40B4-BE49-F238E27FC236}">
                  <a16:creationId xmlns:a16="http://schemas.microsoft.com/office/drawing/2014/main" id="{750F225A-5E4A-9627-0ABC-482039AC3AD4}"/>
                </a:ext>
              </a:extLst>
            </p:cNvPr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2" name="Google Shape;3229;p64">
              <a:extLst>
                <a:ext uri="{FF2B5EF4-FFF2-40B4-BE49-F238E27FC236}">
                  <a16:creationId xmlns:a16="http://schemas.microsoft.com/office/drawing/2014/main" id="{3E6B2123-6D4D-BEAD-0842-472976D48BD0}"/>
                </a:ext>
              </a:extLst>
            </p:cNvPr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3" name="Google Shape;3230;p64">
              <a:extLst>
                <a:ext uri="{FF2B5EF4-FFF2-40B4-BE49-F238E27FC236}">
                  <a16:creationId xmlns:a16="http://schemas.microsoft.com/office/drawing/2014/main" id="{2268D69F-B040-8E90-2133-EF90EC6DE2C8}"/>
                </a:ext>
              </a:extLst>
            </p:cNvPr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4" name="Google Shape;3231;p64">
              <a:extLst>
                <a:ext uri="{FF2B5EF4-FFF2-40B4-BE49-F238E27FC236}">
                  <a16:creationId xmlns:a16="http://schemas.microsoft.com/office/drawing/2014/main" id="{04E4443E-ADB3-0186-C3D5-696953A95E61}"/>
                </a:ext>
              </a:extLst>
            </p:cNvPr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5" name="Google Shape;3232;p64">
              <a:extLst>
                <a:ext uri="{FF2B5EF4-FFF2-40B4-BE49-F238E27FC236}">
                  <a16:creationId xmlns:a16="http://schemas.microsoft.com/office/drawing/2014/main" id="{DE114605-72E5-4CAC-0AF7-E00B29F3FBDD}"/>
                </a:ext>
              </a:extLst>
            </p:cNvPr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6" name="Google Shape;3233;p64">
              <a:extLst>
                <a:ext uri="{FF2B5EF4-FFF2-40B4-BE49-F238E27FC236}">
                  <a16:creationId xmlns:a16="http://schemas.microsoft.com/office/drawing/2014/main" id="{2AC1A5D3-BD2E-4FD7-2FC6-9BE793B20EDC}"/>
                </a:ext>
              </a:extLst>
            </p:cNvPr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7" name="Google Shape;3234;p64">
              <a:extLst>
                <a:ext uri="{FF2B5EF4-FFF2-40B4-BE49-F238E27FC236}">
                  <a16:creationId xmlns:a16="http://schemas.microsoft.com/office/drawing/2014/main" id="{AA15DA3F-BC2E-5AE6-D6EC-84F4616D3C22}"/>
                </a:ext>
              </a:extLst>
            </p:cNvPr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8" name="Google Shape;3235;p64">
              <a:extLst>
                <a:ext uri="{FF2B5EF4-FFF2-40B4-BE49-F238E27FC236}">
                  <a16:creationId xmlns:a16="http://schemas.microsoft.com/office/drawing/2014/main" id="{D8E4AABF-2661-E5CA-7FF9-A34FDD97CB39}"/>
                </a:ext>
              </a:extLst>
            </p:cNvPr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9" name="Google Shape;3236;p64">
              <a:extLst>
                <a:ext uri="{FF2B5EF4-FFF2-40B4-BE49-F238E27FC236}">
                  <a16:creationId xmlns:a16="http://schemas.microsoft.com/office/drawing/2014/main" id="{923E3386-E62A-1E4A-A4C5-2DE4337F2DD2}"/>
                </a:ext>
              </a:extLst>
            </p:cNvPr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0" name="Google Shape;3237;p64">
              <a:extLst>
                <a:ext uri="{FF2B5EF4-FFF2-40B4-BE49-F238E27FC236}">
                  <a16:creationId xmlns:a16="http://schemas.microsoft.com/office/drawing/2014/main" id="{2A4841D3-5FEC-93D4-9FE4-0527A2413933}"/>
                </a:ext>
              </a:extLst>
            </p:cNvPr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1" name="Google Shape;3238;p64">
              <a:extLst>
                <a:ext uri="{FF2B5EF4-FFF2-40B4-BE49-F238E27FC236}">
                  <a16:creationId xmlns:a16="http://schemas.microsoft.com/office/drawing/2014/main" id="{36601128-06C1-5F49-18BA-3C4020C0129D}"/>
                </a:ext>
              </a:extLst>
            </p:cNvPr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2" name="Google Shape;3239;p64">
              <a:extLst>
                <a:ext uri="{FF2B5EF4-FFF2-40B4-BE49-F238E27FC236}">
                  <a16:creationId xmlns:a16="http://schemas.microsoft.com/office/drawing/2014/main" id="{DBB08384-D86A-AC0B-DC68-0C62513FCA63}"/>
                </a:ext>
              </a:extLst>
            </p:cNvPr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3" name="Google Shape;3240;p64">
              <a:extLst>
                <a:ext uri="{FF2B5EF4-FFF2-40B4-BE49-F238E27FC236}">
                  <a16:creationId xmlns:a16="http://schemas.microsoft.com/office/drawing/2014/main" id="{8BB4F099-872D-DC7D-6C68-CA797215792D}"/>
                </a:ext>
              </a:extLst>
            </p:cNvPr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4" name="Google Shape;3241;p64">
              <a:extLst>
                <a:ext uri="{FF2B5EF4-FFF2-40B4-BE49-F238E27FC236}">
                  <a16:creationId xmlns:a16="http://schemas.microsoft.com/office/drawing/2014/main" id="{AE81CDAC-A4E2-1752-8FC0-AA2FBAA61027}"/>
                </a:ext>
              </a:extLst>
            </p:cNvPr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5" name="Google Shape;3242;p64">
              <a:extLst>
                <a:ext uri="{FF2B5EF4-FFF2-40B4-BE49-F238E27FC236}">
                  <a16:creationId xmlns:a16="http://schemas.microsoft.com/office/drawing/2014/main" id="{6F76ED0D-4D2E-CB6A-91E0-137A55162870}"/>
                </a:ext>
              </a:extLst>
            </p:cNvPr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6" name="Google Shape;3243;p64">
              <a:extLst>
                <a:ext uri="{FF2B5EF4-FFF2-40B4-BE49-F238E27FC236}">
                  <a16:creationId xmlns:a16="http://schemas.microsoft.com/office/drawing/2014/main" id="{3A02662C-7762-7321-C741-83EE91EC5DAF}"/>
                </a:ext>
              </a:extLst>
            </p:cNvPr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7" name="Google Shape;3244;p64">
              <a:extLst>
                <a:ext uri="{FF2B5EF4-FFF2-40B4-BE49-F238E27FC236}">
                  <a16:creationId xmlns:a16="http://schemas.microsoft.com/office/drawing/2014/main" id="{E4605578-5AF4-D0FB-4C92-0654E3AF9B84}"/>
                </a:ext>
              </a:extLst>
            </p:cNvPr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8" name="Google Shape;3245;p64">
              <a:extLst>
                <a:ext uri="{FF2B5EF4-FFF2-40B4-BE49-F238E27FC236}">
                  <a16:creationId xmlns:a16="http://schemas.microsoft.com/office/drawing/2014/main" id="{BCBB0FE3-386A-4316-3FAC-0D5B08359EF6}"/>
                </a:ext>
              </a:extLst>
            </p:cNvPr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9" name="Google Shape;3246;p64">
              <a:extLst>
                <a:ext uri="{FF2B5EF4-FFF2-40B4-BE49-F238E27FC236}">
                  <a16:creationId xmlns:a16="http://schemas.microsoft.com/office/drawing/2014/main" id="{E0619436-80D7-99A2-D345-2FF71F7F4FE9}"/>
                </a:ext>
              </a:extLst>
            </p:cNvPr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0" name="Google Shape;3247;p64">
              <a:extLst>
                <a:ext uri="{FF2B5EF4-FFF2-40B4-BE49-F238E27FC236}">
                  <a16:creationId xmlns:a16="http://schemas.microsoft.com/office/drawing/2014/main" id="{8DEA1AB5-F353-AA0A-7A02-06AF346F3879}"/>
                </a:ext>
              </a:extLst>
            </p:cNvPr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1" name="Google Shape;3248;p64">
              <a:extLst>
                <a:ext uri="{FF2B5EF4-FFF2-40B4-BE49-F238E27FC236}">
                  <a16:creationId xmlns:a16="http://schemas.microsoft.com/office/drawing/2014/main" id="{AA3E2AB5-9408-50AD-0F4D-675CA7ADB878}"/>
                </a:ext>
              </a:extLst>
            </p:cNvPr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2" name="Google Shape;3249;p64">
              <a:extLst>
                <a:ext uri="{FF2B5EF4-FFF2-40B4-BE49-F238E27FC236}">
                  <a16:creationId xmlns:a16="http://schemas.microsoft.com/office/drawing/2014/main" id="{A41D97AA-F81B-F203-4821-6A5F47366E73}"/>
                </a:ext>
              </a:extLst>
            </p:cNvPr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3" name="Google Shape;3250;p64">
              <a:extLst>
                <a:ext uri="{FF2B5EF4-FFF2-40B4-BE49-F238E27FC236}">
                  <a16:creationId xmlns:a16="http://schemas.microsoft.com/office/drawing/2014/main" id="{C26EBFC9-9005-3BEF-101A-227AD2606A9D}"/>
                </a:ext>
              </a:extLst>
            </p:cNvPr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4" name="Google Shape;3251;p64">
              <a:extLst>
                <a:ext uri="{FF2B5EF4-FFF2-40B4-BE49-F238E27FC236}">
                  <a16:creationId xmlns:a16="http://schemas.microsoft.com/office/drawing/2014/main" id="{1DA84D44-F1D7-10CA-BD00-C56FA10CB1F0}"/>
                </a:ext>
              </a:extLst>
            </p:cNvPr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5" name="Google Shape;3252;p64">
              <a:extLst>
                <a:ext uri="{FF2B5EF4-FFF2-40B4-BE49-F238E27FC236}">
                  <a16:creationId xmlns:a16="http://schemas.microsoft.com/office/drawing/2014/main" id="{310DBAEC-CAB8-6101-35EB-3602DD367F01}"/>
                </a:ext>
              </a:extLst>
            </p:cNvPr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6" name="Google Shape;3253;p64">
              <a:extLst>
                <a:ext uri="{FF2B5EF4-FFF2-40B4-BE49-F238E27FC236}">
                  <a16:creationId xmlns:a16="http://schemas.microsoft.com/office/drawing/2014/main" id="{0F50E18E-33C9-7EC2-C199-C75C14F12D3F}"/>
                </a:ext>
              </a:extLst>
            </p:cNvPr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7" name="Google Shape;3254;p64">
              <a:extLst>
                <a:ext uri="{FF2B5EF4-FFF2-40B4-BE49-F238E27FC236}">
                  <a16:creationId xmlns:a16="http://schemas.microsoft.com/office/drawing/2014/main" id="{79B55AF9-865A-8B14-F32A-9F8404D572B0}"/>
                </a:ext>
              </a:extLst>
            </p:cNvPr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8" name="Google Shape;3255;p64">
              <a:extLst>
                <a:ext uri="{FF2B5EF4-FFF2-40B4-BE49-F238E27FC236}">
                  <a16:creationId xmlns:a16="http://schemas.microsoft.com/office/drawing/2014/main" id="{A18F8498-DACD-E5A3-688F-8AFE8EEA2E9C}"/>
                </a:ext>
              </a:extLst>
            </p:cNvPr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9" name="Google Shape;3256;p64">
              <a:extLst>
                <a:ext uri="{FF2B5EF4-FFF2-40B4-BE49-F238E27FC236}">
                  <a16:creationId xmlns:a16="http://schemas.microsoft.com/office/drawing/2014/main" id="{C79B4376-BA44-86B8-85D0-1AFDC6946E51}"/>
                </a:ext>
              </a:extLst>
            </p:cNvPr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0" name="Google Shape;3257;p64">
              <a:extLst>
                <a:ext uri="{FF2B5EF4-FFF2-40B4-BE49-F238E27FC236}">
                  <a16:creationId xmlns:a16="http://schemas.microsoft.com/office/drawing/2014/main" id="{377F884F-62F3-4226-5081-3365F1EEE055}"/>
                </a:ext>
              </a:extLst>
            </p:cNvPr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1" name="Google Shape;3258;p64">
              <a:extLst>
                <a:ext uri="{FF2B5EF4-FFF2-40B4-BE49-F238E27FC236}">
                  <a16:creationId xmlns:a16="http://schemas.microsoft.com/office/drawing/2014/main" id="{52FE84C8-A394-F874-A0ED-A89C3767CC6E}"/>
                </a:ext>
              </a:extLst>
            </p:cNvPr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2" name="Google Shape;3259;p64">
              <a:extLst>
                <a:ext uri="{FF2B5EF4-FFF2-40B4-BE49-F238E27FC236}">
                  <a16:creationId xmlns:a16="http://schemas.microsoft.com/office/drawing/2014/main" id="{0063C5F1-1D85-2835-8DA4-DEC6328CDB33}"/>
                </a:ext>
              </a:extLst>
            </p:cNvPr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3" name="Google Shape;3260;p64">
              <a:extLst>
                <a:ext uri="{FF2B5EF4-FFF2-40B4-BE49-F238E27FC236}">
                  <a16:creationId xmlns:a16="http://schemas.microsoft.com/office/drawing/2014/main" id="{E54BB69D-9212-1188-717F-CB6BE496A4FA}"/>
                </a:ext>
              </a:extLst>
            </p:cNvPr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4" name="Google Shape;3261;p64">
              <a:extLst>
                <a:ext uri="{FF2B5EF4-FFF2-40B4-BE49-F238E27FC236}">
                  <a16:creationId xmlns:a16="http://schemas.microsoft.com/office/drawing/2014/main" id="{0EEBEB19-753D-9817-C6C4-4375B1207E3E}"/>
                </a:ext>
              </a:extLst>
            </p:cNvPr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5" name="Google Shape;3262;p64">
              <a:extLst>
                <a:ext uri="{FF2B5EF4-FFF2-40B4-BE49-F238E27FC236}">
                  <a16:creationId xmlns:a16="http://schemas.microsoft.com/office/drawing/2014/main" id="{7F7C0153-350D-3D34-0951-46B4B1F0BE9A}"/>
                </a:ext>
              </a:extLst>
            </p:cNvPr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6" name="Google Shape;3263;p64">
              <a:extLst>
                <a:ext uri="{FF2B5EF4-FFF2-40B4-BE49-F238E27FC236}">
                  <a16:creationId xmlns:a16="http://schemas.microsoft.com/office/drawing/2014/main" id="{C6973339-6FAC-79BB-6AEC-6C12D1EAEA08}"/>
                </a:ext>
              </a:extLst>
            </p:cNvPr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7" name="Google Shape;3264;p64">
              <a:extLst>
                <a:ext uri="{FF2B5EF4-FFF2-40B4-BE49-F238E27FC236}">
                  <a16:creationId xmlns:a16="http://schemas.microsoft.com/office/drawing/2014/main" id="{466DD2FC-6C78-AE33-7B02-094C301DA495}"/>
                </a:ext>
              </a:extLst>
            </p:cNvPr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8" name="Google Shape;3265;p64">
              <a:extLst>
                <a:ext uri="{FF2B5EF4-FFF2-40B4-BE49-F238E27FC236}">
                  <a16:creationId xmlns:a16="http://schemas.microsoft.com/office/drawing/2014/main" id="{31778B6C-D128-8D96-8D74-50D7CAA0EACD}"/>
                </a:ext>
              </a:extLst>
            </p:cNvPr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9" name="Google Shape;3266;p64">
              <a:extLst>
                <a:ext uri="{FF2B5EF4-FFF2-40B4-BE49-F238E27FC236}">
                  <a16:creationId xmlns:a16="http://schemas.microsoft.com/office/drawing/2014/main" id="{3B418E18-21EE-151E-05F2-3CD60FDADBAB}"/>
                </a:ext>
              </a:extLst>
            </p:cNvPr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0" name="Google Shape;3267;p64">
              <a:extLst>
                <a:ext uri="{FF2B5EF4-FFF2-40B4-BE49-F238E27FC236}">
                  <a16:creationId xmlns:a16="http://schemas.microsoft.com/office/drawing/2014/main" id="{46B43BBD-5AFF-1D83-F97D-00A0CD3E232B}"/>
                </a:ext>
              </a:extLst>
            </p:cNvPr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1" name="Google Shape;3268;p64">
              <a:extLst>
                <a:ext uri="{FF2B5EF4-FFF2-40B4-BE49-F238E27FC236}">
                  <a16:creationId xmlns:a16="http://schemas.microsoft.com/office/drawing/2014/main" id="{D6980740-27BE-248E-535C-8F17780AF966}"/>
                </a:ext>
              </a:extLst>
            </p:cNvPr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2" name="Google Shape;3269;p64">
              <a:extLst>
                <a:ext uri="{FF2B5EF4-FFF2-40B4-BE49-F238E27FC236}">
                  <a16:creationId xmlns:a16="http://schemas.microsoft.com/office/drawing/2014/main" id="{906F0D15-0571-14E3-AFA8-B395D90F9A52}"/>
                </a:ext>
              </a:extLst>
            </p:cNvPr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3" name="Google Shape;3270;p64">
              <a:extLst>
                <a:ext uri="{FF2B5EF4-FFF2-40B4-BE49-F238E27FC236}">
                  <a16:creationId xmlns:a16="http://schemas.microsoft.com/office/drawing/2014/main" id="{7A2B6DA5-2C3D-1223-4D48-3A39CE09FB77}"/>
                </a:ext>
              </a:extLst>
            </p:cNvPr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4" name="Google Shape;3271;p64">
              <a:extLst>
                <a:ext uri="{FF2B5EF4-FFF2-40B4-BE49-F238E27FC236}">
                  <a16:creationId xmlns:a16="http://schemas.microsoft.com/office/drawing/2014/main" id="{ED2792C9-F230-521D-7667-9294F7FE9E83}"/>
                </a:ext>
              </a:extLst>
            </p:cNvPr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5" name="Google Shape;3272;p64">
              <a:extLst>
                <a:ext uri="{FF2B5EF4-FFF2-40B4-BE49-F238E27FC236}">
                  <a16:creationId xmlns:a16="http://schemas.microsoft.com/office/drawing/2014/main" id="{985EA86B-5FB5-949E-90D8-0199BC8F224B}"/>
                </a:ext>
              </a:extLst>
            </p:cNvPr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6" name="Google Shape;3273;p64">
              <a:extLst>
                <a:ext uri="{FF2B5EF4-FFF2-40B4-BE49-F238E27FC236}">
                  <a16:creationId xmlns:a16="http://schemas.microsoft.com/office/drawing/2014/main" id="{1B4A00B0-FFAF-B964-D6F1-9FEFCD716528}"/>
                </a:ext>
              </a:extLst>
            </p:cNvPr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7" name="Google Shape;3274;p64">
              <a:extLst>
                <a:ext uri="{FF2B5EF4-FFF2-40B4-BE49-F238E27FC236}">
                  <a16:creationId xmlns:a16="http://schemas.microsoft.com/office/drawing/2014/main" id="{400C34B6-8230-29C3-08CA-739DE7F61F3A}"/>
                </a:ext>
              </a:extLst>
            </p:cNvPr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8" name="Google Shape;3275;p64">
              <a:extLst>
                <a:ext uri="{FF2B5EF4-FFF2-40B4-BE49-F238E27FC236}">
                  <a16:creationId xmlns:a16="http://schemas.microsoft.com/office/drawing/2014/main" id="{6F7D98B1-D531-1062-9156-55520511CCC3}"/>
                </a:ext>
              </a:extLst>
            </p:cNvPr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9" name="Google Shape;3276;p64">
              <a:extLst>
                <a:ext uri="{FF2B5EF4-FFF2-40B4-BE49-F238E27FC236}">
                  <a16:creationId xmlns:a16="http://schemas.microsoft.com/office/drawing/2014/main" id="{1472BBD0-B71E-48E8-FB2A-EB856AC4BC30}"/>
                </a:ext>
              </a:extLst>
            </p:cNvPr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0" name="Google Shape;3277;p64">
              <a:extLst>
                <a:ext uri="{FF2B5EF4-FFF2-40B4-BE49-F238E27FC236}">
                  <a16:creationId xmlns:a16="http://schemas.microsoft.com/office/drawing/2014/main" id="{0E93E866-4900-8066-631C-2CA272576CC3}"/>
                </a:ext>
              </a:extLst>
            </p:cNvPr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1" name="Google Shape;3278;p64">
              <a:extLst>
                <a:ext uri="{FF2B5EF4-FFF2-40B4-BE49-F238E27FC236}">
                  <a16:creationId xmlns:a16="http://schemas.microsoft.com/office/drawing/2014/main" id="{1FFEB8E5-16B6-AF96-4F6C-7537CA0D1513}"/>
                </a:ext>
              </a:extLst>
            </p:cNvPr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2" name="Google Shape;3279;p64">
              <a:extLst>
                <a:ext uri="{FF2B5EF4-FFF2-40B4-BE49-F238E27FC236}">
                  <a16:creationId xmlns:a16="http://schemas.microsoft.com/office/drawing/2014/main" id="{076EDE4F-E2DC-16B2-E521-B4BF1ADE7BA8}"/>
                </a:ext>
              </a:extLst>
            </p:cNvPr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3" name="Google Shape;3280;p64">
              <a:extLst>
                <a:ext uri="{FF2B5EF4-FFF2-40B4-BE49-F238E27FC236}">
                  <a16:creationId xmlns:a16="http://schemas.microsoft.com/office/drawing/2014/main" id="{0C238ED1-0FAC-EB36-23D5-77A5C82407CF}"/>
                </a:ext>
              </a:extLst>
            </p:cNvPr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4" name="Google Shape;3281;p64">
              <a:extLst>
                <a:ext uri="{FF2B5EF4-FFF2-40B4-BE49-F238E27FC236}">
                  <a16:creationId xmlns:a16="http://schemas.microsoft.com/office/drawing/2014/main" id="{50F46228-0BF3-B071-9031-27F849A0B42D}"/>
                </a:ext>
              </a:extLst>
            </p:cNvPr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5" name="Google Shape;3282;p64">
              <a:extLst>
                <a:ext uri="{FF2B5EF4-FFF2-40B4-BE49-F238E27FC236}">
                  <a16:creationId xmlns:a16="http://schemas.microsoft.com/office/drawing/2014/main" id="{8881EEC9-F571-27D9-FD7A-0B24907536F3}"/>
                </a:ext>
              </a:extLst>
            </p:cNvPr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6" name="Google Shape;3283;p64">
              <a:extLst>
                <a:ext uri="{FF2B5EF4-FFF2-40B4-BE49-F238E27FC236}">
                  <a16:creationId xmlns:a16="http://schemas.microsoft.com/office/drawing/2014/main" id="{C6845CCC-BFD9-015C-08B6-54E19BB00EAE}"/>
                </a:ext>
              </a:extLst>
            </p:cNvPr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7" name="Google Shape;3284;p64">
              <a:extLst>
                <a:ext uri="{FF2B5EF4-FFF2-40B4-BE49-F238E27FC236}">
                  <a16:creationId xmlns:a16="http://schemas.microsoft.com/office/drawing/2014/main" id="{9E49172E-E4BA-785E-5277-E679B19589B5}"/>
                </a:ext>
              </a:extLst>
            </p:cNvPr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8" name="Google Shape;3285;p64">
              <a:extLst>
                <a:ext uri="{FF2B5EF4-FFF2-40B4-BE49-F238E27FC236}">
                  <a16:creationId xmlns:a16="http://schemas.microsoft.com/office/drawing/2014/main" id="{A6AFC295-DF0C-8509-4015-C8D7ACE0BC1C}"/>
                </a:ext>
              </a:extLst>
            </p:cNvPr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9" name="Google Shape;3286;p64">
              <a:extLst>
                <a:ext uri="{FF2B5EF4-FFF2-40B4-BE49-F238E27FC236}">
                  <a16:creationId xmlns:a16="http://schemas.microsoft.com/office/drawing/2014/main" id="{C463F81D-58E1-B79F-80EE-FF7384841AE6}"/>
                </a:ext>
              </a:extLst>
            </p:cNvPr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0" name="Google Shape;3287;p64">
              <a:extLst>
                <a:ext uri="{FF2B5EF4-FFF2-40B4-BE49-F238E27FC236}">
                  <a16:creationId xmlns:a16="http://schemas.microsoft.com/office/drawing/2014/main" id="{B458CA83-950F-519B-6D81-D09C961D192E}"/>
                </a:ext>
              </a:extLst>
            </p:cNvPr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1" name="Google Shape;3288;p64">
              <a:extLst>
                <a:ext uri="{FF2B5EF4-FFF2-40B4-BE49-F238E27FC236}">
                  <a16:creationId xmlns:a16="http://schemas.microsoft.com/office/drawing/2014/main" id="{B9171789-D917-F59E-9F4B-C0B9F744A39D}"/>
                </a:ext>
              </a:extLst>
            </p:cNvPr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2" name="Google Shape;3289;p64">
              <a:extLst>
                <a:ext uri="{FF2B5EF4-FFF2-40B4-BE49-F238E27FC236}">
                  <a16:creationId xmlns:a16="http://schemas.microsoft.com/office/drawing/2014/main" id="{059605AC-F02A-E44F-F316-524889152817}"/>
                </a:ext>
              </a:extLst>
            </p:cNvPr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3" name="Google Shape;3290;p64">
              <a:extLst>
                <a:ext uri="{FF2B5EF4-FFF2-40B4-BE49-F238E27FC236}">
                  <a16:creationId xmlns:a16="http://schemas.microsoft.com/office/drawing/2014/main" id="{111EABAD-ED79-ECD0-039C-6B5433A0BCB3}"/>
                </a:ext>
              </a:extLst>
            </p:cNvPr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4" name="Google Shape;3291;p64">
              <a:extLst>
                <a:ext uri="{FF2B5EF4-FFF2-40B4-BE49-F238E27FC236}">
                  <a16:creationId xmlns:a16="http://schemas.microsoft.com/office/drawing/2014/main" id="{18D17389-F265-2271-FDB2-2073EC3CDCAA}"/>
                </a:ext>
              </a:extLst>
            </p:cNvPr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5" name="Google Shape;3292;p64">
              <a:extLst>
                <a:ext uri="{FF2B5EF4-FFF2-40B4-BE49-F238E27FC236}">
                  <a16:creationId xmlns:a16="http://schemas.microsoft.com/office/drawing/2014/main" id="{0ABFA4B8-E549-CFDD-7810-ABA0DD0E12DF}"/>
                </a:ext>
              </a:extLst>
            </p:cNvPr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6" name="Google Shape;3293;p64">
              <a:extLst>
                <a:ext uri="{FF2B5EF4-FFF2-40B4-BE49-F238E27FC236}">
                  <a16:creationId xmlns:a16="http://schemas.microsoft.com/office/drawing/2014/main" id="{DE4351BE-12B7-BEDE-EE13-0B490A190EEC}"/>
                </a:ext>
              </a:extLst>
            </p:cNvPr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7" name="Google Shape;3294;p64">
              <a:extLst>
                <a:ext uri="{FF2B5EF4-FFF2-40B4-BE49-F238E27FC236}">
                  <a16:creationId xmlns:a16="http://schemas.microsoft.com/office/drawing/2014/main" id="{5B1165C9-D33A-4C61-22C1-CDAD85BB5A54}"/>
                </a:ext>
              </a:extLst>
            </p:cNvPr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8" name="Google Shape;3295;p64">
              <a:extLst>
                <a:ext uri="{FF2B5EF4-FFF2-40B4-BE49-F238E27FC236}">
                  <a16:creationId xmlns:a16="http://schemas.microsoft.com/office/drawing/2014/main" id="{5F4515DB-6B7C-AA83-C1FB-84AA27539670}"/>
                </a:ext>
              </a:extLst>
            </p:cNvPr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9" name="Google Shape;3296;p64">
              <a:extLst>
                <a:ext uri="{FF2B5EF4-FFF2-40B4-BE49-F238E27FC236}">
                  <a16:creationId xmlns:a16="http://schemas.microsoft.com/office/drawing/2014/main" id="{A7D91AE5-54FC-433B-C2B4-7F23453DE927}"/>
                </a:ext>
              </a:extLst>
            </p:cNvPr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0" name="Google Shape;3297;p64">
              <a:extLst>
                <a:ext uri="{FF2B5EF4-FFF2-40B4-BE49-F238E27FC236}">
                  <a16:creationId xmlns:a16="http://schemas.microsoft.com/office/drawing/2014/main" id="{7DCF89BE-6415-BDC9-440C-B468291D1B2E}"/>
                </a:ext>
              </a:extLst>
            </p:cNvPr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1" name="Google Shape;3298;p64">
              <a:extLst>
                <a:ext uri="{FF2B5EF4-FFF2-40B4-BE49-F238E27FC236}">
                  <a16:creationId xmlns:a16="http://schemas.microsoft.com/office/drawing/2014/main" id="{F4F24790-36A1-CAD0-42BB-7153A9D22D46}"/>
                </a:ext>
              </a:extLst>
            </p:cNvPr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2" name="Google Shape;3299;p64">
              <a:extLst>
                <a:ext uri="{FF2B5EF4-FFF2-40B4-BE49-F238E27FC236}">
                  <a16:creationId xmlns:a16="http://schemas.microsoft.com/office/drawing/2014/main" id="{1D762822-6EF9-7B1F-EAE1-9E8B56C59AE5}"/>
                </a:ext>
              </a:extLst>
            </p:cNvPr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3" name="Google Shape;3300;p64">
              <a:extLst>
                <a:ext uri="{FF2B5EF4-FFF2-40B4-BE49-F238E27FC236}">
                  <a16:creationId xmlns:a16="http://schemas.microsoft.com/office/drawing/2014/main" id="{1DFC3F3E-D6B0-EB1D-34E4-AF1AFF9DD612}"/>
                </a:ext>
              </a:extLst>
            </p:cNvPr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4" name="Google Shape;3301;p64">
              <a:extLst>
                <a:ext uri="{FF2B5EF4-FFF2-40B4-BE49-F238E27FC236}">
                  <a16:creationId xmlns:a16="http://schemas.microsoft.com/office/drawing/2014/main" id="{1C70DF23-D864-5D66-FBCA-F319041B1134}"/>
                </a:ext>
              </a:extLst>
            </p:cNvPr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5" name="Google Shape;3302;p64">
              <a:extLst>
                <a:ext uri="{FF2B5EF4-FFF2-40B4-BE49-F238E27FC236}">
                  <a16:creationId xmlns:a16="http://schemas.microsoft.com/office/drawing/2014/main" id="{446CE50A-948F-BA34-3B87-302A91A04C37}"/>
                </a:ext>
              </a:extLst>
            </p:cNvPr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6" name="Google Shape;3303;p64">
              <a:extLst>
                <a:ext uri="{FF2B5EF4-FFF2-40B4-BE49-F238E27FC236}">
                  <a16:creationId xmlns:a16="http://schemas.microsoft.com/office/drawing/2014/main" id="{39DFCB33-BD76-93B7-728F-EF4BE40FB594}"/>
                </a:ext>
              </a:extLst>
            </p:cNvPr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7" name="Google Shape;3304;p64">
              <a:extLst>
                <a:ext uri="{FF2B5EF4-FFF2-40B4-BE49-F238E27FC236}">
                  <a16:creationId xmlns:a16="http://schemas.microsoft.com/office/drawing/2014/main" id="{3D2C8592-5C51-30C1-E022-065839E96C44}"/>
                </a:ext>
              </a:extLst>
            </p:cNvPr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8" name="Google Shape;3305;p64">
              <a:extLst>
                <a:ext uri="{FF2B5EF4-FFF2-40B4-BE49-F238E27FC236}">
                  <a16:creationId xmlns:a16="http://schemas.microsoft.com/office/drawing/2014/main" id="{29E724AC-E72D-F381-C7AC-A68E21F0796B}"/>
                </a:ext>
              </a:extLst>
            </p:cNvPr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9" name="Google Shape;3306;p64">
              <a:extLst>
                <a:ext uri="{FF2B5EF4-FFF2-40B4-BE49-F238E27FC236}">
                  <a16:creationId xmlns:a16="http://schemas.microsoft.com/office/drawing/2014/main" id="{D2CE8AEC-A977-3E11-56C7-0BD323D918D0}"/>
                </a:ext>
              </a:extLst>
            </p:cNvPr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0" name="Google Shape;3307;p64">
              <a:extLst>
                <a:ext uri="{FF2B5EF4-FFF2-40B4-BE49-F238E27FC236}">
                  <a16:creationId xmlns:a16="http://schemas.microsoft.com/office/drawing/2014/main" id="{E16B902B-7FAF-EEA3-4E44-E88A80901C9E}"/>
                </a:ext>
              </a:extLst>
            </p:cNvPr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1" name="Google Shape;3308;p64">
              <a:extLst>
                <a:ext uri="{FF2B5EF4-FFF2-40B4-BE49-F238E27FC236}">
                  <a16:creationId xmlns:a16="http://schemas.microsoft.com/office/drawing/2014/main" id="{5ECA7FDA-0EDD-7A6C-791A-B7231DEA8DBB}"/>
                </a:ext>
              </a:extLst>
            </p:cNvPr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2" name="Google Shape;3309;p64">
              <a:extLst>
                <a:ext uri="{FF2B5EF4-FFF2-40B4-BE49-F238E27FC236}">
                  <a16:creationId xmlns:a16="http://schemas.microsoft.com/office/drawing/2014/main" id="{5127D9A9-CA91-5DD3-BB2B-C516DDFDE481}"/>
                </a:ext>
              </a:extLst>
            </p:cNvPr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3" name="Google Shape;3310;p64">
              <a:extLst>
                <a:ext uri="{FF2B5EF4-FFF2-40B4-BE49-F238E27FC236}">
                  <a16:creationId xmlns:a16="http://schemas.microsoft.com/office/drawing/2014/main" id="{4B48F498-2670-E7A8-97DC-20E00220B20C}"/>
                </a:ext>
              </a:extLst>
            </p:cNvPr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4" name="Google Shape;3311;p64">
              <a:extLst>
                <a:ext uri="{FF2B5EF4-FFF2-40B4-BE49-F238E27FC236}">
                  <a16:creationId xmlns:a16="http://schemas.microsoft.com/office/drawing/2014/main" id="{32244486-EE7B-A622-DBB2-839ED09E000B}"/>
                </a:ext>
              </a:extLst>
            </p:cNvPr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5" name="Google Shape;3312;p64">
              <a:extLst>
                <a:ext uri="{FF2B5EF4-FFF2-40B4-BE49-F238E27FC236}">
                  <a16:creationId xmlns:a16="http://schemas.microsoft.com/office/drawing/2014/main" id="{A9CDFFF7-A96D-0F27-DAE9-C76553993224}"/>
                </a:ext>
              </a:extLst>
            </p:cNvPr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6" name="Google Shape;3313;p64">
              <a:extLst>
                <a:ext uri="{FF2B5EF4-FFF2-40B4-BE49-F238E27FC236}">
                  <a16:creationId xmlns:a16="http://schemas.microsoft.com/office/drawing/2014/main" id="{B6F65FED-4320-B942-1894-C8F9D18C8BC1}"/>
                </a:ext>
              </a:extLst>
            </p:cNvPr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7" name="Google Shape;3314;p64">
              <a:extLst>
                <a:ext uri="{FF2B5EF4-FFF2-40B4-BE49-F238E27FC236}">
                  <a16:creationId xmlns:a16="http://schemas.microsoft.com/office/drawing/2014/main" id="{0E5E2589-E4B7-6152-9248-DE2634A9C265}"/>
                </a:ext>
              </a:extLst>
            </p:cNvPr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8" name="Google Shape;3315;p64">
              <a:extLst>
                <a:ext uri="{FF2B5EF4-FFF2-40B4-BE49-F238E27FC236}">
                  <a16:creationId xmlns:a16="http://schemas.microsoft.com/office/drawing/2014/main" id="{35A56CF8-111A-C29C-8111-726B8A0AA052}"/>
                </a:ext>
              </a:extLst>
            </p:cNvPr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9" name="Google Shape;3316;p64">
              <a:extLst>
                <a:ext uri="{FF2B5EF4-FFF2-40B4-BE49-F238E27FC236}">
                  <a16:creationId xmlns:a16="http://schemas.microsoft.com/office/drawing/2014/main" id="{73CD5C55-E4F5-7670-106F-DC21636EDD3C}"/>
                </a:ext>
              </a:extLst>
            </p:cNvPr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0" name="Google Shape;3317;p64">
              <a:extLst>
                <a:ext uri="{FF2B5EF4-FFF2-40B4-BE49-F238E27FC236}">
                  <a16:creationId xmlns:a16="http://schemas.microsoft.com/office/drawing/2014/main" id="{FE25A0F5-CAED-0C63-BE54-8220F6D51AC2}"/>
                </a:ext>
              </a:extLst>
            </p:cNvPr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1" name="Google Shape;3318;p64">
              <a:extLst>
                <a:ext uri="{FF2B5EF4-FFF2-40B4-BE49-F238E27FC236}">
                  <a16:creationId xmlns:a16="http://schemas.microsoft.com/office/drawing/2014/main" id="{B24731A4-B620-49C1-96E9-6AAC905934F2}"/>
                </a:ext>
              </a:extLst>
            </p:cNvPr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2" name="Google Shape;3319;p64">
              <a:extLst>
                <a:ext uri="{FF2B5EF4-FFF2-40B4-BE49-F238E27FC236}">
                  <a16:creationId xmlns:a16="http://schemas.microsoft.com/office/drawing/2014/main" id="{FF912DC5-55FA-82F1-4047-06B59FAF6C28}"/>
                </a:ext>
              </a:extLst>
            </p:cNvPr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3" name="Google Shape;3320;p64">
              <a:extLst>
                <a:ext uri="{FF2B5EF4-FFF2-40B4-BE49-F238E27FC236}">
                  <a16:creationId xmlns:a16="http://schemas.microsoft.com/office/drawing/2014/main" id="{1D14BCDF-1ACC-1236-781A-AC9317C6FD8E}"/>
                </a:ext>
              </a:extLst>
            </p:cNvPr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4" name="Google Shape;3321;p64">
              <a:extLst>
                <a:ext uri="{FF2B5EF4-FFF2-40B4-BE49-F238E27FC236}">
                  <a16:creationId xmlns:a16="http://schemas.microsoft.com/office/drawing/2014/main" id="{65087243-8364-3D7B-9843-61DC06DEF580}"/>
                </a:ext>
              </a:extLst>
            </p:cNvPr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5" name="Google Shape;3322;p64">
              <a:extLst>
                <a:ext uri="{FF2B5EF4-FFF2-40B4-BE49-F238E27FC236}">
                  <a16:creationId xmlns:a16="http://schemas.microsoft.com/office/drawing/2014/main" id="{39928DE6-6BA2-6965-A4F4-8FCC5088767D}"/>
                </a:ext>
              </a:extLst>
            </p:cNvPr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6" name="Google Shape;3323;p64">
              <a:extLst>
                <a:ext uri="{FF2B5EF4-FFF2-40B4-BE49-F238E27FC236}">
                  <a16:creationId xmlns:a16="http://schemas.microsoft.com/office/drawing/2014/main" id="{5FFBD44E-6A5D-260E-AB05-1FBB4D4E0FF2}"/>
                </a:ext>
              </a:extLst>
            </p:cNvPr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7" name="Google Shape;3324;p64">
              <a:extLst>
                <a:ext uri="{FF2B5EF4-FFF2-40B4-BE49-F238E27FC236}">
                  <a16:creationId xmlns:a16="http://schemas.microsoft.com/office/drawing/2014/main" id="{E4ECD5F8-C454-29F5-349C-CD72F25DE59E}"/>
                </a:ext>
              </a:extLst>
            </p:cNvPr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8" name="Google Shape;3325;p64">
              <a:extLst>
                <a:ext uri="{FF2B5EF4-FFF2-40B4-BE49-F238E27FC236}">
                  <a16:creationId xmlns:a16="http://schemas.microsoft.com/office/drawing/2014/main" id="{FB5BB843-EB3F-4877-89B3-88A735036408}"/>
                </a:ext>
              </a:extLst>
            </p:cNvPr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9" name="Google Shape;3326;p64">
              <a:extLst>
                <a:ext uri="{FF2B5EF4-FFF2-40B4-BE49-F238E27FC236}">
                  <a16:creationId xmlns:a16="http://schemas.microsoft.com/office/drawing/2014/main" id="{C0E95ED6-7E3B-2581-4A3E-95FF35D76B99}"/>
                </a:ext>
              </a:extLst>
            </p:cNvPr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0" name="Google Shape;3327;p64">
              <a:extLst>
                <a:ext uri="{FF2B5EF4-FFF2-40B4-BE49-F238E27FC236}">
                  <a16:creationId xmlns:a16="http://schemas.microsoft.com/office/drawing/2014/main" id="{B7AF3C2B-BEFB-E624-621C-BC64AAC82476}"/>
                </a:ext>
              </a:extLst>
            </p:cNvPr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1" name="Google Shape;3328;p64">
              <a:extLst>
                <a:ext uri="{FF2B5EF4-FFF2-40B4-BE49-F238E27FC236}">
                  <a16:creationId xmlns:a16="http://schemas.microsoft.com/office/drawing/2014/main" id="{877F95DE-4A3A-D90E-5023-D58ACD3C20B0}"/>
                </a:ext>
              </a:extLst>
            </p:cNvPr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2" name="Google Shape;3329;p64">
              <a:extLst>
                <a:ext uri="{FF2B5EF4-FFF2-40B4-BE49-F238E27FC236}">
                  <a16:creationId xmlns:a16="http://schemas.microsoft.com/office/drawing/2014/main" id="{B5C163EC-0B9E-4F51-15B3-E187F4BD8CEC}"/>
                </a:ext>
              </a:extLst>
            </p:cNvPr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3" name="Google Shape;3330;p64">
              <a:extLst>
                <a:ext uri="{FF2B5EF4-FFF2-40B4-BE49-F238E27FC236}">
                  <a16:creationId xmlns:a16="http://schemas.microsoft.com/office/drawing/2014/main" id="{F75F8C2E-2692-0687-30D0-60FF7790FE8F}"/>
                </a:ext>
              </a:extLst>
            </p:cNvPr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4" name="Google Shape;3331;p64">
              <a:extLst>
                <a:ext uri="{FF2B5EF4-FFF2-40B4-BE49-F238E27FC236}">
                  <a16:creationId xmlns:a16="http://schemas.microsoft.com/office/drawing/2014/main" id="{A285DDAD-DA60-273D-925C-3B710F92DD93}"/>
                </a:ext>
              </a:extLst>
            </p:cNvPr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5" name="Google Shape;3332;p64">
              <a:extLst>
                <a:ext uri="{FF2B5EF4-FFF2-40B4-BE49-F238E27FC236}">
                  <a16:creationId xmlns:a16="http://schemas.microsoft.com/office/drawing/2014/main" id="{60F94597-D4F5-F6CB-BC25-1D6C429666EE}"/>
                </a:ext>
              </a:extLst>
            </p:cNvPr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6" name="Google Shape;3333;p64">
              <a:extLst>
                <a:ext uri="{FF2B5EF4-FFF2-40B4-BE49-F238E27FC236}">
                  <a16:creationId xmlns:a16="http://schemas.microsoft.com/office/drawing/2014/main" id="{A0A6045C-76BD-3F7C-A5C6-A08D040EE2B4}"/>
                </a:ext>
              </a:extLst>
            </p:cNvPr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7" name="Google Shape;3334;p64">
              <a:extLst>
                <a:ext uri="{FF2B5EF4-FFF2-40B4-BE49-F238E27FC236}">
                  <a16:creationId xmlns:a16="http://schemas.microsoft.com/office/drawing/2014/main" id="{1D233BCD-3556-D377-C1C4-77A6146D6432}"/>
                </a:ext>
              </a:extLst>
            </p:cNvPr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8" name="Google Shape;3335;p64">
              <a:extLst>
                <a:ext uri="{FF2B5EF4-FFF2-40B4-BE49-F238E27FC236}">
                  <a16:creationId xmlns:a16="http://schemas.microsoft.com/office/drawing/2014/main" id="{91DDA5A8-8E8E-E429-279A-AC2BC231C093}"/>
                </a:ext>
              </a:extLst>
            </p:cNvPr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9" name="Google Shape;3336;p64">
              <a:extLst>
                <a:ext uri="{FF2B5EF4-FFF2-40B4-BE49-F238E27FC236}">
                  <a16:creationId xmlns:a16="http://schemas.microsoft.com/office/drawing/2014/main" id="{1484ADE4-E8B8-C7BE-C1C0-AA65CDE31549}"/>
                </a:ext>
              </a:extLst>
            </p:cNvPr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0" name="Google Shape;3337;p64">
              <a:extLst>
                <a:ext uri="{FF2B5EF4-FFF2-40B4-BE49-F238E27FC236}">
                  <a16:creationId xmlns:a16="http://schemas.microsoft.com/office/drawing/2014/main" id="{E260CD1B-BF54-981F-049B-70630D0061AE}"/>
                </a:ext>
              </a:extLst>
            </p:cNvPr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1" name="Google Shape;3338;p64">
              <a:extLst>
                <a:ext uri="{FF2B5EF4-FFF2-40B4-BE49-F238E27FC236}">
                  <a16:creationId xmlns:a16="http://schemas.microsoft.com/office/drawing/2014/main" id="{84C4767C-B6EF-0160-E98B-9F4EC8CDC0F2}"/>
                </a:ext>
              </a:extLst>
            </p:cNvPr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2" name="Google Shape;3339;p64">
              <a:extLst>
                <a:ext uri="{FF2B5EF4-FFF2-40B4-BE49-F238E27FC236}">
                  <a16:creationId xmlns:a16="http://schemas.microsoft.com/office/drawing/2014/main" id="{E52BF6CF-C569-9C6F-949F-7D5DB768FD91}"/>
                </a:ext>
              </a:extLst>
            </p:cNvPr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3" name="Google Shape;3340;p64">
              <a:extLst>
                <a:ext uri="{FF2B5EF4-FFF2-40B4-BE49-F238E27FC236}">
                  <a16:creationId xmlns:a16="http://schemas.microsoft.com/office/drawing/2014/main" id="{3C9C1FB4-DFF0-1794-07A7-42A0B9DD7A01}"/>
                </a:ext>
              </a:extLst>
            </p:cNvPr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4" name="Google Shape;3341;p64">
              <a:extLst>
                <a:ext uri="{FF2B5EF4-FFF2-40B4-BE49-F238E27FC236}">
                  <a16:creationId xmlns:a16="http://schemas.microsoft.com/office/drawing/2014/main" id="{1E396889-59E7-7FC9-4B0C-8384601143A6}"/>
                </a:ext>
              </a:extLst>
            </p:cNvPr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5" name="Google Shape;3342;p64">
              <a:extLst>
                <a:ext uri="{FF2B5EF4-FFF2-40B4-BE49-F238E27FC236}">
                  <a16:creationId xmlns:a16="http://schemas.microsoft.com/office/drawing/2014/main" id="{69BAA153-5A5B-CC1C-2734-1123AC5EC7DB}"/>
                </a:ext>
              </a:extLst>
            </p:cNvPr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6" name="Google Shape;3343;p64">
              <a:extLst>
                <a:ext uri="{FF2B5EF4-FFF2-40B4-BE49-F238E27FC236}">
                  <a16:creationId xmlns:a16="http://schemas.microsoft.com/office/drawing/2014/main" id="{4568A2B4-98A1-D2CF-762E-E273643ABCF4}"/>
                </a:ext>
              </a:extLst>
            </p:cNvPr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7" name="Google Shape;3344;p64">
              <a:extLst>
                <a:ext uri="{FF2B5EF4-FFF2-40B4-BE49-F238E27FC236}">
                  <a16:creationId xmlns:a16="http://schemas.microsoft.com/office/drawing/2014/main" id="{9245FD9E-40BB-08C3-5BFF-D277D3F216EE}"/>
                </a:ext>
              </a:extLst>
            </p:cNvPr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8" name="Google Shape;3345;p64">
              <a:extLst>
                <a:ext uri="{FF2B5EF4-FFF2-40B4-BE49-F238E27FC236}">
                  <a16:creationId xmlns:a16="http://schemas.microsoft.com/office/drawing/2014/main" id="{424CBD0B-4C20-D867-9291-82D4161702B0}"/>
                </a:ext>
              </a:extLst>
            </p:cNvPr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9" name="Google Shape;3346;p64">
              <a:extLst>
                <a:ext uri="{FF2B5EF4-FFF2-40B4-BE49-F238E27FC236}">
                  <a16:creationId xmlns:a16="http://schemas.microsoft.com/office/drawing/2014/main" id="{E7A7EA5F-FE9D-0C27-BC51-5767950B7BD1}"/>
                </a:ext>
              </a:extLst>
            </p:cNvPr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0" name="Google Shape;3347;p64">
              <a:extLst>
                <a:ext uri="{FF2B5EF4-FFF2-40B4-BE49-F238E27FC236}">
                  <a16:creationId xmlns:a16="http://schemas.microsoft.com/office/drawing/2014/main" id="{C0137548-7BC6-C75A-1906-D780C9C3898E}"/>
                </a:ext>
              </a:extLst>
            </p:cNvPr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1" name="Google Shape;3348;p64">
              <a:extLst>
                <a:ext uri="{FF2B5EF4-FFF2-40B4-BE49-F238E27FC236}">
                  <a16:creationId xmlns:a16="http://schemas.microsoft.com/office/drawing/2014/main" id="{16D752F7-4894-3A4B-A389-D115FA392890}"/>
                </a:ext>
              </a:extLst>
            </p:cNvPr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2" name="Google Shape;3349;p64">
              <a:extLst>
                <a:ext uri="{FF2B5EF4-FFF2-40B4-BE49-F238E27FC236}">
                  <a16:creationId xmlns:a16="http://schemas.microsoft.com/office/drawing/2014/main" id="{55E79F16-5FA8-D6B1-7FAB-880BB1CF1338}"/>
                </a:ext>
              </a:extLst>
            </p:cNvPr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3" name="Google Shape;3350;p64">
              <a:extLst>
                <a:ext uri="{FF2B5EF4-FFF2-40B4-BE49-F238E27FC236}">
                  <a16:creationId xmlns:a16="http://schemas.microsoft.com/office/drawing/2014/main" id="{270155F6-1E1D-1CD9-F128-0E9F8041BB1B}"/>
                </a:ext>
              </a:extLst>
            </p:cNvPr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4" name="Google Shape;3351;p64">
              <a:extLst>
                <a:ext uri="{FF2B5EF4-FFF2-40B4-BE49-F238E27FC236}">
                  <a16:creationId xmlns:a16="http://schemas.microsoft.com/office/drawing/2014/main" id="{33D39A39-E2BA-945A-F2AD-E727161B8A32}"/>
                </a:ext>
              </a:extLst>
            </p:cNvPr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5" name="Google Shape;3352;p64">
              <a:extLst>
                <a:ext uri="{FF2B5EF4-FFF2-40B4-BE49-F238E27FC236}">
                  <a16:creationId xmlns:a16="http://schemas.microsoft.com/office/drawing/2014/main" id="{83DFF5EC-0F4C-0D49-44C4-951E62F523B8}"/>
                </a:ext>
              </a:extLst>
            </p:cNvPr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6" name="Google Shape;3353;p64">
              <a:extLst>
                <a:ext uri="{FF2B5EF4-FFF2-40B4-BE49-F238E27FC236}">
                  <a16:creationId xmlns:a16="http://schemas.microsoft.com/office/drawing/2014/main" id="{65C337FC-4991-2491-6B57-6ABD4DC94FE0}"/>
                </a:ext>
              </a:extLst>
            </p:cNvPr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7" name="Google Shape;3354;p64">
              <a:extLst>
                <a:ext uri="{FF2B5EF4-FFF2-40B4-BE49-F238E27FC236}">
                  <a16:creationId xmlns:a16="http://schemas.microsoft.com/office/drawing/2014/main" id="{2FA05C1E-8756-DE90-16D6-AF20DC08F8CB}"/>
                </a:ext>
              </a:extLst>
            </p:cNvPr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8" name="Google Shape;3355;p64">
              <a:extLst>
                <a:ext uri="{FF2B5EF4-FFF2-40B4-BE49-F238E27FC236}">
                  <a16:creationId xmlns:a16="http://schemas.microsoft.com/office/drawing/2014/main" id="{252454A9-6DDD-5FF5-8992-E3B21882EC17}"/>
                </a:ext>
              </a:extLst>
            </p:cNvPr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9" name="Google Shape;3356;p64">
              <a:extLst>
                <a:ext uri="{FF2B5EF4-FFF2-40B4-BE49-F238E27FC236}">
                  <a16:creationId xmlns:a16="http://schemas.microsoft.com/office/drawing/2014/main" id="{B80AA813-7AC5-F8C7-B5D0-17B6AE1BE11E}"/>
                </a:ext>
              </a:extLst>
            </p:cNvPr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0" name="Google Shape;3357;p64">
              <a:extLst>
                <a:ext uri="{FF2B5EF4-FFF2-40B4-BE49-F238E27FC236}">
                  <a16:creationId xmlns:a16="http://schemas.microsoft.com/office/drawing/2014/main" id="{1206EFFB-3934-4588-9FAB-81328AD345F7}"/>
                </a:ext>
              </a:extLst>
            </p:cNvPr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1" name="Google Shape;3358;p64">
              <a:extLst>
                <a:ext uri="{FF2B5EF4-FFF2-40B4-BE49-F238E27FC236}">
                  <a16:creationId xmlns:a16="http://schemas.microsoft.com/office/drawing/2014/main" id="{E1405238-F582-5667-3BD9-63CE89B2EB12}"/>
                </a:ext>
              </a:extLst>
            </p:cNvPr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2" name="Google Shape;3359;p64">
              <a:extLst>
                <a:ext uri="{FF2B5EF4-FFF2-40B4-BE49-F238E27FC236}">
                  <a16:creationId xmlns:a16="http://schemas.microsoft.com/office/drawing/2014/main" id="{D97DF0A3-90D4-FCFB-E2CE-EA328EC0BE70}"/>
                </a:ext>
              </a:extLst>
            </p:cNvPr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3" name="Google Shape;3360;p64">
              <a:extLst>
                <a:ext uri="{FF2B5EF4-FFF2-40B4-BE49-F238E27FC236}">
                  <a16:creationId xmlns:a16="http://schemas.microsoft.com/office/drawing/2014/main" id="{5E3D3BE1-01B8-320B-97F1-CAE84A50FC02}"/>
                </a:ext>
              </a:extLst>
            </p:cNvPr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4" name="Google Shape;3361;p64">
              <a:extLst>
                <a:ext uri="{FF2B5EF4-FFF2-40B4-BE49-F238E27FC236}">
                  <a16:creationId xmlns:a16="http://schemas.microsoft.com/office/drawing/2014/main" id="{9D606C30-FD10-E6D2-7D84-933ACBB03A88}"/>
                </a:ext>
              </a:extLst>
            </p:cNvPr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5" name="Google Shape;3362;p64">
              <a:extLst>
                <a:ext uri="{FF2B5EF4-FFF2-40B4-BE49-F238E27FC236}">
                  <a16:creationId xmlns:a16="http://schemas.microsoft.com/office/drawing/2014/main" id="{08D94542-7315-885E-4E3F-3812C36701CB}"/>
                </a:ext>
              </a:extLst>
            </p:cNvPr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6" name="Google Shape;3363;p64">
              <a:extLst>
                <a:ext uri="{FF2B5EF4-FFF2-40B4-BE49-F238E27FC236}">
                  <a16:creationId xmlns:a16="http://schemas.microsoft.com/office/drawing/2014/main" id="{5211ACDF-F3E6-443F-1F39-2B587610594F}"/>
                </a:ext>
              </a:extLst>
            </p:cNvPr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7" name="Google Shape;3364;p64">
              <a:extLst>
                <a:ext uri="{FF2B5EF4-FFF2-40B4-BE49-F238E27FC236}">
                  <a16:creationId xmlns:a16="http://schemas.microsoft.com/office/drawing/2014/main" id="{3E966F3B-20C9-BF32-9B9A-9C2518DAFE93}"/>
                </a:ext>
              </a:extLst>
            </p:cNvPr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8" name="Google Shape;3365;p64">
              <a:extLst>
                <a:ext uri="{FF2B5EF4-FFF2-40B4-BE49-F238E27FC236}">
                  <a16:creationId xmlns:a16="http://schemas.microsoft.com/office/drawing/2014/main" id="{48E08B77-724E-7080-3CA0-21B412E8BF19}"/>
                </a:ext>
              </a:extLst>
            </p:cNvPr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9" name="Google Shape;3366;p64">
              <a:extLst>
                <a:ext uri="{FF2B5EF4-FFF2-40B4-BE49-F238E27FC236}">
                  <a16:creationId xmlns:a16="http://schemas.microsoft.com/office/drawing/2014/main" id="{F62FD4AD-5F74-45FD-2D54-38B4579F6C53}"/>
                </a:ext>
              </a:extLst>
            </p:cNvPr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0" name="Google Shape;3367;p64">
              <a:extLst>
                <a:ext uri="{FF2B5EF4-FFF2-40B4-BE49-F238E27FC236}">
                  <a16:creationId xmlns:a16="http://schemas.microsoft.com/office/drawing/2014/main" id="{739DDD8B-C393-BD33-D16C-36FEB7DFEA38}"/>
                </a:ext>
              </a:extLst>
            </p:cNvPr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1" name="Google Shape;3368;p64">
              <a:extLst>
                <a:ext uri="{FF2B5EF4-FFF2-40B4-BE49-F238E27FC236}">
                  <a16:creationId xmlns:a16="http://schemas.microsoft.com/office/drawing/2014/main" id="{70F672FC-953C-B5B2-E04A-1E4637F4E51E}"/>
                </a:ext>
              </a:extLst>
            </p:cNvPr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2" name="Google Shape;3369;p64">
              <a:extLst>
                <a:ext uri="{FF2B5EF4-FFF2-40B4-BE49-F238E27FC236}">
                  <a16:creationId xmlns:a16="http://schemas.microsoft.com/office/drawing/2014/main" id="{49314106-E1D5-A9CA-3975-6BE82A4C7261}"/>
                </a:ext>
              </a:extLst>
            </p:cNvPr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3" name="Google Shape;3370;p64">
              <a:extLst>
                <a:ext uri="{FF2B5EF4-FFF2-40B4-BE49-F238E27FC236}">
                  <a16:creationId xmlns:a16="http://schemas.microsoft.com/office/drawing/2014/main" id="{1297C77A-4662-49E9-49F8-A1B3E73B8E87}"/>
                </a:ext>
              </a:extLst>
            </p:cNvPr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4" name="Google Shape;3371;p64">
              <a:extLst>
                <a:ext uri="{FF2B5EF4-FFF2-40B4-BE49-F238E27FC236}">
                  <a16:creationId xmlns:a16="http://schemas.microsoft.com/office/drawing/2014/main" id="{54DFCF8D-5EB9-5DC8-AD72-47E929C7275F}"/>
                </a:ext>
              </a:extLst>
            </p:cNvPr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5" name="Google Shape;3372;p64">
              <a:extLst>
                <a:ext uri="{FF2B5EF4-FFF2-40B4-BE49-F238E27FC236}">
                  <a16:creationId xmlns:a16="http://schemas.microsoft.com/office/drawing/2014/main" id="{608E8C0E-3372-9C99-3D5B-127E699C4FA8}"/>
                </a:ext>
              </a:extLst>
            </p:cNvPr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6" name="Google Shape;3373;p64">
              <a:extLst>
                <a:ext uri="{FF2B5EF4-FFF2-40B4-BE49-F238E27FC236}">
                  <a16:creationId xmlns:a16="http://schemas.microsoft.com/office/drawing/2014/main" id="{EB461B7A-994B-1560-39A0-D9B31F3146E8}"/>
                </a:ext>
              </a:extLst>
            </p:cNvPr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7" name="Google Shape;3374;p64">
              <a:extLst>
                <a:ext uri="{FF2B5EF4-FFF2-40B4-BE49-F238E27FC236}">
                  <a16:creationId xmlns:a16="http://schemas.microsoft.com/office/drawing/2014/main" id="{B980AF2C-7AB0-5E12-23D9-B7EABE89A7EE}"/>
                </a:ext>
              </a:extLst>
            </p:cNvPr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8" name="Google Shape;3375;p64">
              <a:extLst>
                <a:ext uri="{FF2B5EF4-FFF2-40B4-BE49-F238E27FC236}">
                  <a16:creationId xmlns:a16="http://schemas.microsoft.com/office/drawing/2014/main" id="{89D17E00-22F7-A16D-3FAD-B4B7E65B43FE}"/>
                </a:ext>
              </a:extLst>
            </p:cNvPr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9" name="Google Shape;3376;p64">
              <a:extLst>
                <a:ext uri="{FF2B5EF4-FFF2-40B4-BE49-F238E27FC236}">
                  <a16:creationId xmlns:a16="http://schemas.microsoft.com/office/drawing/2014/main" id="{E2DF69A0-CE8C-6DC6-53A8-9B3CA659785E}"/>
                </a:ext>
              </a:extLst>
            </p:cNvPr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0" name="Google Shape;3377;p64">
              <a:extLst>
                <a:ext uri="{FF2B5EF4-FFF2-40B4-BE49-F238E27FC236}">
                  <a16:creationId xmlns:a16="http://schemas.microsoft.com/office/drawing/2014/main" id="{FC262401-B3E0-1D85-BD07-3964CC4EFE51}"/>
                </a:ext>
              </a:extLst>
            </p:cNvPr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1" name="Google Shape;3378;p64">
              <a:extLst>
                <a:ext uri="{FF2B5EF4-FFF2-40B4-BE49-F238E27FC236}">
                  <a16:creationId xmlns:a16="http://schemas.microsoft.com/office/drawing/2014/main" id="{19545CB6-2620-0370-1633-99C76C9892BE}"/>
                </a:ext>
              </a:extLst>
            </p:cNvPr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2" name="Google Shape;3379;p64">
              <a:extLst>
                <a:ext uri="{FF2B5EF4-FFF2-40B4-BE49-F238E27FC236}">
                  <a16:creationId xmlns:a16="http://schemas.microsoft.com/office/drawing/2014/main" id="{95069851-E4E2-EB46-976F-5422386A140F}"/>
                </a:ext>
              </a:extLst>
            </p:cNvPr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3" name="Google Shape;3380;p64">
              <a:extLst>
                <a:ext uri="{FF2B5EF4-FFF2-40B4-BE49-F238E27FC236}">
                  <a16:creationId xmlns:a16="http://schemas.microsoft.com/office/drawing/2014/main" id="{52F145F1-E933-B855-0DC4-4BA4156CC178}"/>
                </a:ext>
              </a:extLst>
            </p:cNvPr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4" name="Google Shape;3381;p64">
              <a:extLst>
                <a:ext uri="{FF2B5EF4-FFF2-40B4-BE49-F238E27FC236}">
                  <a16:creationId xmlns:a16="http://schemas.microsoft.com/office/drawing/2014/main" id="{5905B3EF-504F-2A13-94FD-41070FB342F8}"/>
                </a:ext>
              </a:extLst>
            </p:cNvPr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5" name="Google Shape;3382;p64">
              <a:extLst>
                <a:ext uri="{FF2B5EF4-FFF2-40B4-BE49-F238E27FC236}">
                  <a16:creationId xmlns:a16="http://schemas.microsoft.com/office/drawing/2014/main" id="{A6BC11D4-52A4-2986-9A36-518A80337387}"/>
                </a:ext>
              </a:extLst>
            </p:cNvPr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6" name="Google Shape;3383;p64">
              <a:extLst>
                <a:ext uri="{FF2B5EF4-FFF2-40B4-BE49-F238E27FC236}">
                  <a16:creationId xmlns:a16="http://schemas.microsoft.com/office/drawing/2014/main" id="{1D41A05C-73B7-1ADD-7100-3247906811A3}"/>
                </a:ext>
              </a:extLst>
            </p:cNvPr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7" name="Google Shape;3384;p64">
              <a:extLst>
                <a:ext uri="{FF2B5EF4-FFF2-40B4-BE49-F238E27FC236}">
                  <a16:creationId xmlns:a16="http://schemas.microsoft.com/office/drawing/2014/main" id="{78C4DCBB-2DC3-F668-F67F-BAE8DB37A8F6}"/>
                </a:ext>
              </a:extLst>
            </p:cNvPr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8" name="Google Shape;3385;p64">
              <a:extLst>
                <a:ext uri="{FF2B5EF4-FFF2-40B4-BE49-F238E27FC236}">
                  <a16:creationId xmlns:a16="http://schemas.microsoft.com/office/drawing/2014/main" id="{B74587A9-D85E-D886-37B3-86EDB321E37B}"/>
                </a:ext>
              </a:extLst>
            </p:cNvPr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9" name="Google Shape;3386;p64">
              <a:extLst>
                <a:ext uri="{FF2B5EF4-FFF2-40B4-BE49-F238E27FC236}">
                  <a16:creationId xmlns:a16="http://schemas.microsoft.com/office/drawing/2014/main" id="{A5670721-80B6-2571-1A8B-F0152B985CF2}"/>
                </a:ext>
              </a:extLst>
            </p:cNvPr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0" name="Google Shape;3387;p64">
              <a:extLst>
                <a:ext uri="{FF2B5EF4-FFF2-40B4-BE49-F238E27FC236}">
                  <a16:creationId xmlns:a16="http://schemas.microsoft.com/office/drawing/2014/main" id="{A27DCC72-E176-8F08-289D-6273369AFA18}"/>
                </a:ext>
              </a:extLst>
            </p:cNvPr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1" name="Google Shape;3388;p64">
              <a:extLst>
                <a:ext uri="{FF2B5EF4-FFF2-40B4-BE49-F238E27FC236}">
                  <a16:creationId xmlns:a16="http://schemas.microsoft.com/office/drawing/2014/main" id="{66157B04-0D6F-5B98-6B91-D1CD500C5613}"/>
                </a:ext>
              </a:extLst>
            </p:cNvPr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2" name="Google Shape;3389;p64">
              <a:extLst>
                <a:ext uri="{FF2B5EF4-FFF2-40B4-BE49-F238E27FC236}">
                  <a16:creationId xmlns:a16="http://schemas.microsoft.com/office/drawing/2014/main" id="{450F049C-6693-A6C4-DF45-A0F645730E41}"/>
                </a:ext>
              </a:extLst>
            </p:cNvPr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3" name="Google Shape;3390;p64">
              <a:extLst>
                <a:ext uri="{FF2B5EF4-FFF2-40B4-BE49-F238E27FC236}">
                  <a16:creationId xmlns:a16="http://schemas.microsoft.com/office/drawing/2014/main" id="{F6A200A5-154C-7596-0F32-0A3EF639AD13}"/>
                </a:ext>
              </a:extLst>
            </p:cNvPr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4" name="Google Shape;3391;p64">
              <a:extLst>
                <a:ext uri="{FF2B5EF4-FFF2-40B4-BE49-F238E27FC236}">
                  <a16:creationId xmlns:a16="http://schemas.microsoft.com/office/drawing/2014/main" id="{A2FB9818-8C0D-A28E-77FD-53DF76CD1A3C}"/>
                </a:ext>
              </a:extLst>
            </p:cNvPr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5" name="Google Shape;3392;p64">
              <a:extLst>
                <a:ext uri="{FF2B5EF4-FFF2-40B4-BE49-F238E27FC236}">
                  <a16:creationId xmlns:a16="http://schemas.microsoft.com/office/drawing/2014/main" id="{2044C945-E469-BF62-E1B4-FC7B2E23F0D4}"/>
                </a:ext>
              </a:extLst>
            </p:cNvPr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6" name="Google Shape;3393;p64">
              <a:extLst>
                <a:ext uri="{FF2B5EF4-FFF2-40B4-BE49-F238E27FC236}">
                  <a16:creationId xmlns:a16="http://schemas.microsoft.com/office/drawing/2014/main" id="{A96E5BC2-F245-033F-F074-7D92CC4E678F}"/>
                </a:ext>
              </a:extLst>
            </p:cNvPr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7" name="Google Shape;3394;p64">
              <a:extLst>
                <a:ext uri="{FF2B5EF4-FFF2-40B4-BE49-F238E27FC236}">
                  <a16:creationId xmlns:a16="http://schemas.microsoft.com/office/drawing/2014/main" id="{F58707F4-DFFD-82F1-2EA1-E6A7764199CF}"/>
                </a:ext>
              </a:extLst>
            </p:cNvPr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8" name="Google Shape;3395;p64">
              <a:extLst>
                <a:ext uri="{FF2B5EF4-FFF2-40B4-BE49-F238E27FC236}">
                  <a16:creationId xmlns:a16="http://schemas.microsoft.com/office/drawing/2014/main" id="{46ED2267-A586-03ED-D943-0019A9C52ADA}"/>
                </a:ext>
              </a:extLst>
            </p:cNvPr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9" name="Google Shape;3396;p64">
              <a:extLst>
                <a:ext uri="{FF2B5EF4-FFF2-40B4-BE49-F238E27FC236}">
                  <a16:creationId xmlns:a16="http://schemas.microsoft.com/office/drawing/2014/main" id="{24883F56-4120-0DA4-89C2-EA2B839E2E97}"/>
                </a:ext>
              </a:extLst>
            </p:cNvPr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0" name="Google Shape;3397;p64">
              <a:extLst>
                <a:ext uri="{FF2B5EF4-FFF2-40B4-BE49-F238E27FC236}">
                  <a16:creationId xmlns:a16="http://schemas.microsoft.com/office/drawing/2014/main" id="{65AA048F-20B4-D4A6-8313-33962C5DEBC8}"/>
                </a:ext>
              </a:extLst>
            </p:cNvPr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1" name="Google Shape;3398;p64">
              <a:extLst>
                <a:ext uri="{FF2B5EF4-FFF2-40B4-BE49-F238E27FC236}">
                  <a16:creationId xmlns:a16="http://schemas.microsoft.com/office/drawing/2014/main" id="{00DDE69D-B81C-1FD3-4EC0-6E5F56941C8B}"/>
                </a:ext>
              </a:extLst>
            </p:cNvPr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2" name="Google Shape;3399;p64">
              <a:extLst>
                <a:ext uri="{FF2B5EF4-FFF2-40B4-BE49-F238E27FC236}">
                  <a16:creationId xmlns:a16="http://schemas.microsoft.com/office/drawing/2014/main" id="{6425F229-03D6-A393-AF88-C6966213A634}"/>
                </a:ext>
              </a:extLst>
            </p:cNvPr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3" name="Google Shape;3400;p64">
              <a:extLst>
                <a:ext uri="{FF2B5EF4-FFF2-40B4-BE49-F238E27FC236}">
                  <a16:creationId xmlns:a16="http://schemas.microsoft.com/office/drawing/2014/main" id="{8567AAE3-B7CE-BAF1-BDDA-CD628DE0E300}"/>
                </a:ext>
              </a:extLst>
            </p:cNvPr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4" name="Google Shape;3401;p64">
              <a:extLst>
                <a:ext uri="{FF2B5EF4-FFF2-40B4-BE49-F238E27FC236}">
                  <a16:creationId xmlns:a16="http://schemas.microsoft.com/office/drawing/2014/main" id="{19D0973E-4C39-365F-DB3B-DBC40C904C44}"/>
                </a:ext>
              </a:extLst>
            </p:cNvPr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5" name="Google Shape;3402;p64">
              <a:extLst>
                <a:ext uri="{FF2B5EF4-FFF2-40B4-BE49-F238E27FC236}">
                  <a16:creationId xmlns:a16="http://schemas.microsoft.com/office/drawing/2014/main" id="{78E0CF0D-77A3-EB25-768B-2BF8012321F8}"/>
                </a:ext>
              </a:extLst>
            </p:cNvPr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6" name="Google Shape;3403;p64">
              <a:extLst>
                <a:ext uri="{FF2B5EF4-FFF2-40B4-BE49-F238E27FC236}">
                  <a16:creationId xmlns:a16="http://schemas.microsoft.com/office/drawing/2014/main" id="{3E7E291C-A4C7-37FB-A5B4-C4632346D7AF}"/>
                </a:ext>
              </a:extLst>
            </p:cNvPr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7" name="Google Shape;3404;p64">
              <a:extLst>
                <a:ext uri="{FF2B5EF4-FFF2-40B4-BE49-F238E27FC236}">
                  <a16:creationId xmlns:a16="http://schemas.microsoft.com/office/drawing/2014/main" id="{851A9450-00E9-65F4-497B-385911868063}"/>
                </a:ext>
              </a:extLst>
            </p:cNvPr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8" name="Google Shape;3405;p64">
              <a:extLst>
                <a:ext uri="{FF2B5EF4-FFF2-40B4-BE49-F238E27FC236}">
                  <a16:creationId xmlns:a16="http://schemas.microsoft.com/office/drawing/2014/main" id="{379713E0-EC0E-57B7-DC74-BCAC946EB463}"/>
                </a:ext>
              </a:extLst>
            </p:cNvPr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9" name="Google Shape;3406;p64">
              <a:extLst>
                <a:ext uri="{FF2B5EF4-FFF2-40B4-BE49-F238E27FC236}">
                  <a16:creationId xmlns:a16="http://schemas.microsoft.com/office/drawing/2014/main" id="{0122EEDD-0702-C28E-03D3-D7426DE6D0C1}"/>
                </a:ext>
              </a:extLst>
            </p:cNvPr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0" name="Google Shape;3407;p64">
              <a:extLst>
                <a:ext uri="{FF2B5EF4-FFF2-40B4-BE49-F238E27FC236}">
                  <a16:creationId xmlns:a16="http://schemas.microsoft.com/office/drawing/2014/main" id="{E55A525D-A66F-C5D3-D0A3-22E30EBC114A}"/>
                </a:ext>
              </a:extLst>
            </p:cNvPr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1" name="Google Shape;3408;p64">
              <a:extLst>
                <a:ext uri="{FF2B5EF4-FFF2-40B4-BE49-F238E27FC236}">
                  <a16:creationId xmlns:a16="http://schemas.microsoft.com/office/drawing/2014/main" id="{95584643-2235-1006-030A-0477655D9631}"/>
                </a:ext>
              </a:extLst>
            </p:cNvPr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2" name="Google Shape;3409;p64">
              <a:extLst>
                <a:ext uri="{FF2B5EF4-FFF2-40B4-BE49-F238E27FC236}">
                  <a16:creationId xmlns:a16="http://schemas.microsoft.com/office/drawing/2014/main" id="{A6DF8E5F-2EC5-9C90-E38D-D4BF530169FB}"/>
                </a:ext>
              </a:extLst>
            </p:cNvPr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3" name="Google Shape;3410;p64">
              <a:extLst>
                <a:ext uri="{FF2B5EF4-FFF2-40B4-BE49-F238E27FC236}">
                  <a16:creationId xmlns:a16="http://schemas.microsoft.com/office/drawing/2014/main" id="{73330D22-F137-FC57-209C-00DB7761E37B}"/>
                </a:ext>
              </a:extLst>
            </p:cNvPr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4" name="Google Shape;3411;p64">
              <a:extLst>
                <a:ext uri="{FF2B5EF4-FFF2-40B4-BE49-F238E27FC236}">
                  <a16:creationId xmlns:a16="http://schemas.microsoft.com/office/drawing/2014/main" id="{4936FCED-F300-2DCF-76A3-5A4002414A19}"/>
                </a:ext>
              </a:extLst>
            </p:cNvPr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5" name="Google Shape;3412;p64">
              <a:extLst>
                <a:ext uri="{FF2B5EF4-FFF2-40B4-BE49-F238E27FC236}">
                  <a16:creationId xmlns:a16="http://schemas.microsoft.com/office/drawing/2014/main" id="{99FA051F-CD91-F70F-9C73-128C9132AB1F}"/>
                </a:ext>
              </a:extLst>
            </p:cNvPr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6" name="Google Shape;3413;p64">
              <a:extLst>
                <a:ext uri="{FF2B5EF4-FFF2-40B4-BE49-F238E27FC236}">
                  <a16:creationId xmlns:a16="http://schemas.microsoft.com/office/drawing/2014/main" id="{8415743A-18D7-D194-243C-2E27D06A41F5}"/>
                </a:ext>
              </a:extLst>
            </p:cNvPr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7" name="Google Shape;3414;p64">
              <a:extLst>
                <a:ext uri="{FF2B5EF4-FFF2-40B4-BE49-F238E27FC236}">
                  <a16:creationId xmlns:a16="http://schemas.microsoft.com/office/drawing/2014/main" id="{591411AE-FD06-52EF-AA25-6042E5E9334A}"/>
                </a:ext>
              </a:extLst>
            </p:cNvPr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8" name="Google Shape;3415;p64">
              <a:extLst>
                <a:ext uri="{FF2B5EF4-FFF2-40B4-BE49-F238E27FC236}">
                  <a16:creationId xmlns:a16="http://schemas.microsoft.com/office/drawing/2014/main" id="{DE6E203A-D03F-58C9-5427-C63356EE3226}"/>
                </a:ext>
              </a:extLst>
            </p:cNvPr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9" name="Google Shape;3416;p64">
              <a:extLst>
                <a:ext uri="{FF2B5EF4-FFF2-40B4-BE49-F238E27FC236}">
                  <a16:creationId xmlns:a16="http://schemas.microsoft.com/office/drawing/2014/main" id="{78B8FD40-1ABA-C40C-155E-5D717235EBE8}"/>
                </a:ext>
              </a:extLst>
            </p:cNvPr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0" name="Google Shape;3417;p64">
              <a:extLst>
                <a:ext uri="{FF2B5EF4-FFF2-40B4-BE49-F238E27FC236}">
                  <a16:creationId xmlns:a16="http://schemas.microsoft.com/office/drawing/2014/main" id="{62C80344-4920-BBD2-03B7-4DE4257B511E}"/>
                </a:ext>
              </a:extLst>
            </p:cNvPr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1" name="Google Shape;3418;p64">
              <a:extLst>
                <a:ext uri="{FF2B5EF4-FFF2-40B4-BE49-F238E27FC236}">
                  <a16:creationId xmlns:a16="http://schemas.microsoft.com/office/drawing/2014/main" id="{B7543437-DFCB-8DBB-3BE1-837597948815}"/>
                </a:ext>
              </a:extLst>
            </p:cNvPr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2" name="Google Shape;3419;p64">
              <a:extLst>
                <a:ext uri="{FF2B5EF4-FFF2-40B4-BE49-F238E27FC236}">
                  <a16:creationId xmlns:a16="http://schemas.microsoft.com/office/drawing/2014/main" id="{A6655917-F8DD-1D23-F9FD-9591927A5C71}"/>
                </a:ext>
              </a:extLst>
            </p:cNvPr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3" name="Google Shape;3420;p64">
              <a:extLst>
                <a:ext uri="{FF2B5EF4-FFF2-40B4-BE49-F238E27FC236}">
                  <a16:creationId xmlns:a16="http://schemas.microsoft.com/office/drawing/2014/main" id="{7A7DE043-7EA0-E4CD-B986-9B0BF3402AFB}"/>
                </a:ext>
              </a:extLst>
            </p:cNvPr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4" name="Google Shape;3421;p64">
              <a:extLst>
                <a:ext uri="{FF2B5EF4-FFF2-40B4-BE49-F238E27FC236}">
                  <a16:creationId xmlns:a16="http://schemas.microsoft.com/office/drawing/2014/main" id="{6BA027A5-3845-CA4F-61BE-70E71409F5E8}"/>
                </a:ext>
              </a:extLst>
            </p:cNvPr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5" name="Google Shape;3422;p64">
              <a:extLst>
                <a:ext uri="{FF2B5EF4-FFF2-40B4-BE49-F238E27FC236}">
                  <a16:creationId xmlns:a16="http://schemas.microsoft.com/office/drawing/2014/main" id="{6A9A5BA6-6914-DD09-AD67-B9FE69F47EB7}"/>
                </a:ext>
              </a:extLst>
            </p:cNvPr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6" name="Google Shape;3423;p64">
              <a:extLst>
                <a:ext uri="{FF2B5EF4-FFF2-40B4-BE49-F238E27FC236}">
                  <a16:creationId xmlns:a16="http://schemas.microsoft.com/office/drawing/2014/main" id="{CB5509AD-9747-3E9F-2C02-62AF90538E83}"/>
                </a:ext>
              </a:extLst>
            </p:cNvPr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7" name="Google Shape;3424;p64">
              <a:extLst>
                <a:ext uri="{FF2B5EF4-FFF2-40B4-BE49-F238E27FC236}">
                  <a16:creationId xmlns:a16="http://schemas.microsoft.com/office/drawing/2014/main" id="{48C10783-4F75-2553-EFB9-E089170E7310}"/>
                </a:ext>
              </a:extLst>
            </p:cNvPr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8" name="Google Shape;3425;p64">
              <a:extLst>
                <a:ext uri="{FF2B5EF4-FFF2-40B4-BE49-F238E27FC236}">
                  <a16:creationId xmlns:a16="http://schemas.microsoft.com/office/drawing/2014/main" id="{97811DA0-564F-14A8-D73C-426692682F8E}"/>
                </a:ext>
              </a:extLst>
            </p:cNvPr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9" name="Google Shape;3426;p64">
              <a:extLst>
                <a:ext uri="{FF2B5EF4-FFF2-40B4-BE49-F238E27FC236}">
                  <a16:creationId xmlns:a16="http://schemas.microsoft.com/office/drawing/2014/main" id="{CFB2F2A4-5FD1-A883-3672-54D0924604F9}"/>
                </a:ext>
              </a:extLst>
            </p:cNvPr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0" name="Google Shape;3427;p64">
              <a:extLst>
                <a:ext uri="{FF2B5EF4-FFF2-40B4-BE49-F238E27FC236}">
                  <a16:creationId xmlns:a16="http://schemas.microsoft.com/office/drawing/2014/main" id="{8314A3E2-2637-7B1C-CD95-8BEF5BC7A1F9}"/>
                </a:ext>
              </a:extLst>
            </p:cNvPr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1" name="Google Shape;3428;p64">
              <a:extLst>
                <a:ext uri="{FF2B5EF4-FFF2-40B4-BE49-F238E27FC236}">
                  <a16:creationId xmlns:a16="http://schemas.microsoft.com/office/drawing/2014/main" id="{C60C50C0-FBB1-D989-3CAB-4A5473626777}"/>
                </a:ext>
              </a:extLst>
            </p:cNvPr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2" name="Google Shape;3429;p64">
              <a:extLst>
                <a:ext uri="{FF2B5EF4-FFF2-40B4-BE49-F238E27FC236}">
                  <a16:creationId xmlns:a16="http://schemas.microsoft.com/office/drawing/2014/main" id="{12F7FDCA-EBD1-F3A5-5A95-F5A4640B926D}"/>
                </a:ext>
              </a:extLst>
            </p:cNvPr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3" name="Google Shape;3430;p64">
              <a:extLst>
                <a:ext uri="{FF2B5EF4-FFF2-40B4-BE49-F238E27FC236}">
                  <a16:creationId xmlns:a16="http://schemas.microsoft.com/office/drawing/2014/main" id="{39E07FAA-7B5C-C80B-0915-F656E305D19A}"/>
                </a:ext>
              </a:extLst>
            </p:cNvPr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4" name="Google Shape;3431;p64">
              <a:extLst>
                <a:ext uri="{FF2B5EF4-FFF2-40B4-BE49-F238E27FC236}">
                  <a16:creationId xmlns:a16="http://schemas.microsoft.com/office/drawing/2014/main" id="{ACBDC405-607B-8C4C-8104-C2A078D1684C}"/>
                </a:ext>
              </a:extLst>
            </p:cNvPr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5" name="Google Shape;3432;p64">
              <a:extLst>
                <a:ext uri="{FF2B5EF4-FFF2-40B4-BE49-F238E27FC236}">
                  <a16:creationId xmlns:a16="http://schemas.microsoft.com/office/drawing/2014/main" id="{FF781554-2BD3-DC73-5FAB-66E15083BB3C}"/>
                </a:ext>
              </a:extLst>
            </p:cNvPr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6" name="Google Shape;3433;p64">
              <a:extLst>
                <a:ext uri="{FF2B5EF4-FFF2-40B4-BE49-F238E27FC236}">
                  <a16:creationId xmlns:a16="http://schemas.microsoft.com/office/drawing/2014/main" id="{9F2E2EF4-FEE9-E794-A0AA-F0E6713FC109}"/>
                </a:ext>
              </a:extLst>
            </p:cNvPr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7" name="Google Shape;3434;p64">
              <a:extLst>
                <a:ext uri="{FF2B5EF4-FFF2-40B4-BE49-F238E27FC236}">
                  <a16:creationId xmlns:a16="http://schemas.microsoft.com/office/drawing/2014/main" id="{8B5A9EC8-7359-5B7E-611A-09FB3616E1A6}"/>
                </a:ext>
              </a:extLst>
            </p:cNvPr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8" name="Google Shape;3435;p64">
              <a:extLst>
                <a:ext uri="{FF2B5EF4-FFF2-40B4-BE49-F238E27FC236}">
                  <a16:creationId xmlns:a16="http://schemas.microsoft.com/office/drawing/2014/main" id="{9436AD1F-A138-5E76-DA94-5B40F3815D2D}"/>
                </a:ext>
              </a:extLst>
            </p:cNvPr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9" name="Google Shape;3436;p64">
              <a:extLst>
                <a:ext uri="{FF2B5EF4-FFF2-40B4-BE49-F238E27FC236}">
                  <a16:creationId xmlns:a16="http://schemas.microsoft.com/office/drawing/2014/main" id="{1EC4D7A4-7BD6-BA1C-6593-94672CEB31F4}"/>
                </a:ext>
              </a:extLst>
            </p:cNvPr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0" name="Google Shape;3437;p64">
              <a:extLst>
                <a:ext uri="{FF2B5EF4-FFF2-40B4-BE49-F238E27FC236}">
                  <a16:creationId xmlns:a16="http://schemas.microsoft.com/office/drawing/2014/main" id="{E7E1A86A-8433-42D5-A612-81062AD0A56F}"/>
                </a:ext>
              </a:extLst>
            </p:cNvPr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1" name="Google Shape;3438;p64">
              <a:extLst>
                <a:ext uri="{FF2B5EF4-FFF2-40B4-BE49-F238E27FC236}">
                  <a16:creationId xmlns:a16="http://schemas.microsoft.com/office/drawing/2014/main" id="{864B1574-D3AE-CB35-E846-1E0C9ED67EDC}"/>
                </a:ext>
              </a:extLst>
            </p:cNvPr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2" name="Google Shape;3439;p64">
              <a:extLst>
                <a:ext uri="{FF2B5EF4-FFF2-40B4-BE49-F238E27FC236}">
                  <a16:creationId xmlns:a16="http://schemas.microsoft.com/office/drawing/2014/main" id="{3F74B643-9133-DEF7-BB41-0D3D98117190}"/>
                </a:ext>
              </a:extLst>
            </p:cNvPr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3" name="Google Shape;3440;p64">
              <a:extLst>
                <a:ext uri="{FF2B5EF4-FFF2-40B4-BE49-F238E27FC236}">
                  <a16:creationId xmlns:a16="http://schemas.microsoft.com/office/drawing/2014/main" id="{C1AADD9B-25C0-03E5-22E0-E50F3E60D732}"/>
                </a:ext>
              </a:extLst>
            </p:cNvPr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4" name="Google Shape;3441;p64">
              <a:extLst>
                <a:ext uri="{FF2B5EF4-FFF2-40B4-BE49-F238E27FC236}">
                  <a16:creationId xmlns:a16="http://schemas.microsoft.com/office/drawing/2014/main" id="{4D80B7BA-7B47-F5D2-587A-FB02D4AA5C8E}"/>
                </a:ext>
              </a:extLst>
            </p:cNvPr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5" name="Google Shape;3442;p64">
              <a:extLst>
                <a:ext uri="{FF2B5EF4-FFF2-40B4-BE49-F238E27FC236}">
                  <a16:creationId xmlns:a16="http://schemas.microsoft.com/office/drawing/2014/main" id="{C72293E1-71D4-707C-6795-950FA547D962}"/>
                </a:ext>
              </a:extLst>
            </p:cNvPr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6" name="Google Shape;3443;p64">
              <a:extLst>
                <a:ext uri="{FF2B5EF4-FFF2-40B4-BE49-F238E27FC236}">
                  <a16:creationId xmlns:a16="http://schemas.microsoft.com/office/drawing/2014/main" id="{CE998E6C-B096-4AFF-72DD-CFA45F267F1A}"/>
                </a:ext>
              </a:extLst>
            </p:cNvPr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7" name="Google Shape;3444;p64">
              <a:extLst>
                <a:ext uri="{FF2B5EF4-FFF2-40B4-BE49-F238E27FC236}">
                  <a16:creationId xmlns:a16="http://schemas.microsoft.com/office/drawing/2014/main" id="{26BF0F7D-6B73-C92A-49D3-F5F439EA79DE}"/>
                </a:ext>
              </a:extLst>
            </p:cNvPr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8" name="Google Shape;3445;p64">
              <a:extLst>
                <a:ext uri="{FF2B5EF4-FFF2-40B4-BE49-F238E27FC236}">
                  <a16:creationId xmlns:a16="http://schemas.microsoft.com/office/drawing/2014/main" id="{AA020C59-BF23-DDEC-65E6-817EE0B87880}"/>
                </a:ext>
              </a:extLst>
            </p:cNvPr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9" name="Google Shape;3446;p64">
              <a:extLst>
                <a:ext uri="{FF2B5EF4-FFF2-40B4-BE49-F238E27FC236}">
                  <a16:creationId xmlns:a16="http://schemas.microsoft.com/office/drawing/2014/main" id="{19C9A938-3EAC-A8D8-B21C-9CFF0E500D0A}"/>
                </a:ext>
              </a:extLst>
            </p:cNvPr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0" name="Google Shape;3447;p64">
              <a:extLst>
                <a:ext uri="{FF2B5EF4-FFF2-40B4-BE49-F238E27FC236}">
                  <a16:creationId xmlns:a16="http://schemas.microsoft.com/office/drawing/2014/main" id="{FD4CE9F8-F37E-82F8-1D2D-22119EC44B83}"/>
                </a:ext>
              </a:extLst>
            </p:cNvPr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1" name="Google Shape;3448;p64">
              <a:extLst>
                <a:ext uri="{FF2B5EF4-FFF2-40B4-BE49-F238E27FC236}">
                  <a16:creationId xmlns:a16="http://schemas.microsoft.com/office/drawing/2014/main" id="{50E34C6D-1EB4-5FB9-A4F2-01FBFD6C3F13}"/>
                </a:ext>
              </a:extLst>
            </p:cNvPr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2" name="Google Shape;3449;p64">
              <a:extLst>
                <a:ext uri="{FF2B5EF4-FFF2-40B4-BE49-F238E27FC236}">
                  <a16:creationId xmlns:a16="http://schemas.microsoft.com/office/drawing/2014/main" id="{0D0DB313-EBF0-51B9-1F87-022CF1506D1C}"/>
                </a:ext>
              </a:extLst>
            </p:cNvPr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3" name="Google Shape;3450;p64">
              <a:extLst>
                <a:ext uri="{FF2B5EF4-FFF2-40B4-BE49-F238E27FC236}">
                  <a16:creationId xmlns:a16="http://schemas.microsoft.com/office/drawing/2014/main" id="{A525A016-31B6-CDF9-BE3C-1247BAF80598}"/>
                </a:ext>
              </a:extLst>
            </p:cNvPr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4" name="Google Shape;3451;p64">
              <a:extLst>
                <a:ext uri="{FF2B5EF4-FFF2-40B4-BE49-F238E27FC236}">
                  <a16:creationId xmlns:a16="http://schemas.microsoft.com/office/drawing/2014/main" id="{DB939012-4E94-F09D-7FD4-5E0ED5288840}"/>
                </a:ext>
              </a:extLst>
            </p:cNvPr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5" name="Google Shape;3452;p64">
              <a:extLst>
                <a:ext uri="{FF2B5EF4-FFF2-40B4-BE49-F238E27FC236}">
                  <a16:creationId xmlns:a16="http://schemas.microsoft.com/office/drawing/2014/main" id="{92AADC50-BD8F-86F7-815C-0A6E9EA15778}"/>
                </a:ext>
              </a:extLst>
            </p:cNvPr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6" name="Google Shape;3453;p64">
              <a:extLst>
                <a:ext uri="{FF2B5EF4-FFF2-40B4-BE49-F238E27FC236}">
                  <a16:creationId xmlns:a16="http://schemas.microsoft.com/office/drawing/2014/main" id="{C287499B-F78E-9932-45AC-6CFEE121A816}"/>
                </a:ext>
              </a:extLst>
            </p:cNvPr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7" name="Google Shape;3454;p64">
              <a:extLst>
                <a:ext uri="{FF2B5EF4-FFF2-40B4-BE49-F238E27FC236}">
                  <a16:creationId xmlns:a16="http://schemas.microsoft.com/office/drawing/2014/main" id="{582215A8-BA24-812F-F354-3D66AF7A232B}"/>
                </a:ext>
              </a:extLst>
            </p:cNvPr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8" name="Google Shape;3455;p64">
              <a:extLst>
                <a:ext uri="{FF2B5EF4-FFF2-40B4-BE49-F238E27FC236}">
                  <a16:creationId xmlns:a16="http://schemas.microsoft.com/office/drawing/2014/main" id="{C86C6E87-BE0E-A737-BBD0-33D125DF24E3}"/>
                </a:ext>
              </a:extLst>
            </p:cNvPr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9" name="Google Shape;3456;p64">
              <a:extLst>
                <a:ext uri="{FF2B5EF4-FFF2-40B4-BE49-F238E27FC236}">
                  <a16:creationId xmlns:a16="http://schemas.microsoft.com/office/drawing/2014/main" id="{8EF03C8E-FE3D-7919-F5B3-2CA7E9099A80}"/>
                </a:ext>
              </a:extLst>
            </p:cNvPr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0" name="Google Shape;3457;p64">
              <a:extLst>
                <a:ext uri="{FF2B5EF4-FFF2-40B4-BE49-F238E27FC236}">
                  <a16:creationId xmlns:a16="http://schemas.microsoft.com/office/drawing/2014/main" id="{EC5F1CE7-9BF5-8FE2-3A94-AB953853AD95}"/>
                </a:ext>
              </a:extLst>
            </p:cNvPr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1" name="Google Shape;3458;p64">
              <a:extLst>
                <a:ext uri="{FF2B5EF4-FFF2-40B4-BE49-F238E27FC236}">
                  <a16:creationId xmlns:a16="http://schemas.microsoft.com/office/drawing/2014/main" id="{B5E35716-3716-52C7-A276-565F326640F2}"/>
                </a:ext>
              </a:extLst>
            </p:cNvPr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2" name="Google Shape;3459;p64">
              <a:extLst>
                <a:ext uri="{FF2B5EF4-FFF2-40B4-BE49-F238E27FC236}">
                  <a16:creationId xmlns:a16="http://schemas.microsoft.com/office/drawing/2014/main" id="{C6003DAC-ACE4-5461-C50C-DA720F532F1E}"/>
                </a:ext>
              </a:extLst>
            </p:cNvPr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3" name="Google Shape;3460;p64">
              <a:extLst>
                <a:ext uri="{FF2B5EF4-FFF2-40B4-BE49-F238E27FC236}">
                  <a16:creationId xmlns:a16="http://schemas.microsoft.com/office/drawing/2014/main" id="{507E0B97-F308-19A1-9F4F-EED17AE28DB5}"/>
                </a:ext>
              </a:extLst>
            </p:cNvPr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4" name="Google Shape;3461;p64">
              <a:extLst>
                <a:ext uri="{FF2B5EF4-FFF2-40B4-BE49-F238E27FC236}">
                  <a16:creationId xmlns:a16="http://schemas.microsoft.com/office/drawing/2014/main" id="{638A6F54-B602-765F-13B7-2787BC6AFC4B}"/>
                </a:ext>
              </a:extLst>
            </p:cNvPr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5" name="Google Shape;3462;p64">
              <a:extLst>
                <a:ext uri="{FF2B5EF4-FFF2-40B4-BE49-F238E27FC236}">
                  <a16:creationId xmlns:a16="http://schemas.microsoft.com/office/drawing/2014/main" id="{73136F32-7FE6-1EA0-44C9-1F05AC9EDB51}"/>
                </a:ext>
              </a:extLst>
            </p:cNvPr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6" name="Google Shape;3463;p64">
              <a:extLst>
                <a:ext uri="{FF2B5EF4-FFF2-40B4-BE49-F238E27FC236}">
                  <a16:creationId xmlns:a16="http://schemas.microsoft.com/office/drawing/2014/main" id="{04A988C9-34D8-E994-20B0-1BDDF92AEF45}"/>
                </a:ext>
              </a:extLst>
            </p:cNvPr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7" name="Google Shape;3464;p64">
              <a:extLst>
                <a:ext uri="{FF2B5EF4-FFF2-40B4-BE49-F238E27FC236}">
                  <a16:creationId xmlns:a16="http://schemas.microsoft.com/office/drawing/2014/main" id="{1C15613F-584E-FE2E-2A7A-1770650E93C6}"/>
                </a:ext>
              </a:extLst>
            </p:cNvPr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8" name="Google Shape;3465;p64">
              <a:extLst>
                <a:ext uri="{FF2B5EF4-FFF2-40B4-BE49-F238E27FC236}">
                  <a16:creationId xmlns:a16="http://schemas.microsoft.com/office/drawing/2014/main" id="{11FD686A-5B6C-14BF-3D9B-888F85A6FB5B}"/>
                </a:ext>
              </a:extLst>
            </p:cNvPr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9" name="Google Shape;3466;p64">
              <a:extLst>
                <a:ext uri="{FF2B5EF4-FFF2-40B4-BE49-F238E27FC236}">
                  <a16:creationId xmlns:a16="http://schemas.microsoft.com/office/drawing/2014/main" id="{520427BA-3D55-F983-FF83-B6B5ADF39CAF}"/>
                </a:ext>
              </a:extLst>
            </p:cNvPr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0" name="Google Shape;3467;p64">
              <a:extLst>
                <a:ext uri="{FF2B5EF4-FFF2-40B4-BE49-F238E27FC236}">
                  <a16:creationId xmlns:a16="http://schemas.microsoft.com/office/drawing/2014/main" id="{77660617-2CA0-3FFA-C13E-64467181EBC0}"/>
                </a:ext>
              </a:extLst>
            </p:cNvPr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1" name="Google Shape;3468;p64">
              <a:extLst>
                <a:ext uri="{FF2B5EF4-FFF2-40B4-BE49-F238E27FC236}">
                  <a16:creationId xmlns:a16="http://schemas.microsoft.com/office/drawing/2014/main" id="{6D2CFCCA-6E82-0985-9F52-3E1B43D3E94E}"/>
                </a:ext>
              </a:extLst>
            </p:cNvPr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2" name="Google Shape;3469;p64">
              <a:extLst>
                <a:ext uri="{FF2B5EF4-FFF2-40B4-BE49-F238E27FC236}">
                  <a16:creationId xmlns:a16="http://schemas.microsoft.com/office/drawing/2014/main" id="{82B5F6F4-DCC9-01B5-9C7D-EE418373D87E}"/>
                </a:ext>
              </a:extLst>
            </p:cNvPr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3" name="Google Shape;3470;p64">
              <a:extLst>
                <a:ext uri="{FF2B5EF4-FFF2-40B4-BE49-F238E27FC236}">
                  <a16:creationId xmlns:a16="http://schemas.microsoft.com/office/drawing/2014/main" id="{4C927B1F-3888-380B-8BA3-303D467149A8}"/>
                </a:ext>
              </a:extLst>
            </p:cNvPr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4" name="Google Shape;3471;p64">
              <a:extLst>
                <a:ext uri="{FF2B5EF4-FFF2-40B4-BE49-F238E27FC236}">
                  <a16:creationId xmlns:a16="http://schemas.microsoft.com/office/drawing/2014/main" id="{197DD29A-2E26-22ED-B837-E19DA078A1F5}"/>
                </a:ext>
              </a:extLst>
            </p:cNvPr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5" name="Google Shape;3472;p64">
              <a:extLst>
                <a:ext uri="{FF2B5EF4-FFF2-40B4-BE49-F238E27FC236}">
                  <a16:creationId xmlns:a16="http://schemas.microsoft.com/office/drawing/2014/main" id="{1E061710-7558-0C93-DE01-EA90585FB907}"/>
                </a:ext>
              </a:extLst>
            </p:cNvPr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6" name="Google Shape;3473;p64">
              <a:extLst>
                <a:ext uri="{FF2B5EF4-FFF2-40B4-BE49-F238E27FC236}">
                  <a16:creationId xmlns:a16="http://schemas.microsoft.com/office/drawing/2014/main" id="{6C99CEC9-0047-2060-3C3A-58F2377FA33E}"/>
                </a:ext>
              </a:extLst>
            </p:cNvPr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7" name="Google Shape;3474;p64">
              <a:extLst>
                <a:ext uri="{FF2B5EF4-FFF2-40B4-BE49-F238E27FC236}">
                  <a16:creationId xmlns:a16="http://schemas.microsoft.com/office/drawing/2014/main" id="{D3462792-DCB8-2B28-171E-B0CBEB6E53B5}"/>
                </a:ext>
              </a:extLst>
            </p:cNvPr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8" name="Google Shape;3475;p64">
              <a:extLst>
                <a:ext uri="{FF2B5EF4-FFF2-40B4-BE49-F238E27FC236}">
                  <a16:creationId xmlns:a16="http://schemas.microsoft.com/office/drawing/2014/main" id="{3A976BAC-4AAE-5147-F3E4-7CBF922D8031}"/>
                </a:ext>
              </a:extLst>
            </p:cNvPr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9" name="Google Shape;3476;p64">
              <a:extLst>
                <a:ext uri="{FF2B5EF4-FFF2-40B4-BE49-F238E27FC236}">
                  <a16:creationId xmlns:a16="http://schemas.microsoft.com/office/drawing/2014/main" id="{4B372785-C3ED-0545-DA5F-6A2BC975E051}"/>
                </a:ext>
              </a:extLst>
            </p:cNvPr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0" name="Google Shape;3477;p64">
              <a:extLst>
                <a:ext uri="{FF2B5EF4-FFF2-40B4-BE49-F238E27FC236}">
                  <a16:creationId xmlns:a16="http://schemas.microsoft.com/office/drawing/2014/main" id="{34D9FCBA-3C99-3EAD-4A51-8D80FC8CD941}"/>
                </a:ext>
              </a:extLst>
            </p:cNvPr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1" name="Google Shape;3478;p64">
              <a:extLst>
                <a:ext uri="{FF2B5EF4-FFF2-40B4-BE49-F238E27FC236}">
                  <a16:creationId xmlns:a16="http://schemas.microsoft.com/office/drawing/2014/main" id="{E30F9F86-0122-F616-7119-A38D89A3007B}"/>
                </a:ext>
              </a:extLst>
            </p:cNvPr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2" name="Google Shape;3479;p64">
              <a:extLst>
                <a:ext uri="{FF2B5EF4-FFF2-40B4-BE49-F238E27FC236}">
                  <a16:creationId xmlns:a16="http://schemas.microsoft.com/office/drawing/2014/main" id="{140FCA0E-4482-0496-9DA9-6EA8A595C710}"/>
                </a:ext>
              </a:extLst>
            </p:cNvPr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3" name="Google Shape;3480;p64">
              <a:extLst>
                <a:ext uri="{FF2B5EF4-FFF2-40B4-BE49-F238E27FC236}">
                  <a16:creationId xmlns:a16="http://schemas.microsoft.com/office/drawing/2014/main" id="{B6EB1675-ECAA-8E46-9C55-F6D555542915}"/>
                </a:ext>
              </a:extLst>
            </p:cNvPr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4" name="Google Shape;3481;p64">
              <a:extLst>
                <a:ext uri="{FF2B5EF4-FFF2-40B4-BE49-F238E27FC236}">
                  <a16:creationId xmlns:a16="http://schemas.microsoft.com/office/drawing/2014/main" id="{A017324A-2757-E7A7-F1CB-027533AF302D}"/>
                </a:ext>
              </a:extLst>
            </p:cNvPr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5" name="Google Shape;3482;p64">
              <a:extLst>
                <a:ext uri="{FF2B5EF4-FFF2-40B4-BE49-F238E27FC236}">
                  <a16:creationId xmlns:a16="http://schemas.microsoft.com/office/drawing/2014/main" id="{4C124A60-CC4A-AC39-4A7D-23A44B77C178}"/>
                </a:ext>
              </a:extLst>
            </p:cNvPr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6" name="Google Shape;3483;p64">
              <a:extLst>
                <a:ext uri="{FF2B5EF4-FFF2-40B4-BE49-F238E27FC236}">
                  <a16:creationId xmlns:a16="http://schemas.microsoft.com/office/drawing/2014/main" id="{1CD408CA-7B9E-34BA-7A33-793AE26110D5}"/>
                </a:ext>
              </a:extLst>
            </p:cNvPr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7" name="Google Shape;3484;p64">
              <a:extLst>
                <a:ext uri="{FF2B5EF4-FFF2-40B4-BE49-F238E27FC236}">
                  <a16:creationId xmlns:a16="http://schemas.microsoft.com/office/drawing/2014/main" id="{69DE9819-D3EE-AE84-8496-1FC024F83B01}"/>
                </a:ext>
              </a:extLst>
            </p:cNvPr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8" name="Google Shape;3485;p64">
              <a:extLst>
                <a:ext uri="{FF2B5EF4-FFF2-40B4-BE49-F238E27FC236}">
                  <a16:creationId xmlns:a16="http://schemas.microsoft.com/office/drawing/2014/main" id="{A22E3A4F-FE19-09A5-32DA-0985B0C49B58}"/>
                </a:ext>
              </a:extLst>
            </p:cNvPr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9" name="Google Shape;3486;p64">
              <a:extLst>
                <a:ext uri="{FF2B5EF4-FFF2-40B4-BE49-F238E27FC236}">
                  <a16:creationId xmlns:a16="http://schemas.microsoft.com/office/drawing/2014/main" id="{66AB0694-09D5-84B2-B183-B347FE0F4336}"/>
                </a:ext>
              </a:extLst>
            </p:cNvPr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0" name="Google Shape;3487;p64">
              <a:extLst>
                <a:ext uri="{FF2B5EF4-FFF2-40B4-BE49-F238E27FC236}">
                  <a16:creationId xmlns:a16="http://schemas.microsoft.com/office/drawing/2014/main" id="{44888DC7-4B8D-16A2-ABCE-799EAC0357D6}"/>
                </a:ext>
              </a:extLst>
            </p:cNvPr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1" name="Google Shape;3488;p64">
              <a:extLst>
                <a:ext uri="{FF2B5EF4-FFF2-40B4-BE49-F238E27FC236}">
                  <a16:creationId xmlns:a16="http://schemas.microsoft.com/office/drawing/2014/main" id="{2477891A-0881-4B27-E669-9851DE6BD73C}"/>
                </a:ext>
              </a:extLst>
            </p:cNvPr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2" name="Google Shape;3489;p64">
              <a:extLst>
                <a:ext uri="{FF2B5EF4-FFF2-40B4-BE49-F238E27FC236}">
                  <a16:creationId xmlns:a16="http://schemas.microsoft.com/office/drawing/2014/main" id="{1623D781-8BA1-0F40-DF08-05FB31F0BFEE}"/>
                </a:ext>
              </a:extLst>
            </p:cNvPr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3" name="Google Shape;3490;p64">
              <a:extLst>
                <a:ext uri="{FF2B5EF4-FFF2-40B4-BE49-F238E27FC236}">
                  <a16:creationId xmlns:a16="http://schemas.microsoft.com/office/drawing/2014/main" id="{69A14EB8-A5A2-97CC-09E6-D666220463BA}"/>
                </a:ext>
              </a:extLst>
            </p:cNvPr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4" name="Google Shape;3491;p64">
              <a:extLst>
                <a:ext uri="{FF2B5EF4-FFF2-40B4-BE49-F238E27FC236}">
                  <a16:creationId xmlns:a16="http://schemas.microsoft.com/office/drawing/2014/main" id="{24EDC421-27FC-044A-1A5E-AA9C5B359A3C}"/>
                </a:ext>
              </a:extLst>
            </p:cNvPr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5" name="Google Shape;3492;p64">
              <a:extLst>
                <a:ext uri="{FF2B5EF4-FFF2-40B4-BE49-F238E27FC236}">
                  <a16:creationId xmlns:a16="http://schemas.microsoft.com/office/drawing/2014/main" id="{036CF323-3088-D1DB-C77F-6F1354520CBB}"/>
                </a:ext>
              </a:extLst>
            </p:cNvPr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6" name="Google Shape;3493;p64">
              <a:extLst>
                <a:ext uri="{FF2B5EF4-FFF2-40B4-BE49-F238E27FC236}">
                  <a16:creationId xmlns:a16="http://schemas.microsoft.com/office/drawing/2014/main" id="{95A45FF0-0B13-18A2-6696-2C59298562AA}"/>
                </a:ext>
              </a:extLst>
            </p:cNvPr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7" name="Google Shape;3494;p64">
              <a:extLst>
                <a:ext uri="{FF2B5EF4-FFF2-40B4-BE49-F238E27FC236}">
                  <a16:creationId xmlns:a16="http://schemas.microsoft.com/office/drawing/2014/main" id="{0FD477AC-037F-DB58-8E66-5451CDFB63F4}"/>
                </a:ext>
              </a:extLst>
            </p:cNvPr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8" name="Google Shape;3495;p64">
              <a:extLst>
                <a:ext uri="{FF2B5EF4-FFF2-40B4-BE49-F238E27FC236}">
                  <a16:creationId xmlns:a16="http://schemas.microsoft.com/office/drawing/2014/main" id="{7C13526D-6FDC-189F-FC85-6C88189B726B}"/>
                </a:ext>
              </a:extLst>
            </p:cNvPr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9" name="Google Shape;3496;p64">
              <a:extLst>
                <a:ext uri="{FF2B5EF4-FFF2-40B4-BE49-F238E27FC236}">
                  <a16:creationId xmlns:a16="http://schemas.microsoft.com/office/drawing/2014/main" id="{0994D4C8-4964-86D4-6A44-ECC27695D514}"/>
                </a:ext>
              </a:extLst>
            </p:cNvPr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0" name="Google Shape;3497;p64">
              <a:extLst>
                <a:ext uri="{FF2B5EF4-FFF2-40B4-BE49-F238E27FC236}">
                  <a16:creationId xmlns:a16="http://schemas.microsoft.com/office/drawing/2014/main" id="{B3499357-6BF8-6D64-7BE7-82926BCD0787}"/>
                </a:ext>
              </a:extLst>
            </p:cNvPr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1" name="Google Shape;3498;p64">
              <a:extLst>
                <a:ext uri="{FF2B5EF4-FFF2-40B4-BE49-F238E27FC236}">
                  <a16:creationId xmlns:a16="http://schemas.microsoft.com/office/drawing/2014/main" id="{D6B3ED63-A9F9-0C14-F51B-26D574F9C080}"/>
                </a:ext>
              </a:extLst>
            </p:cNvPr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2" name="Google Shape;3499;p64">
              <a:extLst>
                <a:ext uri="{FF2B5EF4-FFF2-40B4-BE49-F238E27FC236}">
                  <a16:creationId xmlns:a16="http://schemas.microsoft.com/office/drawing/2014/main" id="{8A8E9F8A-A7F3-389E-3EBE-F69A9108BBD3}"/>
                </a:ext>
              </a:extLst>
            </p:cNvPr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3" name="Google Shape;3500;p64">
              <a:extLst>
                <a:ext uri="{FF2B5EF4-FFF2-40B4-BE49-F238E27FC236}">
                  <a16:creationId xmlns:a16="http://schemas.microsoft.com/office/drawing/2014/main" id="{65354D3C-F5B5-6CEF-CE16-51B75EF016BB}"/>
                </a:ext>
              </a:extLst>
            </p:cNvPr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4" name="Google Shape;3501;p64">
              <a:extLst>
                <a:ext uri="{FF2B5EF4-FFF2-40B4-BE49-F238E27FC236}">
                  <a16:creationId xmlns:a16="http://schemas.microsoft.com/office/drawing/2014/main" id="{DDA9D7CA-710F-E2E4-29F5-753CA5655EFB}"/>
                </a:ext>
              </a:extLst>
            </p:cNvPr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5" name="Google Shape;3502;p64">
              <a:extLst>
                <a:ext uri="{FF2B5EF4-FFF2-40B4-BE49-F238E27FC236}">
                  <a16:creationId xmlns:a16="http://schemas.microsoft.com/office/drawing/2014/main" id="{1ED7A15D-136F-2D88-2D0F-1F24C7B9CECB}"/>
                </a:ext>
              </a:extLst>
            </p:cNvPr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6" name="Google Shape;3503;p64">
              <a:extLst>
                <a:ext uri="{FF2B5EF4-FFF2-40B4-BE49-F238E27FC236}">
                  <a16:creationId xmlns:a16="http://schemas.microsoft.com/office/drawing/2014/main" id="{E4EFEB4D-41E1-6B06-3DA5-98317E3FDA5D}"/>
                </a:ext>
              </a:extLst>
            </p:cNvPr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7" name="Google Shape;3504;p64">
              <a:extLst>
                <a:ext uri="{FF2B5EF4-FFF2-40B4-BE49-F238E27FC236}">
                  <a16:creationId xmlns:a16="http://schemas.microsoft.com/office/drawing/2014/main" id="{92639E94-3D9A-6B04-912D-898A281281DE}"/>
                </a:ext>
              </a:extLst>
            </p:cNvPr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8" name="Google Shape;3505;p64">
              <a:extLst>
                <a:ext uri="{FF2B5EF4-FFF2-40B4-BE49-F238E27FC236}">
                  <a16:creationId xmlns:a16="http://schemas.microsoft.com/office/drawing/2014/main" id="{722A75CB-1373-3FD7-5B46-57FDBF9111B3}"/>
                </a:ext>
              </a:extLst>
            </p:cNvPr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9" name="Google Shape;3506;p64">
              <a:extLst>
                <a:ext uri="{FF2B5EF4-FFF2-40B4-BE49-F238E27FC236}">
                  <a16:creationId xmlns:a16="http://schemas.microsoft.com/office/drawing/2014/main" id="{7D687DD6-7355-2A47-C086-B8E9812EF4A2}"/>
                </a:ext>
              </a:extLst>
            </p:cNvPr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0" name="Google Shape;3507;p64">
              <a:extLst>
                <a:ext uri="{FF2B5EF4-FFF2-40B4-BE49-F238E27FC236}">
                  <a16:creationId xmlns:a16="http://schemas.microsoft.com/office/drawing/2014/main" id="{4839D789-2F68-273D-4CCA-F301AA78B668}"/>
                </a:ext>
              </a:extLst>
            </p:cNvPr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1" name="Google Shape;3508;p64">
              <a:extLst>
                <a:ext uri="{FF2B5EF4-FFF2-40B4-BE49-F238E27FC236}">
                  <a16:creationId xmlns:a16="http://schemas.microsoft.com/office/drawing/2014/main" id="{58E5E22C-9FE7-BC19-24D6-C9212C97068C}"/>
                </a:ext>
              </a:extLst>
            </p:cNvPr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2" name="Google Shape;3509;p64">
              <a:extLst>
                <a:ext uri="{FF2B5EF4-FFF2-40B4-BE49-F238E27FC236}">
                  <a16:creationId xmlns:a16="http://schemas.microsoft.com/office/drawing/2014/main" id="{A4161951-5CA9-BB09-CAD5-148BCAEB8EEE}"/>
                </a:ext>
              </a:extLst>
            </p:cNvPr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3" name="Google Shape;3510;p64">
              <a:extLst>
                <a:ext uri="{FF2B5EF4-FFF2-40B4-BE49-F238E27FC236}">
                  <a16:creationId xmlns:a16="http://schemas.microsoft.com/office/drawing/2014/main" id="{2C80ADFD-8A32-0277-66E4-BDAA60D80A49}"/>
                </a:ext>
              </a:extLst>
            </p:cNvPr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4" name="Google Shape;3511;p64">
              <a:extLst>
                <a:ext uri="{FF2B5EF4-FFF2-40B4-BE49-F238E27FC236}">
                  <a16:creationId xmlns:a16="http://schemas.microsoft.com/office/drawing/2014/main" id="{A62CD89D-F619-E36B-19B5-5D2C2265A765}"/>
                </a:ext>
              </a:extLst>
            </p:cNvPr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5" name="Google Shape;3512;p64">
              <a:extLst>
                <a:ext uri="{FF2B5EF4-FFF2-40B4-BE49-F238E27FC236}">
                  <a16:creationId xmlns:a16="http://schemas.microsoft.com/office/drawing/2014/main" id="{7C782111-3A4F-8C05-4B03-359F216B01A7}"/>
                </a:ext>
              </a:extLst>
            </p:cNvPr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6" name="Google Shape;3513;p64">
              <a:extLst>
                <a:ext uri="{FF2B5EF4-FFF2-40B4-BE49-F238E27FC236}">
                  <a16:creationId xmlns:a16="http://schemas.microsoft.com/office/drawing/2014/main" id="{E9BCB860-DA33-EEA3-1E94-4F3495FE96FD}"/>
                </a:ext>
              </a:extLst>
            </p:cNvPr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7" name="Google Shape;3514;p64">
              <a:extLst>
                <a:ext uri="{FF2B5EF4-FFF2-40B4-BE49-F238E27FC236}">
                  <a16:creationId xmlns:a16="http://schemas.microsoft.com/office/drawing/2014/main" id="{DF3561A7-D4C1-BFA7-4CDE-60E38767AC6B}"/>
                </a:ext>
              </a:extLst>
            </p:cNvPr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8" name="Google Shape;3515;p64">
              <a:extLst>
                <a:ext uri="{FF2B5EF4-FFF2-40B4-BE49-F238E27FC236}">
                  <a16:creationId xmlns:a16="http://schemas.microsoft.com/office/drawing/2014/main" id="{2C9A8707-13D2-93CD-7DD8-7476586F1819}"/>
                </a:ext>
              </a:extLst>
            </p:cNvPr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9" name="Google Shape;3516;p64">
              <a:extLst>
                <a:ext uri="{FF2B5EF4-FFF2-40B4-BE49-F238E27FC236}">
                  <a16:creationId xmlns:a16="http://schemas.microsoft.com/office/drawing/2014/main" id="{8289A281-1B37-844C-E5E1-6B61DA73C300}"/>
                </a:ext>
              </a:extLst>
            </p:cNvPr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0" name="Google Shape;3517;p64">
              <a:extLst>
                <a:ext uri="{FF2B5EF4-FFF2-40B4-BE49-F238E27FC236}">
                  <a16:creationId xmlns:a16="http://schemas.microsoft.com/office/drawing/2014/main" id="{DC4CF35A-491D-C4E1-AE7D-B9FB490FE0C1}"/>
                </a:ext>
              </a:extLst>
            </p:cNvPr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1" name="Google Shape;3518;p64">
              <a:extLst>
                <a:ext uri="{FF2B5EF4-FFF2-40B4-BE49-F238E27FC236}">
                  <a16:creationId xmlns:a16="http://schemas.microsoft.com/office/drawing/2014/main" id="{F178F1B2-45F7-00B6-82E1-1CAD7B5A2667}"/>
                </a:ext>
              </a:extLst>
            </p:cNvPr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2" name="Google Shape;3519;p64">
              <a:extLst>
                <a:ext uri="{FF2B5EF4-FFF2-40B4-BE49-F238E27FC236}">
                  <a16:creationId xmlns:a16="http://schemas.microsoft.com/office/drawing/2014/main" id="{AE15A578-86CA-E89F-13AF-EC06EAE24B5C}"/>
                </a:ext>
              </a:extLst>
            </p:cNvPr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3" name="Google Shape;3520;p64">
              <a:extLst>
                <a:ext uri="{FF2B5EF4-FFF2-40B4-BE49-F238E27FC236}">
                  <a16:creationId xmlns:a16="http://schemas.microsoft.com/office/drawing/2014/main" id="{C3BB8402-A0F1-38CF-63C1-2829DAD52CCD}"/>
                </a:ext>
              </a:extLst>
            </p:cNvPr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4" name="Google Shape;3521;p64">
              <a:extLst>
                <a:ext uri="{FF2B5EF4-FFF2-40B4-BE49-F238E27FC236}">
                  <a16:creationId xmlns:a16="http://schemas.microsoft.com/office/drawing/2014/main" id="{032D93BE-C50E-7935-10DB-83529B2581C4}"/>
                </a:ext>
              </a:extLst>
            </p:cNvPr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5" name="Google Shape;3522;p64">
              <a:extLst>
                <a:ext uri="{FF2B5EF4-FFF2-40B4-BE49-F238E27FC236}">
                  <a16:creationId xmlns:a16="http://schemas.microsoft.com/office/drawing/2014/main" id="{BAEAEA3E-214A-071D-0A19-FC237E45FDD5}"/>
                </a:ext>
              </a:extLst>
            </p:cNvPr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6" name="Google Shape;3523;p64">
              <a:extLst>
                <a:ext uri="{FF2B5EF4-FFF2-40B4-BE49-F238E27FC236}">
                  <a16:creationId xmlns:a16="http://schemas.microsoft.com/office/drawing/2014/main" id="{C51EF578-B374-E097-E904-149E7427803B}"/>
                </a:ext>
              </a:extLst>
            </p:cNvPr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7" name="Google Shape;3524;p64">
              <a:extLst>
                <a:ext uri="{FF2B5EF4-FFF2-40B4-BE49-F238E27FC236}">
                  <a16:creationId xmlns:a16="http://schemas.microsoft.com/office/drawing/2014/main" id="{900FDDCA-E560-109D-2ACE-A541DA2850CA}"/>
                </a:ext>
              </a:extLst>
            </p:cNvPr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8" name="Google Shape;3525;p64">
              <a:extLst>
                <a:ext uri="{FF2B5EF4-FFF2-40B4-BE49-F238E27FC236}">
                  <a16:creationId xmlns:a16="http://schemas.microsoft.com/office/drawing/2014/main" id="{C49B49D8-F162-707C-2638-B156035FB95F}"/>
                </a:ext>
              </a:extLst>
            </p:cNvPr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9" name="Google Shape;3526;p64">
              <a:extLst>
                <a:ext uri="{FF2B5EF4-FFF2-40B4-BE49-F238E27FC236}">
                  <a16:creationId xmlns:a16="http://schemas.microsoft.com/office/drawing/2014/main" id="{8DA10BD8-37C7-9D41-2916-6C47E754F2D4}"/>
                </a:ext>
              </a:extLst>
            </p:cNvPr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0" name="Google Shape;3527;p64">
              <a:extLst>
                <a:ext uri="{FF2B5EF4-FFF2-40B4-BE49-F238E27FC236}">
                  <a16:creationId xmlns:a16="http://schemas.microsoft.com/office/drawing/2014/main" id="{3D153DB2-3A87-96F2-8DE6-8214BC7894B6}"/>
                </a:ext>
              </a:extLst>
            </p:cNvPr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1" name="Google Shape;3528;p64">
              <a:extLst>
                <a:ext uri="{FF2B5EF4-FFF2-40B4-BE49-F238E27FC236}">
                  <a16:creationId xmlns:a16="http://schemas.microsoft.com/office/drawing/2014/main" id="{408CDDA8-0FEC-B216-5F79-B95C492F2CDB}"/>
                </a:ext>
              </a:extLst>
            </p:cNvPr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2" name="Google Shape;3529;p64">
              <a:extLst>
                <a:ext uri="{FF2B5EF4-FFF2-40B4-BE49-F238E27FC236}">
                  <a16:creationId xmlns:a16="http://schemas.microsoft.com/office/drawing/2014/main" id="{D59815DF-C496-174D-AE03-B0C32AFAD372}"/>
                </a:ext>
              </a:extLst>
            </p:cNvPr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3" name="Google Shape;3530;p64">
              <a:extLst>
                <a:ext uri="{FF2B5EF4-FFF2-40B4-BE49-F238E27FC236}">
                  <a16:creationId xmlns:a16="http://schemas.microsoft.com/office/drawing/2014/main" id="{BF5D8DBB-E591-5C82-CBEC-A9953FB6327C}"/>
                </a:ext>
              </a:extLst>
            </p:cNvPr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4" name="Google Shape;3531;p64">
              <a:extLst>
                <a:ext uri="{FF2B5EF4-FFF2-40B4-BE49-F238E27FC236}">
                  <a16:creationId xmlns:a16="http://schemas.microsoft.com/office/drawing/2014/main" id="{CCD8BA6A-3258-FBED-100A-A9DD91366A25}"/>
                </a:ext>
              </a:extLst>
            </p:cNvPr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5" name="Google Shape;3532;p64">
              <a:extLst>
                <a:ext uri="{FF2B5EF4-FFF2-40B4-BE49-F238E27FC236}">
                  <a16:creationId xmlns:a16="http://schemas.microsoft.com/office/drawing/2014/main" id="{73708FD0-B4C5-30F0-E2C8-D34129AB5C12}"/>
                </a:ext>
              </a:extLst>
            </p:cNvPr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6" name="Google Shape;3533;p64">
              <a:extLst>
                <a:ext uri="{FF2B5EF4-FFF2-40B4-BE49-F238E27FC236}">
                  <a16:creationId xmlns:a16="http://schemas.microsoft.com/office/drawing/2014/main" id="{6E0E0B6B-DDB1-BFA6-F293-3254F112B29C}"/>
                </a:ext>
              </a:extLst>
            </p:cNvPr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7" name="Google Shape;3534;p64">
              <a:extLst>
                <a:ext uri="{FF2B5EF4-FFF2-40B4-BE49-F238E27FC236}">
                  <a16:creationId xmlns:a16="http://schemas.microsoft.com/office/drawing/2014/main" id="{180E7752-A0FD-CC78-22A9-24BD8A7619F1}"/>
                </a:ext>
              </a:extLst>
            </p:cNvPr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8" name="Google Shape;3535;p64">
              <a:extLst>
                <a:ext uri="{FF2B5EF4-FFF2-40B4-BE49-F238E27FC236}">
                  <a16:creationId xmlns:a16="http://schemas.microsoft.com/office/drawing/2014/main" id="{40C8BF57-AE68-0820-68E2-2F4F3DE20765}"/>
                </a:ext>
              </a:extLst>
            </p:cNvPr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9" name="Google Shape;3536;p64">
              <a:extLst>
                <a:ext uri="{FF2B5EF4-FFF2-40B4-BE49-F238E27FC236}">
                  <a16:creationId xmlns:a16="http://schemas.microsoft.com/office/drawing/2014/main" id="{D62BCDF2-C79F-0315-A40C-0EAB65B79893}"/>
                </a:ext>
              </a:extLst>
            </p:cNvPr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0" name="Google Shape;3537;p64">
              <a:extLst>
                <a:ext uri="{FF2B5EF4-FFF2-40B4-BE49-F238E27FC236}">
                  <a16:creationId xmlns:a16="http://schemas.microsoft.com/office/drawing/2014/main" id="{29A54B2D-3BBC-D119-D31D-8CDE2DADBEBF}"/>
                </a:ext>
              </a:extLst>
            </p:cNvPr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1" name="Google Shape;3538;p64">
              <a:extLst>
                <a:ext uri="{FF2B5EF4-FFF2-40B4-BE49-F238E27FC236}">
                  <a16:creationId xmlns:a16="http://schemas.microsoft.com/office/drawing/2014/main" id="{6F9A7F1C-FD7F-3BB7-33C2-C542315C0E4B}"/>
                </a:ext>
              </a:extLst>
            </p:cNvPr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2" name="Google Shape;3539;p64">
              <a:extLst>
                <a:ext uri="{FF2B5EF4-FFF2-40B4-BE49-F238E27FC236}">
                  <a16:creationId xmlns:a16="http://schemas.microsoft.com/office/drawing/2014/main" id="{10A904A5-69E3-6AE3-A982-778D850965B5}"/>
                </a:ext>
              </a:extLst>
            </p:cNvPr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3" name="Google Shape;3540;p64">
              <a:extLst>
                <a:ext uri="{FF2B5EF4-FFF2-40B4-BE49-F238E27FC236}">
                  <a16:creationId xmlns:a16="http://schemas.microsoft.com/office/drawing/2014/main" id="{C7548045-2234-3216-11A6-9ABB183C3300}"/>
                </a:ext>
              </a:extLst>
            </p:cNvPr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4" name="Google Shape;3541;p64">
              <a:extLst>
                <a:ext uri="{FF2B5EF4-FFF2-40B4-BE49-F238E27FC236}">
                  <a16:creationId xmlns:a16="http://schemas.microsoft.com/office/drawing/2014/main" id="{C9A32CEB-5D3C-3B09-73AA-FD4E4C0B668A}"/>
                </a:ext>
              </a:extLst>
            </p:cNvPr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5" name="Google Shape;3542;p64">
              <a:extLst>
                <a:ext uri="{FF2B5EF4-FFF2-40B4-BE49-F238E27FC236}">
                  <a16:creationId xmlns:a16="http://schemas.microsoft.com/office/drawing/2014/main" id="{3608BB50-48A8-1F31-3001-0464B1D24F45}"/>
                </a:ext>
              </a:extLst>
            </p:cNvPr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6" name="Google Shape;3543;p64">
              <a:extLst>
                <a:ext uri="{FF2B5EF4-FFF2-40B4-BE49-F238E27FC236}">
                  <a16:creationId xmlns:a16="http://schemas.microsoft.com/office/drawing/2014/main" id="{86FC7295-2898-9571-5768-41ABE0D7143C}"/>
                </a:ext>
              </a:extLst>
            </p:cNvPr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7" name="Google Shape;3544;p64">
              <a:extLst>
                <a:ext uri="{FF2B5EF4-FFF2-40B4-BE49-F238E27FC236}">
                  <a16:creationId xmlns:a16="http://schemas.microsoft.com/office/drawing/2014/main" id="{DE04E9DB-9CF2-6FF4-93ED-CF2E78880B26}"/>
                </a:ext>
              </a:extLst>
            </p:cNvPr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8" name="Google Shape;3545;p64">
              <a:extLst>
                <a:ext uri="{FF2B5EF4-FFF2-40B4-BE49-F238E27FC236}">
                  <a16:creationId xmlns:a16="http://schemas.microsoft.com/office/drawing/2014/main" id="{6D14D052-6CF4-C1FE-BA00-13556F0702AC}"/>
                </a:ext>
              </a:extLst>
            </p:cNvPr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9" name="Google Shape;3546;p64">
              <a:extLst>
                <a:ext uri="{FF2B5EF4-FFF2-40B4-BE49-F238E27FC236}">
                  <a16:creationId xmlns:a16="http://schemas.microsoft.com/office/drawing/2014/main" id="{6C123751-2FA3-9B47-2DAB-CC21D91CBA16}"/>
                </a:ext>
              </a:extLst>
            </p:cNvPr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0" name="Google Shape;3547;p64">
              <a:extLst>
                <a:ext uri="{FF2B5EF4-FFF2-40B4-BE49-F238E27FC236}">
                  <a16:creationId xmlns:a16="http://schemas.microsoft.com/office/drawing/2014/main" id="{DCB964A0-63D9-2DD8-2911-1F70BAE8DA88}"/>
                </a:ext>
              </a:extLst>
            </p:cNvPr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1" name="Google Shape;3548;p64">
              <a:extLst>
                <a:ext uri="{FF2B5EF4-FFF2-40B4-BE49-F238E27FC236}">
                  <a16:creationId xmlns:a16="http://schemas.microsoft.com/office/drawing/2014/main" id="{9EA06BD9-0C93-1AF5-43B5-85DCE0139150}"/>
                </a:ext>
              </a:extLst>
            </p:cNvPr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2" name="Google Shape;3549;p64">
              <a:extLst>
                <a:ext uri="{FF2B5EF4-FFF2-40B4-BE49-F238E27FC236}">
                  <a16:creationId xmlns:a16="http://schemas.microsoft.com/office/drawing/2014/main" id="{3BB74269-F2C4-C175-C49D-8A25F1775F56}"/>
                </a:ext>
              </a:extLst>
            </p:cNvPr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3" name="Google Shape;3550;p64">
              <a:extLst>
                <a:ext uri="{FF2B5EF4-FFF2-40B4-BE49-F238E27FC236}">
                  <a16:creationId xmlns:a16="http://schemas.microsoft.com/office/drawing/2014/main" id="{8B381452-FA9E-6A98-77CF-946CC9BA1C56}"/>
                </a:ext>
              </a:extLst>
            </p:cNvPr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4" name="Google Shape;3551;p64">
              <a:extLst>
                <a:ext uri="{FF2B5EF4-FFF2-40B4-BE49-F238E27FC236}">
                  <a16:creationId xmlns:a16="http://schemas.microsoft.com/office/drawing/2014/main" id="{D4FB0E99-E989-2D39-2D51-B7ACEDE60BA3}"/>
                </a:ext>
              </a:extLst>
            </p:cNvPr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5" name="Google Shape;3552;p64">
              <a:extLst>
                <a:ext uri="{FF2B5EF4-FFF2-40B4-BE49-F238E27FC236}">
                  <a16:creationId xmlns:a16="http://schemas.microsoft.com/office/drawing/2014/main" id="{69EB3FEC-A85B-3391-199A-F16361FEC7D3}"/>
                </a:ext>
              </a:extLst>
            </p:cNvPr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6" name="Google Shape;3553;p64">
              <a:extLst>
                <a:ext uri="{FF2B5EF4-FFF2-40B4-BE49-F238E27FC236}">
                  <a16:creationId xmlns:a16="http://schemas.microsoft.com/office/drawing/2014/main" id="{E207ED37-45B7-41FF-AB9E-81B57D0BDA79}"/>
                </a:ext>
              </a:extLst>
            </p:cNvPr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7" name="Google Shape;3554;p64">
              <a:extLst>
                <a:ext uri="{FF2B5EF4-FFF2-40B4-BE49-F238E27FC236}">
                  <a16:creationId xmlns:a16="http://schemas.microsoft.com/office/drawing/2014/main" id="{B02AD6F8-43F0-FF4D-10C9-139F153FD4AC}"/>
                </a:ext>
              </a:extLst>
            </p:cNvPr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8" name="Google Shape;3555;p64">
              <a:extLst>
                <a:ext uri="{FF2B5EF4-FFF2-40B4-BE49-F238E27FC236}">
                  <a16:creationId xmlns:a16="http://schemas.microsoft.com/office/drawing/2014/main" id="{F36F8F97-2C1A-7989-AB89-3C26E6FDF8BA}"/>
                </a:ext>
              </a:extLst>
            </p:cNvPr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9" name="Google Shape;3556;p64">
              <a:extLst>
                <a:ext uri="{FF2B5EF4-FFF2-40B4-BE49-F238E27FC236}">
                  <a16:creationId xmlns:a16="http://schemas.microsoft.com/office/drawing/2014/main" id="{B1D3E189-D78D-EDF1-C6EA-226C0379E7B8}"/>
                </a:ext>
              </a:extLst>
            </p:cNvPr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0" name="Google Shape;3557;p64">
              <a:extLst>
                <a:ext uri="{FF2B5EF4-FFF2-40B4-BE49-F238E27FC236}">
                  <a16:creationId xmlns:a16="http://schemas.microsoft.com/office/drawing/2014/main" id="{B342513D-BB7F-98BA-9EBC-D8C2F5A64E5D}"/>
                </a:ext>
              </a:extLst>
            </p:cNvPr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1" name="Google Shape;3558;p64">
              <a:extLst>
                <a:ext uri="{FF2B5EF4-FFF2-40B4-BE49-F238E27FC236}">
                  <a16:creationId xmlns:a16="http://schemas.microsoft.com/office/drawing/2014/main" id="{1461AAB1-A2DC-547E-EEF3-173171549F9B}"/>
                </a:ext>
              </a:extLst>
            </p:cNvPr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2" name="Google Shape;3559;p64">
              <a:extLst>
                <a:ext uri="{FF2B5EF4-FFF2-40B4-BE49-F238E27FC236}">
                  <a16:creationId xmlns:a16="http://schemas.microsoft.com/office/drawing/2014/main" id="{EF865DD4-E3E9-699F-C93E-B2D405DC04DC}"/>
                </a:ext>
              </a:extLst>
            </p:cNvPr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3" name="Google Shape;3560;p64">
              <a:extLst>
                <a:ext uri="{FF2B5EF4-FFF2-40B4-BE49-F238E27FC236}">
                  <a16:creationId xmlns:a16="http://schemas.microsoft.com/office/drawing/2014/main" id="{EEFE3A39-F537-0E03-56D5-FFD54AB1E755}"/>
                </a:ext>
              </a:extLst>
            </p:cNvPr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4" name="Google Shape;3561;p64">
              <a:extLst>
                <a:ext uri="{FF2B5EF4-FFF2-40B4-BE49-F238E27FC236}">
                  <a16:creationId xmlns:a16="http://schemas.microsoft.com/office/drawing/2014/main" id="{806C80B6-8328-587A-BF2D-2BA74EA37A1F}"/>
                </a:ext>
              </a:extLst>
            </p:cNvPr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5" name="Google Shape;3562;p64">
              <a:extLst>
                <a:ext uri="{FF2B5EF4-FFF2-40B4-BE49-F238E27FC236}">
                  <a16:creationId xmlns:a16="http://schemas.microsoft.com/office/drawing/2014/main" id="{79B38137-1227-1135-A628-643CFD200CD9}"/>
                </a:ext>
              </a:extLst>
            </p:cNvPr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6" name="Google Shape;3563;p64">
              <a:extLst>
                <a:ext uri="{FF2B5EF4-FFF2-40B4-BE49-F238E27FC236}">
                  <a16:creationId xmlns:a16="http://schemas.microsoft.com/office/drawing/2014/main" id="{32ED6799-F875-BE89-5254-30BC53B36BD6}"/>
                </a:ext>
              </a:extLst>
            </p:cNvPr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7" name="Google Shape;3564;p64">
              <a:extLst>
                <a:ext uri="{FF2B5EF4-FFF2-40B4-BE49-F238E27FC236}">
                  <a16:creationId xmlns:a16="http://schemas.microsoft.com/office/drawing/2014/main" id="{2564E381-7165-C132-AABD-4E76CB4ABC55}"/>
                </a:ext>
              </a:extLst>
            </p:cNvPr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8" name="Google Shape;3565;p64">
              <a:extLst>
                <a:ext uri="{FF2B5EF4-FFF2-40B4-BE49-F238E27FC236}">
                  <a16:creationId xmlns:a16="http://schemas.microsoft.com/office/drawing/2014/main" id="{E2DFD5B7-882D-4CAF-483B-90599CF2EFFD}"/>
                </a:ext>
              </a:extLst>
            </p:cNvPr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9" name="Google Shape;3566;p64">
              <a:extLst>
                <a:ext uri="{FF2B5EF4-FFF2-40B4-BE49-F238E27FC236}">
                  <a16:creationId xmlns:a16="http://schemas.microsoft.com/office/drawing/2014/main" id="{8B22D64B-4D9B-DF0C-13AB-837C6875D413}"/>
                </a:ext>
              </a:extLst>
            </p:cNvPr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0" name="Google Shape;3567;p64">
              <a:extLst>
                <a:ext uri="{FF2B5EF4-FFF2-40B4-BE49-F238E27FC236}">
                  <a16:creationId xmlns:a16="http://schemas.microsoft.com/office/drawing/2014/main" id="{DEE23282-1BCD-DC6E-113C-FBEDF608E17D}"/>
                </a:ext>
              </a:extLst>
            </p:cNvPr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1" name="Google Shape;3568;p64">
              <a:extLst>
                <a:ext uri="{FF2B5EF4-FFF2-40B4-BE49-F238E27FC236}">
                  <a16:creationId xmlns:a16="http://schemas.microsoft.com/office/drawing/2014/main" id="{8ABD31DF-292D-1285-7BE3-80EEA54E4C4B}"/>
                </a:ext>
              </a:extLst>
            </p:cNvPr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2" name="Google Shape;3569;p64">
              <a:extLst>
                <a:ext uri="{FF2B5EF4-FFF2-40B4-BE49-F238E27FC236}">
                  <a16:creationId xmlns:a16="http://schemas.microsoft.com/office/drawing/2014/main" id="{17836C25-1926-7530-AF99-396B287509A0}"/>
                </a:ext>
              </a:extLst>
            </p:cNvPr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3" name="Google Shape;3570;p64">
              <a:extLst>
                <a:ext uri="{FF2B5EF4-FFF2-40B4-BE49-F238E27FC236}">
                  <a16:creationId xmlns:a16="http://schemas.microsoft.com/office/drawing/2014/main" id="{D247F7B3-5C95-1D45-96A6-D00F584E67D5}"/>
                </a:ext>
              </a:extLst>
            </p:cNvPr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4" name="Google Shape;3571;p64">
              <a:extLst>
                <a:ext uri="{FF2B5EF4-FFF2-40B4-BE49-F238E27FC236}">
                  <a16:creationId xmlns:a16="http://schemas.microsoft.com/office/drawing/2014/main" id="{B3E1D903-F143-D482-4721-E213929B27A4}"/>
                </a:ext>
              </a:extLst>
            </p:cNvPr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5" name="Google Shape;3572;p64">
              <a:extLst>
                <a:ext uri="{FF2B5EF4-FFF2-40B4-BE49-F238E27FC236}">
                  <a16:creationId xmlns:a16="http://schemas.microsoft.com/office/drawing/2014/main" id="{661D95A9-9F9A-4489-23F6-92279ABC4F1B}"/>
                </a:ext>
              </a:extLst>
            </p:cNvPr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6" name="Google Shape;3573;p64">
              <a:extLst>
                <a:ext uri="{FF2B5EF4-FFF2-40B4-BE49-F238E27FC236}">
                  <a16:creationId xmlns:a16="http://schemas.microsoft.com/office/drawing/2014/main" id="{6AB03303-69A1-D1DB-B7FA-3AC1BE73B185}"/>
                </a:ext>
              </a:extLst>
            </p:cNvPr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7" name="Google Shape;3574;p64">
              <a:extLst>
                <a:ext uri="{FF2B5EF4-FFF2-40B4-BE49-F238E27FC236}">
                  <a16:creationId xmlns:a16="http://schemas.microsoft.com/office/drawing/2014/main" id="{4697575F-10A5-1F9E-FA67-574D659D2BBD}"/>
                </a:ext>
              </a:extLst>
            </p:cNvPr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8" name="Google Shape;3575;p64">
              <a:extLst>
                <a:ext uri="{FF2B5EF4-FFF2-40B4-BE49-F238E27FC236}">
                  <a16:creationId xmlns:a16="http://schemas.microsoft.com/office/drawing/2014/main" id="{7580F9CB-810C-8358-4FD3-F480286964DB}"/>
                </a:ext>
              </a:extLst>
            </p:cNvPr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9" name="Google Shape;3576;p64">
              <a:extLst>
                <a:ext uri="{FF2B5EF4-FFF2-40B4-BE49-F238E27FC236}">
                  <a16:creationId xmlns:a16="http://schemas.microsoft.com/office/drawing/2014/main" id="{C0F074AC-D58F-35D3-EC42-6DE08EC25B7B}"/>
                </a:ext>
              </a:extLst>
            </p:cNvPr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0" name="Google Shape;3577;p64">
              <a:extLst>
                <a:ext uri="{FF2B5EF4-FFF2-40B4-BE49-F238E27FC236}">
                  <a16:creationId xmlns:a16="http://schemas.microsoft.com/office/drawing/2014/main" id="{2CD92B00-DECB-2C0E-F695-0F836B364992}"/>
                </a:ext>
              </a:extLst>
            </p:cNvPr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1" name="Google Shape;3578;p64">
              <a:extLst>
                <a:ext uri="{FF2B5EF4-FFF2-40B4-BE49-F238E27FC236}">
                  <a16:creationId xmlns:a16="http://schemas.microsoft.com/office/drawing/2014/main" id="{2888A458-2C96-774C-240F-3529C3B2AAA7}"/>
                </a:ext>
              </a:extLst>
            </p:cNvPr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2" name="Google Shape;3579;p64">
              <a:extLst>
                <a:ext uri="{FF2B5EF4-FFF2-40B4-BE49-F238E27FC236}">
                  <a16:creationId xmlns:a16="http://schemas.microsoft.com/office/drawing/2014/main" id="{FDB3ED74-F381-6D3E-1AE7-2E6B05AA6EF2}"/>
                </a:ext>
              </a:extLst>
            </p:cNvPr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3" name="Google Shape;3580;p64">
              <a:extLst>
                <a:ext uri="{FF2B5EF4-FFF2-40B4-BE49-F238E27FC236}">
                  <a16:creationId xmlns:a16="http://schemas.microsoft.com/office/drawing/2014/main" id="{4B4F4EDB-D794-0C17-72DC-6E9F4AF5FCD4}"/>
                </a:ext>
              </a:extLst>
            </p:cNvPr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4" name="Google Shape;3581;p64">
              <a:extLst>
                <a:ext uri="{FF2B5EF4-FFF2-40B4-BE49-F238E27FC236}">
                  <a16:creationId xmlns:a16="http://schemas.microsoft.com/office/drawing/2014/main" id="{B838D3BC-DEB2-7C82-410F-97BB832FB456}"/>
                </a:ext>
              </a:extLst>
            </p:cNvPr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5" name="Google Shape;3582;p64">
              <a:extLst>
                <a:ext uri="{FF2B5EF4-FFF2-40B4-BE49-F238E27FC236}">
                  <a16:creationId xmlns:a16="http://schemas.microsoft.com/office/drawing/2014/main" id="{DAB9EE05-5197-A9CA-1032-36BD0841BE52}"/>
                </a:ext>
              </a:extLst>
            </p:cNvPr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6" name="Google Shape;3583;p64">
              <a:extLst>
                <a:ext uri="{FF2B5EF4-FFF2-40B4-BE49-F238E27FC236}">
                  <a16:creationId xmlns:a16="http://schemas.microsoft.com/office/drawing/2014/main" id="{FD6A56F3-B009-01B5-A135-900EC36E2C19}"/>
                </a:ext>
              </a:extLst>
            </p:cNvPr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7" name="Google Shape;3584;p64">
              <a:extLst>
                <a:ext uri="{FF2B5EF4-FFF2-40B4-BE49-F238E27FC236}">
                  <a16:creationId xmlns:a16="http://schemas.microsoft.com/office/drawing/2014/main" id="{59CAAFEE-B685-5D4C-20D1-C97C05BADDA4}"/>
                </a:ext>
              </a:extLst>
            </p:cNvPr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8" name="Google Shape;3585;p64">
              <a:extLst>
                <a:ext uri="{FF2B5EF4-FFF2-40B4-BE49-F238E27FC236}">
                  <a16:creationId xmlns:a16="http://schemas.microsoft.com/office/drawing/2014/main" id="{F1FAF129-693D-B44B-B388-ABC04048BF17}"/>
                </a:ext>
              </a:extLst>
            </p:cNvPr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9" name="Google Shape;3586;p64">
              <a:extLst>
                <a:ext uri="{FF2B5EF4-FFF2-40B4-BE49-F238E27FC236}">
                  <a16:creationId xmlns:a16="http://schemas.microsoft.com/office/drawing/2014/main" id="{3D3DA1E9-7CFD-D236-F840-2C541591CFBC}"/>
                </a:ext>
              </a:extLst>
            </p:cNvPr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0" name="Google Shape;3587;p64">
              <a:extLst>
                <a:ext uri="{FF2B5EF4-FFF2-40B4-BE49-F238E27FC236}">
                  <a16:creationId xmlns:a16="http://schemas.microsoft.com/office/drawing/2014/main" id="{58D07B6A-B47F-7A50-29BE-9B1815AC11DC}"/>
                </a:ext>
              </a:extLst>
            </p:cNvPr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1" name="Google Shape;3588;p64">
              <a:extLst>
                <a:ext uri="{FF2B5EF4-FFF2-40B4-BE49-F238E27FC236}">
                  <a16:creationId xmlns:a16="http://schemas.microsoft.com/office/drawing/2014/main" id="{56ED7EC0-266A-C574-C467-D93E7A02CD6E}"/>
                </a:ext>
              </a:extLst>
            </p:cNvPr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2" name="Google Shape;3589;p64">
              <a:extLst>
                <a:ext uri="{FF2B5EF4-FFF2-40B4-BE49-F238E27FC236}">
                  <a16:creationId xmlns:a16="http://schemas.microsoft.com/office/drawing/2014/main" id="{F6972890-DF9F-51A0-96A2-063C054B285A}"/>
                </a:ext>
              </a:extLst>
            </p:cNvPr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3" name="Google Shape;3590;p64">
              <a:extLst>
                <a:ext uri="{FF2B5EF4-FFF2-40B4-BE49-F238E27FC236}">
                  <a16:creationId xmlns:a16="http://schemas.microsoft.com/office/drawing/2014/main" id="{F80B1EA8-A23E-B665-272B-994EC3829F33}"/>
                </a:ext>
              </a:extLst>
            </p:cNvPr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4" name="Google Shape;3591;p64">
              <a:extLst>
                <a:ext uri="{FF2B5EF4-FFF2-40B4-BE49-F238E27FC236}">
                  <a16:creationId xmlns:a16="http://schemas.microsoft.com/office/drawing/2014/main" id="{54DBEC0A-F99A-09BA-431D-D701F081B8B6}"/>
                </a:ext>
              </a:extLst>
            </p:cNvPr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5" name="Google Shape;3592;p64">
              <a:extLst>
                <a:ext uri="{FF2B5EF4-FFF2-40B4-BE49-F238E27FC236}">
                  <a16:creationId xmlns:a16="http://schemas.microsoft.com/office/drawing/2014/main" id="{5A3F2798-BEDA-4BFF-A1F0-E748C07A5650}"/>
                </a:ext>
              </a:extLst>
            </p:cNvPr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6" name="Google Shape;3593;p64">
              <a:extLst>
                <a:ext uri="{FF2B5EF4-FFF2-40B4-BE49-F238E27FC236}">
                  <a16:creationId xmlns:a16="http://schemas.microsoft.com/office/drawing/2014/main" id="{12C993A0-8725-3514-ABE7-DC1288A4AA08}"/>
                </a:ext>
              </a:extLst>
            </p:cNvPr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7" name="Google Shape;3594;p64">
              <a:extLst>
                <a:ext uri="{FF2B5EF4-FFF2-40B4-BE49-F238E27FC236}">
                  <a16:creationId xmlns:a16="http://schemas.microsoft.com/office/drawing/2014/main" id="{11171D96-B3AE-9389-5B30-328B3E700804}"/>
                </a:ext>
              </a:extLst>
            </p:cNvPr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8" name="Google Shape;3595;p64">
              <a:extLst>
                <a:ext uri="{FF2B5EF4-FFF2-40B4-BE49-F238E27FC236}">
                  <a16:creationId xmlns:a16="http://schemas.microsoft.com/office/drawing/2014/main" id="{0EC6F007-EEDC-ED22-62EC-B8E407627A8A}"/>
                </a:ext>
              </a:extLst>
            </p:cNvPr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9" name="Google Shape;3596;p64">
              <a:extLst>
                <a:ext uri="{FF2B5EF4-FFF2-40B4-BE49-F238E27FC236}">
                  <a16:creationId xmlns:a16="http://schemas.microsoft.com/office/drawing/2014/main" id="{113E11DA-A5D7-D96A-EF12-E4EFA9ACD50B}"/>
                </a:ext>
              </a:extLst>
            </p:cNvPr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0" name="Google Shape;3597;p64">
              <a:extLst>
                <a:ext uri="{FF2B5EF4-FFF2-40B4-BE49-F238E27FC236}">
                  <a16:creationId xmlns:a16="http://schemas.microsoft.com/office/drawing/2014/main" id="{88DDE0CF-ED9E-CDC4-4CAF-0FDF197A9FF9}"/>
                </a:ext>
              </a:extLst>
            </p:cNvPr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1" name="Google Shape;3598;p64">
              <a:extLst>
                <a:ext uri="{FF2B5EF4-FFF2-40B4-BE49-F238E27FC236}">
                  <a16:creationId xmlns:a16="http://schemas.microsoft.com/office/drawing/2014/main" id="{15D27A55-555E-1462-7660-F7449B2C0254}"/>
                </a:ext>
              </a:extLst>
            </p:cNvPr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2" name="Google Shape;3599;p64">
              <a:extLst>
                <a:ext uri="{FF2B5EF4-FFF2-40B4-BE49-F238E27FC236}">
                  <a16:creationId xmlns:a16="http://schemas.microsoft.com/office/drawing/2014/main" id="{650FF045-D027-FA23-F9B5-5685C4508131}"/>
                </a:ext>
              </a:extLst>
            </p:cNvPr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3" name="Google Shape;3600;p64">
              <a:extLst>
                <a:ext uri="{FF2B5EF4-FFF2-40B4-BE49-F238E27FC236}">
                  <a16:creationId xmlns:a16="http://schemas.microsoft.com/office/drawing/2014/main" id="{0135D7D5-83BD-C7D5-BFDC-104D5F69A853}"/>
                </a:ext>
              </a:extLst>
            </p:cNvPr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4" name="Google Shape;3601;p64">
              <a:extLst>
                <a:ext uri="{FF2B5EF4-FFF2-40B4-BE49-F238E27FC236}">
                  <a16:creationId xmlns:a16="http://schemas.microsoft.com/office/drawing/2014/main" id="{ACD8F214-6AD8-70CD-9628-303E5F526F58}"/>
                </a:ext>
              </a:extLst>
            </p:cNvPr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5" name="Google Shape;3602;p64">
              <a:extLst>
                <a:ext uri="{FF2B5EF4-FFF2-40B4-BE49-F238E27FC236}">
                  <a16:creationId xmlns:a16="http://schemas.microsoft.com/office/drawing/2014/main" id="{75A57E5C-96D3-D8A8-DDDA-5092E6D70C99}"/>
                </a:ext>
              </a:extLst>
            </p:cNvPr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6" name="Google Shape;3603;p64">
              <a:extLst>
                <a:ext uri="{FF2B5EF4-FFF2-40B4-BE49-F238E27FC236}">
                  <a16:creationId xmlns:a16="http://schemas.microsoft.com/office/drawing/2014/main" id="{46C154D2-8E40-C6A6-AEAE-5215E3373B02}"/>
                </a:ext>
              </a:extLst>
            </p:cNvPr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7" name="Google Shape;3604;p64">
              <a:extLst>
                <a:ext uri="{FF2B5EF4-FFF2-40B4-BE49-F238E27FC236}">
                  <a16:creationId xmlns:a16="http://schemas.microsoft.com/office/drawing/2014/main" id="{B940952D-280B-B9F3-CF48-0C6D2DCEDF5D}"/>
                </a:ext>
              </a:extLst>
            </p:cNvPr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8" name="Google Shape;3605;p64">
              <a:extLst>
                <a:ext uri="{FF2B5EF4-FFF2-40B4-BE49-F238E27FC236}">
                  <a16:creationId xmlns:a16="http://schemas.microsoft.com/office/drawing/2014/main" id="{CDED1A9A-DBBC-4322-DCD4-FAC203F4A74A}"/>
                </a:ext>
              </a:extLst>
            </p:cNvPr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9" name="Google Shape;3606;p64">
              <a:extLst>
                <a:ext uri="{FF2B5EF4-FFF2-40B4-BE49-F238E27FC236}">
                  <a16:creationId xmlns:a16="http://schemas.microsoft.com/office/drawing/2014/main" id="{6EEDC588-1641-8F90-9830-D9FCCEA0B1F0}"/>
                </a:ext>
              </a:extLst>
            </p:cNvPr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0" name="Google Shape;3607;p64">
              <a:extLst>
                <a:ext uri="{FF2B5EF4-FFF2-40B4-BE49-F238E27FC236}">
                  <a16:creationId xmlns:a16="http://schemas.microsoft.com/office/drawing/2014/main" id="{A056FF27-8A61-9346-335D-3CE05AC238E9}"/>
                </a:ext>
              </a:extLst>
            </p:cNvPr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1" name="Google Shape;3608;p64">
              <a:extLst>
                <a:ext uri="{FF2B5EF4-FFF2-40B4-BE49-F238E27FC236}">
                  <a16:creationId xmlns:a16="http://schemas.microsoft.com/office/drawing/2014/main" id="{57D7F231-76F6-6266-6D6C-B5B01FFEC24F}"/>
                </a:ext>
              </a:extLst>
            </p:cNvPr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2" name="Google Shape;3609;p64">
              <a:extLst>
                <a:ext uri="{FF2B5EF4-FFF2-40B4-BE49-F238E27FC236}">
                  <a16:creationId xmlns:a16="http://schemas.microsoft.com/office/drawing/2014/main" id="{344B7161-3D7E-19CF-049F-ADB9A1C4F3CD}"/>
                </a:ext>
              </a:extLst>
            </p:cNvPr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3" name="Google Shape;3610;p64">
              <a:extLst>
                <a:ext uri="{FF2B5EF4-FFF2-40B4-BE49-F238E27FC236}">
                  <a16:creationId xmlns:a16="http://schemas.microsoft.com/office/drawing/2014/main" id="{7C4C620D-9D15-A361-C2C8-F0EE7D2A8C27}"/>
                </a:ext>
              </a:extLst>
            </p:cNvPr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4" name="Google Shape;3611;p64">
              <a:extLst>
                <a:ext uri="{FF2B5EF4-FFF2-40B4-BE49-F238E27FC236}">
                  <a16:creationId xmlns:a16="http://schemas.microsoft.com/office/drawing/2014/main" id="{603F1431-BA52-B0DE-6696-FF3D7FDA3E54}"/>
                </a:ext>
              </a:extLst>
            </p:cNvPr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5" name="Google Shape;3612;p64">
              <a:extLst>
                <a:ext uri="{FF2B5EF4-FFF2-40B4-BE49-F238E27FC236}">
                  <a16:creationId xmlns:a16="http://schemas.microsoft.com/office/drawing/2014/main" id="{082DCD0B-4F18-DEB0-F91D-8DB121D6672F}"/>
                </a:ext>
              </a:extLst>
            </p:cNvPr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6" name="Google Shape;3613;p64">
              <a:extLst>
                <a:ext uri="{FF2B5EF4-FFF2-40B4-BE49-F238E27FC236}">
                  <a16:creationId xmlns:a16="http://schemas.microsoft.com/office/drawing/2014/main" id="{58460C91-564A-9C68-A451-FC255B3FE8B6}"/>
                </a:ext>
              </a:extLst>
            </p:cNvPr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7" name="Google Shape;3614;p64">
              <a:extLst>
                <a:ext uri="{FF2B5EF4-FFF2-40B4-BE49-F238E27FC236}">
                  <a16:creationId xmlns:a16="http://schemas.microsoft.com/office/drawing/2014/main" id="{716FAEFB-19A7-8916-F5CF-5496B132FC6E}"/>
                </a:ext>
              </a:extLst>
            </p:cNvPr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8" name="Google Shape;3615;p64">
              <a:extLst>
                <a:ext uri="{FF2B5EF4-FFF2-40B4-BE49-F238E27FC236}">
                  <a16:creationId xmlns:a16="http://schemas.microsoft.com/office/drawing/2014/main" id="{E7A79A37-FA58-4748-4876-26AFAF455D81}"/>
                </a:ext>
              </a:extLst>
            </p:cNvPr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9" name="Google Shape;3616;p64">
              <a:extLst>
                <a:ext uri="{FF2B5EF4-FFF2-40B4-BE49-F238E27FC236}">
                  <a16:creationId xmlns:a16="http://schemas.microsoft.com/office/drawing/2014/main" id="{FD7767FE-13B3-8A65-89F9-381DF8C8C6F9}"/>
                </a:ext>
              </a:extLst>
            </p:cNvPr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0" name="Google Shape;3617;p64">
              <a:extLst>
                <a:ext uri="{FF2B5EF4-FFF2-40B4-BE49-F238E27FC236}">
                  <a16:creationId xmlns:a16="http://schemas.microsoft.com/office/drawing/2014/main" id="{25C55B7B-A5C2-F127-1DC5-1F55D3346FAF}"/>
                </a:ext>
              </a:extLst>
            </p:cNvPr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1" name="Google Shape;3618;p64">
              <a:extLst>
                <a:ext uri="{FF2B5EF4-FFF2-40B4-BE49-F238E27FC236}">
                  <a16:creationId xmlns:a16="http://schemas.microsoft.com/office/drawing/2014/main" id="{1F3DB155-D218-6B94-B463-350CFF525E17}"/>
                </a:ext>
              </a:extLst>
            </p:cNvPr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2" name="Google Shape;3619;p64">
              <a:extLst>
                <a:ext uri="{FF2B5EF4-FFF2-40B4-BE49-F238E27FC236}">
                  <a16:creationId xmlns:a16="http://schemas.microsoft.com/office/drawing/2014/main" id="{AAC60567-51B3-8F01-E6B8-D8F962A540D1}"/>
                </a:ext>
              </a:extLst>
            </p:cNvPr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3" name="Google Shape;3620;p64">
              <a:extLst>
                <a:ext uri="{FF2B5EF4-FFF2-40B4-BE49-F238E27FC236}">
                  <a16:creationId xmlns:a16="http://schemas.microsoft.com/office/drawing/2014/main" id="{ECF27E6A-C9C0-2A33-1E61-EDD63A995B3E}"/>
                </a:ext>
              </a:extLst>
            </p:cNvPr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4" name="Google Shape;3621;p64">
              <a:extLst>
                <a:ext uri="{FF2B5EF4-FFF2-40B4-BE49-F238E27FC236}">
                  <a16:creationId xmlns:a16="http://schemas.microsoft.com/office/drawing/2014/main" id="{C7248771-F872-29AC-FAB2-86CB9D37AC4B}"/>
                </a:ext>
              </a:extLst>
            </p:cNvPr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5" name="Google Shape;3622;p64">
              <a:extLst>
                <a:ext uri="{FF2B5EF4-FFF2-40B4-BE49-F238E27FC236}">
                  <a16:creationId xmlns:a16="http://schemas.microsoft.com/office/drawing/2014/main" id="{0BCC84C6-CC3F-503C-E16A-4B31B075B405}"/>
                </a:ext>
              </a:extLst>
            </p:cNvPr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6" name="Google Shape;3623;p64">
              <a:extLst>
                <a:ext uri="{FF2B5EF4-FFF2-40B4-BE49-F238E27FC236}">
                  <a16:creationId xmlns:a16="http://schemas.microsoft.com/office/drawing/2014/main" id="{794CA618-809E-0D4C-3C0D-A110A888AD12}"/>
                </a:ext>
              </a:extLst>
            </p:cNvPr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7" name="Google Shape;3624;p64">
              <a:extLst>
                <a:ext uri="{FF2B5EF4-FFF2-40B4-BE49-F238E27FC236}">
                  <a16:creationId xmlns:a16="http://schemas.microsoft.com/office/drawing/2014/main" id="{66F30A43-D5F6-9CF5-A05E-233C3E9B26B9}"/>
                </a:ext>
              </a:extLst>
            </p:cNvPr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8" name="Google Shape;3625;p64">
              <a:extLst>
                <a:ext uri="{FF2B5EF4-FFF2-40B4-BE49-F238E27FC236}">
                  <a16:creationId xmlns:a16="http://schemas.microsoft.com/office/drawing/2014/main" id="{9110DBFC-A0C0-D21F-CE2D-D013BDF5FDD1}"/>
                </a:ext>
              </a:extLst>
            </p:cNvPr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9" name="Google Shape;3626;p64">
              <a:extLst>
                <a:ext uri="{FF2B5EF4-FFF2-40B4-BE49-F238E27FC236}">
                  <a16:creationId xmlns:a16="http://schemas.microsoft.com/office/drawing/2014/main" id="{A2DE68F4-9EF3-3500-6108-CF5C95784B99}"/>
                </a:ext>
              </a:extLst>
            </p:cNvPr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0" name="Google Shape;3627;p64">
              <a:extLst>
                <a:ext uri="{FF2B5EF4-FFF2-40B4-BE49-F238E27FC236}">
                  <a16:creationId xmlns:a16="http://schemas.microsoft.com/office/drawing/2014/main" id="{0F56AB73-350C-5DFB-CB97-874BCC29C190}"/>
                </a:ext>
              </a:extLst>
            </p:cNvPr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1" name="Google Shape;3628;p64">
              <a:extLst>
                <a:ext uri="{FF2B5EF4-FFF2-40B4-BE49-F238E27FC236}">
                  <a16:creationId xmlns:a16="http://schemas.microsoft.com/office/drawing/2014/main" id="{B7F44E8D-BF47-ADE1-F7CD-72FAC1326E71}"/>
                </a:ext>
              </a:extLst>
            </p:cNvPr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2" name="Google Shape;3629;p64">
              <a:extLst>
                <a:ext uri="{FF2B5EF4-FFF2-40B4-BE49-F238E27FC236}">
                  <a16:creationId xmlns:a16="http://schemas.microsoft.com/office/drawing/2014/main" id="{21CCD599-FF90-61D6-0F72-C9BA59D37FA4}"/>
                </a:ext>
              </a:extLst>
            </p:cNvPr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3" name="Google Shape;3630;p64">
              <a:extLst>
                <a:ext uri="{FF2B5EF4-FFF2-40B4-BE49-F238E27FC236}">
                  <a16:creationId xmlns:a16="http://schemas.microsoft.com/office/drawing/2014/main" id="{12EAF638-A75A-61F0-FB19-39BE9EDBBD78}"/>
                </a:ext>
              </a:extLst>
            </p:cNvPr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4" name="Google Shape;3631;p64">
              <a:extLst>
                <a:ext uri="{FF2B5EF4-FFF2-40B4-BE49-F238E27FC236}">
                  <a16:creationId xmlns:a16="http://schemas.microsoft.com/office/drawing/2014/main" id="{EDC7DDBF-608F-518C-4654-AB9561433F2B}"/>
                </a:ext>
              </a:extLst>
            </p:cNvPr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5" name="Google Shape;3632;p64">
              <a:extLst>
                <a:ext uri="{FF2B5EF4-FFF2-40B4-BE49-F238E27FC236}">
                  <a16:creationId xmlns:a16="http://schemas.microsoft.com/office/drawing/2014/main" id="{A01351AB-5FC3-3CEB-6052-D236EB8326F0}"/>
                </a:ext>
              </a:extLst>
            </p:cNvPr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6" name="Google Shape;3633;p64">
              <a:extLst>
                <a:ext uri="{FF2B5EF4-FFF2-40B4-BE49-F238E27FC236}">
                  <a16:creationId xmlns:a16="http://schemas.microsoft.com/office/drawing/2014/main" id="{A5828640-6F18-F325-88CC-2E72ABECB360}"/>
                </a:ext>
              </a:extLst>
            </p:cNvPr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7" name="Google Shape;3634;p64">
              <a:extLst>
                <a:ext uri="{FF2B5EF4-FFF2-40B4-BE49-F238E27FC236}">
                  <a16:creationId xmlns:a16="http://schemas.microsoft.com/office/drawing/2014/main" id="{AC9076CD-AE92-DACD-4373-DF3F55C6DF1A}"/>
                </a:ext>
              </a:extLst>
            </p:cNvPr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8" name="Google Shape;3635;p64">
              <a:extLst>
                <a:ext uri="{FF2B5EF4-FFF2-40B4-BE49-F238E27FC236}">
                  <a16:creationId xmlns:a16="http://schemas.microsoft.com/office/drawing/2014/main" id="{E9746FFF-FD04-6E30-D2B9-7D9F253B81F2}"/>
                </a:ext>
              </a:extLst>
            </p:cNvPr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9" name="Google Shape;3636;p64">
              <a:extLst>
                <a:ext uri="{FF2B5EF4-FFF2-40B4-BE49-F238E27FC236}">
                  <a16:creationId xmlns:a16="http://schemas.microsoft.com/office/drawing/2014/main" id="{5E3EE3DA-10DE-EE23-4046-844BBADD5E0E}"/>
                </a:ext>
              </a:extLst>
            </p:cNvPr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0" name="Google Shape;3637;p64">
              <a:extLst>
                <a:ext uri="{FF2B5EF4-FFF2-40B4-BE49-F238E27FC236}">
                  <a16:creationId xmlns:a16="http://schemas.microsoft.com/office/drawing/2014/main" id="{8FF40146-7BC8-3F1E-B2E7-E209280FA165}"/>
                </a:ext>
              </a:extLst>
            </p:cNvPr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1" name="Google Shape;3638;p64">
              <a:extLst>
                <a:ext uri="{FF2B5EF4-FFF2-40B4-BE49-F238E27FC236}">
                  <a16:creationId xmlns:a16="http://schemas.microsoft.com/office/drawing/2014/main" id="{AB31CF91-3C36-8B83-C546-4B5E34BAC052}"/>
                </a:ext>
              </a:extLst>
            </p:cNvPr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2" name="Google Shape;3639;p64">
              <a:extLst>
                <a:ext uri="{FF2B5EF4-FFF2-40B4-BE49-F238E27FC236}">
                  <a16:creationId xmlns:a16="http://schemas.microsoft.com/office/drawing/2014/main" id="{043147D6-1453-56F5-D57B-53354C545E43}"/>
                </a:ext>
              </a:extLst>
            </p:cNvPr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3" name="Google Shape;3640;p64">
              <a:extLst>
                <a:ext uri="{FF2B5EF4-FFF2-40B4-BE49-F238E27FC236}">
                  <a16:creationId xmlns:a16="http://schemas.microsoft.com/office/drawing/2014/main" id="{C3B12E5C-45A5-ED26-78DD-D674F962F86F}"/>
                </a:ext>
              </a:extLst>
            </p:cNvPr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4" name="Google Shape;3641;p64">
              <a:extLst>
                <a:ext uri="{FF2B5EF4-FFF2-40B4-BE49-F238E27FC236}">
                  <a16:creationId xmlns:a16="http://schemas.microsoft.com/office/drawing/2014/main" id="{F86E3D6D-BD05-0AD0-6962-1E2B0CFD49C0}"/>
                </a:ext>
              </a:extLst>
            </p:cNvPr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5" name="Google Shape;3642;p64">
              <a:extLst>
                <a:ext uri="{FF2B5EF4-FFF2-40B4-BE49-F238E27FC236}">
                  <a16:creationId xmlns:a16="http://schemas.microsoft.com/office/drawing/2014/main" id="{1222B6A6-B417-CF8F-AD6A-6735EF9B2A7C}"/>
                </a:ext>
              </a:extLst>
            </p:cNvPr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6" name="Google Shape;3643;p64">
              <a:extLst>
                <a:ext uri="{FF2B5EF4-FFF2-40B4-BE49-F238E27FC236}">
                  <a16:creationId xmlns:a16="http://schemas.microsoft.com/office/drawing/2014/main" id="{C93B0DCB-AF50-3042-8A04-FF960AB5BC73}"/>
                </a:ext>
              </a:extLst>
            </p:cNvPr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7" name="Google Shape;3644;p64">
              <a:extLst>
                <a:ext uri="{FF2B5EF4-FFF2-40B4-BE49-F238E27FC236}">
                  <a16:creationId xmlns:a16="http://schemas.microsoft.com/office/drawing/2014/main" id="{47631CA9-EF4E-EAE2-8D2F-0B723C73FBD8}"/>
                </a:ext>
              </a:extLst>
            </p:cNvPr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8" name="Google Shape;3645;p64">
              <a:extLst>
                <a:ext uri="{FF2B5EF4-FFF2-40B4-BE49-F238E27FC236}">
                  <a16:creationId xmlns:a16="http://schemas.microsoft.com/office/drawing/2014/main" id="{FDE3E77E-57C7-F773-45E0-73667C457914}"/>
                </a:ext>
              </a:extLst>
            </p:cNvPr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9" name="Google Shape;3646;p64">
              <a:extLst>
                <a:ext uri="{FF2B5EF4-FFF2-40B4-BE49-F238E27FC236}">
                  <a16:creationId xmlns:a16="http://schemas.microsoft.com/office/drawing/2014/main" id="{EEDF28A5-45BC-3058-48FA-5494A78D612D}"/>
                </a:ext>
              </a:extLst>
            </p:cNvPr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0" name="Google Shape;3647;p64">
              <a:extLst>
                <a:ext uri="{FF2B5EF4-FFF2-40B4-BE49-F238E27FC236}">
                  <a16:creationId xmlns:a16="http://schemas.microsoft.com/office/drawing/2014/main" id="{3D472440-0849-A0F5-D4EA-B83F55EA1A0E}"/>
                </a:ext>
              </a:extLst>
            </p:cNvPr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1" name="Google Shape;3648;p64">
              <a:extLst>
                <a:ext uri="{FF2B5EF4-FFF2-40B4-BE49-F238E27FC236}">
                  <a16:creationId xmlns:a16="http://schemas.microsoft.com/office/drawing/2014/main" id="{1D075CC3-7851-82CE-72E3-D08F3916EAC8}"/>
                </a:ext>
              </a:extLst>
            </p:cNvPr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2" name="Google Shape;3649;p64">
              <a:extLst>
                <a:ext uri="{FF2B5EF4-FFF2-40B4-BE49-F238E27FC236}">
                  <a16:creationId xmlns:a16="http://schemas.microsoft.com/office/drawing/2014/main" id="{C38970F4-19AE-7B42-B134-6FCF8F139CA5}"/>
                </a:ext>
              </a:extLst>
            </p:cNvPr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3" name="Google Shape;3650;p64">
              <a:extLst>
                <a:ext uri="{FF2B5EF4-FFF2-40B4-BE49-F238E27FC236}">
                  <a16:creationId xmlns:a16="http://schemas.microsoft.com/office/drawing/2014/main" id="{37FC9915-E9FD-E9DD-D2E9-539140D7D14E}"/>
                </a:ext>
              </a:extLst>
            </p:cNvPr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4" name="Google Shape;3651;p64">
              <a:extLst>
                <a:ext uri="{FF2B5EF4-FFF2-40B4-BE49-F238E27FC236}">
                  <a16:creationId xmlns:a16="http://schemas.microsoft.com/office/drawing/2014/main" id="{788AE499-FB3A-E2F5-2498-B2247EC6C30E}"/>
                </a:ext>
              </a:extLst>
            </p:cNvPr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5" name="Google Shape;3652;p64">
              <a:extLst>
                <a:ext uri="{FF2B5EF4-FFF2-40B4-BE49-F238E27FC236}">
                  <a16:creationId xmlns:a16="http://schemas.microsoft.com/office/drawing/2014/main" id="{39224C68-BB0E-35DE-1D2A-C0C5288047E5}"/>
                </a:ext>
              </a:extLst>
            </p:cNvPr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6" name="Google Shape;3653;p64">
              <a:extLst>
                <a:ext uri="{FF2B5EF4-FFF2-40B4-BE49-F238E27FC236}">
                  <a16:creationId xmlns:a16="http://schemas.microsoft.com/office/drawing/2014/main" id="{D4288C17-722A-9B7B-BA63-28D31A6EF51B}"/>
                </a:ext>
              </a:extLst>
            </p:cNvPr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7" name="Google Shape;3654;p64">
              <a:extLst>
                <a:ext uri="{FF2B5EF4-FFF2-40B4-BE49-F238E27FC236}">
                  <a16:creationId xmlns:a16="http://schemas.microsoft.com/office/drawing/2014/main" id="{01D1201E-E84E-4A04-EB14-0920532DCBCA}"/>
                </a:ext>
              </a:extLst>
            </p:cNvPr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8" name="Google Shape;3655;p64">
              <a:extLst>
                <a:ext uri="{FF2B5EF4-FFF2-40B4-BE49-F238E27FC236}">
                  <a16:creationId xmlns:a16="http://schemas.microsoft.com/office/drawing/2014/main" id="{4621E8E1-2BCF-7A00-EC08-9A85EEBB86F8}"/>
                </a:ext>
              </a:extLst>
            </p:cNvPr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9" name="Google Shape;3656;p64">
              <a:extLst>
                <a:ext uri="{FF2B5EF4-FFF2-40B4-BE49-F238E27FC236}">
                  <a16:creationId xmlns:a16="http://schemas.microsoft.com/office/drawing/2014/main" id="{9A54542B-A827-EBE1-3768-76D3851E1818}"/>
                </a:ext>
              </a:extLst>
            </p:cNvPr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0" name="Google Shape;3657;p64">
              <a:extLst>
                <a:ext uri="{FF2B5EF4-FFF2-40B4-BE49-F238E27FC236}">
                  <a16:creationId xmlns:a16="http://schemas.microsoft.com/office/drawing/2014/main" id="{84C1A46C-DF8E-E41D-3C48-2C41691DDB92}"/>
                </a:ext>
              </a:extLst>
            </p:cNvPr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1" name="Google Shape;3658;p64">
              <a:extLst>
                <a:ext uri="{FF2B5EF4-FFF2-40B4-BE49-F238E27FC236}">
                  <a16:creationId xmlns:a16="http://schemas.microsoft.com/office/drawing/2014/main" id="{0CFFCBF0-245C-5A5B-5040-38C0B57D7ECB}"/>
                </a:ext>
              </a:extLst>
            </p:cNvPr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2" name="Google Shape;3659;p64">
              <a:extLst>
                <a:ext uri="{FF2B5EF4-FFF2-40B4-BE49-F238E27FC236}">
                  <a16:creationId xmlns:a16="http://schemas.microsoft.com/office/drawing/2014/main" id="{A839542F-B300-183C-6727-BF3850EE0FDF}"/>
                </a:ext>
              </a:extLst>
            </p:cNvPr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3" name="Google Shape;3660;p64">
              <a:extLst>
                <a:ext uri="{FF2B5EF4-FFF2-40B4-BE49-F238E27FC236}">
                  <a16:creationId xmlns:a16="http://schemas.microsoft.com/office/drawing/2014/main" id="{4302275C-B20F-2AD6-A1E2-EC142AAEF4D6}"/>
                </a:ext>
              </a:extLst>
            </p:cNvPr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4" name="Google Shape;3661;p64">
              <a:extLst>
                <a:ext uri="{FF2B5EF4-FFF2-40B4-BE49-F238E27FC236}">
                  <a16:creationId xmlns:a16="http://schemas.microsoft.com/office/drawing/2014/main" id="{1D24B9C7-BF2F-4CF8-8E6A-07048CE5B08B}"/>
                </a:ext>
              </a:extLst>
            </p:cNvPr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5" name="Google Shape;3662;p64">
              <a:extLst>
                <a:ext uri="{FF2B5EF4-FFF2-40B4-BE49-F238E27FC236}">
                  <a16:creationId xmlns:a16="http://schemas.microsoft.com/office/drawing/2014/main" id="{3EA878C1-9C57-1AF1-9E36-7CD6E819DBAD}"/>
                </a:ext>
              </a:extLst>
            </p:cNvPr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6" name="Google Shape;3663;p64">
              <a:extLst>
                <a:ext uri="{FF2B5EF4-FFF2-40B4-BE49-F238E27FC236}">
                  <a16:creationId xmlns:a16="http://schemas.microsoft.com/office/drawing/2014/main" id="{731F2C0F-DF50-20FF-8828-B111F1CE5633}"/>
                </a:ext>
              </a:extLst>
            </p:cNvPr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7" name="Google Shape;3664;p64">
              <a:extLst>
                <a:ext uri="{FF2B5EF4-FFF2-40B4-BE49-F238E27FC236}">
                  <a16:creationId xmlns:a16="http://schemas.microsoft.com/office/drawing/2014/main" id="{9122F193-E047-8C51-B8A2-8DACA20A294F}"/>
                </a:ext>
              </a:extLst>
            </p:cNvPr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8" name="Google Shape;3665;p64">
              <a:extLst>
                <a:ext uri="{FF2B5EF4-FFF2-40B4-BE49-F238E27FC236}">
                  <a16:creationId xmlns:a16="http://schemas.microsoft.com/office/drawing/2014/main" id="{025B4DCF-9434-AE3E-6600-017161005807}"/>
                </a:ext>
              </a:extLst>
            </p:cNvPr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9" name="Google Shape;3666;p64">
              <a:extLst>
                <a:ext uri="{FF2B5EF4-FFF2-40B4-BE49-F238E27FC236}">
                  <a16:creationId xmlns:a16="http://schemas.microsoft.com/office/drawing/2014/main" id="{CD424956-8C06-EAF7-8FCE-52B41D4EBF0E}"/>
                </a:ext>
              </a:extLst>
            </p:cNvPr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0" name="Google Shape;3667;p64">
              <a:extLst>
                <a:ext uri="{FF2B5EF4-FFF2-40B4-BE49-F238E27FC236}">
                  <a16:creationId xmlns:a16="http://schemas.microsoft.com/office/drawing/2014/main" id="{4C580856-FF9F-71BA-EA8E-990CC660050A}"/>
                </a:ext>
              </a:extLst>
            </p:cNvPr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1" name="Google Shape;3668;p64">
              <a:extLst>
                <a:ext uri="{FF2B5EF4-FFF2-40B4-BE49-F238E27FC236}">
                  <a16:creationId xmlns:a16="http://schemas.microsoft.com/office/drawing/2014/main" id="{228486CD-91CC-B2BF-B0F4-8ABFB35DADD9}"/>
                </a:ext>
              </a:extLst>
            </p:cNvPr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2" name="Google Shape;3669;p64">
              <a:extLst>
                <a:ext uri="{FF2B5EF4-FFF2-40B4-BE49-F238E27FC236}">
                  <a16:creationId xmlns:a16="http://schemas.microsoft.com/office/drawing/2014/main" id="{936C4E81-6F4B-323B-0DBF-1FA9F9377521}"/>
                </a:ext>
              </a:extLst>
            </p:cNvPr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3" name="Google Shape;3670;p64">
              <a:extLst>
                <a:ext uri="{FF2B5EF4-FFF2-40B4-BE49-F238E27FC236}">
                  <a16:creationId xmlns:a16="http://schemas.microsoft.com/office/drawing/2014/main" id="{8E2832D8-66AD-44BE-420C-E8E42904A3E7}"/>
                </a:ext>
              </a:extLst>
            </p:cNvPr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4" name="Google Shape;3671;p64">
              <a:extLst>
                <a:ext uri="{FF2B5EF4-FFF2-40B4-BE49-F238E27FC236}">
                  <a16:creationId xmlns:a16="http://schemas.microsoft.com/office/drawing/2014/main" id="{6391B6D4-4BEE-161B-4015-4569E7D4B8EA}"/>
                </a:ext>
              </a:extLst>
            </p:cNvPr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5" name="Google Shape;3672;p64">
              <a:extLst>
                <a:ext uri="{FF2B5EF4-FFF2-40B4-BE49-F238E27FC236}">
                  <a16:creationId xmlns:a16="http://schemas.microsoft.com/office/drawing/2014/main" id="{A441BC1D-3D85-FCCD-BB7E-11A8EB7AC8AE}"/>
                </a:ext>
              </a:extLst>
            </p:cNvPr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6" name="Google Shape;3673;p64">
              <a:extLst>
                <a:ext uri="{FF2B5EF4-FFF2-40B4-BE49-F238E27FC236}">
                  <a16:creationId xmlns:a16="http://schemas.microsoft.com/office/drawing/2014/main" id="{F5DB199D-FF39-D13F-659E-D2ACC945BF7B}"/>
                </a:ext>
              </a:extLst>
            </p:cNvPr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7" name="Google Shape;3674;p64">
              <a:extLst>
                <a:ext uri="{FF2B5EF4-FFF2-40B4-BE49-F238E27FC236}">
                  <a16:creationId xmlns:a16="http://schemas.microsoft.com/office/drawing/2014/main" id="{4AC7105D-DDCB-D0F8-7C0F-40BA44F0AEBE}"/>
                </a:ext>
              </a:extLst>
            </p:cNvPr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8" name="Google Shape;3675;p64">
              <a:extLst>
                <a:ext uri="{FF2B5EF4-FFF2-40B4-BE49-F238E27FC236}">
                  <a16:creationId xmlns:a16="http://schemas.microsoft.com/office/drawing/2014/main" id="{488C70D6-54E2-E8A9-55D0-1CCC5EA69ED3}"/>
                </a:ext>
              </a:extLst>
            </p:cNvPr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9" name="Google Shape;3676;p64">
              <a:extLst>
                <a:ext uri="{FF2B5EF4-FFF2-40B4-BE49-F238E27FC236}">
                  <a16:creationId xmlns:a16="http://schemas.microsoft.com/office/drawing/2014/main" id="{4F12FBC8-F5C6-87CC-EE43-4C8EA9E5E1FE}"/>
                </a:ext>
              </a:extLst>
            </p:cNvPr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0" name="Google Shape;3677;p64">
              <a:extLst>
                <a:ext uri="{FF2B5EF4-FFF2-40B4-BE49-F238E27FC236}">
                  <a16:creationId xmlns:a16="http://schemas.microsoft.com/office/drawing/2014/main" id="{713D2242-EC43-BB59-C57C-FF17B2F2CD31}"/>
                </a:ext>
              </a:extLst>
            </p:cNvPr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1" name="Google Shape;3678;p64">
              <a:extLst>
                <a:ext uri="{FF2B5EF4-FFF2-40B4-BE49-F238E27FC236}">
                  <a16:creationId xmlns:a16="http://schemas.microsoft.com/office/drawing/2014/main" id="{B8D09B9A-3F94-7155-9F04-93EB829BF928}"/>
                </a:ext>
              </a:extLst>
            </p:cNvPr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2" name="Google Shape;3679;p64">
              <a:extLst>
                <a:ext uri="{FF2B5EF4-FFF2-40B4-BE49-F238E27FC236}">
                  <a16:creationId xmlns:a16="http://schemas.microsoft.com/office/drawing/2014/main" id="{8CD84FA5-5C4F-BC8E-9514-746427A83BFE}"/>
                </a:ext>
              </a:extLst>
            </p:cNvPr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3" name="Google Shape;3680;p64">
              <a:extLst>
                <a:ext uri="{FF2B5EF4-FFF2-40B4-BE49-F238E27FC236}">
                  <a16:creationId xmlns:a16="http://schemas.microsoft.com/office/drawing/2014/main" id="{A71C8785-7C93-1321-A605-3A13DB3C642B}"/>
                </a:ext>
              </a:extLst>
            </p:cNvPr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4" name="Google Shape;3681;p64">
              <a:extLst>
                <a:ext uri="{FF2B5EF4-FFF2-40B4-BE49-F238E27FC236}">
                  <a16:creationId xmlns:a16="http://schemas.microsoft.com/office/drawing/2014/main" id="{1AB54C26-D70C-513C-0985-7F941126ED25}"/>
                </a:ext>
              </a:extLst>
            </p:cNvPr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5" name="Google Shape;3682;p64">
              <a:extLst>
                <a:ext uri="{FF2B5EF4-FFF2-40B4-BE49-F238E27FC236}">
                  <a16:creationId xmlns:a16="http://schemas.microsoft.com/office/drawing/2014/main" id="{7CC51C97-8E5B-E219-A2AC-513915A8E32D}"/>
                </a:ext>
              </a:extLst>
            </p:cNvPr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6" name="Google Shape;3683;p64">
              <a:extLst>
                <a:ext uri="{FF2B5EF4-FFF2-40B4-BE49-F238E27FC236}">
                  <a16:creationId xmlns:a16="http://schemas.microsoft.com/office/drawing/2014/main" id="{AF761E7D-8D1E-BE0C-FF68-3EC9B3978A72}"/>
                </a:ext>
              </a:extLst>
            </p:cNvPr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7" name="Google Shape;3684;p64">
              <a:extLst>
                <a:ext uri="{FF2B5EF4-FFF2-40B4-BE49-F238E27FC236}">
                  <a16:creationId xmlns:a16="http://schemas.microsoft.com/office/drawing/2014/main" id="{71B89B38-13B1-2594-6726-6E1183164CE6}"/>
                </a:ext>
              </a:extLst>
            </p:cNvPr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8" name="Google Shape;3685;p64">
              <a:extLst>
                <a:ext uri="{FF2B5EF4-FFF2-40B4-BE49-F238E27FC236}">
                  <a16:creationId xmlns:a16="http://schemas.microsoft.com/office/drawing/2014/main" id="{B41A0027-BCC2-E49E-BEE5-354714958E06}"/>
                </a:ext>
              </a:extLst>
            </p:cNvPr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9" name="Google Shape;3686;p64">
              <a:extLst>
                <a:ext uri="{FF2B5EF4-FFF2-40B4-BE49-F238E27FC236}">
                  <a16:creationId xmlns:a16="http://schemas.microsoft.com/office/drawing/2014/main" id="{94EDBEFA-CFE6-339E-1591-C29FB54170BA}"/>
                </a:ext>
              </a:extLst>
            </p:cNvPr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0" name="Google Shape;3687;p64">
              <a:extLst>
                <a:ext uri="{FF2B5EF4-FFF2-40B4-BE49-F238E27FC236}">
                  <a16:creationId xmlns:a16="http://schemas.microsoft.com/office/drawing/2014/main" id="{C4CE3E12-DA18-010D-301E-F8C157C28A9E}"/>
                </a:ext>
              </a:extLst>
            </p:cNvPr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1" name="Google Shape;3688;p64">
              <a:extLst>
                <a:ext uri="{FF2B5EF4-FFF2-40B4-BE49-F238E27FC236}">
                  <a16:creationId xmlns:a16="http://schemas.microsoft.com/office/drawing/2014/main" id="{3FE2EDE4-3DAB-939F-8F30-6D7995991A7C}"/>
                </a:ext>
              </a:extLst>
            </p:cNvPr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2" name="Google Shape;3689;p64">
              <a:extLst>
                <a:ext uri="{FF2B5EF4-FFF2-40B4-BE49-F238E27FC236}">
                  <a16:creationId xmlns:a16="http://schemas.microsoft.com/office/drawing/2014/main" id="{0C52DBEB-1D14-9204-F89F-0F0EDEB137D9}"/>
                </a:ext>
              </a:extLst>
            </p:cNvPr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3" name="Google Shape;3690;p64">
              <a:extLst>
                <a:ext uri="{FF2B5EF4-FFF2-40B4-BE49-F238E27FC236}">
                  <a16:creationId xmlns:a16="http://schemas.microsoft.com/office/drawing/2014/main" id="{F7B5295C-0FCC-8144-0455-C95064FF435E}"/>
                </a:ext>
              </a:extLst>
            </p:cNvPr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4" name="Google Shape;3691;p64">
              <a:extLst>
                <a:ext uri="{FF2B5EF4-FFF2-40B4-BE49-F238E27FC236}">
                  <a16:creationId xmlns:a16="http://schemas.microsoft.com/office/drawing/2014/main" id="{A1239E7F-CF6F-23C6-08E3-4B5185A82790}"/>
                </a:ext>
              </a:extLst>
            </p:cNvPr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5" name="Google Shape;3692;p64">
              <a:extLst>
                <a:ext uri="{FF2B5EF4-FFF2-40B4-BE49-F238E27FC236}">
                  <a16:creationId xmlns:a16="http://schemas.microsoft.com/office/drawing/2014/main" id="{BFB11F3A-A00A-62BA-29B3-1EF67FAB870D}"/>
                </a:ext>
              </a:extLst>
            </p:cNvPr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6" name="Google Shape;3693;p64">
              <a:extLst>
                <a:ext uri="{FF2B5EF4-FFF2-40B4-BE49-F238E27FC236}">
                  <a16:creationId xmlns:a16="http://schemas.microsoft.com/office/drawing/2014/main" id="{C4F691FB-137D-C5C8-6991-44A5A6DC5EAC}"/>
                </a:ext>
              </a:extLst>
            </p:cNvPr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7" name="Google Shape;3694;p64">
              <a:extLst>
                <a:ext uri="{FF2B5EF4-FFF2-40B4-BE49-F238E27FC236}">
                  <a16:creationId xmlns:a16="http://schemas.microsoft.com/office/drawing/2014/main" id="{E2F42E89-9F2B-2059-6070-8B712F8D91EA}"/>
                </a:ext>
              </a:extLst>
            </p:cNvPr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8" name="Google Shape;3695;p64">
              <a:extLst>
                <a:ext uri="{FF2B5EF4-FFF2-40B4-BE49-F238E27FC236}">
                  <a16:creationId xmlns:a16="http://schemas.microsoft.com/office/drawing/2014/main" id="{F0137FAD-534E-C009-6EF1-3F3854B32633}"/>
                </a:ext>
              </a:extLst>
            </p:cNvPr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9" name="Google Shape;3696;p64">
              <a:extLst>
                <a:ext uri="{FF2B5EF4-FFF2-40B4-BE49-F238E27FC236}">
                  <a16:creationId xmlns:a16="http://schemas.microsoft.com/office/drawing/2014/main" id="{603DC08E-5779-AB74-4E49-770333988327}"/>
                </a:ext>
              </a:extLst>
            </p:cNvPr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0" name="Google Shape;3697;p64">
              <a:extLst>
                <a:ext uri="{FF2B5EF4-FFF2-40B4-BE49-F238E27FC236}">
                  <a16:creationId xmlns:a16="http://schemas.microsoft.com/office/drawing/2014/main" id="{3F71628B-B3C5-AE30-27B6-193C5034BBCB}"/>
                </a:ext>
              </a:extLst>
            </p:cNvPr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1" name="Google Shape;3698;p64">
              <a:extLst>
                <a:ext uri="{FF2B5EF4-FFF2-40B4-BE49-F238E27FC236}">
                  <a16:creationId xmlns:a16="http://schemas.microsoft.com/office/drawing/2014/main" id="{7217C3E1-4154-F121-6947-A8ECC5445CEF}"/>
                </a:ext>
              </a:extLst>
            </p:cNvPr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2" name="Google Shape;3699;p64">
              <a:extLst>
                <a:ext uri="{FF2B5EF4-FFF2-40B4-BE49-F238E27FC236}">
                  <a16:creationId xmlns:a16="http://schemas.microsoft.com/office/drawing/2014/main" id="{88CFB0EE-2A1A-CDEF-CB2B-08A78B295FE4}"/>
                </a:ext>
              </a:extLst>
            </p:cNvPr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3" name="Google Shape;3700;p64">
              <a:extLst>
                <a:ext uri="{FF2B5EF4-FFF2-40B4-BE49-F238E27FC236}">
                  <a16:creationId xmlns:a16="http://schemas.microsoft.com/office/drawing/2014/main" id="{3EE2A43C-B88D-F134-F198-2E9F3D7C3283}"/>
                </a:ext>
              </a:extLst>
            </p:cNvPr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4" name="Google Shape;3701;p64">
              <a:extLst>
                <a:ext uri="{FF2B5EF4-FFF2-40B4-BE49-F238E27FC236}">
                  <a16:creationId xmlns:a16="http://schemas.microsoft.com/office/drawing/2014/main" id="{A55A7148-B88D-68C8-90BF-332F260A5202}"/>
                </a:ext>
              </a:extLst>
            </p:cNvPr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5" name="Google Shape;3702;p64">
              <a:extLst>
                <a:ext uri="{FF2B5EF4-FFF2-40B4-BE49-F238E27FC236}">
                  <a16:creationId xmlns:a16="http://schemas.microsoft.com/office/drawing/2014/main" id="{A547D3D1-EE2E-F66E-A09F-3F5C9B032909}"/>
                </a:ext>
              </a:extLst>
            </p:cNvPr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6" name="Google Shape;3703;p64">
              <a:extLst>
                <a:ext uri="{FF2B5EF4-FFF2-40B4-BE49-F238E27FC236}">
                  <a16:creationId xmlns:a16="http://schemas.microsoft.com/office/drawing/2014/main" id="{020DF48B-FD5B-64E9-B0D1-6EE968DBC487}"/>
                </a:ext>
              </a:extLst>
            </p:cNvPr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7" name="Google Shape;3704;p64">
              <a:extLst>
                <a:ext uri="{FF2B5EF4-FFF2-40B4-BE49-F238E27FC236}">
                  <a16:creationId xmlns:a16="http://schemas.microsoft.com/office/drawing/2014/main" id="{4CFEFE01-68A8-5F04-D44E-F8629FB70AEC}"/>
                </a:ext>
              </a:extLst>
            </p:cNvPr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8" name="Google Shape;3705;p64">
              <a:extLst>
                <a:ext uri="{FF2B5EF4-FFF2-40B4-BE49-F238E27FC236}">
                  <a16:creationId xmlns:a16="http://schemas.microsoft.com/office/drawing/2014/main" id="{DD3E9022-D68A-3A41-85E1-9DA44169584D}"/>
                </a:ext>
              </a:extLst>
            </p:cNvPr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9" name="Google Shape;3706;p64">
              <a:extLst>
                <a:ext uri="{FF2B5EF4-FFF2-40B4-BE49-F238E27FC236}">
                  <a16:creationId xmlns:a16="http://schemas.microsoft.com/office/drawing/2014/main" id="{CFEC2A9F-6A5B-45B7-F4A8-C9644FD9276F}"/>
                </a:ext>
              </a:extLst>
            </p:cNvPr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0" name="Google Shape;3707;p64">
              <a:extLst>
                <a:ext uri="{FF2B5EF4-FFF2-40B4-BE49-F238E27FC236}">
                  <a16:creationId xmlns:a16="http://schemas.microsoft.com/office/drawing/2014/main" id="{DACB9236-BFE6-F6A1-C0FD-1EB480CD27E8}"/>
                </a:ext>
              </a:extLst>
            </p:cNvPr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1" name="Google Shape;3708;p64">
              <a:extLst>
                <a:ext uri="{FF2B5EF4-FFF2-40B4-BE49-F238E27FC236}">
                  <a16:creationId xmlns:a16="http://schemas.microsoft.com/office/drawing/2014/main" id="{512AEB57-83A1-EA74-ADB9-E764F226A538}"/>
                </a:ext>
              </a:extLst>
            </p:cNvPr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2" name="Google Shape;3709;p64">
              <a:extLst>
                <a:ext uri="{FF2B5EF4-FFF2-40B4-BE49-F238E27FC236}">
                  <a16:creationId xmlns:a16="http://schemas.microsoft.com/office/drawing/2014/main" id="{3F957171-C3BA-F34C-D5F5-9A33153B1BCA}"/>
                </a:ext>
              </a:extLst>
            </p:cNvPr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3" name="Google Shape;3710;p64">
              <a:extLst>
                <a:ext uri="{FF2B5EF4-FFF2-40B4-BE49-F238E27FC236}">
                  <a16:creationId xmlns:a16="http://schemas.microsoft.com/office/drawing/2014/main" id="{538A6374-12A3-7191-9A75-380D4729DDEA}"/>
                </a:ext>
              </a:extLst>
            </p:cNvPr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4" name="Google Shape;3711;p64">
              <a:extLst>
                <a:ext uri="{FF2B5EF4-FFF2-40B4-BE49-F238E27FC236}">
                  <a16:creationId xmlns:a16="http://schemas.microsoft.com/office/drawing/2014/main" id="{947AC079-AA3E-927E-89C3-5D723BB22B71}"/>
                </a:ext>
              </a:extLst>
            </p:cNvPr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5" name="Google Shape;3712;p64">
              <a:extLst>
                <a:ext uri="{FF2B5EF4-FFF2-40B4-BE49-F238E27FC236}">
                  <a16:creationId xmlns:a16="http://schemas.microsoft.com/office/drawing/2014/main" id="{27A7159A-6768-B8C7-DE06-7D8B2C735D2E}"/>
                </a:ext>
              </a:extLst>
            </p:cNvPr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6" name="Google Shape;3713;p64">
              <a:extLst>
                <a:ext uri="{FF2B5EF4-FFF2-40B4-BE49-F238E27FC236}">
                  <a16:creationId xmlns:a16="http://schemas.microsoft.com/office/drawing/2014/main" id="{E2473A51-8AD4-CE68-0403-EAE1D6E244A5}"/>
                </a:ext>
              </a:extLst>
            </p:cNvPr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7" name="Google Shape;3714;p64">
              <a:extLst>
                <a:ext uri="{FF2B5EF4-FFF2-40B4-BE49-F238E27FC236}">
                  <a16:creationId xmlns:a16="http://schemas.microsoft.com/office/drawing/2014/main" id="{AC26AF27-A0D0-ABA1-434C-35DC84BA5729}"/>
                </a:ext>
              </a:extLst>
            </p:cNvPr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8" name="Google Shape;3715;p64">
              <a:extLst>
                <a:ext uri="{FF2B5EF4-FFF2-40B4-BE49-F238E27FC236}">
                  <a16:creationId xmlns:a16="http://schemas.microsoft.com/office/drawing/2014/main" id="{04307BBC-DC61-1DC4-382F-4FED09002273}"/>
                </a:ext>
              </a:extLst>
            </p:cNvPr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9" name="Google Shape;3716;p64">
              <a:extLst>
                <a:ext uri="{FF2B5EF4-FFF2-40B4-BE49-F238E27FC236}">
                  <a16:creationId xmlns:a16="http://schemas.microsoft.com/office/drawing/2014/main" id="{7542BC73-0454-9A11-227E-D064A525D8E4}"/>
                </a:ext>
              </a:extLst>
            </p:cNvPr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0" name="Google Shape;3717;p64">
              <a:extLst>
                <a:ext uri="{FF2B5EF4-FFF2-40B4-BE49-F238E27FC236}">
                  <a16:creationId xmlns:a16="http://schemas.microsoft.com/office/drawing/2014/main" id="{6ECA13F0-6F52-F759-517D-183A3CD167D3}"/>
                </a:ext>
              </a:extLst>
            </p:cNvPr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1" name="Google Shape;3718;p64">
              <a:extLst>
                <a:ext uri="{FF2B5EF4-FFF2-40B4-BE49-F238E27FC236}">
                  <a16:creationId xmlns:a16="http://schemas.microsoft.com/office/drawing/2014/main" id="{3836D01C-C776-3B68-70E6-62B40F05A4FE}"/>
                </a:ext>
              </a:extLst>
            </p:cNvPr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2" name="Google Shape;3719;p64">
              <a:extLst>
                <a:ext uri="{FF2B5EF4-FFF2-40B4-BE49-F238E27FC236}">
                  <a16:creationId xmlns:a16="http://schemas.microsoft.com/office/drawing/2014/main" id="{2519E204-85AE-CF76-72A4-FCC4BD911FB0}"/>
                </a:ext>
              </a:extLst>
            </p:cNvPr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3" name="Google Shape;3720;p64">
              <a:extLst>
                <a:ext uri="{FF2B5EF4-FFF2-40B4-BE49-F238E27FC236}">
                  <a16:creationId xmlns:a16="http://schemas.microsoft.com/office/drawing/2014/main" id="{0C34E48C-7763-32CE-4B0A-02FCF7A4CB49}"/>
                </a:ext>
              </a:extLst>
            </p:cNvPr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4" name="Google Shape;3721;p64">
              <a:extLst>
                <a:ext uri="{FF2B5EF4-FFF2-40B4-BE49-F238E27FC236}">
                  <a16:creationId xmlns:a16="http://schemas.microsoft.com/office/drawing/2014/main" id="{08424557-2554-C2B8-1C9A-D9244507AB92}"/>
                </a:ext>
              </a:extLst>
            </p:cNvPr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5" name="Google Shape;3722;p64">
              <a:extLst>
                <a:ext uri="{FF2B5EF4-FFF2-40B4-BE49-F238E27FC236}">
                  <a16:creationId xmlns:a16="http://schemas.microsoft.com/office/drawing/2014/main" id="{1DCF1961-E135-6345-9722-6399F10510AC}"/>
                </a:ext>
              </a:extLst>
            </p:cNvPr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6" name="Google Shape;3723;p64">
              <a:extLst>
                <a:ext uri="{FF2B5EF4-FFF2-40B4-BE49-F238E27FC236}">
                  <a16:creationId xmlns:a16="http://schemas.microsoft.com/office/drawing/2014/main" id="{6C263B71-220D-F51F-CB01-7D6D2C8D27D3}"/>
                </a:ext>
              </a:extLst>
            </p:cNvPr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7" name="Google Shape;3724;p64">
              <a:extLst>
                <a:ext uri="{FF2B5EF4-FFF2-40B4-BE49-F238E27FC236}">
                  <a16:creationId xmlns:a16="http://schemas.microsoft.com/office/drawing/2014/main" id="{301E5F66-0A7A-F35D-4D16-6B699133F512}"/>
                </a:ext>
              </a:extLst>
            </p:cNvPr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8" name="Google Shape;3725;p64">
              <a:extLst>
                <a:ext uri="{FF2B5EF4-FFF2-40B4-BE49-F238E27FC236}">
                  <a16:creationId xmlns:a16="http://schemas.microsoft.com/office/drawing/2014/main" id="{EFC66B52-0166-2D99-64E7-B60BB94D1611}"/>
                </a:ext>
              </a:extLst>
            </p:cNvPr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9" name="Google Shape;3726;p64">
              <a:extLst>
                <a:ext uri="{FF2B5EF4-FFF2-40B4-BE49-F238E27FC236}">
                  <a16:creationId xmlns:a16="http://schemas.microsoft.com/office/drawing/2014/main" id="{3AFF016B-6C0D-22D2-E203-73DF45B0D66B}"/>
                </a:ext>
              </a:extLst>
            </p:cNvPr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0" name="Google Shape;3727;p64">
              <a:extLst>
                <a:ext uri="{FF2B5EF4-FFF2-40B4-BE49-F238E27FC236}">
                  <a16:creationId xmlns:a16="http://schemas.microsoft.com/office/drawing/2014/main" id="{7ABEC48F-703E-9811-4641-2A4AFCE1BA9B}"/>
                </a:ext>
              </a:extLst>
            </p:cNvPr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1" name="Google Shape;3728;p64">
              <a:extLst>
                <a:ext uri="{FF2B5EF4-FFF2-40B4-BE49-F238E27FC236}">
                  <a16:creationId xmlns:a16="http://schemas.microsoft.com/office/drawing/2014/main" id="{333C07E6-0F59-C8B6-04C9-FD93B9CBBC38}"/>
                </a:ext>
              </a:extLst>
            </p:cNvPr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2" name="Google Shape;3729;p64">
              <a:extLst>
                <a:ext uri="{FF2B5EF4-FFF2-40B4-BE49-F238E27FC236}">
                  <a16:creationId xmlns:a16="http://schemas.microsoft.com/office/drawing/2014/main" id="{B18DE33F-890B-F078-6EED-AC509FEF8551}"/>
                </a:ext>
              </a:extLst>
            </p:cNvPr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3" name="Google Shape;3730;p64">
              <a:extLst>
                <a:ext uri="{FF2B5EF4-FFF2-40B4-BE49-F238E27FC236}">
                  <a16:creationId xmlns:a16="http://schemas.microsoft.com/office/drawing/2014/main" id="{BFF7A1ED-06D4-C06D-AE1B-1422B69B203B}"/>
                </a:ext>
              </a:extLst>
            </p:cNvPr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4" name="Google Shape;3731;p64">
              <a:extLst>
                <a:ext uri="{FF2B5EF4-FFF2-40B4-BE49-F238E27FC236}">
                  <a16:creationId xmlns:a16="http://schemas.microsoft.com/office/drawing/2014/main" id="{D71AE7DD-FFB5-8DB8-E810-BD4F4279DD5F}"/>
                </a:ext>
              </a:extLst>
            </p:cNvPr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5" name="Google Shape;3732;p64">
              <a:extLst>
                <a:ext uri="{FF2B5EF4-FFF2-40B4-BE49-F238E27FC236}">
                  <a16:creationId xmlns:a16="http://schemas.microsoft.com/office/drawing/2014/main" id="{EA82B429-4455-0FFF-D8D8-D566FF84EE21}"/>
                </a:ext>
              </a:extLst>
            </p:cNvPr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6" name="Google Shape;3733;p64">
              <a:extLst>
                <a:ext uri="{FF2B5EF4-FFF2-40B4-BE49-F238E27FC236}">
                  <a16:creationId xmlns:a16="http://schemas.microsoft.com/office/drawing/2014/main" id="{63739314-071C-CBBA-E072-66577E2085BF}"/>
                </a:ext>
              </a:extLst>
            </p:cNvPr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7" name="Google Shape;3734;p64">
              <a:extLst>
                <a:ext uri="{FF2B5EF4-FFF2-40B4-BE49-F238E27FC236}">
                  <a16:creationId xmlns:a16="http://schemas.microsoft.com/office/drawing/2014/main" id="{19E51EBF-0C27-A01D-2991-092D7CEF5EAB}"/>
                </a:ext>
              </a:extLst>
            </p:cNvPr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8" name="Google Shape;3735;p64">
              <a:extLst>
                <a:ext uri="{FF2B5EF4-FFF2-40B4-BE49-F238E27FC236}">
                  <a16:creationId xmlns:a16="http://schemas.microsoft.com/office/drawing/2014/main" id="{F157A1C5-FBBC-4026-D37C-5F0EDE3FBF88}"/>
                </a:ext>
              </a:extLst>
            </p:cNvPr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9" name="Google Shape;3736;p64">
              <a:extLst>
                <a:ext uri="{FF2B5EF4-FFF2-40B4-BE49-F238E27FC236}">
                  <a16:creationId xmlns:a16="http://schemas.microsoft.com/office/drawing/2014/main" id="{A5DB847E-0A81-7BFD-6E58-2256A0DB0CBF}"/>
                </a:ext>
              </a:extLst>
            </p:cNvPr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0" name="Google Shape;3737;p64">
              <a:extLst>
                <a:ext uri="{FF2B5EF4-FFF2-40B4-BE49-F238E27FC236}">
                  <a16:creationId xmlns:a16="http://schemas.microsoft.com/office/drawing/2014/main" id="{1AB09BD4-4479-A5CF-D1BF-54542EAD6488}"/>
                </a:ext>
              </a:extLst>
            </p:cNvPr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1" name="Google Shape;3738;p64">
              <a:extLst>
                <a:ext uri="{FF2B5EF4-FFF2-40B4-BE49-F238E27FC236}">
                  <a16:creationId xmlns:a16="http://schemas.microsoft.com/office/drawing/2014/main" id="{272D4DDF-53C0-237C-A66F-60C3C60FA6C8}"/>
                </a:ext>
              </a:extLst>
            </p:cNvPr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2" name="Google Shape;3739;p64">
              <a:extLst>
                <a:ext uri="{FF2B5EF4-FFF2-40B4-BE49-F238E27FC236}">
                  <a16:creationId xmlns:a16="http://schemas.microsoft.com/office/drawing/2014/main" id="{883B0D98-4A61-0C97-A02F-C16FCA275A2C}"/>
                </a:ext>
              </a:extLst>
            </p:cNvPr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3" name="Google Shape;3740;p64">
              <a:extLst>
                <a:ext uri="{FF2B5EF4-FFF2-40B4-BE49-F238E27FC236}">
                  <a16:creationId xmlns:a16="http://schemas.microsoft.com/office/drawing/2014/main" id="{B01D168B-D371-1069-13C6-4390BAD3E8E0}"/>
                </a:ext>
              </a:extLst>
            </p:cNvPr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4" name="Google Shape;3741;p64">
              <a:extLst>
                <a:ext uri="{FF2B5EF4-FFF2-40B4-BE49-F238E27FC236}">
                  <a16:creationId xmlns:a16="http://schemas.microsoft.com/office/drawing/2014/main" id="{F4436A74-4DB5-8331-8980-94BB560288B7}"/>
                </a:ext>
              </a:extLst>
            </p:cNvPr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5" name="Google Shape;3742;p64">
              <a:extLst>
                <a:ext uri="{FF2B5EF4-FFF2-40B4-BE49-F238E27FC236}">
                  <a16:creationId xmlns:a16="http://schemas.microsoft.com/office/drawing/2014/main" id="{52845410-3435-8AEC-B67A-54178BF29C22}"/>
                </a:ext>
              </a:extLst>
            </p:cNvPr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6" name="Google Shape;3743;p64">
              <a:extLst>
                <a:ext uri="{FF2B5EF4-FFF2-40B4-BE49-F238E27FC236}">
                  <a16:creationId xmlns:a16="http://schemas.microsoft.com/office/drawing/2014/main" id="{520BFF26-48DE-AFBD-8BEF-22A3E7983B54}"/>
                </a:ext>
              </a:extLst>
            </p:cNvPr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7" name="Google Shape;3744;p64">
              <a:extLst>
                <a:ext uri="{FF2B5EF4-FFF2-40B4-BE49-F238E27FC236}">
                  <a16:creationId xmlns:a16="http://schemas.microsoft.com/office/drawing/2014/main" id="{23C38A2F-A9CB-A29D-A3F8-889D7DF48F39}"/>
                </a:ext>
              </a:extLst>
            </p:cNvPr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8" name="Google Shape;3745;p64">
              <a:extLst>
                <a:ext uri="{FF2B5EF4-FFF2-40B4-BE49-F238E27FC236}">
                  <a16:creationId xmlns:a16="http://schemas.microsoft.com/office/drawing/2014/main" id="{6AAD719C-A09A-28FE-F3AF-527DEB6F239D}"/>
                </a:ext>
              </a:extLst>
            </p:cNvPr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9" name="Google Shape;3746;p64">
              <a:extLst>
                <a:ext uri="{FF2B5EF4-FFF2-40B4-BE49-F238E27FC236}">
                  <a16:creationId xmlns:a16="http://schemas.microsoft.com/office/drawing/2014/main" id="{0B498855-B8BF-FB5C-D8A6-169D8D3F18AC}"/>
                </a:ext>
              </a:extLst>
            </p:cNvPr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0" name="Google Shape;3747;p64">
              <a:extLst>
                <a:ext uri="{FF2B5EF4-FFF2-40B4-BE49-F238E27FC236}">
                  <a16:creationId xmlns:a16="http://schemas.microsoft.com/office/drawing/2014/main" id="{7DD0990D-2889-C814-0C3C-4ECF04022587}"/>
                </a:ext>
              </a:extLst>
            </p:cNvPr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1" name="Google Shape;3748;p64">
              <a:extLst>
                <a:ext uri="{FF2B5EF4-FFF2-40B4-BE49-F238E27FC236}">
                  <a16:creationId xmlns:a16="http://schemas.microsoft.com/office/drawing/2014/main" id="{E00C2454-9929-3BB1-F07D-153512DD70AF}"/>
                </a:ext>
              </a:extLst>
            </p:cNvPr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2" name="Google Shape;3749;p64">
              <a:extLst>
                <a:ext uri="{FF2B5EF4-FFF2-40B4-BE49-F238E27FC236}">
                  <a16:creationId xmlns:a16="http://schemas.microsoft.com/office/drawing/2014/main" id="{D1D6EA6B-FA6B-6D0B-524B-A9205001DBBA}"/>
                </a:ext>
              </a:extLst>
            </p:cNvPr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3" name="Google Shape;3750;p64">
              <a:extLst>
                <a:ext uri="{FF2B5EF4-FFF2-40B4-BE49-F238E27FC236}">
                  <a16:creationId xmlns:a16="http://schemas.microsoft.com/office/drawing/2014/main" id="{3C7AE2BE-B6AE-5917-63D1-D709BCE0A564}"/>
                </a:ext>
              </a:extLst>
            </p:cNvPr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4" name="Google Shape;3751;p64">
              <a:extLst>
                <a:ext uri="{FF2B5EF4-FFF2-40B4-BE49-F238E27FC236}">
                  <a16:creationId xmlns:a16="http://schemas.microsoft.com/office/drawing/2014/main" id="{6321E508-BE90-7225-6AF5-02E8338B9350}"/>
                </a:ext>
              </a:extLst>
            </p:cNvPr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5" name="Google Shape;3752;p64">
              <a:extLst>
                <a:ext uri="{FF2B5EF4-FFF2-40B4-BE49-F238E27FC236}">
                  <a16:creationId xmlns:a16="http://schemas.microsoft.com/office/drawing/2014/main" id="{E13EECE7-63C2-2682-5563-71D9D673354B}"/>
                </a:ext>
              </a:extLst>
            </p:cNvPr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6" name="Google Shape;3753;p64">
              <a:extLst>
                <a:ext uri="{FF2B5EF4-FFF2-40B4-BE49-F238E27FC236}">
                  <a16:creationId xmlns:a16="http://schemas.microsoft.com/office/drawing/2014/main" id="{E8030F28-E790-B625-A2DC-515855E498D3}"/>
                </a:ext>
              </a:extLst>
            </p:cNvPr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7" name="Google Shape;3754;p64">
              <a:extLst>
                <a:ext uri="{FF2B5EF4-FFF2-40B4-BE49-F238E27FC236}">
                  <a16:creationId xmlns:a16="http://schemas.microsoft.com/office/drawing/2014/main" id="{0A5397E2-C20B-AD2E-0419-876C38548C3E}"/>
                </a:ext>
              </a:extLst>
            </p:cNvPr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8" name="Google Shape;3755;p64">
              <a:extLst>
                <a:ext uri="{FF2B5EF4-FFF2-40B4-BE49-F238E27FC236}">
                  <a16:creationId xmlns:a16="http://schemas.microsoft.com/office/drawing/2014/main" id="{5664D1A9-FE2F-EB1F-06CB-CD81F0A698FC}"/>
                </a:ext>
              </a:extLst>
            </p:cNvPr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9" name="Google Shape;3756;p64">
              <a:extLst>
                <a:ext uri="{FF2B5EF4-FFF2-40B4-BE49-F238E27FC236}">
                  <a16:creationId xmlns:a16="http://schemas.microsoft.com/office/drawing/2014/main" id="{ED0B1240-022F-775D-F650-97B9280A9C14}"/>
                </a:ext>
              </a:extLst>
            </p:cNvPr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0" name="Google Shape;3757;p64">
              <a:extLst>
                <a:ext uri="{FF2B5EF4-FFF2-40B4-BE49-F238E27FC236}">
                  <a16:creationId xmlns:a16="http://schemas.microsoft.com/office/drawing/2014/main" id="{D266E866-5078-9D02-DF7C-0607CEEC19C0}"/>
                </a:ext>
              </a:extLst>
            </p:cNvPr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1" name="Google Shape;3758;p64">
              <a:extLst>
                <a:ext uri="{FF2B5EF4-FFF2-40B4-BE49-F238E27FC236}">
                  <a16:creationId xmlns:a16="http://schemas.microsoft.com/office/drawing/2014/main" id="{9A30EFBB-754C-2955-7894-FA4DB756D724}"/>
                </a:ext>
              </a:extLst>
            </p:cNvPr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2" name="Google Shape;3759;p64">
              <a:extLst>
                <a:ext uri="{FF2B5EF4-FFF2-40B4-BE49-F238E27FC236}">
                  <a16:creationId xmlns:a16="http://schemas.microsoft.com/office/drawing/2014/main" id="{B393765C-253B-6628-7BC3-9FFADB0A3AE6}"/>
                </a:ext>
              </a:extLst>
            </p:cNvPr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3" name="Google Shape;3760;p64">
              <a:extLst>
                <a:ext uri="{FF2B5EF4-FFF2-40B4-BE49-F238E27FC236}">
                  <a16:creationId xmlns:a16="http://schemas.microsoft.com/office/drawing/2014/main" id="{99AEC170-265C-3A89-4F73-889E7888E497}"/>
                </a:ext>
              </a:extLst>
            </p:cNvPr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4" name="Google Shape;3761;p64">
              <a:extLst>
                <a:ext uri="{FF2B5EF4-FFF2-40B4-BE49-F238E27FC236}">
                  <a16:creationId xmlns:a16="http://schemas.microsoft.com/office/drawing/2014/main" id="{34D8ADC8-E6DB-E631-D0EA-92FE0E0CF692}"/>
                </a:ext>
              </a:extLst>
            </p:cNvPr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5" name="Google Shape;3762;p64">
              <a:extLst>
                <a:ext uri="{FF2B5EF4-FFF2-40B4-BE49-F238E27FC236}">
                  <a16:creationId xmlns:a16="http://schemas.microsoft.com/office/drawing/2014/main" id="{9F8E4F6C-847C-EEC3-6255-BC564D4101E2}"/>
                </a:ext>
              </a:extLst>
            </p:cNvPr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6" name="Google Shape;3763;p64">
              <a:extLst>
                <a:ext uri="{FF2B5EF4-FFF2-40B4-BE49-F238E27FC236}">
                  <a16:creationId xmlns:a16="http://schemas.microsoft.com/office/drawing/2014/main" id="{359B7E2A-5CDF-C6A8-DFBD-C05F28929FE1}"/>
                </a:ext>
              </a:extLst>
            </p:cNvPr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7" name="Google Shape;3764;p64">
              <a:extLst>
                <a:ext uri="{FF2B5EF4-FFF2-40B4-BE49-F238E27FC236}">
                  <a16:creationId xmlns:a16="http://schemas.microsoft.com/office/drawing/2014/main" id="{0211C7FB-E61A-6FDF-5AE5-7A952CA57719}"/>
                </a:ext>
              </a:extLst>
            </p:cNvPr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8" name="Google Shape;3765;p64">
              <a:extLst>
                <a:ext uri="{FF2B5EF4-FFF2-40B4-BE49-F238E27FC236}">
                  <a16:creationId xmlns:a16="http://schemas.microsoft.com/office/drawing/2014/main" id="{DB96BD97-0698-0AB9-190B-69AD1F6909CA}"/>
                </a:ext>
              </a:extLst>
            </p:cNvPr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9" name="Google Shape;3766;p64">
              <a:extLst>
                <a:ext uri="{FF2B5EF4-FFF2-40B4-BE49-F238E27FC236}">
                  <a16:creationId xmlns:a16="http://schemas.microsoft.com/office/drawing/2014/main" id="{CB7B61C0-ED97-D991-7CDC-EF5186689AD4}"/>
                </a:ext>
              </a:extLst>
            </p:cNvPr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0" name="Google Shape;3767;p64">
              <a:extLst>
                <a:ext uri="{FF2B5EF4-FFF2-40B4-BE49-F238E27FC236}">
                  <a16:creationId xmlns:a16="http://schemas.microsoft.com/office/drawing/2014/main" id="{0901E7C7-54D9-9BA4-5477-110668BB0D6C}"/>
                </a:ext>
              </a:extLst>
            </p:cNvPr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1" name="Google Shape;3768;p64">
              <a:extLst>
                <a:ext uri="{FF2B5EF4-FFF2-40B4-BE49-F238E27FC236}">
                  <a16:creationId xmlns:a16="http://schemas.microsoft.com/office/drawing/2014/main" id="{8C619165-6555-EAE9-DD1A-9A814DDCDC0F}"/>
                </a:ext>
              </a:extLst>
            </p:cNvPr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2" name="Google Shape;3769;p64">
              <a:extLst>
                <a:ext uri="{FF2B5EF4-FFF2-40B4-BE49-F238E27FC236}">
                  <a16:creationId xmlns:a16="http://schemas.microsoft.com/office/drawing/2014/main" id="{913BD2BA-614F-9142-F599-7E7ABC8754D2}"/>
                </a:ext>
              </a:extLst>
            </p:cNvPr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3" name="Google Shape;3770;p64">
              <a:extLst>
                <a:ext uri="{FF2B5EF4-FFF2-40B4-BE49-F238E27FC236}">
                  <a16:creationId xmlns:a16="http://schemas.microsoft.com/office/drawing/2014/main" id="{EE1780D3-C784-91B1-97F5-2F41D9D2AE49}"/>
                </a:ext>
              </a:extLst>
            </p:cNvPr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4" name="Google Shape;3771;p64">
              <a:extLst>
                <a:ext uri="{FF2B5EF4-FFF2-40B4-BE49-F238E27FC236}">
                  <a16:creationId xmlns:a16="http://schemas.microsoft.com/office/drawing/2014/main" id="{7A8AA09C-13C6-B4A6-0794-39CF2B659034}"/>
                </a:ext>
              </a:extLst>
            </p:cNvPr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5" name="Google Shape;3772;p64">
              <a:extLst>
                <a:ext uri="{FF2B5EF4-FFF2-40B4-BE49-F238E27FC236}">
                  <a16:creationId xmlns:a16="http://schemas.microsoft.com/office/drawing/2014/main" id="{68FAF292-B4D0-A817-5D75-7E461B5ECFA1}"/>
                </a:ext>
              </a:extLst>
            </p:cNvPr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6" name="Google Shape;3773;p64">
              <a:extLst>
                <a:ext uri="{FF2B5EF4-FFF2-40B4-BE49-F238E27FC236}">
                  <a16:creationId xmlns:a16="http://schemas.microsoft.com/office/drawing/2014/main" id="{9CA5DCD9-5CD4-EA8D-BFCA-F127FF9AB92A}"/>
                </a:ext>
              </a:extLst>
            </p:cNvPr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7" name="Google Shape;3774;p64">
              <a:extLst>
                <a:ext uri="{FF2B5EF4-FFF2-40B4-BE49-F238E27FC236}">
                  <a16:creationId xmlns:a16="http://schemas.microsoft.com/office/drawing/2014/main" id="{98F61E23-A2FF-EC17-5C04-195C5AD8DBF7}"/>
                </a:ext>
              </a:extLst>
            </p:cNvPr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8" name="Google Shape;3775;p64">
              <a:extLst>
                <a:ext uri="{FF2B5EF4-FFF2-40B4-BE49-F238E27FC236}">
                  <a16:creationId xmlns:a16="http://schemas.microsoft.com/office/drawing/2014/main" id="{64EB68F3-4011-F104-EAFA-C796592B24AD}"/>
                </a:ext>
              </a:extLst>
            </p:cNvPr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9" name="Google Shape;3776;p64">
              <a:extLst>
                <a:ext uri="{FF2B5EF4-FFF2-40B4-BE49-F238E27FC236}">
                  <a16:creationId xmlns:a16="http://schemas.microsoft.com/office/drawing/2014/main" id="{919CC055-7E36-40D6-1A4C-953906D1C55A}"/>
                </a:ext>
              </a:extLst>
            </p:cNvPr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0" name="Google Shape;3777;p64">
              <a:extLst>
                <a:ext uri="{FF2B5EF4-FFF2-40B4-BE49-F238E27FC236}">
                  <a16:creationId xmlns:a16="http://schemas.microsoft.com/office/drawing/2014/main" id="{30915C65-C83B-1E15-0533-EDD2383FBF31}"/>
                </a:ext>
              </a:extLst>
            </p:cNvPr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1" name="Google Shape;3778;p64">
              <a:extLst>
                <a:ext uri="{FF2B5EF4-FFF2-40B4-BE49-F238E27FC236}">
                  <a16:creationId xmlns:a16="http://schemas.microsoft.com/office/drawing/2014/main" id="{F065C254-3A23-30E5-61F4-D348C3BD2D58}"/>
                </a:ext>
              </a:extLst>
            </p:cNvPr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2" name="Google Shape;3779;p64">
              <a:extLst>
                <a:ext uri="{FF2B5EF4-FFF2-40B4-BE49-F238E27FC236}">
                  <a16:creationId xmlns:a16="http://schemas.microsoft.com/office/drawing/2014/main" id="{D49B758E-1A15-4929-818D-C423D3BA5897}"/>
                </a:ext>
              </a:extLst>
            </p:cNvPr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3" name="Google Shape;3780;p64">
              <a:extLst>
                <a:ext uri="{FF2B5EF4-FFF2-40B4-BE49-F238E27FC236}">
                  <a16:creationId xmlns:a16="http://schemas.microsoft.com/office/drawing/2014/main" id="{EDD81813-13B6-BBEF-DB72-A96EF8D2094A}"/>
                </a:ext>
              </a:extLst>
            </p:cNvPr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4" name="Google Shape;3781;p64">
              <a:extLst>
                <a:ext uri="{FF2B5EF4-FFF2-40B4-BE49-F238E27FC236}">
                  <a16:creationId xmlns:a16="http://schemas.microsoft.com/office/drawing/2014/main" id="{7A1276DB-AF91-FBB9-92A3-5B31495C9020}"/>
                </a:ext>
              </a:extLst>
            </p:cNvPr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5" name="Google Shape;3782;p64">
              <a:extLst>
                <a:ext uri="{FF2B5EF4-FFF2-40B4-BE49-F238E27FC236}">
                  <a16:creationId xmlns:a16="http://schemas.microsoft.com/office/drawing/2014/main" id="{6976A2FD-B53F-B64E-B137-38A072BDCC9F}"/>
                </a:ext>
              </a:extLst>
            </p:cNvPr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6" name="Google Shape;3783;p64">
              <a:extLst>
                <a:ext uri="{FF2B5EF4-FFF2-40B4-BE49-F238E27FC236}">
                  <a16:creationId xmlns:a16="http://schemas.microsoft.com/office/drawing/2014/main" id="{D5373D91-0FDE-2F71-B0AF-BA3CCBA48F75}"/>
                </a:ext>
              </a:extLst>
            </p:cNvPr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7" name="Google Shape;3784;p64">
              <a:extLst>
                <a:ext uri="{FF2B5EF4-FFF2-40B4-BE49-F238E27FC236}">
                  <a16:creationId xmlns:a16="http://schemas.microsoft.com/office/drawing/2014/main" id="{8404DE7E-EA8E-DA30-E228-B6542D01DE82}"/>
                </a:ext>
              </a:extLst>
            </p:cNvPr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8" name="Google Shape;3785;p64">
              <a:extLst>
                <a:ext uri="{FF2B5EF4-FFF2-40B4-BE49-F238E27FC236}">
                  <a16:creationId xmlns:a16="http://schemas.microsoft.com/office/drawing/2014/main" id="{F0C07A95-E3E5-B8B2-660E-8C5AA9D87C5C}"/>
                </a:ext>
              </a:extLst>
            </p:cNvPr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9" name="Google Shape;3786;p64">
              <a:extLst>
                <a:ext uri="{FF2B5EF4-FFF2-40B4-BE49-F238E27FC236}">
                  <a16:creationId xmlns:a16="http://schemas.microsoft.com/office/drawing/2014/main" id="{BBC136CC-D375-BC7B-39BE-F2623FF7A5B8}"/>
                </a:ext>
              </a:extLst>
            </p:cNvPr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0" name="Google Shape;3787;p64">
              <a:extLst>
                <a:ext uri="{FF2B5EF4-FFF2-40B4-BE49-F238E27FC236}">
                  <a16:creationId xmlns:a16="http://schemas.microsoft.com/office/drawing/2014/main" id="{CE618EDD-C402-4726-28FC-12CEFAA27562}"/>
                </a:ext>
              </a:extLst>
            </p:cNvPr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1" name="Google Shape;3788;p64">
              <a:extLst>
                <a:ext uri="{FF2B5EF4-FFF2-40B4-BE49-F238E27FC236}">
                  <a16:creationId xmlns:a16="http://schemas.microsoft.com/office/drawing/2014/main" id="{D29F1A65-C23F-3CEE-9733-EA144F85514A}"/>
                </a:ext>
              </a:extLst>
            </p:cNvPr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2" name="Google Shape;3789;p64">
              <a:extLst>
                <a:ext uri="{FF2B5EF4-FFF2-40B4-BE49-F238E27FC236}">
                  <a16:creationId xmlns:a16="http://schemas.microsoft.com/office/drawing/2014/main" id="{0E40A843-B3DB-7AE1-A278-FC64A88FBB58}"/>
                </a:ext>
              </a:extLst>
            </p:cNvPr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3" name="Google Shape;3790;p64">
              <a:extLst>
                <a:ext uri="{FF2B5EF4-FFF2-40B4-BE49-F238E27FC236}">
                  <a16:creationId xmlns:a16="http://schemas.microsoft.com/office/drawing/2014/main" id="{09479455-2BBC-B3A9-196B-A9EDA864A3E8}"/>
                </a:ext>
              </a:extLst>
            </p:cNvPr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4" name="Google Shape;3791;p64">
              <a:extLst>
                <a:ext uri="{FF2B5EF4-FFF2-40B4-BE49-F238E27FC236}">
                  <a16:creationId xmlns:a16="http://schemas.microsoft.com/office/drawing/2014/main" id="{9910A770-D5AC-4769-87F1-65CD960E3B57}"/>
                </a:ext>
              </a:extLst>
            </p:cNvPr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5" name="Google Shape;3792;p64">
              <a:extLst>
                <a:ext uri="{FF2B5EF4-FFF2-40B4-BE49-F238E27FC236}">
                  <a16:creationId xmlns:a16="http://schemas.microsoft.com/office/drawing/2014/main" id="{FAD6AE85-D20D-80E3-C064-F184FCD3C876}"/>
                </a:ext>
              </a:extLst>
            </p:cNvPr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6" name="Google Shape;3793;p64">
              <a:extLst>
                <a:ext uri="{FF2B5EF4-FFF2-40B4-BE49-F238E27FC236}">
                  <a16:creationId xmlns:a16="http://schemas.microsoft.com/office/drawing/2014/main" id="{106554A5-99A6-1B69-2986-ACE0A251907C}"/>
                </a:ext>
              </a:extLst>
            </p:cNvPr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7" name="Google Shape;3794;p64">
              <a:extLst>
                <a:ext uri="{FF2B5EF4-FFF2-40B4-BE49-F238E27FC236}">
                  <a16:creationId xmlns:a16="http://schemas.microsoft.com/office/drawing/2014/main" id="{81C554E4-8D14-C87D-1C0E-45C589246191}"/>
                </a:ext>
              </a:extLst>
            </p:cNvPr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8" name="Google Shape;3795;p64">
              <a:extLst>
                <a:ext uri="{FF2B5EF4-FFF2-40B4-BE49-F238E27FC236}">
                  <a16:creationId xmlns:a16="http://schemas.microsoft.com/office/drawing/2014/main" id="{5E911867-FA4D-5971-4DC3-BF8FABEFF434}"/>
                </a:ext>
              </a:extLst>
            </p:cNvPr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9" name="Google Shape;3796;p64">
              <a:extLst>
                <a:ext uri="{FF2B5EF4-FFF2-40B4-BE49-F238E27FC236}">
                  <a16:creationId xmlns:a16="http://schemas.microsoft.com/office/drawing/2014/main" id="{7C1C84A5-EE4D-35FF-6631-BADAA97B200E}"/>
                </a:ext>
              </a:extLst>
            </p:cNvPr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0" name="Google Shape;3797;p64">
              <a:extLst>
                <a:ext uri="{FF2B5EF4-FFF2-40B4-BE49-F238E27FC236}">
                  <a16:creationId xmlns:a16="http://schemas.microsoft.com/office/drawing/2014/main" id="{7F69FA8D-E004-BFC6-1B73-22E4EC789E39}"/>
                </a:ext>
              </a:extLst>
            </p:cNvPr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1" name="Google Shape;3798;p64">
              <a:extLst>
                <a:ext uri="{FF2B5EF4-FFF2-40B4-BE49-F238E27FC236}">
                  <a16:creationId xmlns:a16="http://schemas.microsoft.com/office/drawing/2014/main" id="{76A3723B-9B98-513B-9CDC-7B68B84229F5}"/>
                </a:ext>
              </a:extLst>
            </p:cNvPr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2" name="Google Shape;3799;p64">
              <a:extLst>
                <a:ext uri="{FF2B5EF4-FFF2-40B4-BE49-F238E27FC236}">
                  <a16:creationId xmlns:a16="http://schemas.microsoft.com/office/drawing/2014/main" id="{BF5377E1-C6A2-2279-3C5B-1476470D5431}"/>
                </a:ext>
              </a:extLst>
            </p:cNvPr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3" name="Google Shape;3800;p64">
              <a:extLst>
                <a:ext uri="{FF2B5EF4-FFF2-40B4-BE49-F238E27FC236}">
                  <a16:creationId xmlns:a16="http://schemas.microsoft.com/office/drawing/2014/main" id="{2602BFF7-1312-4727-9BB8-339ECCF426CF}"/>
                </a:ext>
              </a:extLst>
            </p:cNvPr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4" name="Google Shape;3801;p64">
              <a:extLst>
                <a:ext uri="{FF2B5EF4-FFF2-40B4-BE49-F238E27FC236}">
                  <a16:creationId xmlns:a16="http://schemas.microsoft.com/office/drawing/2014/main" id="{F770D6F3-EAA8-8AB1-0A89-578421688622}"/>
                </a:ext>
              </a:extLst>
            </p:cNvPr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5" name="Google Shape;3802;p64">
              <a:extLst>
                <a:ext uri="{FF2B5EF4-FFF2-40B4-BE49-F238E27FC236}">
                  <a16:creationId xmlns:a16="http://schemas.microsoft.com/office/drawing/2014/main" id="{B7C04165-828E-FD6C-B7A7-7B7424D5C4E9}"/>
                </a:ext>
              </a:extLst>
            </p:cNvPr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6" name="Google Shape;3803;p64">
              <a:extLst>
                <a:ext uri="{FF2B5EF4-FFF2-40B4-BE49-F238E27FC236}">
                  <a16:creationId xmlns:a16="http://schemas.microsoft.com/office/drawing/2014/main" id="{C434C49B-369B-5764-8ABB-657A07AC60D7}"/>
                </a:ext>
              </a:extLst>
            </p:cNvPr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7" name="Google Shape;3804;p64">
              <a:extLst>
                <a:ext uri="{FF2B5EF4-FFF2-40B4-BE49-F238E27FC236}">
                  <a16:creationId xmlns:a16="http://schemas.microsoft.com/office/drawing/2014/main" id="{5DE9BC49-EDA2-69E8-4E3C-1C9F7A79944E}"/>
                </a:ext>
              </a:extLst>
            </p:cNvPr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8" name="Google Shape;3805;p64">
              <a:extLst>
                <a:ext uri="{FF2B5EF4-FFF2-40B4-BE49-F238E27FC236}">
                  <a16:creationId xmlns:a16="http://schemas.microsoft.com/office/drawing/2014/main" id="{2C03D130-8837-D518-E673-D98D8538EDEC}"/>
                </a:ext>
              </a:extLst>
            </p:cNvPr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9" name="Google Shape;3806;p64">
              <a:extLst>
                <a:ext uri="{FF2B5EF4-FFF2-40B4-BE49-F238E27FC236}">
                  <a16:creationId xmlns:a16="http://schemas.microsoft.com/office/drawing/2014/main" id="{D200D1E3-AA79-D630-8036-93E80E64B8BB}"/>
                </a:ext>
              </a:extLst>
            </p:cNvPr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0" name="Google Shape;3807;p64">
              <a:extLst>
                <a:ext uri="{FF2B5EF4-FFF2-40B4-BE49-F238E27FC236}">
                  <a16:creationId xmlns:a16="http://schemas.microsoft.com/office/drawing/2014/main" id="{1693411E-7E03-25C6-61C0-BE7CBB7397DF}"/>
                </a:ext>
              </a:extLst>
            </p:cNvPr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1" name="Google Shape;3808;p64">
              <a:extLst>
                <a:ext uri="{FF2B5EF4-FFF2-40B4-BE49-F238E27FC236}">
                  <a16:creationId xmlns:a16="http://schemas.microsoft.com/office/drawing/2014/main" id="{9B42A268-C499-B3F5-84F6-6BF2F28753E6}"/>
                </a:ext>
              </a:extLst>
            </p:cNvPr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2" name="Google Shape;3809;p64">
              <a:extLst>
                <a:ext uri="{FF2B5EF4-FFF2-40B4-BE49-F238E27FC236}">
                  <a16:creationId xmlns:a16="http://schemas.microsoft.com/office/drawing/2014/main" id="{BCC62D8E-D03C-FE22-2A45-DDDCFA77C371}"/>
                </a:ext>
              </a:extLst>
            </p:cNvPr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3" name="Google Shape;3810;p64">
              <a:extLst>
                <a:ext uri="{FF2B5EF4-FFF2-40B4-BE49-F238E27FC236}">
                  <a16:creationId xmlns:a16="http://schemas.microsoft.com/office/drawing/2014/main" id="{7C925D62-5E7E-EBD3-7793-177B93B8D545}"/>
                </a:ext>
              </a:extLst>
            </p:cNvPr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4" name="Google Shape;3811;p64">
              <a:extLst>
                <a:ext uri="{FF2B5EF4-FFF2-40B4-BE49-F238E27FC236}">
                  <a16:creationId xmlns:a16="http://schemas.microsoft.com/office/drawing/2014/main" id="{3B95EDF6-49E4-BBBF-D308-F3286641BE18}"/>
                </a:ext>
              </a:extLst>
            </p:cNvPr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5" name="Google Shape;3812;p64">
              <a:extLst>
                <a:ext uri="{FF2B5EF4-FFF2-40B4-BE49-F238E27FC236}">
                  <a16:creationId xmlns:a16="http://schemas.microsoft.com/office/drawing/2014/main" id="{1F255303-354A-E9E2-04A4-59EB37EF7C3C}"/>
                </a:ext>
              </a:extLst>
            </p:cNvPr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6" name="Google Shape;3813;p64">
              <a:extLst>
                <a:ext uri="{FF2B5EF4-FFF2-40B4-BE49-F238E27FC236}">
                  <a16:creationId xmlns:a16="http://schemas.microsoft.com/office/drawing/2014/main" id="{B92D2521-D8BA-AC82-5476-A1F4C459EBEA}"/>
                </a:ext>
              </a:extLst>
            </p:cNvPr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7" name="Google Shape;3814;p64">
              <a:extLst>
                <a:ext uri="{FF2B5EF4-FFF2-40B4-BE49-F238E27FC236}">
                  <a16:creationId xmlns:a16="http://schemas.microsoft.com/office/drawing/2014/main" id="{365A005B-AEA0-9738-DEE5-2C7B454CE941}"/>
                </a:ext>
              </a:extLst>
            </p:cNvPr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8" name="Google Shape;3815;p64">
              <a:extLst>
                <a:ext uri="{FF2B5EF4-FFF2-40B4-BE49-F238E27FC236}">
                  <a16:creationId xmlns:a16="http://schemas.microsoft.com/office/drawing/2014/main" id="{77E43FDC-D475-665A-5E6E-929034EB6E62}"/>
                </a:ext>
              </a:extLst>
            </p:cNvPr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9" name="Google Shape;3816;p64">
              <a:extLst>
                <a:ext uri="{FF2B5EF4-FFF2-40B4-BE49-F238E27FC236}">
                  <a16:creationId xmlns:a16="http://schemas.microsoft.com/office/drawing/2014/main" id="{234103B9-1623-1180-57A6-E1C602E8870A}"/>
                </a:ext>
              </a:extLst>
            </p:cNvPr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0" name="Google Shape;3817;p64">
              <a:extLst>
                <a:ext uri="{FF2B5EF4-FFF2-40B4-BE49-F238E27FC236}">
                  <a16:creationId xmlns:a16="http://schemas.microsoft.com/office/drawing/2014/main" id="{44F63CB9-351A-CB34-2F1B-5CCD32C31EC6}"/>
                </a:ext>
              </a:extLst>
            </p:cNvPr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1" name="Google Shape;3818;p64">
              <a:extLst>
                <a:ext uri="{FF2B5EF4-FFF2-40B4-BE49-F238E27FC236}">
                  <a16:creationId xmlns:a16="http://schemas.microsoft.com/office/drawing/2014/main" id="{5EC80F4A-BA0C-D529-D7BD-BED387DEF46D}"/>
                </a:ext>
              </a:extLst>
            </p:cNvPr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2" name="Google Shape;3819;p64">
              <a:extLst>
                <a:ext uri="{FF2B5EF4-FFF2-40B4-BE49-F238E27FC236}">
                  <a16:creationId xmlns:a16="http://schemas.microsoft.com/office/drawing/2014/main" id="{763A3141-D803-1D8F-A564-6EEA7A0DC5BA}"/>
                </a:ext>
              </a:extLst>
            </p:cNvPr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3" name="Google Shape;3820;p64">
              <a:extLst>
                <a:ext uri="{FF2B5EF4-FFF2-40B4-BE49-F238E27FC236}">
                  <a16:creationId xmlns:a16="http://schemas.microsoft.com/office/drawing/2014/main" id="{C162438B-D72A-ABB7-7C74-D5EC47C7614B}"/>
                </a:ext>
              </a:extLst>
            </p:cNvPr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4" name="Google Shape;3821;p64">
              <a:extLst>
                <a:ext uri="{FF2B5EF4-FFF2-40B4-BE49-F238E27FC236}">
                  <a16:creationId xmlns:a16="http://schemas.microsoft.com/office/drawing/2014/main" id="{D34FB651-29CE-C512-DE8E-503111A9E856}"/>
                </a:ext>
              </a:extLst>
            </p:cNvPr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5" name="Google Shape;3822;p64">
              <a:extLst>
                <a:ext uri="{FF2B5EF4-FFF2-40B4-BE49-F238E27FC236}">
                  <a16:creationId xmlns:a16="http://schemas.microsoft.com/office/drawing/2014/main" id="{472CFCEA-B2BE-E5C6-BD4F-780903BF81A3}"/>
                </a:ext>
              </a:extLst>
            </p:cNvPr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6" name="Google Shape;3823;p64">
              <a:extLst>
                <a:ext uri="{FF2B5EF4-FFF2-40B4-BE49-F238E27FC236}">
                  <a16:creationId xmlns:a16="http://schemas.microsoft.com/office/drawing/2014/main" id="{45756341-D87D-9FBC-B7DF-94036C06B982}"/>
                </a:ext>
              </a:extLst>
            </p:cNvPr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7" name="Google Shape;3824;p64">
              <a:extLst>
                <a:ext uri="{FF2B5EF4-FFF2-40B4-BE49-F238E27FC236}">
                  <a16:creationId xmlns:a16="http://schemas.microsoft.com/office/drawing/2014/main" id="{AF6F0B39-47A5-7DC8-280B-E6D8626C2BB6}"/>
                </a:ext>
              </a:extLst>
            </p:cNvPr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8" name="Google Shape;3825;p64">
              <a:extLst>
                <a:ext uri="{FF2B5EF4-FFF2-40B4-BE49-F238E27FC236}">
                  <a16:creationId xmlns:a16="http://schemas.microsoft.com/office/drawing/2014/main" id="{01F6DE55-E4A2-95BA-856C-84D7A3E33426}"/>
                </a:ext>
              </a:extLst>
            </p:cNvPr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9" name="Google Shape;3826;p64">
              <a:extLst>
                <a:ext uri="{FF2B5EF4-FFF2-40B4-BE49-F238E27FC236}">
                  <a16:creationId xmlns:a16="http://schemas.microsoft.com/office/drawing/2014/main" id="{0C6E65A7-5B14-CD7A-4865-8CA39D579A75}"/>
                </a:ext>
              </a:extLst>
            </p:cNvPr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0" name="Google Shape;3827;p64">
              <a:extLst>
                <a:ext uri="{FF2B5EF4-FFF2-40B4-BE49-F238E27FC236}">
                  <a16:creationId xmlns:a16="http://schemas.microsoft.com/office/drawing/2014/main" id="{29D61843-CE09-B1B9-29F8-551DFF8453DA}"/>
                </a:ext>
              </a:extLst>
            </p:cNvPr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1" name="Google Shape;3828;p64">
              <a:extLst>
                <a:ext uri="{FF2B5EF4-FFF2-40B4-BE49-F238E27FC236}">
                  <a16:creationId xmlns:a16="http://schemas.microsoft.com/office/drawing/2014/main" id="{23DE530D-140D-78F7-43FC-F210A3E26920}"/>
                </a:ext>
              </a:extLst>
            </p:cNvPr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2" name="Google Shape;3829;p64">
              <a:extLst>
                <a:ext uri="{FF2B5EF4-FFF2-40B4-BE49-F238E27FC236}">
                  <a16:creationId xmlns:a16="http://schemas.microsoft.com/office/drawing/2014/main" id="{5C579933-3C19-88AC-37A9-767421132E69}"/>
                </a:ext>
              </a:extLst>
            </p:cNvPr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3" name="Google Shape;3830;p64">
              <a:extLst>
                <a:ext uri="{FF2B5EF4-FFF2-40B4-BE49-F238E27FC236}">
                  <a16:creationId xmlns:a16="http://schemas.microsoft.com/office/drawing/2014/main" id="{0590747D-CCF2-B380-5412-A57606CC1388}"/>
                </a:ext>
              </a:extLst>
            </p:cNvPr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4" name="Google Shape;3831;p64">
              <a:extLst>
                <a:ext uri="{FF2B5EF4-FFF2-40B4-BE49-F238E27FC236}">
                  <a16:creationId xmlns:a16="http://schemas.microsoft.com/office/drawing/2014/main" id="{FE772589-8378-90DE-9388-3DA8609F27A5}"/>
                </a:ext>
              </a:extLst>
            </p:cNvPr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5" name="Google Shape;3832;p64">
              <a:extLst>
                <a:ext uri="{FF2B5EF4-FFF2-40B4-BE49-F238E27FC236}">
                  <a16:creationId xmlns:a16="http://schemas.microsoft.com/office/drawing/2014/main" id="{12ACA67F-75C7-1FCF-B2C9-964AB39EEA4B}"/>
                </a:ext>
              </a:extLst>
            </p:cNvPr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6" name="Google Shape;3833;p64">
              <a:extLst>
                <a:ext uri="{FF2B5EF4-FFF2-40B4-BE49-F238E27FC236}">
                  <a16:creationId xmlns:a16="http://schemas.microsoft.com/office/drawing/2014/main" id="{00DFBA03-B97A-035E-AEC1-933CA49AB442}"/>
                </a:ext>
              </a:extLst>
            </p:cNvPr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7" name="Google Shape;3834;p64">
              <a:extLst>
                <a:ext uri="{FF2B5EF4-FFF2-40B4-BE49-F238E27FC236}">
                  <a16:creationId xmlns:a16="http://schemas.microsoft.com/office/drawing/2014/main" id="{3AA9D1EE-4DD4-AE1C-9633-5BC85560EDA2}"/>
                </a:ext>
              </a:extLst>
            </p:cNvPr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8" name="Google Shape;3835;p64">
              <a:extLst>
                <a:ext uri="{FF2B5EF4-FFF2-40B4-BE49-F238E27FC236}">
                  <a16:creationId xmlns:a16="http://schemas.microsoft.com/office/drawing/2014/main" id="{6AED8C69-49A5-6E4A-863F-6FA20978D046}"/>
                </a:ext>
              </a:extLst>
            </p:cNvPr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9" name="Google Shape;3836;p64">
              <a:extLst>
                <a:ext uri="{FF2B5EF4-FFF2-40B4-BE49-F238E27FC236}">
                  <a16:creationId xmlns:a16="http://schemas.microsoft.com/office/drawing/2014/main" id="{D7AD4168-8F5B-7515-072D-936F64D27FD8}"/>
                </a:ext>
              </a:extLst>
            </p:cNvPr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0" name="Google Shape;3837;p64">
              <a:extLst>
                <a:ext uri="{FF2B5EF4-FFF2-40B4-BE49-F238E27FC236}">
                  <a16:creationId xmlns:a16="http://schemas.microsoft.com/office/drawing/2014/main" id="{0394C860-3478-2795-9A7A-D012241AFA1D}"/>
                </a:ext>
              </a:extLst>
            </p:cNvPr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1" name="Google Shape;3838;p64">
              <a:extLst>
                <a:ext uri="{FF2B5EF4-FFF2-40B4-BE49-F238E27FC236}">
                  <a16:creationId xmlns:a16="http://schemas.microsoft.com/office/drawing/2014/main" id="{3EDFA548-3415-E5F4-D72D-C3E25F13582E}"/>
                </a:ext>
              </a:extLst>
            </p:cNvPr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2" name="Google Shape;3839;p64">
              <a:extLst>
                <a:ext uri="{FF2B5EF4-FFF2-40B4-BE49-F238E27FC236}">
                  <a16:creationId xmlns:a16="http://schemas.microsoft.com/office/drawing/2014/main" id="{72BE6854-E68E-4E66-5BD5-11BEE9B27F02}"/>
                </a:ext>
              </a:extLst>
            </p:cNvPr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3" name="Google Shape;3840;p64">
              <a:extLst>
                <a:ext uri="{FF2B5EF4-FFF2-40B4-BE49-F238E27FC236}">
                  <a16:creationId xmlns:a16="http://schemas.microsoft.com/office/drawing/2014/main" id="{381D05EC-2EA9-D711-C380-DED1D7CE5DA5}"/>
                </a:ext>
              </a:extLst>
            </p:cNvPr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4" name="Google Shape;3841;p64">
              <a:extLst>
                <a:ext uri="{FF2B5EF4-FFF2-40B4-BE49-F238E27FC236}">
                  <a16:creationId xmlns:a16="http://schemas.microsoft.com/office/drawing/2014/main" id="{2C2558FD-B740-80E3-A631-83B9F9AAE1F0}"/>
                </a:ext>
              </a:extLst>
            </p:cNvPr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5" name="Google Shape;3842;p64">
              <a:extLst>
                <a:ext uri="{FF2B5EF4-FFF2-40B4-BE49-F238E27FC236}">
                  <a16:creationId xmlns:a16="http://schemas.microsoft.com/office/drawing/2014/main" id="{D14E4D1D-BC72-C170-ACFA-3B5A191EDC2C}"/>
                </a:ext>
              </a:extLst>
            </p:cNvPr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6" name="Google Shape;3843;p64">
              <a:extLst>
                <a:ext uri="{FF2B5EF4-FFF2-40B4-BE49-F238E27FC236}">
                  <a16:creationId xmlns:a16="http://schemas.microsoft.com/office/drawing/2014/main" id="{6DBFD2EB-70CE-B100-6567-4AA55AB947EB}"/>
                </a:ext>
              </a:extLst>
            </p:cNvPr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7" name="Google Shape;3844;p64">
              <a:extLst>
                <a:ext uri="{FF2B5EF4-FFF2-40B4-BE49-F238E27FC236}">
                  <a16:creationId xmlns:a16="http://schemas.microsoft.com/office/drawing/2014/main" id="{1D5565E9-DEBC-23C4-000E-046DEF762A67}"/>
                </a:ext>
              </a:extLst>
            </p:cNvPr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8" name="Google Shape;3845;p64">
              <a:extLst>
                <a:ext uri="{FF2B5EF4-FFF2-40B4-BE49-F238E27FC236}">
                  <a16:creationId xmlns:a16="http://schemas.microsoft.com/office/drawing/2014/main" id="{D70AD834-2BCA-41E6-DCE4-7AA6ADAEF9F3}"/>
                </a:ext>
              </a:extLst>
            </p:cNvPr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9" name="Google Shape;3846;p64">
              <a:extLst>
                <a:ext uri="{FF2B5EF4-FFF2-40B4-BE49-F238E27FC236}">
                  <a16:creationId xmlns:a16="http://schemas.microsoft.com/office/drawing/2014/main" id="{014040B3-5F77-A275-3428-E1249A5571A0}"/>
                </a:ext>
              </a:extLst>
            </p:cNvPr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0" name="Google Shape;3847;p64">
              <a:extLst>
                <a:ext uri="{FF2B5EF4-FFF2-40B4-BE49-F238E27FC236}">
                  <a16:creationId xmlns:a16="http://schemas.microsoft.com/office/drawing/2014/main" id="{94CFEF95-1AC7-636A-00A1-BF614649D040}"/>
                </a:ext>
              </a:extLst>
            </p:cNvPr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1" name="Google Shape;3848;p64">
              <a:extLst>
                <a:ext uri="{FF2B5EF4-FFF2-40B4-BE49-F238E27FC236}">
                  <a16:creationId xmlns:a16="http://schemas.microsoft.com/office/drawing/2014/main" id="{90E2120B-F3CD-C013-9480-D5408B79AED0}"/>
                </a:ext>
              </a:extLst>
            </p:cNvPr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2" name="Google Shape;3849;p64">
              <a:extLst>
                <a:ext uri="{FF2B5EF4-FFF2-40B4-BE49-F238E27FC236}">
                  <a16:creationId xmlns:a16="http://schemas.microsoft.com/office/drawing/2014/main" id="{933F138F-0A1B-D554-E3BD-1C5C1D0D6DB8}"/>
                </a:ext>
              </a:extLst>
            </p:cNvPr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3" name="Google Shape;3850;p64">
              <a:extLst>
                <a:ext uri="{FF2B5EF4-FFF2-40B4-BE49-F238E27FC236}">
                  <a16:creationId xmlns:a16="http://schemas.microsoft.com/office/drawing/2014/main" id="{661083E4-F544-79E7-3BE2-C3A6FB4D0806}"/>
                </a:ext>
              </a:extLst>
            </p:cNvPr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4" name="Google Shape;3851;p64">
              <a:extLst>
                <a:ext uri="{FF2B5EF4-FFF2-40B4-BE49-F238E27FC236}">
                  <a16:creationId xmlns:a16="http://schemas.microsoft.com/office/drawing/2014/main" id="{9C1AD80C-18DF-8594-AAAB-5747BF6FFB23}"/>
                </a:ext>
              </a:extLst>
            </p:cNvPr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5" name="Google Shape;3852;p64">
              <a:extLst>
                <a:ext uri="{FF2B5EF4-FFF2-40B4-BE49-F238E27FC236}">
                  <a16:creationId xmlns:a16="http://schemas.microsoft.com/office/drawing/2014/main" id="{9F503DC5-FE0F-52FD-8070-5F2CA8DC4761}"/>
                </a:ext>
              </a:extLst>
            </p:cNvPr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6" name="Google Shape;3853;p64">
              <a:extLst>
                <a:ext uri="{FF2B5EF4-FFF2-40B4-BE49-F238E27FC236}">
                  <a16:creationId xmlns:a16="http://schemas.microsoft.com/office/drawing/2014/main" id="{62B7E8B6-7189-BE77-562F-0CC154367C18}"/>
                </a:ext>
              </a:extLst>
            </p:cNvPr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7" name="Google Shape;3854;p64">
              <a:extLst>
                <a:ext uri="{FF2B5EF4-FFF2-40B4-BE49-F238E27FC236}">
                  <a16:creationId xmlns:a16="http://schemas.microsoft.com/office/drawing/2014/main" id="{3CB2E0CC-2D67-31FC-C6E2-0A5E737B8686}"/>
                </a:ext>
              </a:extLst>
            </p:cNvPr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8" name="Google Shape;3855;p64">
              <a:extLst>
                <a:ext uri="{FF2B5EF4-FFF2-40B4-BE49-F238E27FC236}">
                  <a16:creationId xmlns:a16="http://schemas.microsoft.com/office/drawing/2014/main" id="{B69D0D62-AA03-21D7-4BC4-1EC6947C40D8}"/>
                </a:ext>
              </a:extLst>
            </p:cNvPr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9" name="Google Shape;3856;p64">
              <a:extLst>
                <a:ext uri="{FF2B5EF4-FFF2-40B4-BE49-F238E27FC236}">
                  <a16:creationId xmlns:a16="http://schemas.microsoft.com/office/drawing/2014/main" id="{6E3CB11B-836B-4BAB-6104-8D0DB7992C72}"/>
                </a:ext>
              </a:extLst>
            </p:cNvPr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0" name="Google Shape;3857;p64">
              <a:extLst>
                <a:ext uri="{FF2B5EF4-FFF2-40B4-BE49-F238E27FC236}">
                  <a16:creationId xmlns:a16="http://schemas.microsoft.com/office/drawing/2014/main" id="{698955CB-BCD3-BBC7-9DB3-8B5467B1B8FE}"/>
                </a:ext>
              </a:extLst>
            </p:cNvPr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1" name="Google Shape;3858;p64">
              <a:extLst>
                <a:ext uri="{FF2B5EF4-FFF2-40B4-BE49-F238E27FC236}">
                  <a16:creationId xmlns:a16="http://schemas.microsoft.com/office/drawing/2014/main" id="{9324B4CE-09CE-A375-1A42-04F04B756C3B}"/>
                </a:ext>
              </a:extLst>
            </p:cNvPr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2" name="Google Shape;3859;p64">
              <a:extLst>
                <a:ext uri="{FF2B5EF4-FFF2-40B4-BE49-F238E27FC236}">
                  <a16:creationId xmlns:a16="http://schemas.microsoft.com/office/drawing/2014/main" id="{F53116FA-C155-1BE1-BD43-8C457AEB8988}"/>
                </a:ext>
              </a:extLst>
            </p:cNvPr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3" name="Google Shape;3860;p64">
              <a:extLst>
                <a:ext uri="{FF2B5EF4-FFF2-40B4-BE49-F238E27FC236}">
                  <a16:creationId xmlns:a16="http://schemas.microsoft.com/office/drawing/2014/main" id="{BE79A45C-2D30-8789-0B44-4673C01A88F2}"/>
                </a:ext>
              </a:extLst>
            </p:cNvPr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4" name="Google Shape;3861;p64">
              <a:extLst>
                <a:ext uri="{FF2B5EF4-FFF2-40B4-BE49-F238E27FC236}">
                  <a16:creationId xmlns:a16="http://schemas.microsoft.com/office/drawing/2014/main" id="{198CDCC0-367D-393F-94EE-543CBCC37EC5}"/>
                </a:ext>
              </a:extLst>
            </p:cNvPr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5" name="Google Shape;3862;p64">
              <a:extLst>
                <a:ext uri="{FF2B5EF4-FFF2-40B4-BE49-F238E27FC236}">
                  <a16:creationId xmlns:a16="http://schemas.microsoft.com/office/drawing/2014/main" id="{EAE0D02E-F1EE-297F-F75A-18983EA4FB49}"/>
                </a:ext>
              </a:extLst>
            </p:cNvPr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6" name="Google Shape;3863;p64">
              <a:extLst>
                <a:ext uri="{FF2B5EF4-FFF2-40B4-BE49-F238E27FC236}">
                  <a16:creationId xmlns:a16="http://schemas.microsoft.com/office/drawing/2014/main" id="{9145A190-7DD0-E24F-4221-F41506ED3E70}"/>
                </a:ext>
              </a:extLst>
            </p:cNvPr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7" name="Google Shape;3864;p64">
              <a:extLst>
                <a:ext uri="{FF2B5EF4-FFF2-40B4-BE49-F238E27FC236}">
                  <a16:creationId xmlns:a16="http://schemas.microsoft.com/office/drawing/2014/main" id="{5D688E85-69CD-D9A4-AF02-609AA0540243}"/>
                </a:ext>
              </a:extLst>
            </p:cNvPr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8" name="Google Shape;3865;p64">
              <a:extLst>
                <a:ext uri="{FF2B5EF4-FFF2-40B4-BE49-F238E27FC236}">
                  <a16:creationId xmlns:a16="http://schemas.microsoft.com/office/drawing/2014/main" id="{D468CCEE-C356-4F4E-4D1F-25B1DAB5C6AE}"/>
                </a:ext>
              </a:extLst>
            </p:cNvPr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9" name="Google Shape;3866;p64">
              <a:extLst>
                <a:ext uri="{FF2B5EF4-FFF2-40B4-BE49-F238E27FC236}">
                  <a16:creationId xmlns:a16="http://schemas.microsoft.com/office/drawing/2014/main" id="{6F716106-C5D6-2753-44F0-DD443676A7B3}"/>
                </a:ext>
              </a:extLst>
            </p:cNvPr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0" name="Google Shape;3867;p64">
              <a:extLst>
                <a:ext uri="{FF2B5EF4-FFF2-40B4-BE49-F238E27FC236}">
                  <a16:creationId xmlns:a16="http://schemas.microsoft.com/office/drawing/2014/main" id="{8B02D147-5F0B-C7D0-127D-7D85E1C7B403}"/>
                </a:ext>
              </a:extLst>
            </p:cNvPr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1" name="Google Shape;3868;p64">
              <a:extLst>
                <a:ext uri="{FF2B5EF4-FFF2-40B4-BE49-F238E27FC236}">
                  <a16:creationId xmlns:a16="http://schemas.microsoft.com/office/drawing/2014/main" id="{386A4A4C-AE42-B5B2-E30A-BA00E9F5B580}"/>
                </a:ext>
              </a:extLst>
            </p:cNvPr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2" name="Google Shape;3869;p64">
              <a:extLst>
                <a:ext uri="{FF2B5EF4-FFF2-40B4-BE49-F238E27FC236}">
                  <a16:creationId xmlns:a16="http://schemas.microsoft.com/office/drawing/2014/main" id="{F049784C-D1F9-0C88-39D7-07C9BA97726B}"/>
                </a:ext>
              </a:extLst>
            </p:cNvPr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3" name="Google Shape;3870;p64">
              <a:extLst>
                <a:ext uri="{FF2B5EF4-FFF2-40B4-BE49-F238E27FC236}">
                  <a16:creationId xmlns:a16="http://schemas.microsoft.com/office/drawing/2014/main" id="{8ECB30C9-F71A-7290-ACFD-2E191D8A883C}"/>
                </a:ext>
              </a:extLst>
            </p:cNvPr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4" name="Google Shape;3871;p64">
              <a:extLst>
                <a:ext uri="{FF2B5EF4-FFF2-40B4-BE49-F238E27FC236}">
                  <a16:creationId xmlns:a16="http://schemas.microsoft.com/office/drawing/2014/main" id="{D25117A6-C073-F121-D6C2-79498A97EA3C}"/>
                </a:ext>
              </a:extLst>
            </p:cNvPr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5" name="Google Shape;3872;p64">
              <a:extLst>
                <a:ext uri="{FF2B5EF4-FFF2-40B4-BE49-F238E27FC236}">
                  <a16:creationId xmlns:a16="http://schemas.microsoft.com/office/drawing/2014/main" id="{8DB4F28C-D630-F974-981A-323167405290}"/>
                </a:ext>
              </a:extLst>
            </p:cNvPr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6" name="Google Shape;3873;p64">
              <a:extLst>
                <a:ext uri="{FF2B5EF4-FFF2-40B4-BE49-F238E27FC236}">
                  <a16:creationId xmlns:a16="http://schemas.microsoft.com/office/drawing/2014/main" id="{89CDA4D1-AF17-908B-D000-2B4E0BB6469B}"/>
                </a:ext>
              </a:extLst>
            </p:cNvPr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7" name="Google Shape;3874;p64">
              <a:extLst>
                <a:ext uri="{FF2B5EF4-FFF2-40B4-BE49-F238E27FC236}">
                  <a16:creationId xmlns:a16="http://schemas.microsoft.com/office/drawing/2014/main" id="{AC7DE37F-FE03-3B89-5614-AB602A59E993}"/>
                </a:ext>
              </a:extLst>
            </p:cNvPr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8" name="Google Shape;3875;p64">
              <a:extLst>
                <a:ext uri="{FF2B5EF4-FFF2-40B4-BE49-F238E27FC236}">
                  <a16:creationId xmlns:a16="http://schemas.microsoft.com/office/drawing/2014/main" id="{ECDF9134-B342-9C47-D68E-9048DFC3A08C}"/>
                </a:ext>
              </a:extLst>
            </p:cNvPr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9" name="Google Shape;3876;p64">
              <a:extLst>
                <a:ext uri="{FF2B5EF4-FFF2-40B4-BE49-F238E27FC236}">
                  <a16:creationId xmlns:a16="http://schemas.microsoft.com/office/drawing/2014/main" id="{A6B0D231-CBB5-FC27-2CD7-719569883428}"/>
                </a:ext>
              </a:extLst>
            </p:cNvPr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0" name="Google Shape;3877;p64">
              <a:extLst>
                <a:ext uri="{FF2B5EF4-FFF2-40B4-BE49-F238E27FC236}">
                  <a16:creationId xmlns:a16="http://schemas.microsoft.com/office/drawing/2014/main" id="{A08FDF2F-0A85-E2B7-AA07-B6C6BBEB657B}"/>
                </a:ext>
              </a:extLst>
            </p:cNvPr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1" name="Google Shape;3878;p64">
              <a:extLst>
                <a:ext uri="{FF2B5EF4-FFF2-40B4-BE49-F238E27FC236}">
                  <a16:creationId xmlns:a16="http://schemas.microsoft.com/office/drawing/2014/main" id="{0BBD0514-FA4E-9ABF-8ECC-EAC292F87383}"/>
                </a:ext>
              </a:extLst>
            </p:cNvPr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2" name="Google Shape;3879;p64">
              <a:extLst>
                <a:ext uri="{FF2B5EF4-FFF2-40B4-BE49-F238E27FC236}">
                  <a16:creationId xmlns:a16="http://schemas.microsoft.com/office/drawing/2014/main" id="{8259DFD9-EC21-D50E-A6B3-98A6D50C477D}"/>
                </a:ext>
              </a:extLst>
            </p:cNvPr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3" name="Google Shape;3880;p64">
              <a:extLst>
                <a:ext uri="{FF2B5EF4-FFF2-40B4-BE49-F238E27FC236}">
                  <a16:creationId xmlns:a16="http://schemas.microsoft.com/office/drawing/2014/main" id="{3AEECD78-9685-C218-3308-5B8DA151CC9A}"/>
                </a:ext>
              </a:extLst>
            </p:cNvPr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4" name="Google Shape;3881;p64">
              <a:extLst>
                <a:ext uri="{FF2B5EF4-FFF2-40B4-BE49-F238E27FC236}">
                  <a16:creationId xmlns:a16="http://schemas.microsoft.com/office/drawing/2014/main" id="{B088773A-4D32-EEC8-086B-66D45160FCDF}"/>
                </a:ext>
              </a:extLst>
            </p:cNvPr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5" name="Google Shape;3882;p64">
              <a:extLst>
                <a:ext uri="{FF2B5EF4-FFF2-40B4-BE49-F238E27FC236}">
                  <a16:creationId xmlns:a16="http://schemas.microsoft.com/office/drawing/2014/main" id="{D9B5AB56-0D31-F766-9CF4-8C033864A054}"/>
                </a:ext>
              </a:extLst>
            </p:cNvPr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6" name="Google Shape;3883;p64">
              <a:extLst>
                <a:ext uri="{FF2B5EF4-FFF2-40B4-BE49-F238E27FC236}">
                  <a16:creationId xmlns:a16="http://schemas.microsoft.com/office/drawing/2014/main" id="{65A3E02B-D3FF-BAF9-0156-C7399C4D9AEB}"/>
                </a:ext>
              </a:extLst>
            </p:cNvPr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7" name="Google Shape;3884;p64">
              <a:extLst>
                <a:ext uri="{FF2B5EF4-FFF2-40B4-BE49-F238E27FC236}">
                  <a16:creationId xmlns:a16="http://schemas.microsoft.com/office/drawing/2014/main" id="{AC4A2379-40DD-F02B-7D21-8E9196D02F81}"/>
                </a:ext>
              </a:extLst>
            </p:cNvPr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8" name="Google Shape;3885;p64">
              <a:extLst>
                <a:ext uri="{FF2B5EF4-FFF2-40B4-BE49-F238E27FC236}">
                  <a16:creationId xmlns:a16="http://schemas.microsoft.com/office/drawing/2014/main" id="{8075F7A3-585A-9A82-0E92-E0DBDCAFDFFC}"/>
                </a:ext>
              </a:extLst>
            </p:cNvPr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9" name="Google Shape;3886;p64">
              <a:extLst>
                <a:ext uri="{FF2B5EF4-FFF2-40B4-BE49-F238E27FC236}">
                  <a16:creationId xmlns:a16="http://schemas.microsoft.com/office/drawing/2014/main" id="{1B19B201-EF6E-4705-BC4D-3A4B6D1A4C01}"/>
                </a:ext>
              </a:extLst>
            </p:cNvPr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0" name="Google Shape;3887;p64">
              <a:extLst>
                <a:ext uri="{FF2B5EF4-FFF2-40B4-BE49-F238E27FC236}">
                  <a16:creationId xmlns:a16="http://schemas.microsoft.com/office/drawing/2014/main" id="{149B16D5-B257-5FE7-ED78-C91EF2B486C8}"/>
                </a:ext>
              </a:extLst>
            </p:cNvPr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1" name="Google Shape;3888;p64">
              <a:extLst>
                <a:ext uri="{FF2B5EF4-FFF2-40B4-BE49-F238E27FC236}">
                  <a16:creationId xmlns:a16="http://schemas.microsoft.com/office/drawing/2014/main" id="{40A8B98F-2DF7-D0A9-9CF3-CA3A0AAB5735}"/>
                </a:ext>
              </a:extLst>
            </p:cNvPr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2" name="Google Shape;3889;p64">
              <a:extLst>
                <a:ext uri="{FF2B5EF4-FFF2-40B4-BE49-F238E27FC236}">
                  <a16:creationId xmlns:a16="http://schemas.microsoft.com/office/drawing/2014/main" id="{40B0B3EC-ED06-7F4E-9DCA-9215420E7841}"/>
                </a:ext>
              </a:extLst>
            </p:cNvPr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3" name="Google Shape;3890;p64">
              <a:extLst>
                <a:ext uri="{FF2B5EF4-FFF2-40B4-BE49-F238E27FC236}">
                  <a16:creationId xmlns:a16="http://schemas.microsoft.com/office/drawing/2014/main" id="{0524D60A-30E0-3DB1-2847-3FEE05DE6484}"/>
                </a:ext>
              </a:extLst>
            </p:cNvPr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4" name="Google Shape;3891;p64">
              <a:extLst>
                <a:ext uri="{FF2B5EF4-FFF2-40B4-BE49-F238E27FC236}">
                  <a16:creationId xmlns:a16="http://schemas.microsoft.com/office/drawing/2014/main" id="{30FB28E7-E9EB-C802-0F10-450A57923F8F}"/>
                </a:ext>
              </a:extLst>
            </p:cNvPr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5" name="Google Shape;3892;p64">
              <a:extLst>
                <a:ext uri="{FF2B5EF4-FFF2-40B4-BE49-F238E27FC236}">
                  <a16:creationId xmlns:a16="http://schemas.microsoft.com/office/drawing/2014/main" id="{D6BF9BFC-BF9E-71BF-D520-B4F73FD3BC3C}"/>
                </a:ext>
              </a:extLst>
            </p:cNvPr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6" name="Google Shape;3893;p64">
              <a:extLst>
                <a:ext uri="{FF2B5EF4-FFF2-40B4-BE49-F238E27FC236}">
                  <a16:creationId xmlns:a16="http://schemas.microsoft.com/office/drawing/2014/main" id="{CF5FFB65-3DB1-4A08-F193-D6869A4D7E9E}"/>
                </a:ext>
              </a:extLst>
            </p:cNvPr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7" name="Google Shape;3894;p64">
              <a:extLst>
                <a:ext uri="{FF2B5EF4-FFF2-40B4-BE49-F238E27FC236}">
                  <a16:creationId xmlns:a16="http://schemas.microsoft.com/office/drawing/2014/main" id="{C7032E49-FD97-C56E-ECA9-AAFDEA8D94A2}"/>
                </a:ext>
              </a:extLst>
            </p:cNvPr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8" name="Google Shape;3895;p64">
              <a:extLst>
                <a:ext uri="{FF2B5EF4-FFF2-40B4-BE49-F238E27FC236}">
                  <a16:creationId xmlns:a16="http://schemas.microsoft.com/office/drawing/2014/main" id="{41813BD1-73B1-1EC6-02BB-F6F47D1B04CF}"/>
                </a:ext>
              </a:extLst>
            </p:cNvPr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9" name="Google Shape;3896;p64">
              <a:extLst>
                <a:ext uri="{FF2B5EF4-FFF2-40B4-BE49-F238E27FC236}">
                  <a16:creationId xmlns:a16="http://schemas.microsoft.com/office/drawing/2014/main" id="{8C090048-9557-1666-6AC9-C8079582741B}"/>
                </a:ext>
              </a:extLst>
            </p:cNvPr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0" name="Google Shape;3897;p64">
              <a:extLst>
                <a:ext uri="{FF2B5EF4-FFF2-40B4-BE49-F238E27FC236}">
                  <a16:creationId xmlns:a16="http://schemas.microsoft.com/office/drawing/2014/main" id="{7A0C2C5F-6BF9-310C-65C7-4606363497AD}"/>
                </a:ext>
              </a:extLst>
            </p:cNvPr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1" name="Google Shape;3898;p64">
              <a:extLst>
                <a:ext uri="{FF2B5EF4-FFF2-40B4-BE49-F238E27FC236}">
                  <a16:creationId xmlns:a16="http://schemas.microsoft.com/office/drawing/2014/main" id="{E7C4A842-37F0-C477-7285-0D7045B40FB9}"/>
                </a:ext>
              </a:extLst>
            </p:cNvPr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2" name="Google Shape;3899;p64">
              <a:extLst>
                <a:ext uri="{FF2B5EF4-FFF2-40B4-BE49-F238E27FC236}">
                  <a16:creationId xmlns:a16="http://schemas.microsoft.com/office/drawing/2014/main" id="{3F0789CF-E6CF-F4AB-1409-CABBD427C344}"/>
                </a:ext>
              </a:extLst>
            </p:cNvPr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3" name="Google Shape;3900;p64">
              <a:extLst>
                <a:ext uri="{FF2B5EF4-FFF2-40B4-BE49-F238E27FC236}">
                  <a16:creationId xmlns:a16="http://schemas.microsoft.com/office/drawing/2014/main" id="{0BD5F99D-8DBB-6FAE-2B4B-13188321435B}"/>
                </a:ext>
              </a:extLst>
            </p:cNvPr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4" name="Google Shape;3901;p64">
              <a:extLst>
                <a:ext uri="{FF2B5EF4-FFF2-40B4-BE49-F238E27FC236}">
                  <a16:creationId xmlns:a16="http://schemas.microsoft.com/office/drawing/2014/main" id="{20638FB5-EBF9-2A2D-169E-485E3CA556B5}"/>
                </a:ext>
              </a:extLst>
            </p:cNvPr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5" name="Google Shape;3902;p64">
              <a:extLst>
                <a:ext uri="{FF2B5EF4-FFF2-40B4-BE49-F238E27FC236}">
                  <a16:creationId xmlns:a16="http://schemas.microsoft.com/office/drawing/2014/main" id="{B9C90D66-C755-E870-88C7-D31C774B2596}"/>
                </a:ext>
              </a:extLst>
            </p:cNvPr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6" name="Google Shape;3903;p64">
              <a:extLst>
                <a:ext uri="{FF2B5EF4-FFF2-40B4-BE49-F238E27FC236}">
                  <a16:creationId xmlns:a16="http://schemas.microsoft.com/office/drawing/2014/main" id="{921BF3CC-3B56-F734-62D0-C4E2AD6A016B}"/>
                </a:ext>
              </a:extLst>
            </p:cNvPr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7" name="Google Shape;3904;p64">
              <a:extLst>
                <a:ext uri="{FF2B5EF4-FFF2-40B4-BE49-F238E27FC236}">
                  <a16:creationId xmlns:a16="http://schemas.microsoft.com/office/drawing/2014/main" id="{6F0BB8FC-F889-EBD6-2484-BF14BC3A86C9}"/>
                </a:ext>
              </a:extLst>
            </p:cNvPr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8" name="Google Shape;3905;p64">
              <a:extLst>
                <a:ext uri="{FF2B5EF4-FFF2-40B4-BE49-F238E27FC236}">
                  <a16:creationId xmlns:a16="http://schemas.microsoft.com/office/drawing/2014/main" id="{59BD7106-9AE0-0920-D28B-3EB234CCCA63}"/>
                </a:ext>
              </a:extLst>
            </p:cNvPr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9" name="Google Shape;3906;p64">
              <a:extLst>
                <a:ext uri="{FF2B5EF4-FFF2-40B4-BE49-F238E27FC236}">
                  <a16:creationId xmlns:a16="http://schemas.microsoft.com/office/drawing/2014/main" id="{C9182544-9948-F2D6-029E-07CE0A6B7059}"/>
                </a:ext>
              </a:extLst>
            </p:cNvPr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0" name="Google Shape;3907;p64">
              <a:extLst>
                <a:ext uri="{FF2B5EF4-FFF2-40B4-BE49-F238E27FC236}">
                  <a16:creationId xmlns:a16="http://schemas.microsoft.com/office/drawing/2014/main" id="{520FEBCD-CA5D-57B8-BC0A-2B095572C0CC}"/>
                </a:ext>
              </a:extLst>
            </p:cNvPr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1" name="Google Shape;3908;p64">
              <a:extLst>
                <a:ext uri="{FF2B5EF4-FFF2-40B4-BE49-F238E27FC236}">
                  <a16:creationId xmlns:a16="http://schemas.microsoft.com/office/drawing/2014/main" id="{AE64262B-D677-B333-5AF3-A73B4067FDA6}"/>
                </a:ext>
              </a:extLst>
            </p:cNvPr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2" name="Google Shape;3909;p64">
              <a:extLst>
                <a:ext uri="{FF2B5EF4-FFF2-40B4-BE49-F238E27FC236}">
                  <a16:creationId xmlns:a16="http://schemas.microsoft.com/office/drawing/2014/main" id="{24EA1901-4054-F4AA-7C20-2DA1E0F51786}"/>
                </a:ext>
              </a:extLst>
            </p:cNvPr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3" name="Google Shape;3910;p64">
              <a:extLst>
                <a:ext uri="{FF2B5EF4-FFF2-40B4-BE49-F238E27FC236}">
                  <a16:creationId xmlns:a16="http://schemas.microsoft.com/office/drawing/2014/main" id="{515E66F2-09CD-2865-41C0-4A4242B2017C}"/>
                </a:ext>
              </a:extLst>
            </p:cNvPr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4" name="Google Shape;3911;p64">
              <a:extLst>
                <a:ext uri="{FF2B5EF4-FFF2-40B4-BE49-F238E27FC236}">
                  <a16:creationId xmlns:a16="http://schemas.microsoft.com/office/drawing/2014/main" id="{8A590A87-16AE-AE5C-25F2-AA5456F5DDEC}"/>
                </a:ext>
              </a:extLst>
            </p:cNvPr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5" name="Google Shape;3912;p64">
              <a:extLst>
                <a:ext uri="{FF2B5EF4-FFF2-40B4-BE49-F238E27FC236}">
                  <a16:creationId xmlns:a16="http://schemas.microsoft.com/office/drawing/2014/main" id="{4DE5AD5D-5330-7CEF-D622-5C0D620CDF45}"/>
                </a:ext>
              </a:extLst>
            </p:cNvPr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6" name="Google Shape;3913;p64">
              <a:extLst>
                <a:ext uri="{FF2B5EF4-FFF2-40B4-BE49-F238E27FC236}">
                  <a16:creationId xmlns:a16="http://schemas.microsoft.com/office/drawing/2014/main" id="{07B03EFF-BDEB-6D14-1F57-D0A737F7A0DF}"/>
                </a:ext>
              </a:extLst>
            </p:cNvPr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7" name="Google Shape;3914;p64">
              <a:extLst>
                <a:ext uri="{FF2B5EF4-FFF2-40B4-BE49-F238E27FC236}">
                  <a16:creationId xmlns:a16="http://schemas.microsoft.com/office/drawing/2014/main" id="{A1E0BC89-6902-C717-DB9B-0B9D0DE1A7BB}"/>
                </a:ext>
              </a:extLst>
            </p:cNvPr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8" name="Google Shape;3915;p64">
              <a:extLst>
                <a:ext uri="{FF2B5EF4-FFF2-40B4-BE49-F238E27FC236}">
                  <a16:creationId xmlns:a16="http://schemas.microsoft.com/office/drawing/2014/main" id="{CFFE9E36-254A-76C1-88A7-68F79AA25D67}"/>
                </a:ext>
              </a:extLst>
            </p:cNvPr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9" name="Google Shape;3916;p64">
              <a:extLst>
                <a:ext uri="{FF2B5EF4-FFF2-40B4-BE49-F238E27FC236}">
                  <a16:creationId xmlns:a16="http://schemas.microsoft.com/office/drawing/2014/main" id="{A0FFE1D4-C558-7028-8A2A-382B81284F12}"/>
                </a:ext>
              </a:extLst>
            </p:cNvPr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0" name="Google Shape;3917;p64">
              <a:extLst>
                <a:ext uri="{FF2B5EF4-FFF2-40B4-BE49-F238E27FC236}">
                  <a16:creationId xmlns:a16="http://schemas.microsoft.com/office/drawing/2014/main" id="{7CB654F4-BB8D-363F-9FD7-8823DE0A90FF}"/>
                </a:ext>
              </a:extLst>
            </p:cNvPr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1" name="Google Shape;3918;p64">
              <a:extLst>
                <a:ext uri="{FF2B5EF4-FFF2-40B4-BE49-F238E27FC236}">
                  <a16:creationId xmlns:a16="http://schemas.microsoft.com/office/drawing/2014/main" id="{8E5F6610-E571-89D2-EA4D-84C67D07009D}"/>
                </a:ext>
              </a:extLst>
            </p:cNvPr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2" name="Google Shape;3919;p64">
              <a:extLst>
                <a:ext uri="{FF2B5EF4-FFF2-40B4-BE49-F238E27FC236}">
                  <a16:creationId xmlns:a16="http://schemas.microsoft.com/office/drawing/2014/main" id="{02378BA6-1B85-F6D8-89E1-C58136207E86}"/>
                </a:ext>
              </a:extLst>
            </p:cNvPr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3" name="Google Shape;3920;p64">
              <a:extLst>
                <a:ext uri="{FF2B5EF4-FFF2-40B4-BE49-F238E27FC236}">
                  <a16:creationId xmlns:a16="http://schemas.microsoft.com/office/drawing/2014/main" id="{BAD9A5A9-0109-1694-4D5E-ABC3853403E4}"/>
                </a:ext>
              </a:extLst>
            </p:cNvPr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4" name="Google Shape;3921;p64">
              <a:extLst>
                <a:ext uri="{FF2B5EF4-FFF2-40B4-BE49-F238E27FC236}">
                  <a16:creationId xmlns:a16="http://schemas.microsoft.com/office/drawing/2014/main" id="{E35219C3-D7E2-4DDC-1547-AEF87F27EE4C}"/>
                </a:ext>
              </a:extLst>
            </p:cNvPr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5" name="Google Shape;3922;p64">
              <a:extLst>
                <a:ext uri="{FF2B5EF4-FFF2-40B4-BE49-F238E27FC236}">
                  <a16:creationId xmlns:a16="http://schemas.microsoft.com/office/drawing/2014/main" id="{8BCCAF28-5FFD-2169-52E0-C652372524BA}"/>
                </a:ext>
              </a:extLst>
            </p:cNvPr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6" name="Google Shape;3923;p64">
              <a:extLst>
                <a:ext uri="{FF2B5EF4-FFF2-40B4-BE49-F238E27FC236}">
                  <a16:creationId xmlns:a16="http://schemas.microsoft.com/office/drawing/2014/main" id="{1CC665FD-F2AE-BB1D-50A5-2B497277A433}"/>
                </a:ext>
              </a:extLst>
            </p:cNvPr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7" name="Google Shape;3924;p64">
              <a:extLst>
                <a:ext uri="{FF2B5EF4-FFF2-40B4-BE49-F238E27FC236}">
                  <a16:creationId xmlns:a16="http://schemas.microsoft.com/office/drawing/2014/main" id="{225528EF-D7C9-13F6-9E5F-47B2B6354366}"/>
                </a:ext>
              </a:extLst>
            </p:cNvPr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8" name="Google Shape;3925;p64">
              <a:extLst>
                <a:ext uri="{FF2B5EF4-FFF2-40B4-BE49-F238E27FC236}">
                  <a16:creationId xmlns:a16="http://schemas.microsoft.com/office/drawing/2014/main" id="{BD24813E-11ED-1B30-964C-7B77215CE8BA}"/>
                </a:ext>
              </a:extLst>
            </p:cNvPr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9" name="Google Shape;3926;p64">
              <a:extLst>
                <a:ext uri="{FF2B5EF4-FFF2-40B4-BE49-F238E27FC236}">
                  <a16:creationId xmlns:a16="http://schemas.microsoft.com/office/drawing/2014/main" id="{C06469D7-4BAA-BBC8-0665-E06C0E890C14}"/>
                </a:ext>
              </a:extLst>
            </p:cNvPr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0" name="Google Shape;3927;p64">
              <a:extLst>
                <a:ext uri="{FF2B5EF4-FFF2-40B4-BE49-F238E27FC236}">
                  <a16:creationId xmlns:a16="http://schemas.microsoft.com/office/drawing/2014/main" id="{52CFF980-0DE7-DA57-DF48-4FA06ED875F9}"/>
                </a:ext>
              </a:extLst>
            </p:cNvPr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1" name="Google Shape;3928;p64">
              <a:extLst>
                <a:ext uri="{FF2B5EF4-FFF2-40B4-BE49-F238E27FC236}">
                  <a16:creationId xmlns:a16="http://schemas.microsoft.com/office/drawing/2014/main" id="{5F67B7E2-1A27-81BE-A53A-6DC1E8F99292}"/>
                </a:ext>
              </a:extLst>
            </p:cNvPr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2" name="Google Shape;3929;p64">
              <a:extLst>
                <a:ext uri="{FF2B5EF4-FFF2-40B4-BE49-F238E27FC236}">
                  <a16:creationId xmlns:a16="http://schemas.microsoft.com/office/drawing/2014/main" id="{3D06F755-1B04-E5F0-5A71-6D2EAB1A7D25}"/>
                </a:ext>
              </a:extLst>
            </p:cNvPr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3" name="Google Shape;3930;p64">
              <a:extLst>
                <a:ext uri="{FF2B5EF4-FFF2-40B4-BE49-F238E27FC236}">
                  <a16:creationId xmlns:a16="http://schemas.microsoft.com/office/drawing/2014/main" id="{0F76C4FE-4050-7E74-8E29-B31371682AF9}"/>
                </a:ext>
              </a:extLst>
            </p:cNvPr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4" name="Google Shape;3931;p64">
              <a:extLst>
                <a:ext uri="{FF2B5EF4-FFF2-40B4-BE49-F238E27FC236}">
                  <a16:creationId xmlns:a16="http://schemas.microsoft.com/office/drawing/2014/main" id="{8CBCD778-C7EF-1005-4517-3CBF31D12CA7}"/>
                </a:ext>
              </a:extLst>
            </p:cNvPr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5" name="Google Shape;3932;p64">
              <a:extLst>
                <a:ext uri="{FF2B5EF4-FFF2-40B4-BE49-F238E27FC236}">
                  <a16:creationId xmlns:a16="http://schemas.microsoft.com/office/drawing/2014/main" id="{28CFB6A3-6372-CD91-D589-36167A94FE7C}"/>
                </a:ext>
              </a:extLst>
            </p:cNvPr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6" name="Google Shape;3933;p64">
              <a:extLst>
                <a:ext uri="{FF2B5EF4-FFF2-40B4-BE49-F238E27FC236}">
                  <a16:creationId xmlns:a16="http://schemas.microsoft.com/office/drawing/2014/main" id="{B97E7EBB-83D3-CBFC-04CE-7D5802D70933}"/>
                </a:ext>
              </a:extLst>
            </p:cNvPr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7" name="Google Shape;3934;p64">
              <a:extLst>
                <a:ext uri="{FF2B5EF4-FFF2-40B4-BE49-F238E27FC236}">
                  <a16:creationId xmlns:a16="http://schemas.microsoft.com/office/drawing/2014/main" id="{6D14A9A7-2ABC-A0D3-2338-A67349210C0B}"/>
                </a:ext>
              </a:extLst>
            </p:cNvPr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8" name="Google Shape;3935;p64">
              <a:extLst>
                <a:ext uri="{FF2B5EF4-FFF2-40B4-BE49-F238E27FC236}">
                  <a16:creationId xmlns:a16="http://schemas.microsoft.com/office/drawing/2014/main" id="{0D7B96E8-F6CC-B027-7335-8A1507CA1F0B}"/>
                </a:ext>
              </a:extLst>
            </p:cNvPr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9" name="Google Shape;3936;p64">
              <a:extLst>
                <a:ext uri="{FF2B5EF4-FFF2-40B4-BE49-F238E27FC236}">
                  <a16:creationId xmlns:a16="http://schemas.microsoft.com/office/drawing/2014/main" id="{D861B880-6BFD-9511-C00B-FF47B37027E5}"/>
                </a:ext>
              </a:extLst>
            </p:cNvPr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0" name="Google Shape;3937;p64">
              <a:extLst>
                <a:ext uri="{FF2B5EF4-FFF2-40B4-BE49-F238E27FC236}">
                  <a16:creationId xmlns:a16="http://schemas.microsoft.com/office/drawing/2014/main" id="{818590D3-0EE3-5EC0-4A17-4E609A27283A}"/>
                </a:ext>
              </a:extLst>
            </p:cNvPr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1" name="Google Shape;3938;p64">
              <a:extLst>
                <a:ext uri="{FF2B5EF4-FFF2-40B4-BE49-F238E27FC236}">
                  <a16:creationId xmlns:a16="http://schemas.microsoft.com/office/drawing/2014/main" id="{90B09457-44E7-473F-6EF4-677CD0994710}"/>
                </a:ext>
              </a:extLst>
            </p:cNvPr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2" name="Google Shape;3939;p64">
              <a:extLst>
                <a:ext uri="{FF2B5EF4-FFF2-40B4-BE49-F238E27FC236}">
                  <a16:creationId xmlns:a16="http://schemas.microsoft.com/office/drawing/2014/main" id="{A63701EE-9309-7AB5-BF4B-58D8D7384D63}"/>
                </a:ext>
              </a:extLst>
            </p:cNvPr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3" name="Google Shape;3940;p64">
              <a:extLst>
                <a:ext uri="{FF2B5EF4-FFF2-40B4-BE49-F238E27FC236}">
                  <a16:creationId xmlns:a16="http://schemas.microsoft.com/office/drawing/2014/main" id="{4762386F-FF6F-D598-A2CC-662B1963309B}"/>
                </a:ext>
              </a:extLst>
            </p:cNvPr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4" name="Google Shape;3941;p64">
              <a:extLst>
                <a:ext uri="{FF2B5EF4-FFF2-40B4-BE49-F238E27FC236}">
                  <a16:creationId xmlns:a16="http://schemas.microsoft.com/office/drawing/2014/main" id="{AF9FE6CD-B457-CCE6-8B24-A23B2D8F3E5F}"/>
                </a:ext>
              </a:extLst>
            </p:cNvPr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5" name="Google Shape;3942;p64">
              <a:extLst>
                <a:ext uri="{FF2B5EF4-FFF2-40B4-BE49-F238E27FC236}">
                  <a16:creationId xmlns:a16="http://schemas.microsoft.com/office/drawing/2014/main" id="{5514DE05-49BD-632C-4B08-D8B959420A79}"/>
                </a:ext>
              </a:extLst>
            </p:cNvPr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6" name="Google Shape;3943;p64">
              <a:extLst>
                <a:ext uri="{FF2B5EF4-FFF2-40B4-BE49-F238E27FC236}">
                  <a16:creationId xmlns:a16="http://schemas.microsoft.com/office/drawing/2014/main" id="{70D13283-F527-9A13-AF3A-CD4021112DEE}"/>
                </a:ext>
              </a:extLst>
            </p:cNvPr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7" name="Google Shape;3944;p64">
              <a:extLst>
                <a:ext uri="{FF2B5EF4-FFF2-40B4-BE49-F238E27FC236}">
                  <a16:creationId xmlns:a16="http://schemas.microsoft.com/office/drawing/2014/main" id="{9176BFB5-1ECB-678B-7E4B-5335E1CF8B27}"/>
                </a:ext>
              </a:extLst>
            </p:cNvPr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8" name="Google Shape;3945;p64">
              <a:extLst>
                <a:ext uri="{FF2B5EF4-FFF2-40B4-BE49-F238E27FC236}">
                  <a16:creationId xmlns:a16="http://schemas.microsoft.com/office/drawing/2014/main" id="{40D66815-C47E-53B3-4EB6-AF997AD4546E}"/>
                </a:ext>
              </a:extLst>
            </p:cNvPr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9" name="Google Shape;3946;p64">
              <a:extLst>
                <a:ext uri="{FF2B5EF4-FFF2-40B4-BE49-F238E27FC236}">
                  <a16:creationId xmlns:a16="http://schemas.microsoft.com/office/drawing/2014/main" id="{3EE935AE-D9E3-8497-04C9-146B02A3FA0C}"/>
                </a:ext>
              </a:extLst>
            </p:cNvPr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0" name="Google Shape;3947;p64">
              <a:extLst>
                <a:ext uri="{FF2B5EF4-FFF2-40B4-BE49-F238E27FC236}">
                  <a16:creationId xmlns:a16="http://schemas.microsoft.com/office/drawing/2014/main" id="{A90CC8C5-C93C-EF43-C128-E7FC452BF36F}"/>
                </a:ext>
              </a:extLst>
            </p:cNvPr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1" name="Google Shape;3948;p64">
              <a:extLst>
                <a:ext uri="{FF2B5EF4-FFF2-40B4-BE49-F238E27FC236}">
                  <a16:creationId xmlns:a16="http://schemas.microsoft.com/office/drawing/2014/main" id="{7AAD1167-7205-F64D-3D08-439293C552C4}"/>
                </a:ext>
              </a:extLst>
            </p:cNvPr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2" name="Google Shape;3949;p64">
              <a:extLst>
                <a:ext uri="{FF2B5EF4-FFF2-40B4-BE49-F238E27FC236}">
                  <a16:creationId xmlns:a16="http://schemas.microsoft.com/office/drawing/2014/main" id="{21CB9016-415B-10DB-E530-18FA6965A3F6}"/>
                </a:ext>
              </a:extLst>
            </p:cNvPr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3" name="Google Shape;3950;p64">
              <a:extLst>
                <a:ext uri="{FF2B5EF4-FFF2-40B4-BE49-F238E27FC236}">
                  <a16:creationId xmlns:a16="http://schemas.microsoft.com/office/drawing/2014/main" id="{DF6B2741-0BE4-B232-E626-F575D084B418}"/>
                </a:ext>
              </a:extLst>
            </p:cNvPr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4" name="Google Shape;3951;p64">
              <a:extLst>
                <a:ext uri="{FF2B5EF4-FFF2-40B4-BE49-F238E27FC236}">
                  <a16:creationId xmlns:a16="http://schemas.microsoft.com/office/drawing/2014/main" id="{A91FDB11-78CC-5CF9-0060-AC45CF9A1A4A}"/>
                </a:ext>
              </a:extLst>
            </p:cNvPr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5" name="Google Shape;3952;p64">
              <a:extLst>
                <a:ext uri="{FF2B5EF4-FFF2-40B4-BE49-F238E27FC236}">
                  <a16:creationId xmlns:a16="http://schemas.microsoft.com/office/drawing/2014/main" id="{61B70403-2189-D15A-B363-91A4E0227196}"/>
                </a:ext>
              </a:extLst>
            </p:cNvPr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6" name="Google Shape;3953;p64">
              <a:extLst>
                <a:ext uri="{FF2B5EF4-FFF2-40B4-BE49-F238E27FC236}">
                  <a16:creationId xmlns:a16="http://schemas.microsoft.com/office/drawing/2014/main" id="{C8BA6928-4C73-2B66-3FA1-924F6E98F239}"/>
                </a:ext>
              </a:extLst>
            </p:cNvPr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7" name="Google Shape;3954;p64">
              <a:extLst>
                <a:ext uri="{FF2B5EF4-FFF2-40B4-BE49-F238E27FC236}">
                  <a16:creationId xmlns:a16="http://schemas.microsoft.com/office/drawing/2014/main" id="{50858A0D-CF16-AA66-F225-B25335754518}"/>
                </a:ext>
              </a:extLst>
            </p:cNvPr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8" name="Google Shape;3955;p64">
              <a:extLst>
                <a:ext uri="{FF2B5EF4-FFF2-40B4-BE49-F238E27FC236}">
                  <a16:creationId xmlns:a16="http://schemas.microsoft.com/office/drawing/2014/main" id="{DD63015B-5F2C-6A06-3A13-0E8FEA683813}"/>
                </a:ext>
              </a:extLst>
            </p:cNvPr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9" name="Google Shape;3956;p64">
              <a:extLst>
                <a:ext uri="{FF2B5EF4-FFF2-40B4-BE49-F238E27FC236}">
                  <a16:creationId xmlns:a16="http://schemas.microsoft.com/office/drawing/2014/main" id="{CE7D3C24-43D9-D523-F458-72CFF5B2857D}"/>
                </a:ext>
              </a:extLst>
            </p:cNvPr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0" name="Google Shape;3957;p64">
              <a:extLst>
                <a:ext uri="{FF2B5EF4-FFF2-40B4-BE49-F238E27FC236}">
                  <a16:creationId xmlns:a16="http://schemas.microsoft.com/office/drawing/2014/main" id="{8932287E-D343-C77B-CFC2-C70BD5227CAD}"/>
                </a:ext>
              </a:extLst>
            </p:cNvPr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1" name="Google Shape;3958;p64">
              <a:extLst>
                <a:ext uri="{FF2B5EF4-FFF2-40B4-BE49-F238E27FC236}">
                  <a16:creationId xmlns:a16="http://schemas.microsoft.com/office/drawing/2014/main" id="{0B282632-D83B-EF34-08C1-579F521D4F4A}"/>
                </a:ext>
              </a:extLst>
            </p:cNvPr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2" name="Google Shape;3959;p64">
              <a:extLst>
                <a:ext uri="{FF2B5EF4-FFF2-40B4-BE49-F238E27FC236}">
                  <a16:creationId xmlns:a16="http://schemas.microsoft.com/office/drawing/2014/main" id="{64FA0930-BB6B-A8D4-45C7-F7B2DE510651}"/>
                </a:ext>
              </a:extLst>
            </p:cNvPr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3" name="Google Shape;3960;p64">
              <a:extLst>
                <a:ext uri="{FF2B5EF4-FFF2-40B4-BE49-F238E27FC236}">
                  <a16:creationId xmlns:a16="http://schemas.microsoft.com/office/drawing/2014/main" id="{566DE7D6-375F-691A-C3FF-6BF2BC777F0C}"/>
                </a:ext>
              </a:extLst>
            </p:cNvPr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4" name="Google Shape;3961;p64">
              <a:extLst>
                <a:ext uri="{FF2B5EF4-FFF2-40B4-BE49-F238E27FC236}">
                  <a16:creationId xmlns:a16="http://schemas.microsoft.com/office/drawing/2014/main" id="{B10EEA1B-D6E9-397B-473E-8FDB5811475B}"/>
                </a:ext>
              </a:extLst>
            </p:cNvPr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5" name="Google Shape;3962;p64">
              <a:extLst>
                <a:ext uri="{FF2B5EF4-FFF2-40B4-BE49-F238E27FC236}">
                  <a16:creationId xmlns:a16="http://schemas.microsoft.com/office/drawing/2014/main" id="{8DA58765-47E4-6EC4-20D0-20C3E81C0E85}"/>
                </a:ext>
              </a:extLst>
            </p:cNvPr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6" name="Google Shape;3963;p64">
              <a:extLst>
                <a:ext uri="{FF2B5EF4-FFF2-40B4-BE49-F238E27FC236}">
                  <a16:creationId xmlns:a16="http://schemas.microsoft.com/office/drawing/2014/main" id="{983C9DDC-126D-AD27-A909-BE08784F4862}"/>
                </a:ext>
              </a:extLst>
            </p:cNvPr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7" name="Google Shape;3964;p64">
              <a:extLst>
                <a:ext uri="{FF2B5EF4-FFF2-40B4-BE49-F238E27FC236}">
                  <a16:creationId xmlns:a16="http://schemas.microsoft.com/office/drawing/2014/main" id="{8CC307AD-46D4-9011-EEB6-77E4F26D021D}"/>
                </a:ext>
              </a:extLst>
            </p:cNvPr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8" name="Google Shape;3965;p64">
              <a:extLst>
                <a:ext uri="{FF2B5EF4-FFF2-40B4-BE49-F238E27FC236}">
                  <a16:creationId xmlns:a16="http://schemas.microsoft.com/office/drawing/2014/main" id="{90552C91-B072-65BD-E01A-25CB703A6809}"/>
                </a:ext>
              </a:extLst>
            </p:cNvPr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9" name="Google Shape;3966;p64">
              <a:extLst>
                <a:ext uri="{FF2B5EF4-FFF2-40B4-BE49-F238E27FC236}">
                  <a16:creationId xmlns:a16="http://schemas.microsoft.com/office/drawing/2014/main" id="{95BA32CB-6D5D-5DD2-572A-BC425CFBAEE9}"/>
                </a:ext>
              </a:extLst>
            </p:cNvPr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0" name="Google Shape;3967;p64">
              <a:extLst>
                <a:ext uri="{FF2B5EF4-FFF2-40B4-BE49-F238E27FC236}">
                  <a16:creationId xmlns:a16="http://schemas.microsoft.com/office/drawing/2014/main" id="{F78EC13A-9590-7CD0-11AA-5FEFBFCA3FB7}"/>
                </a:ext>
              </a:extLst>
            </p:cNvPr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1" name="Google Shape;3968;p64">
              <a:extLst>
                <a:ext uri="{FF2B5EF4-FFF2-40B4-BE49-F238E27FC236}">
                  <a16:creationId xmlns:a16="http://schemas.microsoft.com/office/drawing/2014/main" id="{990B3168-B912-FA96-E06C-07E8DBD77975}"/>
                </a:ext>
              </a:extLst>
            </p:cNvPr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2" name="Google Shape;3969;p64">
              <a:extLst>
                <a:ext uri="{FF2B5EF4-FFF2-40B4-BE49-F238E27FC236}">
                  <a16:creationId xmlns:a16="http://schemas.microsoft.com/office/drawing/2014/main" id="{1FEB6A20-72AD-2B00-60D1-D1C67600FE68}"/>
                </a:ext>
              </a:extLst>
            </p:cNvPr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3" name="Google Shape;3970;p64">
              <a:extLst>
                <a:ext uri="{FF2B5EF4-FFF2-40B4-BE49-F238E27FC236}">
                  <a16:creationId xmlns:a16="http://schemas.microsoft.com/office/drawing/2014/main" id="{DFBA37FD-97B5-C83E-EBCC-3F30820CA2EA}"/>
                </a:ext>
              </a:extLst>
            </p:cNvPr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4" name="Google Shape;3971;p64">
              <a:extLst>
                <a:ext uri="{FF2B5EF4-FFF2-40B4-BE49-F238E27FC236}">
                  <a16:creationId xmlns:a16="http://schemas.microsoft.com/office/drawing/2014/main" id="{15D8E04F-BC94-1837-23A6-E80D2C68B7FF}"/>
                </a:ext>
              </a:extLst>
            </p:cNvPr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5" name="Google Shape;3972;p64">
              <a:extLst>
                <a:ext uri="{FF2B5EF4-FFF2-40B4-BE49-F238E27FC236}">
                  <a16:creationId xmlns:a16="http://schemas.microsoft.com/office/drawing/2014/main" id="{B0D8B273-29C7-2047-412E-717994C6B299}"/>
                </a:ext>
              </a:extLst>
            </p:cNvPr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6" name="Google Shape;3973;p64">
              <a:extLst>
                <a:ext uri="{FF2B5EF4-FFF2-40B4-BE49-F238E27FC236}">
                  <a16:creationId xmlns:a16="http://schemas.microsoft.com/office/drawing/2014/main" id="{DA777CFC-D49C-DADB-A4F0-F385298A9C94}"/>
                </a:ext>
              </a:extLst>
            </p:cNvPr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7" name="Google Shape;3974;p64">
              <a:extLst>
                <a:ext uri="{FF2B5EF4-FFF2-40B4-BE49-F238E27FC236}">
                  <a16:creationId xmlns:a16="http://schemas.microsoft.com/office/drawing/2014/main" id="{71C0A63F-7CC2-7E45-0D39-085ED1709040}"/>
                </a:ext>
              </a:extLst>
            </p:cNvPr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8" name="Google Shape;3975;p64">
              <a:extLst>
                <a:ext uri="{FF2B5EF4-FFF2-40B4-BE49-F238E27FC236}">
                  <a16:creationId xmlns:a16="http://schemas.microsoft.com/office/drawing/2014/main" id="{47CC2486-5FC2-62A1-E598-C5B6AFAA0F3C}"/>
                </a:ext>
              </a:extLst>
            </p:cNvPr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9" name="Google Shape;3976;p64">
              <a:extLst>
                <a:ext uri="{FF2B5EF4-FFF2-40B4-BE49-F238E27FC236}">
                  <a16:creationId xmlns:a16="http://schemas.microsoft.com/office/drawing/2014/main" id="{6C0B3A7F-67FF-F566-1D7B-7C854CB38205}"/>
                </a:ext>
              </a:extLst>
            </p:cNvPr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0" name="Google Shape;3977;p64">
              <a:extLst>
                <a:ext uri="{FF2B5EF4-FFF2-40B4-BE49-F238E27FC236}">
                  <a16:creationId xmlns:a16="http://schemas.microsoft.com/office/drawing/2014/main" id="{33F2AA60-2A67-570B-8D94-3EEB829B283A}"/>
                </a:ext>
              </a:extLst>
            </p:cNvPr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1" name="Google Shape;3978;p64">
              <a:extLst>
                <a:ext uri="{FF2B5EF4-FFF2-40B4-BE49-F238E27FC236}">
                  <a16:creationId xmlns:a16="http://schemas.microsoft.com/office/drawing/2014/main" id="{23C92656-050D-6A68-D651-6D60FC483D9E}"/>
                </a:ext>
              </a:extLst>
            </p:cNvPr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2" name="Google Shape;3979;p64">
              <a:extLst>
                <a:ext uri="{FF2B5EF4-FFF2-40B4-BE49-F238E27FC236}">
                  <a16:creationId xmlns:a16="http://schemas.microsoft.com/office/drawing/2014/main" id="{39407EB0-B3E1-2410-C862-D5B9D5D99EF0}"/>
                </a:ext>
              </a:extLst>
            </p:cNvPr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3" name="Google Shape;3980;p64">
              <a:extLst>
                <a:ext uri="{FF2B5EF4-FFF2-40B4-BE49-F238E27FC236}">
                  <a16:creationId xmlns:a16="http://schemas.microsoft.com/office/drawing/2014/main" id="{20224A61-41F4-25B4-CA99-48BB6C02FC99}"/>
                </a:ext>
              </a:extLst>
            </p:cNvPr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4" name="Google Shape;3981;p64">
              <a:extLst>
                <a:ext uri="{FF2B5EF4-FFF2-40B4-BE49-F238E27FC236}">
                  <a16:creationId xmlns:a16="http://schemas.microsoft.com/office/drawing/2014/main" id="{84F48A87-66D4-DCCC-834D-90DAFC643068}"/>
                </a:ext>
              </a:extLst>
            </p:cNvPr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5" name="Google Shape;3982;p64">
              <a:extLst>
                <a:ext uri="{FF2B5EF4-FFF2-40B4-BE49-F238E27FC236}">
                  <a16:creationId xmlns:a16="http://schemas.microsoft.com/office/drawing/2014/main" id="{4F37F15C-A80D-50A2-B0E4-09C710AAEBEF}"/>
                </a:ext>
              </a:extLst>
            </p:cNvPr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6" name="Google Shape;3983;p64">
              <a:extLst>
                <a:ext uri="{FF2B5EF4-FFF2-40B4-BE49-F238E27FC236}">
                  <a16:creationId xmlns:a16="http://schemas.microsoft.com/office/drawing/2014/main" id="{EB0BC779-2A3D-767F-52BC-7D93942438B7}"/>
                </a:ext>
              </a:extLst>
            </p:cNvPr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7" name="Google Shape;3984;p64">
              <a:extLst>
                <a:ext uri="{FF2B5EF4-FFF2-40B4-BE49-F238E27FC236}">
                  <a16:creationId xmlns:a16="http://schemas.microsoft.com/office/drawing/2014/main" id="{F29BF18E-062A-0860-9CD7-681B6DC3FFC5}"/>
                </a:ext>
              </a:extLst>
            </p:cNvPr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8" name="Google Shape;3985;p64">
              <a:extLst>
                <a:ext uri="{FF2B5EF4-FFF2-40B4-BE49-F238E27FC236}">
                  <a16:creationId xmlns:a16="http://schemas.microsoft.com/office/drawing/2014/main" id="{E83A7832-AA60-4B53-770C-C1B3368A287A}"/>
                </a:ext>
              </a:extLst>
            </p:cNvPr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9" name="Google Shape;3986;p64">
              <a:extLst>
                <a:ext uri="{FF2B5EF4-FFF2-40B4-BE49-F238E27FC236}">
                  <a16:creationId xmlns:a16="http://schemas.microsoft.com/office/drawing/2014/main" id="{2D54059F-47CE-D414-E072-0A5C8D2A4634}"/>
                </a:ext>
              </a:extLst>
            </p:cNvPr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0" name="Google Shape;3987;p64">
              <a:extLst>
                <a:ext uri="{FF2B5EF4-FFF2-40B4-BE49-F238E27FC236}">
                  <a16:creationId xmlns:a16="http://schemas.microsoft.com/office/drawing/2014/main" id="{BC7229E3-E023-027F-C569-F044CB817842}"/>
                </a:ext>
              </a:extLst>
            </p:cNvPr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1" name="Google Shape;3988;p64">
              <a:extLst>
                <a:ext uri="{FF2B5EF4-FFF2-40B4-BE49-F238E27FC236}">
                  <a16:creationId xmlns:a16="http://schemas.microsoft.com/office/drawing/2014/main" id="{F09D25AD-4E7A-0B9F-92FD-5CE946BAED04}"/>
                </a:ext>
              </a:extLst>
            </p:cNvPr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2" name="Google Shape;3989;p64">
              <a:extLst>
                <a:ext uri="{FF2B5EF4-FFF2-40B4-BE49-F238E27FC236}">
                  <a16:creationId xmlns:a16="http://schemas.microsoft.com/office/drawing/2014/main" id="{F3C5D8B0-1137-CC5F-0433-00203A9CFBAC}"/>
                </a:ext>
              </a:extLst>
            </p:cNvPr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3" name="Google Shape;3990;p64">
              <a:extLst>
                <a:ext uri="{FF2B5EF4-FFF2-40B4-BE49-F238E27FC236}">
                  <a16:creationId xmlns:a16="http://schemas.microsoft.com/office/drawing/2014/main" id="{AB3A34F3-68E2-2FD6-5B08-F507AA28B34E}"/>
                </a:ext>
              </a:extLst>
            </p:cNvPr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4" name="Google Shape;3991;p64">
              <a:extLst>
                <a:ext uri="{FF2B5EF4-FFF2-40B4-BE49-F238E27FC236}">
                  <a16:creationId xmlns:a16="http://schemas.microsoft.com/office/drawing/2014/main" id="{45D415CC-8A87-6F30-57A3-C9260149C802}"/>
                </a:ext>
              </a:extLst>
            </p:cNvPr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5" name="Google Shape;3992;p64">
              <a:extLst>
                <a:ext uri="{FF2B5EF4-FFF2-40B4-BE49-F238E27FC236}">
                  <a16:creationId xmlns:a16="http://schemas.microsoft.com/office/drawing/2014/main" id="{67F5EB12-36E1-8294-7725-0801CCAFE2DA}"/>
                </a:ext>
              </a:extLst>
            </p:cNvPr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6" name="Google Shape;3993;p64">
              <a:extLst>
                <a:ext uri="{FF2B5EF4-FFF2-40B4-BE49-F238E27FC236}">
                  <a16:creationId xmlns:a16="http://schemas.microsoft.com/office/drawing/2014/main" id="{1C2E82FF-9BA0-B556-DD09-B478D9CFCF3C}"/>
                </a:ext>
              </a:extLst>
            </p:cNvPr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7" name="Google Shape;3994;p64">
              <a:extLst>
                <a:ext uri="{FF2B5EF4-FFF2-40B4-BE49-F238E27FC236}">
                  <a16:creationId xmlns:a16="http://schemas.microsoft.com/office/drawing/2014/main" id="{8A320BB4-E424-F217-25C1-FB51A5A0EE7C}"/>
                </a:ext>
              </a:extLst>
            </p:cNvPr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8" name="Google Shape;3995;p64">
              <a:extLst>
                <a:ext uri="{FF2B5EF4-FFF2-40B4-BE49-F238E27FC236}">
                  <a16:creationId xmlns:a16="http://schemas.microsoft.com/office/drawing/2014/main" id="{4639E894-99C5-54D4-73C2-EFB01D0354BD}"/>
                </a:ext>
              </a:extLst>
            </p:cNvPr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9" name="Google Shape;3996;p64">
              <a:extLst>
                <a:ext uri="{FF2B5EF4-FFF2-40B4-BE49-F238E27FC236}">
                  <a16:creationId xmlns:a16="http://schemas.microsoft.com/office/drawing/2014/main" id="{2E1C10D3-E725-4254-F82D-A71DD684214D}"/>
                </a:ext>
              </a:extLst>
            </p:cNvPr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0" name="Google Shape;3997;p64">
              <a:extLst>
                <a:ext uri="{FF2B5EF4-FFF2-40B4-BE49-F238E27FC236}">
                  <a16:creationId xmlns:a16="http://schemas.microsoft.com/office/drawing/2014/main" id="{5519864F-3123-DD53-57F4-57D6C0DA25CE}"/>
                </a:ext>
              </a:extLst>
            </p:cNvPr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1" name="Google Shape;3998;p64">
              <a:extLst>
                <a:ext uri="{FF2B5EF4-FFF2-40B4-BE49-F238E27FC236}">
                  <a16:creationId xmlns:a16="http://schemas.microsoft.com/office/drawing/2014/main" id="{1C02D26E-22ED-F48C-04BF-8B10460F7349}"/>
                </a:ext>
              </a:extLst>
            </p:cNvPr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2" name="Google Shape;3999;p64">
              <a:extLst>
                <a:ext uri="{FF2B5EF4-FFF2-40B4-BE49-F238E27FC236}">
                  <a16:creationId xmlns:a16="http://schemas.microsoft.com/office/drawing/2014/main" id="{A74C4780-3867-6B2E-CCF8-A19187D3A728}"/>
                </a:ext>
              </a:extLst>
            </p:cNvPr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3" name="Google Shape;4000;p64">
              <a:extLst>
                <a:ext uri="{FF2B5EF4-FFF2-40B4-BE49-F238E27FC236}">
                  <a16:creationId xmlns:a16="http://schemas.microsoft.com/office/drawing/2014/main" id="{F121828D-8FD2-9E5E-E9CA-00AB026328C1}"/>
                </a:ext>
              </a:extLst>
            </p:cNvPr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4" name="Google Shape;4001;p64">
              <a:extLst>
                <a:ext uri="{FF2B5EF4-FFF2-40B4-BE49-F238E27FC236}">
                  <a16:creationId xmlns:a16="http://schemas.microsoft.com/office/drawing/2014/main" id="{E1FEF9AF-364B-618B-104C-B7AACAB5CB78}"/>
                </a:ext>
              </a:extLst>
            </p:cNvPr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5" name="Google Shape;4002;p64">
              <a:extLst>
                <a:ext uri="{FF2B5EF4-FFF2-40B4-BE49-F238E27FC236}">
                  <a16:creationId xmlns:a16="http://schemas.microsoft.com/office/drawing/2014/main" id="{0D40F165-1F14-4211-5578-456479546EC9}"/>
                </a:ext>
              </a:extLst>
            </p:cNvPr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6" name="Google Shape;4003;p64">
              <a:extLst>
                <a:ext uri="{FF2B5EF4-FFF2-40B4-BE49-F238E27FC236}">
                  <a16:creationId xmlns:a16="http://schemas.microsoft.com/office/drawing/2014/main" id="{F2977491-0FDC-7473-40C1-287B02CBB85A}"/>
                </a:ext>
              </a:extLst>
            </p:cNvPr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7" name="Google Shape;4004;p64">
              <a:extLst>
                <a:ext uri="{FF2B5EF4-FFF2-40B4-BE49-F238E27FC236}">
                  <a16:creationId xmlns:a16="http://schemas.microsoft.com/office/drawing/2014/main" id="{70DD2ECF-4F56-789E-9269-F47C92C95B5E}"/>
                </a:ext>
              </a:extLst>
            </p:cNvPr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8" name="Google Shape;4005;p64">
              <a:extLst>
                <a:ext uri="{FF2B5EF4-FFF2-40B4-BE49-F238E27FC236}">
                  <a16:creationId xmlns:a16="http://schemas.microsoft.com/office/drawing/2014/main" id="{62B68BEB-CDF1-36D0-30E8-862CB26E3528}"/>
                </a:ext>
              </a:extLst>
            </p:cNvPr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9" name="Google Shape;4006;p64">
              <a:extLst>
                <a:ext uri="{FF2B5EF4-FFF2-40B4-BE49-F238E27FC236}">
                  <a16:creationId xmlns:a16="http://schemas.microsoft.com/office/drawing/2014/main" id="{A7632C76-0925-24F1-C653-4B8803E200A9}"/>
                </a:ext>
              </a:extLst>
            </p:cNvPr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0" name="Google Shape;4007;p64">
              <a:extLst>
                <a:ext uri="{FF2B5EF4-FFF2-40B4-BE49-F238E27FC236}">
                  <a16:creationId xmlns:a16="http://schemas.microsoft.com/office/drawing/2014/main" id="{237DF2CA-02B1-7672-31BA-6EF9C8E2ACD9}"/>
                </a:ext>
              </a:extLst>
            </p:cNvPr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1" name="Google Shape;4008;p64">
              <a:extLst>
                <a:ext uri="{FF2B5EF4-FFF2-40B4-BE49-F238E27FC236}">
                  <a16:creationId xmlns:a16="http://schemas.microsoft.com/office/drawing/2014/main" id="{05DC28AE-DE17-DBB1-4463-A3C65722284E}"/>
                </a:ext>
              </a:extLst>
            </p:cNvPr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2" name="Google Shape;4009;p64">
              <a:extLst>
                <a:ext uri="{FF2B5EF4-FFF2-40B4-BE49-F238E27FC236}">
                  <a16:creationId xmlns:a16="http://schemas.microsoft.com/office/drawing/2014/main" id="{BB6BF3EF-1A97-DFC9-2317-0E20937948CB}"/>
                </a:ext>
              </a:extLst>
            </p:cNvPr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3" name="Google Shape;4010;p64">
              <a:extLst>
                <a:ext uri="{FF2B5EF4-FFF2-40B4-BE49-F238E27FC236}">
                  <a16:creationId xmlns:a16="http://schemas.microsoft.com/office/drawing/2014/main" id="{DD890AD3-8C75-1B26-34B0-19E3DA2E7B8F}"/>
                </a:ext>
              </a:extLst>
            </p:cNvPr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4" name="Google Shape;4011;p64">
              <a:extLst>
                <a:ext uri="{FF2B5EF4-FFF2-40B4-BE49-F238E27FC236}">
                  <a16:creationId xmlns:a16="http://schemas.microsoft.com/office/drawing/2014/main" id="{E75160FE-2C18-1D31-A042-357E5434D32C}"/>
                </a:ext>
              </a:extLst>
            </p:cNvPr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5" name="Google Shape;4012;p64">
              <a:extLst>
                <a:ext uri="{FF2B5EF4-FFF2-40B4-BE49-F238E27FC236}">
                  <a16:creationId xmlns:a16="http://schemas.microsoft.com/office/drawing/2014/main" id="{58754472-8DEC-A5EF-1291-7B12D6B9C162}"/>
                </a:ext>
              </a:extLst>
            </p:cNvPr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6" name="Google Shape;4013;p64">
              <a:extLst>
                <a:ext uri="{FF2B5EF4-FFF2-40B4-BE49-F238E27FC236}">
                  <a16:creationId xmlns:a16="http://schemas.microsoft.com/office/drawing/2014/main" id="{3D96CC40-53B2-9157-422E-56669B564BA0}"/>
                </a:ext>
              </a:extLst>
            </p:cNvPr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7" name="Google Shape;4014;p64">
              <a:extLst>
                <a:ext uri="{FF2B5EF4-FFF2-40B4-BE49-F238E27FC236}">
                  <a16:creationId xmlns:a16="http://schemas.microsoft.com/office/drawing/2014/main" id="{E2D5C8E6-454C-C6AD-985D-6C0D73C86CFB}"/>
                </a:ext>
              </a:extLst>
            </p:cNvPr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8" name="Google Shape;4015;p64">
              <a:extLst>
                <a:ext uri="{FF2B5EF4-FFF2-40B4-BE49-F238E27FC236}">
                  <a16:creationId xmlns:a16="http://schemas.microsoft.com/office/drawing/2014/main" id="{E0FBAB72-8E91-EE24-0F25-CDD93C932ED4}"/>
                </a:ext>
              </a:extLst>
            </p:cNvPr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9" name="Google Shape;4016;p64">
              <a:extLst>
                <a:ext uri="{FF2B5EF4-FFF2-40B4-BE49-F238E27FC236}">
                  <a16:creationId xmlns:a16="http://schemas.microsoft.com/office/drawing/2014/main" id="{8F80A441-7E01-E350-E3E4-327543C0C8BC}"/>
                </a:ext>
              </a:extLst>
            </p:cNvPr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0" name="Google Shape;4017;p64">
              <a:extLst>
                <a:ext uri="{FF2B5EF4-FFF2-40B4-BE49-F238E27FC236}">
                  <a16:creationId xmlns:a16="http://schemas.microsoft.com/office/drawing/2014/main" id="{85AFB0A5-8DFC-2ECA-EC74-47E097F94CBE}"/>
                </a:ext>
              </a:extLst>
            </p:cNvPr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1" name="Google Shape;4018;p64">
              <a:extLst>
                <a:ext uri="{FF2B5EF4-FFF2-40B4-BE49-F238E27FC236}">
                  <a16:creationId xmlns:a16="http://schemas.microsoft.com/office/drawing/2014/main" id="{1ABF8402-B568-7E4D-2814-614BD484646C}"/>
                </a:ext>
              </a:extLst>
            </p:cNvPr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2" name="Google Shape;4019;p64">
              <a:extLst>
                <a:ext uri="{FF2B5EF4-FFF2-40B4-BE49-F238E27FC236}">
                  <a16:creationId xmlns:a16="http://schemas.microsoft.com/office/drawing/2014/main" id="{C3C201E7-2586-CB62-6AE7-39D0F7E4C5FB}"/>
                </a:ext>
              </a:extLst>
            </p:cNvPr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3" name="Google Shape;4020;p64">
              <a:extLst>
                <a:ext uri="{FF2B5EF4-FFF2-40B4-BE49-F238E27FC236}">
                  <a16:creationId xmlns:a16="http://schemas.microsoft.com/office/drawing/2014/main" id="{3344DCA9-CC4F-DA68-112A-D3D9DC48A5E7}"/>
                </a:ext>
              </a:extLst>
            </p:cNvPr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4" name="Google Shape;4021;p64">
              <a:extLst>
                <a:ext uri="{FF2B5EF4-FFF2-40B4-BE49-F238E27FC236}">
                  <a16:creationId xmlns:a16="http://schemas.microsoft.com/office/drawing/2014/main" id="{B1DB8D84-EE21-5393-5D57-5C20F7413C8C}"/>
                </a:ext>
              </a:extLst>
            </p:cNvPr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5" name="Google Shape;4022;p64">
              <a:extLst>
                <a:ext uri="{FF2B5EF4-FFF2-40B4-BE49-F238E27FC236}">
                  <a16:creationId xmlns:a16="http://schemas.microsoft.com/office/drawing/2014/main" id="{B6792CC4-6AA3-ED7E-3814-2C8DAEE47B25}"/>
                </a:ext>
              </a:extLst>
            </p:cNvPr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6" name="Google Shape;4023;p64">
              <a:extLst>
                <a:ext uri="{FF2B5EF4-FFF2-40B4-BE49-F238E27FC236}">
                  <a16:creationId xmlns:a16="http://schemas.microsoft.com/office/drawing/2014/main" id="{D4806EE3-BB0D-D33D-AC98-888929BD8B21}"/>
                </a:ext>
              </a:extLst>
            </p:cNvPr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7" name="Google Shape;4024;p64">
              <a:extLst>
                <a:ext uri="{FF2B5EF4-FFF2-40B4-BE49-F238E27FC236}">
                  <a16:creationId xmlns:a16="http://schemas.microsoft.com/office/drawing/2014/main" id="{DFA5228F-3F3E-91A0-ED9D-60E38D88F234}"/>
                </a:ext>
              </a:extLst>
            </p:cNvPr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8" name="Google Shape;4025;p64">
              <a:extLst>
                <a:ext uri="{FF2B5EF4-FFF2-40B4-BE49-F238E27FC236}">
                  <a16:creationId xmlns:a16="http://schemas.microsoft.com/office/drawing/2014/main" id="{9766375F-464A-7CA2-CA78-E54383489F23}"/>
                </a:ext>
              </a:extLst>
            </p:cNvPr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9" name="Google Shape;4026;p64">
              <a:extLst>
                <a:ext uri="{FF2B5EF4-FFF2-40B4-BE49-F238E27FC236}">
                  <a16:creationId xmlns:a16="http://schemas.microsoft.com/office/drawing/2014/main" id="{A25720C2-5371-4F35-C5A9-80056E0A7909}"/>
                </a:ext>
              </a:extLst>
            </p:cNvPr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0" name="Google Shape;4027;p64">
              <a:extLst>
                <a:ext uri="{FF2B5EF4-FFF2-40B4-BE49-F238E27FC236}">
                  <a16:creationId xmlns:a16="http://schemas.microsoft.com/office/drawing/2014/main" id="{2D76E4A0-7E39-90C4-6694-18B0233DC8C8}"/>
                </a:ext>
              </a:extLst>
            </p:cNvPr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1" name="Google Shape;4028;p64">
              <a:extLst>
                <a:ext uri="{FF2B5EF4-FFF2-40B4-BE49-F238E27FC236}">
                  <a16:creationId xmlns:a16="http://schemas.microsoft.com/office/drawing/2014/main" id="{E5A6753E-F9E1-AD07-43C5-1A470BFF09DE}"/>
                </a:ext>
              </a:extLst>
            </p:cNvPr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2" name="Google Shape;4029;p64">
              <a:extLst>
                <a:ext uri="{FF2B5EF4-FFF2-40B4-BE49-F238E27FC236}">
                  <a16:creationId xmlns:a16="http://schemas.microsoft.com/office/drawing/2014/main" id="{6057F1B6-7524-1EDF-F7B8-0339AA852BA4}"/>
                </a:ext>
              </a:extLst>
            </p:cNvPr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3" name="Google Shape;4030;p64">
              <a:extLst>
                <a:ext uri="{FF2B5EF4-FFF2-40B4-BE49-F238E27FC236}">
                  <a16:creationId xmlns:a16="http://schemas.microsoft.com/office/drawing/2014/main" id="{426D6911-F409-2051-9B7A-D9191FB7BF6D}"/>
                </a:ext>
              </a:extLst>
            </p:cNvPr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4" name="Google Shape;4031;p64">
              <a:extLst>
                <a:ext uri="{FF2B5EF4-FFF2-40B4-BE49-F238E27FC236}">
                  <a16:creationId xmlns:a16="http://schemas.microsoft.com/office/drawing/2014/main" id="{6CCB6367-665A-432C-C3E3-1EA61D7B8BFE}"/>
                </a:ext>
              </a:extLst>
            </p:cNvPr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5" name="Google Shape;4032;p64">
              <a:extLst>
                <a:ext uri="{FF2B5EF4-FFF2-40B4-BE49-F238E27FC236}">
                  <a16:creationId xmlns:a16="http://schemas.microsoft.com/office/drawing/2014/main" id="{BAFB6740-93C2-D367-069C-F0CB3792F307}"/>
                </a:ext>
              </a:extLst>
            </p:cNvPr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6" name="Google Shape;4033;p64">
              <a:extLst>
                <a:ext uri="{FF2B5EF4-FFF2-40B4-BE49-F238E27FC236}">
                  <a16:creationId xmlns:a16="http://schemas.microsoft.com/office/drawing/2014/main" id="{1DA6CA82-C39D-E593-892D-3F75DF993C1D}"/>
                </a:ext>
              </a:extLst>
            </p:cNvPr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7" name="Google Shape;4034;p64">
              <a:extLst>
                <a:ext uri="{FF2B5EF4-FFF2-40B4-BE49-F238E27FC236}">
                  <a16:creationId xmlns:a16="http://schemas.microsoft.com/office/drawing/2014/main" id="{F06204CA-5A96-1391-F3B9-907A915EB581}"/>
                </a:ext>
              </a:extLst>
            </p:cNvPr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8" name="Google Shape;4035;p64">
              <a:extLst>
                <a:ext uri="{FF2B5EF4-FFF2-40B4-BE49-F238E27FC236}">
                  <a16:creationId xmlns:a16="http://schemas.microsoft.com/office/drawing/2014/main" id="{07F49DDF-AC1D-DCE2-DCFE-DFBCA86040BA}"/>
                </a:ext>
              </a:extLst>
            </p:cNvPr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9" name="Google Shape;4036;p64">
              <a:extLst>
                <a:ext uri="{FF2B5EF4-FFF2-40B4-BE49-F238E27FC236}">
                  <a16:creationId xmlns:a16="http://schemas.microsoft.com/office/drawing/2014/main" id="{89A5CF12-BE72-438E-ECDB-570504E16F86}"/>
                </a:ext>
              </a:extLst>
            </p:cNvPr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0" name="Google Shape;4037;p64">
              <a:extLst>
                <a:ext uri="{FF2B5EF4-FFF2-40B4-BE49-F238E27FC236}">
                  <a16:creationId xmlns:a16="http://schemas.microsoft.com/office/drawing/2014/main" id="{F484EC90-DC7E-E5C1-34BF-370A95562A4E}"/>
                </a:ext>
              </a:extLst>
            </p:cNvPr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1" name="Google Shape;4038;p64">
              <a:extLst>
                <a:ext uri="{FF2B5EF4-FFF2-40B4-BE49-F238E27FC236}">
                  <a16:creationId xmlns:a16="http://schemas.microsoft.com/office/drawing/2014/main" id="{DB123203-DB5A-FCF5-79BF-5C297EB9DB2B}"/>
                </a:ext>
              </a:extLst>
            </p:cNvPr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2" name="Google Shape;4039;p64">
              <a:extLst>
                <a:ext uri="{FF2B5EF4-FFF2-40B4-BE49-F238E27FC236}">
                  <a16:creationId xmlns:a16="http://schemas.microsoft.com/office/drawing/2014/main" id="{49802625-44EB-CF05-205B-12BD6740B69B}"/>
                </a:ext>
              </a:extLst>
            </p:cNvPr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3" name="Google Shape;4040;p64">
              <a:extLst>
                <a:ext uri="{FF2B5EF4-FFF2-40B4-BE49-F238E27FC236}">
                  <a16:creationId xmlns:a16="http://schemas.microsoft.com/office/drawing/2014/main" id="{CA308E68-887F-F132-2723-E3AB219E1548}"/>
                </a:ext>
              </a:extLst>
            </p:cNvPr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4" name="Google Shape;4041;p64">
              <a:extLst>
                <a:ext uri="{FF2B5EF4-FFF2-40B4-BE49-F238E27FC236}">
                  <a16:creationId xmlns:a16="http://schemas.microsoft.com/office/drawing/2014/main" id="{95BD56E8-B81E-CE18-6472-02E60CB4C205}"/>
                </a:ext>
              </a:extLst>
            </p:cNvPr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5" name="Google Shape;4042;p64">
              <a:extLst>
                <a:ext uri="{FF2B5EF4-FFF2-40B4-BE49-F238E27FC236}">
                  <a16:creationId xmlns:a16="http://schemas.microsoft.com/office/drawing/2014/main" id="{CADB2F32-3558-B973-6D41-71EC6E4012F6}"/>
                </a:ext>
              </a:extLst>
            </p:cNvPr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6" name="Google Shape;4043;p64">
              <a:extLst>
                <a:ext uri="{FF2B5EF4-FFF2-40B4-BE49-F238E27FC236}">
                  <a16:creationId xmlns:a16="http://schemas.microsoft.com/office/drawing/2014/main" id="{0FC69006-AC73-4765-58DB-5A101287F449}"/>
                </a:ext>
              </a:extLst>
            </p:cNvPr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7" name="Google Shape;4044;p64">
              <a:extLst>
                <a:ext uri="{FF2B5EF4-FFF2-40B4-BE49-F238E27FC236}">
                  <a16:creationId xmlns:a16="http://schemas.microsoft.com/office/drawing/2014/main" id="{45179401-306A-54C1-5700-CDA7341FBCF5}"/>
                </a:ext>
              </a:extLst>
            </p:cNvPr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8" name="Google Shape;4045;p64">
              <a:extLst>
                <a:ext uri="{FF2B5EF4-FFF2-40B4-BE49-F238E27FC236}">
                  <a16:creationId xmlns:a16="http://schemas.microsoft.com/office/drawing/2014/main" id="{2E7A1FD1-B962-3B77-81BE-76FCFFAF8A03}"/>
                </a:ext>
              </a:extLst>
            </p:cNvPr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9" name="Google Shape;4046;p64">
              <a:extLst>
                <a:ext uri="{FF2B5EF4-FFF2-40B4-BE49-F238E27FC236}">
                  <a16:creationId xmlns:a16="http://schemas.microsoft.com/office/drawing/2014/main" id="{BB41BEC0-8E7B-F8D2-0FC0-457B6027FDEC}"/>
                </a:ext>
              </a:extLst>
            </p:cNvPr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0" name="Google Shape;4047;p64">
              <a:extLst>
                <a:ext uri="{FF2B5EF4-FFF2-40B4-BE49-F238E27FC236}">
                  <a16:creationId xmlns:a16="http://schemas.microsoft.com/office/drawing/2014/main" id="{2E149733-4E85-9F7A-08F4-4F4BFEF529B3}"/>
                </a:ext>
              </a:extLst>
            </p:cNvPr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1" name="Google Shape;4048;p64">
              <a:extLst>
                <a:ext uri="{FF2B5EF4-FFF2-40B4-BE49-F238E27FC236}">
                  <a16:creationId xmlns:a16="http://schemas.microsoft.com/office/drawing/2014/main" id="{4C7711E0-908A-5E9A-C22E-8A3F8C3D41FF}"/>
                </a:ext>
              </a:extLst>
            </p:cNvPr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2" name="Google Shape;4049;p64">
              <a:extLst>
                <a:ext uri="{FF2B5EF4-FFF2-40B4-BE49-F238E27FC236}">
                  <a16:creationId xmlns:a16="http://schemas.microsoft.com/office/drawing/2014/main" id="{866CED29-9066-390F-92DC-DEB00584D0F2}"/>
                </a:ext>
              </a:extLst>
            </p:cNvPr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3" name="Google Shape;4050;p64">
              <a:extLst>
                <a:ext uri="{FF2B5EF4-FFF2-40B4-BE49-F238E27FC236}">
                  <a16:creationId xmlns:a16="http://schemas.microsoft.com/office/drawing/2014/main" id="{A00D2DC1-2BBF-6FC5-90DA-6621767B64C8}"/>
                </a:ext>
              </a:extLst>
            </p:cNvPr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4" name="Google Shape;4051;p64">
              <a:extLst>
                <a:ext uri="{FF2B5EF4-FFF2-40B4-BE49-F238E27FC236}">
                  <a16:creationId xmlns:a16="http://schemas.microsoft.com/office/drawing/2014/main" id="{8CF6545F-E633-3A28-5750-91D137E977B3}"/>
                </a:ext>
              </a:extLst>
            </p:cNvPr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5" name="Google Shape;4052;p64">
              <a:extLst>
                <a:ext uri="{FF2B5EF4-FFF2-40B4-BE49-F238E27FC236}">
                  <a16:creationId xmlns:a16="http://schemas.microsoft.com/office/drawing/2014/main" id="{DB2CEEC9-5460-0858-AEB9-13435530C0BE}"/>
                </a:ext>
              </a:extLst>
            </p:cNvPr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6" name="Google Shape;4053;p64">
              <a:extLst>
                <a:ext uri="{FF2B5EF4-FFF2-40B4-BE49-F238E27FC236}">
                  <a16:creationId xmlns:a16="http://schemas.microsoft.com/office/drawing/2014/main" id="{00BDE793-4AE2-6BF1-BA06-C353FA8A7784}"/>
                </a:ext>
              </a:extLst>
            </p:cNvPr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7" name="Google Shape;4054;p64">
              <a:extLst>
                <a:ext uri="{FF2B5EF4-FFF2-40B4-BE49-F238E27FC236}">
                  <a16:creationId xmlns:a16="http://schemas.microsoft.com/office/drawing/2014/main" id="{83E9F184-3017-7BE8-15F0-F49EA84EA598}"/>
                </a:ext>
              </a:extLst>
            </p:cNvPr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8" name="Google Shape;4055;p64">
              <a:extLst>
                <a:ext uri="{FF2B5EF4-FFF2-40B4-BE49-F238E27FC236}">
                  <a16:creationId xmlns:a16="http://schemas.microsoft.com/office/drawing/2014/main" id="{5A28499C-DBB4-2C37-FD66-5679A7F3D64E}"/>
                </a:ext>
              </a:extLst>
            </p:cNvPr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9" name="Google Shape;4056;p64">
              <a:extLst>
                <a:ext uri="{FF2B5EF4-FFF2-40B4-BE49-F238E27FC236}">
                  <a16:creationId xmlns:a16="http://schemas.microsoft.com/office/drawing/2014/main" id="{6F55612C-3654-2CEC-462D-E575FA06B9C6}"/>
                </a:ext>
              </a:extLst>
            </p:cNvPr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0" name="Google Shape;4057;p64">
              <a:extLst>
                <a:ext uri="{FF2B5EF4-FFF2-40B4-BE49-F238E27FC236}">
                  <a16:creationId xmlns:a16="http://schemas.microsoft.com/office/drawing/2014/main" id="{0438DCFF-04BF-1E9C-856A-E771C29DDD89}"/>
                </a:ext>
              </a:extLst>
            </p:cNvPr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1" name="Google Shape;4058;p64">
              <a:extLst>
                <a:ext uri="{FF2B5EF4-FFF2-40B4-BE49-F238E27FC236}">
                  <a16:creationId xmlns:a16="http://schemas.microsoft.com/office/drawing/2014/main" id="{4836F1AB-13D5-0A15-D67D-AAD412908DD6}"/>
                </a:ext>
              </a:extLst>
            </p:cNvPr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2" name="Google Shape;4059;p64">
              <a:extLst>
                <a:ext uri="{FF2B5EF4-FFF2-40B4-BE49-F238E27FC236}">
                  <a16:creationId xmlns:a16="http://schemas.microsoft.com/office/drawing/2014/main" id="{21541F0D-85D4-3562-8DC8-399F4624F4D1}"/>
                </a:ext>
              </a:extLst>
            </p:cNvPr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3" name="Google Shape;4060;p64">
              <a:extLst>
                <a:ext uri="{FF2B5EF4-FFF2-40B4-BE49-F238E27FC236}">
                  <a16:creationId xmlns:a16="http://schemas.microsoft.com/office/drawing/2014/main" id="{3AC1BBF1-54E5-FDDD-AF25-11B349762247}"/>
                </a:ext>
              </a:extLst>
            </p:cNvPr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4" name="Google Shape;4061;p64">
              <a:extLst>
                <a:ext uri="{FF2B5EF4-FFF2-40B4-BE49-F238E27FC236}">
                  <a16:creationId xmlns:a16="http://schemas.microsoft.com/office/drawing/2014/main" id="{1878E42E-3385-2CB7-C515-4DFED5C5061C}"/>
                </a:ext>
              </a:extLst>
            </p:cNvPr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5" name="Google Shape;4062;p64">
              <a:extLst>
                <a:ext uri="{FF2B5EF4-FFF2-40B4-BE49-F238E27FC236}">
                  <a16:creationId xmlns:a16="http://schemas.microsoft.com/office/drawing/2014/main" id="{D2986AD1-B148-EC43-70FB-42E7B91B95EC}"/>
                </a:ext>
              </a:extLst>
            </p:cNvPr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6" name="Google Shape;4063;p64">
              <a:extLst>
                <a:ext uri="{FF2B5EF4-FFF2-40B4-BE49-F238E27FC236}">
                  <a16:creationId xmlns:a16="http://schemas.microsoft.com/office/drawing/2014/main" id="{A6D54EF0-C073-B38E-FE43-40DB07BE8842}"/>
                </a:ext>
              </a:extLst>
            </p:cNvPr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7" name="Google Shape;4064;p64">
              <a:extLst>
                <a:ext uri="{FF2B5EF4-FFF2-40B4-BE49-F238E27FC236}">
                  <a16:creationId xmlns:a16="http://schemas.microsoft.com/office/drawing/2014/main" id="{832FCB67-2531-B17C-CEC6-AF60B9AC2BCB}"/>
                </a:ext>
              </a:extLst>
            </p:cNvPr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8" name="Google Shape;4065;p64">
              <a:extLst>
                <a:ext uri="{FF2B5EF4-FFF2-40B4-BE49-F238E27FC236}">
                  <a16:creationId xmlns:a16="http://schemas.microsoft.com/office/drawing/2014/main" id="{1D0DBCE1-E0FF-F05C-6D0F-4A7C3DF286EC}"/>
                </a:ext>
              </a:extLst>
            </p:cNvPr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9" name="Google Shape;4066;p64">
              <a:extLst>
                <a:ext uri="{FF2B5EF4-FFF2-40B4-BE49-F238E27FC236}">
                  <a16:creationId xmlns:a16="http://schemas.microsoft.com/office/drawing/2014/main" id="{48F74255-FA1B-4310-EBC8-D8BDE8D5655E}"/>
                </a:ext>
              </a:extLst>
            </p:cNvPr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0" name="Google Shape;4067;p64">
              <a:extLst>
                <a:ext uri="{FF2B5EF4-FFF2-40B4-BE49-F238E27FC236}">
                  <a16:creationId xmlns:a16="http://schemas.microsoft.com/office/drawing/2014/main" id="{3B673757-7532-BA1C-9197-1C1B93D90CC2}"/>
                </a:ext>
              </a:extLst>
            </p:cNvPr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1" name="Google Shape;4068;p64">
              <a:extLst>
                <a:ext uri="{FF2B5EF4-FFF2-40B4-BE49-F238E27FC236}">
                  <a16:creationId xmlns:a16="http://schemas.microsoft.com/office/drawing/2014/main" id="{20314ECB-57CD-CFB8-E924-DF03E928928A}"/>
                </a:ext>
              </a:extLst>
            </p:cNvPr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2" name="Google Shape;4069;p64">
              <a:extLst>
                <a:ext uri="{FF2B5EF4-FFF2-40B4-BE49-F238E27FC236}">
                  <a16:creationId xmlns:a16="http://schemas.microsoft.com/office/drawing/2014/main" id="{43DFD23C-FC19-0A06-6435-34B81E1A6D83}"/>
                </a:ext>
              </a:extLst>
            </p:cNvPr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3" name="Google Shape;4070;p64">
              <a:extLst>
                <a:ext uri="{FF2B5EF4-FFF2-40B4-BE49-F238E27FC236}">
                  <a16:creationId xmlns:a16="http://schemas.microsoft.com/office/drawing/2014/main" id="{2688EF54-57F7-8340-E391-1B554DFF246E}"/>
                </a:ext>
              </a:extLst>
            </p:cNvPr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4" name="Google Shape;4071;p64">
              <a:extLst>
                <a:ext uri="{FF2B5EF4-FFF2-40B4-BE49-F238E27FC236}">
                  <a16:creationId xmlns:a16="http://schemas.microsoft.com/office/drawing/2014/main" id="{31EC7E0D-554A-ADB1-AFE4-90EDA278D106}"/>
                </a:ext>
              </a:extLst>
            </p:cNvPr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5" name="Google Shape;4072;p64">
              <a:extLst>
                <a:ext uri="{FF2B5EF4-FFF2-40B4-BE49-F238E27FC236}">
                  <a16:creationId xmlns:a16="http://schemas.microsoft.com/office/drawing/2014/main" id="{C127209A-CA3F-2C7B-4196-F1564A2751DD}"/>
                </a:ext>
              </a:extLst>
            </p:cNvPr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6" name="Google Shape;4073;p64">
              <a:extLst>
                <a:ext uri="{FF2B5EF4-FFF2-40B4-BE49-F238E27FC236}">
                  <a16:creationId xmlns:a16="http://schemas.microsoft.com/office/drawing/2014/main" id="{BD8BD79D-4745-DB93-4D97-84022C4AA9D9}"/>
                </a:ext>
              </a:extLst>
            </p:cNvPr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7" name="Google Shape;4074;p64">
              <a:extLst>
                <a:ext uri="{FF2B5EF4-FFF2-40B4-BE49-F238E27FC236}">
                  <a16:creationId xmlns:a16="http://schemas.microsoft.com/office/drawing/2014/main" id="{7C23C5A6-8AA7-9BC0-5652-EF57679A0C6F}"/>
                </a:ext>
              </a:extLst>
            </p:cNvPr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8" name="Google Shape;4075;p64">
              <a:extLst>
                <a:ext uri="{FF2B5EF4-FFF2-40B4-BE49-F238E27FC236}">
                  <a16:creationId xmlns:a16="http://schemas.microsoft.com/office/drawing/2014/main" id="{09C427AA-686C-1008-A689-211D30392C8C}"/>
                </a:ext>
              </a:extLst>
            </p:cNvPr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9" name="Google Shape;4076;p64">
              <a:extLst>
                <a:ext uri="{FF2B5EF4-FFF2-40B4-BE49-F238E27FC236}">
                  <a16:creationId xmlns:a16="http://schemas.microsoft.com/office/drawing/2014/main" id="{839D5CB0-BD38-7CDC-CE08-9B6F2B824ACC}"/>
                </a:ext>
              </a:extLst>
            </p:cNvPr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0" name="Google Shape;4077;p64">
              <a:extLst>
                <a:ext uri="{FF2B5EF4-FFF2-40B4-BE49-F238E27FC236}">
                  <a16:creationId xmlns:a16="http://schemas.microsoft.com/office/drawing/2014/main" id="{29955D62-3450-43D9-30BD-A5391403B5EB}"/>
                </a:ext>
              </a:extLst>
            </p:cNvPr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1" name="Google Shape;4078;p64">
              <a:extLst>
                <a:ext uri="{FF2B5EF4-FFF2-40B4-BE49-F238E27FC236}">
                  <a16:creationId xmlns:a16="http://schemas.microsoft.com/office/drawing/2014/main" id="{9E58DB53-BF54-997A-7F9F-6BD03014A35E}"/>
                </a:ext>
              </a:extLst>
            </p:cNvPr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2" name="Google Shape;4079;p64">
              <a:extLst>
                <a:ext uri="{FF2B5EF4-FFF2-40B4-BE49-F238E27FC236}">
                  <a16:creationId xmlns:a16="http://schemas.microsoft.com/office/drawing/2014/main" id="{6A9CD1B1-7E9C-9D4E-DD8B-1A59E99FCCC0}"/>
                </a:ext>
              </a:extLst>
            </p:cNvPr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3" name="Google Shape;4080;p64">
              <a:extLst>
                <a:ext uri="{FF2B5EF4-FFF2-40B4-BE49-F238E27FC236}">
                  <a16:creationId xmlns:a16="http://schemas.microsoft.com/office/drawing/2014/main" id="{05BDEE3D-B9F1-B7B5-2531-8BF3F4AE2607}"/>
                </a:ext>
              </a:extLst>
            </p:cNvPr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4" name="Google Shape;4081;p64">
              <a:extLst>
                <a:ext uri="{FF2B5EF4-FFF2-40B4-BE49-F238E27FC236}">
                  <a16:creationId xmlns:a16="http://schemas.microsoft.com/office/drawing/2014/main" id="{00DAC1FD-248C-5F3E-DA93-CE17D7620822}"/>
                </a:ext>
              </a:extLst>
            </p:cNvPr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5" name="Google Shape;4082;p64">
              <a:extLst>
                <a:ext uri="{FF2B5EF4-FFF2-40B4-BE49-F238E27FC236}">
                  <a16:creationId xmlns:a16="http://schemas.microsoft.com/office/drawing/2014/main" id="{1C6D431D-6C8D-F89F-EF01-BCF7E88AEFB5}"/>
                </a:ext>
              </a:extLst>
            </p:cNvPr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6" name="Google Shape;4083;p64">
              <a:extLst>
                <a:ext uri="{FF2B5EF4-FFF2-40B4-BE49-F238E27FC236}">
                  <a16:creationId xmlns:a16="http://schemas.microsoft.com/office/drawing/2014/main" id="{5A5DEFBF-0415-217B-78B8-5593F445E40C}"/>
                </a:ext>
              </a:extLst>
            </p:cNvPr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7" name="Google Shape;4084;p64">
              <a:extLst>
                <a:ext uri="{FF2B5EF4-FFF2-40B4-BE49-F238E27FC236}">
                  <a16:creationId xmlns:a16="http://schemas.microsoft.com/office/drawing/2014/main" id="{B8100998-5F01-4249-F4E3-A7CC6B3B652D}"/>
                </a:ext>
              </a:extLst>
            </p:cNvPr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8" name="Google Shape;4085;p64">
              <a:extLst>
                <a:ext uri="{FF2B5EF4-FFF2-40B4-BE49-F238E27FC236}">
                  <a16:creationId xmlns:a16="http://schemas.microsoft.com/office/drawing/2014/main" id="{99D994D6-7844-0C27-3524-864260FC3121}"/>
                </a:ext>
              </a:extLst>
            </p:cNvPr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9" name="Google Shape;4086;p64">
              <a:extLst>
                <a:ext uri="{FF2B5EF4-FFF2-40B4-BE49-F238E27FC236}">
                  <a16:creationId xmlns:a16="http://schemas.microsoft.com/office/drawing/2014/main" id="{1151F6E7-B86C-5B86-E680-18EEB5773093}"/>
                </a:ext>
              </a:extLst>
            </p:cNvPr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0" name="Google Shape;4087;p64">
              <a:extLst>
                <a:ext uri="{FF2B5EF4-FFF2-40B4-BE49-F238E27FC236}">
                  <a16:creationId xmlns:a16="http://schemas.microsoft.com/office/drawing/2014/main" id="{9F496343-3CC5-1A2C-3D17-7F0693F66290}"/>
                </a:ext>
              </a:extLst>
            </p:cNvPr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1" name="Google Shape;4088;p64">
              <a:extLst>
                <a:ext uri="{FF2B5EF4-FFF2-40B4-BE49-F238E27FC236}">
                  <a16:creationId xmlns:a16="http://schemas.microsoft.com/office/drawing/2014/main" id="{C0E06BF4-8DEF-BF6F-DFCE-30720827785F}"/>
                </a:ext>
              </a:extLst>
            </p:cNvPr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2" name="Google Shape;4089;p64">
              <a:extLst>
                <a:ext uri="{FF2B5EF4-FFF2-40B4-BE49-F238E27FC236}">
                  <a16:creationId xmlns:a16="http://schemas.microsoft.com/office/drawing/2014/main" id="{B82CB781-2760-E571-7DA9-76F864B4F200}"/>
                </a:ext>
              </a:extLst>
            </p:cNvPr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3" name="Google Shape;4090;p64">
              <a:extLst>
                <a:ext uri="{FF2B5EF4-FFF2-40B4-BE49-F238E27FC236}">
                  <a16:creationId xmlns:a16="http://schemas.microsoft.com/office/drawing/2014/main" id="{7EF39E4D-F533-2DE8-97D1-1B6E9FA33751}"/>
                </a:ext>
              </a:extLst>
            </p:cNvPr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4" name="Google Shape;4091;p64">
              <a:extLst>
                <a:ext uri="{FF2B5EF4-FFF2-40B4-BE49-F238E27FC236}">
                  <a16:creationId xmlns:a16="http://schemas.microsoft.com/office/drawing/2014/main" id="{51202A31-4060-1660-3192-F63AC42F0A3D}"/>
                </a:ext>
              </a:extLst>
            </p:cNvPr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5" name="Google Shape;4092;p64">
              <a:extLst>
                <a:ext uri="{FF2B5EF4-FFF2-40B4-BE49-F238E27FC236}">
                  <a16:creationId xmlns:a16="http://schemas.microsoft.com/office/drawing/2014/main" id="{D2B8DC10-4AE7-492C-915A-C2F8592E12BB}"/>
                </a:ext>
              </a:extLst>
            </p:cNvPr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6" name="Google Shape;4093;p64">
              <a:extLst>
                <a:ext uri="{FF2B5EF4-FFF2-40B4-BE49-F238E27FC236}">
                  <a16:creationId xmlns:a16="http://schemas.microsoft.com/office/drawing/2014/main" id="{C8C51F5D-8437-4CDD-C0D3-07486A3F4B5F}"/>
                </a:ext>
              </a:extLst>
            </p:cNvPr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7" name="Google Shape;4094;p64">
              <a:extLst>
                <a:ext uri="{FF2B5EF4-FFF2-40B4-BE49-F238E27FC236}">
                  <a16:creationId xmlns:a16="http://schemas.microsoft.com/office/drawing/2014/main" id="{E4550F46-9523-9A8B-A524-E47A4B3B805D}"/>
                </a:ext>
              </a:extLst>
            </p:cNvPr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8" name="Google Shape;4095;p64">
              <a:extLst>
                <a:ext uri="{FF2B5EF4-FFF2-40B4-BE49-F238E27FC236}">
                  <a16:creationId xmlns:a16="http://schemas.microsoft.com/office/drawing/2014/main" id="{5A235BEC-7601-3E89-FD6D-9E8D5C19A2C2}"/>
                </a:ext>
              </a:extLst>
            </p:cNvPr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9" name="Google Shape;4096;p64">
              <a:extLst>
                <a:ext uri="{FF2B5EF4-FFF2-40B4-BE49-F238E27FC236}">
                  <a16:creationId xmlns:a16="http://schemas.microsoft.com/office/drawing/2014/main" id="{9824EB4C-A8C0-660B-24DD-E52322131292}"/>
                </a:ext>
              </a:extLst>
            </p:cNvPr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0" name="Google Shape;4097;p64">
              <a:extLst>
                <a:ext uri="{FF2B5EF4-FFF2-40B4-BE49-F238E27FC236}">
                  <a16:creationId xmlns:a16="http://schemas.microsoft.com/office/drawing/2014/main" id="{12960048-0CB4-F07E-3044-5DBF6CBA8ED4}"/>
                </a:ext>
              </a:extLst>
            </p:cNvPr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1" name="Google Shape;4098;p64">
              <a:extLst>
                <a:ext uri="{FF2B5EF4-FFF2-40B4-BE49-F238E27FC236}">
                  <a16:creationId xmlns:a16="http://schemas.microsoft.com/office/drawing/2014/main" id="{8C83E424-B02B-2FED-E7AE-02AF2F98DC99}"/>
                </a:ext>
              </a:extLst>
            </p:cNvPr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2" name="Google Shape;4099;p64">
              <a:extLst>
                <a:ext uri="{FF2B5EF4-FFF2-40B4-BE49-F238E27FC236}">
                  <a16:creationId xmlns:a16="http://schemas.microsoft.com/office/drawing/2014/main" id="{122C0E45-BA9A-871C-D617-A97893EA2023}"/>
                </a:ext>
              </a:extLst>
            </p:cNvPr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3" name="Google Shape;4100;p64">
              <a:extLst>
                <a:ext uri="{FF2B5EF4-FFF2-40B4-BE49-F238E27FC236}">
                  <a16:creationId xmlns:a16="http://schemas.microsoft.com/office/drawing/2014/main" id="{432A4299-F817-FFBE-F736-3A11F1AB4516}"/>
                </a:ext>
              </a:extLst>
            </p:cNvPr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4" name="Google Shape;4101;p64">
              <a:extLst>
                <a:ext uri="{FF2B5EF4-FFF2-40B4-BE49-F238E27FC236}">
                  <a16:creationId xmlns:a16="http://schemas.microsoft.com/office/drawing/2014/main" id="{A2734C1F-A294-9480-A7CD-6A8ECD81A569}"/>
                </a:ext>
              </a:extLst>
            </p:cNvPr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5" name="Google Shape;4102;p64">
              <a:extLst>
                <a:ext uri="{FF2B5EF4-FFF2-40B4-BE49-F238E27FC236}">
                  <a16:creationId xmlns:a16="http://schemas.microsoft.com/office/drawing/2014/main" id="{FA63E311-A294-2B7A-D8BD-484138D2C064}"/>
                </a:ext>
              </a:extLst>
            </p:cNvPr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6" name="Google Shape;4103;p64">
              <a:extLst>
                <a:ext uri="{FF2B5EF4-FFF2-40B4-BE49-F238E27FC236}">
                  <a16:creationId xmlns:a16="http://schemas.microsoft.com/office/drawing/2014/main" id="{26B0CC6F-C18D-C246-F5AB-28142F5D12C9}"/>
                </a:ext>
              </a:extLst>
            </p:cNvPr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7" name="Google Shape;4104;p64">
              <a:extLst>
                <a:ext uri="{FF2B5EF4-FFF2-40B4-BE49-F238E27FC236}">
                  <a16:creationId xmlns:a16="http://schemas.microsoft.com/office/drawing/2014/main" id="{B7BF5010-8EBF-0C47-04E5-6E619A5F3F83}"/>
                </a:ext>
              </a:extLst>
            </p:cNvPr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8" name="Google Shape;4105;p64">
              <a:extLst>
                <a:ext uri="{FF2B5EF4-FFF2-40B4-BE49-F238E27FC236}">
                  <a16:creationId xmlns:a16="http://schemas.microsoft.com/office/drawing/2014/main" id="{1AAE8AF2-3D24-E93A-B7C9-84E59687E29F}"/>
                </a:ext>
              </a:extLst>
            </p:cNvPr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9" name="Google Shape;4106;p64">
              <a:extLst>
                <a:ext uri="{FF2B5EF4-FFF2-40B4-BE49-F238E27FC236}">
                  <a16:creationId xmlns:a16="http://schemas.microsoft.com/office/drawing/2014/main" id="{FC8E9DF8-60B3-2B77-894E-16D976B9D022}"/>
                </a:ext>
              </a:extLst>
            </p:cNvPr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0" name="Google Shape;4107;p64">
              <a:extLst>
                <a:ext uri="{FF2B5EF4-FFF2-40B4-BE49-F238E27FC236}">
                  <a16:creationId xmlns:a16="http://schemas.microsoft.com/office/drawing/2014/main" id="{E4307CBE-7C7B-FB5B-A9CB-6C158B95F2C5}"/>
                </a:ext>
              </a:extLst>
            </p:cNvPr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1" name="Google Shape;4108;p64">
              <a:extLst>
                <a:ext uri="{FF2B5EF4-FFF2-40B4-BE49-F238E27FC236}">
                  <a16:creationId xmlns:a16="http://schemas.microsoft.com/office/drawing/2014/main" id="{7CEB564F-EA1B-25D3-CB9F-097A2407C2EB}"/>
                </a:ext>
              </a:extLst>
            </p:cNvPr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2" name="Google Shape;4109;p64">
              <a:extLst>
                <a:ext uri="{FF2B5EF4-FFF2-40B4-BE49-F238E27FC236}">
                  <a16:creationId xmlns:a16="http://schemas.microsoft.com/office/drawing/2014/main" id="{9C1B1C17-6D22-6770-D4E3-533905B6A5FD}"/>
                </a:ext>
              </a:extLst>
            </p:cNvPr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3" name="Google Shape;4110;p64">
              <a:extLst>
                <a:ext uri="{FF2B5EF4-FFF2-40B4-BE49-F238E27FC236}">
                  <a16:creationId xmlns:a16="http://schemas.microsoft.com/office/drawing/2014/main" id="{4EC3794D-B002-8492-9F0B-099B6C76CA3E}"/>
                </a:ext>
              </a:extLst>
            </p:cNvPr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4" name="Google Shape;4111;p64">
              <a:extLst>
                <a:ext uri="{FF2B5EF4-FFF2-40B4-BE49-F238E27FC236}">
                  <a16:creationId xmlns:a16="http://schemas.microsoft.com/office/drawing/2014/main" id="{5B857CDA-A963-653C-5B5D-0BECADF3EC01}"/>
                </a:ext>
              </a:extLst>
            </p:cNvPr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5" name="Google Shape;4112;p64">
              <a:extLst>
                <a:ext uri="{FF2B5EF4-FFF2-40B4-BE49-F238E27FC236}">
                  <a16:creationId xmlns:a16="http://schemas.microsoft.com/office/drawing/2014/main" id="{F1B12B25-FEF5-672C-8232-C2E2B0F12525}"/>
                </a:ext>
              </a:extLst>
            </p:cNvPr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6" name="Google Shape;4113;p64">
              <a:extLst>
                <a:ext uri="{FF2B5EF4-FFF2-40B4-BE49-F238E27FC236}">
                  <a16:creationId xmlns:a16="http://schemas.microsoft.com/office/drawing/2014/main" id="{DD18DEAE-3952-14C3-5003-A7DE4DC46BC8}"/>
                </a:ext>
              </a:extLst>
            </p:cNvPr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7" name="Google Shape;4114;p64">
              <a:extLst>
                <a:ext uri="{FF2B5EF4-FFF2-40B4-BE49-F238E27FC236}">
                  <a16:creationId xmlns:a16="http://schemas.microsoft.com/office/drawing/2014/main" id="{0D333753-518F-5681-893B-281C5A2F4BE5}"/>
                </a:ext>
              </a:extLst>
            </p:cNvPr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8" name="Google Shape;4115;p64">
              <a:extLst>
                <a:ext uri="{FF2B5EF4-FFF2-40B4-BE49-F238E27FC236}">
                  <a16:creationId xmlns:a16="http://schemas.microsoft.com/office/drawing/2014/main" id="{4C947635-E5D0-1224-6492-D2AADE598A31}"/>
                </a:ext>
              </a:extLst>
            </p:cNvPr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9" name="Google Shape;4116;p64">
              <a:extLst>
                <a:ext uri="{FF2B5EF4-FFF2-40B4-BE49-F238E27FC236}">
                  <a16:creationId xmlns:a16="http://schemas.microsoft.com/office/drawing/2014/main" id="{720869E8-FE19-1E74-25C7-E91868FECF6A}"/>
                </a:ext>
              </a:extLst>
            </p:cNvPr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0" name="Google Shape;4117;p64">
              <a:extLst>
                <a:ext uri="{FF2B5EF4-FFF2-40B4-BE49-F238E27FC236}">
                  <a16:creationId xmlns:a16="http://schemas.microsoft.com/office/drawing/2014/main" id="{0FB351FE-41AF-C3D0-D310-7EF6E6830459}"/>
                </a:ext>
              </a:extLst>
            </p:cNvPr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1" name="Google Shape;4118;p64">
              <a:extLst>
                <a:ext uri="{FF2B5EF4-FFF2-40B4-BE49-F238E27FC236}">
                  <a16:creationId xmlns:a16="http://schemas.microsoft.com/office/drawing/2014/main" id="{E934A883-E5D0-6C2C-B5C9-1CC73181D54E}"/>
                </a:ext>
              </a:extLst>
            </p:cNvPr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2" name="Google Shape;4119;p64">
              <a:extLst>
                <a:ext uri="{FF2B5EF4-FFF2-40B4-BE49-F238E27FC236}">
                  <a16:creationId xmlns:a16="http://schemas.microsoft.com/office/drawing/2014/main" id="{5C4F3CCB-633E-AA95-8B68-1F68325CFF7A}"/>
                </a:ext>
              </a:extLst>
            </p:cNvPr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3" name="Google Shape;4120;p64">
              <a:extLst>
                <a:ext uri="{FF2B5EF4-FFF2-40B4-BE49-F238E27FC236}">
                  <a16:creationId xmlns:a16="http://schemas.microsoft.com/office/drawing/2014/main" id="{E9FA3AEC-88AC-A624-7DB9-EE44FEE5CCA8}"/>
                </a:ext>
              </a:extLst>
            </p:cNvPr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4" name="Google Shape;4121;p64">
              <a:extLst>
                <a:ext uri="{FF2B5EF4-FFF2-40B4-BE49-F238E27FC236}">
                  <a16:creationId xmlns:a16="http://schemas.microsoft.com/office/drawing/2014/main" id="{CC2BA0BB-9A12-2A6F-CC4B-35CD79906049}"/>
                </a:ext>
              </a:extLst>
            </p:cNvPr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5" name="Google Shape;4122;p64">
              <a:extLst>
                <a:ext uri="{FF2B5EF4-FFF2-40B4-BE49-F238E27FC236}">
                  <a16:creationId xmlns:a16="http://schemas.microsoft.com/office/drawing/2014/main" id="{2B32EA79-DF54-C94B-5884-93D0D5F93B08}"/>
                </a:ext>
              </a:extLst>
            </p:cNvPr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6" name="Google Shape;4123;p64">
              <a:extLst>
                <a:ext uri="{FF2B5EF4-FFF2-40B4-BE49-F238E27FC236}">
                  <a16:creationId xmlns:a16="http://schemas.microsoft.com/office/drawing/2014/main" id="{B570454F-DD94-7846-4E96-D1348370C7A3}"/>
                </a:ext>
              </a:extLst>
            </p:cNvPr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7" name="Google Shape;4124;p64">
              <a:extLst>
                <a:ext uri="{FF2B5EF4-FFF2-40B4-BE49-F238E27FC236}">
                  <a16:creationId xmlns:a16="http://schemas.microsoft.com/office/drawing/2014/main" id="{03DE3E97-3B13-91A0-DC37-B58314E386C9}"/>
                </a:ext>
              </a:extLst>
            </p:cNvPr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8" name="Google Shape;4125;p64">
              <a:extLst>
                <a:ext uri="{FF2B5EF4-FFF2-40B4-BE49-F238E27FC236}">
                  <a16:creationId xmlns:a16="http://schemas.microsoft.com/office/drawing/2014/main" id="{305CDB9C-A801-E509-BF88-283E8A7D090F}"/>
                </a:ext>
              </a:extLst>
            </p:cNvPr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9" name="Google Shape;4126;p64">
              <a:extLst>
                <a:ext uri="{FF2B5EF4-FFF2-40B4-BE49-F238E27FC236}">
                  <a16:creationId xmlns:a16="http://schemas.microsoft.com/office/drawing/2014/main" id="{09434E87-86C4-A2E1-9445-12AA6A863219}"/>
                </a:ext>
              </a:extLst>
            </p:cNvPr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0" name="Google Shape;4127;p64">
              <a:extLst>
                <a:ext uri="{FF2B5EF4-FFF2-40B4-BE49-F238E27FC236}">
                  <a16:creationId xmlns:a16="http://schemas.microsoft.com/office/drawing/2014/main" id="{C4A4BBEB-41F7-2825-131C-D0D5AD59A59A}"/>
                </a:ext>
              </a:extLst>
            </p:cNvPr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1" name="Google Shape;4128;p64">
              <a:extLst>
                <a:ext uri="{FF2B5EF4-FFF2-40B4-BE49-F238E27FC236}">
                  <a16:creationId xmlns:a16="http://schemas.microsoft.com/office/drawing/2014/main" id="{4CA30368-7015-5434-B7EA-051D8487AE14}"/>
                </a:ext>
              </a:extLst>
            </p:cNvPr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2" name="Google Shape;4129;p64">
              <a:extLst>
                <a:ext uri="{FF2B5EF4-FFF2-40B4-BE49-F238E27FC236}">
                  <a16:creationId xmlns:a16="http://schemas.microsoft.com/office/drawing/2014/main" id="{B2287C79-1DEA-DBBF-0198-B57F0EC5707D}"/>
                </a:ext>
              </a:extLst>
            </p:cNvPr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3" name="Google Shape;4130;p64">
              <a:extLst>
                <a:ext uri="{FF2B5EF4-FFF2-40B4-BE49-F238E27FC236}">
                  <a16:creationId xmlns:a16="http://schemas.microsoft.com/office/drawing/2014/main" id="{2E0193A9-B4CF-79D9-42AB-7E118109158F}"/>
                </a:ext>
              </a:extLst>
            </p:cNvPr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4" name="Google Shape;4131;p64">
              <a:extLst>
                <a:ext uri="{FF2B5EF4-FFF2-40B4-BE49-F238E27FC236}">
                  <a16:creationId xmlns:a16="http://schemas.microsoft.com/office/drawing/2014/main" id="{8F29B855-DC7E-56EF-851E-D6DFCDABA816}"/>
                </a:ext>
              </a:extLst>
            </p:cNvPr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5" name="Google Shape;4132;p64">
              <a:extLst>
                <a:ext uri="{FF2B5EF4-FFF2-40B4-BE49-F238E27FC236}">
                  <a16:creationId xmlns:a16="http://schemas.microsoft.com/office/drawing/2014/main" id="{34AEE44C-2E98-1206-6EDB-1BCB8226F222}"/>
                </a:ext>
              </a:extLst>
            </p:cNvPr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6" name="Google Shape;4133;p64">
              <a:extLst>
                <a:ext uri="{FF2B5EF4-FFF2-40B4-BE49-F238E27FC236}">
                  <a16:creationId xmlns:a16="http://schemas.microsoft.com/office/drawing/2014/main" id="{EC236F3F-0C73-FCAE-E2E8-54A9BDB2804D}"/>
                </a:ext>
              </a:extLst>
            </p:cNvPr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7" name="Google Shape;4134;p64">
              <a:extLst>
                <a:ext uri="{FF2B5EF4-FFF2-40B4-BE49-F238E27FC236}">
                  <a16:creationId xmlns:a16="http://schemas.microsoft.com/office/drawing/2014/main" id="{035F3A6A-F3C7-0C85-88FA-74F33B6801C9}"/>
                </a:ext>
              </a:extLst>
            </p:cNvPr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8" name="Google Shape;4135;p64">
              <a:extLst>
                <a:ext uri="{FF2B5EF4-FFF2-40B4-BE49-F238E27FC236}">
                  <a16:creationId xmlns:a16="http://schemas.microsoft.com/office/drawing/2014/main" id="{72EF5A32-5C24-32BF-8E21-866FE2A8B4B8}"/>
                </a:ext>
              </a:extLst>
            </p:cNvPr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9" name="Google Shape;4136;p64">
              <a:extLst>
                <a:ext uri="{FF2B5EF4-FFF2-40B4-BE49-F238E27FC236}">
                  <a16:creationId xmlns:a16="http://schemas.microsoft.com/office/drawing/2014/main" id="{C01FE769-A3B1-E8A7-D501-652B9E17AA07}"/>
                </a:ext>
              </a:extLst>
            </p:cNvPr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0" name="Google Shape;4137;p64">
              <a:extLst>
                <a:ext uri="{FF2B5EF4-FFF2-40B4-BE49-F238E27FC236}">
                  <a16:creationId xmlns:a16="http://schemas.microsoft.com/office/drawing/2014/main" id="{E903818B-8456-E7E5-B122-7645049360D8}"/>
                </a:ext>
              </a:extLst>
            </p:cNvPr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1" name="Google Shape;4138;p64">
              <a:extLst>
                <a:ext uri="{FF2B5EF4-FFF2-40B4-BE49-F238E27FC236}">
                  <a16:creationId xmlns:a16="http://schemas.microsoft.com/office/drawing/2014/main" id="{6706F783-8A17-B473-FF54-780A89C6AC74}"/>
                </a:ext>
              </a:extLst>
            </p:cNvPr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2" name="Google Shape;4139;p64">
              <a:extLst>
                <a:ext uri="{FF2B5EF4-FFF2-40B4-BE49-F238E27FC236}">
                  <a16:creationId xmlns:a16="http://schemas.microsoft.com/office/drawing/2014/main" id="{9EDC9223-0721-1540-2F08-EF7E7BF330C4}"/>
                </a:ext>
              </a:extLst>
            </p:cNvPr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3" name="Google Shape;4140;p64">
              <a:extLst>
                <a:ext uri="{FF2B5EF4-FFF2-40B4-BE49-F238E27FC236}">
                  <a16:creationId xmlns:a16="http://schemas.microsoft.com/office/drawing/2014/main" id="{D3FA4506-18B8-BD1C-CD82-5794A1F39F64}"/>
                </a:ext>
              </a:extLst>
            </p:cNvPr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4" name="Google Shape;4141;p64">
              <a:extLst>
                <a:ext uri="{FF2B5EF4-FFF2-40B4-BE49-F238E27FC236}">
                  <a16:creationId xmlns:a16="http://schemas.microsoft.com/office/drawing/2014/main" id="{5ECE6D27-FCA2-4916-A246-88D877917994}"/>
                </a:ext>
              </a:extLst>
            </p:cNvPr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5" name="Google Shape;4142;p64">
              <a:extLst>
                <a:ext uri="{FF2B5EF4-FFF2-40B4-BE49-F238E27FC236}">
                  <a16:creationId xmlns:a16="http://schemas.microsoft.com/office/drawing/2014/main" id="{1881E931-441C-8758-79C1-E18FFEA9335B}"/>
                </a:ext>
              </a:extLst>
            </p:cNvPr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6" name="Google Shape;4143;p64">
              <a:extLst>
                <a:ext uri="{FF2B5EF4-FFF2-40B4-BE49-F238E27FC236}">
                  <a16:creationId xmlns:a16="http://schemas.microsoft.com/office/drawing/2014/main" id="{5CCD1CD5-06C9-1E6A-1D03-F3B07ECED7B5}"/>
                </a:ext>
              </a:extLst>
            </p:cNvPr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7" name="Google Shape;4144;p64">
              <a:extLst>
                <a:ext uri="{FF2B5EF4-FFF2-40B4-BE49-F238E27FC236}">
                  <a16:creationId xmlns:a16="http://schemas.microsoft.com/office/drawing/2014/main" id="{B87932AF-C64E-9811-2DBF-2CB827171F95}"/>
                </a:ext>
              </a:extLst>
            </p:cNvPr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8" name="Google Shape;4145;p64">
              <a:extLst>
                <a:ext uri="{FF2B5EF4-FFF2-40B4-BE49-F238E27FC236}">
                  <a16:creationId xmlns:a16="http://schemas.microsoft.com/office/drawing/2014/main" id="{A68ACFF9-AE4E-C88D-566B-5C50F962009C}"/>
                </a:ext>
              </a:extLst>
            </p:cNvPr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9" name="Google Shape;4146;p64">
              <a:extLst>
                <a:ext uri="{FF2B5EF4-FFF2-40B4-BE49-F238E27FC236}">
                  <a16:creationId xmlns:a16="http://schemas.microsoft.com/office/drawing/2014/main" id="{FF4CA487-2B40-F2E1-ECEB-D9D04FC26729}"/>
                </a:ext>
              </a:extLst>
            </p:cNvPr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0" name="Google Shape;4147;p64">
              <a:extLst>
                <a:ext uri="{FF2B5EF4-FFF2-40B4-BE49-F238E27FC236}">
                  <a16:creationId xmlns:a16="http://schemas.microsoft.com/office/drawing/2014/main" id="{3148C659-96B2-4B24-CC22-D736BB264B02}"/>
                </a:ext>
              </a:extLst>
            </p:cNvPr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1" name="Google Shape;4148;p64">
              <a:extLst>
                <a:ext uri="{FF2B5EF4-FFF2-40B4-BE49-F238E27FC236}">
                  <a16:creationId xmlns:a16="http://schemas.microsoft.com/office/drawing/2014/main" id="{90DB8239-F819-E6F1-DF76-1AC242131B73}"/>
                </a:ext>
              </a:extLst>
            </p:cNvPr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2" name="Google Shape;4149;p64">
              <a:extLst>
                <a:ext uri="{FF2B5EF4-FFF2-40B4-BE49-F238E27FC236}">
                  <a16:creationId xmlns:a16="http://schemas.microsoft.com/office/drawing/2014/main" id="{A2B66EFA-D1C3-3CE6-3587-F06F181121D8}"/>
                </a:ext>
              </a:extLst>
            </p:cNvPr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3" name="Google Shape;4150;p64">
              <a:extLst>
                <a:ext uri="{FF2B5EF4-FFF2-40B4-BE49-F238E27FC236}">
                  <a16:creationId xmlns:a16="http://schemas.microsoft.com/office/drawing/2014/main" id="{5042EF81-BA5A-0D80-CCF7-4BA7EFBB587E}"/>
                </a:ext>
              </a:extLst>
            </p:cNvPr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4" name="Google Shape;4151;p64">
              <a:extLst>
                <a:ext uri="{FF2B5EF4-FFF2-40B4-BE49-F238E27FC236}">
                  <a16:creationId xmlns:a16="http://schemas.microsoft.com/office/drawing/2014/main" id="{93D6EC24-A1B8-BFE6-2D81-B7C84D93D4B5}"/>
                </a:ext>
              </a:extLst>
            </p:cNvPr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5" name="Google Shape;4152;p64">
              <a:extLst>
                <a:ext uri="{FF2B5EF4-FFF2-40B4-BE49-F238E27FC236}">
                  <a16:creationId xmlns:a16="http://schemas.microsoft.com/office/drawing/2014/main" id="{CF9C699E-975A-CE4E-9B70-9170FE191301}"/>
                </a:ext>
              </a:extLst>
            </p:cNvPr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6" name="Google Shape;4153;p64">
              <a:extLst>
                <a:ext uri="{FF2B5EF4-FFF2-40B4-BE49-F238E27FC236}">
                  <a16:creationId xmlns:a16="http://schemas.microsoft.com/office/drawing/2014/main" id="{B8979789-BA01-039D-5BE3-D69EF2A49C08}"/>
                </a:ext>
              </a:extLst>
            </p:cNvPr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7" name="Google Shape;4154;p64">
              <a:extLst>
                <a:ext uri="{FF2B5EF4-FFF2-40B4-BE49-F238E27FC236}">
                  <a16:creationId xmlns:a16="http://schemas.microsoft.com/office/drawing/2014/main" id="{2476FED2-1B01-4832-1B36-9A6EF7A6EC50}"/>
                </a:ext>
              </a:extLst>
            </p:cNvPr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8" name="Google Shape;4155;p64">
              <a:extLst>
                <a:ext uri="{FF2B5EF4-FFF2-40B4-BE49-F238E27FC236}">
                  <a16:creationId xmlns:a16="http://schemas.microsoft.com/office/drawing/2014/main" id="{D3309C8C-68D1-5876-851D-53AD68687B2E}"/>
                </a:ext>
              </a:extLst>
            </p:cNvPr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9" name="Google Shape;4156;p64">
              <a:extLst>
                <a:ext uri="{FF2B5EF4-FFF2-40B4-BE49-F238E27FC236}">
                  <a16:creationId xmlns:a16="http://schemas.microsoft.com/office/drawing/2014/main" id="{710CB886-5493-81B7-2AE6-29CDBE792226}"/>
                </a:ext>
              </a:extLst>
            </p:cNvPr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0" name="Google Shape;4157;p64">
              <a:extLst>
                <a:ext uri="{FF2B5EF4-FFF2-40B4-BE49-F238E27FC236}">
                  <a16:creationId xmlns:a16="http://schemas.microsoft.com/office/drawing/2014/main" id="{F7F7D3CB-C2A7-3A23-567A-E47B0EF66891}"/>
                </a:ext>
              </a:extLst>
            </p:cNvPr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1" name="Google Shape;4158;p64">
              <a:extLst>
                <a:ext uri="{FF2B5EF4-FFF2-40B4-BE49-F238E27FC236}">
                  <a16:creationId xmlns:a16="http://schemas.microsoft.com/office/drawing/2014/main" id="{FC533BC9-769D-0F6D-CBEE-8D33223FFFC1}"/>
                </a:ext>
              </a:extLst>
            </p:cNvPr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2" name="Google Shape;4159;p64">
              <a:extLst>
                <a:ext uri="{FF2B5EF4-FFF2-40B4-BE49-F238E27FC236}">
                  <a16:creationId xmlns:a16="http://schemas.microsoft.com/office/drawing/2014/main" id="{6F0057D9-F26A-ADC8-E267-087D992F5419}"/>
                </a:ext>
              </a:extLst>
            </p:cNvPr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3" name="Google Shape;4160;p64">
              <a:extLst>
                <a:ext uri="{FF2B5EF4-FFF2-40B4-BE49-F238E27FC236}">
                  <a16:creationId xmlns:a16="http://schemas.microsoft.com/office/drawing/2014/main" id="{32087FA8-0BCD-4786-C502-267729D3F787}"/>
                </a:ext>
              </a:extLst>
            </p:cNvPr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4" name="Google Shape;4161;p64">
              <a:extLst>
                <a:ext uri="{FF2B5EF4-FFF2-40B4-BE49-F238E27FC236}">
                  <a16:creationId xmlns:a16="http://schemas.microsoft.com/office/drawing/2014/main" id="{E3A56871-64F9-9324-BB9B-6A6652797C07}"/>
                </a:ext>
              </a:extLst>
            </p:cNvPr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5" name="Google Shape;4162;p64">
              <a:extLst>
                <a:ext uri="{FF2B5EF4-FFF2-40B4-BE49-F238E27FC236}">
                  <a16:creationId xmlns:a16="http://schemas.microsoft.com/office/drawing/2014/main" id="{98D05D6E-65F1-A106-8247-01CB8D7787E7}"/>
                </a:ext>
              </a:extLst>
            </p:cNvPr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6" name="Google Shape;4163;p64">
              <a:extLst>
                <a:ext uri="{FF2B5EF4-FFF2-40B4-BE49-F238E27FC236}">
                  <a16:creationId xmlns:a16="http://schemas.microsoft.com/office/drawing/2014/main" id="{976590DE-F918-8686-4B92-2FB736308F2D}"/>
                </a:ext>
              </a:extLst>
            </p:cNvPr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7" name="Google Shape;4164;p64">
              <a:extLst>
                <a:ext uri="{FF2B5EF4-FFF2-40B4-BE49-F238E27FC236}">
                  <a16:creationId xmlns:a16="http://schemas.microsoft.com/office/drawing/2014/main" id="{0FDEB0F3-60DC-1063-61AA-06A40DA43013}"/>
                </a:ext>
              </a:extLst>
            </p:cNvPr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8" name="Google Shape;4165;p64">
              <a:extLst>
                <a:ext uri="{FF2B5EF4-FFF2-40B4-BE49-F238E27FC236}">
                  <a16:creationId xmlns:a16="http://schemas.microsoft.com/office/drawing/2014/main" id="{E8707A7E-325D-2FBB-9647-F448F0D50867}"/>
                </a:ext>
              </a:extLst>
            </p:cNvPr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9" name="Google Shape;4166;p64">
              <a:extLst>
                <a:ext uri="{FF2B5EF4-FFF2-40B4-BE49-F238E27FC236}">
                  <a16:creationId xmlns:a16="http://schemas.microsoft.com/office/drawing/2014/main" id="{A5A405FC-892F-D702-2F36-6759423CC9E1}"/>
                </a:ext>
              </a:extLst>
            </p:cNvPr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0" name="Google Shape;4167;p64">
              <a:extLst>
                <a:ext uri="{FF2B5EF4-FFF2-40B4-BE49-F238E27FC236}">
                  <a16:creationId xmlns:a16="http://schemas.microsoft.com/office/drawing/2014/main" id="{41352FC1-D13D-7C97-1E0F-881987EE2133}"/>
                </a:ext>
              </a:extLst>
            </p:cNvPr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1" name="Google Shape;4168;p64">
              <a:extLst>
                <a:ext uri="{FF2B5EF4-FFF2-40B4-BE49-F238E27FC236}">
                  <a16:creationId xmlns:a16="http://schemas.microsoft.com/office/drawing/2014/main" id="{7B785354-A1A0-FFEA-F470-4836BFF21EC9}"/>
                </a:ext>
              </a:extLst>
            </p:cNvPr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2" name="Google Shape;4169;p64">
              <a:extLst>
                <a:ext uri="{FF2B5EF4-FFF2-40B4-BE49-F238E27FC236}">
                  <a16:creationId xmlns:a16="http://schemas.microsoft.com/office/drawing/2014/main" id="{BA02F324-35A2-7207-8E69-DEEFEC328AF3}"/>
                </a:ext>
              </a:extLst>
            </p:cNvPr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3" name="Google Shape;4170;p64">
              <a:extLst>
                <a:ext uri="{FF2B5EF4-FFF2-40B4-BE49-F238E27FC236}">
                  <a16:creationId xmlns:a16="http://schemas.microsoft.com/office/drawing/2014/main" id="{678398EB-54ED-5D8F-919C-48C782BC46CE}"/>
                </a:ext>
              </a:extLst>
            </p:cNvPr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4" name="Google Shape;4171;p64">
              <a:extLst>
                <a:ext uri="{FF2B5EF4-FFF2-40B4-BE49-F238E27FC236}">
                  <a16:creationId xmlns:a16="http://schemas.microsoft.com/office/drawing/2014/main" id="{02B9A8BC-09C5-CD02-0DFC-3306D9F2A071}"/>
                </a:ext>
              </a:extLst>
            </p:cNvPr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5" name="Google Shape;4172;p64">
              <a:extLst>
                <a:ext uri="{FF2B5EF4-FFF2-40B4-BE49-F238E27FC236}">
                  <a16:creationId xmlns:a16="http://schemas.microsoft.com/office/drawing/2014/main" id="{3A789A9B-DC00-7CB6-DBE6-1F9BDCA0CD4C}"/>
                </a:ext>
              </a:extLst>
            </p:cNvPr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6" name="Google Shape;4173;p64">
              <a:extLst>
                <a:ext uri="{FF2B5EF4-FFF2-40B4-BE49-F238E27FC236}">
                  <a16:creationId xmlns:a16="http://schemas.microsoft.com/office/drawing/2014/main" id="{97276729-B8BB-AC13-DF8C-15D51A46E2E0}"/>
                </a:ext>
              </a:extLst>
            </p:cNvPr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7" name="Google Shape;4174;p64">
              <a:extLst>
                <a:ext uri="{FF2B5EF4-FFF2-40B4-BE49-F238E27FC236}">
                  <a16:creationId xmlns:a16="http://schemas.microsoft.com/office/drawing/2014/main" id="{8BC78F61-0B34-C558-E1A2-C759C452C5A1}"/>
                </a:ext>
              </a:extLst>
            </p:cNvPr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8" name="Google Shape;4175;p64">
              <a:extLst>
                <a:ext uri="{FF2B5EF4-FFF2-40B4-BE49-F238E27FC236}">
                  <a16:creationId xmlns:a16="http://schemas.microsoft.com/office/drawing/2014/main" id="{A5029D4B-5FFF-3CB4-C798-54B840680A8D}"/>
                </a:ext>
              </a:extLst>
            </p:cNvPr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9" name="Google Shape;4176;p64">
              <a:extLst>
                <a:ext uri="{FF2B5EF4-FFF2-40B4-BE49-F238E27FC236}">
                  <a16:creationId xmlns:a16="http://schemas.microsoft.com/office/drawing/2014/main" id="{7E14EAA3-65D4-FC81-5CAF-AC3047C96D3E}"/>
                </a:ext>
              </a:extLst>
            </p:cNvPr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0" name="Google Shape;4177;p64">
              <a:extLst>
                <a:ext uri="{FF2B5EF4-FFF2-40B4-BE49-F238E27FC236}">
                  <a16:creationId xmlns:a16="http://schemas.microsoft.com/office/drawing/2014/main" id="{B88EB589-AAE6-6E14-96CF-F3ED71F14FA2}"/>
                </a:ext>
              </a:extLst>
            </p:cNvPr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1" name="Google Shape;4178;p64">
              <a:extLst>
                <a:ext uri="{FF2B5EF4-FFF2-40B4-BE49-F238E27FC236}">
                  <a16:creationId xmlns:a16="http://schemas.microsoft.com/office/drawing/2014/main" id="{E16DA129-03CE-465F-63BF-7D22995339E9}"/>
                </a:ext>
              </a:extLst>
            </p:cNvPr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2" name="Google Shape;4179;p64">
              <a:extLst>
                <a:ext uri="{FF2B5EF4-FFF2-40B4-BE49-F238E27FC236}">
                  <a16:creationId xmlns:a16="http://schemas.microsoft.com/office/drawing/2014/main" id="{2C394495-B14B-DA63-313C-364F7A024CC8}"/>
                </a:ext>
              </a:extLst>
            </p:cNvPr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3" name="Google Shape;4180;p64">
              <a:extLst>
                <a:ext uri="{FF2B5EF4-FFF2-40B4-BE49-F238E27FC236}">
                  <a16:creationId xmlns:a16="http://schemas.microsoft.com/office/drawing/2014/main" id="{15F1DCF5-2E90-21F3-6637-46626ABE6E50}"/>
                </a:ext>
              </a:extLst>
            </p:cNvPr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4" name="Google Shape;4181;p64">
              <a:extLst>
                <a:ext uri="{FF2B5EF4-FFF2-40B4-BE49-F238E27FC236}">
                  <a16:creationId xmlns:a16="http://schemas.microsoft.com/office/drawing/2014/main" id="{3569C002-59D6-5CCB-6FB0-318CD548A8D7}"/>
                </a:ext>
              </a:extLst>
            </p:cNvPr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5" name="Google Shape;4182;p64">
              <a:extLst>
                <a:ext uri="{FF2B5EF4-FFF2-40B4-BE49-F238E27FC236}">
                  <a16:creationId xmlns:a16="http://schemas.microsoft.com/office/drawing/2014/main" id="{59F5F613-B9CC-7D87-E920-014920F006C7}"/>
                </a:ext>
              </a:extLst>
            </p:cNvPr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6" name="Google Shape;4183;p64">
              <a:extLst>
                <a:ext uri="{FF2B5EF4-FFF2-40B4-BE49-F238E27FC236}">
                  <a16:creationId xmlns:a16="http://schemas.microsoft.com/office/drawing/2014/main" id="{AB03693C-138B-5640-3BA7-88AA13E8772D}"/>
                </a:ext>
              </a:extLst>
            </p:cNvPr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7" name="Google Shape;4184;p64">
              <a:extLst>
                <a:ext uri="{FF2B5EF4-FFF2-40B4-BE49-F238E27FC236}">
                  <a16:creationId xmlns:a16="http://schemas.microsoft.com/office/drawing/2014/main" id="{9DA8947E-390E-F5D3-E2FD-A9011713F1C5}"/>
                </a:ext>
              </a:extLst>
            </p:cNvPr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8" name="Google Shape;4185;p64">
              <a:extLst>
                <a:ext uri="{FF2B5EF4-FFF2-40B4-BE49-F238E27FC236}">
                  <a16:creationId xmlns:a16="http://schemas.microsoft.com/office/drawing/2014/main" id="{F363D77B-7192-630A-D6DC-97AD96FE5F0D}"/>
                </a:ext>
              </a:extLst>
            </p:cNvPr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9" name="Google Shape;4186;p64">
              <a:extLst>
                <a:ext uri="{FF2B5EF4-FFF2-40B4-BE49-F238E27FC236}">
                  <a16:creationId xmlns:a16="http://schemas.microsoft.com/office/drawing/2014/main" id="{9ADCFCD5-02BF-AF34-102B-B7013A83399E}"/>
                </a:ext>
              </a:extLst>
            </p:cNvPr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0" name="Google Shape;4187;p64">
              <a:extLst>
                <a:ext uri="{FF2B5EF4-FFF2-40B4-BE49-F238E27FC236}">
                  <a16:creationId xmlns:a16="http://schemas.microsoft.com/office/drawing/2014/main" id="{C71D9934-A71C-69B4-9E21-3583AAA761F3}"/>
                </a:ext>
              </a:extLst>
            </p:cNvPr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1" name="Google Shape;4188;p64">
              <a:extLst>
                <a:ext uri="{FF2B5EF4-FFF2-40B4-BE49-F238E27FC236}">
                  <a16:creationId xmlns:a16="http://schemas.microsoft.com/office/drawing/2014/main" id="{4392E1CB-AFCF-5636-5535-E121C1503065}"/>
                </a:ext>
              </a:extLst>
            </p:cNvPr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2" name="Google Shape;4189;p64">
              <a:extLst>
                <a:ext uri="{FF2B5EF4-FFF2-40B4-BE49-F238E27FC236}">
                  <a16:creationId xmlns:a16="http://schemas.microsoft.com/office/drawing/2014/main" id="{A82C06EA-0BF3-CCDE-6E36-3ABF8193A6F9}"/>
                </a:ext>
              </a:extLst>
            </p:cNvPr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3" name="Google Shape;4190;p64">
              <a:extLst>
                <a:ext uri="{FF2B5EF4-FFF2-40B4-BE49-F238E27FC236}">
                  <a16:creationId xmlns:a16="http://schemas.microsoft.com/office/drawing/2014/main" id="{11C4502F-F29B-FFDA-F938-46FE0E1DE180}"/>
                </a:ext>
              </a:extLst>
            </p:cNvPr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4" name="Google Shape;4191;p64">
              <a:extLst>
                <a:ext uri="{FF2B5EF4-FFF2-40B4-BE49-F238E27FC236}">
                  <a16:creationId xmlns:a16="http://schemas.microsoft.com/office/drawing/2014/main" id="{0B1162AD-F2C6-7165-DB37-F5B280D122DE}"/>
                </a:ext>
              </a:extLst>
            </p:cNvPr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5" name="Google Shape;4192;p64">
              <a:extLst>
                <a:ext uri="{FF2B5EF4-FFF2-40B4-BE49-F238E27FC236}">
                  <a16:creationId xmlns:a16="http://schemas.microsoft.com/office/drawing/2014/main" id="{0A6EEC7A-9A6E-1A23-5C07-153CCEA1704E}"/>
                </a:ext>
              </a:extLst>
            </p:cNvPr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6" name="Google Shape;4193;p64">
              <a:extLst>
                <a:ext uri="{FF2B5EF4-FFF2-40B4-BE49-F238E27FC236}">
                  <a16:creationId xmlns:a16="http://schemas.microsoft.com/office/drawing/2014/main" id="{4F87EE70-A05E-006B-D8D4-3A0DB6149009}"/>
                </a:ext>
              </a:extLst>
            </p:cNvPr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7" name="Google Shape;4194;p64">
              <a:extLst>
                <a:ext uri="{FF2B5EF4-FFF2-40B4-BE49-F238E27FC236}">
                  <a16:creationId xmlns:a16="http://schemas.microsoft.com/office/drawing/2014/main" id="{3CCE8A36-EC04-C911-4FF4-7411343497D4}"/>
                </a:ext>
              </a:extLst>
            </p:cNvPr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8" name="Google Shape;4195;p64">
              <a:extLst>
                <a:ext uri="{FF2B5EF4-FFF2-40B4-BE49-F238E27FC236}">
                  <a16:creationId xmlns:a16="http://schemas.microsoft.com/office/drawing/2014/main" id="{CD6A40CE-23A8-8822-8E34-36C6D84EA561}"/>
                </a:ext>
              </a:extLst>
            </p:cNvPr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9" name="Google Shape;4196;p64">
              <a:extLst>
                <a:ext uri="{FF2B5EF4-FFF2-40B4-BE49-F238E27FC236}">
                  <a16:creationId xmlns:a16="http://schemas.microsoft.com/office/drawing/2014/main" id="{6762EAAA-2830-D122-D9BC-30418E8E5C58}"/>
                </a:ext>
              </a:extLst>
            </p:cNvPr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0" name="Google Shape;4197;p64">
              <a:extLst>
                <a:ext uri="{FF2B5EF4-FFF2-40B4-BE49-F238E27FC236}">
                  <a16:creationId xmlns:a16="http://schemas.microsoft.com/office/drawing/2014/main" id="{27413796-7DB0-C113-1D83-2AA6B02A0E1D}"/>
                </a:ext>
              </a:extLst>
            </p:cNvPr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1" name="Google Shape;4198;p64">
              <a:extLst>
                <a:ext uri="{FF2B5EF4-FFF2-40B4-BE49-F238E27FC236}">
                  <a16:creationId xmlns:a16="http://schemas.microsoft.com/office/drawing/2014/main" id="{55363960-E4A5-0D60-60A8-5EFF8B699D73}"/>
                </a:ext>
              </a:extLst>
            </p:cNvPr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2" name="Google Shape;4199;p64">
              <a:extLst>
                <a:ext uri="{FF2B5EF4-FFF2-40B4-BE49-F238E27FC236}">
                  <a16:creationId xmlns:a16="http://schemas.microsoft.com/office/drawing/2014/main" id="{3D9DE97F-30B7-5B09-01B3-610262B54919}"/>
                </a:ext>
              </a:extLst>
            </p:cNvPr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3" name="Google Shape;4200;p64">
              <a:extLst>
                <a:ext uri="{FF2B5EF4-FFF2-40B4-BE49-F238E27FC236}">
                  <a16:creationId xmlns:a16="http://schemas.microsoft.com/office/drawing/2014/main" id="{F25C3A51-0877-BF71-9EE3-40FDCA0E1090}"/>
                </a:ext>
              </a:extLst>
            </p:cNvPr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4" name="Google Shape;4201;p64">
              <a:extLst>
                <a:ext uri="{FF2B5EF4-FFF2-40B4-BE49-F238E27FC236}">
                  <a16:creationId xmlns:a16="http://schemas.microsoft.com/office/drawing/2014/main" id="{B1DCA473-6487-E39C-936E-1BC3057444C4}"/>
                </a:ext>
              </a:extLst>
            </p:cNvPr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5" name="Google Shape;4202;p64">
              <a:extLst>
                <a:ext uri="{FF2B5EF4-FFF2-40B4-BE49-F238E27FC236}">
                  <a16:creationId xmlns:a16="http://schemas.microsoft.com/office/drawing/2014/main" id="{4EC3C1BE-964C-77A3-3C1D-ED7CFA63A643}"/>
                </a:ext>
              </a:extLst>
            </p:cNvPr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6" name="Google Shape;4203;p64">
              <a:extLst>
                <a:ext uri="{FF2B5EF4-FFF2-40B4-BE49-F238E27FC236}">
                  <a16:creationId xmlns:a16="http://schemas.microsoft.com/office/drawing/2014/main" id="{92D545C0-FFB1-64EB-2563-91B2712A7DF8}"/>
                </a:ext>
              </a:extLst>
            </p:cNvPr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7" name="Google Shape;4204;p64">
              <a:extLst>
                <a:ext uri="{FF2B5EF4-FFF2-40B4-BE49-F238E27FC236}">
                  <a16:creationId xmlns:a16="http://schemas.microsoft.com/office/drawing/2014/main" id="{CE11CC01-2DAD-53F2-564C-5C4E020B4925}"/>
                </a:ext>
              </a:extLst>
            </p:cNvPr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8" name="Google Shape;4205;p64">
              <a:extLst>
                <a:ext uri="{FF2B5EF4-FFF2-40B4-BE49-F238E27FC236}">
                  <a16:creationId xmlns:a16="http://schemas.microsoft.com/office/drawing/2014/main" id="{59730D8D-BD21-F08D-701D-37E1990C7510}"/>
                </a:ext>
              </a:extLst>
            </p:cNvPr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9" name="Google Shape;4206;p64">
              <a:extLst>
                <a:ext uri="{FF2B5EF4-FFF2-40B4-BE49-F238E27FC236}">
                  <a16:creationId xmlns:a16="http://schemas.microsoft.com/office/drawing/2014/main" id="{9036D62B-DD9D-2EE4-C50F-EF10F469CA71}"/>
                </a:ext>
              </a:extLst>
            </p:cNvPr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70" name="Google Shape;4207;p64">
              <a:extLst>
                <a:ext uri="{FF2B5EF4-FFF2-40B4-BE49-F238E27FC236}">
                  <a16:creationId xmlns:a16="http://schemas.microsoft.com/office/drawing/2014/main" id="{5EC7FD5D-EFE2-CC7D-04CE-D15E8B59821E}"/>
                </a:ext>
              </a:extLst>
            </p:cNvPr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71" name="Google Shape;4208;p64">
              <a:extLst>
                <a:ext uri="{FF2B5EF4-FFF2-40B4-BE49-F238E27FC236}">
                  <a16:creationId xmlns:a16="http://schemas.microsoft.com/office/drawing/2014/main" id="{CF76C3C0-C42C-6C9D-CC61-C8672612217A}"/>
                </a:ext>
              </a:extLst>
            </p:cNvPr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72" name="Google Shape;4209;p64">
              <a:extLst>
                <a:ext uri="{FF2B5EF4-FFF2-40B4-BE49-F238E27FC236}">
                  <a16:creationId xmlns:a16="http://schemas.microsoft.com/office/drawing/2014/main" id="{0B26C87D-9DA3-FE79-F5B3-79C1D210F518}"/>
                </a:ext>
              </a:extLst>
            </p:cNvPr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73" name="Google Shape;4210;p64">
              <a:extLst>
                <a:ext uri="{FF2B5EF4-FFF2-40B4-BE49-F238E27FC236}">
                  <a16:creationId xmlns:a16="http://schemas.microsoft.com/office/drawing/2014/main" id="{EA752BFC-3D1A-9390-47CD-DF7E98E29A80}"/>
                </a:ext>
              </a:extLst>
            </p:cNvPr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74" name="Google Shape;4211;p64">
              <a:extLst>
                <a:ext uri="{FF2B5EF4-FFF2-40B4-BE49-F238E27FC236}">
                  <a16:creationId xmlns:a16="http://schemas.microsoft.com/office/drawing/2014/main" id="{A6D8C9F8-10E0-3F9C-0015-D6DCE9B502AD}"/>
                </a:ext>
              </a:extLst>
            </p:cNvPr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75" name="Google Shape;4212;p64">
              <a:extLst>
                <a:ext uri="{FF2B5EF4-FFF2-40B4-BE49-F238E27FC236}">
                  <a16:creationId xmlns:a16="http://schemas.microsoft.com/office/drawing/2014/main" id="{91A6CE0C-A6DF-5A8E-D893-413B0B52AEB6}"/>
                </a:ext>
              </a:extLst>
            </p:cNvPr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76" name="Google Shape;4213;p64">
              <a:extLst>
                <a:ext uri="{FF2B5EF4-FFF2-40B4-BE49-F238E27FC236}">
                  <a16:creationId xmlns:a16="http://schemas.microsoft.com/office/drawing/2014/main" id="{1703CC08-4497-FDB4-11EC-9A7A84DC30FC}"/>
                </a:ext>
              </a:extLst>
            </p:cNvPr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77" name="Google Shape;4214;p64">
              <a:extLst>
                <a:ext uri="{FF2B5EF4-FFF2-40B4-BE49-F238E27FC236}">
                  <a16:creationId xmlns:a16="http://schemas.microsoft.com/office/drawing/2014/main" id="{8291896F-82D2-7ECD-CEEA-64ED14883931}"/>
                </a:ext>
              </a:extLst>
            </p:cNvPr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7994A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078" name="Google Shape;4215;p64">
            <a:extLst>
              <a:ext uri="{FF2B5EF4-FFF2-40B4-BE49-F238E27FC236}">
                <a16:creationId xmlns:a16="http://schemas.microsoft.com/office/drawing/2014/main" id="{8C39A6B9-7A67-1091-0175-9681FD3AE87D}"/>
              </a:ext>
            </a:extLst>
          </p:cNvPr>
          <p:cNvGrpSpPr/>
          <p:nvPr/>
        </p:nvGrpSpPr>
        <p:grpSpPr>
          <a:xfrm>
            <a:off x="7948415" y="1641515"/>
            <a:ext cx="3247947" cy="1730300"/>
            <a:chOff x="233350" y="949250"/>
            <a:chExt cx="7137300" cy="3802300"/>
          </a:xfrm>
        </p:grpSpPr>
        <p:sp>
          <p:nvSpPr>
            <p:cNvPr id="8079" name="Google Shape;4216;p64">
              <a:extLst>
                <a:ext uri="{FF2B5EF4-FFF2-40B4-BE49-F238E27FC236}">
                  <a16:creationId xmlns:a16="http://schemas.microsoft.com/office/drawing/2014/main" id="{0659E90D-2925-21B1-E69C-91E3FC558C6C}"/>
                </a:ext>
              </a:extLst>
            </p:cNvPr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0" name="Google Shape;4217;p64">
              <a:extLst>
                <a:ext uri="{FF2B5EF4-FFF2-40B4-BE49-F238E27FC236}">
                  <a16:creationId xmlns:a16="http://schemas.microsoft.com/office/drawing/2014/main" id="{A1CD5432-B7F7-58E5-454F-73D8F70C9698}"/>
                </a:ext>
              </a:extLst>
            </p:cNvPr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1" name="Google Shape;4218;p64">
              <a:extLst>
                <a:ext uri="{FF2B5EF4-FFF2-40B4-BE49-F238E27FC236}">
                  <a16:creationId xmlns:a16="http://schemas.microsoft.com/office/drawing/2014/main" id="{5DEDE852-B212-0DFA-18C6-8D46BD422AB9}"/>
                </a:ext>
              </a:extLst>
            </p:cNvPr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2" name="Google Shape;4219;p64">
              <a:extLst>
                <a:ext uri="{FF2B5EF4-FFF2-40B4-BE49-F238E27FC236}">
                  <a16:creationId xmlns:a16="http://schemas.microsoft.com/office/drawing/2014/main" id="{4058A1A7-3F7C-A074-D4F5-9D41150155E7}"/>
                </a:ext>
              </a:extLst>
            </p:cNvPr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3" name="Google Shape;4220;p64">
              <a:extLst>
                <a:ext uri="{FF2B5EF4-FFF2-40B4-BE49-F238E27FC236}">
                  <a16:creationId xmlns:a16="http://schemas.microsoft.com/office/drawing/2014/main" id="{194ACBBE-BD23-FD48-0982-C531688BDA2A}"/>
                </a:ext>
              </a:extLst>
            </p:cNvPr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4" name="Google Shape;4221;p64">
              <a:extLst>
                <a:ext uri="{FF2B5EF4-FFF2-40B4-BE49-F238E27FC236}">
                  <a16:creationId xmlns:a16="http://schemas.microsoft.com/office/drawing/2014/main" id="{819AC03F-1E16-1CD1-4D60-B63B242EE7B4}"/>
                </a:ext>
              </a:extLst>
            </p:cNvPr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5" name="Google Shape;4222;p64">
              <a:extLst>
                <a:ext uri="{FF2B5EF4-FFF2-40B4-BE49-F238E27FC236}">
                  <a16:creationId xmlns:a16="http://schemas.microsoft.com/office/drawing/2014/main" id="{B2B3DB92-E543-CE94-3446-82FD72695B57}"/>
                </a:ext>
              </a:extLst>
            </p:cNvPr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6" name="Google Shape;4223;p64">
              <a:extLst>
                <a:ext uri="{FF2B5EF4-FFF2-40B4-BE49-F238E27FC236}">
                  <a16:creationId xmlns:a16="http://schemas.microsoft.com/office/drawing/2014/main" id="{75170594-F5D6-3126-1E57-094D2D34B45A}"/>
                </a:ext>
              </a:extLst>
            </p:cNvPr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7" name="Google Shape;4224;p64">
              <a:extLst>
                <a:ext uri="{FF2B5EF4-FFF2-40B4-BE49-F238E27FC236}">
                  <a16:creationId xmlns:a16="http://schemas.microsoft.com/office/drawing/2014/main" id="{75BB9D0A-9AB1-86C3-8000-3182385E1A5C}"/>
                </a:ext>
              </a:extLst>
            </p:cNvPr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8" name="Google Shape;4225;p64">
              <a:extLst>
                <a:ext uri="{FF2B5EF4-FFF2-40B4-BE49-F238E27FC236}">
                  <a16:creationId xmlns:a16="http://schemas.microsoft.com/office/drawing/2014/main" id="{2552DA29-03D3-8CB8-1310-21359E871DC6}"/>
                </a:ext>
              </a:extLst>
            </p:cNvPr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9" name="Google Shape;4226;p64">
              <a:extLst>
                <a:ext uri="{FF2B5EF4-FFF2-40B4-BE49-F238E27FC236}">
                  <a16:creationId xmlns:a16="http://schemas.microsoft.com/office/drawing/2014/main" id="{53EA2D6A-CFC3-CB74-EA29-361F6B1CAABF}"/>
                </a:ext>
              </a:extLst>
            </p:cNvPr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0" name="Google Shape;4227;p64">
              <a:extLst>
                <a:ext uri="{FF2B5EF4-FFF2-40B4-BE49-F238E27FC236}">
                  <a16:creationId xmlns:a16="http://schemas.microsoft.com/office/drawing/2014/main" id="{3DD00F50-A580-2363-5B7D-7B711E5AE171}"/>
                </a:ext>
              </a:extLst>
            </p:cNvPr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1" name="Google Shape;4228;p64">
              <a:extLst>
                <a:ext uri="{FF2B5EF4-FFF2-40B4-BE49-F238E27FC236}">
                  <a16:creationId xmlns:a16="http://schemas.microsoft.com/office/drawing/2014/main" id="{022EC058-67A4-4229-1F3D-E0E0DFF7CCF6}"/>
                </a:ext>
              </a:extLst>
            </p:cNvPr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2" name="Google Shape;4229;p64">
              <a:extLst>
                <a:ext uri="{FF2B5EF4-FFF2-40B4-BE49-F238E27FC236}">
                  <a16:creationId xmlns:a16="http://schemas.microsoft.com/office/drawing/2014/main" id="{3D7D4A84-268C-5F7D-A0C5-99DA62888F2D}"/>
                </a:ext>
              </a:extLst>
            </p:cNvPr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3" name="Google Shape;4230;p64">
              <a:extLst>
                <a:ext uri="{FF2B5EF4-FFF2-40B4-BE49-F238E27FC236}">
                  <a16:creationId xmlns:a16="http://schemas.microsoft.com/office/drawing/2014/main" id="{47778EC8-218A-97AC-6143-05CAA9857062}"/>
                </a:ext>
              </a:extLst>
            </p:cNvPr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4" name="Google Shape;4231;p64">
              <a:extLst>
                <a:ext uri="{FF2B5EF4-FFF2-40B4-BE49-F238E27FC236}">
                  <a16:creationId xmlns:a16="http://schemas.microsoft.com/office/drawing/2014/main" id="{4E06C03F-6E05-B47B-A15A-0401FAE8A8F6}"/>
                </a:ext>
              </a:extLst>
            </p:cNvPr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5" name="Google Shape;4232;p64">
              <a:extLst>
                <a:ext uri="{FF2B5EF4-FFF2-40B4-BE49-F238E27FC236}">
                  <a16:creationId xmlns:a16="http://schemas.microsoft.com/office/drawing/2014/main" id="{1BB7820E-AF7F-35BF-A832-293FCA515542}"/>
                </a:ext>
              </a:extLst>
            </p:cNvPr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6" name="Google Shape;4233;p64">
              <a:extLst>
                <a:ext uri="{FF2B5EF4-FFF2-40B4-BE49-F238E27FC236}">
                  <a16:creationId xmlns:a16="http://schemas.microsoft.com/office/drawing/2014/main" id="{7E14144A-3C69-AE6D-0E5E-3F9F79DD016C}"/>
                </a:ext>
              </a:extLst>
            </p:cNvPr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7" name="Google Shape;4234;p64">
              <a:extLst>
                <a:ext uri="{FF2B5EF4-FFF2-40B4-BE49-F238E27FC236}">
                  <a16:creationId xmlns:a16="http://schemas.microsoft.com/office/drawing/2014/main" id="{E1340CE5-1101-AD84-7C60-0D8DCF978205}"/>
                </a:ext>
              </a:extLst>
            </p:cNvPr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8" name="Google Shape;4235;p64">
              <a:extLst>
                <a:ext uri="{FF2B5EF4-FFF2-40B4-BE49-F238E27FC236}">
                  <a16:creationId xmlns:a16="http://schemas.microsoft.com/office/drawing/2014/main" id="{F53978F6-8731-7F0C-6748-6EEE5551D92D}"/>
                </a:ext>
              </a:extLst>
            </p:cNvPr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9" name="Google Shape;4236;p64">
              <a:extLst>
                <a:ext uri="{FF2B5EF4-FFF2-40B4-BE49-F238E27FC236}">
                  <a16:creationId xmlns:a16="http://schemas.microsoft.com/office/drawing/2014/main" id="{8BC82D16-D3E7-EE7A-FE46-BDC24E0EDD02}"/>
                </a:ext>
              </a:extLst>
            </p:cNvPr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0" name="Google Shape;4237;p64">
              <a:extLst>
                <a:ext uri="{FF2B5EF4-FFF2-40B4-BE49-F238E27FC236}">
                  <a16:creationId xmlns:a16="http://schemas.microsoft.com/office/drawing/2014/main" id="{E8DEB7EC-6A66-E151-0853-F25124CBD0F8}"/>
                </a:ext>
              </a:extLst>
            </p:cNvPr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1" name="Google Shape;4238;p64">
              <a:extLst>
                <a:ext uri="{FF2B5EF4-FFF2-40B4-BE49-F238E27FC236}">
                  <a16:creationId xmlns:a16="http://schemas.microsoft.com/office/drawing/2014/main" id="{7D87757A-51E1-4FED-C769-42D682EF8183}"/>
                </a:ext>
              </a:extLst>
            </p:cNvPr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2" name="Google Shape;4239;p64">
              <a:extLst>
                <a:ext uri="{FF2B5EF4-FFF2-40B4-BE49-F238E27FC236}">
                  <a16:creationId xmlns:a16="http://schemas.microsoft.com/office/drawing/2014/main" id="{C25F3273-3D6B-C9E0-607A-45DBAB8C14CA}"/>
                </a:ext>
              </a:extLst>
            </p:cNvPr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3" name="Google Shape;4240;p64">
              <a:extLst>
                <a:ext uri="{FF2B5EF4-FFF2-40B4-BE49-F238E27FC236}">
                  <a16:creationId xmlns:a16="http://schemas.microsoft.com/office/drawing/2014/main" id="{D9D175C7-403F-C453-B492-DEF1D50598F2}"/>
                </a:ext>
              </a:extLst>
            </p:cNvPr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4" name="Google Shape;4241;p64">
              <a:extLst>
                <a:ext uri="{FF2B5EF4-FFF2-40B4-BE49-F238E27FC236}">
                  <a16:creationId xmlns:a16="http://schemas.microsoft.com/office/drawing/2014/main" id="{8C7F5C6A-91C0-CE23-DF2B-F4305E7F6144}"/>
                </a:ext>
              </a:extLst>
            </p:cNvPr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5" name="Google Shape;4242;p64">
              <a:extLst>
                <a:ext uri="{FF2B5EF4-FFF2-40B4-BE49-F238E27FC236}">
                  <a16:creationId xmlns:a16="http://schemas.microsoft.com/office/drawing/2014/main" id="{F3812FEE-6679-C3EA-FCFD-CF0C6307B5A4}"/>
                </a:ext>
              </a:extLst>
            </p:cNvPr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6" name="Google Shape;4243;p64">
              <a:extLst>
                <a:ext uri="{FF2B5EF4-FFF2-40B4-BE49-F238E27FC236}">
                  <a16:creationId xmlns:a16="http://schemas.microsoft.com/office/drawing/2014/main" id="{9786EC56-4B12-262A-D5B4-9D65BAD58E67}"/>
                </a:ext>
              </a:extLst>
            </p:cNvPr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7" name="Google Shape;4244;p64">
              <a:extLst>
                <a:ext uri="{FF2B5EF4-FFF2-40B4-BE49-F238E27FC236}">
                  <a16:creationId xmlns:a16="http://schemas.microsoft.com/office/drawing/2014/main" id="{6F88254C-6A61-DD87-78C1-9188D3D75157}"/>
                </a:ext>
              </a:extLst>
            </p:cNvPr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8" name="Google Shape;4245;p64">
              <a:extLst>
                <a:ext uri="{FF2B5EF4-FFF2-40B4-BE49-F238E27FC236}">
                  <a16:creationId xmlns:a16="http://schemas.microsoft.com/office/drawing/2014/main" id="{8D3274D2-C821-E768-9D4D-610704CB970F}"/>
                </a:ext>
              </a:extLst>
            </p:cNvPr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9" name="Google Shape;4246;p64">
              <a:extLst>
                <a:ext uri="{FF2B5EF4-FFF2-40B4-BE49-F238E27FC236}">
                  <a16:creationId xmlns:a16="http://schemas.microsoft.com/office/drawing/2014/main" id="{EB59FC43-5C8D-F827-509A-4B34712231AB}"/>
                </a:ext>
              </a:extLst>
            </p:cNvPr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0" name="Google Shape;4247;p64">
              <a:extLst>
                <a:ext uri="{FF2B5EF4-FFF2-40B4-BE49-F238E27FC236}">
                  <a16:creationId xmlns:a16="http://schemas.microsoft.com/office/drawing/2014/main" id="{BF52E263-ADE8-2388-327A-92E361B63691}"/>
                </a:ext>
              </a:extLst>
            </p:cNvPr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1" name="Google Shape;4248;p64">
              <a:extLst>
                <a:ext uri="{FF2B5EF4-FFF2-40B4-BE49-F238E27FC236}">
                  <a16:creationId xmlns:a16="http://schemas.microsoft.com/office/drawing/2014/main" id="{AFCE77F1-806F-9918-88F2-0F82D8447814}"/>
                </a:ext>
              </a:extLst>
            </p:cNvPr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2" name="Google Shape;4249;p64">
              <a:extLst>
                <a:ext uri="{FF2B5EF4-FFF2-40B4-BE49-F238E27FC236}">
                  <a16:creationId xmlns:a16="http://schemas.microsoft.com/office/drawing/2014/main" id="{803D7B9B-FEB1-A1E4-3064-F343EF60ABC2}"/>
                </a:ext>
              </a:extLst>
            </p:cNvPr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3" name="Google Shape;4250;p64">
              <a:extLst>
                <a:ext uri="{FF2B5EF4-FFF2-40B4-BE49-F238E27FC236}">
                  <a16:creationId xmlns:a16="http://schemas.microsoft.com/office/drawing/2014/main" id="{8B1D48AB-8A77-D5ED-531F-B7CAFBB4FA6F}"/>
                </a:ext>
              </a:extLst>
            </p:cNvPr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4" name="Google Shape;4251;p64">
              <a:extLst>
                <a:ext uri="{FF2B5EF4-FFF2-40B4-BE49-F238E27FC236}">
                  <a16:creationId xmlns:a16="http://schemas.microsoft.com/office/drawing/2014/main" id="{B9B6306D-CE24-4F7B-FF3F-59A3DC6D6AB9}"/>
                </a:ext>
              </a:extLst>
            </p:cNvPr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5" name="Google Shape;4252;p64">
              <a:extLst>
                <a:ext uri="{FF2B5EF4-FFF2-40B4-BE49-F238E27FC236}">
                  <a16:creationId xmlns:a16="http://schemas.microsoft.com/office/drawing/2014/main" id="{AA9621ED-0233-2A67-0757-43447BEB74A3}"/>
                </a:ext>
              </a:extLst>
            </p:cNvPr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6" name="Google Shape;4253;p64">
              <a:extLst>
                <a:ext uri="{FF2B5EF4-FFF2-40B4-BE49-F238E27FC236}">
                  <a16:creationId xmlns:a16="http://schemas.microsoft.com/office/drawing/2014/main" id="{A6BD459C-8DA6-C6D3-3366-B30B85808803}"/>
                </a:ext>
              </a:extLst>
            </p:cNvPr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7" name="Google Shape;4254;p64">
              <a:extLst>
                <a:ext uri="{FF2B5EF4-FFF2-40B4-BE49-F238E27FC236}">
                  <a16:creationId xmlns:a16="http://schemas.microsoft.com/office/drawing/2014/main" id="{19B34A6A-E528-B808-BD81-2F10CC541338}"/>
                </a:ext>
              </a:extLst>
            </p:cNvPr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8" name="Google Shape;4255;p64">
              <a:extLst>
                <a:ext uri="{FF2B5EF4-FFF2-40B4-BE49-F238E27FC236}">
                  <a16:creationId xmlns:a16="http://schemas.microsoft.com/office/drawing/2014/main" id="{8D968387-885E-F0D7-E0B5-30CD0C0829DB}"/>
                </a:ext>
              </a:extLst>
            </p:cNvPr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9" name="Google Shape;4256;p64">
              <a:extLst>
                <a:ext uri="{FF2B5EF4-FFF2-40B4-BE49-F238E27FC236}">
                  <a16:creationId xmlns:a16="http://schemas.microsoft.com/office/drawing/2014/main" id="{A22458E1-1AE9-7BD0-F18E-F51A9D3009F0}"/>
                </a:ext>
              </a:extLst>
            </p:cNvPr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0" name="Google Shape;4257;p64">
              <a:extLst>
                <a:ext uri="{FF2B5EF4-FFF2-40B4-BE49-F238E27FC236}">
                  <a16:creationId xmlns:a16="http://schemas.microsoft.com/office/drawing/2014/main" id="{4A21CC4B-1220-0B3D-E9C2-277CD436B822}"/>
                </a:ext>
              </a:extLst>
            </p:cNvPr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1" name="Google Shape;4258;p64">
              <a:extLst>
                <a:ext uri="{FF2B5EF4-FFF2-40B4-BE49-F238E27FC236}">
                  <a16:creationId xmlns:a16="http://schemas.microsoft.com/office/drawing/2014/main" id="{A17C6CD4-7246-BB21-546A-C957F82688BD}"/>
                </a:ext>
              </a:extLst>
            </p:cNvPr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2" name="Google Shape;4259;p64">
              <a:extLst>
                <a:ext uri="{FF2B5EF4-FFF2-40B4-BE49-F238E27FC236}">
                  <a16:creationId xmlns:a16="http://schemas.microsoft.com/office/drawing/2014/main" id="{AF208BB5-56B7-EFCA-D62B-17EF26BECB4F}"/>
                </a:ext>
              </a:extLst>
            </p:cNvPr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3" name="Google Shape;4260;p64">
              <a:extLst>
                <a:ext uri="{FF2B5EF4-FFF2-40B4-BE49-F238E27FC236}">
                  <a16:creationId xmlns:a16="http://schemas.microsoft.com/office/drawing/2014/main" id="{B8C64420-3F3B-23D6-4123-83378D8E83DA}"/>
                </a:ext>
              </a:extLst>
            </p:cNvPr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4" name="Google Shape;4261;p64">
              <a:extLst>
                <a:ext uri="{FF2B5EF4-FFF2-40B4-BE49-F238E27FC236}">
                  <a16:creationId xmlns:a16="http://schemas.microsoft.com/office/drawing/2014/main" id="{58D3B9CD-2A4A-985C-9327-3337E525EE48}"/>
                </a:ext>
              </a:extLst>
            </p:cNvPr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5" name="Google Shape;4262;p64">
              <a:extLst>
                <a:ext uri="{FF2B5EF4-FFF2-40B4-BE49-F238E27FC236}">
                  <a16:creationId xmlns:a16="http://schemas.microsoft.com/office/drawing/2014/main" id="{7A776024-9ABD-2E0D-55D0-026090028D71}"/>
                </a:ext>
              </a:extLst>
            </p:cNvPr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6" name="Google Shape;4263;p64">
              <a:extLst>
                <a:ext uri="{FF2B5EF4-FFF2-40B4-BE49-F238E27FC236}">
                  <a16:creationId xmlns:a16="http://schemas.microsoft.com/office/drawing/2014/main" id="{72AFEA60-B2C1-8D9B-0AE3-4CA2D4B55816}"/>
                </a:ext>
              </a:extLst>
            </p:cNvPr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7" name="Google Shape;4264;p64">
              <a:extLst>
                <a:ext uri="{FF2B5EF4-FFF2-40B4-BE49-F238E27FC236}">
                  <a16:creationId xmlns:a16="http://schemas.microsoft.com/office/drawing/2014/main" id="{A8603E5D-5EFA-8EE2-4961-4276692944E8}"/>
                </a:ext>
              </a:extLst>
            </p:cNvPr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8" name="Google Shape;4265;p64">
              <a:extLst>
                <a:ext uri="{FF2B5EF4-FFF2-40B4-BE49-F238E27FC236}">
                  <a16:creationId xmlns:a16="http://schemas.microsoft.com/office/drawing/2014/main" id="{FA53F663-6182-684B-5DE6-9461F7B339FA}"/>
                </a:ext>
              </a:extLst>
            </p:cNvPr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9" name="Google Shape;4266;p64">
              <a:extLst>
                <a:ext uri="{FF2B5EF4-FFF2-40B4-BE49-F238E27FC236}">
                  <a16:creationId xmlns:a16="http://schemas.microsoft.com/office/drawing/2014/main" id="{7F9335AA-FC70-1CF3-8258-CE9871281F4F}"/>
                </a:ext>
              </a:extLst>
            </p:cNvPr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A5B7C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130" name="Google Shape;4267;p64">
            <a:extLst>
              <a:ext uri="{FF2B5EF4-FFF2-40B4-BE49-F238E27FC236}">
                <a16:creationId xmlns:a16="http://schemas.microsoft.com/office/drawing/2014/main" id="{0664D1C0-5C54-8F43-07A4-5F7F52E72764}"/>
              </a:ext>
            </a:extLst>
          </p:cNvPr>
          <p:cNvGrpSpPr/>
          <p:nvPr/>
        </p:nvGrpSpPr>
        <p:grpSpPr>
          <a:xfrm>
            <a:off x="10285914" y="4259635"/>
            <a:ext cx="138975" cy="427120"/>
            <a:chOff x="7564426" y="3224343"/>
            <a:chExt cx="119985" cy="368801"/>
          </a:xfrm>
        </p:grpSpPr>
        <p:sp>
          <p:nvSpPr>
            <p:cNvPr id="8131" name="Google Shape;4268;p64">
              <a:extLst>
                <a:ext uri="{FF2B5EF4-FFF2-40B4-BE49-F238E27FC236}">
                  <a16:creationId xmlns:a16="http://schemas.microsoft.com/office/drawing/2014/main" id="{D1ADA599-F714-C330-01FD-A433A3605829}"/>
                </a:ext>
              </a:extLst>
            </p:cNvPr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32" name="Google Shape;4269;p64">
              <a:extLst>
                <a:ext uri="{FF2B5EF4-FFF2-40B4-BE49-F238E27FC236}">
                  <a16:creationId xmlns:a16="http://schemas.microsoft.com/office/drawing/2014/main" id="{8C05ABA7-890C-4573-99CA-8DE405134804}"/>
                </a:ext>
              </a:extLst>
            </p:cNvPr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noFill/>
            <a:ln w="9525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133" name="Google Shape;4270;p64">
            <a:extLst>
              <a:ext uri="{FF2B5EF4-FFF2-40B4-BE49-F238E27FC236}">
                <a16:creationId xmlns:a16="http://schemas.microsoft.com/office/drawing/2014/main" id="{C51789F3-7AE9-F57C-0CCE-DCC08372D080}"/>
              </a:ext>
            </a:extLst>
          </p:cNvPr>
          <p:cNvGrpSpPr/>
          <p:nvPr/>
        </p:nvGrpSpPr>
        <p:grpSpPr>
          <a:xfrm>
            <a:off x="9885231" y="4251769"/>
            <a:ext cx="252652" cy="442843"/>
            <a:chOff x="8370831" y="3202002"/>
            <a:chExt cx="218129" cy="382376"/>
          </a:xfrm>
        </p:grpSpPr>
        <p:sp>
          <p:nvSpPr>
            <p:cNvPr id="8134" name="Google Shape;4271;p64">
              <a:extLst>
                <a:ext uri="{FF2B5EF4-FFF2-40B4-BE49-F238E27FC236}">
                  <a16:creationId xmlns:a16="http://schemas.microsoft.com/office/drawing/2014/main" id="{33E49B2B-3C51-97BA-579C-22F77F6CD1E0}"/>
                </a:ext>
              </a:extLst>
            </p:cNvPr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35" name="Google Shape;4272;p64">
              <a:extLst>
                <a:ext uri="{FF2B5EF4-FFF2-40B4-BE49-F238E27FC236}">
                  <a16:creationId xmlns:a16="http://schemas.microsoft.com/office/drawing/2014/main" id="{E2A3AFF9-5A67-9852-F212-3529A97DAC02}"/>
                </a:ext>
              </a:extLst>
            </p:cNvPr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136" name="Google Shape;4273;p64">
            <a:extLst>
              <a:ext uri="{FF2B5EF4-FFF2-40B4-BE49-F238E27FC236}">
                <a16:creationId xmlns:a16="http://schemas.microsoft.com/office/drawing/2014/main" id="{9211DBC4-56CC-F552-15B6-A4B4F80BF741}"/>
              </a:ext>
            </a:extLst>
          </p:cNvPr>
          <p:cNvGrpSpPr/>
          <p:nvPr/>
        </p:nvGrpSpPr>
        <p:grpSpPr>
          <a:xfrm>
            <a:off x="10849750" y="4799945"/>
            <a:ext cx="412572" cy="356000"/>
            <a:chOff x="6742064" y="3750480"/>
            <a:chExt cx="399315" cy="344560"/>
          </a:xfrm>
        </p:grpSpPr>
        <p:sp>
          <p:nvSpPr>
            <p:cNvPr id="8137" name="Google Shape;4274;p64">
              <a:extLst>
                <a:ext uri="{FF2B5EF4-FFF2-40B4-BE49-F238E27FC236}">
                  <a16:creationId xmlns:a16="http://schemas.microsoft.com/office/drawing/2014/main" id="{BC4F9618-3620-51F0-C632-CAE6460E2BA5}"/>
                </a:ext>
              </a:extLst>
            </p:cNvPr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38" name="Google Shape;4275;p64">
              <a:extLst>
                <a:ext uri="{FF2B5EF4-FFF2-40B4-BE49-F238E27FC236}">
                  <a16:creationId xmlns:a16="http://schemas.microsoft.com/office/drawing/2014/main" id="{14FF52BA-7E3D-406F-1F6E-FF2983AF11C2}"/>
                </a:ext>
              </a:extLst>
            </p:cNvPr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139" name="Google Shape;4276;p64">
            <a:extLst>
              <a:ext uri="{FF2B5EF4-FFF2-40B4-BE49-F238E27FC236}">
                <a16:creationId xmlns:a16="http://schemas.microsoft.com/office/drawing/2014/main" id="{B13DE74B-8AC9-AFC6-07F2-E360D0E8FBCC}"/>
              </a:ext>
            </a:extLst>
          </p:cNvPr>
          <p:cNvGrpSpPr/>
          <p:nvPr/>
        </p:nvGrpSpPr>
        <p:grpSpPr>
          <a:xfrm>
            <a:off x="10235109" y="5268008"/>
            <a:ext cx="240583" cy="375477"/>
            <a:chOff x="7248525" y="3739696"/>
            <a:chExt cx="230531" cy="359790"/>
          </a:xfrm>
        </p:grpSpPr>
        <p:sp>
          <p:nvSpPr>
            <p:cNvPr id="8140" name="Google Shape;4277;p64">
              <a:extLst>
                <a:ext uri="{FF2B5EF4-FFF2-40B4-BE49-F238E27FC236}">
                  <a16:creationId xmlns:a16="http://schemas.microsoft.com/office/drawing/2014/main" id="{CC40D63D-5CED-D6FB-3283-B603506AF711}"/>
                </a:ext>
              </a:extLst>
            </p:cNvPr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41" name="Google Shape;4278;p64">
              <a:extLst>
                <a:ext uri="{FF2B5EF4-FFF2-40B4-BE49-F238E27FC236}">
                  <a16:creationId xmlns:a16="http://schemas.microsoft.com/office/drawing/2014/main" id="{EC0073BF-BBDF-554E-D9C8-F10815433337}"/>
                </a:ext>
              </a:extLst>
            </p:cNvPr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142" name="Google Shape;4279;p64">
            <a:extLst>
              <a:ext uri="{FF2B5EF4-FFF2-40B4-BE49-F238E27FC236}">
                <a16:creationId xmlns:a16="http://schemas.microsoft.com/office/drawing/2014/main" id="{B5DEADEB-25D7-C386-0B23-EA2DA85CA711}"/>
              </a:ext>
            </a:extLst>
          </p:cNvPr>
          <p:cNvGrpSpPr/>
          <p:nvPr/>
        </p:nvGrpSpPr>
        <p:grpSpPr>
          <a:xfrm>
            <a:off x="10563001" y="4792308"/>
            <a:ext cx="217195" cy="371613"/>
            <a:chOff x="7601242" y="3729267"/>
            <a:chExt cx="222566" cy="380803"/>
          </a:xfrm>
        </p:grpSpPr>
        <p:sp>
          <p:nvSpPr>
            <p:cNvPr id="8143" name="Google Shape;4280;p64">
              <a:extLst>
                <a:ext uri="{FF2B5EF4-FFF2-40B4-BE49-F238E27FC236}">
                  <a16:creationId xmlns:a16="http://schemas.microsoft.com/office/drawing/2014/main" id="{14A7432A-09A2-BCAF-9C05-3C41BDBBA4FF}"/>
                </a:ext>
              </a:extLst>
            </p:cNvPr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44" name="Google Shape;4281;p64">
              <a:extLst>
                <a:ext uri="{FF2B5EF4-FFF2-40B4-BE49-F238E27FC236}">
                  <a16:creationId xmlns:a16="http://schemas.microsoft.com/office/drawing/2014/main" id="{980A1EDF-CF5A-B5B1-8927-D0FE021970C6}"/>
                </a:ext>
              </a:extLst>
            </p:cNvPr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D7DFE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sp>
        <p:nvSpPr>
          <p:cNvPr id="8145" name="Google Shape;4282;p64">
            <a:extLst>
              <a:ext uri="{FF2B5EF4-FFF2-40B4-BE49-F238E27FC236}">
                <a16:creationId xmlns:a16="http://schemas.microsoft.com/office/drawing/2014/main" id="{C43F8A79-03E9-1049-1D2B-C0A10B4BDEC7}"/>
              </a:ext>
            </a:extLst>
          </p:cNvPr>
          <p:cNvSpPr/>
          <p:nvPr/>
        </p:nvSpPr>
        <p:spPr>
          <a:xfrm>
            <a:off x="10517703" y="4275450"/>
            <a:ext cx="307792" cy="395433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noFill/>
          <a:ln w="9525" cap="flat" cmpd="sng">
            <a:solidFill>
              <a:srgbClr val="D7DF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8146" name="Google Shape;4283;p64">
            <a:extLst>
              <a:ext uri="{FF2B5EF4-FFF2-40B4-BE49-F238E27FC236}">
                <a16:creationId xmlns:a16="http://schemas.microsoft.com/office/drawing/2014/main" id="{D04B0877-6092-8F0A-2F0E-B6B38311F01E}"/>
              </a:ext>
            </a:extLst>
          </p:cNvPr>
          <p:cNvGrpSpPr/>
          <p:nvPr/>
        </p:nvGrpSpPr>
        <p:grpSpPr>
          <a:xfrm>
            <a:off x="9882529" y="4793828"/>
            <a:ext cx="258057" cy="367987"/>
            <a:chOff x="8304647" y="3738687"/>
            <a:chExt cx="225076" cy="320956"/>
          </a:xfrm>
        </p:grpSpPr>
        <p:sp>
          <p:nvSpPr>
            <p:cNvPr id="8147" name="Google Shape;4284;p64">
              <a:extLst>
                <a:ext uri="{FF2B5EF4-FFF2-40B4-BE49-F238E27FC236}">
                  <a16:creationId xmlns:a16="http://schemas.microsoft.com/office/drawing/2014/main" id="{FC287A95-53E5-E075-C357-915E065D59BE}"/>
                </a:ext>
              </a:extLst>
            </p:cNvPr>
            <p:cNvSpPr/>
            <p:nvPr/>
          </p:nvSpPr>
          <p:spPr>
            <a:xfrm>
              <a:off x="8341164" y="3738692"/>
              <a:ext cx="2209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48" name="Google Shape;4285;p64">
              <a:extLst>
                <a:ext uri="{FF2B5EF4-FFF2-40B4-BE49-F238E27FC236}">
                  <a16:creationId xmlns:a16="http://schemas.microsoft.com/office/drawing/2014/main" id="{0EBF7D85-1879-D836-42DB-5D494FBC9537}"/>
                </a:ext>
              </a:extLst>
            </p:cNvPr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49" name="Google Shape;4286;p64">
              <a:extLst>
                <a:ext uri="{FF2B5EF4-FFF2-40B4-BE49-F238E27FC236}">
                  <a16:creationId xmlns:a16="http://schemas.microsoft.com/office/drawing/2014/main" id="{28218BA8-CCFE-DDC2-45B2-6DC75A890A7B}"/>
                </a:ext>
              </a:extLst>
            </p:cNvPr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150" name="Google Shape;4287;p64">
            <a:extLst>
              <a:ext uri="{FF2B5EF4-FFF2-40B4-BE49-F238E27FC236}">
                <a16:creationId xmlns:a16="http://schemas.microsoft.com/office/drawing/2014/main" id="{96A71E6E-ACF6-AA59-2020-9EC6E9D63327}"/>
              </a:ext>
            </a:extLst>
          </p:cNvPr>
          <p:cNvGrpSpPr/>
          <p:nvPr/>
        </p:nvGrpSpPr>
        <p:grpSpPr>
          <a:xfrm>
            <a:off x="10245852" y="4793828"/>
            <a:ext cx="237989" cy="367987"/>
            <a:chOff x="8615101" y="3738687"/>
            <a:chExt cx="207573" cy="320956"/>
          </a:xfrm>
        </p:grpSpPr>
        <p:sp>
          <p:nvSpPr>
            <p:cNvPr id="8151" name="Google Shape;4288;p64">
              <a:extLst>
                <a:ext uri="{FF2B5EF4-FFF2-40B4-BE49-F238E27FC236}">
                  <a16:creationId xmlns:a16="http://schemas.microsoft.com/office/drawing/2014/main" id="{545A9C93-2A0C-AEFB-FC5B-C713EA2376B5}"/>
                </a:ext>
              </a:extLst>
            </p:cNvPr>
            <p:cNvSpPr/>
            <p:nvPr/>
          </p:nvSpPr>
          <p:spPr>
            <a:xfrm>
              <a:off x="8651571" y="3738692"/>
              <a:ext cx="3896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52" name="Google Shape;4289;p64">
              <a:extLst>
                <a:ext uri="{FF2B5EF4-FFF2-40B4-BE49-F238E27FC236}">
                  <a16:creationId xmlns:a16="http://schemas.microsoft.com/office/drawing/2014/main" id="{423E9DDB-535F-2DBB-1CBC-77A613A5E094}"/>
                </a:ext>
              </a:extLst>
            </p:cNvPr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53" name="Google Shape;4290;p64">
              <a:extLst>
                <a:ext uri="{FF2B5EF4-FFF2-40B4-BE49-F238E27FC236}">
                  <a16:creationId xmlns:a16="http://schemas.microsoft.com/office/drawing/2014/main" id="{12B0DC66-4E48-C3BA-661C-0F14D04BEB54}"/>
                </a:ext>
              </a:extLst>
            </p:cNvPr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869FB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sp>
        <p:nvSpPr>
          <p:cNvPr id="8154" name="Google Shape;4291;p64">
            <a:extLst>
              <a:ext uri="{FF2B5EF4-FFF2-40B4-BE49-F238E27FC236}">
                <a16:creationId xmlns:a16="http://schemas.microsoft.com/office/drawing/2014/main" id="{DFF36A50-E39C-D408-4968-9D794C7025E4}"/>
              </a:ext>
            </a:extLst>
          </p:cNvPr>
          <p:cNvSpPr/>
          <p:nvPr/>
        </p:nvSpPr>
        <p:spPr>
          <a:xfrm>
            <a:off x="10907772" y="4247006"/>
            <a:ext cx="296529" cy="384925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8155" name="Google Shape;4292;p64">
            <a:extLst>
              <a:ext uri="{FF2B5EF4-FFF2-40B4-BE49-F238E27FC236}">
                <a16:creationId xmlns:a16="http://schemas.microsoft.com/office/drawing/2014/main" id="{DCAD0278-8BAF-A7A9-9067-1753EDD33EF1}"/>
              </a:ext>
            </a:extLst>
          </p:cNvPr>
          <p:cNvGrpSpPr/>
          <p:nvPr/>
        </p:nvGrpSpPr>
        <p:grpSpPr>
          <a:xfrm>
            <a:off x="10546561" y="5330710"/>
            <a:ext cx="250076" cy="250076"/>
            <a:chOff x="8565775" y="671075"/>
            <a:chExt cx="441000" cy="441000"/>
          </a:xfrm>
        </p:grpSpPr>
        <p:sp>
          <p:nvSpPr>
            <p:cNvPr id="8156" name="Google Shape;4293;p64">
              <a:extLst>
                <a:ext uri="{FF2B5EF4-FFF2-40B4-BE49-F238E27FC236}">
                  <a16:creationId xmlns:a16="http://schemas.microsoft.com/office/drawing/2014/main" id="{2F0179EE-816E-F184-0FF9-08AF832FA9EC}"/>
                </a:ext>
              </a:extLst>
            </p:cNvPr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57" name="Google Shape;4294;p64">
              <a:extLst>
                <a:ext uri="{FF2B5EF4-FFF2-40B4-BE49-F238E27FC236}">
                  <a16:creationId xmlns:a16="http://schemas.microsoft.com/office/drawing/2014/main" id="{0AA8ECEF-BD80-F2A8-8905-04E2DC0BA2EB}"/>
                </a:ext>
              </a:extLst>
            </p:cNvPr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noFill/>
            <a:ln w="19050" cap="flat" cmpd="sng">
              <a:solidFill>
                <a:srgbClr val="BAC8D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sp>
        <p:nvSpPr>
          <p:cNvPr id="8158" name="Google Shape;4295;p64">
            <a:extLst>
              <a:ext uri="{FF2B5EF4-FFF2-40B4-BE49-F238E27FC236}">
                <a16:creationId xmlns:a16="http://schemas.microsoft.com/office/drawing/2014/main" id="{DCEF7F63-EA89-BD74-AFF0-6AA9C15B89F1}"/>
              </a:ext>
            </a:extLst>
          </p:cNvPr>
          <p:cNvSpPr/>
          <p:nvPr/>
        </p:nvSpPr>
        <p:spPr>
          <a:xfrm>
            <a:off x="10926915" y="5325269"/>
            <a:ext cx="258244" cy="260955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8159" name="Google Shape;4296;p64">
            <a:extLst>
              <a:ext uri="{FF2B5EF4-FFF2-40B4-BE49-F238E27FC236}">
                <a16:creationId xmlns:a16="http://schemas.microsoft.com/office/drawing/2014/main" id="{9188816B-46FD-99C6-C37F-7F300C5DC29B}"/>
              </a:ext>
            </a:extLst>
          </p:cNvPr>
          <p:cNvSpPr/>
          <p:nvPr/>
        </p:nvSpPr>
        <p:spPr>
          <a:xfrm flipH="1">
            <a:off x="9892498" y="5280545"/>
            <a:ext cx="238119" cy="350407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noFill/>
          <a:ln w="9525" cap="flat" cmpd="sng">
            <a:solidFill>
              <a:srgbClr val="E3E9E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8160" name="Google Shape;4297;p64">
            <a:extLst>
              <a:ext uri="{FF2B5EF4-FFF2-40B4-BE49-F238E27FC236}">
                <a16:creationId xmlns:a16="http://schemas.microsoft.com/office/drawing/2014/main" id="{16A7F00D-2A3C-84B5-B1B4-68227DB769D5}"/>
              </a:ext>
            </a:extLst>
          </p:cNvPr>
          <p:cNvGrpSpPr/>
          <p:nvPr/>
        </p:nvGrpSpPr>
        <p:grpSpPr>
          <a:xfrm>
            <a:off x="8085857" y="4094077"/>
            <a:ext cx="783820" cy="690308"/>
            <a:chOff x="6000718" y="3070557"/>
            <a:chExt cx="587865" cy="517731"/>
          </a:xfrm>
        </p:grpSpPr>
        <p:sp>
          <p:nvSpPr>
            <p:cNvPr id="8161" name="Google Shape;4298;p64">
              <a:extLst>
                <a:ext uri="{FF2B5EF4-FFF2-40B4-BE49-F238E27FC236}">
                  <a16:creationId xmlns:a16="http://schemas.microsoft.com/office/drawing/2014/main" id="{F0C96F14-8AA0-AF8F-943D-22A3BFF0D9E4}"/>
                </a:ext>
              </a:extLst>
            </p:cNvPr>
            <p:cNvSpPr/>
            <p:nvPr/>
          </p:nvSpPr>
          <p:spPr>
            <a:xfrm>
              <a:off x="6161116" y="3104229"/>
              <a:ext cx="410235" cy="449911"/>
            </a:xfrm>
            <a:custGeom>
              <a:avLst/>
              <a:gdLst/>
              <a:ahLst/>
              <a:cxnLst/>
              <a:rect l="l" t="t" r="r" b="b"/>
              <a:pathLst>
                <a:path w="71098" h="78008" extrusionOk="0">
                  <a:moveTo>
                    <a:pt x="36108" y="3531"/>
                  </a:moveTo>
                  <a:lnTo>
                    <a:pt x="36835" y="4631"/>
                  </a:lnTo>
                  <a:cubicBezTo>
                    <a:pt x="36551" y="4826"/>
                    <a:pt x="36268" y="5039"/>
                    <a:pt x="35948" y="5217"/>
                  </a:cubicBezTo>
                  <a:cubicBezTo>
                    <a:pt x="35043" y="5749"/>
                    <a:pt x="34635" y="6459"/>
                    <a:pt x="35132" y="7488"/>
                  </a:cubicBezTo>
                  <a:cubicBezTo>
                    <a:pt x="35486" y="8208"/>
                    <a:pt x="35984" y="8561"/>
                    <a:pt x="36635" y="8561"/>
                  </a:cubicBezTo>
                  <a:cubicBezTo>
                    <a:pt x="36866" y="8561"/>
                    <a:pt x="37116" y="8517"/>
                    <a:pt x="37385" y="8428"/>
                  </a:cubicBezTo>
                  <a:cubicBezTo>
                    <a:pt x="37776" y="8304"/>
                    <a:pt x="38184" y="8198"/>
                    <a:pt x="38752" y="8056"/>
                  </a:cubicBezTo>
                  <a:lnTo>
                    <a:pt x="38752" y="8056"/>
                  </a:lnTo>
                  <a:cubicBezTo>
                    <a:pt x="38412" y="9075"/>
                    <a:pt x="37909" y="9331"/>
                    <a:pt x="37373" y="9331"/>
                  </a:cubicBezTo>
                  <a:cubicBezTo>
                    <a:pt x="36833" y="9331"/>
                    <a:pt x="36258" y="9072"/>
                    <a:pt x="35779" y="9072"/>
                  </a:cubicBezTo>
                  <a:cubicBezTo>
                    <a:pt x="35690" y="9072"/>
                    <a:pt x="35604" y="9081"/>
                    <a:pt x="35522" y="9102"/>
                  </a:cubicBezTo>
                  <a:lnTo>
                    <a:pt x="33162" y="11977"/>
                  </a:lnTo>
                  <a:lnTo>
                    <a:pt x="28585" y="11037"/>
                  </a:lnTo>
                  <a:lnTo>
                    <a:pt x="31832" y="10238"/>
                  </a:lnTo>
                  <a:cubicBezTo>
                    <a:pt x="32825" y="8162"/>
                    <a:pt x="33127" y="7062"/>
                    <a:pt x="32914" y="6228"/>
                  </a:cubicBezTo>
                  <a:lnTo>
                    <a:pt x="36108" y="3531"/>
                  </a:lnTo>
                  <a:close/>
                  <a:moveTo>
                    <a:pt x="38947" y="36232"/>
                  </a:moveTo>
                  <a:lnTo>
                    <a:pt x="38947" y="36232"/>
                  </a:lnTo>
                  <a:cubicBezTo>
                    <a:pt x="40402" y="36374"/>
                    <a:pt x="40561" y="37705"/>
                    <a:pt x="41253" y="38486"/>
                  </a:cubicBezTo>
                  <a:cubicBezTo>
                    <a:pt x="40278" y="40029"/>
                    <a:pt x="42194" y="41076"/>
                    <a:pt x="41963" y="42673"/>
                  </a:cubicBezTo>
                  <a:cubicBezTo>
                    <a:pt x="41786" y="43862"/>
                    <a:pt x="42833" y="45264"/>
                    <a:pt x="43241" y="46648"/>
                  </a:cubicBezTo>
                  <a:cubicBezTo>
                    <a:pt x="43560" y="47641"/>
                    <a:pt x="43507" y="48741"/>
                    <a:pt x="43046" y="49699"/>
                  </a:cubicBezTo>
                  <a:lnTo>
                    <a:pt x="40473" y="45760"/>
                  </a:lnTo>
                  <a:cubicBezTo>
                    <a:pt x="41449" y="42726"/>
                    <a:pt x="39160" y="39728"/>
                    <a:pt x="38947" y="36232"/>
                  </a:cubicBezTo>
                  <a:close/>
                  <a:moveTo>
                    <a:pt x="36430" y="1"/>
                  </a:moveTo>
                  <a:cubicBezTo>
                    <a:pt x="35873" y="1"/>
                    <a:pt x="35316" y="87"/>
                    <a:pt x="34759" y="284"/>
                  </a:cubicBezTo>
                  <a:cubicBezTo>
                    <a:pt x="33659" y="657"/>
                    <a:pt x="32346" y="870"/>
                    <a:pt x="31885" y="2005"/>
                  </a:cubicBezTo>
                  <a:cubicBezTo>
                    <a:pt x="31264" y="3567"/>
                    <a:pt x="29809" y="3549"/>
                    <a:pt x="28656" y="3992"/>
                  </a:cubicBezTo>
                  <a:cubicBezTo>
                    <a:pt x="26331" y="4826"/>
                    <a:pt x="26012" y="5465"/>
                    <a:pt x="27006" y="7683"/>
                  </a:cubicBezTo>
                  <a:lnTo>
                    <a:pt x="29791" y="7736"/>
                  </a:lnTo>
                  <a:lnTo>
                    <a:pt x="29046" y="10327"/>
                  </a:lnTo>
                  <a:lnTo>
                    <a:pt x="28425" y="7736"/>
                  </a:lnTo>
                  <a:lnTo>
                    <a:pt x="26633" y="11143"/>
                  </a:lnTo>
                  <a:cubicBezTo>
                    <a:pt x="25746" y="11374"/>
                    <a:pt x="24734" y="11391"/>
                    <a:pt x="24113" y="11870"/>
                  </a:cubicBezTo>
                  <a:cubicBezTo>
                    <a:pt x="22960" y="12775"/>
                    <a:pt x="21328" y="12509"/>
                    <a:pt x="20352" y="13680"/>
                  </a:cubicBezTo>
                  <a:lnTo>
                    <a:pt x="19695" y="12900"/>
                  </a:lnTo>
                  <a:lnTo>
                    <a:pt x="18808" y="14106"/>
                  </a:lnTo>
                  <a:cubicBezTo>
                    <a:pt x="18523" y="13971"/>
                    <a:pt x="18518" y="13452"/>
                    <a:pt x="18160" y="13452"/>
                  </a:cubicBezTo>
                  <a:cubicBezTo>
                    <a:pt x="18049" y="13452"/>
                    <a:pt x="17905" y="13501"/>
                    <a:pt x="17708" y="13627"/>
                  </a:cubicBezTo>
                  <a:lnTo>
                    <a:pt x="18560" y="17193"/>
                  </a:lnTo>
                  <a:cubicBezTo>
                    <a:pt x="17972" y="17718"/>
                    <a:pt x="17385" y="18062"/>
                    <a:pt x="16823" y="18062"/>
                  </a:cubicBezTo>
                  <a:cubicBezTo>
                    <a:pt x="16435" y="18062"/>
                    <a:pt x="16059" y="17897"/>
                    <a:pt x="15703" y="17513"/>
                  </a:cubicBezTo>
                  <a:cubicBezTo>
                    <a:pt x="14869" y="16626"/>
                    <a:pt x="13929" y="16750"/>
                    <a:pt x="13112" y="16643"/>
                  </a:cubicBezTo>
                  <a:lnTo>
                    <a:pt x="11196" y="21381"/>
                  </a:lnTo>
                  <a:cubicBezTo>
                    <a:pt x="11922" y="22616"/>
                    <a:pt x="12753" y="22986"/>
                    <a:pt x="13632" y="22986"/>
                  </a:cubicBezTo>
                  <a:cubicBezTo>
                    <a:pt x="14835" y="22986"/>
                    <a:pt x="16130" y="22292"/>
                    <a:pt x="17371" y="22179"/>
                  </a:cubicBezTo>
                  <a:lnTo>
                    <a:pt x="17868" y="20618"/>
                  </a:lnTo>
                  <a:cubicBezTo>
                    <a:pt x="19961" y="20600"/>
                    <a:pt x="19961" y="20600"/>
                    <a:pt x="21594" y="18879"/>
                  </a:cubicBezTo>
                  <a:lnTo>
                    <a:pt x="22587" y="19784"/>
                  </a:lnTo>
                  <a:lnTo>
                    <a:pt x="24646" y="19181"/>
                  </a:lnTo>
                  <a:lnTo>
                    <a:pt x="28762" y="24788"/>
                  </a:lnTo>
                  <a:lnTo>
                    <a:pt x="24930" y="23971"/>
                  </a:lnTo>
                  <a:lnTo>
                    <a:pt x="24930" y="23971"/>
                  </a:lnTo>
                  <a:lnTo>
                    <a:pt x="26544" y="25746"/>
                  </a:lnTo>
                  <a:cubicBezTo>
                    <a:pt x="28177" y="25604"/>
                    <a:pt x="29507" y="24930"/>
                    <a:pt x="30182" y="23209"/>
                  </a:cubicBezTo>
                  <a:cubicBezTo>
                    <a:pt x="29738" y="22747"/>
                    <a:pt x="29365" y="22321"/>
                    <a:pt x="28957" y="21949"/>
                  </a:cubicBezTo>
                  <a:cubicBezTo>
                    <a:pt x="28017" y="21150"/>
                    <a:pt x="27165" y="20352"/>
                    <a:pt x="27502" y="18400"/>
                  </a:cubicBezTo>
                  <a:lnTo>
                    <a:pt x="27502" y="18400"/>
                  </a:lnTo>
                  <a:cubicBezTo>
                    <a:pt x="28336" y="19678"/>
                    <a:pt x="28709" y="20902"/>
                    <a:pt x="29472" y="21239"/>
                  </a:cubicBezTo>
                  <a:cubicBezTo>
                    <a:pt x="30678" y="21771"/>
                    <a:pt x="30785" y="22641"/>
                    <a:pt x="30927" y="23617"/>
                  </a:cubicBezTo>
                  <a:cubicBezTo>
                    <a:pt x="31016" y="24255"/>
                    <a:pt x="30874" y="24965"/>
                    <a:pt x="31087" y="25551"/>
                  </a:cubicBezTo>
                  <a:cubicBezTo>
                    <a:pt x="31282" y="26083"/>
                    <a:pt x="31832" y="26473"/>
                    <a:pt x="32187" y="26952"/>
                  </a:cubicBezTo>
                  <a:cubicBezTo>
                    <a:pt x="32275" y="27077"/>
                    <a:pt x="32329" y="27236"/>
                    <a:pt x="32329" y="27396"/>
                  </a:cubicBezTo>
                  <a:lnTo>
                    <a:pt x="34369" y="26225"/>
                  </a:lnTo>
                  <a:cubicBezTo>
                    <a:pt x="33860" y="25322"/>
                    <a:pt x="33670" y="24632"/>
                    <a:pt x="34867" y="24632"/>
                  </a:cubicBezTo>
                  <a:cubicBezTo>
                    <a:pt x="34964" y="24632"/>
                    <a:pt x="35070" y="24636"/>
                    <a:pt x="35185" y="24646"/>
                  </a:cubicBezTo>
                  <a:cubicBezTo>
                    <a:pt x="35416" y="25462"/>
                    <a:pt x="35718" y="26189"/>
                    <a:pt x="35753" y="26917"/>
                  </a:cubicBezTo>
                  <a:cubicBezTo>
                    <a:pt x="35859" y="28390"/>
                    <a:pt x="37013" y="29011"/>
                    <a:pt x="38024" y="29224"/>
                  </a:cubicBezTo>
                  <a:cubicBezTo>
                    <a:pt x="38126" y="29247"/>
                    <a:pt x="38227" y="29254"/>
                    <a:pt x="38330" y="29254"/>
                  </a:cubicBezTo>
                  <a:cubicBezTo>
                    <a:pt x="38476" y="29254"/>
                    <a:pt x="38623" y="29240"/>
                    <a:pt x="38773" y="29240"/>
                  </a:cubicBezTo>
                  <a:cubicBezTo>
                    <a:pt x="39073" y="29240"/>
                    <a:pt x="39384" y="29296"/>
                    <a:pt x="39710" y="29632"/>
                  </a:cubicBezTo>
                  <a:cubicBezTo>
                    <a:pt x="39812" y="29734"/>
                    <a:pt x="39986" y="29769"/>
                    <a:pt x="40202" y="29769"/>
                  </a:cubicBezTo>
                  <a:cubicBezTo>
                    <a:pt x="40620" y="29769"/>
                    <a:pt x="41193" y="29637"/>
                    <a:pt x="41697" y="29614"/>
                  </a:cubicBezTo>
                  <a:lnTo>
                    <a:pt x="41697" y="29614"/>
                  </a:lnTo>
                  <a:cubicBezTo>
                    <a:pt x="41182" y="31175"/>
                    <a:pt x="41608" y="32825"/>
                    <a:pt x="39657" y="33517"/>
                  </a:cubicBezTo>
                  <a:cubicBezTo>
                    <a:pt x="37368" y="32683"/>
                    <a:pt x="34369" y="33198"/>
                    <a:pt x="32488" y="30608"/>
                  </a:cubicBezTo>
                  <a:cubicBezTo>
                    <a:pt x="32240" y="30253"/>
                    <a:pt x="31388" y="30306"/>
                    <a:pt x="30820" y="30217"/>
                  </a:cubicBezTo>
                  <a:cubicBezTo>
                    <a:pt x="30607" y="30217"/>
                    <a:pt x="30395" y="30270"/>
                    <a:pt x="30182" y="30324"/>
                  </a:cubicBezTo>
                  <a:lnTo>
                    <a:pt x="29507" y="32151"/>
                  </a:lnTo>
                  <a:cubicBezTo>
                    <a:pt x="27875" y="31246"/>
                    <a:pt x="26686" y="29969"/>
                    <a:pt x="25373" y="29259"/>
                  </a:cubicBezTo>
                  <a:cubicBezTo>
                    <a:pt x="23918" y="28496"/>
                    <a:pt x="23794" y="27431"/>
                    <a:pt x="23794" y="26456"/>
                  </a:cubicBezTo>
                  <a:cubicBezTo>
                    <a:pt x="23808" y="24745"/>
                    <a:pt x="23906" y="24354"/>
                    <a:pt x="23055" y="24354"/>
                  </a:cubicBezTo>
                  <a:cubicBezTo>
                    <a:pt x="22802" y="24354"/>
                    <a:pt x="22466" y="24388"/>
                    <a:pt x="22020" y="24433"/>
                  </a:cubicBezTo>
                  <a:cubicBezTo>
                    <a:pt x="21712" y="24458"/>
                    <a:pt x="21377" y="24558"/>
                    <a:pt x="21074" y="24558"/>
                  </a:cubicBezTo>
                  <a:cubicBezTo>
                    <a:pt x="20958" y="24558"/>
                    <a:pt x="20846" y="24543"/>
                    <a:pt x="20742" y="24504"/>
                  </a:cubicBezTo>
                  <a:cubicBezTo>
                    <a:pt x="20157" y="24291"/>
                    <a:pt x="19678" y="23670"/>
                    <a:pt x="19092" y="23546"/>
                  </a:cubicBezTo>
                  <a:cubicBezTo>
                    <a:pt x="19019" y="23530"/>
                    <a:pt x="18944" y="23524"/>
                    <a:pt x="18868" y="23524"/>
                  </a:cubicBezTo>
                  <a:cubicBezTo>
                    <a:pt x="18388" y="23524"/>
                    <a:pt x="17849" y="23788"/>
                    <a:pt x="17363" y="23788"/>
                  </a:cubicBezTo>
                  <a:cubicBezTo>
                    <a:pt x="17305" y="23788"/>
                    <a:pt x="17249" y="23784"/>
                    <a:pt x="17193" y="23776"/>
                  </a:cubicBezTo>
                  <a:cubicBezTo>
                    <a:pt x="17025" y="23751"/>
                    <a:pt x="16855" y="23741"/>
                    <a:pt x="16686" y="23741"/>
                  </a:cubicBezTo>
                  <a:cubicBezTo>
                    <a:pt x="15885" y="23741"/>
                    <a:pt x="15077" y="23971"/>
                    <a:pt x="14280" y="23971"/>
                  </a:cubicBezTo>
                  <a:cubicBezTo>
                    <a:pt x="13809" y="23971"/>
                    <a:pt x="13342" y="23890"/>
                    <a:pt x="12882" y="23634"/>
                  </a:cubicBezTo>
                  <a:cubicBezTo>
                    <a:pt x="12688" y="23891"/>
                    <a:pt x="12389" y="23939"/>
                    <a:pt x="12067" y="23939"/>
                  </a:cubicBezTo>
                  <a:cubicBezTo>
                    <a:pt x="11878" y="23939"/>
                    <a:pt x="11682" y="23923"/>
                    <a:pt x="11494" y="23923"/>
                  </a:cubicBezTo>
                  <a:cubicBezTo>
                    <a:pt x="11005" y="23923"/>
                    <a:pt x="10573" y="24032"/>
                    <a:pt x="10486" y="24823"/>
                  </a:cubicBezTo>
                  <a:cubicBezTo>
                    <a:pt x="8943" y="25125"/>
                    <a:pt x="8925" y="26935"/>
                    <a:pt x="7594" y="27644"/>
                  </a:cubicBezTo>
                  <a:cubicBezTo>
                    <a:pt x="6636" y="28159"/>
                    <a:pt x="5270" y="28461"/>
                    <a:pt x="4720" y="29365"/>
                  </a:cubicBezTo>
                  <a:cubicBezTo>
                    <a:pt x="3992" y="30554"/>
                    <a:pt x="2733" y="30874"/>
                    <a:pt x="1899" y="31779"/>
                  </a:cubicBezTo>
                  <a:cubicBezTo>
                    <a:pt x="1420" y="32311"/>
                    <a:pt x="1100" y="33021"/>
                    <a:pt x="692" y="33695"/>
                  </a:cubicBezTo>
                  <a:lnTo>
                    <a:pt x="2058" y="34529"/>
                  </a:lnTo>
                  <a:lnTo>
                    <a:pt x="0" y="40331"/>
                  </a:lnTo>
                  <a:cubicBezTo>
                    <a:pt x="568" y="41839"/>
                    <a:pt x="1828" y="42460"/>
                    <a:pt x="1579" y="43844"/>
                  </a:cubicBezTo>
                  <a:cubicBezTo>
                    <a:pt x="1526" y="44093"/>
                    <a:pt x="4542" y="47659"/>
                    <a:pt x="4720" y="47677"/>
                  </a:cubicBezTo>
                  <a:cubicBezTo>
                    <a:pt x="6407" y="47823"/>
                    <a:pt x="7973" y="48589"/>
                    <a:pt x="9698" y="48589"/>
                  </a:cubicBezTo>
                  <a:cubicBezTo>
                    <a:pt x="10059" y="48589"/>
                    <a:pt x="10428" y="48555"/>
                    <a:pt x="10806" y="48475"/>
                  </a:cubicBezTo>
                  <a:cubicBezTo>
                    <a:pt x="10987" y="48438"/>
                    <a:pt x="11194" y="48420"/>
                    <a:pt x="11413" y="48420"/>
                  </a:cubicBezTo>
                  <a:cubicBezTo>
                    <a:pt x="12352" y="48420"/>
                    <a:pt x="13516" y="48748"/>
                    <a:pt x="13875" y="49309"/>
                  </a:cubicBezTo>
                  <a:cubicBezTo>
                    <a:pt x="14692" y="50587"/>
                    <a:pt x="15916" y="50622"/>
                    <a:pt x="17140" y="51048"/>
                  </a:cubicBezTo>
                  <a:lnTo>
                    <a:pt x="16076" y="56140"/>
                  </a:lnTo>
                  <a:cubicBezTo>
                    <a:pt x="17477" y="57542"/>
                    <a:pt x="16874" y="59405"/>
                    <a:pt x="17513" y="60896"/>
                  </a:cubicBezTo>
                  <a:cubicBezTo>
                    <a:pt x="17939" y="61907"/>
                    <a:pt x="17566" y="62439"/>
                    <a:pt x="17105" y="63291"/>
                  </a:cubicBezTo>
                  <a:cubicBezTo>
                    <a:pt x="16484" y="64409"/>
                    <a:pt x="14922" y="65544"/>
                    <a:pt x="15526" y="66751"/>
                  </a:cubicBezTo>
                  <a:cubicBezTo>
                    <a:pt x="16359" y="68454"/>
                    <a:pt x="16218" y="70264"/>
                    <a:pt x="16218" y="71879"/>
                  </a:cubicBezTo>
                  <a:cubicBezTo>
                    <a:pt x="16218" y="73795"/>
                    <a:pt x="17726" y="75427"/>
                    <a:pt x="16697" y="77361"/>
                  </a:cubicBezTo>
                  <a:cubicBezTo>
                    <a:pt x="17566" y="77539"/>
                    <a:pt x="18134" y="77610"/>
                    <a:pt x="18684" y="77787"/>
                  </a:cubicBezTo>
                  <a:cubicBezTo>
                    <a:pt x="19160" y="77941"/>
                    <a:pt x="19615" y="78007"/>
                    <a:pt x="20054" y="78007"/>
                  </a:cubicBezTo>
                  <a:cubicBezTo>
                    <a:pt x="21942" y="78007"/>
                    <a:pt x="23543" y="76798"/>
                    <a:pt x="25284" y="76208"/>
                  </a:cubicBezTo>
                  <a:cubicBezTo>
                    <a:pt x="25497" y="74416"/>
                    <a:pt x="27183" y="74310"/>
                    <a:pt x="28336" y="73671"/>
                  </a:cubicBezTo>
                  <a:cubicBezTo>
                    <a:pt x="29472" y="73032"/>
                    <a:pt x="29064" y="71826"/>
                    <a:pt x="29436" y="71240"/>
                  </a:cubicBezTo>
                  <a:cubicBezTo>
                    <a:pt x="30359" y="70814"/>
                    <a:pt x="31051" y="70495"/>
                    <a:pt x="31761" y="70175"/>
                  </a:cubicBezTo>
                  <a:cubicBezTo>
                    <a:pt x="32701" y="69750"/>
                    <a:pt x="34032" y="69998"/>
                    <a:pt x="34351" y="68472"/>
                  </a:cubicBezTo>
                  <a:cubicBezTo>
                    <a:pt x="34564" y="67407"/>
                    <a:pt x="35593" y="66680"/>
                    <a:pt x="35682" y="65456"/>
                  </a:cubicBezTo>
                  <a:cubicBezTo>
                    <a:pt x="35789" y="64196"/>
                    <a:pt x="36179" y="62972"/>
                    <a:pt x="36427" y="61783"/>
                  </a:cubicBezTo>
                  <a:cubicBezTo>
                    <a:pt x="38255" y="60576"/>
                    <a:pt x="39869" y="58979"/>
                    <a:pt x="41786" y="58376"/>
                  </a:cubicBezTo>
                  <a:cubicBezTo>
                    <a:pt x="44997" y="57365"/>
                    <a:pt x="46843" y="55306"/>
                    <a:pt x="48156" y="52432"/>
                  </a:cubicBezTo>
                  <a:cubicBezTo>
                    <a:pt x="47847" y="52304"/>
                    <a:pt x="47534" y="52259"/>
                    <a:pt x="47221" y="52259"/>
                  </a:cubicBezTo>
                  <a:cubicBezTo>
                    <a:pt x="46487" y="52259"/>
                    <a:pt x="45750" y="52505"/>
                    <a:pt x="45050" y="52505"/>
                  </a:cubicBezTo>
                  <a:cubicBezTo>
                    <a:pt x="44519" y="52505"/>
                    <a:pt x="44011" y="52363"/>
                    <a:pt x="43542" y="51864"/>
                  </a:cubicBezTo>
                  <a:cubicBezTo>
                    <a:pt x="44838" y="50108"/>
                    <a:pt x="44909" y="50037"/>
                    <a:pt x="46293" y="49859"/>
                  </a:cubicBezTo>
                  <a:cubicBezTo>
                    <a:pt x="49646" y="49451"/>
                    <a:pt x="52822" y="48599"/>
                    <a:pt x="55395" y="46222"/>
                  </a:cubicBezTo>
                  <a:cubicBezTo>
                    <a:pt x="55484" y="45760"/>
                    <a:pt x="55697" y="45281"/>
                    <a:pt x="55643" y="44838"/>
                  </a:cubicBezTo>
                  <a:cubicBezTo>
                    <a:pt x="55519" y="44022"/>
                    <a:pt x="55359" y="43205"/>
                    <a:pt x="55164" y="42389"/>
                  </a:cubicBezTo>
                  <a:lnTo>
                    <a:pt x="54224" y="42886"/>
                  </a:lnTo>
                  <a:lnTo>
                    <a:pt x="53887" y="41254"/>
                  </a:lnTo>
                  <a:lnTo>
                    <a:pt x="53017" y="42655"/>
                  </a:lnTo>
                  <a:cubicBezTo>
                    <a:pt x="51775" y="40810"/>
                    <a:pt x="49327" y="39763"/>
                    <a:pt x="49735" y="36906"/>
                  </a:cubicBezTo>
                  <a:lnTo>
                    <a:pt x="49735" y="36906"/>
                  </a:lnTo>
                  <a:cubicBezTo>
                    <a:pt x="51738" y="37643"/>
                    <a:pt x="51709" y="40841"/>
                    <a:pt x="54224" y="40841"/>
                  </a:cubicBezTo>
                  <a:cubicBezTo>
                    <a:pt x="54315" y="40841"/>
                    <a:pt x="54410" y="40836"/>
                    <a:pt x="54508" y="40828"/>
                  </a:cubicBezTo>
                  <a:cubicBezTo>
                    <a:pt x="55927" y="42620"/>
                    <a:pt x="57968" y="43134"/>
                    <a:pt x="59831" y="43365"/>
                  </a:cubicBezTo>
                  <a:lnTo>
                    <a:pt x="61091" y="47286"/>
                  </a:lnTo>
                  <a:lnTo>
                    <a:pt x="62244" y="46683"/>
                  </a:lnTo>
                  <a:lnTo>
                    <a:pt x="61215" y="57010"/>
                  </a:lnTo>
                  <a:cubicBezTo>
                    <a:pt x="61641" y="57382"/>
                    <a:pt x="62102" y="57613"/>
                    <a:pt x="62208" y="57950"/>
                  </a:cubicBezTo>
                  <a:cubicBezTo>
                    <a:pt x="62350" y="58411"/>
                    <a:pt x="62226" y="58944"/>
                    <a:pt x="62226" y="59547"/>
                  </a:cubicBezTo>
                  <a:cubicBezTo>
                    <a:pt x="64054" y="58323"/>
                    <a:pt x="61783" y="56531"/>
                    <a:pt x="63397" y="55164"/>
                  </a:cubicBezTo>
                  <a:cubicBezTo>
                    <a:pt x="64338" y="54348"/>
                    <a:pt x="63894" y="52503"/>
                    <a:pt x="65420" y="51421"/>
                  </a:cubicBezTo>
                  <a:cubicBezTo>
                    <a:pt x="66236" y="50835"/>
                    <a:pt x="66627" y="49575"/>
                    <a:pt x="67407" y="48670"/>
                  </a:cubicBezTo>
                  <a:cubicBezTo>
                    <a:pt x="71098" y="31370"/>
                    <a:pt x="63805" y="13556"/>
                    <a:pt x="49451" y="3265"/>
                  </a:cubicBezTo>
                  <a:lnTo>
                    <a:pt x="47836" y="4223"/>
                  </a:lnTo>
                  <a:lnTo>
                    <a:pt x="47286" y="3425"/>
                  </a:lnTo>
                  <a:lnTo>
                    <a:pt x="45068" y="5465"/>
                  </a:lnTo>
                  <a:lnTo>
                    <a:pt x="44802" y="2963"/>
                  </a:lnTo>
                  <a:cubicBezTo>
                    <a:pt x="44483" y="4383"/>
                    <a:pt x="44412" y="5554"/>
                    <a:pt x="43383" y="6193"/>
                  </a:cubicBezTo>
                  <a:lnTo>
                    <a:pt x="41094" y="4844"/>
                  </a:lnTo>
                  <a:lnTo>
                    <a:pt x="41253" y="4702"/>
                  </a:lnTo>
                  <a:lnTo>
                    <a:pt x="43436" y="4525"/>
                  </a:lnTo>
                  <a:cubicBezTo>
                    <a:pt x="43312" y="3975"/>
                    <a:pt x="43329" y="3673"/>
                    <a:pt x="43205" y="3567"/>
                  </a:cubicBezTo>
                  <a:cubicBezTo>
                    <a:pt x="41857" y="2502"/>
                    <a:pt x="40153" y="1934"/>
                    <a:pt x="38929" y="657"/>
                  </a:cubicBezTo>
                  <a:cubicBezTo>
                    <a:pt x="38787" y="497"/>
                    <a:pt x="38592" y="390"/>
                    <a:pt x="38379" y="319"/>
                  </a:cubicBezTo>
                  <a:cubicBezTo>
                    <a:pt x="37729" y="119"/>
                    <a:pt x="37080" y="1"/>
                    <a:pt x="364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62" name="Google Shape;4299;p64">
              <a:extLst>
                <a:ext uri="{FF2B5EF4-FFF2-40B4-BE49-F238E27FC236}">
                  <a16:creationId xmlns:a16="http://schemas.microsoft.com/office/drawing/2014/main" id="{B68E5685-04A4-1876-CE13-42D9C7CF74BC}"/>
                </a:ext>
              </a:extLst>
            </p:cNvPr>
            <p:cNvSpPr/>
            <p:nvPr/>
          </p:nvSpPr>
          <p:spPr>
            <a:xfrm>
              <a:off x="6032245" y="3317811"/>
              <a:ext cx="62149" cy="151155"/>
            </a:xfrm>
            <a:custGeom>
              <a:avLst/>
              <a:gdLst/>
              <a:ahLst/>
              <a:cxnLst/>
              <a:rect l="l" t="t" r="r" b="b"/>
              <a:pathLst>
                <a:path w="10771" h="26208" extrusionOk="0">
                  <a:moveTo>
                    <a:pt x="266" y="1"/>
                  </a:moveTo>
                  <a:lnTo>
                    <a:pt x="266" y="1"/>
                  </a:lnTo>
                  <a:cubicBezTo>
                    <a:pt x="0" y="9316"/>
                    <a:pt x="2679" y="18489"/>
                    <a:pt x="7914" y="26208"/>
                  </a:cubicBezTo>
                  <a:lnTo>
                    <a:pt x="9014" y="25995"/>
                  </a:lnTo>
                  <a:cubicBezTo>
                    <a:pt x="9954" y="24078"/>
                    <a:pt x="9617" y="22073"/>
                    <a:pt x="9475" y="20068"/>
                  </a:cubicBezTo>
                  <a:cubicBezTo>
                    <a:pt x="9422" y="19412"/>
                    <a:pt x="9120" y="18347"/>
                    <a:pt x="9386" y="18188"/>
                  </a:cubicBezTo>
                  <a:cubicBezTo>
                    <a:pt x="10753" y="17336"/>
                    <a:pt x="10274" y="15881"/>
                    <a:pt x="10770" y="14834"/>
                  </a:cubicBezTo>
                  <a:cubicBezTo>
                    <a:pt x="9777" y="13415"/>
                    <a:pt x="8890" y="12137"/>
                    <a:pt x="7328" y="11161"/>
                  </a:cubicBezTo>
                  <a:cubicBezTo>
                    <a:pt x="5270" y="9901"/>
                    <a:pt x="3194" y="8216"/>
                    <a:pt x="3247" y="5235"/>
                  </a:cubicBezTo>
                  <a:cubicBezTo>
                    <a:pt x="3265" y="4649"/>
                    <a:pt x="2999" y="3709"/>
                    <a:pt x="2591" y="3514"/>
                  </a:cubicBezTo>
                  <a:cubicBezTo>
                    <a:pt x="1295" y="2893"/>
                    <a:pt x="479" y="1562"/>
                    <a:pt x="408" y="604"/>
                  </a:cubicBezTo>
                  <a:cubicBezTo>
                    <a:pt x="373" y="391"/>
                    <a:pt x="337" y="196"/>
                    <a:pt x="26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63" name="Google Shape;4300;p64">
              <a:extLst>
                <a:ext uri="{FF2B5EF4-FFF2-40B4-BE49-F238E27FC236}">
                  <a16:creationId xmlns:a16="http://schemas.microsoft.com/office/drawing/2014/main" id="{A32675D6-2FF0-20AD-F4DB-CF5D92EDB9F1}"/>
                </a:ext>
              </a:extLst>
            </p:cNvPr>
            <p:cNvSpPr/>
            <p:nvPr/>
          </p:nvSpPr>
          <p:spPr>
            <a:xfrm>
              <a:off x="6189159" y="3073176"/>
              <a:ext cx="117131" cy="35868"/>
            </a:xfrm>
            <a:custGeom>
              <a:avLst/>
              <a:gdLst/>
              <a:ahLst/>
              <a:cxnLst/>
              <a:rect l="l" t="t" r="r" b="b"/>
              <a:pathLst>
                <a:path w="20300" h="6219" extrusionOk="0">
                  <a:moveTo>
                    <a:pt x="17629" y="0"/>
                  </a:moveTo>
                  <a:cubicBezTo>
                    <a:pt x="12187" y="0"/>
                    <a:pt x="6775" y="976"/>
                    <a:pt x="1651" y="2882"/>
                  </a:cubicBezTo>
                  <a:cubicBezTo>
                    <a:pt x="1207" y="3344"/>
                    <a:pt x="764" y="3823"/>
                    <a:pt x="302" y="4266"/>
                  </a:cubicBezTo>
                  <a:cubicBezTo>
                    <a:pt x="1" y="4568"/>
                    <a:pt x="231" y="5402"/>
                    <a:pt x="214" y="6218"/>
                  </a:cubicBezTo>
                  <a:cubicBezTo>
                    <a:pt x="1402" y="5473"/>
                    <a:pt x="2201" y="4834"/>
                    <a:pt x="3141" y="4408"/>
                  </a:cubicBezTo>
                  <a:cubicBezTo>
                    <a:pt x="5525" y="3347"/>
                    <a:pt x="8003" y="2632"/>
                    <a:pt x="10607" y="2632"/>
                  </a:cubicBezTo>
                  <a:cubicBezTo>
                    <a:pt x="11182" y="2632"/>
                    <a:pt x="11763" y="2666"/>
                    <a:pt x="12350" y="2740"/>
                  </a:cubicBezTo>
                  <a:cubicBezTo>
                    <a:pt x="12586" y="2362"/>
                    <a:pt x="12876" y="2257"/>
                    <a:pt x="13186" y="2257"/>
                  </a:cubicBezTo>
                  <a:cubicBezTo>
                    <a:pt x="13571" y="2257"/>
                    <a:pt x="13986" y="2419"/>
                    <a:pt x="14364" y="2419"/>
                  </a:cubicBezTo>
                  <a:cubicBezTo>
                    <a:pt x="14550" y="2419"/>
                    <a:pt x="14727" y="2379"/>
                    <a:pt x="14887" y="2261"/>
                  </a:cubicBezTo>
                  <a:cubicBezTo>
                    <a:pt x="16502" y="1072"/>
                    <a:pt x="18472" y="718"/>
                    <a:pt x="20299" y="79"/>
                  </a:cubicBezTo>
                  <a:cubicBezTo>
                    <a:pt x="19409" y="26"/>
                    <a:pt x="18519" y="0"/>
                    <a:pt x="176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64" name="Google Shape;4301;p64">
              <a:extLst>
                <a:ext uri="{FF2B5EF4-FFF2-40B4-BE49-F238E27FC236}">
                  <a16:creationId xmlns:a16="http://schemas.microsoft.com/office/drawing/2014/main" id="{FC4873D9-502D-1A46-60ED-2D1A0E087131}"/>
                </a:ext>
              </a:extLst>
            </p:cNvPr>
            <p:cNvSpPr/>
            <p:nvPr/>
          </p:nvSpPr>
          <p:spPr>
            <a:xfrm>
              <a:off x="6123036" y="3116815"/>
              <a:ext cx="22734" cy="17095"/>
            </a:xfrm>
            <a:custGeom>
              <a:avLst/>
              <a:gdLst/>
              <a:ahLst/>
              <a:cxnLst/>
              <a:rect l="l" t="t" r="r" b="b"/>
              <a:pathLst>
                <a:path w="3940" h="2964" extrusionOk="0">
                  <a:moveTo>
                    <a:pt x="3940" y="1"/>
                  </a:moveTo>
                  <a:lnTo>
                    <a:pt x="3940" y="1"/>
                  </a:lnTo>
                  <a:cubicBezTo>
                    <a:pt x="2573" y="923"/>
                    <a:pt x="1260" y="1899"/>
                    <a:pt x="1" y="2964"/>
                  </a:cubicBezTo>
                  <a:cubicBezTo>
                    <a:pt x="1651" y="2839"/>
                    <a:pt x="2964" y="2094"/>
                    <a:pt x="3656" y="568"/>
                  </a:cubicBezTo>
                  <a:cubicBezTo>
                    <a:pt x="3744" y="373"/>
                    <a:pt x="3833" y="196"/>
                    <a:pt x="39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65" name="Google Shape;4302;p64">
              <a:extLst>
                <a:ext uri="{FF2B5EF4-FFF2-40B4-BE49-F238E27FC236}">
                  <a16:creationId xmlns:a16="http://schemas.microsoft.com/office/drawing/2014/main" id="{BA8E9767-B189-C3C9-0284-6471EA6843F8}"/>
                </a:ext>
              </a:extLst>
            </p:cNvPr>
            <p:cNvSpPr/>
            <p:nvPr/>
          </p:nvSpPr>
          <p:spPr>
            <a:xfrm>
              <a:off x="6099493" y="3152223"/>
              <a:ext cx="3999" cy="4205"/>
            </a:xfrm>
            <a:custGeom>
              <a:avLst/>
              <a:gdLst/>
              <a:ahLst/>
              <a:cxnLst/>
              <a:rect l="l" t="t" r="r" b="b"/>
              <a:pathLst>
                <a:path w="693" h="729" extrusionOk="0">
                  <a:moveTo>
                    <a:pt x="693" y="1"/>
                  </a:moveTo>
                  <a:cubicBezTo>
                    <a:pt x="462" y="231"/>
                    <a:pt x="231" y="480"/>
                    <a:pt x="1" y="728"/>
                  </a:cubicBezTo>
                  <a:cubicBezTo>
                    <a:pt x="284" y="533"/>
                    <a:pt x="533" y="285"/>
                    <a:pt x="6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66" name="Google Shape;4303;p64">
              <a:extLst>
                <a:ext uri="{FF2B5EF4-FFF2-40B4-BE49-F238E27FC236}">
                  <a16:creationId xmlns:a16="http://schemas.microsoft.com/office/drawing/2014/main" id="{7BE5E1EB-E7AA-4AA9-A121-99CD64993CE7}"/>
                </a:ext>
              </a:extLst>
            </p:cNvPr>
            <p:cNvSpPr/>
            <p:nvPr/>
          </p:nvSpPr>
          <p:spPr>
            <a:xfrm>
              <a:off x="6350890" y="3500386"/>
              <a:ext cx="45156" cy="42581"/>
            </a:xfrm>
            <a:custGeom>
              <a:avLst/>
              <a:gdLst/>
              <a:ahLst/>
              <a:cxnLst/>
              <a:rect l="l" t="t" r="r" b="b"/>
              <a:pathLst>
                <a:path w="7826" h="7383" extrusionOk="0">
                  <a:moveTo>
                    <a:pt x="7648" y="1"/>
                  </a:moveTo>
                  <a:lnTo>
                    <a:pt x="7648" y="1"/>
                  </a:lnTo>
                  <a:cubicBezTo>
                    <a:pt x="6488" y="417"/>
                    <a:pt x="5728" y="1543"/>
                    <a:pt x="4541" y="1543"/>
                  </a:cubicBezTo>
                  <a:cubicBezTo>
                    <a:pt x="4311" y="1543"/>
                    <a:pt x="4065" y="1501"/>
                    <a:pt x="3797" y="1403"/>
                  </a:cubicBezTo>
                  <a:cubicBezTo>
                    <a:pt x="3766" y="1397"/>
                    <a:pt x="3735" y="1395"/>
                    <a:pt x="3704" y="1395"/>
                  </a:cubicBezTo>
                  <a:cubicBezTo>
                    <a:pt x="3523" y="1395"/>
                    <a:pt x="3348" y="1482"/>
                    <a:pt x="3212" y="1633"/>
                  </a:cubicBezTo>
                  <a:cubicBezTo>
                    <a:pt x="2520" y="3567"/>
                    <a:pt x="142" y="4490"/>
                    <a:pt x="0" y="7045"/>
                  </a:cubicBezTo>
                  <a:lnTo>
                    <a:pt x="1633" y="7382"/>
                  </a:lnTo>
                  <a:cubicBezTo>
                    <a:pt x="2662" y="6353"/>
                    <a:pt x="3655" y="5306"/>
                    <a:pt x="4844" y="4419"/>
                  </a:cubicBezTo>
                  <a:cubicBezTo>
                    <a:pt x="6211" y="3390"/>
                    <a:pt x="7825" y="2219"/>
                    <a:pt x="76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67" name="Google Shape;4304;p64">
              <a:extLst>
                <a:ext uri="{FF2B5EF4-FFF2-40B4-BE49-F238E27FC236}">
                  <a16:creationId xmlns:a16="http://schemas.microsoft.com/office/drawing/2014/main" id="{D0C4CB42-1095-F2E6-5AA4-52D19F3B4D75}"/>
                </a:ext>
              </a:extLst>
            </p:cNvPr>
            <p:cNvSpPr/>
            <p:nvPr/>
          </p:nvSpPr>
          <p:spPr>
            <a:xfrm>
              <a:off x="6263064" y="3138409"/>
              <a:ext cx="28469" cy="38688"/>
            </a:xfrm>
            <a:custGeom>
              <a:avLst/>
              <a:gdLst/>
              <a:ahLst/>
              <a:cxnLst/>
              <a:rect l="l" t="t" r="r" b="b"/>
              <a:pathLst>
                <a:path w="4934" h="6708" extrusionOk="0">
                  <a:moveTo>
                    <a:pt x="2094" y="0"/>
                  </a:moveTo>
                  <a:lnTo>
                    <a:pt x="2094" y="0"/>
                  </a:lnTo>
                  <a:cubicBezTo>
                    <a:pt x="0" y="1420"/>
                    <a:pt x="3052" y="2467"/>
                    <a:pt x="1988" y="4454"/>
                  </a:cubicBezTo>
                  <a:lnTo>
                    <a:pt x="817" y="4756"/>
                  </a:lnTo>
                  <a:cubicBezTo>
                    <a:pt x="1243" y="6707"/>
                    <a:pt x="2822" y="6228"/>
                    <a:pt x="3851" y="6619"/>
                  </a:cubicBezTo>
                  <a:lnTo>
                    <a:pt x="4933" y="5430"/>
                  </a:lnTo>
                  <a:cubicBezTo>
                    <a:pt x="4685" y="3993"/>
                    <a:pt x="2768" y="2875"/>
                    <a:pt x="4206" y="1207"/>
                  </a:cubicBezTo>
                  <a:cubicBezTo>
                    <a:pt x="3883" y="979"/>
                    <a:pt x="3846" y="221"/>
                    <a:pt x="3400" y="221"/>
                  </a:cubicBezTo>
                  <a:cubicBezTo>
                    <a:pt x="3257" y="221"/>
                    <a:pt x="3072" y="299"/>
                    <a:pt x="2822" y="497"/>
                  </a:cubicBezTo>
                  <a:cubicBezTo>
                    <a:pt x="2815" y="502"/>
                    <a:pt x="2807" y="505"/>
                    <a:pt x="2796" y="505"/>
                  </a:cubicBezTo>
                  <a:cubicBezTo>
                    <a:pt x="2667" y="505"/>
                    <a:pt x="2259" y="115"/>
                    <a:pt x="209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68" name="Google Shape;4305;p64">
              <a:extLst>
                <a:ext uri="{FF2B5EF4-FFF2-40B4-BE49-F238E27FC236}">
                  <a16:creationId xmlns:a16="http://schemas.microsoft.com/office/drawing/2014/main" id="{1C24CF90-3D03-C02C-5BEA-77EA8607708A}"/>
                </a:ext>
              </a:extLst>
            </p:cNvPr>
            <p:cNvSpPr/>
            <p:nvPr/>
          </p:nvSpPr>
          <p:spPr>
            <a:xfrm>
              <a:off x="6251907" y="3097504"/>
              <a:ext cx="26011" cy="13686"/>
            </a:xfrm>
            <a:custGeom>
              <a:avLst/>
              <a:gdLst/>
              <a:ahLst/>
              <a:cxnLst/>
              <a:rect l="l" t="t" r="r" b="b"/>
              <a:pathLst>
                <a:path w="4508" h="2373" extrusionOk="0">
                  <a:moveTo>
                    <a:pt x="1606" y="0"/>
                  </a:moveTo>
                  <a:cubicBezTo>
                    <a:pt x="1091" y="0"/>
                    <a:pt x="558" y="171"/>
                    <a:pt x="0" y="723"/>
                  </a:cubicBezTo>
                  <a:cubicBezTo>
                    <a:pt x="430" y="1555"/>
                    <a:pt x="972" y="2195"/>
                    <a:pt x="1679" y="2195"/>
                  </a:cubicBezTo>
                  <a:cubicBezTo>
                    <a:pt x="1906" y="2195"/>
                    <a:pt x="2151" y="2129"/>
                    <a:pt x="2414" y="1982"/>
                  </a:cubicBezTo>
                  <a:cubicBezTo>
                    <a:pt x="2981" y="1663"/>
                    <a:pt x="4507" y="2373"/>
                    <a:pt x="4064" y="456"/>
                  </a:cubicBezTo>
                  <a:lnTo>
                    <a:pt x="4064" y="456"/>
                  </a:lnTo>
                  <a:cubicBezTo>
                    <a:pt x="4046" y="457"/>
                    <a:pt x="4028" y="457"/>
                    <a:pt x="4010" y="457"/>
                  </a:cubicBezTo>
                  <a:cubicBezTo>
                    <a:pt x="3239" y="457"/>
                    <a:pt x="2447" y="0"/>
                    <a:pt x="16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69" name="Google Shape;4306;p64">
              <a:extLst>
                <a:ext uri="{FF2B5EF4-FFF2-40B4-BE49-F238E27FC236}">
                  <a16:creationId xmlns:a16="http://schemas.microsoft.com/office/drawing/2014/main" id="{84CFC946-8C55-EF89-1901-CD02705D5A2C}"/>
                </a:ext>
              </a:extLst>
            </p:cNvPr>
            <p:cNvSpPr/>
            <p:nvPr/>
          </p:nvSpPr>
          <p:spPr>
            <a:xfrm>
              <a:off x="6251498" y="3152108"/>
              <a:ext cx="21609" cy="17008"/>
            </a:xfrm>
            <a:custGeom>
              <a:avLst/>
              <a:gdLst/>
              <a:ahLst/>
              <a:cxnLst/>
              <a:rect l="l" t="t" r="r" b="b"/>
              <a:pathLst>
                <a:path w="3745" h="2949" extrusionOk="0">
                  <a:moveTo>
                    <a:pt x="1345" y="1"/>
                  </a:moveTo>
                  <a:cubicBezTo>
                    <a:pt x="985" y="1"/>
                    <a:pt x="770" y="142"/>
                    <a:pt x="568" y="429"/>
                  </a:cubicBezTo>
                  <a:cubicBezTo>
                    <a:pt x="213" y="943"/>
                    <a:pt x="249" y="1706"/>
                    <a:pt x="0" y="2948"/>
                  </a:cubicBezTo>
                  <a:lnTo>
                    <a:pt x="3744" y="695"/>
                  </a:lnTo>
                  <a:cubicBezTo>
                    <a:pt x="2515" y="235"/>
                    <a:pt x="1810" y="1"/>
                    <a:pt x="134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81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70" name="Google Shape;4307;p64">
              <a:extLst>
                <a:ext uri="{FF2B5EF4-FFF2-40B4-BE49-F238E27FC236}">
                  <a16:creationId xmlns:a16="http://schemas.microsoft.com/office/drawing/2014/main" id="{9A7AE934-DD98-8C7D-9B43-4B839DD136B7}"/>
                </a:ext>
              </a:extLst>
            </p:cNvPr>
            <p:cNvSpPr/>
            <p:nvPr/>
          </p:nvSpPr>
          <p:spPr>
            <a:xfrm>
              <a:off x="6000718" y="3070557"/>
              <a:ext cx="587865" cy="517731"/>
            </a:xfrm>
            <a:custGeom>
              <a:avLst/>
              <a:gdLst/>
              <a:ahLst/>
              <a:cxnLst/>
              <a:rect l="l" t="t" r="r" b="b"/>
              <a:pathLst>
                <a:path w="101883" h="89767" extrusionOk="0">
                  <a:moveTo>
                    <a:pt x="50267" y="444"/>
                  </a:moveTo>
                  <a:cubicBezTo>
                    <a:pt x="55590" y="462"/>
                    <a:pt x="60878" y="1384"/>
                    <a:pt x="65881" y="3177"/>
                  </a:cubicBezTo>
                  <a:cubicBezTo>
                    <a:pt x="89445" y="11622"/>
                    <a:pt x="101883" y="37138"/>
                    <a:pt x="93614" y="60186"/>
                  </a:cubicBezTo>
                  <a:cubicBezTo>
                    <a:pt x="87173" y="78160"/>
                    <a:pt x="70033" y="89321"/>
                    <a:pt x="51598" y="89321"/>
                  </a:cubicBezTo>
                  <a:cubicBezTo>
                    <a:pt x="46275" y="89321"/>
                    <a:pt x="41005" y="88381"/>
                    <a:pt x="36002" y="86588"/>
                  </a:cubicBezTo>
                  <a:cubicBezTo>
                    <a:pt x="12421" y="78143"/>
                    <a:pt x="0" y="52628"/>
                    <a:pt x="8251" y="29597"/>
                  </a:cubicBezTo>
                  <a:cubicBezTo>
                    <a:pt x="14692" y="11605"/>
                    <a:pt x="31850" y="444"/>
                    <a:pt x="50267" y="444"/>
                  </a:cubicBezTo>
                  <a:close/>
                  <a:moveTo>
                    <a:pt x="50267" y="0"/>
                  </a:moveTo>
                  <a:cubicBezTo>
                    <a:pt x="45672" y="0"/>
                    <a:pt x="41094" y="692"/>
                    <a:pt x="36711" y="2041"/>
                  </a:cubicBezTo>
                  <a:cubicBezTo>
                    <a:pt x="32364" y="3372"/>
                    <a:pt x="28265" y="5359"/>
                    <a:pt x="24504" y="7896"/>
                  </a:cubicBezTo>
                  <a:cubicBezTo>
                    <a:pt x="11640" y="16644"/>
                    <a:pt x="4347" y="31531"/>
                    <a:pt x="5341" y="47056"/>
                  </a:cubicBezTo>
                  <a:cubicBezTo>
                    <a:pt x="5714" y="52858"/>
                    <a:pt x="7222" y="58536"/>
                    <a:pt x="9777" y="63753"/>
                  </a:cubicBezTo>
                  <a:cubicBezTo>
                    <a:pt x="12350" y="69022"/>
                    <a:pt x="15898" y="73760"/>
                    <a:pt x="20245" y="77681"/>
                  </a:cubicBezTo>
                  <a:cubicBezTo>
                    <a:pt x="28930" y="85568"/>
                    <a:pt x="40125" y="89766"/>
                    <a:pt x="51538" y="89766"/>
                  </a:cubicBezTo>
                  <a:cubicBezTo>
                    <a:pt x="56096" y="89766"/>
                    <a:pt x="60690" y="89097"/>
                    <a:pt x="65172" y="87724"/>
                  </a:cubicBezTo>
                  <a:cubicBezTo>
                    <a:pt x="69501" y="86376"/>
                    <a:pt x="73618" y="84406"/>
                    <a:pt x="77361" y="81851"/>
                  </a:cubicBezTo>
                  <a:cubicBezTo>
                    <a:pt x="90225" y="73121"/>
                    <a:pt x="97518" y="58234"/>
                    <a:pt x="96524" y="42709"/>
                  </a:cubicBezTo>
                  <a:cubicBezTo>
                    <a:pt x="96152" y="36907"/>
                    <a:pt x="94643" y="31229"/>
                    <a:pt x="92088" y="26012"/>
                  </a:cubicBezTo>
                  <a:cubicBezTo>
                    <a:pt x="89533" y="20743"/>
                    <a:pt x="85985" y="16005"/>
                    <a:pt x="81620" y="12084"/>
                  </a:cubicBezTo>
                  <a:cubicBezTo>
                    <a:pt x="73032" y="4330"/>
                    <a:pt x="61854" y="36"/>
                    <a:pt x="50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171" name="Google Shape;4308;p64">
            <a:extLst>
              <a:ext uri="{FF2B5EF4-FFF2-40B4-BE49-F238E27FC236}">
                <a16:creationId xmlns:a16="http://schemas.microsoft.com/office/drawing/2014/main" id="{43EE8285-79D3-3E58-B596-FBB8BAA49A87}"/>
              </a:ext>
            </a:extLst>
          </p:cNvPr>
          <p:cNvGrpSpPr/>
          <p:nvPr/>
        </p:nvGrpSpPr>
        <p:grpSpPr>
          <a:xfrm>
            <a:off x="8105597" y="4952290"/>
            <a:ext cx="743553" cy="688516"/>
            <a:chOff x="6015523" y="3714217"/>
            <a:chExt cx="557665" cy="516387"/>
          </a:xfrm>
        </p:grpSpPr>
        <p:grpSp>
          <p:nvGrpSpPr>
            <p:cNvPr id="8172" name="Google Shape;4309;p64">
              <a:extLst>
                <a:ext uri="{FF2B5EF4-FFF2-40B4-BE49-F238E27FC236}">
                  <a16:creationId xmlns:a16="http://schemas.microsoft.com/office/drawing/2014/main" id="{59BC8E7C-84FC-4003-741D-F8CF617988AD}"/>
                </a:ext>
              </a:extLst>
            </p:cNvPr>
            <p:cNvGrpSpPr/>
            <p:nvPr/>
          </p:nvGrpSpPr>
          <p:grpSpPr>
            <a:xfrm>
              <a:off x="6036094" y="3716980"/>
              <a:ext cx="529822" cy="510480"/>
              <a:chOff x="3148311" y="-545634"/>
              <a:chExt cx="1006118" cy="969572"/>
            </a:xfrm>
          </p:grpSpPr>
          <p:sp>
            <p:nvSpPr>
              <p:cNvPr id="8174" name="Google Shape;4310;p64">
                <a:extLst>
                  <a:ext uri="{FF2B5EF4-FFF2-40B4-BE49-F238E27FC236}">
                    <a16:creationId xmlns:a16="http://schemas.microsoft.com/office/drawing/2014/main" id="{46E73406-F9D6-603F-C2CD-F6990BEC2BF5}"/>
                  </a:ext>
                </a:extLst>
              </p:cNvPr>
              <p:cNvSpPr/>
              <p:nvPr/>
            </p:nvSpPr>
            <p:spPr>
              <a:xfrm>
                <a:off x="3497808" y="-545634"/>
                <a:ext cx="152012" cy="12208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75" name="Google Shape;4311;p64">
                <a:extLst>
                  <a:ext uri="{FF2B5EF4-FFF2-40B4-BE49-F238E27FC236}">
                    <a16:creationId xmlns:a16="http://schemas.microsoft.com/office/drawing/2014/main" id="{A8BF6702-9101-163B-22CB-73B7DE7C5287}"/>
                  </a:ext>
                </a:extLst>
              </p:cNvPr>
              <p:cNvSpPr/>
              <p:nvPr/>
            </p:nvSpPr>
            <p:spPr>
              <a:xfrm>
                <a:off x="3779659" y="-441254"/>
                <a:ext cx="74264" cy="69794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76" name="Google Shape;4312;p64">
                <a:extLst>
                  <a:ext uri="{FF2B5EF4-FFF2-40B4-BE49-F238E27FC236}">
                    <a16:creationId xmlns:a16="http://schemas.microsoft.com/office/drawing/2014/main" id="{B5BFBD4E-E949-034C-58B7-599C31E36C7C}"/>
                  </a:ext>
                </a:extLst>
              </p:cNvPr>
              <p:cNvSpPr/>
              <p:nvPr/>
            </p:nvSpPr>
            <p:spPr>
              <a:xfrm>
                <a:off x="3658562" y="-488295"/>
                <a:ext cx="47632" cy="25284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77" name="Google Shape;4313;p64">
                <a:extLst>
                  <a:ext uri="{FF2B5EF4-FFF2-40B4-BE49-F238E27FC236}">
                    <a16:creationId xmlns:a16="http://schemas.microsoft.com/office/drawing/2014/main" id="{98D5595E-FCD0-1CD3-9EBB-D282025F6E76}"/>
                  </a:ext>
                </a:extLst>
              </p:cNvPr>
              <p:cNvSpPr/>
              <p:nvPr/>
            </p:nvSpPr>
            <p:spPr>
              <a:xfrm>
                <a:off x="3773239" y="-411709"/>
                <a:ext cx="34223" cy="31496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78" name="Google Shape;4314;p64">
                <a:extLst>
                  <a:ext uri="{FF2B5EF4-FFF2-40B4-BE49-F238E27FC236}">
                    <a16:creationId xmlns:a16="http://schemas.microsoft.com/office/drawing/2014/main" id="{46043419-E70B-6359-2186-3E1F4DF292D3}"/>
                  </a:ext>
                </a:extLst>
              </p:cNvPr>
              <p:cNvSpPr/>
              <p:nvPr/>
            </p:nvSpPr>
            <p:spPr>
              <a:xfrm>
                <a:off x="3776942" y="-526397"/>
                <a:ext cx="377487" cy="831956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79" name="Google Shape;4315;p64">
                <a:extLst>
                  <a:ext uri="{FF2B5EF4-FFF2-40B4-BE49-F238E27FC236}">
                    <a16:creationId xmlns:a16="http://schemas.microsoft.com/office/drawing/2014/main" id="{AB9B01FE-85C4-1006-5EA2-205139E355E1}"/>
                  </a:ext>
                </a:extLst>
              </p:cNvPr>
              <p:cNvSpPr/>
              <p:nvPr/>
            </p:nvSpPr>
            <p:spPr>
              <a:xfrm>
                <a:off x="3352414" y="12491"/>
                <a:ext cx="353584" cy="411448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80" name="Google Shape;4316;p64">
                <a:extLst>
                  <a:ext uri="{FF2B5EF4-FFF2-40B4-BE49-F238E27FC236}">
                    <a16:creationId xmlns:a16="http://schemas.microsoft.com/office/drawing/2014/main" id="{ACBA4856-B433-31DD-7300-7E5970B7BA87}"/>
                  </a:ext>
                </a:extLst>
              </p:cNvPr>
              <p:cNvSpPr/>
              <p:nvPr/>
            </p:nvSpPr>
            <p:spPr>
              <a:xfrm>
                <a:off x="3289631" y="-66747"/>
                <a:ext cx="64547" cy="26511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81" name="Google Shape;4317;p64">
                <a:extLst>
                  <a:ext uri="{FF2B5EF4-FFF2-40B4-BE49-F238E27FC236}">
                    <a16:creationId xmlns:a16="http://schemas.microsoft.com/office/drawing/2014/main" id="{D810C49F-7BE8-04AF-CDC6-9171CDAC79B0}"/>
                  </a:ext>
                </a:extLst>
              </p:cNvPr>
              <p:cNvSpPr/>
              <p:nvPr/>
            </p:nvSpPr>
            <p:spPr>
              <a:xfrm>
                <a:off x="3368156" y="-47247"/>
                <a:ext cx="67855" cy="22556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82" name="Google Shape;4318;p64">
                <a:extLst>
                  <a:ext uri="{FF2B5EF4-FFF2-40B4-BE49-F238E27FC236}">
                    <a16:creationId xmlns:a16="http://schemas.microsoft.com/office/drawing/2014/main" id="{EF3F46DA-7A3E-5403-6215-FBA0C458A1A7}"/>
                  </a:ext>
                </a:extLst>
              </p:cNvPr>
              <p:cNvSpPr/>
              <p:nvPr/>
            </p:nvSpPr>
            <p:spPr>
              <a:xfrm>
                <a:off x="3466707" y="-328516"/>
                <a:ext cx="37532" cy="23334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83" name="Google Shape;4319;p64">
                <a:extLst>
                  <a:ext uri="{FF2B5EF4-FFF2-40B4-BE49-F238E27FC236}">
                    <a16:creationId xmlns:a16="http://schemas.microsoft.com/office/drawing/2014/main" id="{5FB579AD-0CE5-E09F-9973-B0A62164712D}"/>
                  </a:ext>
                </a:extLst>
              </p:cNvPr>
              <p:cNvSpPr/>
              <p:nvPr/>
            </p:nvSpPr>
            <p:spPr>
              <a:xfrm>
                <a:off x="3148311" y="-512013"/>
                <a:ext cx="344841" cy="575576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8173" name="Google Shape;4320;p64">
              <a:extLst>
                <a:ext uri="{FF2B5EF4-FFF2-40B4-BE49-F238E27FC236}">
                  <a16:creationId xmlns:a16="http://schemas.microsoft.com/office/drawing/2014/main" id="{BC7510DD-5609-C584-07C4-8210671C71E9}"/>
                </a:ext>
              </a:extLst>
            </p:cNvPr>
            <p:cNvSpPr/>
            <p:nvPr/>
          </p:nvSpPr>
          <p:spPr>
            <a:xfrm>
              <a:off x="6015523" y="3714217"/>
              <a:ext cx="557665" cy="516387"/>
            </a:xfrm>
            <a:custGeom>
              <a:avLst/>
              <a:gdLst/>
              <a:ahLst/>
              <a:cxnLst/>
              <a:rect l="l" t="t" r="r" b="b"/>
              <a:pathLst>
                <a:path w="96649" h="89534" extrusionOk="0">
                  <a:moveTo>
                    <a:pt x="48671" y="444"/>
                  </a:moveTo>
                  <a:cubicBezTo>
                    <a:pt x="70814" y="444"/>
                    <a:pt x="90084" y="16342"/>
                    <a:pt x="93207" y="38415"/>
                  </a:cubicBezTo>
                  <a:cubicBezTo>
                    <a:pt x="96649" y="62635"/>
                    <a:pt x="79314" y="85116"/>
                    <a:pt x="54526" y="88629"/>
                  </a:cubicBezTo>
                  <a:cubicBezTo>
                    <a:pt x="52344" y="88930"/>
                    <a:pt x="50161" y="89090"/>
                    <a:pt x="47961" y="89090"/>
                  </a:cubicBezTo>
                  <a:cubicBezTo>
                    <a:pt x="25817" y="89090"/>
                    <a:pt x="6548" y="73192"/>
                    <a:pt x="3425" y="51119"/>
                  </a:cubicBezTo>
                  <a:cubicBezTo>
                    <a:pt x="1" y="26899"/>
                    <a:pt x="17318" y="4418"/>
                    <a:pt x="42123" y="905"/>
                  </a:cubicBezTo>
                  <a:cubicBezTo>
                    <a:pt x="44288" y="586"/>
                    <a:pt x="46470" y="444"/>
                    <a:pt x="48671" y="444"/>
                  </a:cubicBezTo>
                  <a:close/>
                  <a:moveTo>
                    <a:pt x="48746" y="0"/>
                  </a:moveTo>
                  <a:cubicBezTo>
                    <a:pt x="48721" y="0"/>
                    <a:pt x="48696" y="0"/>
                    <a:pt x="48671" y="0"/>
                  </a:cubicBezTo>
                  <a:cubicBezTo>
                    <a:pt x="46453" y="0"/>
                    <a:pt x="44253" y="160"/>
                    <a:pt x="42052" y="462"/>
                  </a:cubicBezTo>
                  <a:cubicBezTo>
                    <a:pt x="36002" y="1313"/>
                    <a:pt x="30164" y="3336"/>
                    <a:pt x="24895" y="6441"/>
                  </a:cubicBezTo>
                  <a:cubicBezTo>
                    <a:pt x="19838" y="9404"/>
                    <a:pt x="15402" y="13326"/>
                    <a:pt x="11835" y="17974"/>
                  </a:cubicBezTo>
                  <a:cubicBezTo>
                    <a:pt x="8269" y="22570"/>
                    <a:pt x="5643" y="27822"/>
                    <a:pt x="4099" y="33447"/>
                  </a:cubicBezTo>
                  <a:cubicBezTo>
                    <a:pt x="2520" y="39213"/>
                    <a:pt x="2130" y="45246"/>
                    <a:pt x="2981" y="51190"/>
                  </a:cubicBezTo>
                  <a:cubicBezTo>
                    <a:pt x="4507" y="61925"/>
                    <a:pt x="9955" y="71737"/>
                    <a:pt x="18276" y="78728"/>
                  </a:cubicBezTo>
                  <a:cubicBezTo>
                    <a:pt x="26561" y="85703"/>
                    <a:pt x="37054" y="89534"/>
                    <a:pt x="47886" y="89534"/>
                  </a:cubicBezTo>
                  <a:cubicBezTo>
                    <a:pt x="47911" y="89534"/>
                    <a:pt x="47936" y="89534"/>
                    <a:pt x="47961" y="89534"/>
                  </a:cubicBezTo>
                  <a:cubicBezTo>
                    <a:pt x="50179" y="89534"/>
                    <a:pt x="52397" y="89374"/>
                    <a:pt x="54579" y="89072"/>
                  </a:cubicBezTo>
                  <a:cubicBezTo>
                    <a:pt x="60647" y="88221"/>
                    <a:pt x="66467" y="86198"/>
                    <a:pt x="71737" y="83093"/>
                  </a:cubicBezTo>
                  <a:cubicBezTo>
                    <a:pt x="76794" y="80112"/>
                    <a:pt x="81230" y="76208"/>
                    <a:pt x="84796" y="71560"/>
                  </a:cubicBezTo>
                  <a:cubicBezTo>
                    <a:pt x="88363" y="66964"/>
                    <a:pt x="90989" y="61712"/>
                    <a:pt x="92532" y="56105"/>
                  </a:cubicBezTo>
                  <a:cubicBezTo>
                    <a:pt x="94112" y="50321"/>
                    <a:pt x="94502" y="44288"/>
                    <a:pt x="93650" y="38362"/>
                  </a:cubicBezTo>
                  <a:cubicBezTo>
                    <a:pt x="92124" y="27609"/>
                    <a:pt x="86677" y="17797"/>
                    <a:pt x="78355" y="10824"/>
                  </a:cubicBezTo>
                  <a:cubicBezTo>
                    <a:pt x="70071" y="3831"/>
                    <a:pt x="59578" y="0"/>
                    <a:pt x="487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184" name="Google Shape;4321;p64">
            <a:extLst>
              <a:ext uri="{FF2B5EF4-FFF2-40B4-BE49-F238E27FC236}">
                <a16:creationId xmlns:a16="http://schemas.microsoft.com/office/drawing/2014/main" id="{5A0F5617-1C11-5E90-FC46-AC5C096D02CF}"/>
              </a:ext>
            </a:extLst>
          </p:cNvPr>
          <p:cNvGrpSpPr/>
          <p:nvPr/>
        </p:nvGrpSpPr>
        <p:grpSpPr>
          <a:xfrm>
            <a:off x="8943972" y="4098171"/>
            <a:ext cx="768403" cy="682495"/>
            <a:chOff x="6644304" y="3073628"/>
            <a:chExt cx="576302" cy="511871"/>
          </a:xfrm>
        </p:grpSpPr>
        <p:grpSp>
          <p:nvGrpSpPr>
            <p:cNvPr id="8185" name="Google Shape;4322;p64">
              <a:extLst>
                <a:ext uri="{FF2B5EF4-FFF2-40B4-BE49-F238E27FC236}">
                  <a16:creationId xmlns:a16="http://schemas.microsoft.com/office/drawing/2014/main" id="{77B95777-A6AC-DD3F-6F9C-17B8D2975AF0}"/>
                </a:ext>
              </a:extLst>
            </p:cNvPr>
            <p:cNvGrpSpPr/>
            <p:nvPr/>
          </p:nvGrpSpPr>
          <p:grpSpPr>
            <a:xfrm>
              <a:off x="6712169" y="3073651"/>
              <a:ext cx="481611" cy="506713"/>
              <a:chOff x="1833536" y="-546641"/>
              <a:chExt cx="914567" cy="962419"/>
            </a:xfrm>
          </p:grpSpPr>
          <p:grpSp>
            <p:nvGrpSpPr>
              <p:cNvPr id="8187" name="Google Shape;4323;p64">
                <a:extLst>
                  <a:ext uri="{FF2B5EF4-FFF2-40B4-BE49-F238E27FC236}">
                    <a16:creationId xmlns:a16="http://schemas.microsoft.com/office/drawing/2014/main" id="{FA2DC7CE-AF67-EE3E-047E-A55836CDC702}"/>
                  </a:ext>
                </a:extLst>
              </p:cNvPr>
              <p:cNvGrpSpPr/>
              <p:nvPr/>
            </p:nvGrpSpPr>
            <p:grpSpPr>
              <a:xfrm>
                <a:off x="1833536" y="-524249"/>
                <a:ext cx="914567" cy="940027"/>
                <a:chOff x="1833536" y="-524249"/>
                <a:chExt cx="914567" cy="940027"/>
              </a:xfrm>
            </p:grpSpPr>
            <p:sp>
              <p:nvSpPr>
                <p:cNvPr id="8192" name="Google Shape;4324;p64">
                  <a:extLst>
                    <a:ext uri="{FF2B5EF4-FFF2-40B4-BE49-F238E27FC236}">
                      <a16:creationId xmlns:a16="http://schemas.microsoft.com/office/drawing/2014/main" id="{8E9BD70B-7EB0-6CF0-1E62-C96B8535D627}"/>
                    </a:ext>
                  </a:extLst>
                </p:cNvPr>
                <p:cNvSpPr/>
                <p:nvPr/>
              </p:nvSpPr>
              <p:spPr>
                <a:xfrm>
                  <a:off x="1833536" y="-524249"/>
                  <a:ext cx="453307" cy="599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379" h="54723" extrusionOk="0">
                      <a:moveTo>
                        <a:pt x="20938" y="3904"/>
                      </a:moveTo>
                      <a:lnTo>
                        <a:pt x="22677" y="6583"/>
                      </a:lnTo>
                      <a:lnTo>
                        <a:pt x="22091" y="7097"/>
                      </a:lnTo>
                      <a:lnTo>
                        <a:pt x="18951" y="4400"/>
                      </a:lnTo>
                      <a:lnTo>
                        <a:pt x="20938" y="3904"/>
                      </a:lnTo>
                      <a:close/>
                      <a:moveTo>
                        <a:pt x="25072" y="0"/>
                      </a:moveTo>
                      <a:lnTo>
                        <a:pt x="25072" y="0"/>
                      </a:lnTo>
                      <a:cubicBezTo>
                        <a:pt x="24433" y="195"/>
                        <a:pt x="23812" y="408"/>
                        <a:pt x="23191" y="621"/>
                      </a:cubicBezTo>
                      <a:lnTo>
                        <a:pt x="23493" y="1047"/>
                      </a:lnTo>
                      <a:lnTo>
                        <a:pt x="21861" y="1136"/>
                      </a:lnTo>
                      <a:cubicBezTo>
                        <a:pt x="20920" y="1491"/>
                        <a:pt x="19980" y="1899"/>
                        <a:pt x="19075" y="2307"/>
                      </a:cubicBezTo>
                      <a:lnTo>
                        <a:pt x="17709" y="4489"/>
                      </a:lnTo>
                      <a:lnTo>
                        <a:pt x="19341" y="6778"/>
                      </a:lnTo>
                      <a:lnTo>
                        <a:pt x="19341" y="6778"/>
                      </a:lnTo>
                      <a:lnTo>
                        <a:pt x="16697" y="6086"/>
                      </a:lnTo>
                      <a:lnTo>
                        <a:pt x="17017" y="4542"/>
                      </a:lnTo>
                      <a:lnTo>
                        <a:pt x="15473" y="4205"/>
                      </a:lnTo>
                      <a:cubicBezTo>
                        <a:pt x="14124" y="4968"/>
                        <a:pt x="12811" y="5820"/>
                        <a:pt x="11552" y="6725"/>
                      </a:cubicBezTo>
                      <a:lnTo>
                        <a:pt x="12581" y="6920"/>
                      </a:lnTo>
                      <a:lnTo>
                        <a:pt x="11836" y="8091"/>
                      </a:lnTo>
                      <a:cubicBezTo>
                        <a:pt x="11392" y="7967"/>
                        <a:pt x="10842" y="7772"/>
                        <a:pt x="10363" y="7612"/>
                      </a:cubicBezTo>
                      <a:cubicBezTo>
                        <a:pt x="6300" y="10753"/>
                        <a:pt x="2804" y="14567"/>
                        <a:pt x="1" y="18897"/>
                      </a:cubicBezTo>
                      <a:cubicBezTo>
                        <a:pt x="356" y="19536"/>
                        <a:pt x="498" y="20299"/>
                        <a:pt x="373" y="21026"/>
                      </a:cubicBezTo>
                      <a:cubicBezTo>
                        <a:pt x="285" y="21895"/>
                        <a:pt x="870" y="22800"/>
                        <a:pt x="977" y="23723"/>
                      </a:cubicBezTo>
                      <a:cubicBezTo>
                        <a:pt x="1101" y="24681"/>
                        <a:pt x="835" y="25710"/>
                        <a:pt x="1048" y="26633"/>
                      </a:cubicBezTo>
                      <a:cubicBezTo>
                        <a:pt x="1580" y="28922"/>
                        <a:pt x="1651" y="28904"/>
                        <a:pt x="1314" y="30696"/>
                      </a:cubicBezTo>
                      <a:cubicBezTo>
                        <a:pt x="1260" y="30998"/>
                        <a:pt x="1243" y="31335"/>
                        <a:pt x="1189" y="31654"/>
                      </a:cubicBezTo>
                      <a:cubicBezTo>
                        <a:pt x="906" y="33943"/>
                        <a:pt x="852" y="36090"/>
                        <a:pt x="2378" y="38184"/>
                      </a:cubicBezTo>
                      <a:cubicBezTo>
                        <a:pt x="3194" y="39302"/>
                        <a:pt x="4490" y="39461"/>
                        <a:pt x="5217" y="40473"/>
                      </a:cubicBezTo>
                      <a:cubicBezTo>
                        <a:pt x="5377" y="41147"/>
                        <a:pt x="5679" y="41821"/>
                        <a:pt x="5679" y="42496"/>
                      </a:cubicBezTo>
                      <a:cubicBezTo>
                        <a:pt x="5679" y="43170"/>
                        <a:pt x="7311" y="43347"/>
                        <a:pt x="6406" y="44146"/>
                      </a:cubicBezTo>
                      <a:lnTo>
                        <a:pt x="8429" y="45122"/>
                      </a:lnTo>
                      <a:lnTo>
                        <a:pt x="8429" y="45122"/>
                      </a:lnTo>
                      <a:lnTo>
                        <a:pt x="8269" y="43170"/>
                      </a:lnTo>
                      <a:lnTo>
                        <a:pt x="8269" y="43170"/>
                      </a:lnTo>
                      <a:cubicBezTo>
                        <a:pt x="8872" y="43613"/>
                        <a:pt x="9298" y="43826"/>
                        <a:pt x="9600" y="44146"/>
                      </a:cubicBezTo>
                      <a:cubicBezTo>
                        <a:pt x="10345" y="44909"/>
                        <a:pt x="10948" y="45849"/>
                        <a:pt x="11765" y="46523"/>
                      </a:cubicBezTo>
                      <a:cubicBezTo>
                        <a:pt x="12652" y="47251"/>
                        <a:pt x="13734" y="47730"/>
                        <a:pt x="13255" y="49167"/>
                      </a:cubicBezTo>
                      <a:cubicBezTo>
                        <a:pt x="15142" y="50239"/>
                        <a:pt x="17068" y="51273"/>
                        <a:pt x="19240" y="51273"/>
                      </a:cubicBezTo>
                      <a:cubicBezTo>
                        <a:pt x="19621" y="51273"/>
                        <a:pt x="20009" y="51241"/>
                        <a:pt x="20406" y="51172"/>
                      </a:cubicBezTo>
                      <a:cubicBezTo>
                        <a:pt x="21066" y="51051"/>
                        <a:pt x="21687" y="50867"/>
                        <a:pt x="22299" y="50867"/>
                      </a:cubicBezTo>
                      <a:cubicBezTo>
                        <a:pt x="22856" y="50867"/>
                        <a:pt x="23406" y="51019"/>
                        <a:pt x="23972" y="51509"/>
                      </a:cubicBezTo>
                      <a:cubicBezTo>
                        <a:pt x="24575" y="52042"/>
                        <a:pt x="25551" y="52219"/>
                        <a:pt x="26403" y="52414"/>
                      </a:cubicBezTo>
                      <a:cubicBezTo>
                        <a:pt x="26412" y="52417"/>
                        <a:pt x="26421" y="52418"/>
                        <a:pt x="26431" y="52418"/>
                      </a:cubicBezTo>
                      <a:cubicBezTo>
                        <a:pt x="26612" y="52418"/>
                        <a:pt x="26911" y="51958"/>
                        <a:pt x="27130" y="51722"/>
                      </a:cubicBezTo>
                      <a:cubicBezTo>
                        <a:pt x="29563" y="53875"/>
                        <a:pt x="30553" y="54722"/>
                        <a:pt x="31970" y="54722"/>
                      </a:cubicBezTo>
                      <a:cubicBezTo>
                        <a:pt x="32888" y="54722"/>
                        <a:pt x="33985" y="54367"/>
                        <a:pt x="35771" y="53780"/>
                      </a:cubicBezTo>
                      <a:cubicBezTo>
                        <a:pt x="35754" y="53674"/>
                        <a:pt x="35736" y="53568"/>
                        <a:pt x="35700" y="53461"/>
                      </a:cubicBezTo>
                      <a:cubicBezTo>
                        <a:pt x="35026" y="53479"/>
                        <a:pt x="34387" y="53550"/>
                        <a:pt x="33731" y="53568"/>
                      </a:cubicBezTo>
                      <a:cubicBezTo>
                        <a:pt x="33590" y="53572"/>
                        <a:pt x="33456" y="53574"/>
                        <a:pt x="33329" y="53574"/>
                      </a:cubicBezTo>
                      <a:cubicBezTo>
                        <a:pt x="31461" y="53574"/>
                        <a:pt x="31079" y="53047"/>
                        <a:pt x="30697" y="50871"/>
                      </a:cubicBezTo>
                      <a:cubicBezTo>
                        <a:pt x="30590" y="50179"/>
                        <a:pt x="30005" y="49575"/>
                        <a:pt x="29650" y="48972"/>
                      </a:cubicBezTo>
                      <a:lnTo>
                        <a:pt x="26030" y="49628"/>
                      </a:lnTo>
                      <a:lnTo>
                        <a:pt x="26030" y="49628"/>
                      </a:lnTo>
                      <a:lnTo>
                        <a:pt x="26385" y="45406"/>
                      </a:lnTo>
                      <a:lnTo>
                        <a:pt x="24167" y="45956"/>
                      </a:lnTo>
                      <a:cubicBezTo>
                        <a:pt x="23812" y="46931"/>
                        <a:pt x="24007" y="48085"/>
                        <a:pt x="22553" y="48564"/>
                      </a:cubicBezTo>
                      <a:cubicBezTo>
                        <a:pt x="22259" y="48659"/>
                        <a:pt x="21992" y="48700"/>
                        <a:pt x="21745" y="48700"/>
                      </a:cubicBezTo>
                      <a:cubicBezTo>
                        <a:pt x="20706" y="48700"/>
                        <a:pt x="20016" y="47976"/>
                        <a:pt x="19199" y="47517"/>
                      </a:cubicBezTo>
                      <a:lnTo>
                        <a:pt x="17851" y="42123"/>
                      </a:lnTo>
                      <a:cubicBezTo>
                        <a:pt x="19459" y="40109"/>
                        <a:pt x="19754" y="39740"/>
                        <a:pt x="21393" y="39740"/>
                      </a:cubicBezTo>
                      <a:cubicBezTo>
                        <a:pt x="21761" y="39740"/>
                        <a:pt x="22197" y="39758"/>
                        <a:pt x="22730" y="39781"/>
                      </a:cubicBezTo>
                      <a:lnTo>
                        <a:pt x="22890" y="38237"/>
                      </a:lnTo>
                      <a:lnTo>
                        <a:pt x="27042" y="38113"/>
                      </a:lnTo>
                      <a:lnTo>
                        <a:pt x="30324" y="41786"/>
                      </a:lnTo>
                      <a:cubicBezTo>
                        <a:pt x="30679" y="39550"/>
                        <a:pt x="29064" y="38290"/>
                        <a:pt x="28532" y="36374"/>
                      </a:cubicBezTo>
                      <a:cubicBezTo>
                        <a:pt x="29366" y="35363"/>
                        <a:pt x="30324" y="34280"/>
                        <a:pt x="31229" y="33163"/>
                      </a:cubicBezTo>
                      <a:cubicBezTo>
                        <a:pt x="32045" y="32133"/>
                        <a:pt x="31974" y="31885"/>
                        <a:pt x="30644" y="30359"/>
                      </a:cubicBezTo>
                      <a:cubicBezTo>
                        <a:pt x="31105" y="29916"/>
                        <a:pt x="31886" y="29490"/>
                        <a:pt x="31957" y="28993"/>
                      </a:cubicBezTo>
                      <a:cubicBezTo>
                        <a:pt x="32152" y="27378"/>
                        <a:pt x="33411" y="26757"/>
                        <a:pt x="34441" y="25906"/>
                      </a:cubicBezTo>
                      <a:lnTo>
                        <a:pt x="34245" y="24273"/>
                      </a:lnTo>
                      <a:lnTo>
                        <a:pt x="36588" y="22996"/>
                      </a:lnTo>
                      <a:lnTo>
                        <a:pt x="37120" y="24096"/>
                      </a:lnTo>
                      <a:lnTo>
                        <a:pt x="40438" y="20849"/>
                      </a:lnTo>
                      <a:lnTo>
                        <a:pt x="40048" y="20387"/>
                      </a:lnTo>
                      <a:lnTo>
                        <a:pt x="38184" y="21700"/>
                      </a:lnTo>
                      <a:lnTo>
                        <a:pt x="36410" y="20547"/>
                      </a:lnTo>
                      <a:cubicBezTo>
                        <a:pt x="37315" y="19429"/>
                        <a:pt x="38309" y="18631"/>
                        <a:pt x="38752" y="17584"/>
                      </a:cubicBezTo>
                      <a:cubicBezTo>
                        <a:pt x="39285" y="16377"/>
                        <a:pt x="40686" y="16271"/>
                        <a:pt x="41378" y="15295"/>
                      </a:cubicBezTo>
                      <a:cubicBezTo>
                        <a:pt x="40314" y="14177"/>
                        <a:pt x="39285" y="13663"/>
                        <a:pt x="37989" y="13521"/>
                      </a:cubicBezTo>
                      <a:cubicBezTo>
                        <a:pt x="37031" y="13467"/>
                        <a:pt x="36162" y="12971"/>
                        <a:pt x="35647" y="12154"/>
                      </a:cubicBezTo>
                      <a:cubicBezTo>
                        <a:pt x="35257" y="11622"/>
                        <a:pt x="34813" y="11161"/>
                        <a:pt x="34281" y="10770"/>
                      </a:cubicBezTo>
                      <a:cubicBezTo>
                        <a:pt x="34068" y="10593"/>
                        <a:pt x="33678" y="10628"/>
                        <a:pt x="33323" y="10557"/>
                      </a:cubicBezTo>
                      <a:lnTo>
                        <a:pt x="32773" y="12509"/>
                      </a:lnTo>
                      <a:cubicBezTo>
                        <a:pt x="31022" y="12013"/>
                        <a:pt x="29978" y="9739"/>
                        <a:pt x="28235" y="9739"/>
                      </a:cubicBezTo>
                      <a:cubicBezTo>
                        <a:pt x="27735" y="9739"/>
                        <a:pt x="27176" y="9927"/>
                        <a:pt x="26527" y="10398"/>
                      </a:cubicBezTo>
                      <a:cubicBezTo>
                        <a:pt x="26793" y="11711"/>
                        <a:pt x="25942" y="13290"/>
                        <a:pt x="27343" y="14479"/>
                      </a:cubicBezTo>
                      <a:cubicBezTo>
                        <a:pt x="27538" y="14638"/>
                        <a:pt x="27609" y="15295"/>
                        <a:pt x="27485" y="15419"/>
                      </a:cubicBezTo>
                      <a:cubicBezTo>
                        <a:pt x="26154" y="16590"/>
                        <a:pt x="27095" y="18169"/>
                        <a:pt x="26935" y="19447"/>
                      </a:cubicBezTo>
                      <a:cubicBezTo>
                        <a:pt x="26757" y="19471"/>
                        <a:pt x="26594" y="19483"/>
                        <a:pt x="26444" y="19483"/>
                      </a:cubicBezTo>
                      <a:cubicBezTo>
                        <a:pt x="24534" y="19483"/>
                        <a:pt x="24803" y="17604"/>
                        <a:pt x="24309" y="16732"/>
                      </a:cubicBezTo>
                      <a:cubicBezTo>
                        <a:pt x="23538" y="16756"/>
                        <a:pt x="22881" y="16829"/>
                        <a:pt x="22272" y="16829"/>
                      </a:cubicBezTo>
                      <a:cubicBezTo>
                        <a:pt x="21985" y="16829"/>
                        <a:pt x="21708" y="16813"/>
                        <a:pt x="21435" y="16768"/>
                      </a:cubicBezTo>
                      <a:cubicBezTo>
                        <a:pt x="20583" y="16626"/>
                        <a:pt x="19767" y="16235"/>
                        <a:pt x="18968" y="15880"/>
                      </a:cubicBezTo>
                      <a:cubicBezTo>
                        <a:pt x="18099" y="15508"/>
                        <a:pt x="17904" y="14745"/>
                        <a:pt x="18117" y="13929"/>
                      </a:cubicBezTo>
                      <a:cubicBezTo>
                        <a:pt x="18489" y="12562"/>
                        <a:pt x="19820" y="11799"/>
                        <a:pt x="20317" y="10433"/>
                      </a:cubicBezTo>
                      <a:cubicBezTo>
                        <a:pt x="20420" y="10159"/>
                        <a:pt x="20643" y="10069"/>
                        <a:pt x="20926" y="10069"/>
                      </a:cubicBezTo>
                      <a:cubicBezTo>
                        <a:pt x="21466" y="10069"/>
                        <a:pt x="22224" y="10398"/>
                        <a:pt x="22783" y="10398"/>
                      </a:cubicBezTo>
                      <a:cubicBezTo>
                        <a:pt x="23422" y="10398"/>
                        <a:pt x="24078" y="10114"/>
                        <a:pt x="25445" y="9777"/>
                      </a:cubicBezTo>
                      <a:lnTo>
                        <a:pt x="22925" y="8836"/>
                      </a:lnTo>
                      <a:cubicBezTo>
                        <a:pt x="23351" y="8002"/>
                        <a:pt x="23759" y="7435"/>
                        <a:pt x="23972" y="6796"/>
                      </a:cubicBezTo>
                      <a:cubicBezTo>
                        <a:pt x="24489" y="5333"/>
                        <a:pt x="24808" y="4715"/>
                        <a:pt x="25467" y="4715"/>
                      </a:cubicBezTo>
                      <a:cubicBezTo>
                        <a:pt x="25870" y="4715"/>
                        <a:pt x="26401" y="4947"/>
                        <a:pt x="27184" y="5359"/>
                      </a:cubicBezTo>
                      <a:cubicBezTo>
                        <a:pt x="27485" y="5518"/>
                        <a:pt x="27787" y="5713"/>
                        <a:pt x="28177" y="5944"/>
                      </a:cubicBezTo>
                      <a:lnTo>
                        <a:pt x="26012" y="8694"/>
                      </a:lnTo>
                      <a:cubicBezTo>
                        <a:pt x="26754" y="8600"/>
                        <a:pt x="27262" y="8535"/>
                        <a:pt x="27696" y="8535"/>
                      </a:cubicBezTo>
                      <a:cubicBezTo>
                        <a:pt x="28642" y="8535"/>
                        <a:pt x="29231" y="8844"/>
                        <a:pt x="31105" y="9830"/>
                      </a:cubicBezTo>
                      <a:lnTo>
                        <a:pt x="32844" y="8304"/>
                      </a:lnTo>
                      <a:lnTo>
                        <a:pt x="31886" y="7346"/>
                      </a:lnTo>
                      <a:lnTo>
                        <a:pt x="32861" y="5341"/>
                      </a:lnTo>
                      <a:lnTo>
                        <a:pt x="25232" y="2005"/>
                      </a:lnTo>
                      <a:lnTo>
                        <a:pt x="21577" y="2733"/>
                      </a:lnTo>
                      <a:lnTo>
                        <a:pt x="21452" y="2218"/>
                      </a:lnTo>
                      <a:lnTo>
                        <a:pt x="24540" y="1437"/>
                      </a:lnTo>
                      <a:lnTo>
                        <a:pt x="25072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193" name="Google Shape;4325;p64">
                  <a:extLst>
                    <a:ext uri="{FF2B5EF4-FFF2-40B4-BE49-F238E27FC236}">
                      <a16:creationId xmlns:a16="http://schemas.microsoft.com/office/drawing/2014/main" id="{41A337CA-4933-4195-1AE3-2D6715817AB5}"/>
                    </a:ext>
                  </a:extLst>
                </p:cNvPr>
                <p:cNvSpPr/>
                <p:nvPr/>
              </p:nvSpPr>
              <p:spPr>
                <a:xfrm>
                  <a:off x="2215098" y="11844"/>
                  <a:ext cx="361756" cy="4039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22" h="36872" extrusionOk="0">
                      <a:moveTo>
                        <a:pt x="11233" y="0"/>
                      </a:moveTo>
                      <a:cubicBezTo>
                        <a:pt x="10639" y="505"/>
                        <a:pt x="10418" y="1084"/>
                        <a:pt x="9687" y="1084"/>
                      </a:cubicBezTo>
                      <a:cubicBezTo>
                        <a:pt x="9544" y="1084"/>
                        <a:pt x="9381" y="1061"/>
                        <a:pt x="9192" y="1012"/>
                      </a:cubicBezTo>
                      <a:cubicBezTo>
                        <a:pt x="8542" y="845"/>
                        <a:pt x="7805" y="576"/>
                        <a:pt x="7089" y="576"/>
                      </a:cubicBezTo>
                      <a:cubicBezTo>
                        <a:pt x="6437" y="576"/>
                        <a:pt x="5804" y="799"/>
                        <a:pt x="5271" y="1526"/>
                      </a:cubicBezTo>
                      <a:lnTo>
                        <a:pt x="4632" y="231"/>
                      </a:lnTo>
                      <a:cubicBezTo>
                        <a:pt x="3940" y="1030"/>
                        <a:pt x="3780" y="2165"/>
                        <a:pt x="2591" y="2325"/>
                      </a:cubicBezTo>
                      <a:cubicBezTo>
                        <a:pt x="1208" y="2502"/>
                        <a:pt x="2538" y="4649"/>
                        <a:pt x="959" y="4844"/>
                      </a:cubicBezTo>
                      <a:lnTo>
                        <a:pt x="2006" y="8961"/>
                      </a:lnTo>
                      <a:lnTo>
                        <a:pt x="1" y="12190"/>
                      </a:lnTo>
                      <a:cubicBezTo>
                        <a:pt x="1190" y="12935"/>
                        <a:pt x="143" y="14302"/>
                        <a:pt x="640" y="15153"/>
                      </a:cubicBezTo>
                      <a:cubicBezTo>
                        <a:pt x="1882" y="15987"/>
                        <a:pt x="3071" y="16697"/>
                        <a:pt x="4135" y="17531"/>
                      </a:cubicBezTo>
                      <a:cubicBezTo>
                        <a:pt x="5058" y="18276"/>
                        <a:pt x="5732" y="19359"/>
                        <a:pt x="6726" y="19980"/>
                      </a:cubicBezTo>
                      <a:cubicBezTo>
                        <a:pt x="7808" y="20654"/>
                        <a:pt x="9121" y="20973"/>
                        <a:pt x="10044" y="21364"/>
                      </a:cubicBezTo>
                      <a:cubicBezTo>
                        <a:pt x="11250" y="25161"/>
                        <a:pt x="11587" y="28638"/>
                        <a:pt x="10878" y="32152"/>
                      </a:cubicBezTo>
                      <a:cubicBezTo>
                        <a:pt x="11091" y="32506"/>
                        <a:pt x="11623" y="32968"/>
                        <a:pt x="11605" y="33394"/>
                      </a:cubicBezTo>
                      <a:cubicBezTo>
                        <a:pt x="11552" y="34405"/>
                        <a:pt x="11605" y="35416"/>
                        <a:pt x="11783" y="36428"/>
                      </a:cubicBezTo>
                      <a:cubicBezTo>
                        <a:pt x="11800" y="36587"/>
                        <a:pt x="11836" y="36729"/>
                        <a:pt x="11871" y="36871"/>
                      </a:cubicBezTo>
                      <a:cubicBezTo>
                        <a:pt x="12634" y="36712"/>
                        <a:pt x="13379" y="36552"/>
                        <a:pt x="14125" y="36357"/>
                      </a:cubicBezTo>
                      <a:lnTo>
                        <a:pt x="14568" y="36233"/>
                      </a:lnTo>
                      <a:cubicBezTo>
                        <a:pt x="15172" y="34139"/>
                        <a:pt x="15828" y="32045"/>
                        <a:pt x="17798" y="30785"/>
                      </a:cubicBezTo>
                      <a:cubicBezTo>
                        <a:pt x="18543" y="30324"/>
                        <a:pt x="18951" y="29845"/>
                        <a:pt x="19235" y="29117"/>
                      </a:cubicBezTo>
                      <a:cubicBezTo>
                        <a:pt x="19377" y="28763"/>
                        <a:pt x="19465" y="28230"/>
                        <a:pt x="19732" y="28124"/>
                      </a:cubicBezTo>
                      <a:cubicBezTo>
                        <a:pt x="22233" y="27059"/>
                        <a:pt x="23334" y="24930"/>
                        <a:pt x="24008" y="22535"/>
                      </a:cubicBezTo>
                      <a:cubicBezTo>
                        <a:pt x="24345" y="21346"/>
                        <a:pt x="25232" y="20423"/>
                        <a:pt x="26403" y="20051"/>
                      </a:cubicBezTo>
                      <a:cubicBezTo>
                        <a:pt x="28550" y="19447"/>
                        <a:pt x="29065" y="17904"/>
                        <a:pt x="29615" y="16147"/>
                      </a:cubicBezTo>
                      <a:cubicBezTo>
                        <a:pt x="30449" y="13503"/>
                        <a:pt x="30999" y="10735"/>
                        <a:pt x="32844" y="8517"/>
                      </a:cubicBezTo>
                      <a:cubicBezTo>
                        <a:pt x="32933" y="8429"/>
                        <a:pt x="32986" y="8340"/>
                        <a:pt x="33021" y="8216"/>
                      </a:cubicBezTo>
                      <a:cubicBezTo>
                        <a:pt x="33021" y="7683"/>
                        <a:pt x="33021" y="7133"/>
                        <a:pt x="33021" y="6424"/>
                      </a:cubicBezTo>
                      <a:cubicBezTo>
                        <a:pt x="32898" y="6449"/>
                        <a:pt x="32778" y="6461"/>
                        <a:pt x="32662" y="6461"/>
                      </a:cubicBezTo>
                      <a:cubicBezTo>
                        <a:pt x="31610" y="6461"/>
                        <a:pt x="30838" y="5512"/>
                        <a:pt x="29835" y="5512"/>
                      </a:cubicBezTo>
                      <a:cubicBezTo>
                        <a:pt x="29647" y="5512"/>
                        <a:pt x="29450" y="5546"/>
                        <a:pt x="29242" y="5625"/>
                      </a:cubicBezTo>
                      <a:cubicBezTo>
                        <a:pt x="28763" y="5810"/>
                        <a:pt x="28295" y="5881"/>
                        <a:pt x="27833" y="5881"/>
                      </a:cubicBezTo>
                      <a:cubicBezTo>
                        <a:pt x="27010" y="5881"/>
                        <a:pt x="26203" y="5659"/>
                        <a:pt x="25374" y="5465"/>
                      </a:cubicBezTo>
                      <a:cubicBezTo>
                        <a:pt x="25322" y="5454"/>
                        <a:pt x="25270" y="5449"/>
                        <a:pt x="25215" y="5449"/>
                      </a:cubicBezTo>
                      <a:cubicBezTo>
                        <a:pt x="24767" y="5449"/>
                        <a:pt x="24231" y="5812"/>
                        <a:pt x="23582" y="6033"/>
                      </a:cubicBezTo>
                      <a:lnTo>
                        <a:pt x="20637" y="2112"/>
                      </a:lnTo>
                      <a:lnTo>
                        <a:pt x="16467" y="2201"/>
                      </a:lnTo>
                      <a:lnTo>
                        <a:pt x="11233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194" name="Google Shape;4326;p64">
                  <a:extLst>
                    <a:ext uri="{FF2B5EF4-FFF2-40B4-BE49-F238E27FC236}">
                      <a16:creationId xmlns:a16="http://schemas.microsoft.com/office/drawing/2014/main" id="{86BA0AF7-3E50-2A00-1B0A-135631F795F8}"/>
                    </a:ext>
                  </a:extLst>
                </p:cNvPr>
                <p:cNvSpPr/>
                <p:nvPr/>
              </p:nvSpPr>
              <p:spPr>
                <a:xfrm>
                  <a:off x="2637874" y="-333183"/>
                  <a:ext cx="110229" cy="2894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62" h="26421" extrusionOk="0">
                      <a:moveTo>
                        <a:pt x="2520" y="1"/>
                      </a:moveTo>
                      <a:lnTo>
                        <a:pt x="2254" y="19"/>
                      </a:lnTo>
                      <a:cubicBezTo>
                        <a:pt x="2077" y="515"/>
                        <a:pt x="2041" y="1474"/>
                        <a:pt x="1545" y="1864"/>
                      </a:cubicBezTo>
                      <a:cubicBezTo>
                        <a:pt x="107" y="3035"/>
                        <a:pt x="214" y="4401"/>
                        <a:pt x="586" y="5927"/>
                      </a:cubicBezTo>
                      <a:cubicBezTo>
                        <a:pt x="746" y="6566"/>
                        <a:pt x="1012" y="7311"/>
                        <a:pt x="835" y="7897"/>
                      </a:cubicBezTo>
                      <a:cubicBezTo>
                        <a:pt x="1" y="10523"/>
                        <a:pt x="799" y="13202"/>
                        <a:pt x="72" y="15917"/>
                      </a:cubicBezTo>
                      <a:lnTo>
                        <a:pt x="1686" y="15846"/>
                      </a:lnTo>
                      <a:cubicBezTo>
                        <a:pt x="1811" y="17177"/>
                        <a:pt x="2698" y="18241"/>
                        <a:pt x="1970" y="19590"/>
                      </a:cubicBezTo>
                      <a:cubicBezTo>
                        <a:pt x="1740" y="20051"/>
                        <a:pt x="2024" y="21293"/>
                        <a:pt x="2414" y="21506"/>
                      </a:cubicBezTo>
                      <a:cubicBezTo>
                        <a:pt x="4596" y="22642"/>
                        <a:pt x="4632" y="25587"/>
                        <a:pt x="6885" y="26421"/>
                      </a:cubicBezTo>
                      <a:lnTo>
                        <a:pt x="10061" y="24079"/>
                      </a:lnTo>
                      <a:cubicBezTo>
                        <a:pt x="9973" y="15491"/>
                        <a:pt x="7364" y="7098"/>
                        <a:pt x="2520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195" name="Google Shape;4327;p64">
                  <a:extLst>
                    <a:ext uri="{FF2B5EF4-FFF2-40B4-BE49-F238E27FC236}">
                      <a16:creationId xmlns:a16="http://schemas.microsoft.com/office/drawing/2014/main" id="{BC55D622-27D8-182C-56B3-EB3076BED3EC}"/>
                    </a:ext>
                  </a:extLst>
                </p:cNvPr>
                <p:cNvSpPr/>
                <p:nvPr/>
              </p:nvSpPr>
              <p:spPr>
                <a:xfrm>
                  <a:off x="2134042" y="-54389"/>
                  <a:ext cx="90203" cy="22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34" h="2026" extrusionOk="0">
                      <a:moveTo>
                        <a:pt x="3405" y="1"/>
                      </a:moveTo>
                      <a:cubicBezTo>
                        <a:pt x="2255" y="1"/>
                        <a:pt x="1201" y="655"/>
                        <a:pt x="1" y="919"/>
                      </a:cubicBezTo>
                      <a:cubicBezTo>
                        <a:pt x="371" y="1711"/>
                        <a:pt x="675" y="1974"/>
                        <a:pt x="943" y="1974"/>
                      </a:cubicBezTo>
                      <a:cubicBezTo>
                        <a:pt x="1419" y="1974"/>
                        <a:pt x="1781" y="1142"/>
                        <a:pt x="2201" y="972"/>
                      </a:cubicBezTo>
                      <a:cubicBezTo>
                        <a:pt x="2266" y="967"/>
                        <a:pt x="2330" y="964"/>
                        <a:pt x="2394" y="964"/>
                      </a:cubicBezTo>
                      <a:cubicBezTo>
                        <a:pt x="3717" y="964"/>
                        <a:pt x="4976" y="2025"/>
                        <a:pt x="6356" y="2025"/>
                      </a:cubicBezTo>
                      <a:cubicBezTo>
                        <a:pt x="6954" y="2025"/>
                        <a:pt x="7575" y="1826"/>
                        <a:pt x="8234" y="1256"/>
                      </a:cubicBezTo>
                      <a:cubicBezTo>
                        <a:pt x="7932" y="936"/>
                        <a:pt x="7684" y="440"/>
                        <a:pt x="7400" y="422"/>
                      </a:cubicBezTo>
                      <a:cubicBezTo>
                        <a:pt x="7374" y="421"/>
                        <a:pt x="7348" y="420"/>
                        <a:pt x="7322" y="420"/>
                      </a:cubicBezTo>
                      <a:cubicBezTo>
                        <a:pt x="6763" y="420"/>
                        <a:pt x="6090" y="679"/>
                        <a:pt x="5591" y="679"/>
                      </a:cubicBezTo>
                      <a:cubicBezTo>
                        <a:pt x="5418" y="679"/>
                        <a:pt x="5266" y="648"/>
                        <a:pt x="5147" y="564"/>
                      </a:cubicBezTo>
                      <a:cubicBezTo>
                        <a:pt x="4527" y="150"/>
                        <a:pt x="3955" y="1"/>
                        <a:pt x="3405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196" name="Google Shape;4328;p64">
                  <a:extLst>
                    <a:ext uri="{FF2B5EF4-FFF2-40B4-BE49-F238E27FC236}">
                      <a16:creationId xmlns:a16="http://schemas.microsoft.com/office/drawing/2014/main" id="{6537F406-96C6-629A-6927-8EB4517AE2B5}"/>
                    </a:ext>
                  </a:extLst>
                </p:cNvPr>
                <p:cNvSpPr/>
                <p:nvPr/>
              </p:nvSpPr>
              <p:spPr>
                <a:xfrm>
                  <a:off x="2238816" y="-47827"/>
                  <a:ext cx="72325" cy="270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2" h="2467" extrusionOk="0">
                      <a:moveTo>
                        <a:pt x="6601" y="0"/>
                      </a:moveTo>
                      <a:cubicBezTo>
                        <a:pt x="4188" y="231"/>
                        <a:pt x="2254" y="391"/>
                        <a:pt x="338" y="604"/>
                      </a:cubicBezTo>
                      <a:cubicBezTo>
                        <a:pt x="231" y="621"/>
                        <a:pt x="160" y="976"/>
                        <a:pt x="1" y="1384"/>
                      </a:cubicBezTo>
                      <a:lnTo>
                        <a:pt x="1438" y="2467"/>
                      </a:lnTo>
                      <a:cubicBezTo>
                        <a:pt x="2573" y="621"/>
                        <a:pt x="4862" y="1491"/>
                        <a:pt x="6601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8188" name="Google Shape;4329;p64">
                <a:extLst>
                  <a:ext uri="{FF2B5EF4-FFF2-40B4-BE49-F238E27FC236}">
                    <a16:creationId xmlns:a16="http://schemas.microsoft.com/office/drawing/2014/main" id="{26B9CC58-414D-FB8A-59BB-2E4B377BC29C}"/>
                  </a:ext>
                </a:extLst>
              </p:cNvPr>
              <p:cNvSpPr/>
              <p:nvPr/>
            </p:nvSpPr>
            <p:spPr>
              <a:xfrm>
                <a:off x="2128411" y="-546641"/>
                <a:ext cx="194386" cy="108115"/>
              </a:xfrm>
              <a:custGeom>
                <a:avLst/>
                <a:gdLst/>
                <a:ahLst/>
                <a:cxnLst/>
                <a:rect l="l" t="t" r="r" b="b"/>
                <a:pathLst>
                  <a:path w="17744" h="9869" extrusionOk="0">
                    <a:moveTo>
                      <a:pt x="11775" y="1"/>
                    </a:moveTo>
                    <a:cubicBezTo>
                      <a:pt x="7969" y="1"/>
                      <a:pt x="4175" y="474"/>
                      <a:pt x="479" y="1405"/>
                    </a:cubicBezTo>
                    <a:lnTo>
                      <a:pt x="0" y="1530"/>
                    </a:lnTo>
                    <a:cubicBezTo>
                      <a:pt x="266" y="1749"/>
                      <a:pt x="570" y="1886"/>
                      <a:pt x="955" y="1886"/>
                    </a:cubicBezTo>
                    <a:cubicBezTo>
                      <a:pt x="1161" y="1886"/>
                      <a:pt x="1391" y="1847"/>
                      <a:pt x="1651" y="1760"/>
                    </a:cubicBezTo>
                    <a:cubicBezTo>
                      <a:pt x="2029" y="1630"/>
                      <a:pt x="2392" y="1564"/>
                      <a:pt x="2739" y="1564"/>
                    </a:cubicBezTo>
                    <a:cubicBezTo>
                      <a:pt x="3580" y="1564"/>
                      <a:pt x="4337" y="1950"/>
                      <a:pt x="5040" y="2754"/>
                    </a:cubicBezTo>
                    <a:cubicBezTo>
                      <a:pt x="5749" y="3588"/>
                      <a:pt x="7204" y="3428"/>
                      <a:pt x="7967" y="4422"/>
                    </a:cubicBezTo>
                    <a:cubicBezTo>
                      <a:pt x="8017" y="4486"/>
                      <a:pt x="8125" y="4504"/>
                      <a:pt x="8257" y="4504"/>
                    </a:cubicBezTo>
                    <a:cubicBezTo>
                      <a:pt x="8429" y="4504"/>
                      <a:pt x="8642" y="4473"/>
                      <a:pt x="8821" y="4473"/>
                    </a:cubicBezTo>
                    <a:cubicBezTo>
                      <a:pt x="8844" y="4473"/>
                      <a:pt x="8868" y="4474"/>
                      <a:pt x="8890" y="4475"/>
                    </a:cubicBezTo>
                    <a:lnTo>
                      <a:pt x="8233" y="6054"/>
                    </a:lnTo>
                    <a:cubicBezTo>
                      <a:pt x="9475" y="6533"/>
                      <a:pt x="11019" y="6640"/>
                      <a:pt x="11605" y="7420"/>
                    </a:cubicBezTo>
                    <a:cubicBezTo>
                      <a:pt x="13095" y="9479"/>
                      <a:pt x="15065" y="9745"/>
                      <a:pt x="17744" y="9869"/>
                    </a:cubicBezTo>
                    <a:cubicBezTo>
                      <a:pt x="17105" y="8982"/>
                      <a:pt x="16271" y="8325"/>
                      <a:pt x="16342" y="7828"/>
                    </a:cubicBezTo>
                    <a:cubicBezTo>
                      <a:pt x="16502" y="6888"/>
                      <a:pt x="16892" y="6125"/>
                      <a:pt x="15632" y="5717"/>
                    </a:cubicBezTo>
                    <a:lnTo>
                      <a:pt x="16857" y="4706"/>
                    </a:lnTo>
                    <a:lnTo>
                      <a:pt x="16484" y="3215"/>
                    </a:lnTo>
                    <a:cubicBezTo>
                      <a:pt x="16786" y="3073"/>
                      <a:pt x="17123" y="3002"/>
                      <a:pt x="17336" y="2772"/>
                    </a:cubicBezTo>
                    <a:cubicBezTo>
                      <a:pt x="17531" y="2559"/>
                      <a:pt x="17549" y="2222"/>
                      <a:pt x="17744" y="1689"/>
                    </a:cubicBezTo>
                    <a:cubicBezTo>
                      <a:pt x="16928" y="1441"/>
                      <a:pt x="16218" y="1281"/>
                      <a:pt x="15579" y="660"/>
                    </a:cubicBezTo>
                    <a:cubicBezTo>
                      <a:pt x="15384" y="465"/>
                      <a:pt x="15171" y="270"/>
                      <a:pt x="14940" y="110"/>
                    </a:cubicBezTo>
                    <a:cubicBezTo>
                      <a:pt x="13885" y="37"/>
                      <a:pt x="12830" y="1"/>
                      <a:pt x="11775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89" name="Google Shape;4330;p64">
                <a:extLst>
                  <a:ext uri="{FF2B5EF4-FFF2-40B4-BE49-F238E27FC236}">
                    <a16:creationId xmlns:a16="http://schemas.microsoft.com/office/drawing/2014/main" id="{C0978B77-3543-8B3A-075F-51CFB7D6C279}"/>
                  </a:ext>
                </a:extLst>
              </p:cNvPr>
              <p:cNvSpPr/>
              <p:nvPr/>
            </p:nvSpPr>
            <p:spPr>
              <a:xfrm>
                <a:off x="2511333" y="-459604"/>
                <a:ext cx="149109" cy="146063"/>
              </a:xfrm>
              <a:custGeom>
                <a:avLst/>
                <a:gdLst/>
                <a:ahLst/>
                <a:cxnLst/>
                <a:rect l="l" t="t" r="r" b="b"/>
                <a:pathLst>
                  <a:path w="13611" h="13333" extrusionOk="0">
                    <a:moveTo>
                      <a:pt x="1947" y="1"/>
                    </a:moveTo>
                    <a:cubicBezTo>
                      <a:pt x="1321" y="1"/>
                      <a:pt x="678" y="263"/>
                      <a:pt x="1" y="842"/>
                    </a:cubicBezTo>
                    <a:lnTo>
                      <a:pt x="1420" y="2634"/>
                    </a:lnTo>
                    <a:lnTo>
                      <a:pt x="5856" y="2829"/>
                    </a:lnTo>
                    <a:lnTo>
                      <a:pt x="5342" y="5224"/>
                    </a:lnTo>
                    <a:lnTo>
                      <a:pt x="8802" y="7105"/>
                    </a:lnTo>
                    <a:lnTo>
                      <a:pt x="7453" y="8702"/>
                    </a:lnTo>
                    <a:lnTo>
                      <a:pt x="9884" y="12925"/>
                    </a:lnTo>
                    <a:lnTo>
                      <a:pt x="12386" y="13333"/>
                    </a:lnTo>
                    <a:cubicBezTo>
                      <a:pt x="11889" y="12109"/>
                      <a:pt x="13610" y="10813"/>
                      <a:pt x="11694" y="9891"/>
                    </a:cubicBezTo>
                    <a:cubicBezTo>
                      <a:pt x="11605" y="9181"/>
                      <a:pt x="11232" y="8436"/>
                      <a:pt x="11179" y="7726"/>
                    </a:cubicBezTo>
                    <a:cubicBezTo>
                      <a:pt x="8713" y="4852"/>
                      <a:pt x="5892" y="2297"/>
                      <a:pt x="2769" y="150"/>
                    </a:cubicBezTo>
                    <a:cubicBezTo>
                      <a:pt x="2497" y="52"/>
                      <a:pt x="2224" y="1"/>
                      <a:pt x="194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90" name="Google Shape;4331;p64">
                <a:extLst>
                  <a:ext uri="{FF2B5EF4-FFF2-40B4-BE49-F238E27FC236}">
                    <a16:creationId xmlns:a16="http://schemas.microsoft.com/office/drawing/2014/main" id="{316C5231-8975-852D-1AD6-DC55C145BDC9}"/>
                  </a:ext>
                </a:extLst>
              </p:cNvPr>
              <p:cNvSpPr/>
              <p:nvPr/>
            </p:nvSpPr>
            <p:spPr>
              <a:xfrm>
                <a:off x="2278079" y="-341148"/>
                <a:ext cx="40051" cy="28001"/>
              </a:xfrm>
              <a:custGeom>
                <a:avLst/>
                <a:gdLst/>
                <a:ahLst/>
                <a:cxnLst/>
                <a:rect l="l" t="t" r="r" b="b"/>
                <a:pathLst>
                  <a:path w="3656" h="2556" extrusionOk="0">
                    <a:moveTo>
                      <a:pt x="498" y="0"/>
                    </a:moveTo>
                    <a:cubicBezTo>
                      <a:pt x="444" y="426"/>
                      <a:pt x="373" y="852"/>
                      <a:pt x="302" y="1278"/>
                    </a:cubicBezTo>
                    <a:cubicBezTo>
                      <a:pt x="231" y="1686"/>
                      <a:pt x="107" y="2076"/>
                      <a:pt x="1" y="2555"/>
                    </a:cubicBezTo>
                    <a:lnTo>
                      <a:pt x="3656" y="2467"/>
                    </a:lnTo>
                    <a:lnTo>
                      <a:pt x="3319" y="1100"/>
                    </a:lnTo>
                    <a:lnTo>
                      <a:pt x="498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191" name="Google Shape;4332;p64">
                <a:extLst>
                  <a:ext uri="{FF2B5EF4-FFF2-40B4-BE49-F238E27FC236}">
                    <a16:creationId xmlns:a16="http://schemas.microsoft.com/office/drawing/2014/main" id="{EF5D4A88-192B-5C1E-FF00-120C833654B5}"/>
                  </a:ext>
                </a:extLst>
              </p:cNvPr>
              <p:cNvSpPr/>
              <p:nvPr/>
            </p:nvSpPr>
            <p:spPr>
              <a:xfrm>
                <a:off x="2357973" y="-515102"/>
                <a:ext cx="46077" cy="20902"/>
              </a:xfrm>
              <a:custGeom>
                <a:avLst/>
                <a:gdLst/>
                <a:ahLst/>
                <a:cxnLst/>
                <a:rect l="l" t="t" r="r" b="b"/>
                <a:pathLst>
                  <a:path w="4206" h="1908" extrusionOk="0">
                    <a:moveTo>
                      <a:pt x="2533" y="1"/>
                    </a:moveTo>
                    <a:cubicBezTo>
                      <a:pt x="1985" y="1"/>
                      <a:pt x="1354" y="226"/>
                      <a:pt x="0" y="709"/>
                    </a:cubicBezTo>
                    <a:cubicBezTo>
                      <a:pt x="1204" y="1500"/>
                      <a:pt x="1825" y="1908"/>
                      <a:pt x="2340" y="1908"/>
                    </a:cubicBezTo>
                    <a:cubicBezTo>
                      <a:pt x="2889" y="1908"/>
                      <a:pt x="3319" y="1447"/>
                      <a:pt x="4206" y="496"/>
                    </a:cubicBezTo>
                    <a:cubicBezTo>
                      <a:pt x="3427" y="173"/>
                      <a:pt x="3012" y="1"/>
                      <a:pt x="2533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8186" name="Google Shape;4333;p64">
              <a:extLst>
                <a:ext uri="{FF2B5EF4-FFF2-40B4-BE49-F238E27FC236}">
                  <a16:creationId xmlns:a16="http://schemas.microsoft.com/office/drawing/2014/main" id="{F58E8318-76E0-A228-9644-FB1DF5A41081}"/>
                </a:ext>
              </a:extLst>
            </p:cNvPr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197" name="Google Shape;4334;p64">
            <a:extLst>
              <a:ext uri="{FF2B5EF4-FFF2-40B4-BE49-F238E27FC236}">
                <a16:creationId xmlns:a16="http://schemas.microsoft.com/office/drawing/2014/main" id="{7AA94EB9-3650-BAFD-5B74-A9A273D2BB02}"/>
              </a:ext>
            </a:extLst>
          </p:cNvPr>
          <p:cNvGrpSpPr/>
          <p:nvPr/>
        </p:nvGrpSpPr>
        <p:grpSpPr>
          <a:xfrm>
            <a:off x="8954300" y="4952191"/>
            <a:ext cx="747515" cy="688663"/>
            <a:chOff x="6652051" y="3714143"/>
            <a:chExt cx="560636" cy="516497"/>
          </a:xfrm>
        </p:grpSpPr>
        <p:grpSp>
          <p:nvGrpSpPr>
            <p:cNvPr id="8198" name="Google Shape;4335;p64">
              <a:extLst>
                <a:ext uri="{FF2B5EF4-FFF2-40B4-BE49-F238E27FC236}">
                  <a16:creationId xmlns:a16="http://schemas.microsoft.com/office/drawing/2014/main" id="{241D37A6-2094-74F7-64D9-AEF8F3052A2B}"/>
                </a:ext>
              </a:extLst>
            </p:cNvPr>
            <p:cNvGrpSpPr/>
            <p:nvPr/>
          </p:nvGrpSpPr>
          <p:grpSpPr>
            <a:xfrm>
              <a:off x="6669657" y="3716715"/>
              <a:ext cx="466768" cy="464314"/>
              <a:chOff x="3139766" y="765669"/>
              <a:chExt cx="886380" cy="881888"/>
            </a:xfrm>
          </p:grpSpPr>
          <p:grpSp>
            <p:nvGrpSpPr>
              <p:cNvPr id="8200" name="Google Shape;4336;p64">
                <a:extLst>
                  <a:ext uri="{FF2B5EF4-FFF2-40B4-BE49-F238E27FC236}">
                    <a16:creationId xmlns:a16="http://schemas.microsoft.com/office/drawing/2014/main" id="{C9861F6E-9667-2F8C-AA0A-5FD76088301E}"/>
                  </a:ext>
                </a:extLst>
              </p:cNvPr>
              <p:cNvGrpSpPr/>
              <p:nvPr/>
            </p:nvGrpSpPr>
            <p:grpSpPr>
              <a:xfrm>
                <a:off x="3139766" y="765669"/>
                <a:ext cx="886380" cy="881888"/>
                <a:chOff x="3139766" y="765669"/>
                <a:chExt cx="886380" cy="881888"/>
              </a:xfrm>
            </p:grpSpPr>
            <p:sp>
              <p:nvSpPr>
                <p:cNvPr id="8205" name="Google Shape;4337;p64">
                  <a:extLst>
                    <a:ext uri="{FF2B5EF4-FFF2-40B4-BE49-F238E27FC236}">
                      <a16:creationId xmlns:a16="http://schemas.microsoft.com/office/drawing/2014/main" id="{9B054235-3E38-8FD4-A350-36CD2B4BBF65}"/>
                    </a:ext>
                  </a:extLst>
                </p:cNvPr>
                <p:cNvSpPr/>
                <p:nvPr/>
              </p:nvSpPr>
              <p:spPr>
                <a:xfrm>
                  <a:off x="3139766" y="765669"/>
                  <a:ext cx="733591" cy="88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964" h="80501" extrusionOk="0">
                      <a:moveTo>
                        <a:pt x="45863" y="0"/>
                      </a:moveTo>
                      <a:cubicBezTo>
                        <a:pt x="43461" y="0"/>
                        <a:pt x="41054" y="188"/>
                        <a:pt x="38663" y="566"/>
                      </a:cubicBezTo>
                      <a:cubicBezTo>
                        <a:pt x="20352" y="3441"/>
                        <a:pt x="6281" y="16660"/>
                        <a:pt x="1757" y="33161"/>
                      </a:cubicBezTo>
                      <a:lnTo>
                        <a:pt x="4081" y="32487"/>
                      </a:lnTo>
                      <a:lnTo>
                        <a:pt x="4081" y="32487"/>
                      </a:lnTo>
                      <a:cubicBezTo>
                        <a:pt x="4756" y="33871"/>
                        <a:pt x="3939" y="34971"/>
                        <a:pt x="3496" y="36213"/>
                      </a:cubicBezTo>
                      <a:cubicBezTo>
                        <a:pt x="3088" y="37384"/>
                        <a:pt x="2129" y="37207"/>
                        <a:pt x="1384" y="37295"/>
                      </a:cubicBezTo>
                      <a:cubicBezTo>
                        <a:pt x="1207" y="37313"/>
                        <a:pt x="1012" y="37348"/>
                        <a:pt x="816" y="37366"/>
                      </a:cubicBezTo>
                      <a:cubicBezTo>
                        <a:pt x="36" y="41997"/>
                        <a:pt x="0" y="46717"/>
                        <a:pt x="728" y="51348"/>
                      </a:cubicBezTo>
                      <a:cubicBezTo>
                        <a:pt x="2644" y="63591"/>
                        <a:pt x="9528" y="73847"/>
                        <a:pt x="19057" y="80501"/>
                      </a:cubicBezTo>
                      <a:cubicBezTo>
                        <a:pt x="18897" y="80217"/>
                        <a:pt x="18737" y="79950"/>
                        <a:pt x="18560" y="79684"/>
                      </a:cubicBezTo>
                      <a:cubicBezTo>
                        <a:pt x="18099" y="79010"/>
                        <a:pt x="17069" y="77928"/>
                        <a:pt x="17194" y="77768"/>
                      </a:cubicBezTo>
                      <a:cubicBezTo>
                        <a:pt x="18081" y="76703"/>
                        <a:pt x="16094" y="76632"/>
                        <a:pt x="16626" y="75834"/>
                      </a:cubicBezTo>
                      <a:cubicBezTo>
                        <a:pt x="15206" y="74876"/>
                        <a:pt x="14816" y="73652"/>
                        <a:pt x="15277" y="71948"/>
                      </a:cubicBezTo>
                      <a:cubicBezTo>
                        <a:pt x="15455" y="71292"/>
                        <a:pt x="15100" y="70529"/>
                        <a:pt x="14426" y="69854"/>
                      </a:cubicBezTo>
                      <a:cubicBezTo>
                        <a:pt x="13468" y="68896"/>
                        <a:pt x="12811" y="67601"/>
                        <a:pt x="12101" y="66394"/>
                      </a:cubicBezTo>
                      <a:cubicBezTo>
                        <a:pt x="11782" y="65862"/>
                        <a:pt x="11338" y="65152"/>
                        <a:pt x="11463" y="64620"/>
                      </a:cubicBezTo>
                      <a:cubicBezTo>
                        <a:pt x="11871" y="62739"/>
                        <a:pt x="12172" y="60734"/>
                        <a:pt x="13095" y="59102"/>
                      </a:cubicBezTo>
                      <a:cubicBezTo>
                        <a:pt x="14337" y="56919"/>
                        <a:pt x="14284" y="54914"/>
                        <a:pt x="13343" y="51969"/>
                      </a:cubicBezTo>
                      <a:lnTo>
                        <a:pt x="13343" y="51969"/>
                      </a:lnTo>
                      <a:cubicBezTo>
                        <a:pt x="12811" y="53619"/>
                        <a:pt x="11888" y="53229"/>
                        <a:pt x="11090" y="53353"/>
                      </a:cubicBezTo>
                      <a:cubicBezTo>
                        <a:pt x="10814" y="53401"/>
                        <a:pt x="10612" y="53439"/>
                        <a:pt x="10447" y="53439"/>
                      </a:cubicBezTo>
                      <a:cubicBezTo>
                        <a:pt x="9997" y="53439"/>
                        <a:pt x="9823" y="53151"/>
                        <a:pt x="9174" y="51969"/>
                      </a:cubicBezTo>
                      <a:cubicBezTo>
                        <a:pt x="7861" y="50763"/>
                        <a:pt x="6619" y="49485"/>
                        <a:pt x="5447" y="48136"/>
                      </a:cubicBezTo>
                      <a:cubicBezTo>
                        <a:pt x="5270" y="47853"/>
                        <a:pt x="5146" y="47551"/>
                        <a:pt x="5110" y="47214"/>
                      </a:cubicBezTo>
                      <a:cubicBezTo>
                        <a:pt x="4862" y="45759"/>
                        <a:pt x="4649" y="44304"/>
                        <a:pt x="4773" y="42796"/>
                      </a:cubicBezTo>
                      <a:lnTo>
                        <a:pt x="4773" y="42796"/>
                      </a:lnTo>
                      <a:lnTo>
                        <a:pt x="9653" y="51756"/>
                      </a:lnTo>
                      <a:cubicBezTo>
                        <a:pt x="11924" y="50745"/>
                        <a:pt x="13680" y="49201"/>
                        <a:pt x="15650" y="47995"/>
                      </a:cubicBezTo>
                      <a:cubicBezTo>
                        <a:pt x="17034" y="47161"/>
                        <a:pt x="17584" y="45954"/>
                        <a:pt x="18045" y="44606"/>
                      </a:cubicBezTo>
                      <a:cubicBezTo>
                        <a:pt x="18205" y="44109"/>
                        <a:pt x="18329" y="43594"/>
                        <a:pt x="18436" y="43080"/>
                      </a:cubicBezTo>
                      <a:lnTo>
                        <a:pt x="15597" y="40542"/>
                      </a:lnTo>
                      <a:lnTo>
                        <a:pt x="15224" y="41749"/>
                      </a:lnTo>
                      <a:cubicBezTo>
                        <a:pt x="14000" y="41092"/>
                        <a:pt x="12793" y="40507"/>
                        <a:pt x="11640" y="39833"/>
                      </a:cubicBezTo>
                      <a:cubicBezTo>
                        <a:pt x="10593" y="39212"/>
                        <a:pt x="10433" y="38395"/>
                        <a:pt x="11374" y="37082"/>
                      </a:cubicBezTo>
                      <a:lnTo>
                        <a:pt x="11374" y="37082"/>
                      </a:lnTo>
                      <a:cubicBezTo>
                        <a:pt x="12448" y="38789"/>
                        <a:pt x="13681" y="39825"/>
                        <a:pt x="15346" y="39825"/>
                      </a:cubicBezTo>
                      <a:cubicBezTo>
                        <a:pt x="15689" y="39825"/>
                        <a:pt x="16049" y="39781"/>
                        <a:pt x="16431" y="39691"/>
                      </a:cubicBezTo>
                      <a:cubicBezTo>
                        <a:pt x="16437" y="39689"/>
                        <a:pt x="16444" y="39688"/>
                        <a:pt x="16450" y="39688"/>
                      </a:cubicBezTo>
                      <a:cubicBezTo>
                        <a:pt x="16592" y="39688"/>
                        <a:pt x="16795" y="40029"/>
                        <a:pt x="16998" y="40063"/>
                      </a:cubicBezTo>
                      <a:cubicBezTo>
                        <a:pt x="17810" y="40257"/>
                        <a:pt x="18605" y="40492"/>
                        <a:pt x="19428" y="40492"/>
                      </a:cubicBezTo>
                      <a:cubicBezTo>
                        <a:pt x="19811" y="40492"/>
                        <a:pt x="20200" y="40441"/>
                        <a:pt x="20600" y="40312"/>
                      </a:cubicBezTo>
                      <a:cubicBezTo>
                        <a:pt x="21150" y="40152"/>
                        <a:pt x="21718" y="40045"/>
                        <a:pt x="22304" y="40010"/>
                      </a:cubicBezTo>
                      <a:cubicBezTo>
                        <a:pt x="24003" y="41489"/>
                        <a:pt x="25144" y="42940"/>
                        <a:pt x="27015" y="42940"/>
                      </a:cubicBezTo>
                      <a:cubicBezTo>
                        <a:pt x="27253" y="42940"/>
                        <a:pt x="27504" y="42917"/>
                        <a:pt x="27769" y="42867"/>
                      </a:cubicBezTo>
                      <a:cubicBezTo>
                        <a:pt x="27999" y="44251"/>
                        <a:pt x="27875" y="45564"/>
                        <a:pt x="28407" y="46486"/>
                      </a:cubicBezTo>
                      <a:cubicBezTo>
                        <a:pt x="29614" y="48616"/>
                        <a:pt x="31158" y="50532"/>
                        <a:pt x="32701" y="52732"/>
                      </a:cubicBezTo>
                      <a:lnTo>
                        <a:pt x="34600" y="50425"/>
                      </a:lnTo>
                      <a:lnTo>
                        <a:pt x="34103" y="47196"/>
                      </a:lnTo>
                      <a:cubicBezTo>
                        <a:pt x="34972" y="46096"/>
                        <a:pt x="36268" y="45173"/>
                        <a:pt x="36286" y="44251"/>
                      </a:cubicBezTo>
                      <a:cubicBezTo>
                        <a:pt x="36303" y="42707"/>
                        <a:pt x="38503" y="42955"/>
                        <a:pt x="38202" y="41394"/>
                      </a:cubicBezTo>
                      <a:cubicBezTo>
                        <a:pt x="38184" y="41305"/>
                        <a:pt x="39604" y="40986"/>
                        <a:pt x="40313" y="40702"/>
                      </a:cubicBezTo>
                      <a:cubicBezTo>
                        <a:pt x="40650" y="40560"/>
                        <a:pt x="40899" y="40223"/>
                        <a:pt x="41378" y="39797"/>
                      </a:cubicBezTo>
                      <a:lnTo>
                        <a:pt x="44785" y="44978"/>
                      </a:lnTo>
                      <a:lnTo>
                        <a:pt x="46630" y="43914"/>
                      </a:lnTo>
                      <a:cubicBezTo>
                        <a:pt x="47553" y="45102"/>
                        <a:pt x="46754" y="46699"/>
                        <a:pt x="48067" y="47480"/>
                      </a:cubicBezTo>
                      <a:cubicBezTo>
                        <a:pt x="47020" y="50124"/>
                        <a:pt x="48741" y="51508"/>
                        <a:pt x="50445" y="52980"/>
                      </a:cubicBezTo>
                      <a:cubicBezTo>
                        <a:pt x="50764" y="53247"/>
                        <a:pt x="50640" y="54010"/>
                        <a:pt x="50746" y="54684"/>
                      </a:cubicBezTo>
                      <a:cubicBezTo>
                        <a:pt x="49546" y="54279"/>
                        <a:pt x="48739" y="53108"/>
                        <a:pt x="47515" y="53108"/>
                      </a:cubicBezTo>
                      <a:cubicBezTo>
                        <a:pt x="47074" y="53108"/>
                        <a:pt x="46579" y="53260"/>
                        <a:pt x="45991" y="53655"/>
                      </a:cubicBezTo>
                      <a:cubicBezTo>
                        <a:pt x="46130" y="53637"/>
                        <a:pt x="46261" y="53629"/>
                        <a:pt x="46385" y="53629"/>
                      </a:cubicBezTo>
                      <a:cubicBezTo>
                        <a:pt x="47902" y="53629"/>
                        <a:pt x="48314" y="54868"/>
                        <a:pt x="48954" y="55606"/>
                      </a:cubicBezTo>
                      <a:cubicBezTo>
                        <a:pt x="49646" y="56387"/>
                        <a:pt x="51119" y="56937"/>
                        <a:pt x="50782" y="58712"/>
                      </a:cubicBezTo>
                      <a:cubicBezTo>
                        <a:pt x="50925" y="58653"/>
                        <a:pt x="51063" y="58628"/>
                        <a:pt x="51196" y="58628"/>
                      </a:cubicBezTo>
                      <a:cubicBezTo>
                        <a:pt x="52116" y="58628"/>
                        <a:pt x="52822" y="59846"/>
                        <a:pt x="53828" y="59846"/>
                      </a:cubicBezTo>
                      <a:cubicBezTo>
                        <a:pt x="54135" y="59846"/>
                        <a:pt x="54469" y="59733"/>
                        <a:pt x="54845" y="59439"/>
                      </a:cubicBezTo>
                      <a:lnTo>
                        <a:pt x="55431" y="57026"/>
                      </a:lnTo>
                      <a:cubicBezTo>
                        <a:pt x="55147" y="56955"/>
                        <a:pt x="54863" y="56902"/>
                        <a:pt x="54579" y="56849"/>
                      </a:cubicBezTo>
                      <a:cubicBezTo>
                        <a:pt x="53053" y="56760"/>
                        <a:pt x="51385" y="55819"/>
                        <a:pt x="51793" y="55269"/>
                      </a:cubicBezTo>
                      <a:lnTo>
                        <a:pt x="52787" y="54844"/>
                      </a:lnTo>
                      <a:lnTo>
                        <a:pt x="52414" y="52501"/>
                      </a:lnTo>
                      <a:cubicBezTo>
                        <a:pt x="48866" y="49893"/>
                        <a:pt x="48440" y="48917"/>
                        <a:pt x="49770" y="46291"/>
                      </a:cubicBezTo>
                      <a:lnTo>
                        <a:pt x="49770" y="46291"/>
                      </a:lnTo>
                      <a:cubicBezTo>
                        <a:pt x="50462" y="46859"/>
                        <a:pt x="51208" y="47338"/>
                        <a:pt x="51775" y="47977"/>
                      </a:cubicBezTo>
                      <a:cubicBezTo>
                        <a:pt x="52326" y="48562"/>
                        <a:pt x="52698" y="49325"/>
                        <a:pt x="53088" y="49929"/>
                      </a:cubicBezTo>
                      <a:lnTo>
                        <a:pt x="55821" y="46948"/>
                      </a:lnTo>
                      <a:lnTo>
                        <a:pt x="55200" y="42955"/>
                      </a:lnTo>
                      <a:lnTo>
                        <a:pt x="52805" y="41447"/>
                      </a:lnTo>
                      <a:lnTo>
                        <a:pt x="53585" y="38253"/>
                      </a:lnTo>
                      <a:lnTo>
                        <a:pt x="55111" y="39229"/>
                      </a:lnTo>
                      <a:cubicBezTo>
                        <a:pt x="55111" y="40045"/>
                        <a:pt x="55111" y="40542"/>
                        <a:pt x="55111" y="41039"/>
                      </a:cubicBezTo>
                      <a:lnTo>
                        <a:pt x="56300" y="41021"/>
                      </a:lnTo>
                      <a:lnTo>
                        <a:pt x="56034" y="38466"/>
                      </a:lnTo>
                      <a:cubicBezTo>
                        <a:pt x="59778" y="37011"/>
                        <a:pt x="60754" y="35876"/>
                        <a:pt x="62546" y="30925"/>
                      </a:cubicBezTo>
                      <a:lnTo>
                        <a:pt x="59370" y="25407"/>
                      </a:lnTo>
                      <a:lnTo>
                        <a:pt x="60754" y="24609"/>
                      </a:lnTo>
                      <a:cubicBezTo>
                        <a:pt x="60620" y="24079"/>
                        <a:pt x="60336" y="23926"/>
                        <a:pt x="59999" y="23926"/>
                      </a:cubicBezTo>
                      <a:cubicBezTo>
                        <a:pt x="59536" y="23926"/>
                        <a:pt x="58975" y="24215"/>
                        <a:pt x="58567" y="24215"/>
                      </a:cubicBezTo>
                      <a:cubicBezTo>
                        <a:pt x="58326" y="24215"/>
                        <a:pt x="58138" y="24114"/>
                        <a:pt x="58057" y="23792"/>
                      </a:cubicBezTo>
                      <a:lnTo>
                        <a:pt x="59316" y="21344"/>
                      </a:lnTo>
                      <a:lnTo>
                        <a:pt x="60062" y="22692"/>
                      </a:lnTo>
                      <a:lnTo>
                        <a:pt x="61286" y="21858"/>
                      </a:lnTo>
                      <a:lnTo>
                        <a:pt x="63504" y="23775"/>
                      </a:lnTo>
                      <a:lnTo>
                        <a:pt x="64178" y="27040"/>
                      </a:lnTo>
                      <a:cubicBezTo>
                        <a:pt x="64959" y="25993"/>
                        <a:pt x="65598" y="25478"/>
                        <a:pt x="65775" y="24822"/>
                      </a:cubicBezTo>
                      <a:cubicBezTo>
                        <a:pt x="66201" y="23367"/>
                        <a:pt x="64356" y="23225"/>
                        <a:pt x="64089" y="22515"/>
                      </a:cubicBezTo>
                      <a:lnTo>
                        <a:pt x="64444" y="18647"/>
                      </a:lnTo>
                      <a:cubicBezTo>
                        <a:pt x="66520" y="17955"/>
                        <a:pt x="66538" y="17902"/>
                        <a:pt x="66609" y="16305"/>
                      </a:cubicBezTo>
                      <a:cubicBezTo>
                        <a:pt x="66698" y="14229"/>
                        <a:pt x="66840" y="12171"/>
                        <a:pt x="66964" y="10059"/>
                      </a:cubicBezTo>
                      <a:cubicBezTo>
                        <a:pt x="65951" y="8994"/>
                        <a:pt x="64617" y="8884"/>
                        <a:pt x="63235" y="8884"/>
                      </a:cubicBezTo>
                      <a:cubicBezTo>
                        <a:pt x="62876" y="8884"/>
                        <a:pt x="62514" y="8891"/>
                        <a:pt x="62153" y="8891"/>
                      </a:cubicBezTo>
                      <a:cubicBezTo>
                        <a:pt x="62029" y="8891"/>
                        <a:pt x="61906" y="8890"/>
                        <a:pt x="61783" y="8888"/>
                      </a:cubicBezTo>
                      <a:cubicBezTo>
                        <a:pt x="61978" y="8001"/>
                        <a:pt x="62209" y="7362"/>
                        <a:pt x="62262" y="6741"/>
                      </a:cubicBezTo>
                      <a:cubicBezTo>
                        <a:pt x="62297" y="6102"/>
                        <a:pt x="62173" y="5464"/>
                        <a:pt x="62120" y="4701"/>
                      </a:cubicBezTo>
                      <a:lnTo>
                        <a:pt x="65119" y="4239"/>
                      </a:lnTo>
                      <a:cubicBezTo>
                        <a:pt x="59052" y="1427"/>
                        <a:pt x="52479" y="0"/>
                        <a:pt x="45863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206" name="Google Shape;4338;p64">
                  <a:extLst>
                    <a:ext uri="{FF2B5EF4-FFF2-40B4-BE49-F238E27FC236}">
                      <a16:creationId xmlns:a16="http://schemas.microsoft.com/office/drawing/2014/main" id="{CE6FAAE3-F70D-BFE2-CF06-0E2EBFABAEDD}"/>
                    </a:ext>
                  </a:extLst>
                </p:cNvPr>
                <p:cNvSpPr/>
                <p:nvPr/>
              </p:nvSpPr>
              <p:spPr>
                <a:xfrm>
                  <a:off x="3787623" y="1419737"/>
                  <a:ext cx="223361" cy="194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89" h="17709" extrusionOk="0">
                      <a:moveTo>
                        <a:pt x="17567" y="0"/>
                      </a:moveTo>
                      <a:lnTo>
                        <a:pt x="17567" y="0"/>
                      </a:lnTo>
                      <a:cubicBezTo>
                        <a:pt x="17070" y="1331"/>
                        <a:pt x="16644" y="2697"/>
                        <a:pt x="16307" y="4081"/>
                      </a:cubicBezTo>
                      <a:cubicBezTo>
                        <a:pt x="16278" y="4199"/>
                        <a:pt x="16114" y="4268"/>
                        <a:pt x="16100" y="4268"/>
                      </a:cubicBezTo>
                      <a:cubicBezTo>
                        <a:pt x="16097" y="4268"/>
                        <a:pt x="16100" y="4265"/>
                        <a:pt x="16112" y="4259"/>
                      </a:cubicBezTo>
                      <a:lnTo>
                        <a:pt x="13912" y="3034"/>
                      </a:lnTo>
                      <a:lnTo>
                        <a:pt x="14391" y="1437"/>
                      </a:lnTo>
                      <a:lnTo>
                        <a:pt x="12617" y="337"/>
                      </a:lnTo>
                      <a:cubicBezTo>
                        <a:pt x="12563" y="2112"/>
                        <a:pt x="10416" y="1970"/>
                        <a:pt x="10523" y="3655"/>
                      </a:cubicBezTo>
                      <a:cubicBezTo>
                        <a:pt x="10523" y="3709"/>
                        <a:pt x="10239" y="3797"/>
                        <a:pt x="10079" y="3815"/>
                      </a:cubicBezTo>
                      <a:cubicBezTo>
                        <a:pt x="8287" y="4028"/>
                        <a:pt x="8553" y="4418"/>
                        <a:pt x="7276" y="5305"/>
                      </a:cubicBezTo>
                      <a:cubicBezTo>
                        <a:pt x="5785" y="6352"/>
                        <a:pt x="5466" y="8730"/>
                        <a:pt x="3017" y="8765"/>
                      </a:cubicBezTo>
                      <a:cubicBezTo>
                        <a:pt x="2166" y="8783"/>
                        <a:pt x="1154" y="9919"/>
                        <a:pt x="569" y="10770"/>
                      </a:cubicBezTo>
                      <a:cubicBezTo>
                        <a:pt x="178" y="11356"/>
                        <a:pt x="1" y="12705"/>
                        <a:pt x="374" y="13095"/>
                      </a:cubicBezTo>
                      <a:cubicBezTo>
                        <a:pt x="1687" y="14443"/>
                        <a:pt x="746" y="15810"/>
                        <a:pt x="569" y="17708"/>
                      </a:cubicBezTo>
                      <a:cubicBezTo>
                        <a:pt x="3337" y="16519"/>
                        <a:pt x="5839" y="15668"/>
                        <a:pt x="8074" y="14213"/>
                      </a:cubicBezTo>
                      <a:lnTo>
                        <a:pt x="10558" y="15934"/>
                      </a:lnTo>
                      <a:lnTo>
                        <a:pt x="9866" y="17336"/>
                      </a:lnTo>
                      <a:cubicBezTo>
                        <a:pt x="11960" y="17300"/>
                        <a:pt x="13592" y="16998"/>
                        <a:pt x="14710" y="15508"/>
                      </a:cubicBezTo>
                      <a:cubicBezTo>
                        <a:pt x="16094" y="13645"/>
                        <a:pt x="17585" y="11835"/>
                        <a:pt x="18773" y="9866"/>
                      </a:cubicBezTo>
                      <a:cubicBezTo>
                        <a:pt x="19590" y="8482"/>
                        <a:pt x="20388" y="6885"/>
                        <a:pt x="18862" y="5305"/>
                      </a:cubicBezTo>
                      <a:cubicBezTo>
                        <a:pt x="18596" y="5039"/>
                        <a:pt x="18330" y="4330"/>
                        <a:pt x="18472" y="4099"/>
                      </a:cubicBezTo>
                      <a:cubicBezTo>
                        <a:pt x="19732" y="2307"/>
                        <a:pt x="17372" y="1491"/>
                        <a:pt x="17567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207" name="Google Shape;4339;p64">
                  <a:extLst>
                    <a:ext uri="{FF2B5EF4-FFF2-40B4-BE49-F238E27FC236}">
                      <a16:creationId xmlns:a16="http://schemas.microsoft.com/office/drawing/2014/main" id="{7115968B-2E29-D020-E5B9-DB680840147D}"/>
                    </a:ext>
                  </a:extLst>
                </p:cNvPr>
                <p:cNvSpPr/>
                <p:nvPr/>
              </p:nvSpPr>
              <p:spPr>
                <a:xfrm>
                  <a:off x="3757694" y="1303888"/>
                  <a:ext cx="77956" cy="970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6" h="8855" extrusionOk="0">
                      <a:moveTo>
                        <a:pt x="5359" y="0"/>
                      </a:moveTo>
                      <a:cubicBezTo>
                        <a:pt x="4649" y="976"/>
                        <a:pt x="3993" y="1774"/>
                        <a:pt x="3460" y="2644"/>
                      </a:cubicBezTo>
                      <a:cubicBezTo>
                        <a:pt x="2910" y="3513"/>
                        <a:pt x="1455" y="3638"/>
                        <a:pt x="1828" y="5181"/>
                      </a:cubicBezTo>
                      <a:cubicBezTo>
                        <a:pt x="1354" y="4803"/>
                        <a:pt x="1037" y="4660"/>
                        <a:pt x="815" y="4660"/>
                      </a:cubicBezTo>
                      <a:cubicBezTo>
                        <a:pt x="256" y="4660"/>
                        <a:pt x="305" y="5571"/>
                        <a:pt x="1" y="5926"/>
                      </a:cubicBezTo>
                      <a:cubicBezTo>
                        <a:pt x="1136" y="7417"/>
                        <a:pt x="1438" y="7577"/>
                        <a:pt x="5412" y="8854"/>
                      </a:cubicBezTo>
                      <a:cubicBezTo>
                        <a:pt x="5590" y="7896"/>
                        <a:pt x="5625" y="7239"/>
                        <a:pt x="5820" y="6636"/>
                      </a:cubicBezTo>
                      <a:cubicBezTo>
                        <a:pt x="6033" y="6015"/>
                        <a:pt x="6335" y="5430"/>
                        <a:pt x="6708" y="4880"/>
                      </a:cubicBezTo>
                      <a:cubicBezTo>
                        <a:pt x="7116" y="4294"/>
                        <a:pt x="5696" y="4170"/>
                        <a:pt x="6459" y="3354"/>
                      </a:cubicBezTo>
                      <a:cubicBezTo>
                        <a:pt x="6849" y="2928"/>
                        <a:pt x="6637" y="1686"/>
                        <a:pt x="6778" y="1384"/>
                      </a:cubicBezTo>
                      <a:cubicBezTo>
                        <a:pt x="6832" y="1224"/>
                        <a:pt x="6867" y="1047"/>
                        <a:pt x="6885" y="870"/>
                      </a:cubicBezTo>
                      <a:lnTo>
                        <a:pt x="5359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208" name="Google Shape;4340;p64">
                  <a:extLst>
                    <a:ext uri="{FF2B5EF4-FFF2-40B4-BE49-F238E27FC236}">
                      <a16:creationId xmlns:a16="http://schemas.microsoft.com/office/drawing/2014/main" id="{D3362793-4254-FB99-F0DA-0A0F7D555626}"/>
                    </a:ext>
                  </a:extLst>
                </p:cNvPr>
                <p:cNvSpPr/>
                <p:nvPr/>
              </p:nvSpPr>
              <p:spPr>
                <a:xfrm>
                  <a:off x="3916892" y="1338867"/>
                  <a:ext cx="109254" cy="684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73" h="6247" extrusionOk="0">
                      <a:moveTo>
                        <a:pt x="0" y="1"/>
                      </a:moveTo>
                      <a:lnTo>
                        <a:pt x="266" y="1722"/>
                      </a:lnTo>
                      <a:lnTo>
                        <a:pt x="1668" y="1970"/>
                      </a:lnTo>
                      <a:lnTo>
                        <a:pt x="870" y="3177"/>
                      </a:lnTo>
                      <a:cubicBezTo>
                        <a:pt x="1300" y="3058"/>
                        <a:pt x="1704" y="3001"/>
                        <a:pt x="2079" y="3001"/>
                      </a:cubicBezTo>
                      <a:cubicBezTo>
                        <a:pt x="3221" y="3001"/>
                        <a:pt x="4106" y="3533"/>
                        <a:pt x="4720" y="4508"/>
                      </a:cubicBezTo>
                      <a:cubicBezTo>
                        <a:pt x="5319" y="5452"/>
                        <a:pt x="5558" y="5867"/>
                        <a:pt x="5945" y="5867"/>
                      </a:cubicBezTo>
                      <a:cubicBezTo>
                        <a:pt x="6235" y="5867"/>
                        <a:pt x="6607" y="5635"/>
                        <a:pt x="7275" y="5218"/>
                      </a:cubicBezTo>
                      <a:cubicBezTo>
                        <a:pt x="7453" y="5111"/>
                        <a:pt x="7648" y="5058"/>
                        <a:pt x="7861" y="5022"/>
                      </a:cubicBezTo>
                      <a:lnTo>
                        <a:pt x="9564" y="6247"/>
                      </a:lnTo>
                      <a:lnTo>
                        <a:pt x="9972" y="5679"/>
                      </a:lnTo>
                      <a:cubicBezTo>
                        <a:pt x="9582" y="4809"/>
                        <a:pt x="9262" y="3887"/>
                        <a:pt x="8819" y="3035"/>
                      </a:cubicBezTo>
                      <a:cubicBezTo>
                        <a:pt x="8151" y="1821"/>
                        <a:pt x="7070" y="1194"/>
                        <a:pt x="5857" y="1194"/>
                      </a:cubicBezTo>
                      <a:cubicBezTo>
                        <a:pt x="5138" y="1194"/>
                        <a:pt x="4373" y="1415"/>
                        <a:pt x="3620" y="1864"/>
                      </a:cubicBezTo>
                      <a:cubicBezTo>
                        <a:pt x="3336" y="2024"/>
                        <a:pt x="3052" y="2166"/>
                        <a:pt x="2644" y="2396"/>
                      </a:cubicBezTo>
                      <a:lnTo>
                        <a:pt x="1970" y="462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209" name="Google Shape;4341;p64">
                  <a:extLst>
                    <a:ext uri="{FF2B5EF4-FFF2-40B4-BE49-F238E27FC236}">
                      <a16:creationId xmlns:a16="http://schemas.microsoft.com/office/drawing/2014/main" id="{6665A627-20DA-0D16-67C6-F5176223A96D}"/>
                    </a:ext>
                  </a:extLst>
                </p:cNvPr>
                <p:cNvSpPr/>
                <p:nvPr/>
              </p:nvSpPr>
              <p:spPr>
                <a:xfrm>
                  <a:off x="3865184" y="936118"/>
                  <a:ext cx="73103" cy="1345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3" h="12279" extrusionOk="0">
                      <a:moveTo>
                        <a:pt x="6672" y="1"/>
                      </a:moveTo>
                      <a:lnTo>
                        <a:pt x="6672" y="1"/>
                      </a:lnTo>
                      <a:cubicBezTo>
                        <a:pt x="6223" y="198"/>
                        <a:pt x="5784" y="260"/>
                        <a:pt x="5357" y="260"/>
                      </a:cubicBezTo>
                      <a:cubicBezTo>
                        <a:pt x="4670" y="260"/>
                        <a:pt x="4013" y="100"/>
                        <a:pt x="3390" y="89"/>
                      </a:cubicBezTo>
                      <a:lnTo>
                        <a:pt x="3088" y="2786"/>
                      </a:lnTo>
                      <a:lnTo>
                        <a:pt x="4809" y="5164"/>
                      </a:lnTo>
                      <a:lnTo>
                        <a:pt x="1" y="10771"/>
                      </a:lnTo>
                      <a:lnTo>
                        <a:pt x="1083" y="12279"/>
                      </a:lnTo>
                      <a:lnTo>
                        <a:pt x="6388" y="7772"/>
                      </a:lnTo>
                      <a:cubicBezTo>
                        <a:pt x="4454" y="6495"/>
                        <a:pt x="6175" y="3709"/>
                        <a:pt x="4383" y="2502"/>
                      </a:cubicBezTo>
                      <a:lnTo>
                        <a:pt x="6672" y="1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210" name="Google Shape;4342;p64">
                  <a:extLst>
                    <a:ext uri="{FF2B5EF4-FFF2-40B4-BE49-F238E27FC236}">
                      <a16:creationId xmlns:a16="http://schemas.microsoft.com/office/drawing/2014/main" id="{566AC566-5879-74BD-1BF5-9A35C037D61C}"/>
                    </a:ext>
                  </a:extLst>
                </p:cNvPr>
                <p:cNvSpPr/>
                <p:nvPr/>
              </p:nvSpPr>
              <p:spPr>
                <a:xfrm>
                  <a:off x="3738260" y="1420756"/>
                  <a:ext cx="79895" cy="16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93" h="1542" extrusionOk="0">
                      <a:moveTo>
                        <a:pt x="4286" y="0"/>
                      </a:moveTo>
                      <a:cubicBezTo>
                        <a:pt x="2949" y="0"/>
                        <a:pt x="1596" y="367"/>
                        <a:pt x="0" y="510"/>
                      </a:cubicBezTo>
                      <a:cubicBezTo>
                        <a:pt x="787" y="973"/>
                        <a:pt x="1302" y="1542"/>
                        <a:pt x="1738" y="1542"/>
                      </a:cubicBezTo>
                      <a:cubicBezTo>
                        <a:pt x="1970" y="1542"/>
                        <a:pt x="2179" y="1380"/>
                        <a:pt x="2396" y="954"/>
                      </a:cubicBezTo>
                      <a:cubicBezTo>
                        <a:pt x="2708" y="1325"/>
                        <a:pt x="3056" y="1432"/>
                        <a:pt x="3417" y="1432"/>
                      </a:cubicBezTo>
                      <a:cubicBezTo>
                        <a:pt x="3816" y="1432"/>
                        <a:pt x="4231" y="1302"/>
                        <a:pt x="4631" y="1256"/>
                      </a:cubicBezTo>
                      <a:cubicBezTo>
                        <a:pt x="5394" y="1149"/>
                        <a:pt x="6157" y="1025"/>
                        <a:pt x="7293" y="830"/>
                      </a:cubicBezTo>
                      <a:cubicBezTo>
                        <a:pt x="6240" y="198"/>
                        <a:pt x="5268" y="0"/>
                        <a:pt x="4286" y="0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211" name="Google Shape;4343;p64">
                  <a:extLst>
                    <a:ext uri="{FF2B5EF4-FFF2-40B4-BE49-F238E27FC236}">
                      <a16:creationId xmlns:a16="http://schemas.microsoft.com/office/drawing/2014/main" id="{9C8052A5-15C1-D76A-1EEE-523C40EBC2EE}"/>
                    </a:ext>
                  </a:extLst>
                </p:cNvPr>
                <p:cNvSpPr/>
                <p:nvPr/>
              </p:nvSpPr>
              <p:spPr>
                <a:xfrm>
                  <a:off x="3833886" y="1361610"/>
                  <a:ext cx="29370" cy="412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81" h="3763" extrusionOk="0">
                      <a:moveTo>
                        <a:pt x="2662" y="1"/>
                      </a:moveTo>
                      <a:cubicBezTo>
                        <a:pt x="19" y="675"/>
                        <a:pt x="1" y="764"/>
                        <a:pt x="1012" y="3763"/>
                      </a:cubicBezTo>
                      <a:lnTo>
                        <a:pt x="1491" y="2148"/>
                      </a:lnTo>
                      <a:lnTo>
                        <a:pt x="2201" y="3408"/>
                      </a:lnTo>
                      <a:lnTo>
                        <a:pt x="2680" y="3372"/>
                      </a:lnTo>
                      <a:cubicBezTo>
                        <a:pt x="2574" y="2840"/>
                        <a:pt x="2485" y="2308"/>
                        <a:pt x="2450" y="1758"/>
                      </a:cubicBezTo>
                      <a:cubicBezTo>
                        <a:pt x="2485" y="1172"/>
                        <a:pt x="2556" y="586"/>
                        <a:pt x="2662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212" name="Google Shape;4344;p64">
                  <a:extLst>
                    <a:ext uri="{FF2B5EF4-FFF2-40B4-BE49-F238E27FC236}">
                      <a16:creationId xmlns:a16="http://schemas.microsoft.com/office/drawing/2014/main" id="{35813FCE-7170-CB92-2E2C-DDC59B13411D}"/>
                    </a:ext>
                  </a:extLst>
                </p:cNvPr>
                <p:cNvSpPr/>
                <p:nvPr/>
              </p:nvSpPr>
              <p:spPr>
                <a:xfrm>
                  <a:off x="3852553" y="1272590"/>
                  <a:ext cx="36162" cy="344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01" h="3142" extrusionOk="0">
                      <a:moveTo>
                        <a:pt x="3301" y="0"/>
                      </a:moveTo>
                      <a:lnTo>
                        <a:pt x="0" y="1455"/>
                      </a:lnTo>
                      <a:lnTo>
                        <a:pt x="550" y="2520"/>
                      </a:lnTo>
                      <a:lnTo>
                        <a:pt x="1154" y="1793"/>
                      </a:lnTo>
                      <a:lnTo>
                        <a:pt x="2804" y="3141"/>
                      </a:lnTo>
                      <a:lnTo>
                        <a:pt x="3301" y="0"/>
                      </a:ln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213" name="Google Shape;4345;p64">
                  <a:extLst>
                    <a:ext uri="{FF2B5EF4-FFF2-40B4-BE49-F238E27FC236}">
                      <a16:creationId xmlns:a16="http://schemas.microsoft.com/office/drawing/2014/main" id="{5BE8A88D-8730-7254-AFA5-61A7B886DDF7}"/>
                    </a:ext>
                  </a:extLst>
                </p:cNvPr>
                <p:cNvSpPr/>
                <p:nvPr/>
              </p:nvSpPr>
              <p:spPr>
                <a:xfrm>
                  <a:off x="3832330" y="1195806"/>
                  <a:ext cx="18481" cy="466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7" h="4260" extrusionOk="0">
                      <a:moveTo>
                        <a:pt x="249" y="1"/>
                      </a:moveTo>
                      <a:cubicBezTo>
                        <a:pt x="1" y="2627"/>
                        <a:pt x="1" y="2627"/>
                        <a:pt x="977" y="4259"/>
                      </a:cubicBezTo>
                      <a:cubicBezTo>
                        <a:pt x="1687" y="1261"/>
                        <a:pt x="1687" y="1261"/>
                        <a:pt x="249" y="1"/>
                      </a:cubicBezTo>
                      <a:close/>
                    </a:path>
                  </a:pathLst>
                </a:custGeom>
                <a:noFill/>
                <a:ln w="9525" cap="flat" cmpd="sng">
                  <a:solidFill>
                    <a:srgbClr val="5F8195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8201" name="Google Shape;4346;p64">
                <a:extLst>
                  <a:ext uri="{FF2B5EF4-FFF2-40B4-BE49-F238E27FC236}">
                    <a16:creationId xmlns:a16="http://schemas.microsoft.com/office/drawing/2014/main" id="{B3D636E4-D5FE-4147-D15E-0AEB6F0C8B61}"/>
                  </a:ext>
                </a:extLst>
              </p:cNvPr>
              <p:cNvSpPr/>
              <p:nvPr/>
            </p:nvSpPr>
            <p:spPr>
              <a:xfrm>
                <a:off x="3243368" y="1332656"/>
                <a:ext cx="2147" cy="975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202" name="Google Shape;4347;p64">
                <a:extLst>
                  <a:ext uri="{FF2B5EF4-FFF2-40B4-BE49-F238E27FC236}">
                    <a16:creationId xmlns:a16="http://schemas.microsoft.com/office/drawing/2014/main" id="{F220D25F-8108-E0B6-DAD1-09918E48B6C2}"/>
                  </a:ext>
                </a:extLst>
              </p:cNvPr>
              <p:cNvSpPr/>
              <p:nvPr/>
            </p:nvSpPr>
            <p:spPr>
              <a:xfrm>
                <a:off x="3903089" y="838542"/>
                <a:ext cx="31496" cy="31112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203" name="Google Shape;4348;p64">
                <a:extLst>
                  <a:ext uri="{FF2B5EF4-FFF2-40B4-BE49-F238E27FC236}">
                    <a16:creationId xmlns:a16="http://schemas.microsoft.com/office/drawing/2014/main" id="{281317B3-FEF9-9E44-50D5-DF5CCBD3F97F}"/>
                  </a:ext>
                </a:extLst>
              </p:cNvPr>
              <p:cNvSpPr/>
              <p:nvPr/>
            </p:nvSpPr>
            <p:spPr>
              <a:xfrm>
                <a:off x="3240256" y="1333620"/>
                <a:ext cx="2925" cy="1380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8204" name="Google Shape;4349;p64">
                <a:extLst>
                  <a:ext uri="{FF2B5EF4-FFF2-40B4-BE49-F238E27FC236}">
                    <a16:creationId xmlns:a16="http://schemas.microsoft.com/office/drawing/2014/main" id="{81E365AD-AE1E-60D7-1368-DF4E404E4F1B}"/>
                  </a:ext>
                </a:extLst>
              </p:cNvPr>
              <p:cNvSpPr/>
              <p:nvPr/>
            </p:nvSpPr>
            <p:spPr>
              <a:xfrm>
                <a:off x="3334721" y="1524314"/>
                <a:ext cx="58719" cy="88834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5F8195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8199" name="Google Shape;4350;p64">
              <a:extLst>
                <a:ext uri="{FF2B5EF4-FFF2-40B4-BE49-F238E27FC236}">
                  <a16:creationId xmlns:a16="http://schemas.microsoft.com/office/drawing/2014/main" id="{2ABE6595-0389-0A76-7AF1-4DC78487EEE8}"/>
                </a:ext>
              </a:extLst>
            </p:cNvPr>
            <p:cNvSpPr/>
            <p:nvPr/>
          </p:nvSpPr>
          <p:spPr>
            <a:xfrm>
              <a:off x="6652051" y="3714143"/>
              <a:ext cx="560636" cy="516497"/>
            </a:xfrm>
            <a:custGeom>
              <a:avLst/>
              <a:gdLst/>
              <a:ahLst/>
              <a:cxnLst/>
              <a:rect l="l" t="t" r="r" b="b"/>
              <a:pathLst>
                <a:path w="97164" h="89553" extrusionOk="0">
                  <a:moveTo>
                    <a:pt x="48954" y="445"/>
                  </a:moveTo>
                  <a:cubicBezTo>
                    <a:pt x="70832" y="445"/>
                    <a:pt x="89977" y="15970"/>
                    <a:pt x="93384" y="37777"/>
                  </a:cubicBezTo>
                  <a:cubicBezTo>
                    <a:pt x="97163" y="61943"/>
                    <a:pt x="80183" y="84673"/>
                    <a:pt x="55431" y="88541"/>
                  </a:cubicBezTo>
                  <a:cubicBezTo>
                    <a:pt x="53035" y="88913"/>
                    <a:pt x="50622" y="89109"/>
                    <a:pt x="48209" y="89109"/>
                  </a:cubicBezTo>
                  <a:cubicBezTo>
                    <a:pt x="26332" y="89109"/>
                    <a:pt x="7204" y="73583"/>
                    <a:pt x="3780" y="51794"/>
                  </a:cubicBezTo>
                  <a:cubicBezTo>
                    <a:pt x="0" y="27610"/>
                    <a:pt x="16999" y="4880"/>
                    <a:pt x="41733" y="1012"/>
                  </a:cubicBezTo>
                  <a:cubicBezTo>
                    <a:pt x="44128" y="640"/>
                    <a:pt x="46541" y="445"/>
                    <a:pt x="48954" y="445"/>
                  </a:cubicBezTo>
                  <a:close/>
                  <a:moveTo>
                    <a:pt x="48954" y="1"/>
                  </a:moveTo>
                  <a:cubicBezTo>
                    <a:pt x="46524" y="1"/>
                    <a:pt x="44075" y="196"/>
                    <a:pt x="41662" y="569"/>
                  </a:cubicBezTo>
                  <a:cubicBezTo>
                    <a:pt x="35629" y="1509"/>
                    <a:pt x="29827" y="3621"/>
                    <a:pt x="24610" y="6797"/>
                  </a:cubicBezTo>
                  <a:cubicBezTo>
                    <a:pt x="19589" y="9849"/>
                    <a:pt x="15206" y="13823"/>
                    <a:pt x="11711" y="18525"/>
                  </a:cubicBezTo>
                  <a:cubicBezTo>
                    <a:pt x="8216" y="23174"/>
                    <a:pt x="5661" y="28461"/>
                    <a:pt x="4206" y="34086"/>
                  </a:cubicBezTo>
                  <a:cubicBezTo>
                    <a:pt x="1331" y="45247"/>
                    <a:pt x="2946" y="57064"/>
                    <a:pt x="8712" y="67036"/>
                  </a:cubicBezTo>
                  <a:cubicBezTo>
                    <a:pt x="11338" y="71578"/>
                    <a:pt x="14745" y="75623"/>
                    <a:pt x="18791" y="78959"/>
                  </a:cubicBezTo>
                  <a:cubicBezTo>
                    <a:pt x="27059" y="85808"/>
                    <a:pt x="37474" y="89552"/>
                    <a:pt x="48209" y="89552"/>
                  </a:cubicBezTo>
                  <a:cubicBezTo>
                    <a:pt x="50640" y="89552"/>
                    <a:pt x="53089" y="89357"/>
                    <a:pt x="55502" y="88984"/>
                  </a:cubicBezTo>
                  <a:cubicBezTo>
                    <a:pt x="61534" y="88044"/>
                    <a:pt x="67337" y="85932"/>
                    <a:pt x="72571" y="82756"/>
                  </a:cubicBezTo>
                  <a:cubicBezTo>
                    <a:pt x="77575" y="79704"/>
                    <a:pt x="81957" y="75730"/>
                    <a:pt x="85453" y="71028"/>
                  </a:cubicBezTo>
                  <a:cubicBezTo>
                    <a:pt x="88948" y="66379"/>
                    <a:pt x="91503" y="61092"/>
                    <a:pt x="92958" y="55467"/>
                  </a:cubicBezTo>
                  <a:cubicBezTo>
                    <a:pt x="95832" y="44324"/>
                    <a:pt x="94218" y="32489"/>
                    <a:pt x="88451" y="22517"/>
                  </a:cubicBezTo>
                  <a:cubicBezTo>
                    <a:pt x="85825" y="17975"/>
                    <a:pt x="82418" y="13947"/>
                    <a:pt x="78373" y="10594"/>
                  </a:cubicBezTo>
                  <a:cubicBezTo>
                    <a:pt x="70105" y="3745"/>
                    <a:pt x="59689" y="1"/>
                    <a:pt x="4895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E3E9E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8214" name="Google Shape;4351;p64">
            <a:extLst>
              <a:ext uri="{FF2B5EF4-FFF2-40B4-BE49-F238E27FC236}">
                <a16:creationId xmlns:a16="http://schemas.microsoft.com/office/drawing/2014/main" id="{646E9BCA-8BC4-15F5-72E3-FA5FEC29E6BE}"/>
              </a:ext>
            </a:extLst>
          </p:cNvPr>
          <p:cNvGrpSpPr/>
          <p:nvPr/>
        </p:nvGrpSpPr>
        <p:grpSpPr>
          <a:xfrm>
            <a:off x="968813" y="1590435"/>
            <a:ext cx="3553431" cy="1756187"/>
            <a:chOff x="793334" y="1192826"/>
            <a:chExt cx="2665073" cy="1317140"/>
          </a:xfrm>
        </p:grpSpPr>
        <p:sp>
          <p:nvSpPr>
            <p:cNvPr id="8215" name="Google Shape;4352;p64">
              <a:extLst>
                <a:ext uri="{FF2B5EF4-FFF2-40B4-BE49-F238E27FC236}">
                  <a16:creationId xmlns:a16="http://schemas.microsoft.com/office/drawing/2014/main" id="{7F8B7BD8-680E-2143-04F8-E6381F4C0A13}"/>
                </a:ext>
              </a:extLst>
            </p:cNvPr>
            <p:cNvSpPr/>
            <p:nvPr/>
          </p:nvSpPr>
          <p:spPr>
            <a:xfrm>
              <a:off x="2759899" y="20345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16" name="Google Shape;4353;p64">
              <a:extLst>
                <a:ext uri="{FF2B5EF4-FFF2-40B4-BE49-F238E27FC236}">
                  <a16:creationId xmlns:a16="http://schemas.microsoft.com/office/drawing/2014/main" id="{4EFA1C5D-64EA-69CC-039C-ED4551289770}"/>
                </a:ext>
              </a:extLst>
            </p:cNvPr>
            <p:cNvSpPr/>
            <p:nvPr/>
          </p:nvSpPr>
          <p:spPr>
            <a:xfrm>
              <a:off x="2622291" y="1667631"/>
              <a:ext cx="12573" cy="1765"/>
            </a:xfrm>
            <a:custGeom>
              <a:avLst/>
              <a:gdLst/>
              <a:ahLst/>
              <a:cxnLst/>
              <a:rect l="l" t="t" r="r" b="b"/>
              <a:pathLst>
                <a:path w="926" h="130" extrusionOk="0">
                  <a:moveTo>
                    <a:pt x="925" y="0"/>
                  </a:moveTo>
                  <a:cubicBezTo>
                    <a:pt x="866" y="7"/>
                    <a:pt x="771" y="18"/>
                    <a:pt x="687" y="32"/>
                  </a:cubicBezTo>
                  <a:cubicBezTo>
                    <a:pt x="460" y="67"/>
                    <a:pt x="232" y="91"/>
                    <a:pt x="1" y="102"/>
                  </a:cubicBezTo>
                  <a:lnTo>
                    <a:pt x="60" y="105"/>
                  </a:lnTo>
                  <a:cubicBezTo>
                    <a:pt x="208" y="119"/>
                    <a:pt x="334" y="130"/>
                    <a:pt x="432" y="130"/>
                  </a:cubicBezTo>
                  <a:cubicBezTo>
                    <a:pt x="694" y="130"/>
                    <a:pt x="855" y="53"/>
                    <a:pt x="9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17" name="Google Shape;4354;p64">
              <a:extLst>
                <a:ext uri="{FF2B5EF4-FFF2-40B4-BE49-F238E27FC236}">
                  <a16:creationId xmlns:a16="http://schemas.microsoft.com/office/drawing/2014/main" id="{A438D214-062D-3A1E-3073-EAC81C96C0C6}"/>
                </a:ext>
              </a:extLst>
            </p:cNvPr>
            <p:cNvSpPr/>
            <p:nvPr/>
          </p:nvSpPr>
          <p:spPr>
            <a:xfrm>
              <a:off x="2265040" y="1528449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1" y="1"/>
                  </a:moveTo>
                  <a:cubicBezTo>
                    <a:pt x="32" y="4"/>
                    <a:pt x="67" y="8"/>
                    <a:pt x="99" y="8"/>
                  </a:cubicBezTo>
                  <a:cubicBezTo>
                    <a:pt x="67" y="1"/>
                    <a:pt x="3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18" name="Google Shape;4355;p64">
              <a:extLst>
                <a:ext uri="{FF2B5EF4-FFF2-40B4-BE49-F238E27FC236}">
                  <a16:creationId xmlns:a16="http://schemas.microsoft.com/office/drawing/2014/main" id="{B22B61F3-8998-3EB4-EE0F-F2DA46217E70}"/>
                </a:ext>
              </a:extLst>
            </p:cNvPr>
            <p:cNvSpPr/>
            <p:nvPr/>
          </p:nvSpPr>
          <p:spPr>
            <a:xfrm>
              <a:off x="2494622" y="1668433"/>
              <a:ext cx="8147" cy="2118"/>
            </a:xfrm>
            <a:custGeom>
              <a:avLst/>
              <a:gdLst/>
              <a:ahLst/>
              <a:cxnLst/>
              <a:rect l="l" t="t" r="r" b="b"/>
              <a:pathLst>
                <a:path w="600" h="156" extrusionOk="0">
                  <a:moveTo>
                    <a:pt x="1" y="1"/>
                  </a:moveTo>
                  <a:cubicBezTo>
                    <a:pt x="115" y="69"/>
                    <a:pt x="416" y="156"/>
                    <a:pt x="554" y="156"/>
                  </a:cubicBezTo>
                  <a:cubicBezTo>
                    <a:pt x="572" y="156"/>
                    <a:pt x="588" y="154"/>
                    <a:pt x="599" y="151"/>
                  </a:cubicBezTo>
                  <a:cubicBezTo>
                    <a:pt x="564" y="120"/>
                    <a:pt x="522" y="95"/>
                    <a:pt x="477" y="85"/>
                  </a:cubicBezTo>
                  <a:cubicBezTo>
                    <a:pt x="323" y="29"/>
                    <a:pt x="162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19" name="Google Shape;4356;p64">
              <a:extLst>
                <a:ext uri="{FF2B5EF4-FFF2-40B4-BE49-F238E27FC236}">
                  <a16:creationId xmlns:a16="http://schemas.microsoft.com/office/drawing/2014/main" id="{DDBBAC0C-47E1-6296-83B5-7DA51E802F62}"/>
                </a:ext>
              </a:extLst>
            </p:cNvPr>
            <p:cNvSpPr/>
            <p:nvPr/>
          </p:nvSpPr>
          <p:spPr>
            <a:xfrm>
              <a:off x="2304347" y="1661671"/>
              <a:ext cx="30291" cy="17094"/>
            </a:xfrm>
            <a:custGeom>
              <a:avLst/>
              <a:gdLst/>
              <a:ahLst/>
              <a:cxnLst/>
              <a:rect l="l" t="t" r="r" b="b"/>
              <a:pathLst>
                <a:path w="2231" h="1259" extrusionOk="0">
                  <a:moveTo>
                    <a:pt x="2192" y="1"/>
                  </a:moveTo>
                  <a:cubicBezTo>
                    <a:pt x="2051" y="1"/>
                    <a:pt x="1914" y="18"/>
                    <a:pt x="1776" y="47"/>
                  </a:cubicBezTo>
                  <a:cubicBezTo>
                    <a:pt x="1629" y="71"/>
                    <a:pt x="1485" y="113"/>
                    <a:pt x="1349" y="166"/>
                  </a:cubicBezTo>
                  <a:cubicBezTo>
                    <a:pt x="1107" y="278"/>
                    <a:pt x="894" y="359"/>
                    <a:pt x="627" y="383"/>
                  </a:cubicBezTo>
                  <a:cubicBezTo>
                    <a:pt x="407" y="404"/>
                    <a:pt x="36" y="691"/>
                    <a:pt x="1" y="761"/>
                  </a:cubicBezTo>
                  <a:cubicBezTo>
                    <a:pt x="1" y="810"/>
                    <a:pt x="11" y="968"/>
                    <a:pt x="113" y="1062"/>
                  </a:cubicBezTo>
                  <a:cubicBezTo>
                    <a:pt x="174" y="1112"/>
                    <a:pt x="249" y="1139"/>
                    <a:pt x="327" y="1139"/>
                  </a:cubicBezTo>
                  <a:cubicBezTo>
                    <a:pt x="343" y="1139"/>
                    <a:pt x="359" y="1138"/>
                    <a:pt x="375" y="1136"/>
                  </a:cubicBezTo>
                  <a:cubicBezTo>
                    <a:pt x="437" y="1131"/>
                    <a:pt x="494" y="1129"/>
                    <a:pt x="548" y="1129"/>
                  </a:cubicBezTo>
                  <a:cubicBezTo>
                    <a:pt x="781" y="1129"/>
                    <a:pt x="937" y="1172"/>
                    <a:pt x="988" y="1255"/>
                  </a:cubicBezTo>
                  <a:cubicBezTo>
                    <a:pt x="988" y="1255"/>
                    <a:pt x="988" y="1258"/>
                    <a:pt x="988" y="1258"/>
                  </a:cubicBezTo>
                  <a:cubicBezTo>
                    <a:pt x="1020" y="1206"/>
                    <a:pt x="1100" y="1160"/>
                    <a:pt x="1230" y="1160"/>
                  </a:cubicBezTo>
                  <a:cubicBezTo>
                    <a:pt x="1345" y="1160"/>
                    <a:pt x="1415" y="1143"/>
                    <a:pt x="1447" y="1104"/>
                  </a:cubicBezTo>
                  <a:cubicBezTo>
                    <a:pt x="1454" y="1097"/>
                    <a:pt x="1475" y="1073"/>
                    <a:pt x="1464" y="999"/>
                  </a:cubicBezTo>
                  <a:cubicBezTo>
                    <a:pt x="1436" y="835"/>
                    <a:pt x="1594" y="761"/>
                    <a:pt x="1695" y="712"/>
                  </a:cubicBezTo>
                  <a:cubicBezTo>
                    <a:pt x="1727" y="698"/>
                    <a:pt x="1755" y="684"/>
                    <a:pt x="1783" y="667"/>
                  </a:cubicBezTo>
                  <a:cubicBezTo>
                    <a:pt x="1751" y="628"/>
                    <a:pt x="1716" y="593"/>
                    <a:pt x="1678" y="562"/>
                  </a:cubicBezTo>
                  <a:cubicBezTo>
                    <a:pt x="1601" y="495"/>
                    <a:pt x="1541" y="443"/>
                    <a:pt x="1555" y="376"/>
                  </a:cubicBezTo>
                  <a:cubicBezTo>
                    <a:pt x="1562" y="341"/>
                    <a:pt x="1587" y="313"/>
                    <a:pt x="1618" y="306"/>
                  </a:cubicBezTo>
                  <a:cubicBezTo>
                    <a:pt x="1765" y="253"/>
                    <a:pt x="2122" y="92"/>
                    <a:pt x="2231" y="1"/>
                  </a:cubicBezTo>
                  <a:cubicBezTo>
                    <a:pt x="2218" y="1"/>
                    <a:pt x="2205" y="1"/>
                    <a:pt x="21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0" name="Google Shape;4357;p64">
              <a:extLst>
                <a:ext uri="{FF2B5EF4-FFF2-40B4-BE49-F238E27FC236}">
                  <a16:creationId xmlns:a16="http://schemas.microsoft.com/office/drawing/2014/main" id="{31504940-3DED-729D-2753-9398CEB94203}"/>
                </a:ext>
              </a:extLst>
            </p:cNvPr>
            <p:cNvSpPr/>
            <p:nvPr/>
          </p:nvSpPr>
          <p:spPr>
            <a:xfrm>
              <a:off x="2596779" y="1667903"/>
              <a:ext cx="20869" cy="13808"/>
            </a:xfrm>
            <a:custGeom>
              <a:avLst/>
              <a:gdLst/>
              <a:ahLst/>
              <a:cxnLst/>
              <a:rect l="l" t="t" r="r" b="b"/>
              <a:pathLst>
                <a:path w="1537" h="1017" extrusionOk="0">
                  <a:moveTo>
                    <a:pt x="1117" y="1"/>
                  </a:moveTo>
                  <a:cubicBezTo>
                    <a:pt x="1103" y="1"/>
                    <a:pt x="1089" y="1"/>
                    <a:pt x="1075" y="1"/>
                  </a:cubicBezTo>
                  <a:cubicBezTo>
                    <a:pt x="693" y="1"/>
                    <a:pt x="291" y="92"/>
                    <a:pt x="144" y="239"/>
                  </a:cubicBezTo>
                  <a:cubicBezTo>
                    <a:pt x="0" y="383"/>
                    <a:pt x="14" y="792"/>
                    <a:pt x="102" y="960"/>
                  </a:cubicBezTo>
                  <a:cubicBezTo>
                    <a:pt x="119" y="999"/>
                    <a:pt x="140" y="1016"/>
                    <a:pt x="151" y="1016"/>
                  </a:cubicBezTo>
                  <a:lnTo>
                    <a:pt x="161" y="1013"/>
                  </a:lnTo>
                  <a:cubicBezTo>
                    <a:pt x="161" y="995"/>
                    <a:pt x="161" y="974"/>
                    <a:pt x="161" y="957"/>
                  </a:cubicBezTo>
                  <a:cubicBezTo>
                    <a:pt x="154" y="831"/>
                    <a:pt x="140" y="624"/>
                    <a:pt x="406" y="341"/>
                  </a:cubicBezTo>
                  <a:cubicBezTo>
                    <a:pt x="620" y="109"/>
                    <a:pt x="981" y="48"/>
                    <a:pt x="1344" y="48"/>
                  </a:cubicBezTo>
                  <a:cubicBezTo>
                    <a:pt x="1409" y="48"/>
                    <a:pt x="1473" y="50"/>
                    <a:pt x="1537" y="54"/>
                  </a:cubicBezTo>
                  <a:cubicBezTo>
                    <a:pt x="1519" y="50"/>
                    <a:pt x="1505" y="47"/>
                    <a:pt x="1488" y="43"/>
                  </a:cubicBezTo>
                  <a:cubicBezTo>
                    <a:pt x="1365" y="15"/>
                    <a:pt x="1242" y="1"/>
                    <a:pt x="11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1" name="Google Shape;4358;p64">
              <a:extLst>
                <a:ext uri="{FF2B5EF4-FFF2-40B4-BE49-F238E27FC236}">
                  <a16:creationId xmlns:a16="http://schemas.microsoft.com/office/drawing/2014/main" id="{53FCD60E-5253-8974-AB79-8C981C3A075D}"/>
                </a:ext>
              </a:extLst>
            </p:cNvPr>
            <p:cNvSpPr/>
            <p:nvPr/>
          </p:nvSpPr>
          <p:spPr>
            <a:xfrm>
              <a:off x="1460410" y="19054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2" name="Google Shape;4359;p64">
              <a:extLst>
                <a:ext uri="{FF2B5EF4-FFF2-40B4-BE49-F238E27FC236}">
                  <a16:creationId xmlns:a16="http://schemas.microsoft.com/office/drawing/2014/main" id="{DCAE4834-F88E-6640-CB11-CB9EFF524792}"/>
                </a:ext>
              </a:extLst>
            </p:cNvPr>
            <p:cNvSpPr/>
            <p:nvPr/>
          </p:nvSpPr>
          <p:spPr>
            <a:xfrm>
              <a:off x="2393809" y="1664875"/>
              <a:ext cx="58709" cy="92123"/>
            </a:xfrm>
            <a:custGeom>
              <a:avLst/>
              <a:gdLst/>
              <a:ahLst/>
              <a:cxnLst/>
              <a:rect l="l" t="t" r="r" b="b"/>
              <a:pathLst>
                <a:path w="4324" h="6785" extrusionOk="0">
                  <a:moveTo>
                    <a:pt x="2372" y="0"/>
                  </a:moveTo>
                  <a:cubicBezTo>
                    <a:pt x="2056" y="0"/>
                    <a:pt x="1686" y="178"/>
                    <a:pt x="1457" y="378"/>
                  </a:cubicBezTo>
                  <a:lnTo>
                    <a:pt x="1429" y="403"/>
                  </a:lnTo>
                  <a:lnTo>
                    <a:pt x="1432" y="403"/>
                  </a:lnTo>
                  <a:lnTo>
                    <a:pt x="1352" y="455"/>
                  </a:lnTo>
                  <a:lnTo>
                    <a:pt x="1317" y="480"/>
                  </a:lnTo>
                  <a:cubicBezTo>
                    <a:pt x="1208" y="543"/>
                    <a:pt x="1096" y="602"/>
                    <a:pt x="981" y="655"/>
                  </a:cubicBezTo>
                  <a:cubicBezTo>
                    <a:pt x="760" y="760"/>
                    <a:pt x="529" y="868"/>
                    <a:pt x="403" y="1029"/>
                  </a:cubicBezTo>
                  <a:cubicBezTo>
                    <a:pt x="344" y="1099"/>
                    <a:pt x="284" y="1169"/>
                    <a:pt x="221" y="1232"/>
                  </a:cubicBezTo>
                  <a:cubicBezTo>
                    <a:pt x="102" y="1355"/>
                    <a:pt x="0" y="1460"/>
                    <a:pt x="4" y="1558"/>
                  </a:cubicBezTo>
                  <a:cubicBezTo>
                    <a:pt x="7" y="1614"/>
                    <a:pt x="42" y="1670"/>
                    <a:pt x="119" y="1733"/>
                  </a:cubicBezTo>
                  <a:cubicBezTo>
                    <a:pt x="421" y="1992"/>
                    <a:pt x="393" y="2185"/>
                    <a:pt x="368" y="2388"/>
                  </a:cubicBezTo>
                  <a:cubicBezTo>
                    <a:pt x="361" y="2433"/>
                    <a:pt x="354" y="2482"/>
                    <a:pt x="351" y="2531"/>
                  </a:cubicBezTo>
                  <a:cubicBezTo>
                    <a:pt x="344" y="2668"/>
                    <a:pt x="694" y="3109"/>
                    <a:pt x="907" y="3371"/>
                  </a:cubicBezTo>
                  <a:lnTo>
                    <a:pt x="1051" y="3546"/>
                  </a:lnTo>
                  <a:cubicBezTo>
                    <a:pt x="1233" y="3781"/>
                    <a:pt x="1394" y="3977"/>
                    <a:pt x="1457" y="4085"/>
                  </a:cubicBezTo>
                  <a:cubicBezTo>
                    <a:pt x="1632" y="4404"/>
                    <a:pt x="1418" y="4961"/>
                    <a:pt x="1124" y="5325"/>
                  </a:cubicBezTo>
                  <a:cubicBezTo>
                    <a:pt x="1065" y="5402"/>
                    <a:pt x="1033" y="5503"/>
                    <a:pt x="1044" y="5601"/>
                  </a:cubicBezTo>
                  <a:cubicBezTo>
                    <a:pt x="1061" y="5878"/>
                    <a:pt x="1310" y="6186"/>
                    <a:pt x="1639" y="6186"/>
                  </a:cubicBezTo>
                  <a:cubicBezTo>
                    <a:pt x="1922" y="6186"/>
                    <a:pt x="2073" y="6361"/>
                    <a:pt x="2209" y="6519"/>
                  </a:cubicBezTo>
                  <a:cubicBezTo>
                    <a:pt x="2329" y="6662"/>
                    <a:pt x="2435" y="6785"/>
                    <a:pt x="2628" y="6785"/>
                  </a:cubicBezTo>
                  <a:cubicBezTo>
                    <a:pt x="2633" y="6785"/>
                    <a:pt x="2638" y="6785"/>
                    <a:pt x="2644" y="6785"/>
                  </a:cubicBezTo>
                  <a:cubicBezTo>
                    <a:pt x="3158" y="6767"/>
                    <a:pt x="3715" y="6641"/>
                    <a:pt x="3771" y="6557"/>
                  </a:cubicBezTo>
                  <a:cubicBezTo>
                    <a:pt x="3778" y="6543"/>
                    <a:pt x="3785" y="6494"/>
                    <a:pt x="3778" y="6309"/>
                  </a:cubicBezTo>
                  <a:cubicBezTo>
                    <a:pt x="3778" y="6263"/>
                    <a:pt x="3771" y="6217"/>
                    <a:pt x="3771" y="6168"/>
                  </a:cubicBezTo>
                  <a:cubicBezTo>
                    <a:pt x="3757" y="5951"/>
                    <a:pt x="3743" y="5699"/>
                    <a:pt x="3778" y="5556"/>
                  </a:cubicBezTo>
                  <a:cubicBezTo>
                    <a:pt x="3813" y="5412"/>
                    <a:pt x="3781" y="5374"/>
                    <a:pt x="3736" y="5311"/>
                  </a:cubicBezTo>
                  <a:cubicBezTo>
                    <a:pt x="3701" y="5262"/>
                    <a:pt x="3676" y="5206"/>
                    <a:pt x="3662" y="5150"/>
                  </a:cubicBezTo>
                  <a:cubicBezTo>
                    <a:pt x="3654" y="5140"/>
                    <a:pt x="3626" y="5137"/>
                    <a:pt x="3595" y="5137"/>
                  </a:cubicBezTo>
                  <a:cubicBezTo>
                    <a:pt x="3560" y="5137"/>
                    <a:pt x="3520" y="5141"/>
                    <a:pt x="3501" y="5143"/>
                  </a:cubicBezTo>
                  <a:cubicBezTo>
                    <a:pt x="3473" y="5146"/>
                    <a:pt x="3445" y="5150"/>
                    <a:pt x="3421" y="5150"/>
                  </a:cubicBezTo>
                  <a:cubicBezTo>
                    <a:pt x="3376" y="5150"/>
                    <a:pt x="3341" y="5139"/>
                    <a:pt x="3323" y="5101"/>
                  </a:cubicBezTo>
                  <a:cubicBezTo>
                    <a:pt x="3295" y="5038"/>
                    <a:pt x="3347" y="4985"/>
                    <a:pt x="3375" y="4961"/>
                  </a:cubicBezTo>
                  <a:cubicBezTo>
                    <a:pt x="3491" y="4845"/>
                    <a:pt x="3508" y="4768"/>
                    <a:pt x="3501" y="4751"/>
                  </a:cubicBezTo>
                  <a:cubicBezTo>
                    <a:pt x="3498" y="4745"/>
                    <a:pt x="3481" y="4732"/>
                    <a:pt x="3428" y="4732"/>
                  </a:cubicBezTo>
                  <a:cubicBezTo>
                    <a:pt x="3417" y="4732"/>
                    <a:pt x="3406" y="4732"/>
                    <a:pt x="3393" y="4733"/>
                  </a:cubicBezTo>
                  <a:cubicBezTo>
                    <a:pt x="3386" y="4733"/>
                    <a:pt x="3379" y="4733"/>
                    <a:pt x="3373" y="4733"/>
                  </a:cubicBezTo>
                  <a:cubicBezTo>
                    <a:pt x="3288" y="4733"/>
                    <a:pt x="3225" y="4712"/>
                    <a:pt x="3186" y="4663"/>
                  </a:cubicBezTo>
                  <a:cubicBezTo>
                    <a:pt x="3106" y="4562"/>
                    <a:pt x="3155" y="4401"/>
                    <a:pt x="3204" y="4226"/>
                  </a:cubicBezTo>
                  <a:lnTo>
                    <a:pt x="3211" y="4194"/>
                  </a:lnTo>
                  <a:cubicBezTo>
                    <a:pt x="3225" y="4134"/>
                    <a:pt x="3267" y="4078"/>
                    <a:pt x="3323" y="4050"/>
                  </a:cubicBezTo>
                  <a:cubicBezTo>
                    <a:pt x="3351" y="4037"/>
                    <a:pt x="3382" y="4031"/>
                    <a:pt x="3415" y="4031"/>
                  </a:cubicBezTo>
                  <a:cubicBezTo>
                    <a:pt x="3498" y="4031"/>
                    <a:pt x="3593" y="4069"/>
                    <a:pt x="3683" y="4106"/>
                  </a:cubicBezTo>
                  <a:cubicBezTo>
                    <a:pt x="3725" y="4124"/>
                    <a:pt x="3760" y="4138"/>
                    <a:pt x="3799" y="4152"/>
                  </a:cubicBezTo>
                  <a:cubicBezTo>
                    <a:pt x="3817" y="4158"/>
                    <a:pt x="3836" y="4160"/>
                    <a:pt x="3855" y="4160"/>
                  </a:cubicBezTo>
                  <a:cubicBezTo>
                    <a:pt x="3917" y="4160"/>
                    <a:pt x="3981" y="4133"/>
                    <a:pt x="4051" y="4103"/>
                  </a:cubicBezTo>
                  <a:cubicBezTo>
                    <a:pt x="4135" y="4057"/>
                    <a:pt x="4229" y="4033"/>
                    <a:pt x="4324" y="4033"/>
                  </a:cubicBezTo>
                  <a:cubicBezTo>
                    <a:pt x="4296" y="3973"/>
                    <a:pt x="4173" y="3851"/>
                    <a:pt x="4061" y="3840"/>
                  </a:cubicBezTo>
                  <a:cubicBezTo>
                    <a:pt x="3925" y="3830"/>
                    <a:pt x="3897" y="3704"/>
                    <a:pt x="3872" y="3599"/>
                  </a:cubicBezTo>
                  <a:cubicBezTo>
                    <a:pt x="3837" y="3448"/>
                    <a:pt x="3806" y="3354"/>
                    <a:pt x="3641" y="3340"/>
                  </a:cubicBezTo>
                  <a:cubicBezTo>
                    <a:pt x="3628" y="3339"/>
                    <a:pt x="3615" y="3338"/>
                    <a:pt x="3603" y="3338"/>
                  </a:cubicBezTo>
                  <a:cubicBezTo>
                    <a:pt x="3502" y="3338"/>
                    <a:pt x="3464" y="3375"/>
                    <a:pt x="3449" y="3406"/>
                  </a:cubicBezTo>
                  <a:cubicBezTo>
                    <a:pt x="3424" y="3466"/>
                    <a:pt x="3414" y="3532"/>
                    <a:pt x="3414" y="3595"/>
                  </a:cubicBezTo>
                  <a:cubicBezTo>
                    <a:pt x="3414" y="3655"/>
                    <a:pt x="3403" y="3714"/>
                    <a:pt x="3382" y="3770"/>
                  </a:cubicBezTo>
                  <a:cubicBezTo>
                    <a:pt x="3368" y="3805"/>
                    <a:pt x="3333" y="3826"/>
                    <a:pt x="3295" y="3826"/>
                  </a:cubicBezTo>
                  <a:cubicBezTo>
                    <a:pt x="3214" y="3826"/>
                    <a:pt x="3148" y="3714"/>
                    <a:pt x="3106" y="3620"/>
                  </a:cubicBezTo>
                  <a:cubicBezTo>
                    <a:pt x="3025" y="3441"/>
                    <a:pt x="2973" y="3182"/>
                    <a:pt x="3095" y="3039"/>
                  </a:cubicBezTo>
                  <a:cubicBezTo>
                    <a:pt x="3134" y="2990"/>
                    <a:pt x="3151" y="2951"/>
                    <a:pt x="3141" y="2927"/>
                  </a:cubicBezTo>
                  <a:cubicBezTo>
                    <a:pt x="3126" y="2896"/>
                    <a:pt x="3052" y="2869"/>
                    <a:pt x="2942" y="2869"/>
                  </a:cubicBezTo>
                  <a:cubicBezTo>
                    <a:pt x="2925" y="2869"/>
                    <a:pt x="2907" y="2869"/>
                    <a:pt x="2889" y="2871"/>
                  </a:cubicBezTo>
                  <a:cubicBezTo>
                    <a:pt x="2881" y="2871"/>
                    <a:pt x="2873" y="2871"/>
                    <a:pt x="2866" y="2871"/>
                  </a:cubicBezTo>
                  <a:cubicBezTo>
                    <a:pt x="2727" y="2871"/>
                    <a:pt x="2658" y="2779"/>
                    <a:pt x="2609" y="2710"/>
                  </a:cubicBezTo>
                  <a:cubicBezTo>
                    <a:pt x="2564" y="2652"/>
                    <a:pt x="2548" y="2637"/>
                    <a:pt x="2530" y="2637"/>
                  </a:cubicBezTo>
                  <a:cubicBezTo>
                    <a:pt x="2525" y="2637"/>
                    <a:pt x="2520" y="2638"/>
                    <a:pt x="2514" y="2640"/>
                  </a:cubicBezTo>
                  <a:cubicBezTo>
                    <a:pt x="2499" y="2645"/>
                    <a:pt x="2483" y="2648"/>
                    <a:pt x="2467" y="2648"/>
                  </a:cubicBezTo>
                  <a:cubicBezTo>
                    <a:pt x="2435" y="2648"/>
                    <a:pt x="2402" y="2637"/>
                    <a:pt x="2374" y="2619"/>
                  </a:cubicBezTo>
                  <a:cubicBezTo>
                    <a:pt x="2293" y="2559"/>
                    <a:pt x="2251" y="2402"/>
                    <a:pt x="2251" y="2157"/>
                  </a:cubicBezTo>
                  <a:cubicBezTo>
                    <a:pt x="2251" y="2055"/>
                    <a:pt x="2045" y="1866"/>
                    <a:pt x="1898" y="1866"/>
                  </a:cubicBezTo>
                  <a:cubicBezTo>
                    <a:pt x="1895" y="1866"/>
                    <a:pt x="1892" y="1866"/>
                    <a:pt x="1890" y="1866"/>
                  </a:cubicBezTo>
                  <a:cubicBezTo>
                    <a:pt x="1833" y="1866"/>
                    <a:pt x="1781" y="1832"/>
                    <a:pt x="1761" y="1778"/>
                  </a:cubicBezTo>
                  <a:cubicBezTo>
                    <a:pt x="1740" y="1701"/>
                    <a:pt x="1765" y="1621"/>
                    <a:pt x="1828" y="1572"/>
                  </a:cubicBezTo>
                  <a:cubicBezTo>
                    <a:pt x="1877" y="1530"/>
                    <a:pt x="1938" y="1509"/>
                    <a:pt x="2005" y="1509"/>
                  </a:cubicBezTo>
                  <a:cubicBezTo>
                    <a:pt x="2068" y="1509"/>
                    <a:pt x="2137" y="1528"/>
                    <a:pt x="2206" y="1565"/>
                  </a:cubicBezTo>
                  <a:cubicBezTo>
                    <a:pt x="2234" y="1582"/>
                    <a:pt x="2262" y="1596"/>
                    <a:pt x="2297" y="1607"/>
                  </a:cubicBezTo>
                  <a:cubicBezTo>
                    <a:pt x="2276" y="1530"/>
                    <a:pt x="2248" y="1456"/>
                    <a:pt x="2213" y="1383"/>
                  </a:cubicBezTo>
                  <a:lnTo>
                    <a:pt x="2195" y="1344"/>
                  </a:lnTo>
                  <a:cubicBezTo>
                    <a:pt x="2174" y="1299"/>
                    <a:pt x="2181" y="1246"/>
                    <a:pt x="2213" y="1208"/>
                  </a:cubicBezTo>
                  <a:cubicBezTo>
                    <a:pt x="2307" y="1080"/>
                    <a:pt x="2633" y="1003"/>
                    <a:pt x="2850" y="1003"/>
                  </a:cubicBezTo>
                  <a:cubicBezTo>
                    <a:pt x="2884" y="1003"/>
                    <a:pt x="2914" y="1005"/>
                    <a:pt x="2941" y="1008"/>
                  </a:cubicBezTo>
                  <a:cubicBezTo>
                    <a:pt x="3010" y="1018"/>
                    <a:pt x="3076" y="1022"/>
                    <a:pt x="3136" y="1022"/>
                  </a:cubicBezTo>
                  <a:cubicBezTo>
                    <a:pt x="3277" y="1022"/>
                    <a:pt x="3382" y="999"/>
                    <a:pt x="3407" y="970"/>
                  </a:cubicBezTo>
                  <a:cubicBezTo>
                    <a:pt x="3407" y="970"/>
                    <a:pt x="3410" y="966"/>
                    <a:pt x="3407" y="952"/>
                  </a:cubicBezTo>
                  <a:cubicBezTo>
                    <a:pt x="3375" y="875"/>
                    <a:pt x="3386" y="763"/>
                    <a:pt x="3400" y="634"/>
                  </a:cubicBezTo>
                  <a:cubicBezTo>
                    <a:pt x="3414" y="466"/>
                    <a:pt x="3431" y="273"/>
                    <a:pt x="3351" y="158"/>
                  </a:cubicBezTo>
                  <a:cubicBezTo>
                    <a:pt x="3287" y="70"/>
                    <a:pt x="3194" y="55"/>
                    <a:pt x="3048" y="55"/>
                  </a:cubicBezTo>
                  <a:cubicBezTo>
                    <a:pt x="3025" y="55"/>
                    <a:pt x="3001" y="56"/>
                    <a:pt x="2976" y="56"/>
                  </a:cubicBezTo>
                  <a:cubicBezTo>
                    <a:pt x="2944" y="58"/>
                    <a:pt x="2912" y="59"/>
                    <a:pt x="2880" y="59"/>
                  </a:cubicBezTo>
                  <a:cubicBezTo>
                    <a:pt x="2768" y="59"/>
                    <a:pt x="2655" y="46"/>
                    <a:pt x="2546" y="21"/>
                  </a:cubicBezTo>
                  <a:cubicBezTo>
                    <a:pt x="2491" y="7"/>
                    <a:pt x="2432" y="0"/>
                    <a:pt x="2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3" name="Google Shape;4360;p64">
              <a:extLst>
                <a:ext uri="{FF2B5EF4-FFF2-40B4-BE49-F238E27FC236}">
                  <a16:creationId xmlns:a16="http://schemas.microsoft.com/office/drawing/2014/main" id="{FAB0E91D-F931-7457-1D1D-21B68D7E4F75}"/>
                </a:ext>
              </a:extLst>
            </p:cNvPr>
            <p:cNvSpPr/>
            <p:nvPr/>
          </p:nvSpPr>
          <p:spPr>
            <a:xfrm>
              <a:off x="3030608" y="2063280"/>
              <a:ext cx="2525" cy="733"/>
            </a:xfrm>
            <a:custGeom>
              <a:avLst/>
              <a:gdLst/>
              <a:ahLst/>
              <a:cxnLst/>
              <a:rect l="l" t="t" r="r" b="b"/>
              <a:pathLst>
                <a:path w="186" h="54" extrusionOk="0">
                  <a:moveTo>
                    <a:pt x="116" y="0"/>
                  </a:moveTo>
                  <a:cubicBezTo>
                    <a:pt x="112" y="0"/>
                    <a:pt x="109" y="1"/>
                    <a:pt x="105" y="1"/>
                  </a:cubicBezTo>
                  <a:cubicBezTo>
                    <a:pt x="77" y="5"/>
                    <a:pt x="42" y="12"/>
                    <a:pt x="0" y="15"/>
                  </a:cubicBezTo>
                  <a:cubicBezTo>
                    <a:pt x="25" y="22"/>
                    <a:pt x="49" y="29"/>
                    <a:pt x="74" y="36"/>
                  </a:cubicBezTo>
                  <a:cubicBezTo>
                    <a:pt x="110" y="49"/>
                    <a:pt x="136" y="53"/>
                    <a:pt x="154" y="53"/>
                  </a:cubicBezTo>
                  <a:cubicBezTo>
                    <a:pt x="174" y="53"/>
                    <a:pt x="184" y="48"/>
                    <a:pt x="186" y="47"/>
                  </a:cubicBezTo>
                  <a:cubicBezTo>
                    <a:pt x="186" y="40"/>
                    <a:pt x="186" y="33"/>
                    <a:pt x="179" y="29"/>
                  </a:cubicBezTo>
                  <a:cubicBezTo>
                    <a:pt x="163" y="11"/>
                    <a:pt x="140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4" name="Google Shape;4361;p64">
              <a:extLst>
                <a:ext uri="{FF2B5EF4-FFF2-40B4-BE49-F238E27FC236}">
                  <a16:creationId xmlns:a16="http://schemas.microsoft.com/office/drawing/2014/main" id="{E347A7C4-D2CB-4782-ECD2-35F6B3F03760}"/>
                </a:ext>
              </a:extLst>
            </p:cNvPr>
            <p:cNvSpPr/>
            <p:nvPr/>
          </p:nvSpPr>
          <p:spPr>
            <a:xfrm>
              <a:off x="2090841" y="1529304"/>
              <a:ext cx="1765" cy="2390"/>
            </a:xfrm>
            <a:custGeom>
              <a:avLst/>
              <a:gdLst/>
              <a:ahLst/>
              <a:cxnLst/>
              <a:rect l="l" t="t" r="r" b="b"/>
              <a:pathLst>
                <a:path w="130" h="176" extrusionOk="0">
                  <a:moveTo>
                    <a:pt x="130" y="1"/>
                  </a:moveTo>
                  <a:cubicBezTo>
                    <a:pt x="104" y="14"/>
                    <a:pt x="74" y="21"/>
                    <a:pt x="43" y="21"/>
                  </a:cubicBezTo>
                  <a:cubicBezTo>
                    <a:pt x="32" y="21"/>
                    <a:pt x="21" y="20"/>
                    <a:pt x="11" y="18"/>
                  </a:cubicBezTo>
                  <a:lnTo>
                    <a:pt x="0" y="15"/>
                  </a:lnTo>
                  <a:lnTo>
                    <a:pt x="0" y="15"/>
                  </a:lnTo>
                  <a:cubicBezTo>
                    <a:pt x="11" y="39"/>
                    <a:pt x="18" y="67"/>
                    <a:pt x="14" y="92"/>
                  </a:cubicBezTo>
                  <a:cubicBezTo>
                    <a:pt x="11" y="123"/>
                    <a:pt x="28" y="155"/>
                    <a:pt x="56" y="169"/>
                  </a:cubicBezTo>
                  <a:cubicBezTo>
                    <a:pt x="65" y="173"/>
                    <a:pt x="75" y="176"/>
                    <a:pt x="85" y="176"/>
                  </a:cubicBezTo>
                  <a:cubicBezTo>
                    <a:pt x="92" y="176"/>
                    <a:pt x="98" y="175"/>
                    <a:pt x="105" y="172"/>
                  </a:cubicBezTo>
                  <a:lnTo>
                    <a:pt x="105" y="162"/>
                  </a:lnTo>
                  <a:cubicBezTo>
                    <a:pt x="91" y="106"/>
                    <a:pt x="102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5" name="Google Shape;4362;p64">
              <a:extLst>
                <a:ext uri="{FF2B5EF4-FFF2-40B4-BE49-F238E27FC236}">
                  <a16:creationId xmlns:a16="http://schemas.microsoft.com/office/drawing/2014/main" id="{EC17D61A-CEFF-2D13-5032-FF1A70DD1E43}"/>
                </a:ext>
              </a:extLst>
            </p:cNvPr>
            <p:cNvSpPr/>
            <p:nvPr/>
          </p:nvSpPr>
          <p:spPr>
            <a:xfrm>
              <a:off x="2245597" y="1718058"/>
              <a:ext cx="14229" cy="4386"/>
            </a:xfrm>
            <a:custGeom>
              <a:avLst/>
              <a:gdLst/>
              <a:ahLst/>
              <a:cxnLst/>
              <a:rect l="l" t="t" r="r" b="b"/>
              <a:pathLst>
                <a:path w="1048" h="323" extrusionOk="0">
                  <a:moveTo>
                    <a:pt x="1048" y="0"/>
                  </a:moveTo>
                  <a:cubicBezTo>
                    <a:pt x="989" y="25"/>
                    <a:pt x="910" y="31"/>
                    <a:pt x="818" y="31"/>
                  </a:cubicBezTo>
                  <a:cubicBezTo>
                    <a:pt x="779" y="31"/>
                    <a:pt x="737" y="29"/>
                    <a:pt x="694" y="28"/>
                  </a:cubicBezTo>
                  <a:lnTo>
                    <a:pt x="578" y="28"/>
                  </a:lnTo>
                  <a:cubicBezTo>
                    <a:pt x="565" y="28"/>
                    <a:pt x="552" y="28"/>
                    <a:pt x="539" y="28"/>
                  </a:cubicBezTo>
                  <a:cubicBezTo>
                    <a:pt x="473" y="28"/>
                    <a:pt x="408" y="35"/>
                    <a:pt x="344" y="53"/>
                  </a:cubicBezTo>
                  <a:cubicBezTo>
                    <a:pt x="274" y="84"/>
                    <a:pt x="211" y="133"/>
                    <a:pt x="162" y="189"/>
                  </a:cubicBezTo>
                  <a:cubicBezTo>
                    <a:pt x="113" y="238"/>
                    <a:pt x="57" y="284"/>
                    <a:pt x="1" y="323"/>
                  </a:cubicBezTo>
                  <a:cubicBezTo>
                    <a:pt x="41" y="319"/>
                    <a:pt x="82" y="318"/>
                    <a:pt x="124" y="318"/>
                  </a:cubicBezTo>
                  <a:cubicBezTo>
                    <a:pt x="166" y="318"/>
                    <a:pt x="209" y="319"/>
                    <a:pt x="253" y="319"/>
                  </a:cubicBezTo>
                  <a:cubicBezTo>
                    <a:pt x="279" y="319"/>
                    <a:pt x="305" y="319"/>
                    <a:pt x="332" y="319"/>
                  </a:cubicBezTo>
                  <a:cubicBezTo>
                    <a:pt x="530" y="319"/>
                    <a:pt x="735" y="316"/>
                    <a:pt x="859" y="270"/>
                  </a:cubicBezTo>
                  <a:cubicBezTo>
                    <a:pt x="1016" y="207"/>
                    <a:pt x="1034" y="105"/>
                    <a:pt x="1048" y="11"/>
                  </a:cubicBezTo>
                  <a:lnTo>
                    <a:pt x="104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6" name="Google Shape;4363;p64">
              <a:extLst>
                <a:ext uri="{FF2B5EF4-FFF2-40B4-BE49-F238E27FC236}">
                  <a16:creationId xmlns:a16="http://schemas.microsoft.com/office/drawing/2014/main" id="{4CC33598-9B9B-EE68-6EA8-3DA2DA9EA771}"/>
                </a:ext>
              </a:extLst>
            </p:cNvPr>
            <p:cNvSpPr/>
            <p:nvPr/>
          </p:nvSpPr>
          <p:spPr>
            <a:xfrm>
              <a:off x="2812146" y="1578590"/>
              <a:ext cx="42742" cy="41805"/>
            </a:xfrm>
            <a:custGeom>
              <a:avLst/>
              <a:gdLst/>
              <a:ahLst/>
              <a:cxnLst/>
              <a:rect l="l" t="t" r="r" b="b"/>
              <a:pathLst>
                <a:path w="3148" h="3079" extrusionOk="0">
                  <a:moveTo>
                    <a:pt x="3071" y="1"/>
                  </a:moveTo>
                  <a:lnTo>
                    <a:pt x="3071" y="1"/>
                  </a:lnTo>
                  <a:cubicBezTo>
                    <a:pt x="3001" y="32"/>
                    <a:pt x="2843" y="348"/>
                    <a:pt x="2749" y="537"/>
                  </a:cubicBezTo>
                  <a:cubicBezTo>
                    <a:pt x="2661" y="715"/>
                    <a:pt x="2556" y="918"/>
                    <a:pt x="2451" y="1086"/>
                  </a:cubicBezTo>
                  <a:cubicBezTo>
                    <a:pt x="2237" y="1429"/>
                    <a:pt x="1908" y="1664"/>
                    <a:pt x="1621" y="1870"/>
                  </a:cubicBezTo>
                  <a:cubicBezTo>
                    <a:pt x="1341" y="2070"/>
                    <a:pt x="1100" y="2241"/>
                    <a:pt x="1002" y="2462"/>
                  </a:cubicBezTo>
                  <a:cubicBezTo>
                    <a:pt x="855" y="2791"/>
                    <a:pt x="438" y="2924"/>
                    <a:pt x="161" y="3015"/>
                  </a:cubicBezTo>
                  <a:cubicBezTo>
                    <a:pt x="105" y="3033"/>
                    <a:pt x="42" y="3054"/>
                    <a:pt x="0" y="3071"/>
                  </a:cubicBezTo>
                  <a:cubicBezTo>
                    <a:pt x="27" y="3076"/>
                    <a:pt x="62" y="3078"/>
                    <a:pt x="104" y="3078"/>
                  </a:cubicBezTo>
                  <a:cubicBezTo>
                    <a:pt x="286" y="3078"/>
                    <a:pt x="593" y="3034"/>
                    <a:pt x="823" y="2931"/>
                  </a:cubicBezTo>
                  <a:cubicBezTo>
                    <a:pt x="963" y="2868"/>
                    <a:pt x="1044" y="2791"/>
                    <a:pt x="1044" y="2728"/>
                  </a:cubicBezTo>
                  <a:cubicBezTo>
                    <a:pt x="1044" y="2494"/>
                    <a:pt x="1345" y="2375"/>
                    <a:pt x="1695" y="2231"/>
                  </a:cubicBezTo>
                  <a:cubicBezTo>
                    <a:pt x="1957" y="2126"/>
                    <a:pt x="2251" y="2007"/>
                    <a:pt x="2447" y="1828"/>
                  </a:cubicBezTo>
                  <a:cubicBezTo>
                    <a:pt x="2868" y="1454"/>
                    <a:pt x="3148" y="190"/>
                    <a:pt x="30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7" name="Google Shape;4364;p64">
              <a:extLst>
                <a:ext uri="{FF2B5EF4-FFF2-40B4-BE49-F238E27FC236}">
                  <a16:creationId xmlns:a16="http://schemas.microsoft.com/office/drawing/2014/main" id="{F233A7CA-E303-8158-CC15-FB29D1C1D9C0}"/>
                </a:ext>
              </a:extLst>
            </p:cNvPr>
            <p:cNvSpPr/>
            <p:nvPr/>
          </p:nvSpPr>
          <p:spPr>
            <a:xfrm>
              <a:off x="2563691" y="1451016"/>
              <a:ext cx="3055" cy="2593"/>
            </a:xfrm>
            <a:custGeom>
              <a:avLst/>
              <a:gdLst/>
              <a:ahLst/>
              <a:cxnLst/>
              <a:rect l="l" t="t" r="r" b="b"/>
              <a:pathLst>
                <a:path w="225" h="191" extrusionOk="0">
                  <a:moveTo>
                    <a:pt x="50" y="0"/>
                  </a:moveTo>
                  <a:cubicBezTo>
                    <a:pt x="35" y="0"/>
                    <a:pt x="21" y="10"/>
                    <a:pt x="18" y="25"/>
                  </a:cubicBezTo>
                  <a:cubicBezTo>
                    <a:pt x="0" y="71"/>
                    <a:pt x="7" y="120"/>
                    <a:pt x="42" y="155"/>
                  </a:cubicBezTo>
                  <a:cubicBezTo>
                    <a:pt x="68" y="178"/>
                    <a:pt x="102" y="190"/>
                    <a:pt x="136" y="190"/>
                  </a:cubicBezTo>
                  <a:cubicBezTo>
                    <a:pt x="158" y="190"/>
                    <a:pt x="180" y="185"/>
                    <a:pt x="200" y="176"/>
                  </a:cubicBezTo>
                  <a:lnTo>
                    <a:pt x="224" y="165"/>
                  </a:lnTo>
                  <a:cubicBezTo>
                    <a:pt x="200" y="144"/>
                    <a:pt x="186" y="116"/>
                    <a:pt x="182" y="85"/>
                  </a:cubicBezTo>
                  <a:cubicBezTo>
                    <a:pt x="158" y="39"/>
                    <a:pt x="116" y="8"/>
                    <a:pt x="67" y="1"/>
                  </a:cubicBezTo>
                  <a:lnTo>
                    <a:pt x="56" y="1"/>
                  </a:lnTo>
                  <a:cubicBezTo>
                    <a:pt x="54" y="0"/>
                    <a:pt x="52" y="0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8" name="Google Shape;4365;p64">
              <a:extLst>
                <a:ext uri="{FF2B5EF4-FFF2-40B4-BE49-F238E27FC236}">
                  <a16:creationId xmlns:a16="http://schemas.microsoft.com/office/drawing/2014/main" id="{2345E584-86DF-5CD3-286E-35CA522186A3}"/>
                </a:ext>
              </a:extLst>
            </p:cNvPr>
            <p:cNvSpPr/>
            <p:nvPr/>
          </p:nvSpPr>
          <p:spPr>
            <a:xfrm>
              <a:off x="2480977" y="1673361"/>
              <a:ext cx="16510" cy="18180"/>
            </a:xfrm>
            <a:custGeom>
              <a:avLst/>
              <a:gdLst/>
              <a:ahLst/>
              <a:cxnLst/>
              <a:rect l="l" t="t" r="r" b="b"/>
              <a:pathLst>
                <a:path w="1216" h="1339" extrusionOk="0">
                  <a:moveTo>
                    <a:pt x="797" y="1"/>
                  </a:moveTo>
                  <a:cubicBezTo>
                    <a:pt x="756" y="1"/>
                    <a:pt x="733" y="36"/>
                    <a:pt x="705" y="138"/>
                  </a:cubicBezTo>
                  <a:cubicBezTo>
                    <a:pt x="691" y="194"/>
                    <a:pt x="677" y="243"/>
                    <a:pt x="628" y="261"/>
                  </a:cubicBezTo>
                  <a:cubicBezTo>
                    <a:pt x="620" y="263"/>
                    <a:pt x="611" y="264"/>
                    <a:pt x="603" y="264"/>
                  </a:cubicBezTo>
                  <a:cubicBezTo>
                    <a:pt x="584" y="264"/>
                    <a:pt x="565" y="259"/>
                    <a:pt x="551" y="247"/>
                  </a:cubicBezTo>
                  <a:lnTo>
                    <a:pt x="526" y="229"/>
                  </a:lnTo>
                  <a:cubicBezTo>
                    <a:pt x="475" y="191"/>
                    <a:pt x="381" y="118"/>
                    <a:pt x="296" y="118"/>
                  </a:cubicBezTo>
                  <a:cubicBezTo>
                    <a:pt x="287" y="118"/>
                    <a:pt x="279" y="119"/>
                    <a:pt x="271" y="121"/>
                  </a:cubicBezTo>
                  <a:cubicBezTo>
                    <a:pt x="215" y="131"/>
                    <a:pt x="169" y="166"/>
                    <a:pt x="141" y="215"/>
                  </a:cubicBezTo>
                  <a:cubicBezTo>
                    <a:pt x="127" y="240"/>
                    <a:pt x="113" y="264"/>
                    <a:pt x="102" y="292"/>
                  </a:cubicBezTo>
                  <a:cubicBezTo>
                    <a:pt x="1" y="551"/>
                    <a:pt x="43" y="978"/>
                    <a:pt x="106" y="1048"/>
                  </a:cubicBezTo>
                  <a:cubicBezTo>
                    <a:pt x="134" y="1010"/>
                    <a:pt x="145" y="835"/>
                    <a:pt x="148" y="737"/>
                  </a:cubicBezTo>
                  <a:cubicBezTo>
                    <a:pt x="159" y="502"/>
                    <a:pt x="173" y="257"/>
                    <a:pt x="348" y="257"/>
                  </a:cubicBezTo>
                  <a:cubicBezTo>
                    <a:pt x="411" y="257"/>
                    <a:pt x="474" y="289"/>
                    <a:pt x="509" y="345"/>
                  </a:cubicBezTo>
                  <a:cubicBezTo>
                    <a:pt x="621" y="506"/>
                    <a:pt x="568" y="859"/>
                    <a:pt x="474" y="1122"/>
                  </a:cubicBezTo>
                  <a:cubicBezTo>
                    <a:pt x="449" y="1185"/>
                    <a:pt x="435" y="1269"/>
                    <a:pt x="488" y="1311"/>
                  </a:cubicBezTo>
                  <a:cubicBezTo>
                    <a:pt x="512" y="1329"/>
                    <a:pt x="548" y="1338"/>
                    <a:pt x="595" y="1338"/>
                  </a:cubicBezTo>
                  <a:cubicBezTo>
                    <a:pt x="703" y="1338"/>
                    <a:pt x="863" y="1286"/>
                    <a:pt x="1037" y="1160"/>
                  </a:cubicBezTo>
                  <a:cubicBezTo>
                    <a:pt x="1104" y="1111"/>
                    <a:pt x="1153" y="1041"/>
                    <a:pt x="1174" y="961"/>
                  </a:cubicBezTo>
                  <a:cubicBezTo>
                    <a:pt x="1216" y="786"/>
                    <a:pt x="1142" y="579"/>
                    <a:pt x="1065" y="453"/>
                  </a:cubicBezTo>
                  <a:cubicBezTo>
                    <a:pt x="1006" y="366"/>
                    <a:pt x="957" y="327"/>
                    <a:pt x="943" y="324"/>
                  </a:cubicBezTo>
                  <a:cubicBezTo>
                    <a:pt x="908" y="324"/>
                    <a:pt x="876" y="310"/>
                    <a:pt x="855" y="285"/>
                  </a:cubicBezTo>
                  <a:cubicBezTo>
                    <a:pt x="813" y="240"/>
                    <a:pt x="824" y="173"/>
                    <a:pt x="831" y="110"/>
                  </a:cubicBezTo>
                  <a:cubicBezTo>
                    <a:pt x="838" y="79"/>
                    <a:pt x="845" y="19"/>
                    <a:pt x="831" y="5"/>
                  </a:cubicBezTo>
                  <a:cubicBezTo>
                    <a:pt x="831" y="5"/>
                    <a:pt x="824" y="2"/>
                    <a:pt x="810" y="2"/>
                  </a:cubicBezTo>
                  <a:cubicBezTo>
                    <a:pt x="805" y="1"/>
                    <a:pt x="801" y="1"/>
                    <a:pt x="7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9" name="Google Shape;4366;p64">
              <a:extLst>
                <a:ext uri="{FF2B5EF4-FFF2-40B4-BE49-F238E27FC236}">
                  <a16:creationId xmlns:a16="http://schemas.microsoft.com/office/drawing/2014/main" id="{8892A29A-ABC9-1A6D-06C4-8EFD331A25F2}"/>
                </a:ext>
              </a:extLst>
            </p:cNvPr>
            <p:cNvSpPr/>
            <p:nvPr/>
          </p:nvSpPr>
          <p:spPr>
            <a:xfrm>
              <a:off x="2278156" y="2042506"/>
              <a:ext cx="20651" cy="18846"/>
            </a:xfrm>
            <a:custGeom>
              <a:avLst/>
              <a:gdLst/>
              <a:ahLst/>
              <a:cxnLst/>
              <a:rect l="l" t="t" r="r" b="b"/>
              <a:pathLst>
                <a:path w="1521" h="1388" extrusionOk="0">
                  <a:moveTo>
                    <a:pt x="786" y="0"/>
                  </a:moveTo>
                  <a:cubicBezTo>
                    <a:pt x="691" y="0"/>
                    <a:pt x="599" y="10"/>
                    <a:pt x="519" y="33"/>
                  </a:cubicBezTo>
                  <a:cubicBezTo>
                    <a:pt x="396" y="71"/>
                    <a:pt x="256" y="281"/>
                    <a:pt x="148" y="586"/>
                  </a:cubicBezTo>
                  <a:cubicBezTo>
                    <a:pt x="4" y="992"/>
                    <a:pt x="1" y="1314"/>
                    <a:pt x="50" y="1346"/>
                  </a:cubicBezTo>
                  <a:cubicBezTo>
                    <a:pt x="53" y="1346"/>
                    <a:pt x="57" y="1342"/>
                    <a:pt x="64" y="1342"/>
                  </a:cubicBezTo>
                  <a:cubicBezTo>
                    <a:pt x="141" y="1310"/>
                    <a:pt x="224" y="1299"/>
                    <a:pt x="308" y="1299"/>
                  </a:cubicBezTo>
                  <a:cubicBezTo>
                    <a:pt x="439" y="1299"/>
                    <a:pt x="573" y="1327"/>
                    <a:pt x="691" y="1353"/>
                  </a:cubicBezTo>
                  <a:cubicBezTo>
                    <a:pt x="775" y="1377"/>
                    <a:pt x="862" y="1388"/>
                    <a:pt x="950" y="1388"/>
                  </a:cubicBezTo>
                  <a:cubicBezTo>
                    <a:pt x="939" y="1370"/>
                    <a:pt x="922" y="1349"/>
                    <a:pt x="911" y="1335"/>
                  </a:cubicBezTo>
                  <a:cubicBezTo>
                    <a:pt x="866" y="1268"/>
                    <a:pt x="817" y="1202"/>
                    <a:pt x="834" y="1132"/>
                  </a:cubicBezTo>
                  <a:cubicBezTo>
                    <a:pt x="845" y="1097"/>
                    <a:pt x="873" y="1065"/>
                    <a:pt x="911" y="1051"/>
                  </a:cubicBezTo>
                  <a:cubicBezTo>
                    <a:pt x="1034" y="992"/>
                    <a:pt x="1125" y="813"/>
                    <a:pt x="1135" y="593"/>
                  </a:cubicBezTo>
                  <a:lnTo>
                    <a:pt x="1139" y="526"/>
                  </a:lnTo>
                  <a:lnTo>
                    <a:pt x="1139" y="502"/>
                  </a:lnTo>
                  <a:lnTo>
                    <a:pt x="1139" y="491"/>
                  </a:lnTo>
                  <a:cubicBezTo>
                    <a:pt x="1163" y="316"/>
                    <a:pt x="1314" y="264"/>
                    <a:pt x="1419" y="229"/>
                  </a:cubicBezTo>
                  <a:cubicBezTo>
                    <a:pt x="1454" y="218"/>
                    <a:pt x="1489" y="204"/>
                    <a:pt x="1520" y="183"/>
                  </a:cubicBezTo>
                  <a:cubicBezTo>
                    <a:pt x="1496" y="159"/>
                    <a:pt x="1401" y="99"/>
                    <a:pt x="1212" y="54"/>
                  </a:cubicBezTo>
                  <a:cubicBezTo>
                    <a:pt x="1090" y="24"/>
                    <a:pt x="935" y="0"/>
                    <a:pt x="7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0" name="Google Shape;4367;p64">
              <a:extLst>
                <a:ext uri="{FF2B5EF4-FFF2-40B4-BE49-F238E27FC236}">
                  <a16:creationId xmlns:a16="http://schemas.microsoft.com/office/drawing/2014/main" id="{27D47DD1-C309-4E2B-D598-4DB3C9ED9FE3}"/>
                </a:ext>
              </a:extLst>
            </p:cNvPr>
            <p:cNvSpPr/>
            <p:nvPr/>
          </p:nvSpPr>
          <p:spPr>
            <a:xfrm>
              <a:off x="2095159" y="1526222"/>
              <a:ext cx="2009" cy="1344"/>
            </a:xfrm>
            <a:custGeom>
              <a:avLst/>
              <a:gdLst/>
              <a:ahLst/>
              <a:cxnLst/>
              <a:rect l="l" t="t" r="r" b="b"/>
              <a:pathLst>
                <a:path w="148" h="99" extrusionOk="0">
                  <a:moveTo>
                    <a:pt x="123" y="0"/>
                  </a:moveTo>
                  <a:cubicBezTo>
                    <a:pt x="106" y="4"/>
                    <a:pt x="92" y="14"/>
                    <a:pt x="81" y="28"/>
                  </a:cubicBezTo>
                  <a:cubicBezTo>
                    <a:pt x="50" y="53"/>
                    <a:pt x="25" y="77"/>
                    <a:pt x="1" y="98"/>
                  </a:cubicBezTo>
                  <a:cubicBezTo>
                    <a:pt x="43" y="84"/>
                    <a:pt x="88" y="81"/>
                    <a:pt x="134" y="81"/>
                  </a:cubicBezTo>
                  <a:cubicBezTo>
                    <a:pt x="141" y="81"/>
                    <a:pt x="148" y="60"/>
                    <a:pt x="144" y="35"/>
                  </a:cubicBezTo>
                  <a:cubicBezTo>
                    <a:pt x="141" y="21"/>
                    <a:pt x="134" y="7"/>
                    <a:pt x="1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1" name="Google Shape;4368;p64">
              <a:extLst>
                <a:ext uri="{FF2B5EF4-FFF2-40B4-BE49-F238E27FC236}">
                  <a16:creationId xmlns:a16="http://schemas.microsoft.com/office/drawing/2014/main" id="{2FF80112-CAD9-C9EF-D469-028C5C8E9F2F}"/>
                </a:ext>
              </a:extLst>
            </p:cNvPr>
            <p:cNvSpPr/>
            <p:nvPr/>
          </p:nvSpPr>
          <p:spPr>
            <a:xfrm>
              <a:off x="2217030" y="1745010"/>
              <a:ext cx="1874" cy="394"/>
            </a:xfrm>
            <a:custGeom>
              <a:avLst/>
              <a:gdLst/>
              <a:ahLst/>
              <a:cxnLst/>
              <a:rect l="l" t="t" r="r" b="b"/>
              <a:pathLst>
                <a:path w="138" h="29" extrusionOk="0">
                  <a:moveTo>
                    <a:pt x="48" y="0"/>
                  </a:moveTo>
                  <a:cubicBezTo>
                    <a:pt x="34" y="0"/>
                    <a:pt x="19" y="3"/>
                    <a:pt x="4" y="7"/>
                  </a:cubicBezTo>
                  <a:lnTo>
                    <a:pt x="1" y="7"/>
                  </a:lnTo>
                  <a:cubicBezTo>
                    <a:pt x="46" y="7"/>
                    <a:pt x="92" y="14"/>
                    <a:pt x="137" y="28"/>
                  </a:cubicBezTo>
                  <a:lnTo>
                    <a:pt x="130" y="25"/>
                  </a:lnTo>
                  <a:cubicBezTo>
                    <a:pt x="105" y="9"/>
                    <a:pt x="77" y="0"/>
                    <a:pt x="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2" name="Google Shape;4369;p64">
              <a:extLst>
                <a:ext uri="{FF2B5EF4-FFF2-40B4-BE49-F238E27FC236}">
                  <a16:creationId xmlns:a16="http://schemas.microsoft.com/office/drawing/2014/main" id="{12D89143-9AB1-6005-19AD-4EC41517488C}"/>
                </a:ext>
              </a:extLst>
            </p:cNvPr>
            <p:cNvSpPr/>
            <p:nvPr/>
          </p:nvSpPr>
          <p:spPr>
            <a:xfrm>
              <a:off x="2294517" y="2116096"/>
              <a:ext cx="8377" cy="33360"/>
            </a:xfrm>
            <a:custGeom>
              <a:avLst/>
              <a:gdLst/>
              <a:ahLst/>
              <a:cxnLst/>
              <a:rect l="l" t="t" r="r" b="b"/>
              <a:pathLst>
                <a:path w="617" h="2457" extrusionOk="0">
                  <a:moveTo>
                    <a:pt x="84" y="0"/>
                  </a:moveTo>
                  <a:cubicBezTo>
                    <a:pt x="70" y="0"/>
                    <a:pt x="56" y="7"/>
                    <a:pt x="46" y="14"/>
                  </a:cubicBezTo>
                  <a:cubicBezTo>
                    <a:pt x="11" y="50"/>
                    <a:pt x="0" y="221"/>
                    <a:pt x="193" y="648"/>
                  </a:cubicBezTo>
                  <a:cubicBezTo>
                    <a:pt x="298" y="883"/>
                    <a:pt x="245" y="1058"/>
                    <a:pt x="193" y="1226"/>
                  </a:cubicBezTo>
                  <a:cubicBezTo>
                    <a:pt x="154" y="1348"/>
                    <a:pt x="116" y="1478"/>
                    <a:pt x="137" y="1639"/>
                  </a:cubicBezTo>
                  <a:cubicBezTo>
                    <a:pt x="175" y="1961"/>
                    <a:pt x="448" y="2420"/>
                    <a:pt x="588" y="2455"/>
                  </a:cubicBezTo>
                  <a:cubicBezTo>
                    <a:pt x="591" y="2456"/>
                    <a:pt x="593" y="2457"/>
                    <a:pt x="595" y="2457"/>
                  </a:cubicBezTo>
                  <a:cubicBezTo>
                    <a:pt x="600" y="2457"/>
                    <a:pt x="605" y="2453"/>
                    <a:pt x="609" y="2444"/>
                  </a:cubicBezTo>
                  <a:cubicBezTo>
                    <a:pt x="609" y="2444"/>
                    <a:pt x="616" y="2434"/>
                    <a:pt x="616" y="2395"/>
                  </a:cubicBezTo>
                  <a:cubicBezTo>
                    <a:pt x="609" y="2304"/>
                    <a:pt x="560" y="2157"/>
                    <a:pt x="508" y="1999"/>
                  </a:cubicBezTo>
                  <a:cubicBezTo>
                    <a:pt x="417" y="1719"/>
                    <a:pt x="312" y="1404"/>
                    <a:pt x="385" y="1212"/>
                  </a:cubicBezTo>
                  <a:cubicBezTo>
                    <a:pt x="403" y="1156"/>
                    <a:pt x="410" y="1100"/>
                    <a:pt x="410" y="1044"/>
                  </a:cubicBezTo>
                  <a:cubicBezTo>
                    <a:pt x="417" y="708"/>
                    <a:pt x="266" y="176"/>
                    <a:pt x="123" y="29"/>
                  </a:cubicBezTo>
                  <a:cubicBezTo>
                    <a:pt x="98" y="4"/>
                    <a:pt x="84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3" name="Google Shape;4370;p64">
              <a:extLst>
                <a:ext uri="{FF2B5EF4-FFF2-40B4-BE49-F238E27FC236}">
                  <a16:creationId xmlns:a16="http://schemas.microsoft.com/office/drawing/2014/main" id="{D04CC070-2C17-9B8E-1145-0C52BCB7DEA7}"/>
                </a:ext>
              </a:extLst>
            </p:cNvPr>
            <p:cNvSpPr/>
            <p:nvPr/>
          </p:nvSpPr>
          <p:spPr>
            <a:xfrm>
              <a:off x="2250119" y="1665337"/>
              <a:ext cx="104438" cy="51540"/>
            </a:xfrm>
            <a:custGeom>
              <a:avLst/>
              <a:gdLst/>
              <a:ahLst/>
              <a:cxnLst/>
              <a:rect l="l" t="t" r="r" b="b"/>
              <a:pathLst>
                <a:path w="7692" h="3796" extrusionOk="0">
                  <a:moveTo>
                    <a:pt x="2284" y="1"/>
                  </a:moveTo>
                  <a:cubicBezTo>
                    <a:pt x="2193" y="1"/>
                    <a:pt x="2103" y="19"/>
                    <a:pt x="2017" y="54"/>
                  </a:cubicBezTo>
                  <a:cubicBezTo>
                    <a:pt x="1961" y="75"/>
                    <a:pt x="1901" y="92"/>
                    <a:pt x="1838" y="103"/>
                  </a:cubicBezTo>
                  <a:cubicBezTo>
                    <a:pt x="1761" y="120"/>
                    <a:pt x="1716" y="197"/>
                    <a:pt x="1646" y="323"/>
                  </a:cubicBezTo>
                  <a:cubicBezTo>
                    <a:pt x="1586" y="428"/>
                    <a:pt x="1516" y="551"/>
                    <a:pt x="1397" y="642"/>
                  </a:cubicBezTo>
                  <a:cubicBezTo>
                    <a:pt x="1362" y="670"/>
                    <a:pt x="1327" y="694"/>
                    <a:pt x="1299" y="715"/>
                  </a:cubicBezTo>
                  <a:cubicBezTo>
                    <a:pt x="1163" y="813"/>
                    <a:pt x="1152" y="820"/>
                    <a:pt x="1163" y="995"/>
                  </a:cubicBezTo>
                  <a:lnTo>
                    <a:pt x="1177" y="1153"/>
                  </a:lnTo>
                  <a:lnTo>
                    <a:pt x="1166" y="1142"/>
                  </a:lnTo>
                  <a:cubicBezTo>
                    <a:pt x="1142" y="1363"/>
                    <a:pt x="977" y="1377"/>
                    <a:pt x="844" y="1387"/>
                  </a:cubicBezTo>
                  <a:lnTo>
                    <a:pt x="823" y="1387"/>
                  </a:lnTo>
                  <a:cubicBezTo>
                    <a:pt x="701" y="1401"/>
                    <a:pt x="613" y="1618"/>
                    <a:pt x="606" y="1772"/>
                  </a:cubicBezTo>
                  <a:cubicBezTo>
                    <a:pt x="606" y="1811"/>
                    <a:pt x="606" y="1849"/>
                    <a:pt x="610" y="1888"/>
                  </a:cubicBezTo>
                  <a:cubicBezTo>
                    <a:pt x="613" y="1930"/>
                    <a:pt x="617" y="1968"/>
                    <a:pt x="613" y="2010"/>
                  </a:cubicBezTo>
                  <a:lnTo>
                    <a:pt x="620" y="2010"/>
                  </a:lnTo>
                  <a:lnTo>
                    <a:pt x="606" y="2070"/>
                  </a:lnTo>
                  <a:lnTo>
                    <a:pt x="589" y="2140"/>
                  </a:lnTo>
                  <a:lnTo>
                    <a:pt x="578" y="2137"/>
                  </a:lnTo>
                  <a:cubicBezTo>
                    <a:pt x="550" y="2186"/>
                    <a:pt x="501" y="2221"/>
                    <a:pt x="448" y="2235"/>
                  </a:cubicBezTo>
                  <a:cubicBezTo>
                    <a:pt x="371" y="2259"/>
                    <a:pt x="287" y="2385"/>
                    <a:pt x="221" y="2483"/>
                  </a:cubicBezTo>
                  <a:cubicBezTo>
                    <a:pt x="147" y="2595"/>
                    <a:pt x="88" y="2679"/>
                    <a:pt x="14" y="2704"/>
                  </a:cubicBezTo>
                  <a:cubicBezTo>
                    <a:pt x="0" y="2760"/>
                    <a:pt x="70" y="2959"/>
                    <a:pt x="119" y="2991"/>
                  </a:cubicBezTo>
                  <a:cubicBezTo>
                    <a:pt x="165" y="3005"/>
                    <a:pt x="200" y="3036"/>
                    <a:pt x="214" y="3082"/>
                  </a:cubicBezTo>
                  <a:lnTo>
                    <a:pt x="217" y="3078"/>
                  </a:lnTo>
                  <a:lnTo>
                    <a:pt x="238" y="3152"/>
                  </a:lnTo>
                  <a:lnTo>
                    <a:pt x="242" y="3166"/>
                  </a:lnTo>
                  <a:lnTo>
                    <a:pt x="256" y="3208"/>
                  </a:lnTo>
                  <a:cubicBezTo>
                    <a:pt x="277" y="3288"/>
                    <a:pt x="305" y="3372"/>
                    <a:pt x="357" y="3414"/>
                  </a:cubicBezTo>
                  <a:cubicBezTo>
                    <a:pt x="417" y="3456"/>
                    <a:pt x="476" y="3495"/>
                    <a:pt x="543" y="3523"/>
                  </a:cubicBezTo>
                  <a:cubicBezTo>
                    <a:pt x="673" y="3593"/>
                    <a:pt x="778" y="3649"/>
                    <a:pt x="806" y="3726"/>
                  </a:cubicBezTo>
                  <a:cubicBezTo>
                    <a:pt x="827" y="3717"/>
                    <a:pt x="855" y="3713"/>
                    <a:pt x="896" y="3713"/>
                  </a:cubicBezTo>
                  <a:cubicBezTo>
                    <a:pt x="949" y="3713"/>
                    <a:pt x="1025" y="3719"/>
                    <a:pt x="1138" y="3729"/>
                  </a:cubicBezTo>
                  <a:cubicBezTo>
                    <a:pt x="1261" y="3741"/>
                    <a:pt x="1423" y="3755"/>
                    <a:pt x="1575" y="3755"/>
                  </a:cubicBezTo>
                  <a:cubicBezTo>
                    <a:pt x="1747" y="3755"/>
                    <a:pt x="1906" y="3737"/>
                    <a:pt x="1978" y="3673"/>
                  </a:cubicBezTo>
                  <a:cubicBezTo>
                    <a:pt x="2225" y="3458"/>
                    <a:pt x="2787" y="3133"/>
                    <a:pt x="3445" y="3133"/>
                  </a:cubicBezTo>
                  <a:cubicBezTo>
                    <a:pt x="3525" y="3133"/>
                    <a:pt x="3605" y="3138"/>
                    <a:pt x="3687" y="3148"/>
                  </a:cubicBezTo>
                  <a:cubicBezTo>
                    <a:pt x="4170" y="3211"/>
                    <a:pt x="4282" y="3281"/>
                    <a:pt x="4359" y="3330"/>
                  </a:cubicBezTo>
                  <a:cubicBezTo>
                    <a:pt x="4394" y="3353"/>
                    <a:pt x="4431" y="3367"/>
                    <a:pt x="4471" y="3367"/>
                  </a:cubicBezTo>
                  <a:cubicBezTo>
                    <a:pt x="4479" y="3367"/>
                    <a:pt x="4487" y="3367"/>
                    <a:pt x="4495" y="3365"/>
                  </a:cubicBezTo>
                  <a:cubicBezTo>
                    <a:pt x="4639" y="3365"/>
                    <a:pt x="4716" y="3439"/>
                    <a:pt x="4779" y="3498"/>
                  </a:cubicBezTo>
                  <a:cubicBezTo>
                    <a:pt x="4837" y="3553"/>
                    <a:pt x="4874" y="3587"/>
                    <a:pt x="4952" y="3587"/>
                  </a:cubicBezTo>
                  <a:cubicBezTo>
                    <a:pt x="4959" y="3587"/>
                    <a:pt x="4967" y="3586"/>
                    <a:pt x="4975" y="3586"/>
                  </a:cubicBezTo>
                  <a:cubicBezTo>
                    <a:pt x="4986" y="3585"/>
                    <a:pt x="4997" y="3585"/>
                    <a:pt x="5008" y="3585"/>
                  </a:cubicBezTo>
                  <a:cubicBezTo>
                    <a:pt x="5127" y="3585"/>
                    <a:pt x="5214" y="3636"/>
                    <a:pt x="5297" y="3687"/>
                  </a:cubicBezTo>
                  <a:cubicBezTo>
                    <a:pt x="5392" y="3740"/>
                    <a:pt x="5479" y="3796"/>
                    <a:pt x="5626" y="3796"/>
                  </a:cubicBezTo>
                  <a:cubicBezTo>
                    <a:pt x="5749" y="3792"/>
                    <a:pt x="5871" y="3782"/>
                    <a:pt x="5990" y="3768"/>
                  </a:cubicBezTo>
                  <a:cubicBezTo>
                    <a:pt x="6122" y="3754"/>
                    <a:pt x="6248" y="3741"/>
                    <a:pt x="6360" y="3741"/>
                  </a:cubicBezTo>
                  <a:cubicBezTo>
                    <a:pt x="6451" y="3741"/>
                    <a:pt x="6534" y="3750"/>
                    <a:pt x="6603" y="3775"/>
                  </a:cubicBezTo>
                  <a:cubicBezTo>
                    <a:pt x="6623" y="3782"/>
                    <a:pt x="6650" y="3785"/>
                    <a:pt x="6683" y="3785"/>
                  </a:cubicBezTo>
                  <a:cubicBezTo>
                    <a:pt x="6894" y="3785"/>
                    <a:pt x="7337" y="3646"/>
                    <a:pt x="7552" y="3449"/>
                  </a:cubicBezTo>
                  <a:cubicBezTo>
                    <a:pt x="7601" y="3411"/>
                    <a:pt x="7636" y="3358"/>
                    <a:pt x="7657" y="3299"/>
                  </a:cubicBezTo>
                  <a:cubicBezTo>
                    <a:pt x="7692" y="3162"/>
                    <a:pt x="7667" y="3141"/>
                    <a:pt x="7618" y="3092"/>
                  </a:cubicBezTo>
                  <a:cubicBezTo>
                    <a:pt x="7566" y="3043"/>
                    <a:pt x="7482" y="2966"/>
                    <a:pt x="7447" y="2763"/>
                  </a:cubicBezTo>
                  <a:cubicBezTo>
                    <a:pt x="7415" y="2595"/>
                    <a:pt x="7265" y="2546"/>
                    <a:pt x="7020" y="2480"/>
                  </a:cubicBezTo>
                  <a:cubicBezTo>
                    <a:pt x="6897" y="2448"/>
                    <a:pt x="6778" y="2410"/>
                    <a:pt x="6666" y="2354"/>
                  </a:cubicBezTo>
                  <a:lnTo>
                    <a:pt x="6634" y="2336"/>
                  </a:lnTo>
                  <a:lnTo>
                    <a:pt x="6536" y="2280"/>
                  </a:lnTo>
                  <a:lnTo>
                    <a:pt x="6543" y="2273"/>
                  </a:lnTo>
                  <a:cubicBezTo>
                    <a:pt x="6519" y="2256"/>
                    <a:pt x="6498" y="2235"/>
                    <a:pt x="6477" y="2210"/>
                  </a:cubicBezTo>
                  <a:cubicBezTo>
                    <a:pt x="6109" y="1814"/>
                    <a:pt x="5766" y="1566"/>
                    <a:pt x="5490" y="1496"/>
                  </a:cubicBezTo>
                  <a:cubicBezTo>
                    <a:pt x="5318" y="1457"/>
                    <a:pt x="5175" y="1349"/>
                    <a:pt x="5094" y="1198"/>
                  </a:cubicBezTo>
                  <a:cubicBezTo>
                    <a:pt x="5087" y="1181"/>
                    <a:pt x="5073" y="1163"/>
                    <a:pt x="5063" y="1146"/>
                  </a:cubicBezTo>
                  <a:cubicBezTo>
                    <a:pt x="5031" y="1142"/>
                    <a:pt x="5003" y="1125"/>
                    <a:pt x="4986" y="1100"/>
                  </a:cubicBezTo>
                  <a:cubicBezTo>
                    <a:pt x="4982" y="1104"/>
                    <a:pt x="4979" y="1107"/>
                    <a:pt x="4979" y="1111"/>
                  </a:cubicBezTo>
                  <a:cubicBezTo>
                    <a:pt x="4943" y="1165"/>
                    <a:pt x="4869" y="1175"/>
                    <a:pt x="4765" y="1175"/>
                  </a:cubicBezTo>
                  <a:cubicBezTo>
                    <a:pt x="4736" y="1175"/>
                    <a:pt x="4704" y="1175"/>
                    <a:pt x="4671" y="1174"/>
                  </a:cubicBezTo>
                  <a:cubicBezTo>
                    <a:pt x="4633" y="1173"/>
                    <a:pt x="4593" y="1172"/>
                    <a:pt x="4553" y="1172"/>
                  </a:cubicBezTo>
                  <a:cubicBezTo>
                    <a:pt x="4432" y="1172"/>
                    <a:pt x="4308" y="1182"/>
                    <a:pt x="4229" y="1237"/>
                  </a:cubicBezTo>
                  <a:cubicBezTo>
                    <a:pt x="4135" y="1296"/>
                    <a:pt x="4033" y="1342"/>
                    <a:pt x="3921" y="1366"/>
                  </a:cubicBezTo>
                  <a:cubicBezTo>
                    <a:pt x="3844" y="1384"/>
                    <a:pt x="3774" y="1415"/>
                    <a:pt x="3708" y="1457"/>
                  </a:cubicBezTo>
                  <a:cubicBezTo>
                    <a:pt x="3582" y="1545"/>
                    <a:pt x="3435" y="1611"/>
                    <a:pt x="3319" y="1611"/>
                  </a:cubicBezTo>
                  <a:cubicBezTo>
                    <a:pt x="3315" y="1612"/>
                    <a:pt x="3311" y="1612"/>
                    <a:pt x="3307" y="1612"/>
                  </a:cubicBezTo>
                  <a:cubicBezTo>
                    <a:pt x="3256" y="1612"/>
                    <a:pt x="3208" y="1591"/>
                    <a:pt x="3172" y="1552"/>
                  </a:cubicBezTo>
                  <a:cubicBezTo>
                    <a:pt x="3127" y="1492"/>
                    <a:pt x="3148" y="1408"/>
                    <a:pt x="3165" y="1328"/>
                  </a:cubicBezTo>
                  <a:cubicBezTo>
                    <a:pt x="3190" y="1237"/>
                    <a:pt x="3200" y="1170"/>
                    <a:pt x="3165" y="1146"/>
                  </a:cubicBezTo>
                  <a:cubicBezTo>
                    <a:pt x="3085" y="1100"/>
                    <a:pt x="3001" y="1069"/>
                    <a:pt x="2913" y="1041"/>
                  </a:cubicBezTo>
                  <a:cubicBezTo>
                    <a:pt x="2710" y="971"/>
                    <a:pt x="2605" y="932"/>
                    <a:pt x="2588" y="852"/>
                  </a:cubicBezTo>
                  <a:cubicBezTo>
                    <a:pt x="2570" y="764"/>
                    <a:pt x="2675" y="726"/>
                    <a:pt x="2903" y="642"/>
                  </a:cubicBezTo>
                  <a:cubicBezTo>
                    <a:pt x="3029" y="596"/>
                    <a:pt x="3281" y="502"/>
                    <a:pt x="3316" y="446"/>
                  </a:cubicBezTo>
                  <a:cubicBezTo>
                    <a:pt x="3287" y="420"/>
                    <a:pt x="3146" y="417"/>
                    <a:pt x="3028" y="417"/>
                  </a:cubicBezTo>
                  <a:cubicBezTo>
                    <a:pt x="3002" y="417"/>
                    <a:pt x="2977" y="418"/>
                    <a:pt x="2955" y="418"/>
                  </a:cubicBezTo>
                  <a:cubicBezTo>
                    <a:pt x="2912" y="418"/>
                    <a:pt x="2868" y="419"/>
                    <a:pt x="2825" y="419"/>
                  </a:cubicBezTo>
                  <a:cubicBezTo>
                    <a:pt x="2681" y="419"/>
                    <a:pt x="2544" y="410"/>
                    <a:pt x="2458" y="362"/>
                  </a:cubicBezTo>
                  <a:cubicBezTo>
                    <a:pt x="2416" y="344"/>
                    <a:pt x="2384" y="306"/>
                    <a:pt x="2370" y="260"/>
                  </a:cubicBezTo>
                  <a:cubicBezTo>
                    <a:pt x="2356" y="187"/>
                    <a:pt x="2402" y="124"/>
                    <a:pt x="2440" y="71"/>
                  </a:cubicBezTo>
                  <a:cubicBezTo>
                    <a:pt x="2451" y="57"/>
                    <a:pt x="2461" y="43"/>
                    <a:pt x="2472" y="25"/>
                  </a:cubicBezTo>
                  <a:cubicBezTo>
                    <a:pt x="2458" y="22"/>
                    <a:pt x="2440" y="18"/>
                    <a:pt x="2423" y="15"/>
                  </a:cubicBezTo>
                  <a:cubicBezTo>
                    <a:pt x="2377" y="6"/>
                    <a:pt x="2330" y="1"/>
                    <a:pt x="228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4" name="Google Shape;4371;p64">
              <a:extLst>
                <a:ext uri="{FF2B5EF4-FFF2-40B4-BE49-F238E27FC236}">
                  <a16:creationId xmlns:a16="http://schemas.microsoft.com/office/drawing/2014/main" id="{64927481-C7ED-92AD-3B4E-DAE0C10F07CA}"/>
                </a:ext>
              </a:extLst>
            </p:cNvPr>
            <p:cNvSpPr/>
            <p:nvPr/>
          </p:nvSpPr>
          <p:spPr>
            <a:xfrm>
              <a:off x="2259243" y="2070557"/>
              <a:ext cx="13034" cy="35342"/>
            </a:xfrm>
            <a:custGeom>
              <a:avLst/>
              <a:gdLst/>
              <a:ahLst/>
              <a:cxnLst/>
              <a:rect l="l" t="t" r="r" b="b"/>
              <a:pathLst>
                <a:path w="960" h="2603" extrusionOk="0">
                  <a:moveTo>
                    <a:pt x="32" y="1"/>
                  </a:moveTo>
                  <a:lnTo>
                    <a:pt x="32" y="1"/>
                  </a:lnTo>
                  <a:cubicBezTo>
                    <a:pt x="1" y="291"/>
                    <a:pt x="39" y="1061"/>
                    <a:pt x="165" y="1541"/>
                  </a:cubicBezTo>
                  <a:cubicBezTo>
                    <a:pt x="225" y="1769"/>
                    <a:pt x="277" y="1807"/>
                    <a:pt x="288" y="1814"/>
                  </a:cubicBezTo>
                  <a:cubicBezTo>
                    <a:pt x="417" y="1884"/>
                    <a:pt x="526" y="2073"/>
                    <a:pt x="627" y="2252"/>
                  </a:cubicBezTo>
                  <a:cubicBezTo>
                    <a:pt x="655" y="2301"/>
                    <a:pt x="683" y="2350"/>
                    <a:pt x="711" y="2395"/>
                  </a:cubicBezTo>
                  <a:cubicBezTo>
                    <a:pt x="800" y="2536"/>
                    <a:pt x="862" y="2602"/>
                    <a:pt x="912" y="2602"/>
                  </a:cubicBezTo>
                  <a:cubicBezTo>
                    <a:pt x="919" y="2602"/>
                    <a:pt x="925" y="2601"/>
                    <a:pt x="932" y="2598"/>
                  </a:cubicBezTo>
                  <a:cubicBezTo>
                    <a:pt x="949" y="2591"/>
                    <a:pt x="953" y="2584"/>
                    <a:pt x="953" y="2584"/>
                  </a:cubicBezTo>
                  <a:cubicBezTo>
                    <a:pt x="960" y="2560"/>
                    <a:pt x="900" y="2476"/>
                    <a:pt x="872" y="2430"/>
                  </a:cubicBezTo>
                  <a:cubicBezTo>
                    <a:pt x="827" y="2374"/>
                    <a:pt x="792" y="2311"/>
                    <a:pt x="764" y="2245"/>
                  </a:cubicBezTo>
                  <a:cubicBezTo>
                    <a:pt x="746" y="2185"/>
                    <a:pt x="732" y="2126"/>
                    <a:pt x="725" y="2066"/>
                  </a:cubicBezTo>
                  <a:cubicBezTo>
                    <a:pt x="704" y="1905"/>
                    <a:pt x="676" y="1723"/>
                    <a:pt x="491" y="1555"/>
                  </a:cubicBezTo>
                  <a:cubicBezTo>
                    <a:pt x="344" y="1419"/>
                    <a:pt x="249" y="1033"/>
                    <a:pt x="155" y="571"/>
                  </a:cubicBezTo>
                  <a:lnTo>
                    <a:pt x="137" y="477"/>
                  </a:lnTo>
                  <a:lnTo>
                    <a:pt x="127" y="431"/>
                  </a:lnTo>
                  <a:cubicBezTo>
                    <a:pt x="95" y="263"/>
                    <a:pt x="64" y="106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5" name="Google Shape;4372;p64">
              <a:extLst>
                <a:ext uri="{FF2B5EF4-FFF2-40B4-BE49-F238E27FC236}">
                  <a16:creationId xmlns:a16="http://schemas.microsoft.com/office/drawing/2014/main" id="{599F3274-23EC-F550-5345-6FA1229B3CA5}"/>
                </a:ext>
              </a:extLst>
            </p:cNvPr>
            <p:cNvSpPr/>
            <p:nvPr/>
          </p:nvSpPr>
          <p:spPr>
            <a:xfrm>
              <a:off x="1664562" y="2045086"/>
              <a:ext cx="3435" cy="4711"/>
            </a:xfrm>
            <a:custGeom>
              <a:avLst/>
              <a:gdLst/>
              <a:ahLst/>
              <a:cxnLst/>
              <a:rect l="l" t="t" r="r" b="b"/>
              <a:pathLst>
                <a:path w="253" h="347" extrusionOk="0">
                  <a:moveTo>
                    <a:pt x="253" y="0"/>
                  </a:moveTo>
                  <a:lnTo>
                    <a:pt x="253" y="0"/>
                  </a:lnTo>
                  <a:cubicBezTo>
                    <a:pt x="239" y="4"/>
                    <a:pt x="221" y="4"/>
                    <a:pt x="207" y="4"/>
                  </a:cubicBezTo>
                  <a:lnTo>
                    <a:pt x="200" y="4"/>
                  </a:lnTo>
                  <a:cubicBezTo>
                    <a:pt x="130" y="4"/>
                    <a:pt x="50" y="77"/>
                    <a:pt x="25" y="161"/>
                  </a:cubicBezTo>
                  <a:cubicBezTo>
                    <a:pt x="0" y="228"/>
                    <a:pt x="32" y="301"/>
                    <a:pt x="99" y="329"/>
                  </a:cubicBezTo>
                  <a:cubicBezTo>
                    <a:pt x="109" y="336"/>
                    <a:pt x="120" y="343"/>
                    <a:pt x="134" y="347"/>
                  </a:cubicBezTo>
                  <a:cubicBezTo>
                    <a:pt x="144" y="319"/>
                    <a:pt x="148" y="291"/>
                    <a:pt x="155" y="263"/>
                  </a:cubicBezTo>
                  <a:cubicBezTo>
                    <a:pt x="165" y="168"/>
                    <a:pt x="197" y="77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6" name="Google Shape;4373;p64">
              <a:extLst>
                <a:ext uri="{FF2B5EF4-FFF2-40B4-BE49-F238E27FC236}">
                  <a16:creationId xmlns:a16="http://schemas.microsoft.com/office/drawing/2014/main" id="{08F1B303-063C-4841-3FDC-A3480EDB0D59}"/>
                </a:ext>
              </a:extLst>
            </p:cNvPr>
            <p:cNvSpPr/>
            <p:nvPr/>
          </p:nvSpPr>
          <p:spPr>
            <a:xfrm>
              <a:off x="1423480" y="1702037"/>
              <a:ext cx="30142" cy="11880"/>
            </a:xfrm>
            <a:custGeom>
              <a:avLst/>
              <a:gdLst/>
              <a:ahLst/>
              <a:cxnLst/>
              <a:rect l="l" t="t" r="r" b="b"/>
              <a:pathLst>
                <a:path w="2220" h="875" extrusionOk="0">
                  <a:moveTo>
                    <a:pt x="2216" y="1"/>
                  </a:moveTo>
                  <a:cubicBezTo>
                    <a:pt x="2178" y="25"/>
                    <a:pt x="2139" y="50"/>
                    <a:pt x="2104" y="78"/>
                  </a:cubicBezTo>
                  <a:cubicBezTo>
                    <a:pt x="2069" y="102"/>
                    <a:pt x="2031" y="134"/>
                    <a:pt x="1982" y="165"/>
                  </a:cubicBezTo>
                  <a:cubicBezTo>
                    <a:pt x="1901" y="222"/>
                    <a:pt x="1831" y="242"/>
                    <a:pt x="1767" y="242"/>
                  </a:cubicBezTo>
                  <a:cubicBezTo>
                    <a:pt x="1692" y="242"/>
                    <a:pt x="1624" y="214"/>
                    <a:pt x="1555" y="186"/>
                  </a:cubicBezTo>
                  <a:cubicBezTo>
                    <a:pt x="1453" y="141"/>
                    <a:pt x="1348" y="113"/>
                    <a:pt x="1236" y="106"/>
                  </a:cubicBezTo>
                  <a:cubicBezTo>
                    <a:pt x="1231" y="105"/>
                    <a:pt x="1225" y="105"/>
                    <a:pt x="1220" y="105"/>
                  </a:cubicBezTo>
                  <a:cubicBezTo>
                    <a:pt x="1054" y="105"/>
                    <a:pt x="849" y="257"/>
                    <a:pt x="686" y="379"/>
                  </a:cubicBezTo>
                  <a:lnTo>
                    <a:pt x="665" y="396"/>
                  </a:lnTo>
                  <a:lnTo>
                    <a:pt x="602" y="442"/>
                  </a:lnTo>
                  <a:lnTo>
                    <a:pt x="560" y="473"/>
                  </a:lnTo>
                  <a:cubicBezTo>
                    <a:pt x="490" y="518"/>
                    <a:pt x="438" y="545"/>
                    <a:pt x="392" y="545"/>
                  </a:cubicBezTo>
                  <a:cubicBezTo>
                    <a:pt x="380" y="545"/>
                    <a:pt x="369" y="543"/>
                    <a:pt x="357" y="540"/>
                  </a:cubicBezTo>
                  <a:cubicBezTo>
                    <a:pt x="326" y="533"/>
                    <a:pt x="298" y="508"/>
                    <a:pt x="287" y="477"/>
                  </a:cubicBezTo>
                  <a:cubicBezTo>
                    <a:pt x="256" y="414"/>
                    <a:pt x="192" y="377"/>
                    <a:pt x="123" y="377"/>
                  </a:cubicBezTo>
                  <a:cubicBezTo>
                    <a:pt x="115" y="377"/>
                    <a:pt x="107" y="378"/>
                    <a:pt x="98" y="379"/>
                  </a:cubicBezTo>
                  <a:cubicBezTo>
                    <a:pt x="11" y="396"/>
                    <a:pt x="0" y="508"/>
                    <a:pt x="0" y="571"/>
                  </a:cubicBezTo>
                  <a:cubicBezTo>
                    <a:pt x="0" y="659"/>
                    <a:pt x="46" y="732"/>
                    <a:pt x="137" y="788"/>
                  </a:cubicBezTo>
                  <a:cubicBezTo>
                    <a:pt x="235" y="846"/>
                    <a:pt x="365" y="874"/>
                    <a:pt x="503" y="874"/>
                  </a:cubicBezTo>
                  <a:cubicBezTo>
                    <a:pt x="668" y="874"/>
                    <a:pt x="845" y="835"/>
                    <a:pt x="994" y="757"/>
                  </a:cubicBezTo>
                  <a:lnTo>
                    <a:pt x="1184" y="659"/>
                  </a:lnTo>
                  <a:cubicBezTo>
                    <a:pt x="1544" y="470"/>
                    <a:pt x="2150" y="158"/>
                    <a:pt x="2220" y="15"/>
                  </a:cubicBezTo>
                  <a:cubicBezTo>
                    <a:pt x="2220" y="11"/>
                    <a:pt x="2220" y="11"/>
                    <a:pt x="2220" y="8"/>
                  </a:cubicBezTo>
                  <a:lnTo>
                    <a:pt x="221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7" name="Google Shape;4374;p64">
              <a:extLst>
                <a:ext uri="{FF2B5EF4-FFF2-40B4-BE49-F238E27FC236}">
                  <a16:creationId xmlns:a16="http://schemas.microsoft.com/office/drawing/2014/main" id="{BB1BC7A4-88C8-B605-CCE6-59B7AF79770E}"/>
                </a:ext>
              </a:extLst>
            </p:cNvPr>
            <p:cNvSpPr/>
            <p:nvPr/>
          </p:nvSpPr>
          <p:spPr>
            <a:xfrm>
              <a:off x="1110233" y="1631597"/>
              <a:ext cx="22498" cy="29097"/>
            </a:xfrm>
            <a:custGeom>
              <a:avLst/>
              <a:gdLst/>
              <a:ahLst/>
              <a:cxnLst/>
              <a:rect l="l" t="t" r="r" b="b"/>
              <a:pathLst>
                <a:path w="1657" h="2143" extrusionOk="0">
                  <a:moveTo>
                    <a:pt x="207" y="0"/>
                  </a:moveTo>
                  <a:lnTo>
                    <a:pt x="204" y="4"/>
                  </a:lnTo>
                  <a:cubicBezTo>
                    <a:pt x="158" y="34"/>
                    <a:pt x="104" y="51"/>
                    <a:pt x="50" y="51"/>
                  </a:cubicBezTo>
                  <a:cubicBezTo>
                    <a:pt x="33" y="51"/>
                    <a:pt x="17" y="49"/>
                    <a:pt x="1" y="46"/>
                  </a:cubicBezTo>
                  <a:lnTo>
                    <a:pt x="1" y="46"/>
                  </a:lnTo>
                  <a:cubicBezTo>
                    <a:pt x="165" y="221"/>
                    <a:pt x="302" y="417"/>
                    <a:pt x="407" y="631"/>
                  </a:cubicBezTo>
                  <a:cubicBezTo>
                    <a:pt x="428" y="680"/>
                    <a:pt x="543" y="708"/>
                    <a:pt x="648" y="732"/>
                  </a:cubicBezTo>
                  <a:cubicBezTo>
                    <a:pt x="785" y="767"/>
                    <a:pt x="935" y="802"/>
                    <a:pt x="1026" y="900"/>
                  </a:cubicBezTo>
                  <a:cubicBezTo>
                    <a:pt x="1086" y="967"/>
                    <a:pt x="1170" y="981"/>
                    <a:pt x="1236" y="991"/>
                  </a:cubicBezTo>
                  <a:cubicBezTo>
                    <a:pt x="1306" y="1005"/>
                    <a:pt x="1362" y="1016"/>
                    <a:pt x="1387" y="1068"/>
                  </a:cubicBezTo>
                  <a:cubicBezTo>
                    <a:pt x="1405" y="1110"/>
                    <a:pt x="1398" y="1156"/>
                    <a:pt x="1373" y="1194"/>
                  </a:cubicBezTo>
                  <a:cubicBezTo>
                    <a:pt x="1345" y="1257"/>
                    <a:pt x="1327" y="1324"/>
                    <a:pt x="1324" y="1394"/>
                  </a:cubicBezTo>
                  <a:cubicBezTo>
                    <a:pt x="1320" y="1436"/>
                    <a:pt x="1327" y="1478"/>
                    <a:pt x="1352" y="1516"/>
                  </a:cubicBezTo>
                  <a:cubicBezTo>
                    <a:pt x="1355" y="1520"/>
                    <a:pt x="1359" y="1523"/>
                    <a:pt x="1366" y="1523"/>
                  </a:cubicBezTo>
                  <a:cubicBezTo>
                    <a:pt x="1457" y="1523"/>
                    <a:pt x="1534" y="1597"/>
                    <a:pt x="1566" y="1712"/>
                  </a:cubicBezTo>
                  <a:cubicBezTo>
                    <a:pt x="1594" y="1824"/>
                    <a:pt x="1559" y="1936"/>
                    <a:pt x="1471" y="1985"/>
                  </a:cubicBezTo>
                  <a:cubicBezTo>
                    <a:pt x="1433" y="2003"/>
                    <a:pt x="1412" y="2045"/>
                    <a:pt x="1422" y="2087"/>
                  </a:cubicBezTo>
                  <a:cubicBezTo>
                    <a:pt x="1429" y="2122"/>
                    <a:pt x="1461" y="2143"/>
                    <a:pt x="1510" y="2143"/>
                  </a:cubicBezTo>
                  <a:cubicBezTo>
                    <a:pt x="1534" y="2139"/>
                    <a:pt x="1562" y="2125"/>
                    <a:pt x="1576" y="2104"/>
                  </a:cubicBezTo>
                  <a:cubicBezTo>
                    <a:pt x="1639" y="2020"/>
                    <a:pt x="1657" y="1824"/>
                    <a:pt x="1615" y="1667"/>
                  </a:cubicBezTo>
                  <a:cubicBezTo>
                    <a:pt x="1594" y="1579"/>
                    <a:pt x="1590" y="1492"/>
                    <a:pt x="1604" y="1404"/>
                  </a:cubicBezTo>
                  <a:cubicBezTo>
                    <a:pt x="1615" y="1296"/>
                    <a:pt x="1622" y="1222"/>
                    <a:pt x="1534" y="1124"/>
                  </a:cubicBezTo>
                  <a:cubicBezTo>
                    <a:pt x="1520" y="1110"/>
                    <a:pt x="1506" y="1093"/>
                    <a:pt x="1492" y="1075"/>
                  </a:cubicBezTo>
                  <a:lnTo>
                    <a:pt x="1475" y="1047"/>
                  </a:lnTo>
                  <a:lnTo>
                    <a:pt x="1408" y="946"/>
                  </a:lnTo>
                  <a:lnTo>
                    <a:pt x="1419" y="946"/>
                  </a:lnTo>
                  <a:cubicBezTo>
                    <a:pt x="1398" y="904"/>
                    <a:pt x="1376" y="862"/>
                    <a:pt x="1359" y="820"/>
                  </a:cubicBezTo>
                  <a:cubicBezTo>
                    <a:pt x="1279" y="644"/>
                    <a:pt x="1228" y="552"/>
                    <a:pt x="1162" y="552"/>
                  </a:cubicBezTo>
                  <a:cubicBezTo>
                    <a:pt x="1154" y="552"/>
                    <a:pt x="1144" y="554"/>
                    <a:pt x="1135" y="557"/>
                  </a:cubicBezTo>
                  <a:cubicBezTo>
                    <a:pt x="1119" y="563"/>
                    <a:pt x="1103" y="566"/>
                    <a:pt x="1088" y="566"/>
                  </a:cubicBezTo>
                  <a:cubicBezTo>
                    <a:pt x="1024" y="566"/>
                    <a:pt x="970" y="520"/>
                    <a:pt x="925" y="480"/>
                  </a:cubicBezTo>
                  <a:cubicBezTo>
                    <a:pt x="881" y="440"/>
                    <a:pt x="841" y="403"/>
                    <a:pt x="795" y="403"/>
                  </a:cubicBezTo>
                  <a:cubicBezTo>
                    <a:pt x="793" y="403"/>
                    <a:pt x="790" y="403"/>
                    <a:pt x="788" y="403"/>
                  </a:cubicBezTo>
                  <a:cubicBezTo>
                    <a:pt x="757" y="406"/>
                    <a:pt x="722" y="413"/>
                    <a:pt x="683" y="420"/>
                  </a:cubicBezTo>
                  <a:cubicBezTo>
                    <a:pt x="626" y="432"/>
                    <a:pt x="564" y="444"/>
                    <a:pt x="507" y="444"/>
                  </a:cubicBezTo>
                  <a:cubicBezTo>
                    <a:pt x="456" y="444"/>
                    <a:pt x="409" y="434"/>
                    <a:pt x="372" y="406"/>
                  </a:cubicBezTo>
                  <a:cubicBezTo>
                    <a:pt x="333" y="378"/>
                    <a:pt x="309" y="336"/>
                    <a:pt x="305" y="287"/>
                  </a:cubicBezTo>
                  <a:cubicBezTo>
                    <a:pt x="284" y="126"/>
                    <a:pt x="235" y="18"/>
                    <a:pt x="2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8" name="Google Shape;4375;p64">
              <a:extLst>
                <a:ext uri="{FF2B5EF4-FFF2-40B4-BE49-F238E27FC236}">
                  <a16:creationId xmlns:a16="http://schemas.microsoft.com/office/drawing/2014/main" id="{B1F939B1-D59B-9F5C-ECF5-7AF355E55619}"/>
                </a:ext>
              </a:extLst>
            </p:cNvPr>
            <p:cNvSpPr/>
            <p:nvPr/>
          </p:nvSpPr>
          <p:spPr>
            <a:xfrm>
              <a:off x="1475522" y="1731935"/>
              <a:ext cx="1059" cy="1914"/>
            </a:xfrm>
            <a:custGeom>
              <a:avLst/>
              <a:gdLst/>
              <a:ahLst/>
              <a:cxnLst/>
              <a:rect l="l" t="t" r="r" b="b"/>
              <a:pathLst>
                <a:path w="78" h="141" extrusionOk="0">
                  <a:moveTo>
                    <a:pt x="78" y="1"/>
                  </a:moveTo>
                  <a:cubicBezTo>
                    <a:pt x="50" y="11"/>
                    <a:pt x="29" y="32"/>
                    <a:pt x="15" y="60"/>
                  </a:cubicBezTo>
                  <a:cubicBezTo>
                    <a:pt x="8" y="85"/>
                    <a:pt x="1" y="113"/>
                    <a:pt x="1" y="141"/>
                  </a:cubicBezTo>
                  <a:cubicBezTo>
                    <a:pt x="25" y="92"/>
                    <a:pt x="50" y="46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9" name="Google Shape;4376;p64">
              <a:extLst>
                <a:ext uri="{FF2B5EF4-FFF2-40B4-BE49-F238E27FC236}">
                  <a16:creationId xmlns:a16="http://schemas.microsoft.com/office/drawing/2014/main" id="{B857D73B-01F9-AC2D-B8CB-8C5AF6A1B1C4}"/>
                </a:ext>
              </a:extLst>
            </p:cNvPr>
            <p:cNvSpPr/>
            <p:nvPr/>
          </p:nvSpPr>
          <p:spPr>
            <a:xfrm>
              <a:off x="1389726" y="1671094"/>
              <a:ext cx="58858" cy="39483"/>
            </a:xfrm>
            <a:custGeom>
              <a:avLst/>
              <a:gdLst/>
              <a:ahLst/>
              <a:cxnLst/>
              <a:rect l="l" t="t" r="r" b="b"/>
              <a:pathLst>
                <a:path w="4335" h="2908" extrusionOk="0">
                  <a:moveTo>
                    <a:pt x="2336" y="0"/>
                  </a:moveTo>
                  <a:cubicBezTo>
                    <a:pt x="2281" y="0"/>
                    <a:pt x="2237" y="5"/>
                    <a:pt x="2206" y="15"/>
                  </a:cubicBezTo>
                  <a:cubicBezTo>
                    <a:pt x="2203" y="18"/>
                    <a:pt x="2196" y="18"/>
                    <a:pt x="2189" y="22"/>
                  </a:cubicBezTo>
                  <a:cubicBezTo>
                    <a:pt x="2182" y="162"/>
                    <a:pt x="1979" y="179"/>
                    <a:pt x="1639" y="211"/>
                  </a:cubicBezTo>
                  <a:cubicBezTo>
                    <a:pt x="1425" y="225"/>
                    <a:pt x="1212" y="253"/>
                    <a:pt x="998" y="298"/>
                  </a:cubicBezTo>
                  <a:cubicBezTo>
                    <a:pt x="606" y="389"/>
                    <a:pt x="225" y="750"/>
                    <a:pt x="172" y="869"/>
                  </a:cubicBezTo>
                  <a:cubicBezTo>
                    <a:pt x="221" y="869"/>
                    <a:pt x="263" y="893"/>
                    <a:pt x="291" y="932"/>
                  </a:cubicBezTo>
                  <a:cubicBezTo>
                    <a:pt x="361" y="1026"/>
                    <a:pt x="305" y="1201"/>
                    <a:pt x="228" y="1446"/>
                  </a:cubicBezTo>
                  <a:cubicBezTo>
                    <a:pt x="179" y="1593"/>
                    <a:pt x="137" y="1744"/>
                    <a:pt x="102" y="1895"/>
                  </a:cubicBezTo>
                  <a:cubicBezTo>
                    <a:pt x="1" y="2416"/>
                    <a:pt x="85" y="2784"/>
                    <a:pt x="221" y="2882"/>
                  </a:cubicBezTo>
                  <a:cubicBezTo>
                    <a:pt x="245" y="2899"/>
                    <a:pt x="271" y="2908"/>
                    <a:pt x="300" y="2908"/>
                  </a:cubicBezTo>
                  <a:cubicBezTo>
                    <a:pt x="336" y="2908"/>
                    <a:pt x="375" y="2895"/>
                    <a:pt x="417" y="2868"/>
                  </a:cubicBezTo>
                  <a:cubicBezTo>
                    <a:pt x="778" y="2651"/>
                    <a:pt x="862" y="2483"/>
                    <a:pt x="774" y="2140"/>
                  </a:cubicBezTo>
                  <a:cubicBezTo>
                    <a:pt x="673" y="1727"/>
                    <a:pt x="806" y="1173"/>
                    <a:pt x="925" y="932"/>
                  </a:cubicBezTo>
                  <a:cubicBezTo>
                    <a:pt x="995" y="792"/>
                    <a:pt x="1117" y="757"/>
                    <a:pt x="1226" y="725"/>
                  </a:cubicBezTo>
                  <a:cubicBezTo>
                    <a:pt x="1345" y="690"/>
                    <a:pt x="1439" y="666"/>
                    <a:pt x="1481" y="529"/>
                  </a:cubicBezTo>
                  <a:cubicBezTo>
                    <a:pt x="1523" y="382"/>
                    <a:pt x="1653" y="277"/>
                    <a:pt x="1804" y="260"/>
                  </a:cubicBezTo>
                  <a:cubicBezTo>
                    <a:pt x="1826" y="257"/>
                    <a:pt x="1848" y="255"/>
                    <a:pt x="1871" y="255"/>
                  </a:cubicBezTo>
                  <a:cubicBezTo>
                    <a:pt x="2085" y="255"/>
                    <a:pt x="2305" y="388"/>
                    <a:pt x="2448" y="610"/>
                  </a:cubicBezTo>
                  <a:cubicBezTo>
                    <a:pt x="2644" y="918"/>
                    <a:pt x="2500" y="1149"/>
                    <a:pt x="2374" y="1359"/>
                  </a:cubicBezTo>
                  <a:cubicBezTo>
                    <a:pt x="2311" y="1460"/>
                    <a:pt x="2255" y="1555"/>
                    <a:pt x="2238" y="1649"/>
                  </a:cubicBezTo>
                  <a:lnTo>
                    <a:pt x="2238" y="1660"/>
                  </a:lnTo>
                  <a:cubicBezTo>
                    <a:pt x="2259" y="1649"/>
                    <a:pt x="2283" y="1632"/>
                    <a:pt x="2301" y="1621"/>
                  </a:cubicBezTo>
                  <a:cubicBezTo>
                    <a:pt x="2397" y="1556"/>
                    <a:pt x="2535" y="1465"/>
                    <a:pt x="2678" y="1465"/>
                  </a:cubicBezTo>
                  <a:cubicBezTo>
                    <a:pt x="2711" y="1465"/>
                    <a:pt x="2744" y="1470"/>
                    <a:pt x="2777" y="1481"/>
                  </a:cubicBezTo>
                  <a:cubicBezTo>
                    <a:pt x="2990" y="1551"/>
                    <a:pt x="2983" y="1804"/>
                    <a:pt x="2976" y="1986"/>
                  </a:cubicBezTo>
                  <a:cubicBezTo>
                    <a:pt x="2976" y="2052"/>
                    <a:pt x="2973" y="2161"/>
                    <a:pt x="2990" y="2182"/>
                  </a:cubicBezTo>
                  <a:cubicBezTo>
                    <a:pt x="3067" y="2168"/>
                    <a:pt x="3298" y="1758"/>
                    <a:pt x="3298" y="1397"/>
                  </a:cubicBezTo>
                  <a:cubicBezTo>
                    <a:pt x="3298" y="1173"/>
                    <a:pt x="3368" y="1103"/>
                    <a:pt x="3421" y="1051"/>
                  </a:cubicBezTo>
                  <a:cubicBezTo>
                    <a:pt x="3459" y="1016"/>
                    <a:pt x="3473" y="998"/>
                    <a:pt x="3463" y="918"/>
                  </a:cubicBezTo>
                  <a:cubicBezTo>
                    <a:pt x="3452" y="872"/>
                    <a:pt x="3470" y="820"/>
                    <a:pt x="3512" y="792"/>
                  </a:cubicBezTo>
                  <a:cubicBezTo>
                    <a:pt x="3530" y="780"/>
                    <a:pt x="3549" y="774"/>
                    <a:pt x="3570" y="774"/>
                  </a:cubicBezTo>
                  <a:cubicBezTo>
                    <a:pt x="3629" y="774"/>
                    <a:pt x="3702" y="815"/>
                    <a:pt x="3803" y="869"/>
                  </a:cubicBezTo>
                  <a:cubicBezTo>
                    <a:pt x="3928" y="938"/>
                    <a:pt x="4078" y="1017"/>
                    <a:pt x="4206" y="1017"/>
                  </a:cubicBezTo>
                  <a:cubicBezTo>
                    <a:pt x="4214" y="1017"/>
                    <a:pt x="4222" y="1016"/>
                    <a:pt x="4230" y="1016"/>
                  </a:cubicBezTo>
                  <a:cubicBezTo>
                    <a:pt x="4307" y="1012"/>
                    <a:pt x="4321" y="991"/>
                    <a:pt x="4321" y="991"/>
                  </a:cubicBezTo>
                  <a:cubicBezTo>
                    <a:pt x="4335" y="960"/>
                    <a:pt x="4251" y="827"/>
                    <a:pt x="4191" y="736"/>
                  </a:cubicBezTo>
                  <a:cubicBezTo>
                    <a:pt x="4111" y="617"/>
                    <a:pt x="4037" y="491"/>
                    <a:pt x="3978" y="354"/>
                  </a:cubicBezTo>
                  <a:cubicBezTo>
                    <a:pt x="3907" y="188"/>
                    <a:pt x="3780" y="153"/>
                    <a:pt x="3590" y="153"/>
                  </a:cubicBezTo>
                  <a:cubicBezTo>
                    <a:pt x="3543" y="153"/>
                    <a:pt x="3493" y="155"/>
                    <a:pt x="3438" y="158"/>
                  </a:cubicBezTo>
                  <a:cubicBezTo>
                    <a:pt x="3379" y="161"/>
                    <a:pt x="3319" y="164"/>
                    <a:pt x="3261" y="164"/>
                  </a:cubicBezTo>
                  <a:cubicBezTo>
                    <a:pt x="3170" y="164"/>
                    <a:pt x="3082" y="156"/>
                    <a:pt x="3001" y="127"/>
                  </a:cubicBezTo>
                  <a:cubicBezTo>
                    <a:pt x="2787" y="49"/>
                    <a:pt x="2511" y="0"/>
                    <a:pt x="23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0" name="Google Shape;4377;p64">
              <a:extLst>
                <a:ext uri="{FF2B5EF4-FFF2-40B4-BE49-F238E27FC236}">
                  <a16:creationId xmlns:a16="http://schemas.microsoft.com/office/drawing/2014/main" id="{1EA1F6C3-DABE-C200-4920-4AD8A6BE4269}"/>
                </a:ext>
              </a:extLst>
            </p:cNvPr>
            <p:cNvSpPr/>
            <p:nvPr/>
          </p:nvSpPr>
          <p:spPr>
            <a:xfrm>
              <a:off x="1309917" y="1312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1" name="Google Shape;4378;p64">
              <a:extLst>
                <a:ext uri="{FF2B5EF4-FFF2-40B4-BE49-F238E27FC236}">
                  <a16:creationId xmlns:a16="http://schemas.microsoft.com/office/drawing/2014/main" id="{C5CA90FD-D47C-C974-8042-3EDFF9C709EA}"/>
                </a:ext>
              </a:extLst>
            </p:cNvPr>
            <p:cNvSpPr/>
            <p:nvPr/>
          </p:nvSpPr>
          <p:spPr>
            <a:xfrm>
              <a:off x="1507986" y="1447255"/>
              <a:ext cx="18601" cy="10482"/>
            </a:xfrm>
            <a:custGeom>
              <a:avLst/>
              <a:gdLst/>
              <a:ahLst/>
              <a:cxnLst/>
              <a:rect l="l" t="t" r="r" b="b"/>
              <a:pathLst>
                <a:path w="1370" h="772" extrusionOk="0">
                  <a:moveTo>
                    <a:pt x="716" y="0"/>
                  </a:moveTo>
                  <a:cubicBezTo>
                    <a:pt x="671" y="0"/>
                    <a:pt x="625" y="11"/>
                    <a:pt x="578" y="36"/>
                  </a:cubicBezTo>
                  <a:cubicBezTo>
                    <a:pt x="396" y="127"/>
                    <a:pt x="200" y="183"/>
                    <a:pt x="1" y="197"/>
                  </a:cubicBezTo>
                  <a:cubicBezTo>
                    <a:pt x="214" y="260"/>
                    <a:pt x="410" y="376"/>
                    <a:pt x="568" y="537"/>
                  </a:cubicBezTo>
                  <a:cubicBezTo>
                    <a:pt x="645" y="624"/>
                    <a:pt x="680" y="701"/>
                    <a:pt x="669" y="771"/>
                  </a:cubicBezTo>
                  <a:cubicBezTo>
                    <a:pt x="809" y="771"/>
                    <a:pt x="1268" y="621"/>
                    <a:pt x="1359" y="477"/>
                  </a:cubicBezTo>
                  <a:cubicBezTo>
                    <a:pt x="1370" y="460"/>
                    <a:pt x="1366" y="453"/>
                    <a:pt x="1352" y="439"/>
                  </a:cubicBezTo>
                  <a:cubicBezTo>
                    <a:pt x="1317" y="407"/>
                    <a:pt x="1279" y="372"/>
                    <a:pt x="1237" y="334"/>
                  </a:cubicBezTo>
                  <a:cubicBezTo>
                    <a:pt x="1069" y="169"/>
                    <a:pt x="895" y="0"/>
                    <a:pt x="7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2" name="Google Shape;4379;p64">
              <a:extLst>
                <a:ext uri="{FF2B5EF4-FFF2-40B4-BE49-F238E27FC236}">
                  <a16:creationId xmlns:a16="http://schemas.microsoft.com/office/drawing/2014/main" id="{F92442F0-C37D-675B-A9E5-8660FFBA4AD6}"/>
                </a:ext>
              </a:extLst>
            </p:cNvPr>
            <p:cNvSpPr/>
            <p:nvPr/>
          </p:nvSpPr>
          <p:spPr>
            <a:xfrm>
              <a:off x="1328559" y="1417113"/>
              <a:ext cx="4236" cy="937"/>
            </a:xfrm>
            <a:custGeom>
              <a:avLst/>
              <a:gdLst/>
              <a:ahLst/>
              <a:cxnLst/>
              <a:rect l="l" t="t" r="r" b="b"/>
              <a:pathLst>
                <a:path w="312" h="69" extrusionOk="0">
                  <a:moveTo>
                    <a:pt x="52" y="0"/>
                  </a:moveTo>
                  <a:cubicBezTo>
                    <a:pt x="35" y="0"/>
                    <a:pt x="19" y="4"/>
                    <a:pt x="4" y="12"/>
                  </a:cubicBezTo>
                  <a:cubicBezTo>
                    <a:pt x="4" y="16"/>
                    <a:pt x="0" y="23"/>
                    <a:pt x="4" y="30"/>
                  </a:cubicBezTo>
                  <a:cubicBezTo>
                    <a:pt x="4" y="51"/>
                    <a:pt x="7" y="54"/>
                    <a:pt x="11" y="58"/>
                  </a:cubicBezTo>
                  <a:cubicBezTo>
                    <a:pt x="15" y="61"/>
                    <a:pt x="31" y="68"/>
                    <a:pt x="68" y="68"/>
                  </a:cubicBezTo>
                  <a:cubicBezTo>
                    <a:pt x="113" y="68"/>
                    <a:pt x="188" y="58"/>
                    <a:pt x="312" y="16"/>
                  </a:cubicBezTo>
                  <a:cubicBezTo>
                    <a:pt x="270" y="16"/>
                    <a:pt x="224" y="12"/>
                    <a:pt x="182" y="9"/>
                  </a:cubicBezTo>
                  <a:cubicBezTo>
                    <a:pt x="147" y="5"/>
                    <a:pt x="105" y="2"/>
                    <a:pt x="70" y="2"/>
                  </a:cubicBezTo>
                  <a:cubicBezTo>
                    <a:pt x="64" y="1"/>
                    <a:pt x="58" y="0"/>
                    <a:pt x="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3" name="Google Shape;4380;p64">
              <a:extLst>
                <a:ext uri="{FF2B5EF4-FFF2-40B4-BE49-F238E27FC236}">
                  <a16:creationId xmlns:a16="http://schemas.microsoft.com/office/drawing/2014/main" id="{3B52F101-82C9-BD79-D2E3-63ADF7F8CDBD}"/>
                </a:ext>
              </a:extLst>
            </p:cNvPr>
            <p:cNvSpPr/>
            <p:nvPr/>
          </p:nvSpPr>
          <p:spPr>
            <a:xfrm>
              <a:off x="1359407" y="1645812"/>
              <a:ext cx="55247" cy="22335"/>
            </a:xfrm>
            <a:custGeom>
              <a:avLst/>
              <a:gdLst/>
              <a:ahLst/>
              <a:cxnLst/>
              <a:rect l="l" t="t" r="r" b="b"/>
              <a:pathLst>
                <a:path w="4069" h="1645" extrusionOk="0">
                  <a:moveTo>
                    <a:pt x="2059" y="0"/>
                  </a:moveTo>
                  <a:cubicBezTo>
                    <a:pt x="1943" y="0"/>
                    <a:pt x="1814" y="165"/>
                    <a:pt x="1684" y="326"/>
                  </a:cubicBezTo>
                  <a:cubicBezTo>
                    <a:pt x="1617" y="413"/>
                    <a:pt x="1544" y="497"/>
                    <a:pt x="1467" y="578"/>
                  </a:cubicBezTo>
                  <a:lnTo>
                    <a:pt x="1474" y="578"/>
                  </a:lnTo>
                  <a:lnTo>
                    <a:pt x="1386" y="651"/>
                  </a:lnTo>
                  <a:lnTo>
                    <a:pt x="1355" y="676"/>
                  </a:lnTo>
                  <a:cubicBezTo>
                    <a:pt x="1274" y="740"/>
                    <a:pt x="1175" y="778"/>
                    <a:pt x="1071" y="778"/>
                  </a:cubicBezTo>
                  <a:cubicBezTo>
                    <a:pt x="1066" y="778"/>
                    <a:pt x="1062" y="777"/>
                    <a:pt x="1057" y="777"/>
                  </a:cubicBezTo>
                  <a:cubicBezTo>
                    <a:pt x="1048" y="777"/>
                    <a:pt x="1039" y="776"/>
                    <a:pt x="1029" y="776"/>
                  </a:cubicBezTo>
                  <a:cubicBezTo>
                    <a:pt x="700" y="776"/>
                    <a:pt x="106" y="1116"/>
                    <a:pt x="18" y="1316"/>
                  </a:cubicBezTo>
                  <a:cubicBezTo>
                    <a:pt x="0" y="1351"/>
                    <a:pt x="11" y="1362"/>
                    <a:pt x="18" y="1369"/>
                  </a:cubicBezTo>
                  <a:cubicBezTo>
                    <a:pt x="52" y="1404"/>
                    <a:pt x="88" y="1416"/>
                    <a:pt x="132" y="1416"/>
                  </a:cubicBezTo>
                  <a:cubicBezTo>
                    <a:pt x="168" y="1416"/>
                    <a:pt x="209" y="1408"/>
                    <a:pt x="259" y="1397"/>
                  </a:cubicBezTo>
                  <a:cubicBezTo>
                    <a:pt x="314" y="1385"/>
                    <a:pt x="374" y="1373"/>
                    <a:pt x="437" y="1373"/>
                  </a:cubicBezTo>
                  <a:cubicBezTo>
                    <a:pt x="525" y="1373"/>
                    <a:pt x="620" y="1398"/>
                    <a:pt x="718" y="1488"/>
                  </a:cubicBezTo>
                  <a:cubicBezTo>
                    <a:pt x="752" y="1519"/>
                    <a:pt x="795" y="1533"/>
                    <a:pt x="845" y="1533"/>
                  </a:cubicBezTo>
                  <a:cubicBezTo>
                    <a:pt x="1035" y="1533"/>
                    <a:pt x="1320" y="1336"/>
                    <a:pt x="1558" y="1173"/>
                  </a:cubicBezTo>
                  <a:cubicBezTo>
                    <a:pt x="1673" y="1096"/>
                    <a:pt x="1779" y="1022"/>
                    <a:pt x="1877" y="970"/>
                  </a:cubicBezTo>
                  <a:cubicBezTo>
                    <a:pt x="1946" y="932"/>
                    <a:pt x="2002" y="907"/>
                    <a:pt x="2048" y="907"/>
                  </a:cubicBezTo>
                  <a:cubicBezTo>
                    <a:pt x="2070" y="907"/>
                    <a:pt x="2090" y="912"/>
                    <a:pt x="2108" y="924"/>
                  </a:cubicBezTo>
                  <a:cubicBezTo>
                    <a:pt x="2160" y="966"/>
                    <a:pt x="2136" y="1043"/>
                    <a:pt x="2111" y="1120"/>
                  </a:cubicBezTo>
                  <a:cubicBezTo>
                    <a:pt x="2094" y="1162"/>
                    <a:pt x="2083" y="1204"/>
                    <a:pt x="2083" y="1250"/>
                  </a:cubicBezTo>
                  <a:lnTo>
                    <a:pt x="2104" y="1250"/>
                  </a:lnTo>
                  <a:cubicBezTo>
                    <a:pt x="2286" y="1250"/>
                    <a:pt x="2328" y="1337"/>
                    <a:pt x="2367" y="1411"/>
                  </a:cubicBezTo>
                  <a:cubicBezTo>
                    <a:pt x="2402" y="1495"/>
                    <a:pt x="2465" y="1558"/>
                    <a:pt x="2549" y="1597"/>
                  </a:cubicBezTo>
                  <a:cubicBezTo>
                    <a:pt x="2589" y="1617"/>
                    <a:pt x="2633" y="1625"/>
                    <a:pt x="2679" y="1625"/>
                  </a:cubicBezTo>
                  <a:cubicBezTo>
                    <a:pt x="2791" y="1625"/>
                    <a:pt x="2919" y="1574"/>
                    <a:pt x="3053" y="1520"/>
                  </a:cubicBezTo>
                  <a:cubicBezTo>
                    <a:pt x="3207" y="1460"/>
                    <a:pt x="3368" y="1393"/>
                    <a:pt x="3536" y="1393"/>
                  </a:cubicBezTo>
                  <a:cubicBezTo>
                    <a:pt x="3756" y="1393"/>
                    <a:pt x="3851" y="1513"/>
                    <a:pt x="3911" y="1590"/>
                  </a:cubicBezTo>
                  <a:cubicBezTo>
                    <a:pt x="3942" y="1629"/>
                    <a:pt x="3954" y="1645"/>
                    <a:pt x="3969" y="1645"/>
                  </a:cubicBezTo>
                  <a:cubicBezTo>
                    <a:pt x="3979" y="1645"/>
                    <a:pt x="3990" y="1637"/>
                    <a:pt x="4009" y="1625"/>
                  </a:cubicBezTo>
                  <a:cubicBezTo>
                    <a:pt x="4026" y="1614"/>
                    <a:pt x="4044" y="1597"/>
                    <a:pt x="4051" y="1576"/>
                  </a:cubicBezTo>
                  <a:cubicBezTo>
                    <a:pt x="4068" y="1516"/>
                    <a:pt x="4005" y="1414"/>
                    <a:pt x="3939" y="1306"/>
                  </a:cubicBezTo>
                  <a:cubicBezTo>
                    <a:pt x="3855" y="1169"/>
                    <a:pt x="3763" y="1015"/>
                    <a:pt x="3739" y="837"/>
                  </a:cubicBezTo>
                  <a:cubicBezTo>
                    <a:pt x="3721" y="707"/>
                    <a:pt x="3658" y="700"/>
                    <a:pt x="3518" y="700"/>
                  </a:cubicBezTo>
                  <a:cubicBezTo>
                    <a:pt x="3385" y="697"/>
                    <a:pt x="3189" y="690"/>
                    <a:pt x="3158" y="424"/>
                  </a:cubicBezTo>
                  <a:cubicBezTo>
                    <a:pt x="3116" y="88"/>
                    <a:pt x="2419" y="0"/>
                    <a:pt x="2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4" name="Google Shape;4381;p64">
              <a:extLst>
                <a:ext uri="{FF2B5EF4-FFF2-40B4-BE49-F238E27FC236}">
                  <a16:creationId xmlns:a16="http://schemas.microsoft.com/office/drawing/2014/main" id="{39034667-1F5E-F20D-E2D6-F4A8191394F1}"/>
                </a:ext>
              </a:extLst>
            </p:cNvPr>
            <p:cNvSpPr/>
            <p:nvPr/>
          </p:nvSpPr>
          <p:spPr>
            <a:xfrm>
              <a:off x="1451571" y="1689858"/>
              <a:ext cx="24589" cy="7454"/>
            </a:xfrm>
            <a:custGeom>
              <a:avLst/>
              <a:gdLst/>
              <a:ahLst/>
              <a:cxnLst/>
              <a:rect l="l" t="t" r="r" b="b"/>
              <a:pathLst>
                <a:path w="1811" h="549" extrusionOk="0">
                  <a:moveTo>
                    <a:pt x="1702" y="0"/>
                  </a:moveTo>
                  <a:cubicBezTo>
                    <a:pt x="1664" y="0"/>
                    <a:pt x="1610" y="15"/>
                    <a:pt x="1530" y="40"/>
                  </a:cubicBezTo>
                  <a:cubicBezTo>
                    <a:pt x="1425" y="72"/>
                    <a:pt x="1295" y="111"/>
                    <a:pt x="1148" y="111"/>
                  </a:cubicBezTo>
                  <a:cubicBezTo>
                    <a:pt x="1118" y="111"/>
                    <a:pt x="1088" y="110"/>
                    <a:pt x="1057" y="106"/>
                  </a:cubicBezTo>
                  <a:cubicBezTo>
                    <a:pt x="1023" y="102"/>
                    <a:pt x="986" y="100"/>
                    <a:pt x="946" y="100"/>
                  </a:cubicBezTo>
                  <a:cubicBezTo>
                    <a:pt x="618" y="100"/>
                    <a:pt x="137" y="247"/>
                    <a:pt x="25" y="394"/>
                  </a:cubicBezTo>
                  <a:cubicBezTo>
                    <a:pt x="0" y="429"/>
                    <a:pt x="7" y="446"/>
                    <a:pt x="11" y="453"/>
                  </a:cubicBezTo>
                  <a:cubicBezTo>
                    <a:pt x="38" y="524"/>
                    <a:pt x="58" y="549"/>
                    <a:pt x="130" y="549"/>
                  </a:cubicBezTo>
                  <a:cubicBezTo>
                    <a:pt x="161" y="549"/>
                    <a:pt x="201" y="544"/>
                    <a:pt x="256" y="537"/>
                  </a:cubicBezTo>
                  <a:lnTo>
                    <a:pt x="329" y="523"/>
                  </a:lnTo>
                  <a:lnTo>
                    <a:pt x="336" y="523"/>
                  </a:lnTo>
                  <a:lnTo>
                    <a:pt x="385" y="516"/>
                  </a:lnTo>
                  <a:cubicBezTo>
                    <a:pt x="476" y="506"/>
                    <a:pt x="609" y="488"/>
                    <a:pt x="770" y="481"/>
                  </a:cubicBezTo>
                  <a:cubicBezTo>
                    <a:pt x="1271" y="464"/>
                    <a:pt x="1698" y="334"/>
                    <a:pt x="1789" y="176"/>
                  </a:cubicBezTo>
                  <a:cubicBezTo>
                    <a:pt x="1810" y="134"/>
                    <a:pt x="1810" y="85"/>
                    <a:pt x="1782" y="47"/>
                  </a:cubicBezTo>
                  <a:cubicBezTo>
                    <a:pt x="1779" y="40"/>
                    <a:pt x="1775" y="33"/>
                    <a:pt x="1768" y="29"/>
                  </a:cubicBezTo>
                  <a:cubicBezTo>
                    <a:pt x="1753" y="9"/>
                    <a:pt x="1732" y="0"/>
                    <a:pt x="17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5" name="Google Shape;4382;p64">
              <a:extLst>
                <a:ext uri="{FF2B5EF4-FFF2-40B4-BE49-F238E27FC236}">
                  <a16:creationId xmlns:a16="http://schemas.microsoft.com/office/drawing/2014/main" id="{CDEB8317-992B-9F7C-4CBF-BCF5D99BF8A0}"/>
                </a:ext>
              </a:extLst>
            </p:cNvPr>
            <p:cNvSpPr/>
            <p:nvPr/>
          </p:nvSpPr>
          <p:spPr>
            <a:xfrm>
              <a:off x="1051157" y="1420222"/>
              <a:ext cx="5241" cy="3965"/>
            </a:xfrm>
            <a:custGeom>
              <a:avLst/>
              <a:gdLst/>
              <a:ahLst/>
              <a:cxnLst/>
              <a:rect l="l" t="t" r="r" b="b"/>
              <a:pathLst>
                <a:path w="386" h="292" extrusionOk="0">
                  <a:moveTo>
                    <a:pt x="385" y="0"/>
                  </a:moveTo>
                  <a:cubicBezTo>
                    <a:pt x="312" y="49"/>
                    <a:pt x="252" y="88"/>
                    <a:pt x="203" y="112"/>
                  </a:cubicBezTo>
                  <a:cubicBezTo>
                    <a:pt x="123" y="151"/>
                    <a:pt x="53" y="210"/>
                    <a:pt x="0" y="287"/>
                  </a:cubicBezTo>
                  <a:cubicBezTo>
                    <a:pt x="14" y="291"/>
                    <a:pt x="28" y="291"/>
                    <a:pt x="46" y="291"/>
                  </a:cubicBezTo>
                  <a:cubicBezTo>
                    <a:pt x="57" y="291"/>
                    <a:pt x="68" y="292"/>
                    <a:pt x="79" y="292"/>
                  </a:cubicBezTo>
                  <a:cubicBezTo>
                    <a:pt x="188" y="292"/>
                    <a:pt x="281" y="261"/>
                    <a:pt x="322" y="210"/>
                  </a:cubicBezTo>
                  <a:cubicBezTo>
                    <a:pt x="340" y="189"/>
                    <a:pt x="347" y="158"/>
                    <a:pt x="340" y="130"/>
                  </a:cubicBezTo>
                  <a:cubicBezTo>
                    <a:pt x="333" y="84"/>
                    <a:pt x="350" y="35"/>
                    <a:pt x="3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6" name="Google Shape;4383;p64">
              <a:extLst>
                <a:ext uri="{FF2B5EF4-FFF2-40B4-BE49-F238E27FC236}">
                  <a16:creationId xmlns:a16="http://schemas.microsoft.com/office/drawing/2014/main" id="{BC361D23-9378-9100-5C16-DFE7CB0D3E35}"/>
                </a:ext>
              </a:extLst>
            </p:cNvPr>
            <p:cNvSpPr/>
            <p:nvPr/>
          </p:nvSpPr>
          <p:spPr>
            <a:xfrm>
              <a:off x="1513458" y="2479960"/>
              <a:ext cx="11663" cy="15465"/>
            </a:xfrm>
            <a:custGeom>
              <a:avLst/>
              <a:gdLst/>
              <a:ahLst/>
              <a:cxnLst/>
              <a:rect l="l" t="t" r="r" b="b"/>
              <a:pathLst>
                <a:path w="859" h="1139" extrusionOk="0">
                  <a:moveTo>
                    <a:pt x="651" y="0"/>
                  </a:moveTo>
                  <a:cubicBezTo>
                    <a:pt x="630" y="4"/>
                    <a:pt x="609" y="7"/>
                    <a:pt x="588" y="14"/>
                  </a:cubicBezTo>
                  <a:cubicBezTo>
                    <a:pt x="224" y="140"/>
                    <a:pt x="98" y="267"/>
                    <a:pt x="147" y="459"/>
                  </a:cubicBezTo>
                  <a:cubicBezTo>
                    <a:pt x="189" y="610"/>
                    <a:pt x="140" y="774"/>
                    <a:pt x="21" y="872"/>
                  </a:cubicBezTo>
                  <a:lnTo>
                    <a:pt x="0" y="890"/>
                  </a:lnTo>
                  <a:cubicBezTo>
                    <a:pt x="28" y="900"/>
                    <a:pt x="53" y="918"/>
                    <a:pt x="70" y="939"/>
                  </a:cubicBezTo>
                  <a:cubicBezTo>
                    <a:pt x="116" y="991"/>
                    <a:pt x="168" y="1040"/>
                    <a:pt x="221" y="1086"/>
                  </a:cubicBezTo>
                  <a:cubicBezTo>
                    <a:pt x="130" y="862"/>
                    <a:pt x="186" y="757"/>
                    <a:pt x="228" y="715"/>
                  </a:cubicBezTo>
                  <a:cubicBezTo>
                    <a:pt x="259" y="683"/>
                    <a:pt x="301" y="666"/>
                    <a:pt x="347" y="666"/>
                  </a:cubicBezTo>
                  <a:cubicBezTo>
                    <a:pt x="371" y="666"/>
                    <a:pt x="399" y="669"/>
                    <a:pt x="424" y="680"/>
                  </a:cubicBezTo>
                  <a:cubicBezTo>
                    <a:pt x="511" y="715"/>
                    <a:pt x="525" y="830"/>
                    <a:pt x="539" y="956"/>
                  </a:cubicBezTo>
                  <a:cubicBezTo>
                    <a:pt x="546" y="1012"/>
                    <a:pt x="560" y="1121"/>
                    <a:pt x="585" y="1138"/>
                  </a:cubicBezTo>
                  <a:cubicBezTo>
                    <a:pt x="592" y="1135"/>
                    <a:pt x="599" y="1135"/>
                    <a:pt x="602" y="1131"/>
                  </a:cubicBezTo>
                  <a:cubicBezTo>
                    <a:pt x="630" y="1117"/>
                    <a:pt x="637" y="1107"/>
                    <a:pt x="641" y="1103"/>
                  </a:cubicBezTo>
                  <a:cubicBezTo>
                    <a:pt x="644" y="1086"/>
                    <a:pt x="616" y="1040"/>
                    <a:pt x="595" y="1012"/>
                  </a:cubicBezTo>
                  <a:cubicBezTo>
                    <a:pt x="557" y="946"/>
                    <a:pt x="504" y="862"/>
                    <a:pt x="546" y="774"/>
                  </a:cubicBezTo>
                  <a:cubicBezTo>
                    <a:pt x="585" y="687"/>
                    <a:pt x="690" y="655"/>
                    <a:pt x="781" y="627"/>
                  </a:cubicBezTo>
                  <a:cubicBezTo>
                    <a:pt x="806" y="620"/>
                    <a:pt x="837" y="610"/>
                    <a:pt x="858" y="599"/>
                  </a:cubicBezTo>
                  <a:cubicBezTo>
                    <a:pt x="846" y="590"/>
                    <a:pt x="833" y="586"/>
                    <a:pt x="817" y="586"/>
                  </a:cubicBezTo>
                  <a:cubicBezTo>
                    <a:pt x="791" y="586"/>
                    <a:pt x="758" y="597"/>
                    <a:pt x="707" y="617"/>
                  </a:cubicBezTo>
                  <a:cubicBezTo>
                    <a:pt x="657" y="635"/>
                    <a:pt x="597" y="656"/>
                    <a:pt x="535" y="656"/>
                  </a:cubicBezTo>
                  <a:cubicBezTo>
                    <a:pt x="478" y="656"/>
                    <a:pt x="419" y="637"/>
                    <a:pt x="364" y="578"/>
                  </a:cubicBezTo>
                  <a:cubicBezTo>
                    <a:pt x="294" y="505"/>
                    <a:pt x="231" y="424"/>
                    <a:pt x="252" y="340"/>
                  </a:cubicBezTo>
                  <a:cubicBezTo>
                    <a:pt x="270" y="253"/>
                    <a:pt x="350" y="207"/>
                    <a:pt x="469" y="158"/>
                  </a:cubicBezTo>
                  <a:cubicBezTo>
                    <a:pt x="546" y="126"/>
                    <a:pt x="609" y="70"/>
                    <a:pt x="65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7" name="Google Shape;4384;p64">
              <a:extLst>
                <a:ext uri="{FF2B5EF4-FFF2-40B4-BE49-F238E27FC236}">
                  <a16:creationId xmlns:a16="http://schemas.microsoft.com/office/drawing/2014/main" id="{6DDF70A1-28AF-6B7F-7695-6C2C877E891A}"/>
                </a:ext>
              </a:extLst>
            </p:cNvPr>
            <p:cNvSpPr/>
            <p:nvPr/>
          </p:nvSpPr>
          <p:spPr>
            <a:xfrm>
              <a:off x="1506995" y="2482186"/>
              <a:ext cx="4956" cy="2743"/>
            </a:xfrm>
            <a:custGeom>
              <a:avLst/>
              <a:gdLst/>
              <a:ahLst/>
              <a:cxnLst/>
              <a:rect l="l" t="t" r="r" b="b"/>
              <a:pathLst>
                <a:path w="365" h="202" extrusionOk="0">
                  <a:moveTo>
                    <a:pt x="323" y="1"/>
                  </a:moveTo>
                  <a:cubicBezTo>
                    <a:pt x="302" y="1"/>
                    <a:pt x="243" y="33"/>
                    <a:pt x="207" y="54"/>
                  </a:cubicBezTo>
                  <a:cubicBezTo>
                    <a:pt x="140" y="96"/>
                    <a:pt x="74" y="127"/>
                    <a:pt x="0" y="152"/>
                  </a:cubicBezTo>
                  <a:cubicBezTo>
                    <a:pt x="11" y="159"/>
                    <a:pt x="21" y="169"/>
                    <a:pt x="32" y="176"/>
                  </a:cubicBezTo>
                  <a:cubicBezTo>
                    <a:pt x="53" y="194"/>
                    <a:pt x="86" y="202"/>
                    <a:pt x="122" y="202"/>
                  </a:cubicBezTo>
                  <a:cubicBezTo>
                    <a:pt x="180" y="202"/>
                    <a:pt x="248" y="181"/>
                    <a:pt x="298" y="145"/>
                  </a:cubicBezTo>
                  <a:cubicBezTo>
                    <a:pt x="350" y="106"/>
                    <a:pt x="364" y="64"/>
                    <a:pt x="343" y="25"/>
                  </a:cubicBezTo>
                  <a:cubicBezTo>
                    <a:pt x="333" y="8"/>
                    <a:pt x="326" y="1"/>
                    <a:pt x="326" y="1"/>
                  </a:cubicBezTo>
                  <a:cubicBezTo>
                    <a:pt x="325" y="1"/>
                    <a:pt x="324" y="1"/>
                    <a:pt x="3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8" name="Google Shape;4385;p64">
              <a:extLst>
                <a:ext uri="{FF2B5EF4-FFF2-40B4-BE49-F238E27FC236}">
                  <a16:creationId xmlns:a16="http://schemas.microsoft.com/office/drawing/2014/main" id="{E810412E-6F2D-8564-3D45-B699A18AF655}"/>
                </a:ext>
              </a:extLst>
            </p:cNvPr>
            <p:cNvSpPr/>
            <p:nvPr/>
          </p:nvSpPr>
          <p:spPr>
            <a:xfrm>
              <a:off x="1039073" y="1557966"/>
              <a:ext cx="1344" cy="4155"/>
            </a:xfrm>
            <a:custGeom>
              <a:avLst/>
              <a:gdLst/>
              <a:ahLst/>
              <a:cxnLst/>
              <a:rect l="l" t="t" r="r" b="b"/>
              <a:pathLst>
                <a:path w="99" h="306" extrusionOk="0">
                  <a:moveTo>
                    <a:pt x="57" y="1"/>
                  </a:moveTo>
                  <a:cubicBezTo>
                    <a:pt x="50" y="1"/>
                    <a:pt x="43" y="4"/>
                    <a:pt x="39" y="11"/>
                  </a:cubicBezTo>
                  <a:cubicBezTo>
                    <a:pt x="4" y="53"/>
                    <a:pt x="1" y="169"/>
                    <a:pt x="64" y="270"/>
                  </a:cubicBezTo>
                  <a:cubicBezTo>
                    <a:pt x="71" y="281"/>
                    <a:pt x="78" y="291"/>
                    <a:pt x="85" y="305"/>
                  </a:cubicBezTo>
                  <a:cubicBezTo>
                    <a:pt x="78" y="253"/>
                    <a:pt x="78" y="200"/>
                    <a:pt x="88" y="148"/>
                  </a:cubicBezTo>
                  <a:cubicBezTo>
                    <a:pt x="99" y="53"/>
                    <a:pt x="99" y="11"/>
                    <a:pt x="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9" name="Google Shape;4386;p64">
              <a:extLst>
                <a:ext uri="{FF2B5EF4-FFF2-40B4-BE49-F238E27FC236}">
                  <a16:creationId xmlns:a16="http://schemas.microsoft.com/office/drawing/2014/main" id="{C98EF403-3359-D1A9-DEE0-2AD2C1B67E1D}"/>
                </a:ext>
              </a:extLst>
            </p:cNvPr>
            <p:cNvSpPr/>
            <p:nvPr/>
          </p:nvSpPr>
          <p:spPr>
            <a:xfrm>
              <a:off x="1493960" y="2432982"/>
              <a:ext cx="1589" cy="1168"/>
            </a:xfrm>
            <a:custGeom>
              <a:avLst/>
              <a:gdLst/>
              <a:ahLst/>
              <a:cxnLst/>
              <a:rect l="l" t="t" r="r" b="b"/>
              <a:pathLst>
                <a:path w="117" h="86" extrusionOk="0">
                  <a:moveTo>
                    <a:pt x="18" y="0"/>
                  </a:moveTo>
                  <a:cubicBezTo>
                    <a:pt x="12" y="0"/>
                    <a:pt x="7" y="1"/>
                    <a:pt x="1" y="2"/>
                  </a:cubicBezTo>
                  <a:cubicBezTo>
                    <a:pt x="43" y="26"/>
                    <a:pt x="78" y="54"/>
                    <a:pt x="113" y="86"/>
                  </a:cubicBezTo>
                  <a:cubicBezTo>
                    <a:pt x="116" y="75"/>
                    <a:pt x="113" y="61"/>
                    <a:pt x="109" y="51"/>
                  </a:cubicBezTo>
                  <a:cubicBezTo>
                    <a:pt x="102" y="30"/>
                    <a:pt x="88" y="12"/>
                    <a:pt x="67" y="9"/>
                  </a:cubicBezTo>
                  <a:cubicBezTo>
                    <a:pt x="52" y="3"/>
                    <a:pt x="35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0" name="Google Shape;4387;p64">
              <a:extLst>
                <a:ext uri="{FF2B5EF4-FFF2-40B4-BE49-F238E27FC236}">
                  <a16:creationId xmlns:a16="http://schemas.microsoft.com/office/drawing/2014/main" id="{CBF45E31-50F8-18E4-A874-76D4D5E60AEF}"/>
                </a:ext>
              </a:extLst>
            </p:cNvPr>
            <p:cNvSpPr/>
            <p:nvPr/>
          </p:nvSpPr>
          <p:spPr>
            <a:xfrm>
              <a:off x="1496866" y="2484630"/>
              <a:ext cx="7006" cy="4331"/>
            </a:xfrm>
            <a:custGeom>
              <a:avLst/>
              <a:gdLst/>
              <a:ahLst/>
              <a:cxnLst/>
              <a:rect l="l" t="t" r="r" b="b"/>
              <a:pathLst>
                <a:path w="516" h="319" extrusionOk="0">
                  <a:moveTo>
                    <a:pt x="479" y="0"/>
                  </a:moveTo>
                  <a:cubicBezTo>
                    <a:pt x="397" y="0"/>
                    <a:pt x="319" y="41"/>
                    <a:pt x="274" y="108"/>
                  </a:cubicBezTo>
                  <a:cubicBezTo>
                    <a:pt x="231" y="159"/>
                    <a:pt x="182" y="217"/>
                    <a:pt x="89" y="217"/>
                  </a:cubicBezTo>
                  <a:cubicBezTo>
                    <a:pt x="67" y="217"/>
                    <a:pt x="42" y="213"/>
                    <a:pt x="15" y="206"/>
                  </a:cubicBezTo>
                  <a:lnTo>
                    <a:pt x="1" y="203"/>
                  </a:lnTo>
                  <a:lnTo>
                    <a:pt x="1" y="203"/>
                  </a:lnTo>
                  <a:cubicBezTo>
                    <a:pt x="46" y="217"/>
                    <a:pt x="88" y="231"/>
                    <a:pt x="137" y="245"/>
                  </a:cubicBezTo>
                  <a:cubicBezTo>
                    <a:pt x="215" y="275"/>
                    <a:pt x="338" y="318"/>
                    <a:pt x="387" y="318"/>
                  </a:cubicBezTo>
                  <a:cubicBezTo>
                    <a:pt x="389" y="318"/>
                    <a:pt x="391" y="318"/>
                    <a:pt x="393" y="318"/>
                  </a:cubicBezTo>
                  <a:cubicBezTo>
                    <a:pt x="386" y="199"/>
                    <a:pt x="428" y="84"/>
                    <a:pt x="515" y="3"/>
                  </a:cubicBezTo>
                  <a:cubicBezTo>
                    <a:pt x="503" y="1"/>
                    <a:pt x="491" y="0"/>
                    <a:pt x="4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1" name="Google Shape;4388;p64">
              <a:extLst>
                <a:ext uri="{FF2B5EF4-FFF2-40B4-BE49-F238E27FC236}">
                  <a16:creationId xmlns:a16="http://schemas.microsoft.com/office/drawing/2014/main" id="{5AE0AF90-04DA-8916-761C-E8B46D669AB9}"/>
                </a:ext>
              </a:extLst>
            </p:cNvPr>
            <p:cNvSpPr/>
            <p:nvPr/>
          </p:nvSpPr>
          <p:spPr>
            <a:xfrm>
              <a:off x="1412930" y="1447825"/>
              <a:ext cx="2200" cy="1643"/>
            </a:xfrm>
            <a:custGeom>
              <a:avLst/>
              <a:gdLst/>
              <a:ahLst/>
              <a:cxnLst/>
              <a:rect l="l" t="t" r="r" b="b"/>
              <a:pathLst>
                <a:path w="162" h="121" extrusionOk="0">
                  <a:moveTo>
                    <a:pt x="58" y="1"/>
                  </a:moveTo>
                  <a:cubicBezTo>
                    <a:pt x="56" y="1"/>
                    <a:pt x="54" y="1"/>
                    <a:pt x="53" y="1"/>
                  </a:cubicBezTo>
                  <a:lnTo>
                    <a:pt x="39" y="1"/>
                  </a:lnTo>
                  <a:cubicBezTo>
                    <a:pt x="25" y="1"/>
                    <a:pt x="7" y="12"/>
                    <a:pt x="0" y="26"/>
                  </a:cubicBezTo>
                  <a:cubicBezTo>
                    <a:pt x="0" y="33"/>
                    <a:pt x="14" y="57"/>
                    <a:pt x="77" y="82"/>
                  </a:cubicBezTo>
                  <a:cubicBezTo>
                    <a:pt x="105" y="92"/>
                    <a:pt x="133" y="106"/>
                    <a:pt x="161" y="120"/>
                  </a:cubicBezTo>
                  <a:cubicBezTo>
                    <a:pt x="133" y="96"/>
                    <a:pt x="109" y="61"/>
                    <a:pt x="91" y="26"/>
                  </a:cubicBezTo>
                  <a:cubicBezTo>
                    <a:pt x="85" y="13"/>
                    <a:pt x="73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2" name="Google Shape;4389;p64">
              <a:extLst>
                <a:ext uri="{FF2B5EF4-FFF2-40B4-BE49-F238E27FC236}">
                  <a16:creationId xmlns:a16="http://schemas.microsoft.com/office/drawing/2014/main" id="{BC330CA4-42EF-D6B6-BE6D-DA04CE70B4C0}"/>
                </a:ext>
              </a:extLst>
            </p:cNvPr>
            <p:cNvSpPr/>
            <p:nvPr/>
          </p:nvSpPr>
          <p:spPr>
            <a:xfrm>
              <a:off x="1375700" y="1460860"/>
              <a:ext cx="14419" cy="6721"/>
            </a:xfrm>
            <a:custGeom>
              <a:avLst/>
              <a:gdLst/>
              <a:ahLst/>
              <a:cxnLst/>
              <a:rect l="l" t="t" r="r" b="b"/>
              <a:pathLst>
                <a:path w="1062" h="495" extrusionOk="0">
                  <a:moveTo>
                    <a:pt x="88" y="0"/>
                  </a:moveTo>
                  <a:cubicBezTo>
                    <a:pt x="22" y="0"/>
                    <a:pt x="1" y="14"/>
                    <a:pt x="1" y="18"/>
                  </a:cubicBezTo>
                  <a:cubicBezTo>
                    <a:pt x="1" y="21"/>
                    <a:pt x="8" y="88"/>
                    <a:pt x="141" y="186"/>
                  </a:cubicBezTo>
                  <a:cubicBezTo>
                    <a:pt x="367" y="355"/>
                    <a:pt x="585" y="495"/>
                    <a:pt x="936" y="495"/>
                  </a:cubicBezTo>
                  <a:cubicBezTo>
                    <a:pt x="971" y="495"/>
                    <a:pt x="1007" y="493"/>
                    <a:pt x="1044" y="490"/>
                  </a:cubicBezTo>
                  <a:lnTo>
                    <a:pt x="1062" y="490"/>
                  </a:lnTo>
                  <a:cubicBezTo>
                    <a:pt x="925" y="424"/>
                    <a:pt x="792" y="350"/>
                    <a:pt x="663" y="266"/>
                  </a:cubicBezTo>
                  <a:cubicBezTo>
                    <a:pt x="466" y="147"/>
                    <a:pt x="246" y="14"/>
                    <a:pt x="1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3" name="Google Shape;4390;p64">
              <a:extLst>
                <a:ext uri="{FF2B5EF4-FFF2-40B4-BE49-F238E27FC236}">
                  <a16:creationId xmlns:a16="http://schemas.microsoft.com/office/drawing/2014/main" id="{376338BD-829A-3300-CBBB-D01C7091790C}"/>
                </a:ext>
              </a:extLst>
            </p:cNvPr>
            <p:cNvSpPr/>
            <p:nvPr/>
          </p:nvSpPr>
          <p:spPr>
            <a:xfrm>
              <a:off x="1518536" y="1659444"/>
              <a:ext cx="3150" cy="2729"/>
            </a:xfrm>
            <a:custGeom>
              <a:avLst/>
              <a:gdLst/>
              <a:ahLst/>
              <a:cxnLst/>
              <a:rect l="l" t="t" r="r" b="b"/>
              <a:pathLst>
                <a:path w="232" h="201" extrusionOk="0">
                  <a:moveTo>
                    <a:pt x="232" y="1"/>
                  </a:moveTo>
                  <a:lnTo>
                    <a:pt x="186" y="36"/>
                  </a:lnTo>
                  <a:cubicBezTo>
                    <a:pt x="130" y="85"/>
                    <a:pt x="57" y="148"/>
                    <a:pt x="1" y="200"/>
                  </a:cubicBezTo>
                  <a:cubicBezTo>
                    <a:pt x="85" y="141"/>
                    <a:pt x="162" y="74"/>
                    <a:pt x="2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4" name="Google Shape;4391;p64">
              <a:extLst>
                <a:ext uri="{FF2B5EF4-FFF2-40B4-BE49-F238E27FC236}">
                  <a16:creationId xmlns:a16="http://schemas.microsoft.com/office/drawing/2014/main" id="{C05A07D3-975C-FE5F-6147-DE60C3BDA99E}"/>
                </a:ext>
              </a:extLst>
            </p:cNvPr>
            <p:cNvSpPr/>
            <p:nvPr/>
          </p:nvSpPr>
          <p:spPr>
            <a:xfrm>
              <a:off x="2136230" y="2173135"/>
              <a:ext cx="92123" cy="91879"/>
            </a:xfrm>
            <a:custGeom>
              <a:avLst/>
              <a:gdLst/>
              <a:ahLst/>
              <a:cxnLst/>
              <a:rect l="l" t="t" r="r" b="b"/>
              <a:pathLst>
                <a:path w="6785" h="6767" extrusionOk="0">
                  <a:moveTo>
                    <a:pt x="298" y="1"/>
                  </a:moveTo>
                  <a:cubicBezTo>
                    <a:pt x="242" y="8"/>
                    <a:pt x="189" y="43"/>
                    <a:pt x="168" y="99"/>
                  </a:cubicBezTo>
                  <a:lnTo>
                    <a:pt x="154" y="127"/>
                  </a:lnTo>
                  <a:lnTo>
                    <a:pt x="0" y="169"/>
                  </a:lnTo>
                  <a:cubicBezTo>
                    <a:pt x="11" y="316"/>
                    <a:pt x="133" y="571"/>
                    <a:pt x="294" y="795"/>
                  </a:cubicBezTo>
                  <a:cubicBezTo>
                    <a:pt x="490" y="1054"/>
                    <a:pt x="718" y="1530"/>
                    <a:pt x="841" y="1933"/>
                  </a:cubicBezTo>
                  <a:cubicBezTo>
                    <a:pt x="900" y="2133"/>
                    <a:pt x="1026" y="2350"/>
                    <a:pt x="1145" y="2560"/>
                  </a:cubicBezTo>
                  <a:cubicBezTo>
                    <a:pt x="1254" y="2745"/>
                    <a:pt x="1355" y="2924"/>
                    <a:pt x="1397" y="3071"/>
                  </a:cubicBezTo>
                  <a:cubicBezTo>
                    <a:pt x="1446" y="3235"/>
                    <a:pt x="1429" y="3435"/>
                    <a:pt x="1411" y="3610"/>
                  </a:cubicBezTo>
                  <a:cubicBezTo>
                    <a:pt x="1397" y="3760"/>
                    <a:pt x="1383" y="3907"/>
                    <a:pt x="1418" y="3984"/>
                  </a:cubicBezTo>
                  <a:cubicBezTo>
                    <a:pt x="1516" y="4195"/>
                    <a:pt x="1572" y="4545"/>
                    <a:pt x="1618" y="4860"/>
                  </a:cubicBezTo>
                  <a:cubicBezTo>
                    <a:pt x="1628" y="4919"/>
                    <a:pt x="1635" y="4986"/>
                    <a:pt x="1642" y="5059"/>
                  </a:cubicBezTo>
                  <a:cubicBezTo>
                    <a:pt x="1681" y="5402"/>
                    <a:pt x="1740" y="5924"/>
                    <a:pt x="1971" y="6148"/>
                  </a:cubicBezTo>
                  <a:cubicBezTo>
                    <a:pt x="2097" y="6278"/>
                    <a:pt x="2209" y="6418"/>
                    <a:pt x="2304" y="6568"/>
                  </a:cubicBezTo>
                  <a:cubicBezTo>
                    <a:pt x="2328" y="6572"/>
                    <a:pt x="2353" y="6575"/>
                    <a:pt x="2377" y="6575"/>
                  </a:cubicBezTo>
                  <a:lnTo>
                    <a:pt x="2433" y="6575"/>
                  </a:lnTo>
                  <a:lnTo>
                    <a:pt x="2433" y="6565"/>
                  </a:lnTo>
                  <a:cubicBezTo>
                    <a:pt x="2447" y="6474"/>
                    <a:pt x="2496" y="6397"/>
                    <a:pt x="2570" y="6344"/>
                  </a:cubicBezTo>
                  <a:cubicBezTo>
                    <a:pt x="2573" y="6341"/>
                    <a:pt x="2577" y="6337"/>
                    <a:pt x="2584" y="6334"/>
                  </a:cubicBezTo>
                  <a:cubicBezTo>
                    <a:pt x="2587" y="6330"/>
                    <a:pt x="2598" y="6323"/>
                    <a:pt x="2608" y="6316"/>
                  </a:cubicBezTo>
                  <a:cubicBezTo>
                    <a:pt x="2619" y="6309"/>
                    <a:pt x="2633" y="6306"/>
                    <a:pt x="2647" y="6302"/>
                  </a:cubicBezTo>
                  <a:cubicBezTo>
                    <a:pt x="2657" y="6299"/>
                    <a:pt x="2668" y="6295"/>
                    <a:pt x="2679" y="6295"/>
                  </a:cubicBezTo>
                  <a:lnTo>
                    <a:pt x="2714" y="6295"/>
                  </a:lnTo>
                  <a:cubicBezTo>
                    <a:pt x="2717" y="6293"/>
                    <a:pt x="2721" y="6292"/>
                    <a:pt x="2724" y="6292"/>
                  </a:cubicBezTo>
                  <a:cubicBezTo>
                    <a:pt x="2728" y="6292"/>
                    <a:pt x="2731" y="6293"/>
                    <a:pt x="2735" y="6295"/>
                  </a:cubicBezTo>
                  <a:lnTo>
                    <a:pt x="2742" y="6295"/>
                  </a:lnTo>
                  <a:lnTo>
                    <a:pt x="2763" y="6299"/>
                  </a:lnTo>
                  <a:lnTo>
                    <a:pt x="2770" y="6302"/>
                  </a:lnTo>
                  <a:cubicBezTo>
                    <a:pt x="2777" y="6302"/>
                    <a:pt x="2784" y="6309"/>
                    <a:pt x="2791" y="6313"/>
                  </a:cubicBezTo>
                  <a:cubicBezTo>
                    <a:pt x="2801" y="6316"/>
                    <a:pt x="2808" y="6320"/>
                    <a:pt x="2812" y="6327"/>
                  </a:cubicBezTo>
                  <a:lnTo>
                    <a:pt x="2819" y="6330"/>
                  </a:lnTo>
                  <a:cubicBezTo>
                    <a:pt x="2826" y="6337"/>
                    <a:pt x="2829" y="6341"/>
                    <a:pt x="2836" y="6344"/>
                  </a:cubicBezTo>
                  <a:lnTo>
                    <a:pt x="2840" y="6351"/>
                  </a:lnTo>
                  <a:cubicBezTo>
                    <a:pt x="2847" y="6358"/>
                    <a:pt x="2854" y="6369"/>
                    <a:pt x="2861" y="6376"/>
                  </a:cubicBezTo>
                  <a:cubicBezTo>
                    <a:pt x="2899" y="6435"/>
                    <a:pt x="2927" y="6502"/>
                    <a:pt x="2948" y="6572"/>
                  </a:cubicBezTo>
                  <a:cubicBezTo>
                    <a:pt x="2983" y="6687"/>
                    <a:pt x="3001" y="6736"/>
                    <a:pt x="3099" y="6736"/>
                  </a:cubicBezTo>
                  <a:cubicBezTo>
                    <a:pt x="3169" y="6736"/>
                    <a:pt x="3256" y="6743"/>
                    <a:pt x="3344" y="6750"/>
                  </a:cubicBezTo>
                  <a:cubicBezTo>
                    <a:pt x="3417" y="6756"/>
                    <a:pt x="3527" y="6766"/>
                    <a:pt x="3613" y="6766"/>
                  </a:cubicBezTo>
                  <a:cubicBezTo>
                    <a:pt x="3674" y="6766"/>
                    <a:pt x="3723" y="6761"/>
                    <a:pt x="3739" y="6747"/>
                  </a:cubicBezTo>
                  <a:cubicBezTo>
                    <a:pt x="3781" y="6698"/>
                    <a:pt x="3834" y="6656"/>
                    <a:pt x="3893" y="6624"/>
                  </a:cubicBezTo>
                  <a:cubicBezTo>
                    <a:pt x="3981" y="6568"/>
                    <a:pt x="4082" y="6505"/>
                    <a:pt x="4082" y="6428"/>
                  </a:cubicBezTo>
                  <a:lnTo>
                    <a:pt x="4082" y="2826"/>
                  </a:lnTo>
                  <a:cubicBezTo>
                    <a:pt x="4082" y="2707"/>
                    <a:pt x="4229" y="2700"/>
                    <a:pt x="4369" y="2689"/>
                  </a:cubicBezTo>
                  <a:cubicBezTo>
                    <a:pt x="4474" y="2682"/>
                    <a:pt x="4632" y="2672"/>
                    <a:pt x="4632" y="2616"/>
                  </a:cubicBezTo>
                  <a:lnTo>
                    <a:pt x="4632" y="680"/>
                  </a:lnTo>
                  <a:lnTo>
                    <a:pt x="4695" y="673"/>
                  </a:lnTo>
                  <a:cubicBezTo>
                    <a:pt x="4804" y="666"/>
                    <a:pt x="5112" y="638"/>
                    <a:pt x="5199" y="610"/>
                  </a:cubicBezTo>
                  <a:cubicBezTo>
                    <a:pt x="5227" y="603"/>
                    <a:pt x="5280" y="582"/>
                    <a:pt x="5339" y="557"/>
                  </a:cubicBezTo>
                  <a:cubicBezTo>
                    <a:pt x="5526" y="477"/>
                    <a:pt x="5676" y="419"/>
                    <a:pt x="5779" y="419"/>
                  </a:cubicBezTo>
                  <a:cubicBezTo>
                    <a:pt x="5814" y="419"/>
                    <a:pt x="5844" y="426"/>
                    <a:pt x="5868" y="442"/>
                  </a:cubicBezTo>
                  <a:cubicBezTo>
                    <a:pt x="5913" y="477"/>
                    <a:pt x="5952" y="515"/>
                    <a:pt x="5990" y="561"/>
                  </a:cubicBezTo>
                  <a:cubicBezTo>
                    <a:pt x="6018" y="592"/>
                    <a:pt x="6046" y="624"/>
                    <a:pt x="6081" y="652"/>
                  </a:cubicBezTo>
                  <a:cubicBezTo>
                    <a:pt x="6134" y="589"/>
                    <a:pt x="6312" y="396"/>
                    <a:pt x="6508" y="396"/>
                  </a:cubicBezTo>
                  <a:lnTo>
                    <a:pt x="6568" y="396"/>
                  </a:lnTo>
                  <a:lnTo>
                    <a:pt x="6582" y="393"/>
                  </a:lnTo>
                  <a:lnTo>
                    <a:pt x="6603" y="389"/>
                  </a:lnTo>
                  <a:lnTo>
                    <a:pt x="6620" y="386"/>
                  </a:lnTo>
                  <a:lnTo>
                    <a:pt x="6638" y="386"/>
                  </a:lnTo>
                  <a:lnTo>
                    <a:pt x="6659" y="379"/>
                  </a:lnTo>
                  <a:lnTo>
                    <a:pt x="6676" y="375"/>
                  </a:lnTo>
                  <a:lnTo>
                    <a:pt x="6697" y="372"/>
                  </a:lnTo>
                  <a:lnTo>
                    <a:pt x="6711" y="368"/>
                  </a:lnTo>
                  <a:lnTo>
                    <a:pt x="6743" y="361"/>
                  </a:lnTo>
                  <a:lnTo>
                    <a:pt x="6746" y="361"/>
                  </a:lnTo>
                  <a:lnTo>
                    <a:pt x="6778" y="354"/>
                  </a:lnTo>
                  <a:lnTo>
                    <a:pt x="6785" y="354"/>
                  </a:lnTo>
                  <a:cubicBezTo>
                    <a:pt x="6781" y="347"/>
                    <a:pt x="6778" y="340"/>
                    <a:pt x="6778" y="337"/>
                  </a:cubicBezTo>
                  <a:cubicBezTo>
                    <a:pt x="6774" y="330"/>
                    <a:pt x="6774" y="330"/>
                    <a:pt x="6774" y="326"/>
                  </a:cubicBezTo>
                  <a:cubicBezTo>
                    <a:pt x="6771" y="316"/>
                    <a:pt x="6771" y="305"/>
                    <a:pt x="6767" y="295"/>
                  </a:cubicBezTo>
                  <a:cubicBezTo>
                    <a:pt x="6745" y="288"/>
                    <a:pt x="6700" y="284"/>
                    <a:pt x="6640" y="284"/>
                  </a:cubicBezTo>
                  <a:cubicBezTo>
                    <a:pt x="6579" y="284"/>
                    <a:pt x="6503" y="288"/>
                    <a:pt x="6417" y="295"/>
                  </a:cubicBezTo>
                  <a:lnTo>
                    <a:pt x="6414" y="295"/>
                  </a:lnTo>
                  <a:lnTo>
                    <a:pt x="6372" y="302"/>
                  </a:lnTo>
                  <a:lnTo>
                    <a:pt x="6263" y="312"/>
                  </a:lnTo>
                  <a:lnTo>
                    <a:pt x="6225" y="319"/>
                  </a:lnTo>
                  <a:lnTo>
                    <a:pt x="6211" y="319"/>
                  </a:lnTo>
                  <a:cubicBezTo>
                    <a:pt x="6095" y="333"/>
                    <a:pt x="5969" y="354"/>
                    <a:pt x="5850" y="379"/>
                  </a:cubicBezTo>
                  <a:cubicBezTo>
                    <a:pt x="5777" y="393"/>
                    <a:pt x="5738" y="403"/>
                    <a:pt x="5717" y="410"/>
                  </a:cubicBezTo>
                  <a:lnTo>
                    <a:pt x="5707" y="414"/>
                  </a:lnTo>
                  <a:lnTo>
                    <a:pt x="5679" y="421"/>
                  </a:lnTo>
                  <a:lnTo>
                    <a:pt x="5668" y="424"/>
                  </a:lnTo>
                  <a:lnTo>
                    <a:pt x="5640" y="431"/>
                  </a:lnTo>
                  <a:lnTo>
                    <a:pt x="5630" y="431"/>
                  </a:lnTo>
                  <a:lnTo>
                    <a:pt x="5591" y="442"/>
                  </a:lnTo>
                  <a:lnTo>
                    <a:pt x="5574" y="445"/>
                  </a:lnTo>
                  <a:lnTo>
                    <a:pt x="5539" y="452"/>
                  </a:lnTo>
                  <a:lnTo>
                    <a:pt x="5525" y="456"/>
                  </a:lnTo>
                  <a:lnTo>
                    <a:pt x="5476" y="463"/>
                  </a:lnTo>
                  <a:lnTo>
                    <a:pt x="5458" y="466"/>
                  </a:lnTo>
                  <a:lnTo>
                    <a:pt x="5420" y="473"/>
                  </a:lnTo>
                  <a:lnTo>
                    <a:pt x="5402" y="477"/>
                  </a:lnTo>
                  <a:lnTo>
                    <a:pt x="5346" y="484"/>
                  </a:lnTo>
                  <a:lnTo>
                    <a:pt x="5332" y="484"/>
                  </a:lnTo>
                  <a:lnTo>
                    <a:pt x="5283" y="491"/>
                  </a:lnTo>
                  <a:lnTo>
                    <a:pt x="5266" y="491"/>
                  </a:lnTo>
                  <a:lnTo>
                    <a:pt x="5206" y="494"/>
                  </a:lnTo>
                  <a:lnTo>
                    <a:pt x="5203" y="494"/>
                  </a:lnTo>
                  <a:lnTo>
                    <a:pt x="5147" y="498"/>
                  </a:lnTo>
                  <a:lnTo>
                    <a:pt x="5007" y="498"/>
                  </a:lnTo>
                  <a:cubicBezTo>
                    <a:pt x="4989" y="498"/>
                    <a:pt x="4972" y="498"/>
                    <a:pt x="4954" y="494"/>
                  </a:cubicBezTo>
                  <a:lnTo>
                    <a:pt x="4947" y="494"/>
                  </a:lnTo>
                  <a:cubicBezTo>
                    <a:pt x="4933" y="491"/>
                    <a:pt x="4919" y="491"/>
                    <a:pt x="4905" y="487"/>
                  </a:cubicBezTo>
                  <a:lnTo>
                    <a:pt x="4898" y="487"/>
                  </a:lnTo>
                  <a:cubicBezTo>
                    <a:pt x="4881" y="484"/>
                    <a:pt x="4867" y="480"/>
                    <a:pt x="4853" y="477"/>
                  </a:cubicBezTo>
                  <a:lnTo>
                    <a:pt x="4846" y="473"/>
                  </a:lnTo>
                  <a:cubicBezTo>
                    <a:pt x="4832" y="470"/>
                    <a:pt x="4821" y="466"/>
                    <a:pt x="4811" y="459"/>
                  </a:cubicBezTo>
                  <a:cubicBezTo>
                    <a:pt x="4768" y="439"/>
                    <a:pt x="4635" y="431"/>
                    <a:pt x="4464" y="431"/>
                  </a:cubicBezTo>
                  <a:cubicBezTo>
                    <a:pt x="4218" y="431"/>
                    <a:pt x="3892" y="447"/>
                    <a:pt x="3641" y="466"/>
                  </a:cubicBezTo>
                  <a:lnTo>
                    <a:pt x="3610" y="470"/>
                  </a:lnTo>
                  <a:lnTo>
                    <a:pt x="3417" y="274"/>
                  </a:lnTo>
                  <a:lnTo>
                    <a:pt x="1555" y="274"/>
                  </a:lnTo>
                  <a:cubicBezTo>
                    <a:pt x="1366" y="274"/>
                    <a:pt x="1212" y="249"/>
                    <a:pt x="1026" y="127"/>
                  </a:cubicBezTo>
                  <a:cubicBezTo>
                    <a:pt x="952" y="77"/>
                    <a:pt x="878" y="53"/>
                    <a:pt x="797" y="53"/>
                  </a:cubicBezTo>
                  <a:cubicBezTo>
                    <a:pt x="728" y="53"/>
                    <a:pt x="654" y="70"/>
                    <a:pt x="571" y="106"/>
                  </a:cubicBezTo>
                  <a:cubicBezTo>
                    <a:pt x="529" y="123"/>
                    <a:pt x="495" y="130"/>
                    <a:pt x="466" y="130"/>
                  </a:cubicBezTo>
                  <a:cubicBezTo>
                    <a:pt x="426" y="130"/>
                    <a:pt x="398" y="116"/>
                    <a:pt x="375" y="95"/>
                  </a:cubicBezTo>
                  <a:cubicBezTo>
                    <a:pt x="357" y="78"/>
                    <a:pt x="343" y="57"/>
                    <a:pt x="333" y="36"/>
                  </a:cubicBezTo>
                  <a:cubicBezTo>
                    <a:pt x="319" y="1"/>
                    <a:pt x="315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5" name="Google Shape;4392;p64">
              <a:extLst>
                <a:ext uri="{FF2B5EF4-FFF2-40B4-BE49-F238E27FC236}">
                  <a16:creationId xmlns:a16="http://schemas.microsoft.com/office/drawing/2014/main" id="{5A3DB457-B421-0257-18A8-3C66470DB87F}"/>
                </a:ext>
              </a:extLst>
            </p:cNvPr>
            <p:cNvSpPr/>
            <p:nvPr/>
          </p:nvSpPr>
          <p:spPr>
            <a:xfrm>
              <a:off x="2231110" y="2162816"/>
              <a:ext cx="55953" cy="49734"/>
            </a:xfrm>
            <a:custGeom>
              <a:avLst/>
              <a:gdLst/>
              <a:ahLst/>
              <a:cxnLst/>
              <a:rect l="l" t="t" r="r" b="b"/>
              <a:pathLst>
                <a:path w="4121" h="3663" extrusionOk="0">
                  <a:moveTo>
                    <a:pt x="2664" y="1"/>
                  </a:moveTo>
                  <a:lnTo>
                    <a:pt x="2248" y="11"/>
                  </a:lnTo>
                  <a:cubicBezTo>
                    <a:pt x="1999" y="81"/>
                    <a:pt x="1999" y="144"/>
                    <a:pt x="1999" y="221"/>
                  </a:cubicBezTo>
                  <a:cubicBezTo>
                    <a:pt x="1999" y="372"/>
                    <a:pt x="1656" y="610"/>
                    <a:pt x="1449" y="673"/>
                  </a:cubicBezTo>
                  <a:cubicBezTo>
                    <a:pt x="1348" y="704"/>
                    <a:pt x="1222" y="883"/>
                    <a:pt x="1120" y="1023"/>
                  </a:cubicBezTo>
                  <a:cubicBezTo>
                    <a:pt x="1022" y="1163"/>
                    <a:pt x="959" y="1251"/>
                    <a:pt x="893" y="1282"/>
                  </a:cubicBezTo>
                  <a:cubicBezTo>
                    <a:pt x="882" y="1289"/>
                    <a:pt x="868" y="1293"/>
                    <a:pt x="854" y="1296"/>
                  </a:cubicBezTo>
                  <a:lnTo>
                    <a:pt x="847" y="1296"/>
                  </a:lnTo>
                  <a:cubicBezTo>
                    <a:pt x="833" y="1300"/>
                    <a:pt x="816" y="1303"/>
                    <a:pt x="802" y="1303"/>
                  </a:cubicBezTo>
                  <a:lnTo>
                    <a:pt x="739" y="1303"/>
                  </a:lnTo>
                  <a:cubicBezTo>
                    <a:pt x="718" y="1303"/>
                    <a:pt x="697" y="1300"/>
                    <a:pt x="676" y="1296"/>
                  </a:cubicBezTo>
                  <a:lnTo>
                    <a:pt x="662" y="1296"/>
                  </a:lnTo>
                  <a:lnTo>
                    <a:pt x="602" y="1286"/>
                  </a:lnTo>
                  <a:lnTo>
                    <a:pt x="592" y="1286"/>
                  </a:lnTo>
                  <a:lnTo>
                    <a:pt x="518" y="1268"/>
                  </a:lnTo>
                  <a:lnTo>
                    <a:pt x="511" y="1268"/>
                  </a:lnTo>
                  <a:lnTo>
                    <a:pt x="438" y="1251"/>
                  </a:lnTo>
                  <a:lnTo>
                    <a:pt x="420" y="1247"/>
                  </a:lnTo>
                  <a:lnTo>
                    <a:pt x="340" y="1223"/>
                  </a:lnTo>
                  <a:cubicBezTo>
                    <a:pt x="280" y="1205"/>
                    <a:pt x="221" y="1191"/>
                    <a:pt x="161" y="1181"/>
                  </a:cubicBezTo>
                  <a:lnTo>
                    <a:pt x="137" y="1181"/>
                  </a:lnTo>
                  <a:cubicBezTo>
                    <a:pt x="116" y="1181"/>
                    <a:pt x="95" y="1184"/>
                    <a:pt x="77" y="1188"/>
                  </a:cubicBezTo>
                  <a:lnTo>
                    <a:pt x="42" y="1191"/>
                  </a:lnTo>
                  <a:lnTo>
                    <a:pt x="7" y="1198"/>
                  </a:lnTo>
                  <a:lnTo>
                    <a:pt x="0" y="1198"/>
                  </a:lnTo>
                  <a:cubicBezTo>
                    <a:pt x="7" y="1212"/>
                    <a:pt x="18" y="1223"/>
                    <a:pt x="25" y="1233"/>
                  </a:cubicBezTo>
                  <a:lnTo>
                    <a:pt x="32" y="1240"/>
                  </a:lnTo>
                  <a:lnTo>
                    <a:pt x="56" y="1272"/>
                  </a:lnTo>
                  <a:lnTo>
                    <a:pt x="63" y="1279"/>
                  </a:lnTo>
                  <a:lnTo>
                    <a:pt x="88" y="1303"/>
                  </a:lnTo>
                  <a:lnTo>
                    <a:pt x="91" y="1307"/>
                  </a:lnTo>
                  <a:lnTo>
                    <a:pt x="116" y="1331"/>
                  </a:lnTo>
                  <a:lnTo>
                    <a:pt x="123" y="1338"/>
                  </a:lnTo>
                  <a:lnTo>
                    <a:pt x="144" y="1359"/>
                  </a:lnTo>
                  <a:lnTo>
                    <a:pt x="147" y="1363"/>
                  </a:lnTo>
                  <a:lnTo>
                    <a:pt x="168" y="1377"/>
                  </a:lnTo>
                  <a:lnTo>
                    <a:pt x="172" y="1380"/>
                  </a:lnTo>
                  <a:lnTo>
                    <a:pt x="189" y="1394"/>
                  </a:lnTo>
                  <a:lnTo>
                    <a:pt x="193" y="1394"/>
                  </a:lnTo>
                  <a:cubicBezTo>
                    <a:pt x="196" y="1394"/>
                    <a:pt x="200" y="1398"/>
                    <a:pt x="207" y="1398"/>
                  </a:cubicBezTo>
                  <a:cubicBezTo>
                    <a:pt x="287" y="1401"/>
                    <a:pt x="315" y="1503"/>
                    <a:pt x="354" y="1664"/>
                  </a:cubicBezTo>
                  <a:cubicBezTo>
                    <a:pt x="392" y="1807"/>
                    <a:pt x="445" y="2024"/>
                    <a:pt x="529" y="2059"/>
                  </a:cubicBezTo>
                  <a:cubicBezTo>
                    <a:pt x="588" y="2087"/>
                    <a:pt x="1117" y="2318"/>
                    <a:pt x="1117" y="2504"/>
                  </a:cubicBezTo>
                  <a:cubicBezTo>
                    <a:pt x="1117" y="2528"/>
                    <a:pt x="1159" y="2584"/>
                    <a:pt x="1194" y="2626"/>
                  </a:cubicBezTo>
                  <a:cubicBezTo>
                    <a:pt x="1260" y="2707"/>
                    <a:pt x="1334" y="2801"/>
                    <a:pt x="1334" y="2914"/>
                  </a:cubicBezTo>
                  <a:cubicBezTo>
                    <a:pt x="1334" y="2977"/>
                    <a:pt x="1383" y="3061"/>
                    <a:pt x="1453" y="3134"/>
                  </a:cubicBezTo>
                  <a:cubicBezTo>
                    <a:pt x="1505" y="3190"/>
                    <a:pt x="1575" y="3225"/>
                    <a:pt x="1649" y="3232"/>
                  </a:cubicBezTo>
                  <a:cubicBezTo>
                    <a:pt x="1658" y="3232"/>
                    <a:pt x="1667" y="3232"/>
                    <a:pt x="1676" y="3232"/>
                  </a:cubicBezTo>
                  <a:cubicBezTo>
                    <a:pt x="1843" y="3232"/>
                    <a:pt x="1957" y="3264"/>
                    <a:pt x="2027" y="3330"/>
                  </a:cubicBezTo>
                  <a:cubicBezTo>
                    <a:pt x="2031" y="3334"/>
                    <a:pt x="2034" y="3337"/>
                    <a:pt x="2034" y="3341"/>
                  </a:cubicBezTo>
                  <a:cubicBezTo>
                    <a:pt x="2041" y="3348"/>
                    <a:pt x="2048" y="3355"/>
                    <a:pt x="2055" y="3365"/>
                  </a:cubicBezTo>
                  <a:cubicBezTo>
                    <a:pt x="2059" y="3369"/>
                    <a:pt x="2062" y="3372"/>
                    <a:pt x="2066" y="3379"/>
                  </a:cubicBezTo>
                  <a:lnTo>
                    <a:pt x="2087" y="3348"/>
                  </a:lnTo>
                  <a:lnTo>
                    <a:pt x="2101" y="3481"/>
                  </a:lnTo>
                  <a:lnTo>
                    <a:pt x="2104" y="3481"/>
                  </a:lnTo>
                  <a:lnTo>
                    <a:pt x="2104" y="3502"/>
                  </a:lnTo>
                  <a:cubicBezTo>
                    <a:pt x="2145" y="3507"/>
                    <a:pt x="2188" y="3510"/>
                    <a:pt x="2230" y="3510"/>
                  </a:cubicBezTo>
                  <a:cubicBezTo>
                    <a:pt x="2245" y="3510"/>
                    <a:pt x="2261" y="3510"/>
                    <a:pt x="2276" y="3509"/>
                  </a:cubicBezTo>
                  <a:cubicBezTo>
                    <a:pt x="2290" y="3508"/>
                    <a:pt x="2304" y="3508"/>
                    <a:pt x="2318" y="3508"/>
                  </a:cubicBezTo>
                  <a:cubicBezTo>
                    <a:pt x="2388" y="3508"/>
                    <a:pt x="2457" y="3515"/>
                    <a:pt x="2524" y="3530"/>
                  </a:cubicBezTo>
                  <a:lnTo>
                    <a:pt x="2531" y="3533"/>
                  </a:lnTo>
                  <a:cubicBezTo>
                    <a:pt x="2542" y="3537"/>
                    <a:pt x="2552" y="3540"/>
                    <a:pt x="2559" y="3544"/>
                  </a:cubicBezTo>
                  <a:cubicBezTo>
                    <a:pt x="2566" y="3544"/>
                    <a:pt x="2570" y="3547"/>
                    <a:pt x="2573" y="3551"/>
                  </a:cubicBezTo>
                  <a:cubicBezTo>
                    <a:pt x="2577" y="3554"/>
                    <a:pt x="2584" y="3558"/>
                    <a:pt x="2591" y="3565"/>
                  </a:cubicBezTo>
                  <a:cubicBezTo>
                    <a:pt x="2594" y="3568"/>
                    <a:pt x="2598" y="3572"/>
                    <a:pt x="2601" y="3575"/>
                  </a:cubicBezTo>
                  <a:cubicBezTo>
                    <a:pt x="2605" y="3579"/>
                    <a:pt x="2608" y="3582"/>
                    <a:pt x="2612" y="3589"/>
                  </a:cubicBezTo>
                  <a:cubicBezTo>
                    <a:pt x="2643" y="3614"/>
                    <a:pt x="2808" y="3624"/>
                    <a:pt x="2902" y="3631"/>
                  </a:cubicBezTo>
                  <a:cubicBezTo>
                    <a:pt x="2990" y="3635"/>
                    <a:pt x="3081" y="3645"/>
                    <a:pt x="3165" y="3663"/>
                  </a:cubicBezTo>
                  <a:lnTo>
                    <a:pt x="3203" y="3631"/>
                  </a:lnTo>
                  <a:lnTo>
                    <a:pt x="3224" y="3607"/>
                  </a:lnTo>
                  <a:lnTo>
                    <a:pt x="3305" y="3533"/>
                  </a:lnTo>
                  <a:cubicBezTo>
                    <a:pt x="3459" y="3386"/>
                    <a:pt x="3620" y="3236"/>
                    <a:pt x="3683" y="3148"/>
                  </a:cubicBezTo>
                  <a:cubicBezTo>
                    <a:pt x="3749" y="3064"/>
                    <a:pt x="3749" y="2963"/>
                    <a:pt x="3753" y="2861"/>
                  </a:cubicBezTo>
                  <a:cubicBezTo>
                    <a:pt x="3756" y="2763"/>
                    <a:pt x="3760" y="2651"/>
                    <a:pt x="3847" y="2598"/>
                  </a:cubicBezTo>
                  <a:cubicBezTo>
                    <a:pt x="3959" y="2518"/>
                    <a:pt x="4051" y="2413"/>
                    <a:pt x="4121" y="2294"/>
                  </a:cubicBezTo>
                  <a:cubicBezTo>
                    <a:pt x="4065" y="2259"/>
                    <a:pt x="4054" y="2182"/>
                    <a:pt x="4044" y="2112"/>
                  </a:cubicBezTo>
                  <a:cubicBezTo>
                    <a:pt x="4033" y="2031"/>
                    <a:pt x="4019" y="1940"/>
                    <a:pt x="3956" y="1877"/>
                  </a:cubicBezTo>
                  <a:cubicBezTo>
                    <a:pt x="3840" y="1762"/>
                    <a:pt x="3924" y="1660"/>
                    <a:pt x="3984" y="1590"/>
                  </a:cubicBezTo>
                  <a:cubicBezTo>
                    <a:pt x="4040" y="1517"/>
                    <a:pt x="4093" y="1457"/>
                    <a:pt x="4082" y="1352"/>
                  </a:cubicBezTo>
                  <a:cubicBezTo>
                    <a:pt x="4075" y="1216"/>
                    <a:pt x="4075" y="1076"/>
                    <a:pt x="4082" y="936"/>
                  </a:cubicBezTo>
                  <a:cubicBezTo>
                    <a:pt x="4089" y="803"/>
                    <a:pt x="4096" y="599"/>
                    <a:pt x="4079" y="547"/>
                  </a:cubicBezTo>
                  <a:cubicBezTo>
                    <a:pt x="4033" y="533"/>
                    <a:pt x="3988" y="519"/>
                    <a:pt x="3938" y="512"/>
                  </a:cubicBezTo>
                  <a:cubicBezTo>
                    <a:pt x="3798" y="477"/>
                    <a:pt x="3602" y="431"/>
                    <a:pt x="3455" y="337"/>
                  </a:cubicBezTo>
                  <a:cubicBezTo>
                    <a:pt x="3252" y="200"/>
                    <a:pt x="2790" y="176"/>
                    <a:pt x="2783" y="176"/>
                  </a:cubicBezTo>
                  <a:lnTo>
                    <a:pt x="2745" y="176"/>
                  </a:lnTo>
                  <a:lnTo>
                    <a:pt x="26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6" name="Google Shape;4393;p64">
              <a:extLst>
                <a:ext uri="{FF2B5EF4-FFF2-40B4-BE49-F238E27FC236}">
                  <a16:creationId xmlns:a16="http://schemas.microsoft.com/office/drawing/2014/main" id="{85284A3E-F696-97C1-A677-F401A64159E1}"/>
                </a:ext>
              </a:extLst>
            </p:cNvPr>
            <p:cNvSpPr/>
            <p:nvPr/>
          </p:nvSpPr>
          <p:spPr>
            <a:xfrm>
              <a:off x="2193500" y="2179503"/>
              <a:ext cx="64425" cy="69177"/>
            </a:xfrm>
            <a:custGeom>
              <a:avLst/>
              <a:gdLst/>
              <a:ahLst/>
              <a:cxnLst/>
              <a:rect l="l" t="t" r="r" b="b"/>
              <a:pathLst>
                <a:path w="4745" h="5095" extrusionOk="0">
                  <a:moveTo>
                    <a:pt x="2627" y="1"/>
                  </a:moveTo>
                  <a:cubicBezTo>
                    <a:pt x="2518" y="32"/>
                    <a:pt x="2406" y="53"/>
                    <a:pt x="2294" y="60"/>
                  </a:cubicBezTo>
                  <a:cubicBezTo>
                    <a:pt x="2168" y="60"/>
                    <a:pt x="2021" y="197"/>
                    <a:pt x="1958" y="281"/>
                  </a:cubicBezTo>
                  <a:cubicBezTo>
                    <a:pt x="1940" y="305"/>
                    <a:pt x="1909" y="323"/>
                    <a:pt x="1877" y="323"/>
                  </a:cubicBezTo>
                  <a:cubicBezTo>
                    <a:pt x="1807" y="323"/>
                    <a:pt x="1744" y="260"/>
                    <a:pt x="1678" y="183"/>
                  </a:cubicBezTo>
                  <a:cubicBezTo>
                    <a:pt x="1646" y="148"/>
                    <a:pt x="1615" y="113"/>
                    <a:pt x="1580" y="85"/>
                  </a:cubicBezTo>
                  <a:cubicBezTo>
                    <a:pt x="1575" y="83"/>
                    <a:pt x="1569" y="82"/>
                    <a:pt x="1562" y="82"/>
                  </a:cubicBezTo>
                  <a:cubicBezTo>
                    <a:pt x="1484" y="82"/>
                    <a:pt x="1263" y="176"/>
                    <a:pt x="1174" y="211"/>
                  </a:cubicBezTo>
                  <a:cubicBezTo>
                    <a:pt x="1107" y="239"/>
                    <a:pt x="1055" y="263"/>
                    <a:pt x="1020" y="270"/>
                  </a:cubicBezTo>
                  <a:cubicBezTo>
                    <a:pt x="866" y="302"/>
                    <a:pt x="708" y="323"/>
                    <a:pt x="551" y="333"/>
                  </a:cubicBezTo>
                  <a:lnTo>
                    <a:pt x="551" y="2150"/>
                  </a:lnTo>
                  <a:cubicBezTo>
                    <a:pt x="551" y="2329"/>
                    <a:pt x="326" y="2343"/>
                    <a:pt x="162" y="2353"/>
                  </a:cubicBezTo>
                  <a:cubicBezTo>
                    <a:pt x="109" y="2353"/>
                    <a:pt x="53" y="2360"/>
                    <a:pt x="1" y="2374"/>
                  </a:cubicBezTo>
                  <a:lnTo>
                    <a:pt x="1" y="3922"/>
                  </a:lnTo>
                  <a:lnTo>
                    <a:pt x="8" y="3925"/>
                  </a:lnTo>
                  <a:lnTo>
                    <a:pt x="32" y="3936"/>
                  </a:lnTo>
                  <a:lnTo>
                    <a:pt x="60" y="3950"/>
                  </a:lnTo>
                  <a:lnTo>
                    <a:pt x="81" y="3960"/>
                  </a:lnTo>
                  <a:lnTo>
                    <a:pt x="106" y="3974"/>
                  </a:lnTo>
                  <a:lnTo>
                    <a:pt x="127" y="3985"/>
                  </a:lnTo>
                  <a:lnTo>
                    <a:pt x="148" y="3999"/>
                  </a:lnTo>
                  <a:lnTo>
                    <a:pt x="162" y="4009"/>
                  </a:lnTo>
                  <a:lnTo>
                    <a:pt x="183" y="4023"/>
                  </a:lnTo>
                  <a:lnTo>
                    <a:pt x="193" y="4034"/>
                  </a:lnTo>
                  <a:cubicBezTo>
                    <a:pt x="200" y="4037"/>
                    <a:pt x="204" y="4044"/>
                    <a:pt x="211" y="4048"/>
                  </a:cubicBezTo>
                  <a:lnTo>
                    <a:pt x="221" y="4058"/>
                  </a:lnTo>
                  <a:cubicBezTo>
                    <a:pt x="225" y="4065"/>
                    <a:pt x="228" y="4072"/>
                    <a:pt x="232" y="4076"/>
                  </a:cubicBezTo>
                  <a:lnTo>
                    <a:pt x="239" y="4086"/>
                  </a:lnTo>
                  <a:cubicBezTo>
                    <a:pt x="246" y="4097"/>
                    <a:pt x="249" y="4104"/>
                    <a:pt x="253" y="4114"/>
                  </a:cubicBezTo>
                  <a:lnTo>
                    <a:pt x="260" y="4132"/>
                  </a:lnTo>
                  <a:cubicBezTo>
                    <a:pt x="393" y="4464"/>
                    <a:pt x="466" y="4678"/>
                    <a:pt x="431" y="4772"/>
                  </a:cubicBezTo>
                  <a:cubicBezTo>
                    <a:pt x="417" y="4825"/>
                    <a:pt x="375" y="4867"/>
                    <a:pt x="326" y="4881"/>
                  </a:cubicBezTo>
                  <a:cubicBezTo>
                    <a:pt x="323" y="4909"/>
                    <a:pt x="323" y="4933"/>
                    <a:pt x="319" y="4958"/>
                  </a:cubicBezTo>
                  <a:cubicBezTo>
                    <a:pt x="316" y="4989"/>
                    <a:pt x="309" y="5042"/>
                    <a:pt x="319" y="5052"/>
                  </a:cubicBezTo>
                  <a:cubicBezTo>
                    <a:pt x="319" y="5052"/>
                    <a:pt x="330" y="5059"/>
                    <a:pt x="358" y="5059"/>
                  </a:cubicBezTo>
                  <a:cubicBezTo>
                    <a:pt x="414" y="5059"/>
                    <a:pt x="470" y="5066"/>
                    <a:pt x="526" y="5077"/>
                  </a:cubicBezTo>
                  <a:cubicBezTo>
                    <a:pt x="588" y="5085"/>
                    <a:pt x="653" y="5094"/>
                    <a:pt x="711" y="5094"/>
                  </a:cubicBezTo>
                  <a:cubicBezTo>
                    <a:pt x="774" y="5094"/>
                    <a:pt x="828" y="5084"/>
                    <a:pt x="859" y="5049"/>
                  </a:cubicBezTo>
                  <a:cubicBezTo>
                    <a:pt x="894" y="5007"/>
                    <a:pt x="950" y="4954"/>
                    <a:pt x="1016" y="4891"/>
                  </a:cubicBezTo>
                  <a:cubicBezTo>
                    <a:pt x="1135" y="4779"/>
                    <a:pt x="1335" y="4597"/>
                    <a:pt x="1345" y="4517"/>
                  </a:cubicBezTo>
                  <a:cubicBezTo>
                    <a:pt x="1352" y="4426"/>
                    <a:pt x="1394" y="4209"/>
                    <a:pt x="1541" y="4139"/>
                  </a:cubicBezTo>
                  <a:cubicBezTo>
                    <a:pt x="1571" y="4124"/>
                    <a:pt x="1602" y="4117"/>
                    <a:pt x="1635" y="4117"/>
                  </a:cubicBezTo>
                  <a:cubicBezTo>
                    <a:pt x="1692" y="4117"/>
                    <a:pt x="1754" y="4139"/>
                    <a:pt x="1818" y="4181"/>
                  </a:cubicBezTo>
                  <a:lnTo>
                    <a:pt x="1884" y="4226"/>
                  </a:lnTo>
                  <a:cubicBezTo>
                    <a:pt x="2091" y="4359"/>
                    <a:pt x="2122" y="4380"/>
                    <a:pt x="2427" y="4380"/>
                  </a:cubicBezTo>
                  <a:cubicBezTo>
                    <a:pt x="2784" y="4380"/>
                    <a:pt x="2833" y="4363"/>
                    <a:pt x="2882" y="4188"/>
                  </a:cubicBezTo>
                  <a:cubicBezTo>
                    <a:pt x="2896" y="4128"/>
                    <a:pt x="2907" y="4072"/>
                    <a:pt x="2914" y="4013"/>
                  </a:cubicBezTo>
                  <a:cubicBezTo>
                    <a:pt x="2931" y="3880"/>
                    <a:pt x="2949" y="3733"/>
                    <a:pt x="3155" y="3733"/>
                  </a:cubicBezTo>
                  <a:cubicBezTo>
                    <a:pt x="3344" y="3733"/>
                    <a:pt x="3558" y="3554"/>
                    <a:pt x="3558" y="3459"/>
                  </a:cubicBezTo>
                  <a:cubicBezTo>
                    <a:pt x="3558" y="3284"/>
                    <a:pt x="3673" y="3022"/>
                    <a:pt x="3852" y="3022"/>
                  </a:cubicBezTo>
                  <a:cubicBezTo>
                    <a:pt x="3957" y="3022"/>
                    <a:pt x="4198" y="2875"/>
                    <a:pt x="4223" y="2749"/>
                  </a:cubicBezTo>
                  <a:cubicBezTo>
                    <a:pt x="4251" y="2616"/>
                    <a:pt x="4370" y="2588"/>
                    <a:pt x="4461" y="2570"/>
                  </a:cubicBezTo>
                  <a:cubicBezTo>
                    <a:pt x="4503" y="2567"/>
                    <a:pt x="4541" y="2553"/>
                    <a:pt x="4576" y="2528"/>
                  </a:cubicBezTo>
                  <a:lnTo>
                    <a:pt x="4590" y="2511"/>
                  </a:lnTo>
                  <a:lnTo>
                    <a:pt x="4594" y="2504"/>
                  </a:lnTo>
                  <a:lnTo>
                    <a:pt x="4604" y="2490"/>
                  </a:lnTo>
                  <a:lnTo>
                    <a:pt x="4611" y="2479"/>
                  </a:lnTo>
                  <a:lnTo>
                    <a:pt x="4625" y="2465"/>
                  </a:lnTo>
                  <a:lnTo>
                    <a:pt x="4632" y="2451"/>
                  </a:lnTo>
                  <a:lnTo>
                    <a:pt x="4646" y="2434"/>
                  </a:lnTo>
                  <a:lnTo>
                    <a:pt x="4657" y="2420"/>
                  </a:lnTo>
                  <a:lnTo>
                    <a:pt x="4667" y="2402"/>
                  </a:lnTo>
                  <a:lnTo>
                    <a:pt x="4682" y="2381"/>
                  </a:lnTo>
                  <a:lnTo>
                    <a:pt x="4696" y="2364"/>
                  </a:lnTo>
                  <a:lnTo>
                    <a:pt x="4710" y="2343"/>
                  </a:lnTo>
                  <a:lnTo>
                    <a:pt x="4724" y="2322"/>
                  </a:lnTo>
                  <a:lnTo>
                    <a:pt x="4738" y="2301"/>
                  </a:lnTo>
                  <a:lnTo>
                    <a:pt x="4745" y="2290"/>
                  </a:lnTo>
                  <a:cubicBezTo>
                    <a:pt x="4741" y="2283"/>
                    <a:pt x="4741" y="2280"/>
                    <a:pt x="4741" y="2276"/>
                  </a:cubicBezTo>
                  <a:lnTo>
                    <a:pt x="4741" y="2262"/>
                  </a:lnTo>
                  <a:cubicBezTo>
                    <a:pt x="4741" y="2259"/>
                    <a:pt x="4741" y="2255"/>
                    <a:pt x="4738" y="2252"/>
                  </a:cubicBezTo>
                  <a:cubicBezTo>
                    <a:pt x="4734" y="2245"/>
                    <a:pt x="4734" y="2241"/>
                    <a:pt x="4734" y="2238"/>
                  </a:cubicBezTo>
                  <a:cubicBezTo>
                    <a:pt x="4731" y="2234"/>
                    <a:pt x="4731" y="2231"/>
                    <a:pt x="4727" y="2227"/>
                  </a:cubicBezTo>
                  <a:cubicBezTo>
                    <a:pt x="4724" y="2224"/>
                    <a:pt x="4724" y="2220"/>
                    <a:pt x="4720" y="2217"/>
                  </a:cubicBezTo>
                  <a:cubicBezTo>
                    <a:pt x="4720" y="2213"/>
                    <a:pt x="4717" y="2210"/>
                    <a:pt x="4713" y="2206"/>
                  </a:cubicBezTo>
                  <a:cubicBezTo>
                    <a:pt x="4710" y="2203"/>
                    <a:pt x="4710" y="2199"/>
                    <a:pt x="4706" y="2196"/>
                  </a:cubicBezTo>
                  <a:cubicBezTo>
                    <a:pt x="4666" y="2158"/>
                    <a:pt x="4584" y="2135"/>
                    <a:pt x="4471" y="2135"/>
                  </a:cubicBezTo>
                  <a:cubicBezTo>
                    <a:pt x="4457" y="2135"/>
                    <a:pt x="4442" y="2135"/>
                    <a:pt x="4426" y="2136"/>
                  </a:cubicBezTo>
                  <a:cubicBezTo>
                    <a:pt x="4423" y="2136"/>
                    <a:pt x="4420" y="2136"/>
                    <a:pt x="4417" y="2136"/>
                  </a:cubicBezTo>
                  <a:cubicBezTo>
                    <a:pt x="4328" y="2136"/>
                    <a:pt x="4223" y="2084"/>
                    <a:pt x="4132" y="2000"/>
                  </a:cubicBezTo>
                  <a:cubicBezTo>
                    <a:pt x="4041" y="1909"/>
                    <a:pt x="3974" y="1786"/>
                    <a:pt x="3974" y="1688"/>
                  </a:cubicBezTo>
                  <a:cubicBezTo>
                    <a:pt x="3974" y="1618"/>
                    <a:pt x="3918" y="1548"/>
                    <a:pt x="3862" y="1481"/>
                  </a:cubicBezTo>
                  <a:cubicBezTo>
                    <a:pt x="3806" y="1415"/>
                    <a:pt x="3754" y="1352"/>
                    <a:pt x="3754" y="1275"/>
                  </a:cubicBezTo>
                  <a:cubicBezTo>
                    <a:pt x="3743" y="1226"/>
                    <a:pt x="3516" y="1068"/>
                    <a:pt x="3250" y="953"/>
                  </a:cubicBezTo>
                  <a:cubicBezTo>
                    <a:pt x="3106" y="893"/>
                    <a:pt x="3047" y="659"/>
                    <a:pt x="2998" y="470"/>
                  </a:cubicBezTo>
                  <a:lnTo>
                    <a:pt x="2991" y="445"/>
                  </a:lnTo>
                  <a:cubicBezTo>
                    <a:pt x="2980" y="396"/>
                    <a:pt x="2966" y="347"/>
                    <a:pt x="2949" y="298"/>
                  </a:cubicBezTo>
                  <a:cubicBezTo>
                    <a:pt x="2942" y="298"/>
                    <a:pt x="2935" y="295"/>
                    <a:pt x="2928" y="291"/>
                  </a:cubicBezTo>
                  <a:lnTo>
                    <a:pt x="2921" y="288"/>
                  </a:lnTo>
                  <a:lnTo>
                    <a:pt x="2907" y="281"/>
                  </a:lnTo>
                  <a:lnTo>
                    <a:pt x="2896" y="277"/>
                  </a:lnTo>
                  <a:lnTo>
                    <a:pt x="2882" y="267"/>
                  </a:lnTo>
                  <a:lnTo>
                    <a:pt x="2875" y="260"/>
                  </a:lnTo>
                  <a:lnTo>
                    <a:pt x="2861" y="253"/>
                  </a:lnTo>
                  <a:lnTo>
                    <a:pt x="2851" y="246"/>
                  </a:lnTo>
                  <a:lnTo>
                    <a:pt x="2837" y="232"/>
                  </a:lnTo>
                  <a:lnTo>
                    <a:pt x="2826" y="225"/>
                  </a:lnTo>
                  <a:lnTo>
                    <a:pt x="2812" y="214"/>
                  </a:lnTo>
                  <a:lnTo>
                    <a:pt x="2805" y="204"/>
                  </a:lnTo>
                  <a:lnTo>
                    <a:pt x="2788" y="190"/>
                  </a:lnTo>
                  <a:lnTo>
                    <a:pt x="2781" y="183"/>
                  </a:lnTo>
                  <a:lnTo>
                    <a:pt x="2760" y="158"/>
                  </a:lnTo>
                  <a:lnTo>
                    <a:pt x="2749" y="148"/>
                  </a:lnTo>
                  <a:lnTo>
                    <a:pt x="2735" y="134"/>
                  </a:lnTo>
                  <a:lnTo>
                    <a:pt x="2725" y="123"/>
                  </a:lnTo>
                  <a:lnTo>
                    <a:pt x="2714" y="109"/>
                  </a:lnTo>
                  <a:lnTo>
                    <a:pt x="2704" y="99"/>
                  </a:lnTo>
                  <a:lnTo>
                    <a:pt x="2693" y="85"/>
                  </a:lnTo>
                  <a:lnTo>
                    <a:pt x="2686" y="74"/>
                  </a:lnTo>
                  <a:lnTo>
                    <a:pt x="2676" y="60"/>
                  </a:lnTo>
                  <a:lnTo>
                    <a:pt x="2665" y="50"/>
                  </a:lnTo>
                  <a:lnTo>
                    <a:pt x="2655" y="36"/>
                  </a:lnTo>
                  <a:lnTo>
                    <a:pt x="2648" y="25"/>
                  </a:lnTo>
                  <a:lnTo>
                    <a:pt x="2637" y="8"/>
                  </a:lnTo>
                  <a:lnTo>
                    <a:pt x="263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7" name="Google Shape;4394;p64">
              <a:extLst>
                <a:ext uri="{FF2B5EF4-FFF2-40B4-BE49-F238E27FC236}">
                  <a16:creationId xmlns:a16="http://schemas.microsoft.com/office/drawing/2014/main" id="{A156A091-A389-7C6B-D6D2-35FD5C616FCD}"/>
                </a:ext>
              </a:extLst>
            </p:cNvPr>
            <p:cNvSpPr/>
            <p:nvPr/>
          </p:nvSpPr>
          <p:spPr>
            <a:xfrm>
              <a:off x="2229155" y="21795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8" name="Google Shape;4395;p64">
              <a:extLst>
                <a:ext uri="{FF2B5EF4-FFF2-40B4-BE49-F238E27FC236}">
                  <a16:creationId xmlns:a16="http://schemas.microsoft.com/office/drawing/2014/main" id="{4F6A8DAE-EAC8-16BC-A43A-2B5EEAB84BCF}"/>
                </a:ext>
              </a:extLst>
            </p:cNvPr>
            <p:cNvSpPr/>
            <p:nvPr/>
          </p:nvSpPr>
          <p:spPr>
            <a:xfrm>
              <a:off x="2229209" y="21795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9" name="Google Shape;4396;p64">
              <a:extLst>
                <a:ext uri="{FF2B5EF4-FFF2-40B4-BE49-F238E27FC236}">
                  <a16:creationId xmlns:a16="http://schemas.microsoft.com/office/drawing/2014/main" id="{BB13815C-1078-C94A-FA7A-D34A3CA4686F}"/>
                </a:ext>
              </a:extLst>
            </p:cNvPr>
            <p:cNvSpPr/>
            <p:nvPr/>
          </p:nvSpPr>
          <p:spPr>
            <a:xfrm>
              <a:off x="2257776" y="221006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cubicBezTo>
                    <a:pt x="0" y="4"/>
                    <a:pt x="4" y="8"/>
                    <a:pt x="4" y="11"/>
                  </a:cubicBezTo>
                  <a:cubicBezTo>
                    <a:pt x="4" y="8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0" name="Google Shape;4397;p64">
              <a:extLst>
                <a:ext uri="{FF2B5EF4-FFF2-40B4-BE49-F238E27FC236}">
                  <a16:creationId xmlns:a16="http://schemas.microsoft.com/office/drawing/2014/main" id="{25CBF870-CBD1-B0F9-1B08-C4BB4504213C}"/>
                </a:ext>
              </a:extLst>
            </p:cNvPr>
            <p:cNvSpPr/>
            <p:nvPr/>
          </p:nvSpPr>
          <p:spPr>
            <a:xfrm>
              <a:off x="2257491" y="2209455"/>
              <a:ext cx="95" cy="149"/>
            </a:xfrm>
            <a:custGeom>
              <a:avLst/>
              <a:gdLst/>
              <a:ahLst/>
              <a:cxnLst/>
              <a:rect l="l" t="t" r="r" b="b"/>
              <a:pathLst>
                <a:path w="7" h="11" extrusionOk="0">
                  <a:moveTo>
                    <a:pt x="7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1" name="Google Shape;4398;p64">
              <a:extLst>
                <a:ext uri="{FF2B5EF4-FFF2-40B4-BE49-F238E27FC236}">
                  <a16:creationId xmlns:a16="http://schemas.microsoft.com/office/drawing/2014/main" id="{6840363C-667C-A370-2578-E48B098962EB}"/>
                </a:ext>
              </a:extLst>
            </p:cNvPr>
            <p:cNvSpPr/>
            <p:nvPr/>
          </p:nvSpPr>
          <p:spPr>
            <a:xfrm>
              <a:off x="2233106" y="21834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2" name="Google Shape;4399;p64">
              <a:extLst>
                <a:ext uri="{FF2B5EF4-FFF2-40B4-BE49-F238E27FC236}">
                  <a16:creationId xmlns:a16="http://schemas.microsoft.com/office/drawing/2014/main" id="{811C0B49-933C-706F-1DDE-3B0BFF4BB980}"/>
                </a:ext>
              </a:extLst>
            </p:cNvPr>
            <p:cNvSpPr/>
            <p:nvPr/>
          </p:nvSpPr>
          <p:spPr>
            <a:xfrm>
              <a:off x="2257871" y="2210406"/>
              <a:ext cx="0" cy="149"/>
            </a:xfrm>
            <a:custGeom>
              <a:avLst/>
              <a:gdLst/>
              <a:ahLst/>
              <a:cxnLst/>
              <a:rect l="l" t="t" r="r" b="b"/>
              <a:pathLst>
                <a:path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4"/>
                  </a:lnTo>
                  <a:cubicBezTo>
                    <a:pt x="0" y="0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3" name="Google Shape;4400;p64">
              <a:extLst>
                <a:ext uri="{FF2B5EF4-FFF2-40B4-BE49-F238E27FC236}">
                  <a16:creationId xmlns:a16="http://schemas.microsoft.com/office/drawing/2014/main" id="{C3637464-37DA-B7DD-2AB0-8519187647BC}"/>
                </a:ext>
              </a:extLst>
            </p:cNvPr>
            <p:cNvSpPr/>
            <p:nvPr/>
          </p:nvSpPr>
          <p:spPr>
            <a:xfrm>
              <a:off x="2249589" y="2206645"/>
              <a:ext cx="3965" cy="1874"/>
            </a:xfrm>
            <a:custGeom>
              <a:avLst/>
              <a:gdLst/>
              <a:ahLst/>
              <a:cxnLst/>
              <a:rect l="l" t="t" r="r" b="b"/>
              <a:pathLst>
                <a:path w="292" h="138" extrusionOk="0">
                  <a:moveTo>
                    <a:pt x="1" y="1"/>
                  </a:moveTo>
                  <a:cubicBezTo>
                    <a:pt x="35" y="33"/>
                    <a:pt x="71" y="60"/>
                    <a:pt x="108" y="82"/>
                  </a:cubicBezTo>
                  <a:lnTo>
                    <a:pt x="108" y="82"/>
                  </a:lnTo>
                  <a:cubicBezTo>
                    <a:pt x="72" y="60"/>
                    <a:pt x="36" y="33"/>
                    <a:pt x="1" y="1"/>
                  </a:cubicBezTo>
                  <a:close/>
                  <a:moveTo>
                    <a:pt x="108" y="82"/>
                  </a:moveTo>
                  <a:cubicBezTo>
                    <a:pt x="168" y="117"/>
                    <a:pt x="228" y="137"/>
                    <a:pt x="283" y="137"/>
                  </a:cubicBezTo>
                  <a:cubicBezTo>
                    <a:pt x="286" y="137"/>
                    <a:pt x="289" y="137"/>
                    <a:pt x="291" y="137"/>
                  </a:cubicBezTo>
                  <a:cubicBezTo>
                    <a:pt x="234" y="137"/>
                    <a:pt x="170" y="118"/>
                    <a:pt x="108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4" name="Google Shape;4401;p64">
              <a:extLst>
                <a:ext uri="{FF2B5EF4-FFF2-40B4-BE49-F238E27FC236}">
                  <a16:creationId xmlns:a16="http://schemas.microsoft.com/office/drawing/2014/main" id="{C5DC79BA-CE29-CF47-7515-00D22C5A347C}"/>
                </a:ext>
              </a:extLst>
            </p:cNvPr>
            <p:cNvSpPr/>
            <p:nvPr/>
          </p:nvSpPr>
          <p:spPr>
            <a:xfrm>
              <a:off x="2257681" y="220974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cubicBezTo>
                    <a:pt x="4" y="7"/>
                    <a:pt x="0" y="4"/>
                    <a:pt x="0" y="0"/>
                  </a:cubicBezTo>
                  <a:cubicBezTo>
                    <a:pt x="0" y="4"/>
                    <a:pt x="4" y="7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5" name="Google Shape;4402;p64">
              <a:extLst>
                <a:ext uri="{FF2B5EF4-FFF2-40B4-BE49-F238E27FC236}">
                  <a16:creationId xmlns:a16="http://schemas.microsoft.com/office/drawing/2014/main" id="{4A640F32-81FF-1EB8-39C6-EE57FABCFF46}"/>
                </a:ext>
              </a:extLst>
            </p:cNvPr>
            <p:cNvSpPr/>
            <p:nvPr/>
          </p:nvSpPr>
          <p:spPr>
            <a:xfrm>
              <a:off x="2229915" y="218050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6" name="Google Shape;4403;p64">
              <a:extLst>
                <a:ext uri="{FF2B5EF4-FFF2-40B4-BE49-F238E27FC236}">
                  <a16:creationId xmlns:a16="http://schemas.microsoft.com/office/drawing/2014/main" id="{02DA1927-9AAC-DB07-84C6-0512EF82D0D5}"/>
                </a:ext>
              </a:extLst>
            </p:cNvPr>
            <p:cNvSpPr/>
            <p:nvPr/>
          </p:nvSpPr>
          <p:spPr>
            <a:xfrm>
              <a:off x="2230200" y="2180834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7" name="Google Shape;4404;p64">
              <a:extLst>
                <a:ext uri="{FF2B5EF4-FFF2-40B4-BE49-F238E27FC236}">
                  <a16:creationId xmlns:a16="http://schemas.microsoft.com/office/drawing/2014/main" id="{06599ED5-EA2B-8145-AA4D-F54A1305A1AD}"/>
                </a:ext>
              </a:extLst>
            </p:cNvPr>
            <p:cNvSpPr/>
            <p:nvPr/>
          </p:nvSpPr>
          <p:spPr>
            <a:xfrm>
              <a:off x="2229399" y="2179843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8" name="Google Shape;4405;p64">
              <a:extLst>
                <a:ext uri="{FF2B5EF4-FFF2-40B4-BE49-F238E27FC236}">
                  <a16:creationId xmlns:a16="http://schemas.microsoft.com/office/drawing/2014/main" id="{368EDF2B-F959-730D-B563-C9A5FDA892A6}"/>
                </a:ext>
              </a:extLst>
            </p:cNvPr>
            <p:cNvSpPr/>
            <p:nvPr/>
          </p:nvSpPr>
          <p:spPr>
            <a:xfrm>
              <a:off x="2229684" y="21801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9" name="Google Shape;4406;p64">
              <a:extLst>
                <a:ext uri="{FF2B5EF4-FFF2-40B4-BE49-F238E27FC236}">
                  <a16:creationId xmlns:a16="http://schemas.microsoft.com/office/drawing/2014/main" id="{43FCAF2F-B15E-7C59-6485-434CA9FD244E}"/>
                </a:ext>
              </a:extLst>
            </p:cNvPr>
            <p:cNvSpPr/>
            <p:nvPr/>
          </p:nvSpPr>
          <p:spPr>
            <a:xfrm>
              <a:off x="2230485" y="2181173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0" name="Google Shape;4407;p64">
              <a:extLst>
                <a:ext uri="{FF2B5EF4-FFF2-40B4-BE49-F238E27FC236}">
                  <a16:creationId xmlns:a16="http://schemas.microsoft.com/office/drawing/2014/main" id="{E63422BE-A88C-A197-EA73-79392E78ED2E}"/>
                </a:ext>
              </a:extLst>
            </p:cNvPr>
            <p:cNvSpPr/>
            <p:nvPr/>
          </p:nvSpPr>
          <p:spPr>
            <a:xfrm>
              <a:off x="2232156" y="218283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1" name="Google Shape;4408;p64">
              <a:extLst>
                <a:ext uri="{FF2B5EF4-FFF2-40B4-BE49-F238E27FC236}">
                  <a16:creationId xmlns:a16="http://schemas.microsoft.com/office/drawing/2014/main" id="{2FE64C87-6D69-A239-BD48-FCAE4ACDBFAF}"/>
                </a:ext>
              </a:extLst>
            </p:cNvPr>
            <p:cNvSpPr/>
            <p:nvPr/>
          </p:nvSpPr>
          <p:spPr>
            <a:xfrm>
              <a:off x="2231870" y="218254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2" name="Google Shape;4409;p64">
              <a:extLst>
                <a:ext uri="{FF2B5EF4-FFF2-40B4-BE49-F238E27FC236}">
                  <a16:creationId xmlns:a16="http://schemas.microsoft.com/office/drawing/2014/main" id="{D608C0F5-A7AA-E5B2-EBD1-6510EC7CBF1D}"/>
                </a:ext>
              </a:extLst>
            </p:cNvPr>
            <p:cNvSpPr/>
            <p:nvPr/>
          </p:nvSpPr>
          <p:spPr>
            <a:xfrm>
              <a:off x="2232821" y="21832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3" name="Google Shape;4410;p64">
              <a:extLst>
                <a:ext uri="{FF2B5EF4-FFF2-40B4-BE49-F238E27FC236}">
                  <a16:creationId xmlns:a16="http://schemas.microsoft.com/office/drawing/2014/main" id="{6DBFBAB9-3F9F-E889-4392-850C297D05E0}"/>
                </a:ext>
              </a:extLst>
            </p:cNvPr>
            <p:cNvSpPr/>
            <p:nvPr/>
          </p:nvSpPr>
          <p:spPr>
            <a:xfrm>
              <a:off x="2231205" y="218197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4" name="Google Shape;4411;p64">
              <a:extLst>
                <a:ext uri="{FF2B5EF4-FFF2-40B4-BE49-F238E27FC236}">
                  <a16:creationId xmlns:a16="http://schemas.microsoft.com/office/drawing/2014/main" id="{29EEAA44-81C4-CD47-0DD0-BB30C498C31A}"/>
                </a:ext>
              </a:extLst>
            </p:cNvPr>
            <p:cNvSpPr/>
            <p:nvPr/>
          </p:nvSpPr>
          <p:spPr>
            <a:xfrm>
              <a:off x="2231531" y="2182259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5" name="Google Shape;4412;p64">
              <a:extLst>
                <a:ext uri="{FF2B5EF4-FFF2-40B4-BE49-F238E27FC236}">
                  <a16:creationId xmlns:a16="http://schemas.microsoft.com/office/drawing/2014/main" id="{2D044ADD-21A0-5288-73C8-2B819BF2F579}"/>
                </a:ext>
              </a:extLst>
            </p:cNvPr>
            <p:cNvSpPr/>
            <p:nvPr/>
          </p:nvSpPr>
          <p:spPr>
            <a:xfrm>
              <a:off x="2230771" y="21815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6" name="Google Shape;4413;p64">
              <a:extLst>
                <a:ext uri="{FF2B5EF4-FFF2-40B4-BE49-F238E27FC236}">
                  <a16:creationId xmlns:a16="http://schemas.microsoft.com/office/drawing/2014/main" id="{689CC42E-24A3-6AA4-11B7-DC2D988A24FC}"/>
                </a:ext>
              </a:extLst>
            </p:cNvPr>
            <p:cNvSpPr/>
            <p:nvPr/>
          </p:nvSpPr>
          <p:spPr>
            <a:xfrm>
              <a:off x="2232481" y="2183074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7" name="Google Shape;4414;p64">
              <a:extLst>
                <a:ext uri="{FF2B5EF4-FFF2-40B4-BE49-F238E27FC236}">
                  <a16:creationId xmlns:a16="http://schemas.microsoft.com/office/drawing/2014/main" id="{3A856B38-CF1F-4D9F-B096-4FBC8FA825B1}"/>
                </a:ext>
              </a:extLst>
            </p:cNvPr>
            <p:cNvSpPr/>
            <p:nvPr/>
          </p:nvSpPr>
          <p:spPr>
            <a:xfrm>
              <a:off x="2271462" y="2241294"/>
              <a:ext cx="8133" cy="10523"/>
            </a:xfrm>
            <a:custGeom>
              <a:avLst/>
              <a:gdLst/>
              <a:ahLst/>
              <a:cxnLst/>
              <a:rect l="l" t="t" r="r" b="b"/>
              <a:pathLst>
                <a:path w="599" h="775" extrusionOk="0">
                  <a:moveTo>
                    <a:pt x="308" y="1"/>
                  </a:moveTo>
                  <a:cubicBezTo>
                    <a:pt x="301" y="1"/>
                    <a:pt x="298" y="1"/>
                    <a:pt x="291" y="4"/>
                  </a:cubicBezTo>
                  <a:cubicBezTo>
                    <a:pt x="249" y="25"/>
                    <a:pt x="210" y="53"/>
                    <a:pt x="179" y="88"/>
                  </a:cubicBezTo>
                  <a:cubicBezTo>
                    <a:pt x="98" y="169"/>
                    <a:pt x="11" y="288"/>
                    <a:pt x="0" y="333"/>
                  </a:cubicBezTo>
                  <a:cubicBezTo>
                    <a:pt x="11" y="410"/>
                    <a:pt x="172" y="764"/>
                    <a:pt x="277" y="771"/>
                  </a:cubicBezTo>
                  <a:cubicBezTo>
                    <a:pt x="309" y="773"/>
                    <a:pt x="337" y="774"/>
                    <a:pt x="361" y="774"/>
                  </a:cubicBezTo>
                  <a:cubicBezTo>
                    <a:pt x="493" y="774"/>
                    <a:pt x="508" y="743"/>
                    <a:pt x="511" y="708"/>
                  </a:cubicBezTo>
                  <a:cubicBezTo>
                    <a:pt x="515" y="694"/>
                    <a:pt x="518" y="680"/>
                    <a:pt x="522" y="666"/>
                  </a:cubicBezTo>
                  <a:lnTo>
                    <a:pt x="522" y="662"/>
                  </a:lnTo>
                  <a:cubicBezTo>
                    <a:pt x="525" y="648"/>
                    <a:pt x="529" y="634"/>
                    <a:pt x="536" y="624"/>
                  </a:cubicBezTo>
                  <a:lnTo>
                    <a:pt x="539" y="617"/>
                  </a:lnTo>
                  <a:cubicBezTo>
                    <a:pt x="546" y="603"/>
                    <a:pt x="553" y="592"/>
                    <a:pt x="564" y="582"/>
                  </a:cubicBezTo>
                  <a:lnTo>
                    <a:pt x="567" y="578"/>
                  </a:lnTo>
                  <a:cubicBezTo>
                    <a:pt x="578" y="564"/>
                    <a:pt x="585" y="554"/>
                    <a:pt x="599" y="543"/>
                  </a:cubicBezTo>
                  <a:lnTo>
                    <a:pt x="599" y="540"/>
                  </a:lnTo>
                  <a:cubicBezTo>
                    <a:pt x="588" y="424"/>
                    <a:pt x="567" y="256"/>
                    <a:pt x="557" y="134"/>
                  </a:cubicBezTo>
                  <a:lnTo>
                    <a:pt x="543" y="123"/>
                  </a:lnTo>
                  <a:cubicBezTo>
                    <a:pt x="469" y="71"/>
                    <a:pt x="364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8" name="Google Shape;4415;p64">
              <a:extLst>
                <a:ext uri="{FF2B5EF4-FFF2-40B4-BE49-F238E27FC236}">
                  <a16:creationId xmlns:a16="http://schemas.microsoft.com/office/drawing/2014/main" id="{86161DAE-16B6-337E-42D4-2944F836B7AA}"/>
                </a:ext>
              </a:extLst>
            </p:cNvPr>
            <p:cNvSpPr/>
            <p:nvPr/>
          </p:nvSpPr>
          <p:spPr>
            <a:xfrm>
              <a:off x="2244837" y="2263697"/>
              <a:ext cx="14704" cy="14922"/>
            </a:xfrm>
            <a:custGeom>
              <a:avLst/>
              <a:gdLst/>
              <a:ahLst/>
              <a:cxnLst/>
              <a:rect l="l" t="t" r="r" b="b"/>
              <a:pathLst>
                <a:path w="1083" h="1099" extrusionOk="0">
                  <a:moveTo>
                    <a:pt x="710" y="0"/>
                  </a:moveTo>
                  <a:cubicBezTo>
                    <a:pt x="702" y="0"/>
                    <a:pt x="694" y="1"/>
                    <a:pt x="687" y="3"/>
                  </a:cubicBezTo>
                  <a:cubicBezTo>
                    <a:pt x="676" y="7"/>
                    <a:pt x="666" y="7"/>
                    <a:pt x="655" y="10"/>
                  </a:cubicBezTo>
                  <a:cubicBezTo>
                    <a:pt x="515" y="45"/>
                    <a:pt x="333" y="168"/>
                    <a:pt x="302" y="231"/>
                  </a:cubicBezTo>
                  <a:cubicBezTo>
                    <a:pt x="211" y="385"/>
                    <a:pt x="109" y="539"/>
                    <a:pt x="1" y="686"/>
                  </a:cubicBezTo>
                  <a:lnTo>
                    <a:pt x="281" y="1078"/>
                  </a:lnTo>
                  <a:lnTo>
                    <a:pt x="428" y="1099"/>
                  </a:lnTo>
                  <a:cubicBezTo>
                    <a:pt x="452" y="1043"/>
                    <a:pt x="498" y="941"/>
                    <a:pt x="540" y="850"/>
                  </a:cubicBezTo>
                  <a:cubicBezTo>
                    <a:pt x="577" y="777"/>
                    <a:pt x="650" y="762"/>
                    <a:pt x="722" y="762"/>
                  </a:cubicBezTo>
                  <a:cubicBezTo>
                    <a:pt x="752" y="762"/>
                    <a:pt x="782" y="764"/>
                    <a:pt x="809" y="766"/>
                  </a:cubicBezTo>
                  <a:cubicBezTo>
                    <a:pt x="830" y="766"/>
                    <a:pt x="855" y="773"/>
                    <a:pt x="872" y="773"/>
                  </a:cubicBezTo>
                  <a:lnTo>
                    <a:pt x="890" y="773"/>
                  </a:lnTo>
                  <a:cubicBezTo>
                    <a:pt x="901" y="700"/>
                    <a:pt x="932" y="633"/>
                    <a:pt x="981" y="577"/>
                  </a:cubicBezTo>
                  <a:lnTo>
                    <a:pt x="999" y="549"/>
                  </a:lnTo>
                  <a:cubicBezTo>
                    <a:pt x="1041" y="497"/>
                    <a:pt x="1083" y="437"/>
                    <a:pt x="1083" y="395"/>
                  </a:cubicBezTo>
                  <a:cubicBezTo>
                    <a:pt x="1083" y="353"/>
                    <a:pt x="981" y="259"/>
                    <a:pt x="915" y="199"/>
                  </a:cubicBezTo>
                  <a:cubicBezTo>
                    <a:pt x="886" y="175"/>
                    <a:pt x="858" y="150"/>
                    <a:pt x="830" y="126"/>
                  </a:cubicBezTo>
                  <a:lnTo>
                    <a:pt x="827" y="122"/>
                  </a:lnTo>
                  <a:lnTo>
                    <a:pt x="806" y="101"/>
                  </a:lnTo>
                  <a:lnTo>
                    <a:pt x="795" y="87"/>
                  </a:lnTo>
                  <a:lnTo>
                    <a:pt x="785" y="77"/>
                  </a:lnTo>
                  <a:lnTo>
                    <a:pt x="774" y="63"/>
                  </a:lnTo>
                  <a:lnTo>
                    <a:pt x="764" y="52"/>
                  </a:lnTo>
                  <a:lnTo>
                    <a:pt x="757" y="38"/>
                  </a:lnTo>
                  <a:lnTo>
                    <a:pt x="746" y="28"/>
                  </a:lnTo>
                  <a:cubicBezTo>
                    <a:pt x="746" y="24"/>
                    <a:pt x="743" y="21"/>
                    <a:pt x="739" y="17"/>
                  </a:cubicBezTo>
                  <a:cubicBezTo>
                    <a:pt x="739" y="10"/>
                    <a:pt x="736" y="7"/>
                    <a:pt x="732" y="3"/>
                  </a:cubicBezTo>
                  <a:cubicBezTo>
                    <a:pt x="725" y="1"/>
                    <a:pt x="718" y="0"/>
                    <a:pt x="7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9" name="Google Shape;4416;p64">
              <a:extLst>
                <a:ext uri="{FF2B5EF4-FFF2-40B4-BE49-F238E27FC236}">
                  <a16:creationId xmlns:a16="http://schemas.microsoft.com/office/drawing/2014/main" id="{A6CDB56B-9D9F-CF4E-F44C-93E14B1ED728}"/>
                </a:ext>
              </a:extLst>
            </p:cNvPr>
            <p:cNvSpPr/>
            <p:nvPr/>
          </p:nvSpPr>
          <p:spPr>
            <a:xfrm>
              <a:off x="2168694" y="2212021"/>
              <a:ext cx="116509" cy="102252"/>
            </a:xfrm>
            <a:custGeom>
              <a:avLst/>
              <a:gdLst/>
              <a:ahLst/>
              <a:cxnLst/>
              <a:rect l="l" t="t" r="r" b="b"/>
              <a:pathLst>
                <a:path w="8581" h="7531" extrusionOk="0">
                  <a:moveTo>
                    <a:pt x="6332" y="3675"/>
                  </a:moveTo>
                  <a:cubicBezTo>
                    <a:pt x="6382" y="3675"/>
                    <a:pt x="6431" y="3705"/>
                    <a:pt x="6456" y="3750"/>
                  </a:cubicBezTo>
                  <a:cubicBezTo>
                    <a:pt x="6466" y="3767"/>
                    <a:pt x="6477" y="3785"/>
                    <a:pt x="6491" y="3802"/>
                  </a:cubicBezTo>
                  <a:cubicBezTo>
                    <a:pt x="6530" y="3837"/>
                    <a:pt x="6568" y="3876"/>
                    <a:pt x="6607" y="3911"/>
                  </a:cubicBezTo>
                  <a:cubicBezTo>
                    <a:pt x="6715" y="4005"/>
                    <a:pt x="6817" y="4096"/>
                    <a:pt x="6817" y="4201"/>
                  </a:cubicBezTo>
                  <a:cubicBezTo>
                    <a:pt x="6820" y="4285"/>
                    <a:pt x="6764" y="4359"/>
                    <a:pt x="6708" y="4432"/>
                  </a:cubicBezTo>
                  <a:lnTo>
                    <a:pt x="6712" y="4432"/>
                  </a:lnTo>
                  <a:cubicBezTo>
                    <a:pt x="6670" y="4488"/>
                    <a:pt x="6628" y="4544"/>
                    <a:pt x="6628" y="4586"/>
                  </a:cubicBezTo>
                  <a:cubicBezTo>
                    <a:pt x="6628" y="4621"/>
                    <a:pt x="6614" y="4653"/>
                    <a:pt x="6589" y="4674"/>
                  </a:cubicBezTo>
                  <a:cubicBezTo>
                    <a:pt x="6562" y="4701"/>
                    <a:pt x="6528" y="4708"/>
                    <a:pt x="6489" y="4708"/>
                  </a:cubicBezTo>
                  <a:cubicBezTo>
                    <a:pt x="6462" y="4708"/>
                    <a:pt x="6433" y="4705"/>
                    <a:pt x="6403" y="4702"/>
                  </a:cubicBezTo>
                  <a:cubicBezTo>
                    <a:pt x="6377" y="4700"/>
                    <a:pt x="6346" y="4697"/>
                    <a:pt x="6319" y="4697"/>
                  </a:cubicBezTo>
                  <a:cubicBezTo>
                    <a:pt x="6292" y="4697"/>
                    <a:pt x="6270" y="4700"/>
                    <a:pt x="6263" y="4712"/>
                  </a:cubicBezTo>
                  <a:cubicBezTo>
                    <a:pt x="6221" y="4807"/>
                    <a:pt x="6172" y="4915"/>
                    <a:pt x="6148" y="4968"/>
                  </a:cubicBezTo>
                  <a:lnTo>
                    <a:pt x="6148" y="4975"/>
                  </a:lnTo>
                  <a:lnTo>
                    <a:pt x="6137" y="4999"/>
                  </a:lnTo>
                  <a:lnTo>
                    <a:pt x="6116" y="5048"/>
                  </a:lnTo>
                  <a:lnTo>
                    <a:pt x="5812" y="5003"/>
                  </a:lnTo>
                  <a:lnTo>
                    <a:pt x="5444" y="4492"/>
                  </a:lnTo>
                  <a:lnTo>
                    <a:pt x="5472" y="4453"/>
                  </a:lnTo>
                  <a:cubicBezTo>
                    <a:pt x="5472" y="4450"/>
                    <a:pt x="5728" y="4100"/>
                    <a:pt x="5787" y="3977"/>
                  </a:cubicBezTo>
                  <a:cubicBezTo>
                    <a:pt x="5850" y="3855"/>
                    <a:pt x="6155" y="3676"/>
                    <a:pt x="6316" y="3676"/>
                  </a:cubicBezTo>
                  <a:cubicBezTo>
                    <a:pt x="6321" y="3675"/>
                    <a:pt x="6326" y="3675"/>
                    <a:pt x="6332" y="3675"/>
                  </a:cubicBezTo>
                  <a:close/>
                  <a:moveTo>
                    <a:pt x="6670" y="0"/>
                  </a:moveTo>
                  <a:lnTo>
                    <a:pt x="6663" y="11"/>
                  </a:lnTo>
                  <a:lnTo>
                    <a:pt x="6652" y="21"/>
                  </a:lnTo>
                  <a:lnTo>
                    <a:pt x="6638" y="46"/>
                  </a:lnTo>
                  <a:lnTo>
                    <a:pt x="6628" y="56"/>
                  </a:lnTo>
                  <a:lnTo>
                    <a:pt x="6607" y="91"/>
                  </a:lnTo>
                  <a:lnTo>
                    <a:pt x="6603" y="95"/>
                  </a:lnTo>
                  <a:lnTo>
                    <a:pt x="6582" y="123"/>
                  </a:lnTo>
                  <a:lnTo>
                    <a:pt x="6575" y="133"/>
                  </a:lnTo>
                  <a:lnTo>
                    <a:pt x="6561" y="154"/>
                  </a:lnTo>
                  <a:lnTo>
                    <a:pt x="6554" y="165"/>
                  </a:lnTo>
                  <a:lnTo>
                    <a:pt x="6540" y="182"/>
                  </a:lnTo>
                  <a:lnTo>
                    <a:pt x="6533" y="189"/>
                  </a:lnTo>
                  <a:lnTo>
                    <a:pt x="6516" y="210"/>
                  </a:lnTo>
                  <a:cubicBezTo>
                    <a:pt x="6466" y="270"/>
                    <a:pt x="6393" y="284"/>
                    <a:pt x="6326" y="298"/>
                  </a:cubicBezTo>
                  <a:cubicBezTo>
                    <a:pt x="6232" y="319"/>
                    <a:pt x="6200" y="333"/>
                    <a:pt x="6190" y="375"/>
                  </a:cubicBezTo>
                  <a:cubicBezTo>
                    <a:pt x="6151" y="571"/>
                    <a:pt x="5850" y="753"/>
                    <a:pt x="5689" y="753"/>
                  </a:cubicBezTo>
                  <a:cubicBezTo>
                    <a:pt x="5619" y="753"/>
                    <a:pt x="5528" y="924"/>
                    <a:pt x="5528" y="1057"/>
                  </a:cubicBezTo>
                  <a:cubicBezTo>
                    <a:pt x="5528" y="1243"/>
                    <a:pt x="5238" y="1464"/>
                    <a:pt x="4993" y="1464"/>
                  </a:cubicBezTo>
                  <a:cubicBezTo>
                    <a:pt x="4909" y="1464"/>
                    <a:pt x="4902" y="1485"/>
                    <a:pt x="4881" y="1628"/>
                  </a:cubicBezTo>
                  <a:cubicBezTo>
                    <a:pt x="4877" y="1691"/>
                    <a:pt x="4863" y="1758"/>
                    <a:pt x="4846" y="1821"/>
                  </a:cubicBezTo>
                  <a:cubicBezTo>
                    <a:pt x="4765" y="2101"/>
                    <a:pt x="4611" y="2111"/>
                    <a:pt x="4264" y="2111"/>
                  </a:cubicBezTo>
                  <a:cubicBezTo>
                    <a:pt x="3932" y="2111"/>
                    <a:pt x="3879" y="2083"/>
                    <a:pt x="3648" y="1933"/>
                  </a:cubicBezTo>
                  <a:lnTo>
                    <a:pt x="3582" y="1891"/>
                  </a:lnTo>
                  <a:cubicBezTo>
                    <a:pt x="3541" y="1862"/>
                    <a:pt x="3504" y="1848"/>
                    <a:pt x="3473" y="1848"/>
                  </a:cubicBezTo>
                  <a:cubicBezTo>
                    <a:pt x="3459" y="1848"/>
                    <a:pt x="3447" y="1850"/>
                    <a:pt x="3435" y="1856"/>
                  </a:cubicBezTo>
                  <a:cubicBezTo>
                    <a:pt x="3368" y="1887"/>
                    <a:pt x="3326" y="2017"/>
                    <a:pt x="3312" y="2132"/>
                  </a:cubicBezTo>
                  <a:cubicBezTo>
                    <a:pt x="3298" y="2248"/>
                    <a:pt x="3151" y="2395"/>
                    <a:pt x="2945" y="2587"/>
                  </a:cubicBezTo>
                  <a:cubicBezTo>
                    <a:pt x="2885" y="2643"/>
                    <a:pt x="2826" y="2699"/>
                    <a:pt x="2794" y="2734"/>
                  </a:cubicBezTo>
                  <a:cubicBezTo>
                    <a:pt x="2787" y="2741"/>
                    <a:pt x="2780" y="2748"/>
                    <a:pt x="2773" y="2755"/>
                  </a:cubicBezTo>
                  <a:lnTo>
                    <a:pt x="2763" y="2762"/>
                  </a:lnTo>
                  <a:cubicBezTo>
                    <a:pt x="2759" y="2766"/>
                    <a:pt x="2752" y="2773"/>
                    <a:pt x="2749" y="2776"/>
                  </a:cubicBezTo>
                  <a:lnTo>
                    <a:pt x="2738" y="2780"/>
                  </a:lnTo>
                  <a:lnTo>
                    <a:pt x="2721" y="2790"/>
                  </a:lnTo>
                  <a:lnTo>
                    <a:pt x="2710" y="2797"/>
                  </a:lnTo>
                  <a:lnTo>
                    <a:pt x="2689" y="2804"/>
                  </a:lnTo>
                  <a:lnTo>
                    <a:pt x="2682" y="2808"/>
                  </a:lnTo>
                  <a:lnTo>
                    <a:pt x="2658" y="2811"/>
                  </a:lnTo>
                  <a:lnTo>
                    <a:pt x="2651" y="2811"/>
                  </a:lnTo>
                  <a:cubicBezTo>
                    <a:pt x="2630" y="2818"/>
                    <a:pt x="2609" y="2822"/>
                    <a:pt x="2588" y="2822"/>
                  </a:cubicBezTo>
                  <a:lnTo>
                    <a:pt x="2546" y="2822"/>
                  </a:lnTo>
                  <a:cubicBezTo>
                    <a:pt x="2514" y="2822"/>
                    <a:pt x="2483" y="2818"/>
                    <a:pt x="2451" y="2815"/>
                  </a:cubicBezTo>
                  <a:lnTo>
                    <a:pt x="2444" y="2815"/>
                  </a:lnTo>
                  <a:lnTo>
                    <a:pt x="2399" y="2811"/>
                  </a:lnTo>
                  <a:lnTo>
                    <a:pt x="2392" y="2811"/>
                  </a:lnTo>
                  <a:lnTo>
                    <a:pt x="2346" y="2804"/>
                  </a:lnTo>
                  <a:cubicBezTo>
                    <a:pt x="2297" y="2794"/>
                    <a:pt x="2248" y="2790"/>
                    <a:pt x="2199" y="2787"/>
                  </a:cubicBezTo>
                  <a:cubicBezTo>
                    <a:pt x="2195" y="2787"/>
                    <a:pt x="2190" y="2787"/>
                    <a:pt x="2186" y="2787"/>
                  </a:cubicBezTo>
                  <a:cubicBezTo>
                    <a:pt x="2138" y="2787"/>
                    <a:pt x="2091" y="2770"/>
                    <a:pt x="2059" y="2738"/>
                  </a:cubicBezTo>
                  <a:cubicBezTo>
                    <a:pt x="2010" y="2682"/>
                    <a:pt x="2020" y="2605"/>
                    <a:pt x="2027" y="2542"/>
                  </a:cubicBezTo>
                  <a:cubicBezTo>
                    <a:pt x="2031" y="2521"/>
                    <a:pt x="2034" y="2500"/>
                    <a:pt x="2034" y="2479"/>
                  </a:cubicBezTo>
                  <a:cubicBezTo>
                    <a:pt x="2027" y="2419"/>
                    <a:pt x="2069" y="2367"/>
                    <a:pt x="2125" y="2353"/>
                  </a:cubicBezTo>
                  <a:cubicBezTo>
                    <a:pt x="2146" y="2346"/>
                    <a:pt x="2146" y="2346"/>
                    <a:pt x="2150" y="2332"/>
                  </a:cubicBezTo>
                  <a:cubicBezTo>
                    <a:pt x="2167" y="2283"/>
                    <a:pt x="2108" y="2097"/>
                    <a:pt x="1982" y="1779"/>
                  </a:cubicBezTo>
                  <a:lnTo>
                    <a:pt x="1975" y="1761"/>
                  </a:lnTo>
                  <a:lnTo>
                    <a:pt x="1971" y="1758"/>
                  </a:lnTo>
                  <a:lnTo>
                    <a:pt x="1968" y="1751"/>
                  </a:lnTo>
                  <a:lnTo>
                    <a:pt x="1961" y="1744"/>
                  </a:lnTo>
                  <a:lnTo>
                    <a:pt x="1950" y="1733"/>
                  </a:lnTo>
                  <a:lnTo>
                    <a:pt x="1947" y="1730"/>
                  </a:lnTo>
                  <a:lnTo>
                    <a:pt x="1933" y="1719"/>
                  </a:lnTo>
                  <a:lnTo>
                    <a:pt x="1929" y="1719"/>
                  </a:lnTo>
                  <a:lnTo>
                    <a:pt x="1912" y="1705"/>
                  </a:lnTo>
                  <a:lnTo>
                    <a:pt x="1908" y="1702"/>
                  </a:lnTo>
                  <a:lnTo>
                    <a:pt x="1884" y="1688"/>
                  </a:lnTo>
                  <a:lnTo>
                    <a:pt x="1877" y="1684"/>
                  </a:lnTo>
                  <a:lnTo>
                    <a:pt x="1849" y="1670"/>
                  </a:lnTo>
                  <a:lnTo>
                    <a:pt x="1845" y="1670"/>
                  </a:lnTo>
                  <a:lnTo>
                    <a:pt x="1845" y="3571"/>
                  </a:lnTo>
                  <a:cubicBezTo>
                    <a:pt x="1845" y="3722"/>
                    <a:pt x="1705" y="3809"/>
                    <a:pt x="1593" y="3879"/>
                  </a:cubicBezTo>
                  <a:cubicBezTo>
                    <a:pt x="1551" y="3900"/>
                    <a:pt x="1513" y="3928"/>
                    <a:pt x="1481" y="3963"/>
                  </a:cubicBezTo>
                  <a:cubicBezTo>
                    <a:pt x="1474" y="3970"/>
                    <a:pt x="1471" y="3974"/>
                    <a:pt x="1464" y="3981"/>
                  </a:cubicBezTo>
                  <a:lnTo>
                    <a:pt x="1460" y="3984"/>
                  </a:lnTo>
                  <a:cubicBezTo>
                    <a:pt x="1453" y="3988"/>
                    <a:pt x="1450" y="3995"/>
                    <a:pt x="1446" y="3998"/>
                  </a:cubicBezTo>
                  <a:lnTo>
                    <a:pt x="1439" y="4002"/>
                  </a:lnTo>
                  <a:lnTo>
                    <a:pt x="1422" y="4009"/>
                  </a:lnTo>
                  <a:lnTo>
                    <a:pt x="1415" y="4012"/>
                  </a:lnTo>
                  <a:cubicBezTo>
                    <a:pt x="1397" y="4019"/>
                    <a:pt x="1376" y="4026"/>
                    <a:pt x="1359" y="4030"/>
                  </a:cubicBezTo>
                  <a:lnTo>
                    <a:pt x="1352" y="4030"/>
                  </a:lnTo>
                  <a:lnTo>
                    <a:pt x="1324" y="4033"/>
                  </a:lnTo>
                  <a:lnTo>
                    <a:pt x="1170" y="4033"/>
                  </a:lnTo>
                  <a:cubicBezTo>
                    <a:pt x="1131" y="4033"/>
                    <a:pt x="1093" y="4030"/>
                    <a:pt x="1047" y="4026"/>
                  </a:cubicBezTo>
                  <a:lnTo>
                    <a:pt x="1033" y="4026"/>
                  </a:lnTo>
                  <a:lnTo>
                    <a:pt x="967" y="4019"/>
                  </a:lnTo>
                  <a:cubicBezTo>
                    <a:pt x="879" y="4012"/>
                    <a:pt x="795" y="4005"/>
                    <a:pt x="729" y="4005"/>
                  </a:cubicBezTo>
                  <a:cubicBezTo>
                    <a:pt x="533" y="4005"/>
                    <a:pt x="487" y="3862"/>
                    <a:pt x="452" y="3750"/>
                  </a:cubicBezTo>
                  <a:cubicBezTo>
                    <a:pt x="431" y="3690"/>
                    <a:pt x="400" y="3638"/>
                    <a:pt x="365" y="3592"/>
                  </a:cubicBezTo>
                  <a:cubicBezTo>
                    <a:pt x="348" y="3568"/>
                    <a:pt x="332" y="3560"/>
                    <a:pt x="318" y="3560"/>
                  </a:cubicBezTo>
                  <a:cubicBezTo>
                    <a:pt x="311" y="3560"/>
                    <a:pt x="304" y="3562"/>
                    <a:pt x="298" y="3564"/>
                  </a:cubicBezTo>
                  <a:cubicBezTo>
                    <a:pt x="235" y="3592"/>
                    <a:pt x="189" y="3648"/>
                    <a:pt x="175" y="3715"/>
                  </a:cubicBezTo>
                  <a:cubicBezTo>
                    <a:pt x="175" y="3725"/>
                    <a:pt x="175" y="3736"/>
                    <a:pt x="172" y="3746"/>
                  </a:cubicBezTo>
                  <a:cubicBezTo>
                    <a:pt x="165" y="3771"/>
                    <a:pt x="154" y="3792"/>
                    <a:pt x="137" y="3809"/>
                  </a:cubicBezTo>
                  <a:cubicBezTo>
                    <a:pt x="130" y="3816"/>
                    <a:pt x="119" y="3823"/>
                    <a:pt x="112" y="3827"/>
                  </a:cubicBezTo>
                  <a:lnTo>
                    <a:pt x="102" y="3830"/>
                  </a:lnTo>
                  <a:cubicBezTo>
                    <a:pt x="95" y="3834"/>
                    <a:pt x="88" y="3837"/>
                    <a:pt x="81" y="3837"/>
                  </a:cubicBezTo>
                  <a:lnTo>
                    <a:pt x="70" y="3841"/>
                  </a:lnTo>
                  <a:cubicBezTo>
                    <a:pt x="63" y="3844"/>
                    <a:pt x="53" y="3844"/>
                    <a:pt x="46" y="3844"/>
                  </a:cubicBezTo>
                  <a:lnTo>
                    <a:pt x="0" y="3844"/>
                  </a:lnTo>
                  <a:cubicBezTo>
                    <a:pt x="147" y="4089"/>
                    <a:pt x="263" y="4352"/>
                    <a:pt x="351" y="4625"/>
                  </a:cubicBezTo>
                  <a:cubicBezTo>
                    <a:pt x="424" y="4863"/>
                    <a:pt x="557" y="5097"/>
                    <a:pt x="676" y="5304"/>
                  </a:cubicBezTo>
                  <a:cubicBezTo>
                    <a:pt x="753" y="5430"/>
                    <a:pt x="823" y="5567"/>
                    <a:pt x="876" y="5707"/>
                  </a:cubicBezTo>
                  <a:lnTo>
                    <a:pt x="893" y="5756"/>
                  </a:lnTo>
                  <a:cubicBezTo>
                    <a:pt x="956" y="5952"/>
                    <a:pt x="1012" y="6123"/>
                    <a:pt x="949" y="6225"/>
                  </a:cubicBezTo>
                  <a:cubicBezTo>
                    <a:pt x="921" y="6267"/>
                    <a:pt x="876" y="6295"/>
                    <a:pt x="823" y="6302"/>
                  </a:cubicBezTo>
                  <a:cubicBezTo>
                    <a:pt x="788" y="6305"/>
                    <a:pt x="767" y="6316"/>
                    <a:pt x="760" y="6333"/>
                  </a:cubicBezTo>
                  <a:cubicBezTo>
                    <a:pt x="753" y="6347"/>
                    <a:pt x="736" y="6424"/>
                    <a:pt x="879" y="6645"/>
                  </a:cubicBezTo>
                  <a:cubicBezTo>
                    <a:pt x="949" y="6753"/>
                    <a:pt x="988" y="6879"/>
                    <a:pt x="988" y="7009"/>
                  </a:cubicBezTo>
                  <a:cubicBezTo>
                    <a:pt x="988" y="7079"/>
                    <a:pt x="988" y="7079"/>
                    <a:pt x="1016" y="7086"/>
                  </a:cubicBezTo>
                  <a:cubicBezTo>
                    <a:pt x="1082" y="7096"/>
                    <a:pt x="1142" y="7135"/>
                    <a:pt x="1180" y="7191"/>
                  </a:cubicBezTo>
                  <a:cubicBezTo>
                    <a:pt x="1198" y="7215"/>
                    <a:pt x="1201" y="7219"/>
                    <a:pt x="1233" y="7222"/>
                  </a:cubicBezTo>
                  <a:cubicBezTo>
                    <a:pt x="1376" y="7229"/>
                    <a:pt x="1474" y="7359"/>
                    <a:pt x="1562" y="7471"/>
                  </a:cubicBezTo>
                  <a:lnTo>
                    <a:pt x="1569" y="7481"/>
                  </a:lnTo>
                  <a:cubicBezTo>
                    <a:pt x="1594" y="7514"/>
                    <a:pt x="1635" y="7531"/>
                    <a:pt x="1676" y="7531"/>
                  </a:cubicBezTo>
                  <a:cubicBezTo>
                    <a:pt x="1680" y="7531"/>
                    <a:pt x="1684" y="7531"/>
                    <a:pt x="1688" y="7531"/>
                  </a:cubicBezTo>
                  <a:cubicBezTo>
                    <a:pt x="1740" y="7531"/>
                    <a:pt x="1789" y="7503"/>
                    <a:pt x="1817" y="7460"/>
                  </a:cubicBezTo>
                  <a:cubicBezTo>
                    <a:pt x="1908" y="7327"/>
                    <a:pt x="2143" y="7261"/>
                    <a:pt x="2518" y="7261"/>
                  </a:cubicBezTo>
                  <a:cubicBezTo>
                    <a:pt x="2658" y="7261"/>
                    <a:pt x="2693" y="7233"/>
                    <a:pt x="2756" y="7187"/>
                  </a:cubicBezTo>
                  <a:cubicBezTo>
                    <a:pt x="2826" y="7128"/>
                    <a:pt x="2910" y="7086"/>
                    <a:pt x="3001" y="7061"/>
                  </a:cubicBezTo>
                  <a:cubicBezTo>
                    <a:pt x="3153" y="7017"/>
                    <a:pt x="3317" y="6995"/>
                    <a:pt x="3474" y="6995"/>
                  </a:cubicBezTo>
                  <a:cubicBezTo>
                    <a:pt x="3624" y="6995"/>
                    <a:pt x="3766" y="7015"/>
                    <a:pt x="3883" y="7054"/>
                  </a:cubicBezTo>
                  <a:cubicBezTo>
                    <a:pt x="3941" y="7077"/>
                    <a:pt x="4002" y="7088"/>
                    <a:pt x="4062" y="7088"/>
                  </a:cubicBezTo>
                  <a:cubicBezTo>
                    <a:pt x="4163" y="7088"/>
                    <a:pt x="4265" y="7057"/>
                    <a:pt x="4352" y="6998"/>
                  </a:cubicBezTo>
                  <a:cubicBezTo>
                    <a:pt x="4385" y="6977"/>
                    <a:pt x="4421" y="6969"/>
                    <a:pt x="4458" y="6969"/>
                  </a:cubicBezTo>
                  <a:cubicBezTo>
                    <a:pt x="4498" y="6969"/>
                    <a:pt x="4539" y="6979"/>
                    <a:pt x="4576" y="6988"/>
                  </a:cubicBezTo>
                  <a:cubicBezTo>
                    <a:pt x="4604" y="6995"/>
                    <a:pt x="4632" y="6998"/>
                    <a:pt x="4664" y="6998"/>
                  </a:cubicBezTo>
                  <a:cubicBezTo>
                    <a:pt x="4664" y="6991"/>
                    <a:pt x="4667" y="6981"/>
                    <a:pt x="4667" y="6974"/>
                  </a:cubicBezTo>
                  <a:cubicBezTo>
                    <a:pt x="4685" y="6781"/>
                    <a:pt x="4859" y="6759"/>
                    <a:pt x="5026" y="6759"/>
                  </a:cubicBezTo>
                  <a:cubicBezTo>
                    <a:pt x="5053" y="6759"/>
                    <a:pt x="5079" y="6760"/>
                    <a:pt x="5105" y="6760"/>
                  </a:cubicBezTo>
                  <a:lnTo>
                    <a:pt x="5185" y="6760"/>
                  </a:lnTo>
                  <a:cubicBezTo>
                    <a:pt x="5371" y="6760"/>
                    <a:pt x="5864" y="6442"/>
                    <a:pt x="6263" y="6064"/>
                  </a:cubicBezTo>
                  <a:cubicBezTo>
                    <a:pt x="6673" y="5682"/>
                    <a:pt x="7338" y="4852"/>
                    <a:pt x="7555" y="4488"/>
                  </a:cubicBezTo>
                  <a:cubicBezTo>
                    <a:pt x="7772" y="4121"/>
                    <a:pt x="8108" y="3820"/>
                    <a:pt x="8308" y="3638"/>
                  </a:cubicBezTo>
                  <a:lnTo>
                    <a:pt x="8353" y="3599"/>
                  </a:lnTo>
                  <a:cubicBezTo>
                    <a:pt x="8441" y="3515"/>
                    <a:pt x="8528" y="3224"/>
                    <a:pt x="8581" y="2811"/>
                  </a:cubicBezTo>
                  <a:lnTo>
                    <a:pt x="8581" y="2811"/>
                  </a:lnTo>
                  <a:cubicBezTo>
                    <a:pt x="8472" y="2818"/>
                    <a:pt x="8364" y="2825"/>
                    <a:pt x="8255" y="2843"/>
                  </a:cubicBezTo>
                  <a:lnTo>
                    <a:pt x="8220" y="2846"/>
                  </a:lnTo>
                  <a:lnTo>
                    <a:pt x="8217" y="2853"/>
                  </a:lnTo>
                  <a:cubicBezTo>
                    <a:pt x="8217" y="2860"/>
                    <a:pt x="8213" y="2867"/>
                    <a:pt x="8213" y="2874"/>
                  </a:cubicBezTo>
                  <a:cubicBezTo>
                    <a:pt x="8213" y="2885"/>
                    <a:pt x="8210" y="2895"/>
                    <a:pt x="8206" y="2909"/>
                  </a:cubicBezTo>
                  <a:cubicBezTo>
                    <a:pt x="8206" y="2909"/>
                    <a:pt x="8206" y="2913"/>
                    <a:pt x="8206" y="2916"/>
                  </a:cubicBezTo>
                  <a:cubicBezTo>
                    <a:pt x="8203" y="2923"/>
                    <a:pt x="8199" y="2930"/>
                    <a:pt x="8199" y="2937"/>
                  </a:cubicBezTo>
                  <a:lnTo>
                    <a:pt x="8192" y="2948"/>
                  </a:lnTo>
                  <a:cubicBezTo>
                    <a:pt x="8189" y="2951"/>
                    <a:pt x="8185" y="2958"/>
                    <a:pt x="8182" y="2965"/>
                  </a:cubicBezTo>
                  <a:lnTo>
                    <a:pt x="8178" y="2969"/>
                  </a:lnTo>
                  <a:cubicBezTo>
                    <a:pt x="8175" y="2976"/>
                    <a:pt x="8168" y="2983"/>
                    <a:pt x="8164" y="2990"/>
                  </a:cubicBezTo>
                  <a:lnTo>
                    <a:pt x="8157" y="2993"/>
                  </a:lnTo>
                  <a:cubicBezTo>
                    <a:pt x="8154" y="3000"/>
                    <a:pt x="8147" y="3004"/>
                    <a:pt x="8143" y="3007"/>
                  </a:cubicBezTo>
                  <a:lnTo>
                    <a:pt x="8136" y="3014"/>
                  </a:lnTo>
                  <a:lnTo>
                    <a:pt x="8119" y="3021"/>
                  </a:lnTo>
                  <a:lnTo>
                    <a:pt x="8115" y="3025"/>
                  </a:lnTo>
                  <a:cubicBezTo>
                    <a:pt x="8105" y="3032"/>
                    <a:pt x="8098" y="3035"/>
                    <a:pt x="8091" y="3039"/>
                  </a:cubicBezTo>
                  <a:cubicBezTo>
                    <a:pt x="8080" y="3039"/>
                    <a:pt x="8073" y="3042"/>
                    <a:pt x="8063" y="3046"/>
                  </a:cubicBezTo>
                  <a:lnTo>
                    <a:pt x="8056" y="3046"/>
                  </a:lnTo>
                  <a:lnTo>
                    <a:pt x="8035" y="3049"/>
                  </a:lnTo>
                  <a:lnTo>
                    <a:pt x="8028" y="3049"/>
                  </a:lnTo>
                  <a:lnTo>
                    <a:pt x="8007" y="3053"/>
                  </a:lnTo>
                  <a:lnTo>
                    <a:pt x="8000" y="3053"/>
                  </a:lnTo>
                  <a:lnTo>
                    <a:pt x="7972" y="3056"/>
                  </a:lnTo>
                  <a:lnTo>
                    <a:pt x="7874" y="3056"/>
                  </a:lnTo>
                  <a:lnTo>
                    <a:pt x="7835" y="3053"/>
                  </a:lnTo>
                  <a:cubicBezTo>
                    <a:pt x="7611" y="3039"/>
                    <a:pt x="7436" y="2566"/>
                    <a:pt x="7436" y="2482"/>
                  </a:cubicBezTo>
                  <a:cubicBezTo>
                    <a:pt x="7436" y="2374"/>
                    <a:pt x="7702" y="2020"/>
                    <a:pt x="7874" y="2020"/>
                  </a:cubicBezTo>
                  <a:cubicBezTo>
                    <a:pt x="7888" y="2020"/>
                    <a:pt x="7898" y="2024"/>
                    <a:pt x="7909" y="2024"/>
                  </a:cubicBezTo>
                  <a:lnTo>
                    <a:pt x="7919" y="2027"/>
                  </a:lnTo>
                  <a:lnTo>
                    <a:pt x="7944" y="2034"/>
                  </a:lnTo>
                  <a:lnTo>
                    <a:pt x="7958" y="2038"/>
                  </a:lnTo>
                  <a:lnTo>
                    <a:pt x="7982" y="2048"/>
                  </a:lnTo>
                  <a:lnTo>
                    <a:pt x="7993" y="2052"/>
                  </a:lnTo>
                  <a:cubicBezTo>
                    <a:pt x="8003" y="2055"/>
                    <a:pt x="8017" y="2062"/>
                    <a:pt x="8028" y="2069"/>
                  </a:cubicBezTo>
                  <a:lnTo>
                    <a:pt x="8031" y="2069"/>
                  </a:lnTo>
                  <a:lnTo>
                    <a:pt x="8066" y="2087"/>
                  </a:lnTo>
                  <a:lnTo>
                    <a:pt x="8077" y="2094"/>
                  </a:lnTo>
                  <a:lnTo>
                    <a:pt x="8105" y="2111"/>
                  </a:lnTo>
                  <a:lnTo>
                    <a:pt x="8112" y="2115"/>
                  </a:lnTo>
                  <a:lnTo>
                    <a:pt x="8122" y="2122"/>
                  </a:lnTo>
                  <a:lnTo>
                    <a:pt x="8122" y="2115"/>
                  </a:lnTo>
                  <a:lnTo>
                    <a:pt x="8122" y="2104"/>
                  </a:lnTo>
                  <a:lnTo>
                    <a:pt x="8122" y="2097"/>
                  </a:lnTo>
                  <a:lnTo>
                    <a:pt x="8122" y="2076"/>
                  </a:lnTo>
                  <a:cubicBezTo>
                    <a:pt x="8136" y="1971"/>
                    <a:pt x="8147" y="1807"/>
                    <a:pt x="8150" y="1646"/>
                  </a:cubicBezTo>
                  <a:lnTo>
                    <a:pt x="8150" y="1611"/>
                  </a:lnTo>
                  <a:lnTo>
                    <a:pt x="8150" y="1607"/>
                  </a:lnTo>
                  <a:lnTo>
                    <a:pt x="8150" y="1576"/>
                  </a:lnTo>
                  <a:lnTo>
                    <a:pt x="8150" y="1569"/>
                  </a:lnTo>
                  <a:lnTo>
                    <a:pt x="8150" y="1537"/>
                  </a:lnTo>
                  <a:lnTo>
                    <a:pt x="8150" y="1534"/>
                  </a:lnTo>
                  <a:lnTo>
                    <a:pt x="8150" y="1506"/>
                  </a:lnTo>
                  <a:lnTo>
                    <a:pt x="8150" y="1495"/>
                  </a:lnTo>
                  <a:lnTo>
                    <a:pt x="8150" y="1471"/>
                  </a:lnTo>
                  <a:lnTo>
                    <a:pt x="8150" y="1460"/>
                  </a:lnTo>
                  <a:lnTo>
                    <a:pt x="8150" y="1439"/>
                  </a:lnTo>
                  <a:lnTo>
                    <a:pt x="8150" y="1429"/>
                  </a:lnTo>
                  <a:lnTo>
                    <a:pt x="8150" y="1408"/>
                  </a:lnTo>
                  <a:lnTo>
                    <a:pt x="8150" y="1394"/>
                  </a:lnTo>
                  <a:lnTo>
                    <a:pt x="8150" y="1376"/>
                  </a:lnTo>
                  <a:lnTo>
                    <a:pt x="8150" y="1366"/>
                  </a:lnTo>
                  <a:lnTo>
                    <a:pt x="8150" y="1348"/>
                  </a:lnTo>
                  <a:lnTo>
                    <a:pt x="8150" y="1338"/>
                  </a:lnTo>
                  <a:lnTo>
                    <a:pt x="8150" y="1324"/>
                  </a:lnTo>
                  <a:lnTo>
                    <a:pt x="8150" y="1310"/>
                  </a:lnTo>
                  <a:lnTo>
                    <a:pt x="8150" y="1299"/>
                  </a:lnTo>
                  <a:cubicBezTo>
                    <a:pt x="8150" y="1296"/>
                    <a:pt x="8150" y="1292"/>
                    <a:pt x="8147" y="1289"/>
                  </a:cubicBezTo>
                  <a:lnTo>
                    <a:pt x="8147" y="1275"/>
                  </a:lnTo>
                  <a:lnTo>
                    <a:pt x="8147" y="1268"/>
                  </a:lnTo>
                  <a:lnTo>
                    <a:pt x="8143" y="1257"/>
                  </a:lnTo>
                  <a:lnTo>
                    <a:pt x="8140" y="1246"/>
                  </a:lnTo>
                  <a:lnTo>
                    <a:pt x="8136" y="1239"/>
                  </a:lnTo>
                  <a:lnTo>
                    <a:pt x="8133" y="1232"/>
                  </a:lnTo>
                  <a:lnTo>
                    <a:pt x="8133" y="1225"/>
                  </a:lnTo>
                  <a:cubicBezTo>
                    <a:pt x="8129" y="1222"/>
                    <a:pt x="8129" y="1222"/>
                    <a:pt x="8126" y="1218"/>
                  </a:cubicBezTo>
                  <a:lnTo>
                    <a:pt x="8126" y="1215"/>
                  </a:lnTo>
                  <a:cubicBezTo>
                    <a:pt x="8122" y="1211"/>
                    <a:pt x="8119" y="1208"/>
                    <a:pt x="8119" y="1208"/>
                  </a:cubicBezTo>
                  <a:cubicBezTo>
                    <a:pt x="8003" y="1141"/>
                    <a:pt x="7919" y="823"/>
                    <a:pt x="7821" y="417"/>
                  </a:cubicBezTo>
                  <a:cubicBezTo>
                    <a:pt x="7811" y="378"/>
                    <a:pt x="7804" y="340"/>
                    <a:pt x="7793" y="301"/>
                  </a:cubicBezTo>
                  <a:lnTo>
                    <a:pt x="7793" y="298"/>
                  </a:lnTo>
                  <a:lnTo>
                    <a:pt x="7786" y="266"/>
                  </a:lnTo>
                  <a:lnTo>
                    <a:pt x="7783" y="259"/>
                  </a:lnTo>
                  <a:lnTo>
                    <a:pt x="7779" y="238"/>
                  </a:lnTo>
                  <a:lnTo>
                    <a:pt x="7776" y="224"/>
                  </a:lnTo>
                  <a:lnTo>
                    <a:pt x="7769" y="210"/>
                  </a:lnTo>
                  <a:lnTo>
                    <a:pt x="7765" y="196"/>
                  </a:lnTo>
                  <a:lnTo>
                    <a:pt x="7762" y="186"/>
                  </a:lnTo>
                  <a:lnTo>
                    <a:pt x="7758" y="179"/>
                  </a:lnTo>
                  <a:lnTo>
                    <a:pt x="7758" y="172"/>
                  </a:lnTo>
                  <a:cubicBezTo>
                    <a:pt x="7723" y="151"/>
                    <a:pt x="7604" y="144"/>
                    <a:pt x="7506" y="137"/>
                  </a:cubicBezTo>
                  <a:cubicBezTo>
                    <a:pt x="7296" y="123"/>
                    <a:pt x="7163" y="109"/>
                    <a:pt x="7114" y="35"/>
                  </a:cubicBezTo>
                  <a:cubicBezTo>
                    <a:pt x="7093" y="18"/>
                    <a:pt x="6960" y="18"/>
                    <a:pt x="6887" y="18"/>
                  </a:cubicBezTo>
                  <a:cubicBezTo>
                    <a:pt x="6874" y="18"/>
                    <a:pt x="6861" y="19"/>
                    <a:pt x="6849" y="19"/>
                  </a:cubicBezTo>
                  <a:cubicBezTo>
                    <a:pt x="6788" y="19"/>
                    <a:pt x="6728" y="12"/>
                    <a:pt x="66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0" name="Google Shape;4417;p64">
              <a:extLst>
                <a:ext uri="{FF2B5EF4-FFF2-40B4-BE49-F238E27FC236}">
                  <a16:creationId xmlns:a16="http://schemas.microsoft.com/office/drawing/2014/main" id="{541B21A2-6F77-9935-6CC8-48F70CEF1D65}"/>
                </a:ext>
              </a:extLst>
            </p:cNvPr>
            <p:cNvSpPr/>
            <p:nvPr/>
          </p:nvSpPr>
          <p:spPr>
            <a:xfrm>
              <a:off x="2185707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1" name="Google Shape;4418;p64">
              <a:extLst>
                <a:ext uri="{FF2B5EF4-FFF2-40B4-BE49-F238E27FC236}">
                  <a16:creationId xmlns:a16="http://schemas.microsoft.com/office/drawing/2014/main" id="{ACB0EE5F-1B48-A785-5991-5AADEA293BDD}"/>
                </a:ext>
              </a:extLst>
            </p:cNvPr>
            <p:cNvSpPr/>
            <p:nvPr/>
          </p:nvSpPr>
          <p:spPr>
            <a:xfrm>
              <a:off x="2169780" y="226402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cubicBezTo>
                    <a:pt x="8" y="7"/>
                    <a:pt x="15" y="4"/>
                    <a:pt x="22" y="0"/>
                  </a:cubicBezTo>
                  <a:cubicBezTo>
                    <a:pt x="15" y="4"/>
                    <a:pt x="8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2" name="Google Shape;4419;p64">
              <a:extLst>
                <a:ext uri="{FF2B5EF4-FFF2-40B4-BE49-F238E27FC236}">
                  <a16:creationId xmlns:a16="http://schemas.microsoft.com/office/drawing/2014/main" id="{4218C1F7-5866-0008-7EFD-7C9E7BC50378}"/>
                </a:ext>
              </a:extLst>
            </p:cNvPr>
            <p:cNvSpPr/>
            <p:nvPr/>
          </p:nvSpPr>
          <p:spPr>
            <a:xfrm>
              <a:off x="2182435" y="226672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3" name="Google Shape;4420;p64">
              <a:extLst>
                <a:ext uri="{FF2B5EF4-FFF2-40B4-BE49-F238E27FC236}">
                  <a16:creationId xmlns:a16="http://schemas.microsoft.com/office/drawing/2014/main" id="{E640E719-5269-1AD0-E012-9E69227B5217}"/>
                </a:ext>
              </a:extLst>
            </p:cNvPr>
            <p:cNvSpPr/>
            <p:nvPr/>
          </p:nvSpPr>
          <p:spPr>
            <a:xfrm>
              <a:off x="2184336" y="2266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4" name="Google Shape;4421;p64">
              <a:extLst>
                <a:ext uri="{FF2B5EF4-FFF2-40B4-BE49-F238E27FC236}">
                  <a16:creationId xmlns:a16="http://schemas.microsoft.com/office/drawing/2014/main" id="{13CFBEA5-F71E-882D-9CEE-D8A4B43F8DF1}"/>
                </a:ext>
              </a:extLst>
            </p:cNvPr>
            <p:cNvSpPr/>
            <p:nvPr/>
          </p:nvSpPr>
          <p:spPr>
            <a:xfrm>
              <a:off x="2186236" y="2266779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5" name="Google Shape;4422;p64">
              <a:extLst>
                <a:ext uri="{FF2B5EF4-FFF2-40B4-BE49-F238E27FC236}">
                  <a16:creationId xmlns:a16="http://schemas.microsoft.com/office/drawing/2014/main" id="{6177AF41-F99C-D274-E01F-0E537091FD4C}"/>
                </a:ext>
              </a:extLst>
            </p:cNvPr>
            <p:cNvSpPr/>
            <p:nvPr/>
          </p:nvSpPr>
          <p:spPr>
            <a:xfrm>
              <a:off x="2169265" y="2264159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0" y="4"/>
                  </a:moveTo>
                  <a:cubicBezTo>
                    <a:pt x="11" y="4"/>
                    <a:pt x="18" y="1"/>
                    <a:pt x="28" y="1"/>
                  </a:cubicBezTo>
                  <a:cubicBezTo>
                    <a:pt x="18" y="1"/>
                    <a:pt x="1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6" name="Google Shape;4423;p64">
              <a:extLst>
                <a:ext uri="{FF2B5EF4-FFF2-40B4-BE49-F238E27FC236}">
                  <a16:creationId xmlns:a16="http://schemas.microsoft.com/office/drawing/2014/main" id="{E146FA97-D590-9E1F-A0D1-7449C7C86B61}"/>
                </a:ext>
              </a:extLst>
            </p:cNvPr>
            <p:cNvSpPr/>
            <p:nvPr/>
          </p:nvSpPr>
          <p:spPr>
            <a:xfrm>
              <a:off x="2168640" y="2264213"/>
              <a:ext cx="543" cy="41"/>
            </a:xfrm>
            <a:custGeom>
              <a:avLst/>
              <a:gdLst/>
              <a:ahLst/>
              <a:cxnLst/>
              <a:rect l="l" t="t" r="r" b="b"/>
              <a:pathLst>
                <a:path w="40" h="3" extrusionOk="0">
                  <a:moveTo>
                    <a:pt x="1" y="0"/>
                  </a:moveTo>
                  <a:cubicBezTo>
                    <a:pt x="10" y="2"/>
                    <a:pt x="17" y="3"/>
                    <a:pt x="23" y="3"/>
                  </a:cubicBezTo>
                  <a:cubicBezTo>
                    <a:pt x="29" y="3"/>
                    <a:pt x="34" y="2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7" name="Google Shape;4424;p64">
              <a:extLst>
                <a:ext uri="{FF2B5EF4-FFF2-40B4-BE49-F238E27FC236}">
                  <a16:creationId xmlns:a16="http://schemas.microsoft.com/office/drawing/2014/main" id="{B0FFF8D4-5CDA-3A54-DA4A-7CDD1A5E3460}"/>
                </a:ext>
              </a:extLst>
            </p:cNvPr>
            <p:cNvSpPr/>
            <p:nvPr/>
          </p:nvSpPr>
          <p:spPr>
            <a:xfrm>
              <a:off x="2170161" y="2262883"/>
              <a:ext cx="869" cy="1100"/>
            </a:xfrm>
            <a:custGeom>
              <a:avLst/>
              <a:gdLst/>
              <a:ahLst/>
              <a:cxnLst/>
              <a:rect l="l" t="t" r="r" b="b"/>
              <a:pathLst>
                <a:path w="64" h="81" extrusionOk="0">
                  <a:moveTo>
                    <a:pt x="64" y="0"/>
                  </a:moveTo>
                  <a:cubicBezTo>
                    <a:pt x="57" y="25"/>
                    <a:pt x="46" y="46"/>
                    <a:pt x="29" y="63"/>
                  </a:cubicBezTo>
                  <a:cubicBezTo>
                    <a:pt x="18" y="70"/>
                    <a:pt x="11" y="77"/>
                    <a:pt x="1" y="81"/>
                  </a:cubicBezTo>
                  <a:cubicBezTo>
                    <a:pt x="11" y="77"/>
                    <a:pt x="18" y="70"/>
                    <a:pt x="29" y="63"/>
                  </a:cubicBezTo>
                  <a:cubicBezTo>
                    <a:pt x="46" y="46"/>
                    <a:pt x="57" y="25"/>
                    <a:pt x="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8" name="Google Shape;4425;p64">
              <a:extLst>
                <a:ext uri="{FF2B5EF4-FFF2-40B4-BE49-F238E27FC236}">
                  <a16:creationId xmlns:a16="http://schemas.microsoft.com/office/drawing/2014/main" id="{3DEB0D2A-85A6-34D7-6687-16D07220C053}"/>
                </a:ext>
              </a:extLst>
            </p:cNvPr>
            <p:cNvSpPr/>
            <p:nvPr/>
          </p:nvSpPr>
          <p:spPr>
            <a:xfrm>
              <a:off x="2188178" y="226601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9" name="Google Shape;4426;p64">
              <a:extLst>
                <a:ext uri="{FF2B5EF4-FFF2-40B4-BE49-F238E27FC236}">
                  <a16:creationId xmlns:a16="http://schemas.microsoft.com/office/drawing/2014/main" id="{2847D2CE-5628-ECA3-7218-B511432996A2}"/>
                </a:ext>
              </a:extLst>
            </p:cNvPr>
            <p:cNvSpPr/>
            <p:nvPr/>
          </p:nvSpPr>
          <p:spPr>
            <a:xfrm>
              <a:off x="2187893" y="226625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0" name="Google Shape;4427;p64">
              <a:extLst>
                <a:ext uri="{FF2B5EF4-FFF2-40B4-BE49-F238E27FC236}">
                  <a16:creationId xmlns:a16="http://schemas.microsoft.com/office/drawing/2014/main" id="{56DD5241-C7F1-8FD7-67DF-67DF5D310260}"/>
                </a:ext>
              </a:extLst>
            </p:cNvPr>
            <p:cNvSpPr/>
            <p:nvPr/>
          </p:nvSpPr>
          <p:spPr>
            <a:xfrm>
              <a:off x="2187608" y="22664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1" name="Google Shape;4428;p64">
              <a:extLst>
                <a:ext uri="{FF2B5EF4-FFF2-40B4-BE49-F238E27FC236}">
                  <a16:creationId xmlns:a16="http://schemas.microsoft.com/office/drawing/2014/main" id="{3075A9D1-9170-8A42-51E3-D55A754E6F9D}"/>
                </a:ext>
              </a:extLst>
            </p:cNvPr>
            <p:cNvSpPr/>
            <p:nvPr/>
          </p:nvSpPr>
          <p:spPr>
            <a:xfrm>
              <a:off x="2186712" y="22667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2" name="Google Shape;4429;p64">
              <a:extLst>
                <a:ext uri="{FF2B5EF4-FFF2-40B4-BE49-F238E27FC236}">
                  <a16:creationId xmlns:a16="http://schemas.microsoft.com/office/drawing/2014/main" id="{3629FFE7-B946-B6BB-1DFF-690688450838}"/>
                </a:ext>
              </a:extLst>
            </p:cNvPr>
            <p:cNvSpPr/>
            <p:nvPr/>
          </p:nvSpPr>
          <p:spPr>
            <a:xfrm>
              <a:off x="2259012" y="2212062"/>
              <a:ext cx="14840" cy="2349"/>
            </a:xfrm>
            <a:custGeom>
              <a:avLst/>
              <a:gdLst/>
              <a:ahLst/>
              <a:cxnLst/>
              <a:rect l="l" t="t" r="r" b="b"/>
              <a:pathLst>
                <a:path w="1093" h="173" extrusionOk="0"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lnTo>
                    <a:pt x="221" y="15"/>
                  </a:lnTo>
                  <a:cubicBezTo>
                    <a:pt x="221" y="15"/>
                    <a:pt x="221" y="15"/>
                    <a:pt x="221" y="15"/>
                  </a:cubicBezTo>
                  <a:close/>
                  <a:moveTo>
                    <a:pt x="0" y="1"/>
                  </a:moveTo>
                  <a:cubicBezTo>
                    <a:pt x="51" y="11"/>
                    <a:pt x="105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lnTo>
                    <a:pt x="159" y="17"/>
                  </a:lnTo>
                  <a:cubicBezTo>
                    <a:pt x="160" y="17"/>
                    <a:pt x="160" y="17"/>
                    <a:pt x="161" y="17"/>
                  </a:cubicBezTo>
                  <a:cubicBezTo>
                    <a:pt x="181" y="17"/>
                    <a:pt x="201" y="17"/>
                    <a:pt x="221" y="15"/>
                  </a:cubicBezTo>
                  <a:lnTo>
                    <a:pt x="221" y="15"/>
                  </a:lnTo>
                  <a:cubicBezTo>
                    <a:pt x="219" y="15"/>
                    <a:pt x="218" y="15"/>
                    <a:pt x="217" y="15"/>
                  </a:cubicBezTo>
                  <a:cubicBezTo>
                    <a:pt x="198" y="17"/>
                    <a:pt x="179" y="17"/>
                    <a:pt x="159" y="17"/>
                  </a:cubicBezTo>
                  <a:lnTo>
                    <a:pt x="159" y="17"/>
                  </a:lnTo>
                  <a:cubicBezTo>
                    <a:pt x="105" y="17"/>
                    <a:pt x="51" y="11"/>
                    <a:pt x="0" y="1"/>
                  </a:cubicBezTo>
                  <a:close/>
                  <a:moveTo>
                    <a:pt x="221" y="15"/>
                  </a:moveTo>
                  <a:cubicBezTo>
                    <a:pt x="290" y="15"/>
                    <a:pt x="417" y="18"/>
                    <a:pt x="446" y="34"/>
                  </a:cubicBezTo>
                  <a:lnTo>
                    <a:pt x="446" y="34"/>
                  </a:lnTo>
                  <a:cubicBezTo>
                    <a:pt x="446" y="34"/>
                    <a:pt x="445" y="33"/>
                    <a:pt x="445" y="32"/>
                  </a:cubicBezTo>
                  <a:cubicBezTo>
                    <a:pt x="424" y="15"/>
                    <a:pt x="296" y="15"/>
                    <a:pt x="221" y="15"/>
                  </a:cubicBezTo>
                  <a:close/>
                  <a:moveTo>
                    <a:pt x="446" y="34"/>
                  </a:moveTo>
                  <a:lnTo>
                    <a:pt x="446" y="34"/>
                  </a:lnTo>
                  <a:cubicBezTo>
                    <a:pt x="451" y="41"/>
                    <a:pt x="456" y="47"/>
                    <a:pt x="461" y="53"/>
                  </a:cubicBezTo>
                  <a:lnTo>
                    <a:pt x="461" y="53"/>
                  </a:lnTo>
                  <a:cubicBezTo>
                    <a:pt x="456" y="48"/>
                    <a:pt x="452" y="42"/>
                    <a:pt x="448" y="36"/>
                  </a:cubicBezTo>
                  <a:cubicBezTo>
                    <a:pt x="448" y="35"/>
                    <a:pt x="447" y="35"/>
                    <a:pt x="446" y="34"/>
                  </a:cubicBezTo>
                  <a:close/>
                  <a:moveTo>
                    <a:pt x="461" y="53"/>
                  </a:moveTo>
                  <a:cubicBezTo>
                    <a:pt x="515" y="110"/>
                    <a:pt x="637" y="124"/>
                    <a:pt x="823" y="136"/>
                  </a:cubicBezTo>
                  <a:lnTo>
                    <a:pt x="823" y="136"/>
                  </a:lnTo>
                  <a:cubicBezTo>
                    <a:pt x="641" y="121"/>
                    <a:pt x="519" y="110"/>
                    <a:pt x="461" y="53"/>
                  </a:cubicBezTo>
                  <a:close/>
                  <a:moveTo>
                    <a:pt x="823" y="136"/>
                  </a:moveTo>
                  <a:cubicBezTo>
                    <a:pt x="828" y="136"/>
                    <a:pt x="832" y="137"/>
                    <a:pt x="837" y="137"/>
                  </a:cubicBezTo>
                  <a:cubicBezTo>
                    <a:pt x="869" y="140"/>
                    <a:pt x="904" y="142"/>
                    <a:pt x="937" y="145"/>
                  </a:cubicBezTo>
                  <a:lnTo>
                    <a:pt x="937" y="145"/>
                  </a:lnTo>
                  <a:cubicBezTo>
                    <a:pt x="904" y="141"/>
                    <a:pt x="872" y="139"/>
                    <a:pt x="840" y="137"/>
                  </a:cubicBezTo>
                  <a:cubicBezTo>
                    <a:pt x="834" y="137"/>
                    <a:pt x="829" y="136"/>
                    <a:pt x="823" y="136"/>
                  </a:cubicBezTo>
                  <a:close/>
                  <a:moveTo>
                    <a:pt x="937" y="145"/>
                  </a:moveTo>
                  <a:cubicBezTo>
                    <a:pt x="986" y="150"/>
                    <a:pt x="1036" y="158"/>
                    <a:pt x="1084" y="169"/>
                  </a:cubicBezTo>
                  <a:lnTo>
                    <a:pt x="1084" y="169"/>
                  </a:lnTo>
                  <a:cubicBezTo>
                    <a:pt x="1055" y="157"/>
                    <a:pt x="998" y="150"/>
                    <a:pt x="937" y="145"/>
                  </a:cubicBezTo>
                  <a:close/>
                  <a:moveTo>
                    <a:pt x="1084" y="169"/>
                  </a:moveTo>
                  <a:cubicBezTo>
                    <a:pt x="1086" y="169"/>
                    <a:pt x="1087" y="170"/>
                    <a:pt x="1088" y="170"/>
                  </a:cubicBezTo>
                  <a:lnTo>
                    <a:pt x="1088" y="170"/>
                  </a:lnTo>
                  <a:lnTo>
                    <a:pt x="1085" y="169"/>
                  </a:lnTo>
                  <a:cubicBezTo>
                    <a:pt x="1085" y="169"/>
                    <a:pt x="1085" y="169"/>
                    <a:pt x="1084" y="169"/>
                  </a:cubicBezTo>
                  <a:close/>
                  <a:moveTo>
                    <a:pt x="1088" y="170"/>
                  </a:moveTo>
                  <a:lnTo>
                    <a:pt x="1092" y="172"/>
                  </a:lnTo>
                  <a:cubicBezTo>
                    <a:pt x="1091" y="172"/>
                    <a:pt x="1090" y="171"/>
                    <a:pt x="108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3" name="Google Shape;4430;p64">
              <a:extLst>
                <a:ext uri="{FF2B5EF4-FFF2-40B4-BE49-F238E27FC236}">
                  <a16:creationId xmlns:a16="http://schemas.microsoft.com/office/drawing/2014/main" id="{71CDF4F4-6F1D-5FD3-DA57-DD0852E58EC9}"/>
                </a:ext>
              </a:extLst>
            </p:cNvPr>
            <p:cNvSpPr/>
            <p:nvPr/>
          </p:nvSpPr>
          <p:spPr>
            <a:xfrm>
              <a:off x="2201728" y="22503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4" name="Google Shape;4431;p64">
              <a:extLst>
                <a:ext uri="{FF2B5EF4-FFF2-40B4-BE49-F238E27FC236}">
                  <a16:creationId xmlns:a16="http://schemas.microsoft.com/office/drawing/2014/main" id="{A0102F65-A363-C995-9CD7-A08D2AE37C25}"/>
                </a:ext>
              </a:extLst>
            </p:cNvPr>
            <p:cNvSpPr/>
            <p:nvPr/>
          </p:nvSpPr>
          <p:spPr>
            <a:xfrm>
              <a:off x="2193881" y="22348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5" name="Google Shape;4432;p64">
              <a:extLst>
                <a:ext uri="{FF2B5EF4-FFF2-40B4-BE49-F238E27FC236}">
                  <a16:creationId xmlns:a16="http://schemas.microsoft.com/office/drawing/2014/main" id="{481DB69B-E69A-5F04-27AA-23032F164833}"/>
                </a:ext>
              </a:extLst>
            </p:cNvPr>
            <p:cNvSpPr/>
            <p:nvPr/>
          </p:nvSpPr>
          <p:spPr>
            <a:xfrm>
              <a:off x="2203113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6" name="Google Shape;4433;p64">
              <a:extLst>
                <a:ext uri="{FF2B5EF4-FFF2-40B4-BE49-F238E27FC236}">
                  <a16:creationId xmlns:a16="http://schemas.microsoft.com/office/drawing/2014/main" id="{A1C9FD0F-C1CB-8186-A149-2104C24D5DB2}"/>
                </a:ext>
              </a:extLst>
            </p:cNvPr>
            <p:cNvSpPr/>
            <p:nvPr/>
          </p:nvSpPr>
          <p:spPr>
            <a:xfrm>
              <a:off x="2195021" y="22356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7" name="Google Shape;4434;p64">
              <a:extLst>
                <a:ext uri="{FF2B5EF4-FFF2-40B4-BE49-F238E27FC236}">
                  <a16:creationId xmlns:a16="http://schemas.microsoft.com/office/drawing/2014/main" id="{23227596-AAF6-4D60-ACE3-4C0DBA72C9E6}"/>
                </a:ext>
              </a:extLst>
            </p:cNvPr>
            <p:cNvSpPr/>
            <p:nvPr/>
          </p:nvSpPr>
          <p:spPr>
            <a:xfrm>
              <a:off x="2195211" y="22359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8" name="Google Shape;4435;p64">
              <a:extLst>
                <a:ext uri="{FF2B5EF4-FFF2-40B4-BE49-F238E27FC236}">
                  <a16:creationId xmlns:a16="http://schemas.microsoft.com/office/drawing/2014/main" id="{0FFFE14B-DE43-839E-3C35-5D4951B9E875}"/>
                </a:ext>
              </a:extLst>
            </p:cNvPr>
            <p:cNvSpPr/>
            <p:nvPr/>
          </p:nvSpPr>
          <p:spPr>
            <a:xfrm>
              <a:off x="2200927" y="2250228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9" name="Google Shape;4436;p64">
              <a:extLst>
                <a:ext uri="{FF2B5EF4-FFF2-40B4-BE49-F238E27FC236}">
                  <a16:creationId xmlns:a16="http://schemas.microsoft.com/office/drawing/2014/main" id="{48C7EB4B-EF74-F3B1-6488-B26C6DCD620D}"/>
                </a:ext>
              </a:extLst>
            </p:cNvPr>
            <p:cNvSpPr/>
            <p:nvPr/>
          </p:nvSpPr>
          <p:spPr>
            <a:xfrm>
              <a:off x="2194600" y="22353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0" name="Google Shape;4437;p64">
              <a:extLst>
                <a:ext uri="{FF2B5EF4-FFF2-40B4-BE49-F238E27FC236}">
                  <a16:creationId xmlns:a16="http://schemas.microsoft.com/office/drawing/2014/main" id="{A5EAEAE8-BE32-0AAA-9384-8431A268C022}"/>
                </a:ext>
              </a:extLst>
            </p:cNvPr>
            <p:cNvSpPr/>
            <p:nvPr/>
          </p:nvSpPr>
          <p:spPr>
            <a:xfrm>
              <a:off x="2194315" y="22351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1" name="Google Shape;4438;p64">
              <a:extLst>
                <a:ext uri="{FF2B5EF4-FFF2-40B4-BE49-F238E27FC236}">
                  <a16:creationId xmlns:a16="http://schemas.microsoft.com/office/drawing/2014/main" id="{5A7B84F3-4329-275D-A736-5AB00D2350A0}"/>
                </a:ext>
              </a:extLst>
            </p:cNvPr>
            <p:cNvSpPr/>
            <p:nvPr/>
          </p:nvSpPr>
          <p:spPr>
            <a:xfrm>
              <a:off x="2203588" y="22504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2" name="Google Shape;4439;p64">
              <a:extLst>
                <a:ext uri="{FF2B5EF4-FFF2-40B4-BE49-F238E27FC236}">
                  <a16:creationId xmlns:a16="http://schemas.microsoft.com/office/drawing/2014/main" id="{D3624487-B7FD-F22C-2AE1-29BF759EFADA}"/>
                </a:ext>
              </a:extLst>
            </p:cNvPr>
            <p:cNvSpPr/>
            <p:nvPr/>
          </p:nvSpPr>
          <p:spPr>
            <a:xfrm>
              <a:off x="2195116" y="22358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3" name="Google Shape;4440;p64">
              <a:extLst>
                <a:ext uri="{FF2B5EF4-FFF2-40B4-BE49-F238E27FC236}">
                  <a16:creationId xmlns:a16="http://schemas.microsoft.com/office/drawing/2014/main" id="{D2BAF07D-D958-08BA-A2DC-99DF39A9256A}"/>
                </a:ext>
              </a:extLst>
            </p:cNvPr>
            <p:cNvSpPr/>
            <p:nvPr/>
          </p:nvSpPr>
          <p:spPr>
            <a:xfrm>
              <a:off x="2194831" y="223549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4" name="Google Shape;4441;p64">
              <a:extLst>
                <a:ext uri="{FF2B5EF4-FFF2-40B4-BE49-F238E27FC236}">
                  <a16:creationId xmlns:a16="http://schemas.microsoft.com/office/drawing/2014/main" id="{4C0BF4AF-E14B-B5B9-C0EF-3E0EE7803DA2}"/>
                </a:ext>
              </a:extLst>
            </p:cNvPr>
            <p:cNvSpPr/>
            <p:nvPr/>
          </p:nvSpPr>
          <p:spPr>
            <a:xfrm>
              <a:off x="2206005" y="224946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5" name="Google Shape;4442;p64">
              <a:extLst>
                <a:ext uri="{FF2B5EF4-FFF2-40B4-BE49-F238E27FC236}">
                  <a16:creationId xmlns:a16="http://schemas.microsoft.com/office/drawing/2014/main" id="{F9BC6FEB-75BF-D37B-4502-913A8928BA55}"/>
                </a:ext>
              </a:extLst>
            </p:cNvPr>
            <p:cNvSpPr/>
            <p:nvPr/>
          </p:nvSpPr>
          <p:spPr>
            <a:xfrm>
              <a:off x="2205625" y="224975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6" name="Google Shape;4443;p64">
              <a:extLst>
                <a:ext uri="{FF2B5EF4-FFF2-40B4-BE49-F238E27FC236}">
                  <a16:creationId xmlns:a16="http://schemas.microsoft.com/office/drawing/2014/main" id="{5BBD0AC0-663B-0E88-17EB-412833C32EBD}"/>
                </a:ext>
              </a:extLst>
            </p:cNvPr>
            <p:cNvSpPr/>
            <p:nvPr/>
          </p:nvSpPr>
          <p:spPr>
            <a:xfrm>
              <a:off x="2258102" y="221329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7" name="Google Shape;4444;p64">
              <a:extLst>
                <a:ext uri="{FF2B5EF4-FFF2-40B4-BE49-F238E27FC236}">
                  <a16:creationId xmlns:a16="http://schemas.microsoft.com/office/drawing/2014/main" id="{18FF9A9C-9E8E-B922-5D74-B708F6B564F0}"/>
                </a:ext>
              </a:extLst>
            </p:cNvPr>
            <p:cNvSpPr/>
            <p:nvPr/>
          </p:nvSpPr>
          <p:spPr>
            <a:xfrm>
              <a:off x="2257722" y="221373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8" name="Google Shape;4445;p64">
              <a:extLst>
                <a:ext uri="{FF2B5EF4-FFF2-40B4-BE49-F238E27FC236}">
                  <a16:creationId xmlns:a16="http://schemas.microsoft.com/office/drawing/2014/main" id="{0A248812-50C2-01B4-CD93-0690FA2855BE}"/>
                </a:ext>
              </a:extLst>
            </p:cNvPr>
            <p:cNvSpPr/>
            <p:nvPr/>
          </p:nvSpPr>
          <p:spPr>
            <a:xfrm>
              <a:off x="2257152" y="22145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9" name="Google Shape;4446;p64">
              <a:extLst>
                <a:ext uri="{FF2B5EF4-FFF2-40B4-BE49-F238E27FC236}">
                  <a16:creationId xmlns:a16="http://schemas.microsoft.com/office/drawing/2014/main" id="{DA23B7E4-AF07-0932-6408-BD5B3C6E1DDE}"/>
                </a:ext>
              </a:extLst>
            </p:cNvPr>
            <p:cNvSpPr/>
            <p:nvPr/>
          </p:nvSpPr>
          <p:spPr>
            <a:xfrm>
              <a:off x="2257437" y="221415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0" name="Google Shape;4447;p64">
              <a:extLst>
                <a:ext uri="{FF2B5EF4-FFF2-40B4-BE49-F238E27FC236}">
                  <a16:creationId xmlns:a16="http://schemas.microsoft.com/office/drawing/2014/main" id="{043B6022-718F-A96A-2405-A915DB2C2EEC}"/>
                </a:ext>
              </a:extLst>
            </p:cNvPr>
            <p:cNvSpPr/>
            <p:nvPr/>
          </p:nvSpPr>
          <p:spPr>
            <a:xfrm>
              <a:off x="2258482" y="221268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1" name="Google Shape;4448;p64">
              <a:extLst>
                <a:ext uri="{FF2B5EF4-FFF2-40B4-BE49-F238E27FC236}">
                  <a16:creationId xmlns:a16="http://schemas.microsoft.com/office/drawing/2014/main" id="{A94DCFD0-7C61-8D7C-00D6-240048B185BC}"/>
                </a:ext>
              </a:extLst>
            </p:cNvPr>
            <p:cNvSpPr/>
            <p:nvPr/>
          </p:nvSpPr>
          <p:spPr>
            <a:xfrm>
              <a:off x="2204865" y="22501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2" name="Google Shape;4449;p64">
              <a:extLst>
                <a:ext uri="{FF2B5EF4-FFF2-40B4-BE49-F238E27FC236}">
                  <a16:creationId xmlns:a16="http://schemas.microsoft.com/office/drawing/2014/main" id="{7E18D10D-9F82-E871-0138-FAC8D97500F4}"/>
                </a:ext>
              </a:extLst>
            </p:cNvPr>
            <p:cNvSpPr/>
            <p:nvPr/>
          </p:nvSpPr>
          <p:spPr>
            <a:xfrm>
              <a:off x="2258822" y="221221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3" name="Google Shape;4450;p64">
              <a:extLst>
                <a:ext uri="{FF2B5EF4-FFF2-40B4-BE49-F238E27FC236}">
                  <a16:creationId xmlns:a16="http://schemas.microsoft.com/office/drawing/2014/main" id="{6153F586-1645-CDB0-E5E6-5D17077343C3}"/>
                </a:ext>
              </a:extLst>
            </p:cNvPr>
            <p:cNvSpPr/>
            <p:nvPr/>
          </p:nvSpPr>
          <p:spPr>
            <a:xfrm>
              <a:off x="2193460" y="22346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4" name="Google Shape;4451;p64">
              <a:extLst>
                <a:ext uri="{FF2B5EF4-FFF2-40B4-BE49-F238E27FC236}">
                  <a16:creationId xmlns:a16="http://schemas.microsoft.com/office/drawing/2014/main" id="{022E5376-C2DE-D5A0-F7EE-3E2B0D5273C1}"/>
                </a:ext>
              </a:extLst>
            </p:cNvPr>
            <p:cNvSpPr/>
            <p:nvPr/>
          </p:nvSpPr>
          <p:spPr>
            <a:xfrm>
              <a:off x="2205245" y="224994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5" name="Google Shape;4452;p64">
              <a:extLst>
                <a:ext uri="{FF2B5EF4-FFF2-40B4-BE49-F238E27FC236}">
                  <a16:creationId xmlns:a16="http://schemas.microsoft.com/office/drawing/2014/main" id="{FE707343-A414-0B6E-226A-CB0CE1CEFF73}"/>
                </a:ext>
              </a:extLst>
            </p:cNvPr>
            <p:cNvSpPr/>
            <p:nvPr/>
          </p:nvSpPr>
          <p:spPr>
            <a:xfrm>
              <a:off x="2204485" y="22502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6" name="Google Shape;4453;p64">
              <a:extLst>
                <a:ext uri="{FF2B5EF4-FFF2-40B4-BE49-F238E27FC236}">
                  <a16:creationId xmlns:a16="http://schemas.microsoft.com/office/drawing/2014/main" id="{C99C06F8-0729-644D-5734-876F508C72CE}"/>
                </a:ext>
              </a:extLst>
            </p:cNvPr>
            <p:cNvSpPr/>
            <p:nvPr/>
          </p:nvSpPr>
          <p:spPr>
            <a:xfrm>
              <a:off x="2278916" y="225289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7" name="Google Shape;4454;p64">
              <a:extLst>
                <a:ext uri="{FF2B5EF4-FFF2-40B4-BE49-F238E27FC236}">
                  <a16:creationId xmlns:a16="http://schemas.microsoft.com/office/drawing/2014/main" id="{E87428F0-475C-3CF7-1050-A8C11A905250}"/>
                </a:ext>
              </a:extLst>
            </p:cNvPr>
            <p:cNvSpPr/>
            <p:nvPr/>
          </p:nvSpPr>
          <p:spPr>
            <a:xfrm>
              <a:off x="2279256" y="225265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cubicBezTo>
                    <a:pt x="4" y="11"/>
                    <a:pt x="11" y="7"/>
                    <a:pt x="14" y="0"/>
                  </a:cubicBezTo>
                  <a:cubicBezTo>
                    <a:pt x="11" y="7"/>
                    <a:pt x="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8" name="Google Shape;4455;p64">
              <a:extLst>
                <a:ext uri="{FF2B5EF4-FFF2-40B4-BE49-F238E27FC236}">
                  <a16:creationId xmlns:a16="http://schemas.microsoft.com/office/drawing/2014/main" id="{04E3D91B-95D1-E49C-56BA-7FA863A2251F}"/>
                </a:ext>
              </a:extLst>
            </p:cNvPr>
            <p:cNvSpPr/>
            <p:nvPr/>
          </p:nvSpPr>
          <p:spPr>
            <a:xfrm>
              <a:off x="2279772" y="22519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9" name="Google Shape;4456;p64">
              <a:extLst>
                <a:ext uri="{FF2B5EF4-FFF2-40B4-BE49-F238E27FC236}">
                  <a16:creationId xmlns:a16="http://schemas.microsoft.com/office/drawing/2014/main" id="{DBCE52EE-FD92-D2D4-4916-9FF8FD807DA2}"/>
                </a:ext>
              </a:extLst>
            </p:cNvPr>
            <p:cNvSpPr/>
            <p:nvPr/>
          </p:nvSpPr>
          <p:spPr>
            <a:xfrm>
              <a:off x="2279541" y="225231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1"/>
                  </a:moveTo>
                  <a:cubicBezTo>
                    <a:pt x="11" y="8"/>
                    <a:pt x="4" y="15"/>
                    <a:pt x="0" y="22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0" name="Google Shape;4457;p64">
              <a:extLst>
                <a:ext uri="{FF2B5EF4-FFF2-40B4-BE49-F238E27FC236}">
                  <a16:creationId xmlns:a16="http://schemas.microsoft.com/office/drawing/2014/main" id="{92B882B5-B9BC-E96E-18EE-800D592C2BBF}"/>
                </a:ext>
              </a:extLst>
            </p:cNvPr>
            <p:cNvSpPr/>
            <p:nvPr/>
          </p:nvSpPr>
          <p:spPr>
            <a:xfrm>
              <a:off x="2276445" y="22536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1" name="Google Shape;4458;p64">
              <a:extLst>
                <a:ext uri="{FF2B5EF4-FFF2-40B4-BE49-F238E27FC236}">
                  <a16:creationId xmlns:a16="http://schemas.microsoft.com/office/drawing/2014/main" id="{38AF989B-646C-9BC2-E4A9-8B6A0AC87661}"/>
                </a:ext>
              </a:extLst>
            </p:cNvPr>
            <p:cNvSpPr/>
            <p:nvPr/>
          </p:nvSpPr>
          <p:spPr>
            <a:xfrm>
              <a:off x="2280301" y="22507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2" name="Google Shape;4459;p64">
              <a:extLst>
                <a:ext uri="{FF2B5EF4-FFF2-40B4-BE49-F238E27FC236}">
                  <a16:creationId xmlns:a16="http://schemas.microsoft.com/office/drawing/2014/main" id="{AB1C3037-845B-3006-2766-E04F30E76FD8}"/>
                </a:ext>
              </a:extLst>
            </p:cNvPr>
            <p:cNvSpPr/>
            <p:nvPr/>
          </p:nvSpPr>
          <p:spPr>
            <a:xfrm>
              <a:off x="2280111" y="2251043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cubicBezTo>
                    <a:pt x="4" y="21"/>
                    <a:pt x="7" y="11"/>
                    <a:pt x="7" y="0"/>
                  </a:cubicBezTo>
                  <a:cubicBezTo>
                    <a:pt x="7" y="11"/>
                    <a:pt x="4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3" name="Google Shape;4460;p64">
              <a:extLst>
                <a:ext uri="{FF2B5EF4-FFF2-40B4-BE49-F238E27FC236}">
                  <a16:creationId xmlns:a16="http://schemas.microsoft.com/office/drawing/2014/main" id="{09D79996-45E3-BBB0-562E-030668480F78}"/>
                </a:ext>
              </a:extLst>
            </p:cNvPr>
            <p:cNvSpPr/>
            <p:nvPr/>
          </p:nvSpPr>
          <p:spPr>
            <a:xfrm>
              <a:off x="2279962" y="225161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cubicBezTo>
                    <a:pt x="4" y="14"/>
                    <a:pt x="4" y="7"/>
                    <a:pt x="8" y="0"/>
                  </a:cubicBezTo>
                  <a:cubicBezTo>
                    <a:pt x="4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4" name="Google Shape;4461;p64">
              <a:extLst>
                <a:ext uri="{FF2B5EF4-FFF2-40B4-BE49-F238E27FC236}">
                  <a16:creationId xmlns:a16="http://schemas.microsoft.com/office/drawing/2014/main" id="{4BD7FC51-5BF5-86A5-2EE8-A1E797BD52BE}"/>
                </a:ext>
              </a:extLst>
            </p:cNvPr>
            <p:cNvSpPr/>
            <p:nvPr/>
          </p:nvSpPr>
          <p:spPr>
            <a:xfrm>
              <a:off x="2278536" y="2253134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11"/>
                  </a:moveTo>
                  <a:cubicBezTo>
                    <a:pt x="8" y="7"/>
                    <a:pt x="15" y="4"/>
                    <a:pt x="25" y="0"/>
                  </a:cubicBezTo>
                  <a:cubicBezTo>
                    <a:pt x="15" y="4"/>
                    <a:pt x="8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5" name="Google Shape;4462;p64">
              <a:extLst>
                <a:ext uri="{FF2B5EF4-FFF2-40B4-BE49-F238E27FC236}">
                  <a16:creationId xmlns:a16="http://schemas.microsoft.com/office/drawing/2014/main" id="{5F84EDDD-BFAF-E928-0D11-D8DC48576F34}"/>
                </a:ext>
              </a:extLst>
            </p:cNvPr>
            <p:cNvSpPr/>
            <p:nvPr/>
          </p:nvSpPr>
          <p:spPr>
            <a:xfrm>
              <a:off x="2276119" y="223958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6" name="Google Shape;4463;p64">
              <a:extLst>
                <a:ext uri="{FF2B5EF4-FFF2-40B4-BE49-F238E27FC236}">
                  <a16:creationId xmlns:a16="http://schemas.microsoft.com/office/drawing/2014/main" id="{D71EA632-4A5D-2F86-D945-7F90BD0A63CB}"/>
                </a:ext>
              </a:extLst>
            </p:cNvPr>
            <p:cNvSpPr/>
            <p:nvPr/>
          </p:nvSpPr>
          <p:spPr>
            <a:xfrm>
              <a:off x="2277111" y="223986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7" name="Google Shape;4464;p64">
              <a:extLst>
                <a:ext uri="{FF2B5EF4-FFF2-40B4-BE49-F238E27FC236}">
                  <a16:creationId xmlns:a16="http://schemas.microsoft.com/office/drawing/2014/main" id="{38C45E4E-0ED3-E037-3FAB-7053B3750A16}"/>
                </a:ext>
              </a:extLst>
            </p:cNvPr>
            <p:cNvSpPr/>
            <p:nvPr/>
          </p:nvSpPr>
          <p:spPr>
            <a:xfrm>
              <a:off x="2276595" y="22396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8" name="Google Shape;4465;p64">
              <a:extLst>
                <a:ext uri="{FF2B5EF4-FFF2-40B4-BE49-F238E27FC236}">
                  <a16:creationId xmlns:a16="http://schemas.microsoft.com/office/drawing/2014/main" id="{A27201E1-B174-249C-9B87-39AA1205BC6E}"/>
                </a:ext>
              </a:extLst>
            </p:cNvPr>
            <p:cNvSpPr/>
            <p:nvPr/>
          </p:nvSpPr>
          <p:spPr>
            <a:xfrm>
              <a:off x="2277735" y="224015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9" name="Google Shape;4466;p64">
              <a:extLst>
                <a:ext uri="{FF2B5EF4-FFF2-40B4-BE49-F238E27FC236}">
                  <a16:creationId xmlns:a16="http://schemas.microsoft.com/office/drawing/2014/main" id="{F86DCB06-6E80-8CC4-5AB8-63084043E196}"/>
                </a:ext>
              </a:extLst>
            </p:cNvPr>
            <p:cNvSpPr/>
            <p:nvPr/>
          </p:nvSpPr>
          <p:spPr>
            <a:xfrm>
              <a:off x="2278210" y="224043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0" name="Google Shape;4467;p64">
              <a:extLst>
                <a:ext uri="{FF2B5EF4-FFF2-40B4-BE49-F238E27FC236}">
                  <a16:creationId xmlns:a16="http://schemas.microsoft.com/office/drawing/2014/main" id="{40FF1D11-1AE7-8D02-52B1-2EC6E49AF531}"/>
                </a:ext>
              </a:extLst>
            </p:cNvPr>
            <p:cNvSpPr/>
            <p:nvPr/>
          </p:nvSpPr>
          <p:spPr>
            <a:xfrm>
              <a:off x="2278726" y="224077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1" name="Google Shape;4468;p64">
              <a:extLst>
                <a:ext uri="{FF2B5EF4-FFF2-40B4-BE49-F238E27FC236}">
                  <a16:creationId xmlns:a16="http://schemas.microsoft.com/office/drawing/2014/main" id="{DC28CFA4-21C2-5A0D-345A-6896A14A0BDA}"/>
                </a:ext>
              </a:extLst>
            </p:cNvPr>
            <p:cNvSpPr/>
            <p:nvPr/>
          </p:nvSpPr>
          <p:spPr>
            <a:xfrm>
              <a:off x="2278210" y="22532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cubicBezTo>
                    <a:pt x="14" y="4"/>
                    <a:pt x="7" y="4"/>
                    <a:pt x="0" y="8"/>
                  </a:cubicBezTo>
                  <a:cubicBezTo>
                    <a:pt x="7" y="4"/>
                    <a:pt x="18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2" name="Google Shape;4469;p64">
              <a:extLst>
                <a:ext uri="{FF2B5EF4-FFF2-40B4-BE49-F238E27FC236}">
                  <a16:creationId xmlns:a16="http://schemas.microsoft.com/office/drawing/2014/main" id="{FFC891DE-86B9-A590-3526-FA368CC72885}"/>
                </a:ext>
              </a:extLst>
            </p:cNvPr>
            <p:cNvSpPr/>
            <p:nvPr/>
          </p:nvSpPr>
          <p:spPr>
            <a:xfrm>
              <a:off x="2277396" y="225346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3" name="Google Shape;4470;p64">
              <a:extLst>
                <a:ext uri="{FF2B5EF4-FFF2-40B4-BE49-F238E27FC236}">
                  <a16:creationId xmlns:a16="http://schemas.microsoft.com/office/drawing/2014/main" id="{A308A6E2-A155-CAE3-1D76-B4FE6BF5738F}"/>
                </a:ext>
              </a:extLst>
            </p:cNvPr>
            <p:cNvSpPr/>
            <p:nvPr/>
          </p:nvSpPr>
          <p:spPr>
            <a:xfrm>
              <a:off x="2276921" y="2253514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1" y="4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4" name="Google Shape;4471;p64">
              <a:extLst>
                <a:ext uri="{FF2B5EF4-FFF2-40B4-BE49-F238E27FC236}">
                  <a16:creationId xmlns:a16="http://schemas.microsoft.com/office/drawing/2014/main" id="{884ECA83-8606-E5C4-9755-DA52920B9BD2}"/>
                </a:ext>
              </a:extLst>
            </p:cNvPr>
            <p:cNvSpPr/>
            <p:nvPr/>
          </p:nvSpPr>
          <p:spPr>
            <a:xfrm>
              <a:off x="2277776" y="225341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5" name="Google Shape;4472;p64">
              <a:extLst>
                <a:ext uri="{FF2B5EF4-FFF2-40B4-BE49-F238E27FC236}">
                  <a16:creationId xmlns:a16="http://schemas.microsoft.com/office/drawing/2014/main" id="{0B20D476-6267-0D7F-85EB-B446222EE8D2}"/>
                </a:ext>
              </a:extLst>
            </p:cNvPr>
            <p:cNvSpPr/>
            <p:nvPr/>
          </p:nvSpPr>
          <p:spPr>
            <a:xfrm>
              <a:off x="2276595" y="225360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6" name="Google Shape;4473;p64">
              <a:extLst>
                <a:ext uri="{FF2B5EF4-FFF2-40B4-BE49-F238E27FC236}">
                  <a16:creationId xmlns:a16="http://schemas.microsoft.com/office/drawing/2014/main" id="{0A7E2461-99CF-0B79-2EC9-BE087540D4DB}"/>
                </a:ext>
              </a:extLst>
            </p:cNvPr>
            <p:cNvSpPr/>
            <p:nvPr/>
          </p:nvSpPr>
          <p:spPr>
            <a:xfrm>
              <a:off x="2275644" y="22535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7" name="Google Shape;4474;p64">
              <a:extLst>
                <a:ext uri="{FF2B5EF4-FFF2-40B4-BE49-F238E27FC236}">
                  <a16:creationId xmlns:a16="http://schemas.microsoft.com/office/drawing/2014/main" id="{8A8D49B9-99A9-6439-0256-D9136CA95D43}"/>
                </a:ext>
              </a:extLst>
            </p:cNvPr>
            <p:cNvSpPr/>
            <p:nvPr/>
          </p:nvSpPr>
          <p:spPr>
            <a:xfrm>
              <a:off x="2252019" y="2279556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8" name="Google Shape;4475;p64">
              <a:extLst>
                <a:ext uri="{FF2B5EF4-FFF2-40B4-BE49-F238E27FC236}">
                  <a16:creationId xmlns:a16="http://schemas.microsoft.com/office/drawing/2014/main" id="{4A3EC6A2-84E7-5852-9895-768AC81B5405}"/>
                </a:ext>
              </a:extLst>
            </p:cNvPr>
            <p:cNvSpPr/>
            <p:nvPr/>
          </p:nvSpPr>
          <p:spPr>
            <a:xfrm>
              <a:off x="2252155" y="2275999"/>
              <a:ext cx="1589" cy="3476"/>
            </a:xfrm>
            <a:custGeom>
              <a:avLst/>
              <a:gdLst/>
              <a:ahLst/>
              <a:cxnLst/>
              <a:rect l="l" t="t" r="r" b="b"/>
              <a:pathLst>
                <a:path w="117" h="256" extrusionOk="0">
                  <a:moveTo>
                    <a:pt x="116" y="0"/>
                  </a:moveTo>
                  <a:lnTo>
                    <a:pt x="116" y="0"/>
                  </a:lnTo>
                  <a:cubicBezTo>
                    <a:pt x="71" y="95"/>
                    <a:pt x="25" y="203"/>
                    <a:pt x="1" y="256"/>
                  </a:cubicBezTo>
                  <a:cubicBezTo>
                    <a:pt x="25" y="203"/>
                    <a:pt x="74" y="9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9" name="Google Shape;4476;p64">
              <a:extLst>
                <a:ext uri="{FF2B5EF4-FFF2-40B4-BE49-F238E27FC236}">
                  <a16:creationId xmlns:a16="http://schemas.microsoft.com/office/drawing/2014/main" id="{AF797EDE-D9FB-B459-58B4-7930BB1F79DA}"/>
                </a:ext>
              </a:extLst>
            </p:cNvPr>
            <p:cNvSpPr/>
            <p:nvPr/>
          </p:nvSpPr>
          <p:spPr>
            <a:xfrm>
              <a:off x="2256867" y="2263589"/>
              <a:ext cx="1589" cy="1494"/>
            </a:xfrm>
            <a:custGeom>
              <a:avLst/>
              <a:gdLst/>
              <a:ahLst/>
              <a:cxnLst/>
              <a:rect l="l" t="t" r="r" b="b"/>
              <a:pathLst>
                <a:path w="117" h="110" extrusionOk="0">
                  <a:moveTo>
                    <a:pt x="116" y="109"/>
                  </a:moveTo>
                  <a:cubicBezTo>
                    <a:pt x="74" y="74"/>
                    <a:pt x="36" y="39"/>
                    <a:pt x="0" y="1"/>
                  </a:cubicBezTo>
                  <a:cubicBezTo>
                    <a:pt x="36" y="39"/>
                    <a:pt x="74" y="74"/>
                    <a:pt x="116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0" name="Google Shape;4477;p64">
              <a:extLst>
                <a:ext uri="{FF2B5EF4-FFF2-40B4-BE49-F238E27FC236}">
                  <a16:creationId xmlns:a16="http://schemas.microsoft.com/office/drawing/2014/main" id="{59D04AEE-12E3-F941-E806-DD446DE561AF}"/>
                </a:ext>
              </a:extLst>
            </p:cNvPr>
            <p:cNvSpPr/>
            <p:nvPr/>
          </p:nvSpPr>
          <p:spPr>
            <a:xfrm>
              <a:off x="2136461" y="2088588"/>
              <a:ext cx="84819" cy="89883"/>
            </a:xfrm>
            <a:custGeom>
              <a:avLst/>
              <a:gdLst/>
              <a:ahLst/>
              <a:cxnLst/>
              <a:rect l="l" t="t" r="r" b="b"/>
              <a:pathLst>
                <a:path w="6247" h="6620" extrusionOk="0">
                  <a:moveTo>
                    <a:pt x="1218" y="0"/>
                  </a:moveTo>
                  <a:cubicBezTo>
                    <a:pt x="955" y="0"/>
                    <a:pt x="738" y="3"/>
                    <a:pt x="663" y="10"/>
                  </a:cubicBezTo>
                  <a:lnTo>
                    <a:pt x="638" y="10"/>
                  </a:lnTo>
                  <a:lnTo>
                    <a:pt x="628" y="14"/>
                  </a:lnTo>
                  <a:lnTo>
                    <a:pt x="624" y="14"/>
                  </a:lnTo>
                  <a:lnTo>
                    <a:pt x="607" y="21"/>
                  </a:lnTo>
                  <a:lnTo>
                    <a:pt x="603" y="21"/>
                  </a:lnTo>
                  <a:lnTo>
                    <a:pt x="582" y="31"/>
                  </a:lnTo>
                  <a:lnTo>
                    <a:pt x="579" y="35"/>
                  </a:lnTo>
                  <a:lnTo>
                    <a:pt x="550" y="49"/>
                  </a:lnTo>
                  <a:lnTo>
                    <a:pt x="543" y="52"/>
                  </a:lnTo>
                  <a:lnTo>
                    <a:pt x="512" y="70"/>
                  </a:lnTo>
                  <a:lnTo>
                    <a:pt x="505" y="73"/>
                  </a:lnTo>
                  <a:lnTo>
                    <a:pt x="463" y="101"/>
                  </a:lnTo>
                  <a:lnTo>
                    <a:pt x="459" y="105"/>
                  </a:lnTo>
                  <a:lnTo>
                    <a:pt x="414" y="133"/>
                  </a:lnTo>
                  <a:lnTo>
                    <a:pt x="407" y="136"/>
                  </a:lnTo>
                  <a:cubicBezTo>
                    <a:pt x="505" y="469"/>
                    <a:pt x="747" y="969"/>
                    <a:pt x="841" y="1165"/>
                  </a:cubicBezTo>
                  <a:lnTo>
                    <a:pt x="869" y="1225"/>
                  </a:lnTo>
                  <a:cubicBezTo>
                    <a:pt x="922" y="1330"/>
                    <a:pt x="887" y="1428"/>
                    <a:pt x="852" y="1529"/>
                  </a:cubicBezTo>
                  <a:cubicBezTo>
                    <a:pt x="813" y="1624"/>
                    <a:pt x="792" y="1725"/>
                    <a:pt x="789" y="1827"/>
                  </a:cubicBezTo>
                  <a:cubicBezTo>
                    <a:pt x="789" y="1960"/>
                    <a:pt x="869" y="2167"/>
                    <a:pt x="946" y="2363"/>
                  </a:cubicBezTo>
                  <a:cubicBezTo>
                    <a:pt x="1027" y="2573"/>
                    <a:pt x="1111" y="2790"/>
                    <a:pt x="1128" y="2968"/>
                  </a:cubicBezTo>
                  <a:cubicBezTo>
                    <a:pt x="1160" y="3311"/>
                    <a:pt x="967" y="3532"/>
                    <a:pt x="782" y="3745"/>
                  </a:cubicBezTo>
                  <a:lnTo>
                    <a:pt x="726" y="3812"/>
                  </a:lnTo>
                  <a:cubicBezTo>
                    <a:pt x="533" y="4032"/>
                    <a:pt x="344" y="4533"/>
                    <a:pt x="344" y="4817"/>
                  </a:cubicBezTo>
                  <a:cubicBezTo>
                    <a:pt x="344" y="5020"/>
                    <a:pt x="239" y="5212"/>
                    <a:pt x="155" y="5363"/>
                  </a:cubicBezTo>
                  <a:cubicBezTo>
                    <a:pt x="109" y="5450"/>
                    <a:pt x="57" y="5541"/>
                    <a:pt x="60" y="5580"/>
                  </a:cubicBezTo>
                  <a:cubicBezTo>
                    <a:pt x="67" y="5713"/>
                    <a:pt x="32" y="6056"/>
                    <a:pt x="1" y="6252"/>
                  </a:cubicBezTo>
                  <a:lnTo>
                    <a:pt x="46" y="6242"/>
                  </a:lnTo>
                  <a:cubicBezTo>
                    <a:pt x="95" y="6154"/>
                    <a:pt x="186" y="6098"/>
                    <a:pt x="284" y="6094"/>
                  </a:cubicBezTo>
                  <a:cubicBezTo>
                    <a:pt x="354" y="6094"/>
                    <a:pt x="414" y="6136"/>
                    <a:pt x="438" y="6199"/>
                  </a:cubicBezTo>
                  <a:cubicBezTo>
                    <a:pt x="442" y="6210"/>
                    <a:pt x="445" y="6217"/>
                    <a:pt x="452" y="6224"/>
                  </a:cubicBezTo>
                  <a:cubicBezTo>
                    <a:pt x="470" y="6221"/>
                    <a:pt x="487" y="6217"/>
                    <a:pt x="505" y="6210"/>
                  </a:cubicBezTo>
                  <a:cubicBezTo>
                    <a:pt x="604" y="6167"/>
                    <a:pt x="696" y="6146"/>
                    <a:pt x="784" y="6146"/>
                  </a:cubicBezTo>
                  <a:cubicBezTo>
                    <a:pt x="890" y="6146"/>
                    <a:pt x="990" y="6178"/>
                    <a:pt x="1086" y="6242"/>
                  </a:cubicBezTo>
                  <a:cubicBezTo>
                    <a:pt x="1244" y="6347"/>
                    <a:pt x="1373" y="6368"/>
                    <a:pt x="1541" y="6368"/>
                  </a:cubicBezTo>
                  <a:lnTo>
                    <a:pt x="3456" y="6368"/>
                  </a:lnTo>
                  <a:lnTo>
                    <a:pt x="3645" y="6557"/>
                  </a:lnTo>
                  <a:lnTo>
                    <a:pt x="4573" y="6557"/>
                  </a:lnTo>
                  <a:lnTo>
                    <a:pt x="4622" y="6560"/>
                  </a:lnTo>
                  <a:lnTo>
                    <a:pt x="4629" y="6560"/>
                  </a:lnTo>
                  <a:lnTo>
                    <a:pt x="4678" y="6564"/>
                  </a:lnTo>
                  <a:lnTo>
                    <a:pt x="4692" y="6564"/>
                  </a:lnTo>
                  <a:lnTo>
                    <a:pt x="4734" y="6567"/>
                  </a:lnTo>
                  <a:lnTo>
                    <a:pt x="4745" y="6567"/>
                  </a:lnTo>
                  <a:lnTo>
                    <a:pt x="4780" y="6574"/>
                  </a:lnTo>
                  <a:lnTo>
                    <a:pt x="4787" y="6574"/>
                  </a:lnTo>
                  <a:cubicBezTo>
                    <a:pt x="4797" y="6578"/>
                    <a:pt x="4811" y="6578"/>
                    <a:pt x="4818" y="6581"/>
                  </a:cubicBezTo>
                  <a:lnTo>
                    <a:pt x="4825" y="6581"/>
                  </a:lnTo>
                  <a:cubicBezTo>
                    <a:pt x="4836" y="6585"/>
                    <a:pt x="4843" y="6588"/>
                    <a:pt x="4853" y="6592"/>
                  </a:cubicBezTo>
                  <a:cubicBezTo>
                    <a:pt x="4892" y="6611"/>
                    <a:pt x="4963" y="6619"/>
                    <a:pt x="5046" y="6619"/>
                  </a:cubicBezTo>
                  <a:cubicBezTo>
                    <a:pt x="5246" y="6619"/>
                    <a:pt x="5522" y="6574"/>
                    <a:pt x="5648" y="6532"/>
                  </a:cubicBezTo>
                  <a:cubicBezTo>
                    <a:pt x="5662" y="6529"/>
                    <a:pt x="5683" y="6522"/>
                    <a:pt x="5707" y="6518"/>
                  </a:cubicBezTo>
                  <a:lnTo>
                    <a:pt x="5130" y="5709"/>
                  </a:lnTo>
                  <a:lnTo>
                    <a:pt x="5130" y="5688"/>
                  </a:lnTo>
                  <a:lnTo>
                    <a:pt x="5186" y="3801"/>
                  </a:lnTo>
                  <a:lnTo>
                    <a:pt x="6036" y="3829"/>
                  </a:lnTo>
                  <a:lnTo>
                    <a:pt x="6138" y="3728"/>
                  </a:lnTo>
                  <a:lnTo>
                    <a:pt x="6246" y="2716"/>
                  </a:lnTo>
                  <a:lnTo>
                    <a:pt x="6218" y="2716"/>
                  </a:lnTo>
                  <a:cubicBezTo>
                    <a:pt x="6211" y="2720"/>
                    <a:pt x="6201" y="2723"/>
                    <a:pt x="6194" y="2727"/>
                  </a:cubicBezTo>
                  <a:cubicBezTo>
                    <a:pt x="6088" y="2772"/>
                    <a:pt x="5992" y="2783"/>
                    <a:pt x="5897" y="2783"/>
                  </a:cubicBezTo>
                  <a:cubicBezTo>
                    <a:pt x="5859" y="2783"/>
                    <a:pt x="5822" y="2781"/>
                    <a:pt x="5784" y="2779"/>
                  </a:cubicBezTo>
                  <a:lnTo>
                    <a:pt x="5683" y="2779"/>
                  </a:lnTo>
                  <a:cubicBezTo>
                    <a:pt x="5630" y="2783"/>
                    <a:pt x="5581" y="2811"/>
                    <a:pt x="5546" y="2853"/>
                  </a:cubicBezTo>
                  <a:cubicBezTo>
                    <a:pt x="5517" y="2885"/>
                    <a:pt x="5475" y="2928"/>
                    <a:pt x="5412" y="2928"/>
                  </a:cubicBezTo>
                  <a:cubicBezTo>
                    <a:pt x="5400" y="2928"/>
                    <a:pt x="5388" y="2926"/>
                    <a:pt x="5375" y="2923"/>
                  </a:cubicBezTo>
                  <a:cubicBezTo>
                    <a:pt x="5228" y="2888"/>
                    <a:pt x="5280" y="2636"/>
                    <a:pt x="5319" y="2454"/>
                  </a:cubicBezTo>
                  <a:cubicBezTo>
                    <a:pt x="5322" y="2436"/>
                    <a:pt x="5326" y="2422"/>
                    <a:pt x="5329" y="2412"/>
                  </a:cubicBezTo>
                  <a:cubicBezTo>
                    <a:pt x="5343" y="2331"/>
                    <a:pt x="5207" y="2135"/>
                    <a:pt x="5084" y="2037"/>
                  </a:cubicBezTo>
                  <a:cubicBezTo>
                    <a:pt x="4990" y="1963"/>
                    <a:pt x="5025" y="1788"/>
                    <a:pt x="5095" y="1512"/>
                  </a:cubicBezTo>
                  <a:cubicBezTo>
                    <a:pt x="5119" y="1424"/>
                    <a:pt x="5151" y="1288"/>
                    <a:pt x="5147" y="1249"/>
                  </a:cubicBezTo>
                  <a:cubicBezTo>
                    <a:pt x="5060" y="1151"/>
                    <a:pt x="5039" y="938"/>
                    <a:pt x="5035" y="801"/>
                  </a:cubicBezTo>
                  <a:lnTo>
                    <a:pt x="5035" y="773"/>
                  </a:lnTo>
                  <a:cubicBezTo>
                    <a:pt x="5035" y="763"/>
                    <a:pt x="5035" y="752"/>
                    <a:pt x="5032" y="742"/>
                  </a:cubicBezTo>
                  <a:cubicBezTo>
                    <a:pt x="5004" y="742"/>
                    <a:pt x="4972" y="742"/>
                    <a:pt x="4941" y="749"/>
                  </a:cubicBezTo>
                  <a:cubicBezTo>
                    <a:pt x="4874" y="759"/>
                    <a:pt x="4808" y="766"/>
                    <a:pt x="4738" y="766"/>
                  </a:cubicBezTo>
                  <a:cubicBezTo>
                    <a:pt x="4534" y="766"/>
                    <a:pt x="4454" y="689"/>
                    <a:pt x="4426" y="637"/>
                  </a:cubicBezTo>
                  <a:cubicBezTo>
                    <a:pt x="4371" y="624"/>
                    <a:pt x="4287" y="611"/>
                    <a:pt x="4209" y="611"/>
                  </a:cubicBezTo>
                  <a:cubicBezTo>
                    <a:pt x="4154" y="611"/>
                    <a:pt x="4102" y="618"/>
                    <a:pt x="4065" y="637"/>
                  </a:cubicBezTo>
                  <a:cubicBezTo>
                    <a:pt x="4016" y="661"/>
                    <a:pt x="3985" y="798"/>
                    <a:pt x="3967" y="892"/>
                  </a:cubicBezTo>
                  <a:cubicBezTo>
                    <a:pt x="3943" y="1001"/>
                    <a:pt x="3929" y="1081"/>
                    <a:pt x="3873" y="1116"/>
                  </a:cubicBezTo>
                  <a:cubicBezTo>
                    <a:pt x="3858" y="1124"/>
                    <a:pt x="3841" y="1130"/>
                    <a:pt x="3822" y="1130"/>
                  </a:cubicBezTo>
                  <a:cubicBezTo>
                    <a:pt x="3815" y="1130"/>
                    <a:pt x="3807" y="1129"/>
                    <a:pt x="3799" y="1127"/>
                  </a:cubicBezTo>
                  <a:cubicBezTo>
                    <a:pt x="3787" y="1124"/>
                    <a:pt x="3770" y="1122"/>
                    <a:pt x="3748" y="1122"/>
                  </a:cubicBezTo>
                  <a:cubicBezTo>
                    <a:pt x="3640" y="1122"/>
                    <a:pt x="3422" y="1157"/>
                    <a:pt x="3204" y="1221"/>
                  </a:cubicBezTo>
                  <a:cubicBezTo>
                    <a:pt x="3151" y="1237"/>
                    <a:pt x="3104" y="1245"/>
                    <a:pt x="3061" y="1245"/>
                  </a:cubicBezTo>
                  <a:cubicBezTo>
                    <a:pt x="2850" y="1245"/>
                    <a:pt x="2755" y="1065"/>
                    <a:pt x="2665" y="847"/>
                  </a:cubicBezTo>
                  <a:cubicBezTo>
                    <a:pt x="2637" y="766"/>
                    <a:pt x="2584" y="696"/>
                    <a:pt x="2521" y="647"/>
                  </a:cubicBezTo>
                  <a:cubicBezTo>
                    <a:pt x="2451" y="588"/>
                    <a:pt x="2409" y="539"/>
                    <a:pt x="2441" y="392"/>
                  </a:cubicBezTo>
                  <a:cubicBezTo>
                    <a:pt x="2476" y="248"/>
                    <a:pt x="2402" y="80"/>
                    <a:pt x="2371" y="10"/>
                  </a:cubicBezTo>
                  <a:lnTo>
                    <a:pt x="2364" y="10"/>
                  </a:lnTo>
                  <a:cubicBezTo>
                    <a:pt x="2091" y="6"/>
                    <a:pt x="1606" y="0"/>
                    <a:pt x="12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1" name="Google Shape;4478;p64">
              <a:extLst>
                <a:ext uri="{FF2B5EF4-FFF2-40B4-BE49-F238E27FC236}">
                  <a16:creationId xmlns:a16="http://schemas.microsoft.com/office/drawing/2014/main" id="{BD5002C9-06BF-5DD4-E405-CE11BBFD498B}"/>
                </a:ext>
              </a:extLst>
            </p:cNvPr>
            <p:cNvSpPr/>
            <p:nvPr/>
          </p:nvSpPr>
          <p:spPr>
            <a:xfrm>
              <a:off x="2193595" y="217727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2" name="Google Shape;4479;p64">
              <a:extLst>
                <a:ext uri="{FF2B5EF4-FFF2-40B4-BE49-F238E27FC236}">
                  <a16:creationId xmlns:a16="http://schemas.microsoft.com/office/drawing/2014/main" id="{AE64259B-EB26-E573-8226-CFF169A75391}"/>
                </a:ext>
              </a:extLst>
            </p:cNvPr>
            <p:cNvSpPr/>
            <p:nvPr/>
          </p:nvSpPr>
          <p:spPr>
            <a:xfrm>
              <a:off x="2185897" y="217769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3" name="Google Shape;4480;p64">
              <a:extLst>
                <a:ext uri="{FF2B5EF4-FFF2-40B4-BE49-F238E27FC236}">
                  <a16:creationId xmlns:a16="http://schemas.microsoft.com/office/drawing/2014/main" id="{FA59407A-FC5C-A317-AE2D-4F800D86210B}"/>
                </a:ext>
              </a:extLst>
            </p:cNvPr>
            <p:cNvSpPr/>
            <p:nvPr/>
          </p:nvSpPr>
          <p:spPr>
            <a:xfrm>
              <a:off x="2200113" y="2177372"/>
              <a:ext cx="625" cy="109"/>
            </a:xfrm>
            <a:custGeom>
              <a:avLst/>
              <a:gdLst/>
              <a:ahLst/>
              <a:cxnLst/>
              <a:rect l="l" t="t" r="r" b="b"/>
              <a:pathLst>
                <a:path w="46" h="8" extrusionOk="0">
                  <a:moveTo>
                    <a:pt x="46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4" name="Google Shape;4481;p64">
              <a:extLst>
                <a:ext uri="{FF2B5EF4-FFF2-40B4-BE49-F238E27FC236}">
                  <a16:creationId xmlns:a16="http://schemas.microsoft.com/office/drawing/2014/main" id="{C09C3BAE-F93D-5AA7-63ED-245C904C28AB}"/>
                </a:ext>
              </a:extLst>
            </p:cNvPr>
            <p:cNvSpPr/>
            <p:nvPr/>
          </p:nvSpPr>
          <p:spPr>
            <a:xfrm>
              <a:off x="2192889" y="217731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5" name="Google Shape;4482;p64">
              <a:extLst>
                <a:ext uri="{FF2B5EF4-FFF2-40B4-BE49-F238E27FC236}">
                  <a16:creationId xmlns:a16="http://schemas.microsoft.com/office/drawing/2014/main" id="{B2ECDAF1-EEA5-2016-023F-A89CC503F512}"/>
                </a:ext>
              </a:extLst>
            </p:cNvPr>
            <p:cNvSpPr/>
            <p:nvPr/>
          </p:nvSpPr>
          <p:spPr>
            <a:xfrm>
              <a:off x="2197492" y="2177277"/>
              <a:ext cx="774" cy="14"/>
            </a:xfrm>
            <a:custGeom>
              <a:avLst/>
              <a:gdLst/>
              <a:ahLst/>
              <a:cxnLst/>
              <a:rect l="l" t="t" r="r" b="b"/>
              <a:pathLst>
                <a:path w="57" h="1" extrusionOk="0">
                  <a:moveTo>
                    <a:pt x="57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6" name="Google Shape;4483;p64">
              <a:extLst>
                <a:ext uri="{FF2B5EF4-FFF2-40B4-BE49-F238E27FC236}">
                  <a16:creationId xmlns:a16="http://schemas.microsoft.com/office/drawing/2014/main" id="{9CC86EAD-AADC-B5E5-67C4-7938FBD21E81}"/>
                </a:ext>
              </a:extLst>
            </p:cNvPr>
            <p:cNvSpPr/>
            <p:nvPr/>
          </p:nvSpPr>
          <p:spPr>
            <a:xfrm>
              <a:off x="2198497" y="2177277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4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7" name="Google Shape;4484;p64">
              <a:extLst>
                <a:ext uri="{FF2B5EF4-FFF2-40B4-BE49-F238E27FC236}">
                  <a16:creationId xmlns:a16="http://schemas.microsoft.com/office/drawing/2014/main" id="{9CF3F170-60F6-C866-B3B6-BEE2B91627FD}"/>
                </a:ext>
              </a:extLst>
            </p:cNvPr>
            <p:cNvSpPr/>
            <p:nvPr/>
          </p:nvSpPr>
          <p:spPr>
            <a:xfrm>
              <a:off x="219726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8" name="Google Shape;4485;p64">
              <a:extLst>
                <a:ext uri="{FF2B5EF4-FFF2-40B4-BE49-F238E27FC236}">
                  <a16:creationId xmlns:a16="http://schemas.microsoft.com/office/drawing/2014/main" id="{AAA2C307-287B-0E8C-491C-E7F22A981E73}"/>
                </a:ext>
              </a:extLst>
            </p:cNvPr>
            <p:cNvSpPr/>
            <p:nvPr/>
          </p:nvSpPr>
          <p:spPr>
            <a:xfrm>
              <a:off x="2195401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9" name="Google Shape;4486;p64">
              <a:extLst>
                <a:ext uri="{FF2B5EF4-FFF2-40B4-BE49-F238E27FC236}">
                  <a16:creationId xmlns:a16="http://schemas.microsoft.com/office/drawing/2014/main" id="{B04DCA95-8071-510B-B37D-ABA8C7AD3B38}"/>
                </a:ext>
              </a:extLst>
            </p:cNvPr>
            <p:cNvSpPr/>
            <p:nvPr/>
          </p:nvSpPr>
          <p:spPr>
            <a:xfrm>
              <a:off x="2136421" y="2173421"/>
              <a:ext cx="679" cy="149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0" y="11"/>
                  </a:moveTo>
                  <a:lnTo>
                    <a:pt x="4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0" name="Google Shape;4487;p64">
              <a:extLst>
                <a:ext uri="{FF2B5EF4-FFF2-40B4-BE49-F238E27FC236}">
                  <a16:creationId xmlns:a16="http://schemas.microsoft.com/office/drawing/2014/main" id="{FF6D129A-F6A3-C3D1-952E-CCF7B86559AE}"/>
                </a:ext>
              </a:extLst>
            </p:cNvPr>
            <p:cNvSpPr/>
            <p:nvPr/>
          </p:nvSpPr>
          <p:spPr>
            <a:xfrm>
              <a:off x="2199257" y="2177317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4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1" name="Google Shape;4488;p64">
              <a:extLst>
                <a:ext uri="{FF2B5EF4-FFF2-40B4-BE49-F238E27FC236}">
                  <a16:creationId xmlns:a16="http://schemas.microsoft.com/office/drawing/2014/main" id="{34EA8614-0ACA-00BC-C568-CC0476C2EC3F}"/>
                </a:ext>
              </a:extLst>
            </p:cNvPr>
            <p:cNvSpPr/>
            <p:nvPr/>
          </p:nvSpPr>
          <p:spPr>
            <a:xfrm>
              <a:off x="2187852" y="2177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2" name="Google Shape;4489;p64">
              <a:extLst>
                <a:ext uri="{FF2B5EF4-FFF2-40B4-BE49-F238E27FC236}">
                  <a16:creationId xmlns:a16="http://schemas.microsoft.com/office/drawing/2014/main" id="{00157F89-1DE2-0302-ECAE-F602D1220B37}"/>
                </a:ext>
              </a:extLst>
            </p:cNvPr>
            <p:cNvSpPr/>
            <p:nvPr/>
          </p:nvSpPr>
          <p:spPr>
            <a:xfrm>
              <a:off x="2187323" y="217760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3" name="Google Shape;4490;p64">
              <a:extLst>
                <a:ext uri="{FF2B5EF4-FFF2-40B4-BE49-F238E27FC236}">
                  <a16:creationId xmlns:a16="http://schemas.microsoft.com/office/drawing/2014/main" id="{257DAF1F-2475-D26C-8C20-4AA080E516C7}"/>
                </a:ext>
              </a:extLst>
            </p:cNvPr>
            <p:cNvSpPr/>
            <p:nvPr/>
          </p:nvSpPr>
          <p:spPr>
            <a:xfrm>
              <a:off x="2186847" y="217760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4" name="Google Shape;4491;p64">
              <a:extLst>
                <a:ext uri="{FF2B5EF4-FFF2-40B4-BE49-F238E27FC236}">
                  <a16:creationId xmlns:a16="http://schemas.microsoft.com/office/drawing/2014/main" id="{F45340B9-09AA-28CF-F76A-173C82B56565}"/>
                </a:ext>
              </a:extLst>
            </p:cNvPr>
            <p:cNvSpPr/>
            <p:nvPr/>
          </p:nvSpPr>
          <p:spPr>
            <a:xfrm>
              <a:off x="2200832" y="2177467"/>
              <a:ext cx="475" cy="109"/>
            </a:xfrm>
            <a:custGeom>
              <a:avLst/>
              <a:gdLst/>
              <a:ahLst/>
              <a:cxnLst/>
              <a:rect l="l" t="t" r="r" b="b"/>
              <a:pathLst>
                <a:path w="35" h="8" extrusionOk="0">
                  <a:moveTo>
                    <a:pt x="3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5" name="Google Shape;4492;p64">
              <a:extLst>
                <a:ext uri="{FF2B5EF4-FFF2-40B4-BE49-F238E27FC236}">
                  <a16:creationId xmlns:a16="http://schemas.microsoft.com/office/drawing/2014/main" id="{BFB4DAEA-6C2B-0AF4-44F6-10DB129799AE}"/>
                </a:ext>
              </a:extLst>
            </p:cNvPr>
            <p:cNvSpPr/>
            <p:nvPr/>
          </p:nvSpPr>
          <p:spPr>
            <a:xfrm>
              <a:off x="2186372" y="217765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6" name="Google Shape;4493;p64">
              <a:extLst>
                <a:ext uri="{FF2B5EF4-FFF2-40B4-BE49-F238E27FC236}">
                  <a16:creationId xmlns:a16="http://schemas.microsoft.com/office/drawing/2014/main" id="{4F02ACD5-7CB8-68E8-FE69-7AE56D484DE5}"/>
                </a:ext>
              </a:extLst>
            </p:cNvPr>
            <p:cNvSpPr/>
            <p:nvPr/>
          </p:nvSpPr>
          <p:spPr>
            <a:xfrm>
              <a:off x="2192075" y="2177317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6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7" name="Google Shape;4494;p64">
              <a:extLst>
                <a:ext uri="{FF2B5EF4-FFF2-40B4-BE49-F238E27FC236}">
                  <a16:creationId xmlns:a16="http://schemas.microsoft.com/office/drawing/2014/main" id="{2C146DBB-34C7-26AE-D9F4-319FCC6F1C7D}"/>
                </a:ext>
              </a:extLst>
            </p:cNvPr>
            <p:cNvSpPr/>
            <p:nvPr/>
          </p:nvSpPr>
          <p:spPr>
            <a:xfrm>
              <a:off x="2191219" y="217737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8" name="Google Shape;4495;p64">
              <a:extLst>
                <a:ext uri="{FF2B5EF4-FFF2-40B4-BE49-F238E27FC236}">
                  <a16:creationId xmlns:a16="http://schemas.microsoft.com/office/drawing/2014/main" id="{10CF8C05-EA48-B506-289B-8FB860D88533}"/>
                </a:ext>
              </a:extLst>
            </p:cNvPr>
            <p:cNvSpPr/>
            <p:nvPr/>
          </p:nvSpPr>
          <p:spPr>
            <a:xfrm>
              <a:off x="2190513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9" name="Google Shape;4496;p64">
              <a:extLst>
                <a:ext uri="{FF2B5EF4-FFF2-40B4-BE49-F238E27FC236}">
                  <a16:creationId xmlns:a16="http://schemas.microsoft.com/office/drawing/2014/main" id="{345F683C-4EB1-04B4-04CA-5627B994F920}"/>
                </a:ext>
              </a:extLst>
            </p:cNvPr>
            <p:cNvSpPr/>
            <p:nvPr/>
          </p:nvSpPr>
          <p:spPr>
            <a:xfrm>
              <a:off x="2189223" y="2177467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0" name="Google Shape;4497;p64">
              <a:extLst>
                <a:ext uri="{FF2B5EF4-FFF2-40B4-BE49-F238E27FC236}">
                  <a16:creationId xmlns:a16="http://schemas.microsoft.com/office/drawing/2014/main" id="{D1AFD1FE-59ED-C197-8CCC-3D930D0AAF22}"/>
                </a:ext>
              </a:extLst>
            </p:cNvPr>
            <p:cNvSpPr/>
            <p:nvPr/>
          </p:nvSpPr>
          <p:spPr>
            <a:xfrm>
              <a:off x="2188558" y="217750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1" name="Google Shape;4498;p64">
              <a:extLst>
                <a:ext uri="{FF2B5EF4-FFF2-40B4-BE49-F238E27FC236}">
                  <a16:creationId xmlns:a16="http://schemas.microsoft.com/office/drawing/2014/main" id="{5463BF87-DA48-6615-692A-785D75323D47}"/>
                </a:ext>
              </a:extLst>
            </p:cNvPr>
            <p:cNvSpPr/>
            <p:nvPr/>
          </p:nvSpPr>
          <p:spPr>
            <a:xfrm>
              <a:off x="2189889" y="217741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2" name="Google Shape;4499;p64">
              <a:extLst>
                <a:ext uri="{FF2B5EF4-FFF2-40B4-BE49-F238E27FC236}">
                  <a16:creationId xmlns:a16="http://schemas.microsoft.com/office/drawing/2014/main" id="{940E502E-93C0-0CD0-6FBE-C6F311A74CD8}"/>
                </a:ext>
              </a:extLst>
            </p:cNvPr>
            <p:cNvSpPr/>
            <p:nvPr/>
          </p:nvSpPr>
          <p:spPr>
            <a:xfrm>
              <a:off x="2194695" y="21772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3" name="Google Shape;4500;p64">
              <a:extLst>
                <a:ext uri="{FF2B5EF4-FFF2-40B4-BE49-F238E27FC236}">
                  <a16:creationId xmlns:a16="http://schemas.microsoft.com/office/drawing/2014/main" id="{B974733B-1BAF-E7D5-FC19-D1C787F2D401}"/>
                </a:ext>
              </a:extLst>
            </p:cNvPr>
            <p:cNvSpPr/>
            <p:nvPr/>
          </p:nvSpPr>
          <p:spPr>
            <a:xfrm>
              <a:off x="2195971" y="2177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4" name="Google Shape;4501;p64">
              <a:extLst>
                <a:ext uri="{FF2B5EF4-FFF2-40B4-BE49-F238E27FC236}">
                  <a16:creationId xmlns:a16="http://schemas.microsoft.com/office/drawing/2014/main" id="{D0C9D39C-EA0C-36F5-D63B-AE749503F1F1}"/>
                </a:ext>
              </a:extLst>
            </p:cNvPr>
            <p:cNvSpPr/>
            <p:nvPr/>
          </p:nvSpPr>
          <p:spPr>
            <a:xfrm>
              <a:off x="2201973" y="2177697"/>
              <a:ext cx="339" cy="163"/>
            </a:xfrm>
            <a:custGeom>
              <a:avLst/>
              <a:gdLst/>
              <a:ahLst/>
              <a:cxnLst/>
              <a:rect l="l" t="t" r="r" b="b"/>
              <a:pathLst>
                <a:path w="25" h="12" extrusionOk="0">
                  <a:moveTo>
                    <a:pt x="25" y="11"/>
                  </a:moveTo>
                  <a:cubicBezTo>
                    <a:pt x="18" y="8"/>
                    <a:pt x="7" y="4"/>
                    <a:pt x="0" y="1"/>
                  </a:cubicBezTo>
                  <a:cubicBezTo>
                    <a:pt x="7" y="4"/>
                    <a:pt x="18" y="8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5" name="Google Shape;4502;p64">
              <a:extLst>
                <a:ext uri="{FF2B5EF4-FFF2-40B4-BE49-F238E27FC236}">
                  <a16:creationId xmlns:a16="http://schemas.microsoft.com/office/drawing/2014/main" id="{E20B3A75-FAC7-6444-3DE5-806F17F01321}"/>
                </a:ext>
              </a:extLst>
            </p:cNvPr>
            <p:cNvSpPr/>
            <p:nvPr/>
          </p:nvSpPr>
          <p:spPr>
            <a:xfrm>
              <a:off x="2201402" y="217756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7"/>
                  </a:moveTo>
                  <a:cubicBezTo>
                    <a:pt x="25" y="7"/>
                    <a:pt x="14" y="4"/>
                    <a:pt x="0" y="0"/>
                  </a:cubicBezTo>
                  <a:cubicBezTo>
                    <a:pt x="14" y="4"/>
                    <a:pt x="25" y="7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6" name="Google Shape;4503;p64">
              <a:extLst>
                <a:ext uri="{FF2B5EF4-FFF2-40B4-BE49-F238E27FC236}">
                  <a16:creationId xmlns:a16="http://schemas.microsoft.com/office/drawing/2014/main" id="{72237114-71C6-1604-F298-A598B8BC8BEC}"/>
                </a:ext>
              </a:extLst>
            </p:cNvPr>
            <p:cNvSpPr/>
            <p:nvPr/>
          </p:nvSpPr>
          <p:spPr>
            <a:xfrm>
              <a:off x="2207865" y="2106307"/>
              <a:ext cx="83624" cy="72463"/>
            </a:xfrm>
            <a:custGeom>
              <a:avLst/>
              <a:gdLst/>
              <a:ahLst/>
              <a:cxnLst/>
              <a:rect l="l" t="t" r="r" b="b"/>
              <a:pathLst>
                <a:path w="6159" h="5337" extrusionOk="0">
                  <a:moveTo>
                    <a:pt x="4380" y="0"/>
                  </a:moveTo>
                  <a:cubicBezTo>
                    <a:pt x="4366" y="7"/>
                    <a:pt x="4352" y="14"/>
                    <a:pt x="4334" y="21"/>
                  </a:cubicBezTo>
                  <a:lnTo>
                    <a:pt x="4327" y="25"/>
                  </a:lnTo>
                  <a:cubicBezTo>
                    <a:pt x="4310" y="32"/>
                    <a:pt x="4296" y="39"/>
                    <a:pt x="4278" y="42"/>
                  </a:cubicBezTo>
                  <a:lnTo>
                    <a:pt x="4264" y="46"/>
                  </a:lnTo>
                  <a:cubicBezTo>
                    <a:pt x="4247" y="53"/>
                    <a:pt x="4229" y="56"/>
                    <a:pt x="4208" y="60"/>
                  </a:cubicBezTo>
                  <a:lnTo>
                    <a:pt x="4194" y="60"/>
                  </a:lnTo>
                  <a:cubicBezTo>
                    <a:pt x="4177" y="63"/>
                    <a:pt x="4156" y="67"/>
                    <a:pt x="4135" y="70"/>
                  </a:cubicBezTo>
                  <a:lnTo>
                    <a:pt x="4121" y="70"/>
                  </a:lnTo>
                  <a:lnTo>
                    <a:pt x="4065" y="74"/>
                  </a:lnTo>
                  <a:lnTo>
                    <a:pt x="4044" y="74"/>
                  </a:lnTo>
                  <a:lnTo>
                    <a:pt x="3981" y="77"/>
                  </a:lnTo>
                  <a:lnTo>
                    <a:pt x="3722" y="77"/>
                  </a:lnTo>
                  <a:cubicBezTo>
                    <a:pt x="3718" y="76"/>
                    <a:pt x="3715" y="76"/>
                    <a:pt x="3712" y="76"/>
                  </a:cubicBezTo>
                  <a:cubicBezTo>
                    <a:pt x="3705" y="76"/>
                    <a:pt x="3698" y="78"/>
                    <a:pt x="3694" y="81"/>
                  </a:cubicBezTo>
                  <a:cubicBezTo>
                    <a:pt x="3687" y="112"/>
                    <a:pt x="3683" y="147"/>
                    <a:pt x="3687" y="179"/>
                  </a:cubicBezTo>
                  <a:cubicBezTo>
                    <a:pt x="3694" y="259"/>
                    <a:pt x="3697" y="361"/>
                    <a:pt x="3616" y="427"/>
                  </a:cubicBezTo>
                  <a:cubicBezTo>
                    <a:pt x="3546" y="480"/>
                    <a:pt x="3515" y="550"/>
                    <a:pt x="3518" y="585"/>
                  </a:cubicBezTo>
                  <a:cubicBezTo>
                    <a:pt x="3518" y="595"/>
                    <a:pt x="3522" y="602"/>
                    <a:pt x="3532" y="606"/>
                  </a:cubicBezTo>
                  <a:cubicBezTo>
                    <a:pt x="3634" y="658"/>
                    <a:pt x="3613" y="830"/>
                    <a:pt x="3574" y="1037"/>
                  </a:cubicBezTo>
                  <a:lnTo>
                    <a:pt x="3567" y="1079"/>
                  </a:lnTo>
                  <a:cubicBezTo>
                    <a:pt x="3557" y="1142"/>
                    <a:pt x="3546" y="1208"/>
                    <a:pt x="3543" y="1271"/>
                  </a:cubicBezTo>
                  <a:cubicBezTo>
                    <a:pt x="3543" y="1348"/>
                    <a:pt x="3504" y="1450"/>
                    <a:pt x="3466" y="1548"/>
                  </a:cubicBezTo>
                  <a:cubicBezTo>
                    <a:pt x="3438" y="1611"/>
                    <a:pt x="3417" y="1670"/>
                    <a:pt x="3406" y="1737"/>
                  </a:cubicBezTo>
                  <a:cubicBezTo>
                    <a:pt x="3445" y="1782"/>
                    <a:pt x="3480" y="1831"/>
                    <a:pt x="3508" y="1887"/>
                  </a:cubicBezTo>
                  <a:cubicBezTo>
                    <a:pt x="3571" y="1989"/>
                    <a:pt x="3655" y="2132"/>
                    <a:pt x="3739" y="2153"/>
                  </a:cubicBezTo>
                  <a:cubicBezTo>
                    <a:pt x="3755" y="2158"/>
                    <a:pt x="3770" y="2160"/>
                    <a:pt x="3784" y="2160"/>
                  </a:cubicBezTo>
                  <a:cubicBezTo>
                    <a:pt x="3848" y="2160"/>
                    <a:pt x="3901" y="2121"/>
                    <a:pt x="3953" y="2087"/>
                  </a:cubicBezTo>
                  <a:cubicBezTo>
                    <a:pt x="3988" y="2055"/>
                    <a:pt x="4033" y="2038"/>
                    <a:pt x="4082" y="2031"/>
                  </a:cubicBezTo>
                  <a:cubicBezTo>
                    <a:pt x="4222" y="2031"/>
                    <a:pt x="4222" y="2248"/>
                    <a:pt x="4222" y="2486"/>
                  </a:cubicBezTo>
                  <a:cubicBezTo>
                    <a:pt x="4226" y="2598"/>
                    <a:pt x="4180" y="2706"/>
                    <a:pt x="4096" y="2780"/>
                  </a:cubicBezTo>
                  <a:lnTo>
                    <a:pt x="4089" y="2783"/>
                  </a:lnTo>
                  <a:lnTo>
                    <a:pt x="4082" y="2787"/>
                  </a:lnTo>
                  <a:lnTo>
                    <a:pt x="4072" y="2790"/>
                  </a:lnTo>
                  <a:lnTo>
                    <a:pt x="4065" y="2790"/>
                  </a:lnTo>
                  <a:lnTo>
                    <a:pt x="4054" y="2797"/>
                  </a:lnTo>
                  <a:lnTo>
                    <a:pt x="4044" y="2797"/>
                  </a:lnTo>
                  <a:lnTo>
                    <a:pt x="4030" y="2804"/>
                  </a:lnTo>
                  <a:lnTo>
                    <a:pt x="4019" y="2804"/>
                  </a:lnTo>
                  <a:lnTo>
                    <a:pt x="3995" y="2811"/>
                  </a:lnTo>
                  <a:lnTo>
                    <a:pt x="3984" y="2811"/>
                  </a:lnTo>
                  <a:lnTo>
                    <a:pt x="3960" y="2818"/>
                  </a:lnTo>
                  <a:lnTo>
                    <a:pt x="3946" y="2822"/>
                  </a:lnTo>
                  <a:lnTo>
                    <a:pt x="3921" y="2826"/>
                  </a:lnTo>
                  <a:lnTo>
                    <a:pt x="3907" y="2826"/>
                  </a:lnTo>
                  <a:lnTo>
                    <a:pt x="3883" y="2829"/>
                  </a:lnTo>
                  <a:lnTo>
                    <a:pt x="3788" y="2829"/>
                  </a:lnTo>
                  <a:lnTo>
                    <a:pt x="3764" y="2826"/>
                  </a:lnTo>
                  <a:lnTo>
                    <a:pt x="3753" y="2826"/>
                  </a:lnTo>
                  <a:cubicBezTo>
                    <a:pt x="3743" y="2826"/>
                    <a:pt x="3732" y="2822"/>
                    <a:pt x="3722" y="2818"/>
                  </a:cubicBezTo>
                  <a:cubicBezTo>
                    <a:pt x="3711" y="2815"/>
                    <a:pt x="3701" y="2811"/>
                    <a:pt x="3694" y="2808"/>
                  </a:cubicBezTo>
                  <a:lnTo>
                    <a:pt x="3683" y="2804"/>
                  </a:lnTo>
                  <a:lnTo>
                    <a:pt x="3662" y="2794"/>
                  </a:lnTo>
                  <a:lnTo>
                    <a:pt x="3655" y="2790"/>
                  </a:lnTo>
                  <a:cubicBezTo>
                    <a:pt x="3645" y="2787"/>
                    <a:pt x="3638" y="2780"/>
                    <a:pt x="3631" y="2773"/>
                  </a:cubicBezTo>
                  <a:cubicBezTo>
                    <a:pt x="3490" y="2661"/>
                    <a:pt x="3392" y="2388"/>
                    <a:pt x="3385" y="2269"/>
                  </a:cubicBezTo>
                  <a:cubicBezTo>
                    <a:pt x="3368" y="2255"/>
                    <a:pt x="3298" y="2230"/>
                    <a:pt x="3039" y="2230"/>
                  </a:cubicBezTo>
                  <a:cubicBezTo>
                    <a:pt x="2923" y="2230"/>
                    <a:pt x="2808" y="2111"/>
                    <a:pt x="2689" y="1880"/>
                  </a:cubicBezTo>
                  <a:cubicBezTo>
                    <a:pt x="2657" y="1891"/>
                    <a:pt x="2633" y="1915"/>
                    <a:pt x="2619" y="1947"/>
                  </a:cubicBezTo>
                  <a:cubicBezTo>
                    <a:pt x="2619" y="2087"/>
                    <a:pt x="2451" y="2087"/>
                    <a:pt x="2314" y="2087"/>
                  </a:cubicBezTo>
                  <a:cubicBezTo>
                    <a:pt x="2244" y="2087"/>
                    <a:pt x="2164" y="2045"/>
                    <a:pt x="2076" y="2003"/>
                  </a:cubicBezTo>
                  <a:cubicBezTo>
                    <a:pt x="2025" y="1977"/>
                    <a:pt x="1928" y="1931"/>
                    <a:pt x="1892" y="1931"/>
                  </a:cubicBezTo>
                  <a:cubicBezTo>
                    <a:pt x="1889" y="1931"/>
                    <a:pt x="1886" y="1932"/>
                    <a:pt x="1884" y="1933"/>
                  </a:cubicBezTo>
                  <a:cubicBezTo>
                    <a:pt x="1863" y="1942"/>
                    <a:pt x="1842" y="1947"/>
                    <a:pt x="1822" y="1947"/>
                  </a:cubicBezTo>
                  <a:cubicBezTo>
                    <a:pt x="1790" y="1947"/>
                    <a:pt x="1759" y="1935"/>
                    <a:pt x="1733" y="1912"/>
                  </a:cubicBezTo>
                  <a:cubicBezTo>
                    <a:pt x="1653" y="1838"/>
                    <a:pt x="1611" y="1733"/>
                    <a:pt x="1614" y="1625"/>
                  </a:cubicBezTo>
                  <a:lnTo>
                    <a:pt x="1614" y="1625"/>
                  </a:lnTo>
                  <a:cubicBezTo>
                    <a:pt x="1530" y="1632"/>
                    <a:pt x="1449" y="1656"/>
                    <a:pt x="1372" y="1691"/>
                  </a:cubicBezTo>
                  <a:cubicBezTo>
                    <a:pt x="1353" y="1701"/>
                    <a:pt x="1331" y="1706"/>
                    <a:pt x="1309" y="1706"/>
                  </a:cubicBezTo>
                  <a:cubicBezTo>
                    <a:pt x="1291" y="1706"/>
                    <a:pt x="1273" y="1703"/>
                    <a:pt x="1257" y="1695"/>
                  </a:cubicBezTo>
                  <a:cubicBezTo>
                    <a:pt x="1183" y="1663"/>
                    <a:pt x="1148" y="1572"/>
                    <a:pt x="1138" y="1537"/>
                  </a:cubicBezTo>
                  <a:lnTo>
                    <a:pt x="1131" y="1530"/>
                  </a:lnTo>
                  <a:lnTo>
                    <a:pt x="1131" y="1527"/>
                  </a:lnTo>
                  <a:lnTo>
                    <a:pt x="1127" y="1520"/>
                  </a:lnTo>
                  <a:lnTo>
                    <a:pt x="1124" y="1513"/>
                  </a:lnTo>
                  <a:lnTo>
                    <a:pt x="1117" y="1506"/>
                  </a:lnTo>
                  <a:lnTo>
                    <a:pt x="1113" y="1499"/>
                  </a:lnTo>
                  <a:lnTo>
                    <a:pt x="1110" y="1495"/>
                  </a:lnTo>
                  <a:lnTo>
                    <a:pt x="1005" y="2486"/>
                  </a:lnTo>
                  <a:lnTo>
                    <a:pt x="830" y="2661"/>
                  </a:lnTo>
                  <a:lnTo>
                    <a:pt x="53" y="2636"/>
                  </a:lnTo>
                  <a:lnTo>
                    <a:pt x="0" y="4366"/>
                  </a:lnTo>
                  <a:lnTo>
                    <a:pt x="588" y="5168"/>
                  </a:lnTo>
                  <a:cubicBezTo>
                    <a:pt x="634" y="5157"/>
                    <a:pt x="714" y="5140"/>
                    <a:pt x="809" y="5126"/>
                  </a:cubicBezTo>
                  <a:cubicBezTo>
                    <a:pt x="990" y="5099"/>
                    <a:pt x="1194" y="5075"/>
                    <a:pt x="1349" y="5075"/>
                  </a:cubicBezTo>
                  <a:cubicBezTo>
                    <a:pt x="1437" y="5075"/>
                    <a:pt x="1509" y="5082"/>
                    <a:pt x="1555" y="5101"/>
                  </a:cubicBezTo>
                  <a:lnTo>
                    <a:pt x="1569" y="5105"/>
                  </a:lnTo>
                  <a:lnTo>
                    <a:pt x="1576" y="5108"/>
                  </a:lnTo>
                  <a:lnTo>
                    <a:pt x="1583" y="5112"/>
                  </a:lnTo>
                  <a:lnTo>
                    <a:pt x="1586" y="5115"/>
                  </a:lnTo>
                  <a:cubicBezTo>
                    <a:pt x="1590" y="5115"/>
                    <a:pt x="1593" y="5119"/>
                    <a:pt x="1593" y="5122"/>
                  </a:cubicBezTo>
                  <a:lnTo>
                    <a:pt x="1600" y="5129"/>
                  </a:lnTo>
                  <a:cubicBezTo>
                    <a:pt x="1604" y="5133"/>
                    <a:pt x="1607" y="5136"/>
                    <a:pt x="1607" y="5140"/>
                  </a:cubicBezTo>
                  <a:cubicBezTo>
                    <a:pt x="1611" y="5143"/>
                    <a:pt x="1611" y="5143"/>
                    <a:pt x="1614" y="5147"/>
                  </a:cubicBezTo>
                  <a:cubicBezTo>
                    <a:pt x="1614" y="5150"/>
                    <a:pt x="1618" y="5154"/>
                    <a:pt x="1618" y="5157"/>
                  </a:cubicBezTo>
                  <a:cubicBezTo>
                    <a:pt x="1618" y="5161"/>
                    <a:pt x="1621" y="5164"/>
                    <a:pt x="1621" y="5168"/>
                  </a:cubicBezTo>
                  <a:cubicBezTo>
                    <a:pt x="1621" y="5175"/>
                    <a:pt x="1625" y="5182"/>
                    <a:pt x="1625" y="5189"/>
                  </a:cubicBezTo>
                  <a:lnTo>
                    <a:pt x="1625" y="5192"/>
                  </a:lnTo>
                  <a:lnTo>
                    <a:pt x="1625" y="5203"/>
                  </a:lnTo>
                  <a:cubicBezTo>
                    <a:pt x="1625" y="5206"/>
                    <a:pt x="1625" y="5213"/>
                    <a:pt x="1628" y="5217"/>
                  </a:cubicBezTo>
                  <a:lnTo>
                    <a:pt x="1628" y="5220"/>
                  </a:lnTo>
                  <a:lnTo>
                    <a:pt x="1632" y="5234"/>
                  </a:lnTo>
                  <a:lnTo>
                    <a:pt x="1632" y="5238"/>
                  </a:lnTo>
                  <a:lnTo>
                    <a:pt x="1691" y="5224"/>
                  </a:lnTo>
                  <a:lnTo>
                    <a:pt x="1705" y="5224"/>
                  </a:lnTo>
                  <a:lnTo>
                    <a:pt x="1747" y="5213"/>
                  </a:lnTo>
                  <a:lnTo>
                    <a:pt x="1754" y="5213"/>
                  </a:lnTo>
                  <a:cubicBezTo>
                    <a:pt x="1772" y="5210"/>
                    <a:pt x="1786" y="5210"/>
                    <a:pt x="1800" y="5206"/>
                  </a:cubicBezTo>
                  <a:lnTo>
                    <a:pt x="1880" y="5206"/>
                  </a:lnTo>
                  <a:cubicBezTo>
                    <a:pt x="1947" y="5220"/>
                    <a:pt x="2013" y="5234"/>
                    <a:pt x="2076" y="5255"/>
                  </a:cubicBezTo>
                  <a:cubicBezTo>
                    <a:pt x="2189" y="5284"/>
                    <a:pt x="2382" y="5337"/>
                    <a:pt x="2486" y="5337"/>
                  </a:cubicBezTo>
                  <a:cubicBezTo>
                    <a:pt x="2508" y="5337"/>
                    <a:pt x="2526" y="5334"/>
                    <a:pt x="2538" y="5329"/>
                  </a:cubicBezTo>
                  <a:cubicBezTo>
                    <a:pt x="2577" y="5308"/>
                    <a:pt x="2650" y="5203"/>
                    <a:pt x="2717" y="5108"/>
                  </a:cubicBezTo>
                  <a:cubicBezTo>
                    <a:pt x="2836" y="4940"/>
                    <a:pt x="2972" y="4751"/>
                    <a:pt x="3116" y="4709"/>
                  </a:cubicBezTo>
                  <a:cubicBezTo>
                    <a:pt x="3315" y="4646"/>
                    <a:pt x="3560" y="4439"/>
                    <a:pt x="3571" y="4383"/>
                  </a:cubicBezTo>
                  <a:cubicBezTo>
                    <a:pt x="3571" y="4250"/>
                    <a:pt x="3595" y="4131"/>
                    <a:pt x="3925" y="4044"/>
                  </a:cubicBezTo>
                  <a:lnTo>
                    <a:pt x="3939" y="4044"/>
                  </a:lnTo>
                  <a:lnTo>
                    <a:pt x="4310" y="4033"/>
                  </a:lnTo>
                  <a:lnTo>
                    <a:pt x="4359" y="4033"/>
                  </a:lnTo>
                  <a:lnTo>
                    <a:pt x="4250" y="3652"/>
                  </a:lnTo>
                  <a:lnTo>
                    <a:pt x="4310" y="3631"/>
                  </a:lnTo>
                  <a:lnTo>
                    <a:pt x="4373" y="3606"/>
                  </a:lnTo>
                  <a:cubicBezTo>
                    <a:pt x="5052" y="3354"/>
                    <a:pt x="5416" y="3221"/>
                    <a:pt x="5612" y="3151"/>
                  </a:cubicBezTo>
                  <a:cubicBezTo>
                    <a:pt x="5668" y="3134"/>
                    <a:pt x="5714" y="3116"/>
                    <a:pt x="5752" y="3106"/>
                  </a:cubicBezTo>
                  <a:lnTo>
                    <a:pt x="5738" y="3081"/>
                  </a:lnTo>
                  <a:cubicBezTo>
                    <a:pt x="5692" y="2990"/>
                    <a:pt x="5664" y="2938"/>
                    <a:pt x="5678" y="2892"/>
                  </a:cubicBezTo>
                  <a:cubicBezTo>
                    <a:pt x="5685" y="2875"/>
                    <a:pt x="5696" y="2861"/>
                    <a:pt x="5710" y="2850"/>
                  </a:cubicBezTo>
                  <a:cubicBezTo>
                    <a:pt x="5738" y="2794"/>
                    <a:pt x="5770" y="2507"/>
                    <a:pt x="5770" y="2370"/>
                  </a:cubicBezTo>
                  <a:cubicBezTo>
                    <a:pt x="5770" y="2255"/>
                    <a:pt x="5899" y="2244"/>
                    <a:pt x="5976" y="2234"/>
                  </a:cubicBezTo>
                  <a:lnTo>
                    <a:pt x="5983" y="2234"/>
                  </a:lnTo>
                  <a:cubicBezTo>
                    <a:pt x="5871" y="2031"/>
                    <a:pt x="5920" y="1436"/>
                    <a:pt x="5969" y="1310"/>
                  </a:cubicBezTo>
                  <a:cubicBezTo>
                    <a:pt x="5987" y="1254"/>
                    <a:pt x="6039" y="1212"/>
                    <a:pt x="6099" y="1205"/>
                  </a:cubicBezTo>
                  <a:cubicBezTo>
                    <a:pt x="6107" y="1203"/>
                    <a:pt x="6116" y="1202"/>
                    <a:pt x="6125" y="1202"/>
                  </a:cubicBezTo>
                  <a:cubicBezTo>
                    <a:pt x="6134" y="1202"/>
                    <a:pt x="6142" y="1203"/>
                    <a:pt x="6151" y="1205"/>
                  </a:cubicBezTo>
                  <a:lnTo>
                    <a:pt x="6158" y="1205"/>
                  </a:lnTo>
                  <a:cubicBezTo>
                    <a:pt x="6141" y="1131"/>
                    <a:pt x="6116" y="1058"/>
                    <a:pt x="6085" y="988"/>
                  </a:cubicBezTo>
                  <a:lnTo>
                    <a:pt x="6081" y="981"/>
                  </a:lnTo>
                  <a:lnTo>
                    <a:pt x="6074" y="967"/>
                  </a:lnTo>
                  <a:lnTo>
                    <a:pt x="6064" y="935"/>
                  </a:lnTo>
                  <a:cubicBezTo>
                    <a:pt x="6046" y="897"/>
                    <a:pt x="6029" y="862"/>
                    <a:pt x="6011" y="827"/>
                  </a:cubicBezTo>
                  <a:lnTo>
                    <a:pt x="6008" y="816"/>
                  </a:lnTo>
                  <a:lnTo>
                    <a:pt x="6001" y="809"/>
                  </a:lnTo>
                  <a:cubicBezTo>
                    <a:pt x="5987" y="778"/>
                    <a:pt x="5969" y="750"/>
                    <a:pt x="5955" y="725"/>
                  </a:cubicBezTo>
                  <a:cubicBezTo>
                    <a:pt x="5945" y="707"/>
                    <a:pt x="5934" y="693"/>
                    <a:pt x="5927" y="679"/>
                  </a:cubicBezTo>
                  <a:lnTo>
                    <a:pt x="5924" y="676"/>
                  </a:lnTo>
                  <a:cubicBezTo>
                    <a:pt x="5878" y="620"/>
                    <a:pt x="5479" y="452"/>
                    <a:pt x="5304" y="403"/>
                  </a:cubicBezTo>
                  <a:cubicBezTo>
                    <a:pt x="5290" y="399"/>
                    <a:pt x="5276" y="396"/>
                    <a:pt x="5265" y="392"/>
                  </a:cubicBezTo>
                  <a:cubicBezTo>
                    <a:pt x="5181" y="371"/>
                    <a:pt x="5104" y="336"/>
                    <a:pt x="5031" y="294"/>
                  </a:cubicBezTo>
                  <a:cubicBezTo>
                    <a:pt x="4940" y="252"/>
                    <a:pt x="4835" y="196"/>
                    <a:pt x="4772" y="196"/>
                  </a:cubicBezTo>
                  <a:lnTo>
                    <a:pt x="4709" y="196"/>
                  </a:lnTo>
                  <a:lnTo>
                    <a:pt x="4702" y="193"/>
                  </a:lnTo>
                  <a:lnTo>
                    <a:pt x="4691" y="189"/>
                  </a:lnTo>
                  <a:lnTo>
                    <a:pt x="4681" y="186"/>
                  </a:lnTo>
                  <a:lnTo>
                    <a:pt x="4670" y="179"/>
                  </a:lnTo>
                  <a:lnTo>
                    <a:pt x="4660" y="175"/>
                  </a:lnTo>
                  <a:lnTo>
                    <a:pt x="4649" y="168"/>
                  </a:lnTo>
                  <a:lnTo>
                    <a:pt x="4635" y="165"/>
                  </a:lnTo>
                  <a:lnTo>
                    <a:pt x="4621" y="158"/>
                  </a:lnTo>
                  <a:lnTo>
                    <a:pt x="4611" y="151"/>
                  </a:lnTo>
                  <a:lnTo>
                    <a:pt x="4593" y="140"/>
                  </a:lnTo>
                  <a:lnTo>
                    <a:pt x="4579" y="133"/>
                  </a:lnTo>
                  <a:lnTo>
                    <a:pt x="4565" y="123"/>
                  </a:lnTo>
                  <a:lnTo>
                    <a:pt x="4548" y="112"/>
                  </a:lnTo>
                  <a:lnTo>
                    <a:pt x="4530" y="102"/>
                  </a:lnTo>
                  <a:lnTo>
                    <a:pt x="4513" y="91"/>
                  </a:lnTo>
                  <a:lnTo>
                    <a:pt x="4492" y="77"/>
                  </a:lnTo>
                  <a:lnTo>
                    <a:pt x="4474" y="67"/>
                  </a:lnTo>
                  <a:lnTo>
                    <a:pt x="4453" y="49"/>
                  </a:lnTo>
                  <a:lnTo>
                    <a:pt x="4432" y="35"/>
                  </a:lnTo>
                  <a:lnTo>
                    <a:pt x="4408" y="18"/>
                  </a:lnTo>
                  <a:lnTo>
                    <a:pt x="4383" y="4"/>
                  </a:lnTo>
                  <a:lnTo>
                    <a:pt x="438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7" name="Google Shape;4504;p64">
              <a:extLst>
                <a:ext uri="{FF2B5EF4-FFF2-40B4-BE49-F238E27FC236}">
                  <a16:creationId xmlns:a16="http://schemas.microsoft.com/office/drawing/2014/main" id="{CFD3C8A0-7069-C2FE-CB0A-28D961A4493E}"/>
                </a:ext>
              </a:extLst>
            </p:cNvPr>
            <p:cNvSpPr/>
            <p:nvPr/>
          </p:nvSpPr>
          <p:spPr>
            <a:xfrm>
              <a:off x="2229915" y="21769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8" name="Google Shape;4505;p64">
              <a:extLst>
                <a:ext uri="{FF2B5EF4-FFF2-40B4-BE49-F238E27FC236}">
                  <a16:creationId xmlns:a16="http://schemas.microsoft.com/office/drawing/2014/main" id="{8C5630BB-F033-CBC6-17FB-FFA36263E29D}"/>
                </a:ext>
              </a:extLst>
            </p:cNvPr>
            <p:cNvSpPr/>
            <p:nvPr/>
          </p:nvSpPr>
          <p:spPr>
            <a:xfrm>
              <a:off x="2229250" y="21756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9" name="Google Shape;4506;p64">
              <a:extLst>
                <a:ext uri="{FF2B5EF4-FFF2-40B4-BE49-F238E27FC236}">
                  <a16:creationId xmlns:a16="http://schemas.microsoft.com/office/drawing/2014/main" id="{34376C5E-7C1B-AB5D-C133-27305C8CBF71}"/>
                </a:ext>
              </a:extLst>
            </p:cNvPr>
            <p:cNvSpPr/>
            <p:nvPr/>
          </p:nvSpPr>
          <p:spPr>
            <a:xfrm>
              <a:off x="2230065" y="217741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0" name="Google Shape;4507;p64">
              <a:extLst>
                <a:ext uri="{FF2B5EF4-FFF2-40B4-BE49-F238E27FC236}">
                  <a16:creationId xmlns:a16="http://schemas.microsoft.com/office/drawing/2014/main" id="{81F07F73-A427-92C5-D0A6-8BE9C4680EC6}"/>
                </a:ext>
              </a:extLst>
            </p:cNvPr>
            <p:cNvSpPr/>
            <p:nvPr/>
          </p:nvSpPr>
          <p:spPr>
            <a:xfrm>
              <a:off x="2229494" y="2175892"/>
              <a:ext cx="95" cy="109"/>
            </a:xfrm>
            <a:custGeom>
              <a:avLst/>
              <a:gdLst/>
              <a:ahLst/>
              <a:cxnLst/>
              <a:rect l="l" t="t" r="r" b="b"/>
              <a:pathLst>
                <a:path w="7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1" name="Google Shape;4508;p64">
              <a:extLst>
                <a:ext uri="{FF2B5EF4-FFF2-40B4-BE49-F238E27FC236}">
                  <a16:creationId xmlns:a16="http://schemas.microsoft.com/office/drawing/2014/main" id="{D0135470-37FF-1F4B-5820-7C64A880F635}"/>
                </a:ext>
              </a:extLst>
            </p:cNvPr>
            <p:cNvSpPr/>
            <p:nvPr/>
          </p:nvSpPr>
          <p:spPr>
            <a:xfrm>
              <a:off x="2228965" y="21755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2" name="Google Shape;4509;p64">
              <a:extLst>
                <a:ext uri="{FF2B5EF4-FFF2-40B4-BE49-F238E27FC236}">
                  <a16:creationId xmlns:a16="http://schemas.microsoft.com/office/drawing/2014/main" id="{766F333B-F98C-DFF8-341C-27D3100F6885}"/>
                </a:ext>
              </a:extLst>
            </p:cNvPr>
            <p:cNvSpPr/>
            <p:nvPr/>
          </p:nvSpPr>
          <p:spPr>
            <a:xfrm>
              <a:off x="2230010" y="217718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3" name="Google Shape;4510;p64">
              <a:extLst>
                <a:ext uri="{FF2B5EF4-FFF2-40B4-BE49-F238E27FC236}">
                  <a16:creationId xmlns:a16="http://schemas.microsoft.com/office/drawing/2014/main" id="{3E5C4E63-228F-152C-05F5-CF646593DF42}"/>
                </a:ext>
              </a:extLst>
            </p:cNvPr>
            <p:cNvSpPr/>
            <p:nvPr/>
          </p:nvSpPr>
          <p:spPr>
            <a:xfrm>
              <a:off x="2229915" y="21768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4" name="Google Shape;4511;p64">
              <a:extLst>
                <a:ext uri="{FF2B5EF4-FFF2-40B4-BE49-F238E27FC236}">
                  <a16:creationId xmlns:a16="http://schemas.microsoft.com/office/drawing/2014/main" id="{7CBDDFB7-806F-93D8-F2C7-E9BF6A45342A}"/>
                </a:ext>
              </a:extLst>
            </p:cNvPr>
            <p:cNvSpPr/>
            <p:nvPr/>
          </p:nvSpPr>
          <p:spPr>
            <a:xfrm>
              <a:off x="2229793" y="2176353"/>
              <a:ext cx="95" cy="177"/>
            </a:xfrm>
            <a:custGeom>
              <a:avLst/>
              <a:gdLst/>
              <a:ahLst/>
              <a:cxnLst/>
              <a:rect l="l" t="t" r="r" b="b"/>
              <a:pathLst>
                <a:path w="7" h="13" extrusionOk="0">
                  <a:moveTo>
                    <a:pt x="2" y="1"/>
                  </a:moveTo>
                  <a:cubicBezTo>
                    <a:pt x="1" y="1"/>
                    <a:pt x="6" y="9"/>
                    <a:pt x="6" y="12"/>
                  </a:cubicBezTo>
                  <a:cubicBezTo>
                    <a:pt x="6" y="9"/>
                    <a:pt x="6" y="5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5" name="Google Shape;4512;p64">
              <a:extLst>
                <a:ext uri="{FF2B5EF4-FFF2-40B4-BE49-F238E27FC236}">
                  <a16:creationId xmlns:a16="http://schemas.microsoft.com/office/drawing/2014/main" id="{5A54E5F5-73F0-CCA8-D017-A65B625A0233}"/>
                </a:ext>
              </a:extLst>
            </p:cNvPr>
            <p:cNvSpPr/>
            <p:nvPr/>
          </p:nvSpPr>
          <p:spPr>
            <a:xfrm>
              <a:off x="2229684" y="217608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6" name="Google Shape;4513;p64">
              <a:extLst>
                <a:ext uri="{FF2B5EF4-FFF2-40B4-BE49-F238E27FC236}">
                  <a16:creationId xmlns:a16="http://schemas.microsoft.com/office/drawing/2014/main" id="{0DCF2B62-C9E7-8375-DF2D-F41E256E558B}"/>
                </a:ext>
              </a:extLst>
            </p:cNvPr>
            <p:cNvSpPr/>
            <p:nvPr/>
          </p:nvSpPr>
          <p:spPr>
            <a:xfrm>
              <a:off x="2218836" y="2175172"/>
              <a:ext cx="10142" cy="733"/>
            </a:xfrm>
            <a:custGeom>
              <a:avLst/>
              <a:gdLst/>
              <a:ahLst/>
              <a:cxnLst/>
              <a:rect l="l" t="t" r="r" b="b"/>
              <a:pathLst>
                <a:path w="747" h="54" extrusionOk="0">
                  <a:moveTo>
                    <a:pt x="536" y="0"/>
                  </a:moveTo>
                  <a:cubicBezTo>
                    <a:pt x="381" y="0"/>
                    <a:pt x="180" y="25"/>
                    <a:pt x="1" y="54"/>
                  </a:cubicBezTo>
                  <a:cubicBezTo>
                    <a:pt x="165" y="28"/>
                    <a:pt x="375" y="2"/>
                    <a:pt x="539" y="2"/>
                  </a:cubicBezTo>
                  <a:cubicBezTo>
                    <a:pt x="626" y="2"/>
                    <a:pt x="700" y="10"/>
                    <a:pt x="747" y="29"/>
                  </a:cubicBezTo>
                  <a:cubicBezTo>
                    <a:pt x="700" y="8"/>
                    <a:pt x="626" y="0"/>
                    <a:pt x="5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7" name="Google Shape;4514;p64">
              <a:extLst>
                <a:ext uri="{FF2B5EF4-FFF2-40B4-BE49-F238E27FC236}">
                  <a16:creationId xmlns:a16="http://schemas.microsoft.com/office/drawing/2014/main" id="{EB609FBC-EACF-3B34-3F50-4F42EA998953}"/>
                </a:ext>
              </a:extLst>
            </p:cNvPr>
            <p:cNvSpPr/>
            <p:nvPr/>
          </p:nvSpPr>
          <p:spPr>
            <a:xfrm>
              <a:off x="2261483" y="2161065"/>
              <a:ext cx="5051" cy="149"/>
            </a:xfrm>
            <a:custGeom>
              <a:avLst/>
              <a:gdLst/>
              <a:ahLst/>
              <a:cxnLst/>
              <a:rect l="l" t="t" r="r" b="b"/>
              <a:pathLst>
                <a:path w="372" h="11" extrusionOk="0">
                  <a:moveTo>
                    <a:pt x="0" y="11"/>
                  </a:moveTo>
                  <a:lnTo>
                    <a:pt x="371" y="0"/>
                  </a:lnTo>
                  <a:lnTo>
                    <a:pt x="3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8" name="Google Shape;4515;p64">
              <a:extLst>
                <a:ext uri="{FF2B5EF4-FFF2-40B4-BE49-F238E27FC236}">
                  <a16:creationId xmlns:a16="http://schemas.microsoft.com/office/drawing/2014/main" id="{AEAA8828-829C-0203-82AF-3324C302D044}"/>
                </a:ext>
              </a:extLst>
            </p:cNvPr>
            <p:cNvSpPr/>
            <p:nvPr/>
          </p:nvSpPr>
          <p:spPr>
            <a:xfrm>
              <a:off x="2231816" y="217703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1" y="8"/>
                  </a:moveTo>
                  <a:cubicBezTo>
                    <a:pt x="15" y="4"/>
                    <a:pt x="32" y="4"/>
                    <a:pt x="43" y="1"/>
                  </a:cubicBezTo>
                  <a:cubicBezTo>
                    <a:pt x="32" y="4"/>
                    <a:pt x="15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9" name="Google Shape;4516;p64">
              <a:extLst>
                <a:ext uri="{FF2B5EF4-FFF2-40B4-BE49-F238E27FC236}">
                  <a16:creationId xmlns:a16="http://schemas.microsoft.com/office/drawing/2014/main" id="{9C72EF18-1867-5B82-FF0F-59C023765146}"/>
                </a:ext>
              </a:extLst>
            </p:cNvPr>
            <p:cNvSpPr/>
            <p:nvPr/>
          </p:nvSpPr>
          <p:spPr>
            <a:xfrm>
              <a:off x="2231056" y="2177127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8"/>
                  </a:moveTo>
                  <a:lnTo>
                    <a:pt x="4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0" name="Google Shape;4517;p64">
              <a:extLst>
                <a:ext uri="{FF2B5EF4-FFF2-40B4-BE49-F238E27FC236}">
                  <a16:creationId xmlns:a16="http://schemas.microsoft.com/office/drawing/2014/main" id="{D6B6FC87-6F49-2AFF-20D4-5A8CD4783F09}"/>
                </a:ext>
              </a:extLst>
            </p:cNvPr>
            <p:cNvSpPr/>
            <p:nvPr/>
          </p:nvSpPr>
          <p:spPr>
            <a:xfrm>
              <a:off x="2230105" y="2177277"/>
              <a:ext cx="774" cy="204"/>
            </a:xfrm>
            <a:custGeom>
              <a:avLst/>
              <a:gdLst/>
              <a:ahLst/>
              <a:cxnLst/>
              <a:rect l="l" t="t" r="r" b="b"/>
              <a:pathLst>
                <a:path w="57" h="15" extrusionOk="0">
                  <a:moveTo>
                    <a:pt x="57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1" name="Google Shape;4518;p64">
              <a:extLst>
                <a:ext uri="{FF2B5EF4-FFF2-40B4-BE49-F238E27FC236}">
                  <a16:creationId xmlns:a16="http://schemas.microsoft.com/office/drawing/2014/main" id="{C335FFDC-4E40-425D-1589-20A8C1983DC3}"/>
                </a:ext>
              </a:extLst>
            </p:cNvPr>
            <p:cNvSpPr/>
            <p:nvPr/>
          </p:nvSpPr>
          <p:spPr>
            <a:xfrm>
              <a:off x="2232536" y="2177032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1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2" name="Google Shape;4519;p64">
              <a:extLst>
                <a:ext uri="{FF2B5EF4-FFF2-40B4-BE49-F238E27FC236}">
                  <a16:creationId xmlns:a16="http://schemas.microsoft.com/office/drawing/2014/main" id="{65BD38DD-80B5-04D4-96DF-DDB830C45BE7}"/>
                </a:ext>
              </a:extLst>
            </p:cNvPr>
            <p:cNvSpPr/>
            <p:nvPr/>
          </p:nvSpPr>
          <p:spPr>
            <a:xfrm>
              <a:off x="2233106" y="2176991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0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3" name="Google Shape;4520;p64">
              <a:extLst>
                <a:ext uri="{FF2B5EF4-FFF2-40B4-BE49-F238E27FC236}">
                  <a16:creationId xmlns:a16="http://schemas.microsoft.com/office/drawing/2014/main" id="{0BE58DA0-9511-7635-1D1F-E655DBF13F4F}"/>
                </a:ext>
              </a:extLst>
            </p:cNvPr>
            <p:cNvSpPr/>
            <p:nvPr/>
          </p:nvSpPr>
          <p:spPr>
            <a:xfrm>
              <a:off x="2258672" y="2052499"/>
              <a:ext cx="12464" cy="10170"/>
            </a:xfrm>
            <a:custGeom>
              <a:avLst/>
              <a:gdLst/>
              <a:ahLst/>
              <a:cxnLst/>
              <a:rect l="l" t="t" r="r" b="b"/>
              <a:pathLst>
                <a:path w="918" h="749" extrusionOk="0">
                  <a:moveTo>
                    <a:pt x="757" y="0"/>
                  </a:moveTo>
                  <a:lnTo>
                    <a:pt x="760" y="14"/>
                  </a:lnTo>
                  <a:lnTo>
                    <a:pt x="718" y="28"/>
                  </a:lnTo>
                  <a:lnTo>
                    <a:pt x="715" y="28"/>
                  </a:lnTo>
                  <a:cubicBezTo>
                    <a:pt x="634" y="53"/>
                    <a:pt x="589" y="70"/>
                    <a:pt x="561" y="81"/>
                  </a:cubicBezTo>
                  <a:lnTo>
                    <a:pt x="550" y="81"/>
                  </a:lnTo>
                  <a:lnTo>
                    <a:pt x="533" y="88"/>
                  </a:lnTo>
                  <a:lnTo>
                    <a:pt x="526" y="95"/>
                  </a:lnTo>
                  <a:lnTo>
                    <a:pt x="501" y="105"/>
                  </a:lnTo>
                  <a:lnTo>
                    <a:pt x="491" y="109"/>
                  </a:lnTo>
                  <a:lnTo>
                    <a:pt x="473" y="119"/>
                  </a:lnTo>
                  <a:lnTo>
                    <a:pt x="466" y="123"/>
                  </a:lnTo>
                  <a:lnTo>
                    <a:pt x="449" y="130"/>
                  </a:lnTo>
                  <a:lnTo>
                    <a:pt x="438" y="130"/>
                  </a:lnTo>
                  <a:lnTo>
                    <a:pt x="421" y="137"/>
                  </a:lnTo>
                  <a:lnTo>
                    <a:pt x="410" y="140"/>
                  </a:lnTo>
                  <a:lnTo>
                    <a:pt x="386" y="144"/>
                  </a:lnTo>
                  <a:lnTo>
                    <a:pt x="382" y="144"/>
                  </a:lnTo>
                  <a:cubicBezTo>
                    <a:pt x="372" y="144"/>
                    <a:pt x="361" y="147"/>
                    <a:pt x="347" y="147"/>
                  </a:cubicBezTo>
                  <a:lnTo>
                    <a:pt x="256" y="147"/>
                  </a:lnTo>
                  <a:cubicBezTo>
                    <a:pt x="249" y="151"/>
                    <a:pt x="242" y="158"/>
                    <a:pt x="235" y="165"/>
                  </a:cubicBezTo>
                  <a:lnTo>
                    <a:pt x="232" y="168"/>
                  </a:lnTo>
                  <a:lnTo>
                    <a:pt x="214" y="179"/>
                  </a:lnTo>
                  <a:lnTo>
                    <a:pt x="207" y="182"/>
                  </a:lnTo>
                  <a:cubicBezTo>
                    <a:pt x="200" y="186"/>
                    <a:pt x="193" y="189"/>
                    <a:pt x="186" y="193"/>
                  </a:cubicBezTo>
                  <a:cubicBezTo>
                    <a:pt x="130" y="210"/>
                    <a:pt x="113" y="371"/>
                    <a:pt x="120" y="476"/>
                  </a:cubicBezTo>
                  <a:lnTo>
                    <a:pt x="127" y="539"/>
                  </a:lnTo>
                  <a:lnTo>
                    <a:pt x="60" y="546"/>
                  </a:lnTo>
                  <a:cubicBezTo>
                    <a:pt x="43" y="550"/>
                    <a:pt x="1" y="564"/>
                    <a:pt x="1" y="638"/>
                  </a:cubicBezTo>
                  <a:lnTo>
                    <a:pt x="1" y="648"/>
                  </a:lnTo>
                  <a:lnTo>
                    <a:pt x="1" y="652"/>
                  </a:lnTo>
                  <a:lnTo>
                    <a:pt x="1" y="659"/>
                  </a:lnTo>
                  <a:lnTo>
                    <a:pt x="1" y="662"/>
                  </a:lnTo>
                  <a:lnTo>
                    <a:pt x="1" y="669"/>
                  </a:lnTo>
                  <a:lnTo>
                    <a:pt x="1" y="676"/>
                  </a:lnTo>
                  <a:cubicBezTo>
                    <a:pt x="1" y="676"/>
                    <a:pt x="1" y="680"/>
                    <a:pt x="1" y="683"/>
                  </a:cubicBezTo>
                  <a:lnTo>
                    <a:pt x="4" y="687"/>
                  </a:lnTo>
                  <a:cubicBezTo>
                    <a:pt x="4" y="690"/>
                    <a:pt x="8" y="694"/>
                    <a:pt x="8" y="697"/>
                  </a:cubicBezTo>
                  <a:lnTo>
                    <a:pt x="15" y="701"/>
                  </a:lnTo>
                  <a:lnTo>
                    <a:pt x="22" y="711"/>
                  </a:lnTo>
                  <a:lnTo>
                    <a:pt x="29" y="715"/>
                  </a:lnTo>
                  <a:lnTo>
                    <a:pt x="36" y="722"/>
                  </a:lnTo>
                  <a:lnTo>
                    <a:pt x="46" y="729"/>
                  </a:lnTo>
                  <a:lnTo>
                    <a:pt x="53" y="732"/>
                  </a:lnTo>
                  <a:lnTo>
                    <a:pt x="148" y="732"/>
                  </a:lnTo>
                  <a:lnTo>
                    <a:pt x="172" y="736"/>
                  </a:lnTo>
                  <a:lnTo>
                    <a:pt x="190" y="736"/>
                  </a:lnTo>
                  <a:lnTo>
                    <a:pt x="228" y="739"/>
                  </a:lnTo>
                  <a:cubicBezTo>
                    <a:pt x="259" y="745"/>
                    <a:pt x="287" y="749"/>
                    <a:pt x="311" y="749"/>
                  </a:cubicBezTo>
                  <a:cubicBezTo>
                    <a:pt x="354" y="749"/>
                    <a:pt x="385" y="739"/>
                    <a:pt x="403" y="722"/>
                  </a:cubicBezTo>
                  <a:cubicBezTo>
                    <a:pt x="424" y="701"/>
                    <a:pt x="435" y="673"/>
                    <a:pt x="431" y="645"/>
                  </a:cubicBezTo>
                  <a:lnTo>
                    <a:pt x="424" y="568"/>
                  </a:lnTo>
                  <a:lnTo>
                    <a:pt x="498" y="571"/>
                  </a:lnTo>
                  <a:lnTo>
                    <a:pt x="501" y="571"/>
                  </a:lnTo>
                  <a:cubicBezTo>
                    <a:pt x="531" y="572"/>
                    <a:pt x="560" y="573"/>
                    <a:pt x="590" y="573"/>
                  </a:cubicBezTo>
                  <a:cubicBezTo>
                    <a:pt x="641" y="573"/>
                    <a:pt x="693" y="571"/>
                    <a:pt x="746" y="564"/>
                  </a:cubicBezTo>
                  <a:cubicBezTo>
                    <a:pt x="890" y="546"/>
                    <a:pt x="907" y="511"/>
                    <a:pt x="907" y="511"/>
                  </a:cubicBezTo>
                  <a:cubicBezTo>
                    <a:pt x="918" y="445"/>
                    <a:pt x="890" y="347"/>
                    <a:pt x="862" y="273"/>
                  </a:cubicBezTo>
                  <a:cubicBezTo>
                    <a:pt x="848" y="238"/>
                    <a:pt x="837" y="207"/>
                    <a:pt x="827" y="189"/>
                  </a:cubicBezTo>
                  <a:lnTo>
                    <a:pt x="823" y="186"/>
                  </a:lnTo>
                  <a:lnTo>
                    <a:pt x="7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4" name="Google Shape;4521;p64">
              <a:extLst>
                <a:ext uri="{FF2B5EF4-FFF2-40B4-BE49-F238E27FC236}">
                  <a16:creationId xmlns:a16="http://schemas.microsoft.com/office/drawing/2014/main" id="{8BAFAE44-8EC3-2156-10D9-8A12E1092198}"/>
                </a:ext>
              </a:extLst>
            </p:cNvPr>
            <p:cNvSpPr/>
            <p:nvPr/>
          </p:nvSpPr>
          <p:spPr>
            <a:xfrm>
              <a:off x="2348080" y="1953764"/>
              <a:ext cx="75016" cy="100080"/>
            </a:xfrm>
            <a:custGeom>
              <a:avLst/>
              <a:gdLst/>
              <a:ahLst/>
              <a:cxnLst/>
              <a:rect l="l" t="t" r="r" b="b"/>
              <a:pathLst>
                <a:path w="5525" h="7371" extrusionOk="0">
                  <a:moveTo>
                    <a:pt x="5401" y="0"/>
                  </a:moveTo>
                  <a:cubicBezTo>
                    <a:pt x="5350" y="0"/>
                    <a:pt x="5302" y="31"/>
                    <a:pt x="5283" y="82"/>
                  </a:cubicBezTo>
                  <a:cubicBezTo>
                    <a:pt x="5171" y="327"/>
                    <a:pt x="4391" y="442"/>
                    <a:pt x="3999" y="449"/>
                  </a:cubicBezTo>
                  <a:cubicBezTo>
                    <a:pt x="3589" y="456"/>
                    <a:pt x="3319" y="491"/>
                    <a:pt x="3165" y="635"/>
                  </a:cubicBezTo>
                  <a:cubicBezTo>
                    <a:pt x="3096" y="702"/>
                    <a:pt x="2999" y="718"/>
                    <a:pt x="2895" y="718"/>
                  </a:cubicBezTo>
                  <a:cubicBezTo>
                    <a:pt x="2851" y="718"/>
                    <a:pt x="2807" y="715"/>
                    <a:pt x="2763" y="712"/>
                  </a:cubicBezTo>
                  <a:cubicBezTo>
                    <a:pt x="2723" y="710"/>
                    <a:pt x="2683" y="707"/>
                    <a:pt x="2644" y="707"/>
                  </a:cubicBezTo>
                  <a:cubicBezTo>
                    <a:pt x="2564" y="707"/>
                    <a:pt x="2494" y="717"/>
                    <a:pt x="2458" y="757"/>
                  </a:cubicBezTo>
                  <a:cubicBezTo>
                    <a:pt x="2369" y="862"/>
                    <a:pt x="2156" y="955"/>
                    <a:pt x="1935" y="955"/>
                  </a:cubicBezTo>
                  <a:cubicBezTo>
                    <a:pt x="1904" y="955"/>
                    <a:pt x="1873" y="954"/>
                    <a:pt x="1842" y="950"/>
                  </a:cubicBezTo>
                  <a:cubicBezTo>
                    <a:pt x="1671" y="932"/>
                    <a:pt x="1516" y="827"/>
                    <a:pt x="1443" y="670"/>
                  </a:cubicBezTo>
                  <a:cubicBezTo>
                    <a:pt x="1397" y="568"/>
                    <a:pt x="1324" y="481"/>
                    <a:pt x="1233" y="414"/>
                  </a:cubicBezTo>
                  <a:lnTo>
                    <a:pt x="1219" y="432"/>
                  </a:lnTo>
                  <a:lnTo>
                    <a:pt x="1205" y="446"/>
                  </a:lnTo>
                  <a:cubicBezTo>
                    <a:pt x="1149" y="505"/>
                    <a:pt x="1096" y="572"/>
                    <a:pt x="1051" y="638"/>
                  </a:cubicBezTo>
                  <a:lnTo>
                    <a:pt x="1054" y="645"/>
                  </a:lnTo>
                  <a:cubicBezTo>
                    <a:pt x="988" y="740"/>
                    <a:pt x="981" y="778"/>
                    <a:pt x="977" y="785"/>
                  </a:cubicBezTo>
                  <a:cubicBezTo>
                    <a:pt x="1051" y="939"/>
                    <a:pt x="1142" y="1083"/>
                    <a:pt x="1247" y="1212"/>
                  </a:cubicBezTo>
                  <a:lnTo>
                    <a:pt x="1257" y="1223"/>
                  </a:lnTo>
                  <a:cubicBezTo>
                    <a:pt x="1264" y="1233"/>
                    <a:pt x="1275" y="1240"/>
                    <a:pt x="1285" y="1247"/>
                  </a:cubicBezTo>
                  <a:cubicBezTo>
                    <a:pt x="1334" y="1275"/>
                    <a:pt x="1376" y="1310"/>
                    <a:pt x="1411" y="1356"/>
                  </a:cubicBezTo>
                  <a:lnTo>
                    <a:pt x="1460" y="1408"/>
                  </a:lnTo>
                  <a:cubicBezTo>
                    <a:pt x="1513" y="1468"/>
                    <a:pt x="1593" y="1559"/>
                    <a:pt x="1636" y="1569"/>
                  </a:cubicBezTo>
                  <a:cubicBezTo>
                    <a:pt x="1751" y="1594"/>
                    <a:pt x="2367" y="1804"/>
                    <a:pt x="2749" y="1958"/>
                  </a:cubicBezTo>
                  <a:cubicBezTo>
                    <a:pt x="3155" y="2126"/>
                    <a:pt x="3396" y="2126"/>
                    <a:pt x="3473" y="2126"/>
                  </a:cubicBezTo>
                  <a:cubicBezTo>
                    <a:pt x="3554" y="2126"/>
                    <a:pt x="3729" y="2137"/>
                    <a:pt x="3764" y="2231"/>
                  </a:cubicBezTo>
                  <a:cubicBezTo>
                    <a:pt x="3771" y="2259"/>
                    <a:pt x="3778" y="2312"/>
                    <a:pt x="3708" y="2364"/>
                  </a:cubicBezTo>
                  <a:cubicBezTo>
                    <a:pt x="3610" y="2441"/>
                    <a:pt x="2444" y="3617"/>
                    <a:pt x="2262" y="3814"/>
                  </a:cubicBezTo>
                  <a:cubicBezTo>
                    <a:pt x="2152" y="3932"/>
                    <a:pt x="2061" y="3953"/>
                    <a:pt x="1931" y="3953"/>
                  </a:cubicBezTo>
                  <a:cubicBezTo>
                    <a:pt x="1896" y="3953"/>
                    <a:pt x="1859" y="3952"/>
                    <a:pt x="1818" y="3950"/>
                  </a:cubicBezTo>
                  <a:cubicBezTo>
                    <a:pt x="1758" y="3947"/>
                    <a:pt x="1692" y="3943"/>
                    <a:pt x="1608" y="3943"/>
                  </a:cubicBezTo>
                  <a:cubicBezTo>
                    <a:pt x="1404" y="3943"/>
                    <a:pt x="1229" y="4090"/>
                    <a:pt x="1100" y="4199"/>
                  </a:cubicBezTo>
                  <a:cubicBezTo>
                    <a:pt x="1015" y="4271"/>
                    <a:pt x="954" y="4318"/>
                    <a:pt x="895" y="4318"/>
                  </a:cubicBezTo>
                  <a:cubicBezTo>
                    <a:pt x="891" y="4318"/>
                    <a:pt x="887" y="4318"/>
                    <a:pt x="883" y="4318"/>
                  </a:cubicBezTo>
                  <a:cubicBezTo>
                    <a:pt x="767" y="4325"/>
                    <a:pt x="655" y="4342"/>
                    <a:pt x="543" y="4370"/>
                  </a:cubicBezTo>
                  <a:lnTo>
                    <a:pt x="536" y="4370"/>
                  </a:lnTo>
                  <a:lnTo>
                    <a:pt x="512" y="4374"/>
                  </a:lnTo>
                  <a:lnTo>
                    <a:pt x="494" y="4377"/>
                  </a:lnTo>
                  <a:lnTo>
                    <a:pt x="487" y="4377"/>
                  </a:lnTo>
                  <a:lnTo>
                    <a:pt x="239" y="4738"/>
                  </a:lnTo>
                  <a:lnTo>
                    <a:pt x="1" y="5112"/>
                  </a:lnTo>
                  <a:lnTo>
                    <a:pt x="29" y="7034"/>
                  </a:lnTo>
                  <a:lnTo>
                    <a:pt x="239" y="7370"/>
                  </a:lnTo>
                  <a:cubicBezTo>
                    <a:pt x="400" y="7174"/>
                    <a:pt x="669" y="6901"/>
                    <a:pt x="953" y="6611"/>
                  </a:cubicBezTo>
                  <a:cubicBezTo>
                    <a:pt x="1107" y="6457"/>
                    <a:pt x="1261" y="6299"/>
                    <a:pt x="1401" y="6152"/>
                  </a:cubicBezTo>
                  <a:cubicBezTo>
                    <a:pt x="1863" y="5669"/>
                    <a:pt x="2105" y="5546"/>
                    <a:pt x="2360" y="5417"/>
                  </a:cubicBezTo>
                  <a:lnTo>
                    <a:pt x="2374" y="5413"/>
                  </a:lnTo>
                  <a:cubicBezTo>
                    <a:pt x="2626" y="5284"/>
                    <a:pt x="3277" y="4643"/>
                    <a:pt x="3708" y="4097"/>
                  </a:cubicBezTo>
                  <a:cubicBezTo>
                    <a:pt x="3967" y="3768"/>
                    <a:pt x="4289" y="3358"/>
                    <a:pt x="4328" y="3117"/>
                  </a:cubicBezTo>
                  <a:cubicBezTo>
                    <a:pt x="4370" y="2833"/>
                    <a:pt x="4650" y="2473"/>
                    <a:pt x="4832" y="2235"/>
                  </a:cubicBezTo>
                  <a:cubicBezTo>
                    <a:pt x="5028" y="1986"/>
                    <a:pt x="5336" y="1363"/>
                    <a:pt x="5329" y="1195"/>
                  </a:cubicBezTo>
                  <a:cubicBezTo>
                    <a:pt x="5325" y="1093"/>
                    <a:pt x="5364" y="943"/>
                    <a:pt x="5406" y="771"/>
                  </a:cubicBezTo>
                  <a:cubicBezTo>
                    <a:pt x="5458" y="596"/>
                    <a:pt x="5493" y="418"/>
                    <a:pt x="5514" y="236"/>
                  </a:cubicBezTo>
                  <a:cubicBezTo>
                    <a:pt x="5525" y="85"/>
                    <a:pt x="5469" y="15"/>
                    <a:pt x="5416" y="1"/>
                  </a:cubicBezTo>
                  <a:cubicBezTo>
                    <a:pt x="5411" y="0"/>
                    <a:pt x="5406" y="0"/>
                    <a:pt x="54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5" name="Google Shape;4522;p64">
              <a:extLst>
                <a:ext uri="{FF2B5EF4-FFF2-40B4-BE49-F238E27FC236}">
                  <a16:creationId xmlns:a16="http://schemas.microsoft.com/office/drawing/2014/main" id="{A4D6161F-098F-A4D0-A70D-3BE7493F241B}"/>
                </a:ext>
              </a:extLst>
            </p:cNvPr>
            <p:cNvSpPr/>
            <p:nvPr/>
          </p:nvSpPr>
          <p:spPr>
            <a:xfrm>
              <a:off x="1953274" y="1764276"/>
              <a:ext cx="85620" cy="66543"/>
            </a:xfrm>
            <a:custGeom>
              <a:avLst/>
              <a:gdLst/>
              <a:ahLst/>
              <a:cxnLst/>
              <a:rect l="l" t="t" r="r" b="b"/>
              <a:pathLst>
                <a:path w="6306" h="4901" extrusionOk="0">
                  <a:moveTo>
                    <a:pt x="3903" y="0"/>
                  </a:moveTo>
                  <a:cubicBezTo>
                    <a:pt x="3873" y="0"/>
                    <a:pt x="3846" y="8"/>
                    <a:pt x="3820" y="20"/>
                  </a:cubicBezTo>
                  <a:cubicBezTo>
                    <a:pt x="3750" y="55"/>
                    <a:pt x="3596" y="398"/>
                    <a:pt x="3491" y="626"/>
                  </a:cubicBezTo>
                  <a:cubicBezTo>
                    <a:pt x="3400" y="825"/>
                    <a:pt x="3316" y="1014"/>
                    <a:pt x="3246" y="1116"/>
                  </a:cubicBezTo>
                  <a:cubicBezTo>
                    <a:pt x="3071" y="1372"/>
                    <a:pt x="2595" y="1540"/>
                    <a:pt x="2360" y="1540"/>
                  </a:cubicBezTo>
                  <a:cubicBezTo>
                    <a:pt x="2273" y="1540"/>
                    <a:pt x="2227" y="1620"/>
                    <a:pt x="2161" y="1750"/>
                  </a:cubicBezTo>
                  <a:cubicBezTo>
                    <a:pt x="2122" y="1841"/>
                    <a:pt x="2063" y="1925"/>
                    <a:pt x="1986" y="1995"/>
                  </a:cubicBezTo>
                  <a:cubicBezTo>
                    <a:pt x="1923" y="2047"/>
                    <a:pt x="1898" y="2121"/>
                    <a:pt x="1870" y="2201"/>
                  </a:cubicBezTo>
                  <a:cubicBezTo>
                    <a:pt x="1839" y="2303"/>
                    <a:pt x="1800" y="2415"/>
                    <a:pt x="1678" y="2513"/>
                  </a:cubicBezTo>
                  <a:cubicBezTo>
                    <a:pt x="1520" y="2639"/>
                    <a:pt x="1590" y="3087"/>
                    <a:pt x="1695" y="3262"/>
                  </a:cubicBezTo>
                  <a:cubicBezTo>
                    <a:pt x="1723" y="3315"/>
                    <a:pt x="1727" y="3378"/>
                    <a:pt x="1709" y="3437"/>
                  </a:cubicBezTo>
                  <a:cubicBezTo>
                    <a:pt x="1643" y="3686"/>
                    <a:pt x="1271" y="4106"/>
                    <a:pt x="1026" y="4249"/>
                  </a:cubicBezTo>
                  <a:cubicBezTo>
                    <a:pt x="935" y="4305"/>
                    <a:pt x="858" y="4375"/>
                    <a:pt x="788" y="4456"/>
                  </a:cubicBezTo>
                  <a:cubicBezTo>
                    <a:pt x="655" y="4592"/>
                    <a:pt x="501" y="4750"/>
                    <a:pt x="200" y="4799"/>
                  </a:cubicBezTo>
                  <a:cubicBezTo>
                    <a:pt x="134" y="4813"/>
                    <a:pt x="64" y="4834"/>
                    <a:pt x="1" y="4862"/>
                  </a:cubicBezTo>
                  <a:lnTo>
                    <a:pt x="1937" y="4862"/>
                  </a:lnTo>
                  <a:lnTo>
                    <a:pt x="1972" y="4865"/>
                  </a:lnTo>
                  <a:lnTo>
                    <a:pt x="1986" y="4865"/>
                  </a:lnTo>
                  <a:lnTo>
                    <a:pt x="2017" y="4869"/>
                  </a:lnTo>
                  <a:lnTo>
                    <a:pt x="2024" y="4869"/>
                  </a:lnTo>
                  <a:lnTo>
                    <a:pt x="2056" y="4876"/>
                  </a:lnTo>
                  <a:lnTo>
                    <a:pt x="2063" y="4876"/>
                  </a:lnTo>
                  <a:lnTo>
                    <a:pt x="2087" y="4879"/>
                  </a:lnTo>
                  <a:lnTo>
                    <a:pt x="2098" y="4879"/>
                  </a:lnTo>
                  <a:lnTo>
                    <a:pt x="2115" y="4886"/>
                  </a:lnTo>
                  <a:lnTo>
                    <a:pt x="2126" y="4890"/>
                  </a:lnTo>
                  <a:lnTo>
                    <a:pt x="2143" y="4897"/>
                  </a:lnTo>
                  <a:lnTo>
                    <a:pt x="2150" y="4900"/>
                  </a:lnTo>
                  <a:cubicBezTo>
                    <a:pt x="2147" y="4823"/>
                    <a:pt x="2147" y="4753"/>
                    <a:pt x="2143" y="4694"/>
                  </a:cubicBezTo>
                  <a:cubicBezTo>
                    <a:pt x="2140" y="4473"/>
                    <a:pt x="2140" y="4403"/>
                    <a:pt x="2143" y="4379"/>
                  </a:cubicBezTo>
                  <a:cubicBezTo>
                    <a:pt x="2168" y="4281"/>
                    <a:pt x="2721" y="3955"/>
                    <a:pt x="3050" y="3766"/>
                  </a:cubicBezTo>
                  <a:cubicBezTo>
                    <a:pt x="3104" y="3742"/>
                    <a:pt x="3163" y="3728"/>
                    <a:pt x="3221" y="3728"/>
                  </a:cubicBezTo>
                  <a:cubicBezTo>
                    <a:pt x="3238" y="3728"/>
                    <a:pt x="3254" y="3729"/>
                    <a:pt x="3270" y="3731"/>
                  </a:cubicBezTo>
                  <a:cubicBezTo>
                    <a:pt x="3305" y="3731"/>
                    <a:pt x="3340" y="3731"/>
                    <a:pt x="3372" y="3724"/>
                  </a:cubicBezTo>
                  <a:lnTo>
                    <a:pt x="3372" y="3717"/>
                  </a:lnTo>
                  <a:cubicBezTo>
                    <a:pt x="3372" y="3556"/>
                    <a:pt x="3561" y="3556"/>
                    <a:pt x="3715" y="3556"/>
                  </a:cubicBezTo>
                  <a:cubicBezTo>
                    <a:pt x="3778" y="3556"/>
                    <a:pt x="3845" y="3553"/>
                    <a:pt x="3908" y="3542"/>
                  </a:cubicBezTo>
                  <a:cubicBezTo>
                    <a:pt x="4051" y="3514"/>
                    <a:pt x="4139" y="3420"/>
                    <a:pt x="4139" y="3287"/>
                  </a:cubicBezTo>
                  <a:cubicBezTo>
                    <a:pt x="4139" y="3097"/>
                    <a:pt x="4349" y="3090"/>
                    <a:pt x="4499" y="3087"/>
                  </a:cubicBezTo>
                  <a:cubicBezTo>
                    <a:pt x="4538" y="3087"/>
                    <a:pt x="4576" y="3083"/>
                    <a:pt x="4608" y="3080"/>
                  </a:cubicBezTo>
                  <a:cubicBezTo>
                    <a:pt x="4653" y="3076"/>
                    <a:pt x="4692" y="3048"/>
                    <a:pt x="4713" y="3010"/>
                  </a:cubicBezTo>
                  <a:cubicBezTo>
                    <a:pt x="4744" y="2954"/>
                    <a:pt x="4800" y="2922"/>
                    <a:pt x="4863" y="2919"/>
                  </a:cubicBezTo>
                  <a:cubicBezTo>
                    <a:pt x="4870" y="2880"/>
                    <a:pt x="4870" y="2845"/>
                    <a:pt x="4867" y="2807"/>
                  </a:cubicBezTo>
                  <a:cubicBezTo>
                    <a:pt x="4867" y="2751"/>
                    <a:pt x="4867" y="2695"/>
                    <a:pt x="4870" y="2639"/>
                  </a:cubicBezTo>
                  <a:cubicBezTo>
                    <a:pt x="4887" y="2490"/>
                    <a:pt x="4897" y="2435"/>
                    <a:pt x="5024" y="2435"/>
                  </a:cubicBezTo>
                  <a:cubicBezTo>
                    <a:pt x="5032" y="2435"/>
                    <a:pt x="5040" y="2435"/>
                    <a:pt x="5049" y="2436"/>
                  </a:cubicBezTo>
                  <a:lnTo>
                    <a:pt x="5115" y="2436"/>
                  </a:lnTo>
                  <a:cubicBezTo>
                    <a:pt x="5248" y="2436"/>
                    <a:pt x="5371" y="2362"/>
                    <a:pt x="5371" y="2303"/>
                  </a:cubicBezTo>
                  <a:cubicBezTo>
                    <a:pt x="5371" y="2278"/>
                    <a:pt x="5381" y="2254"/>
                    <a:pt x="5399" y="2236"/>
                  </a:cubicBezTo>
                  <a:cubicBezTo>
                    <a:pt x="5444" y="2196"/>
                    <a:pt x="5543" y="2180"/>
                    <a:pt x="5709" y="2180"/>
                  </a:cubicBezTo>
                  <a:cubicBezTo>
                    <a:pt x="5816" y="2180"/>
                    <a:pt x="5951" y="2187"/>
                    <a:pt x="6117" y="2198"/>
                  </a:cubicBezTo>
                  <a:cubicBezTo>
                    <a:pt x="6166" y="2198"/>
                    <a:pt x="6208" y="2201"/>
                    <a:pt x="6229" y="2201"/>
                  </a:cubicBezTo>
                  <a:lnTo>
                    <a:pt x="6239" y="2201"/>
                  </a:lnTo>
                  <a:cubicBezTo>
                    <a:pt x="6242" y="2202"/>
                    <a:pt x="6244" y="2202"/>
                    <a:pt x="6246" y="2202"/>
                  </a:cubicBezTo>
                  <a:cubicBezTo>
                    <a:pt x="6258" y="2202"/>
                    <a:pt x="6269" y="2195"/>
                    <a:pt x="6278" y="2184"/>
                  </a:cubicBezTo>
                  <a:cubicBezTo>
                    <a:pt x="6299" y="2149"/>
                    <a:pt x="6306" y="2107"/>
                    <a:pt x="6299" y="2068"/>
                  </a:cubicBezTo>
                  <a:cubicBezTo>
                    <a:pt x="6274" y="1942"/>
                    <a:pt x="6187" y="1753"/>
                    <a:pt x="6138" y="1746"/>
                  </a:cubicBezTo>
                  <a:cubicBezTo>
                    <a:pt x="6001" y="1722"/>
                    <a:pt x="6019" y="1554"/>
                    <a:pt x="6036" y="1375"/>
                  </a:cubicBezTo>
                  <a:cubicBezTo>
                    <a:pt x="6040" y="1309"/>
                    <a:pt x="6047" y="1242"/>
                    <a:pt x="6047" y="1183"/>
                  </a:cubicBezTo>
                  <a:cubicBezTo>
                    <a:pt x="6047" y="944"/>
                    <a:pt x="6005" y="783"/>
                    <a:pt x="5900" y="650"/>
                  </a:cubicBezTo>
                  <a:cubicBezTo>
                    <a:pt x="5896" y="643"/>
                    <a:pt x="5889" y="636"/>
                    <a:pt x="5886" y="629"/>
                  </a:cubicBezTo>
                  <a:lnTo>
                    <a:pt x="5882" y="622"/>
                  </a:lnTo>
                  <a:cubicBezTo>
                    <a:pt x="5875" y="615"/>
                    <a:pt x="5872" y="605"/>
                    <a:pt x="5865" y="598"/>
                  </a:cubicBezTo>
                  <a:lnTo>
                    <a:pt x="5861" y="591"/>
                  </a:lnTo>
                  <a:cubicBezTo>
                    <a:pt x="5854" y="580"/>
                    <a:pt x="5851" y="566"/>
                    <a:pt x="5844" y="556"/>
                  </a:cubicBezTo>
                  <a:lnTo>
                    <a:pt x="5844" y="552"/>
                  </a:lnTo>
                  <a:cubicBezTo>
                    <a:pt x="5837" y="538"/>
                    <a:pt x="5830" y="524"/>
                    <a:pt x="5823" y="510"/>
                  </a:cubicBezTo>
                  <a:lnTo>
                    <a:pt x="5823" y="507"/>
                  </a:lnTo>
                  <a:cubicBezTo>
                    <a:pt x="5717" y="493"/>
                    <a:pt x="5619" y="468"/>
                    <a:pt x="5521" y="430"/>
                  </a:cubicBezTo>
                  <a:cubicBezTo>
                    <a:pt x="5427" y="395"/>
                    <a:pt x="5329" y="370"/>
                    <a:pt x="5227" y="360"/>
                  </a:cubicBezTo>
                  <a:cubicBezTo>
                    <a:pt x="5143" y="360"/>
                    <a:pt x="5059" y="367"/>
                    <a:pt x="4975" y="377"/>
                  </a:cubicBezTo>
                  <a:cubicBezTo>
                    <a:pt x="4881" y="388"/>
                    <a:pt x="4783" y="398"/>
                    <a:pt x="4687" y="398"/>
                  </a:cubicBezTo>
                  <a:cubicBezTo>
                    <a:pt x="4520" y="398"/>
                    <a:pt x="4362" y="366"/>
                    <a:pt x="4251" y="241"/>
                  </a:cubicBezTo>
                  <a:cubicBezTo>
                    <a:pt x="4089" y="58"/>
                    <a:pt x="3985" y="0"/>
                    <a:pt x="39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6" name="Google Shape;4523;p64">
              <a:extLst>
                <a:ext uri="{FF2B5EF4-FFF2-40B4-BE49-F238E27FC236}">
                  <a16:creationId xmlns:a16="http://schemas.microsoft.com/office/drawing/2014/main" id="{9C670C2E-20C1-287A-67F0-A0284846B6AB}"/>
                </a:ext>
              </a:extLst>
            </p:cNvPr>
            <p:cNvSpPr/>
            <p:nvPr/>
          </p:nvSpPr>
          <p:spPr>
            <a:xfrm>
              <a:off x="2104473" y="1751839"/>
              <a:ext cx="29151" cy="57216"/>
            </a:xfrm>
            <a:custGeom>
              <a:avLst/>
              <a:gdLst/>
              <a:ahLst/>
              <a:cxnLst/>
              <a:rect l="l" t="t" r="r" b="b"/>
              <a:pathLst>
                <a:path w="2147" h="4214" extrusionOk="0">
                  <a:moveTo>
                    <a:pt x="1204" y="1"/>
                  </a:moveTo>
                  <a:cubicBezTo>
                    <a:pt x="1073" y="1"/>
                    <a:pt x="933" y="35"/>
                    <a:pt x="855" y="107"/>
                  </a:cubicBezTo>
                  <a:cubicBezTo>
                    <a:pt x="778" y="173"/>
                    <a:pt x="676" y="208"/>
                    <a:pt x="575" y="208"/>
                  </a:cubicBezTo>
                  <a:lnTo>
                    <a:pt x="571" y="229"/>
                  </a:lnTo>
                  <a:lnTo>
                    <a:pt x="564" y="278"/>
                  </a:lnTo>
                  <a:lnTo>
                    <a:pt x="557" y="324"/>
                  </a:lnTo>
                  <a:cubicBezTo>
                    <a:pt x="557" y="338"/>
                    <a:pt x="554" y="352"/>
                    <a:pt x="554" y="366"/>
                  </a:cubicBezTo>
                  <a:cubicBezTo>
                    <a:pt x="550" y="380"/>
                    <a:pt x="550" y="394"/>
                    <a:pt x="550" y="404"/>
                  </a:cubicBezTo>
                  <a:cubicBezTo>
                    <a:pt x="547" y="418"/>
                    <a:pt x="547" y="432"/>
                    <a:pt x="543" y="446"/>
                  </a:cubicBezTo>
                  <a:cubicBezTo>
                    <a:pt x="543" y="460"/>
                    <a:pt x="543" y="471"/>
                    <a:pt x="540" y="485"/>
                  </a:cubicBezTo>
                  <a:cubicBezTo>
                    <a:pt x="540" y="495"/>
                    <a:pt x="540" y="509"/>
                    <a:pt x="536" y="520"/>
                  </a:cubicBezTo>
                  <a:cubicBezTo>
                    <a:pt x="536" y="534"/>
                    <a:pt x="536" y="544"/>
                    <a:pt x="536" y="555"/>
                  </a:cubicBezTo>
                  <a:cubicBezTo>
                    <a:pt x="533" y="565"/>
                    <a:pt x="536" y="576"/>
                    <a:pt x="533" y="586"/>
                  </a:cubicBezTo>
                  <a:cubicBezTo>
                    <a:pt x="529" y="600"/>
                    <a:pt x="533" y="607"/>
                    <a:pt x="533" y="618"/>
                  </a:cubicBezTo>
                  <a:lnTo>
                    <a:pt x="533" y="649"/>
                  </a:lnTo>
                  <a:lnTo>
                    <a:pt x="533" y="674"/>
                  </a:lnTo>
                  <a:lnTo>
                    <a:pt x="533" y="702"/>
                  </a:lnTo>
                  <a:lnTo>
                    <a:pt x="533" y="726"/>
                  </a:lnTo>
                  <a:lnTo>
                    <a:pt x="533" y="751"/>
                  </a:lnTo>
                  <a:lnTo>
                    <a:pt x="533" y="768"/>
                  </a:lnTo>
                  <a:lnTo>
                    <a:pt x="533" y="793"/>
                  </a:lnTo>
                  <a:lnTo>
                    <a:pt x="533" y="810"/>
                  </a:lnTo>
                  <a:lnTo>
                    <a:pt x="533" y="828"/>
                  </a:lnTo>
                  <a:lnTo>
                    <a:pt x="533" y="845"/>
                  </a:lnTo>
                  <a:lnTo>
                    <a:pt x="533" y="863"/>
                  </a:lnTo>
                  <a:cubicBezTo>
                    <a:pt x="533" y="866"/>
                    <a:pt x="533" y="870"/>
                    <a:pt x="536" y="877"/>
                  </a:cubicBezTo>
                  <a:cubicBezTo>
                    <a:pt x="536" y="880"/>
                    <a:pt x="536" y="884"/>
                    <a:pt x="536" y="887"/>
                  </a:cubicBezTo>
                  <a:cubicBezTo>
                    <a:pt x="540" y="894"/>
                    <a:pt x="536" y="898"/>
                    <a:pt x="540" y="901"/>
                  </a:cubicBezTo>
                  <a:cubicBezTo>
                    <a:pt x="543" y="905"/>
                    <a:pt x="540" y="908"/>
                    <a:pt x="543" y="912"/>
                  </a:cubicBezTo>
                  <a:cubicBezTo>
                    <a:pt x="547" y="915"/>
                    <a:pt x="547" y="919"/>
                    <a:pt x="547" y="922"/>
                  </a:cubicBezTo>
                  <a:lnTo>
                    <a:pt x="550" y="933"/>
                  </a:lnTo>
                  <a:cubicBezTo>
                    <a:pt x="550" y="936"/>
                    <a:pt x="550" y="936"/>
                    <a:pt x="554" y="940"/>
                  </a:cubicBezTo>
                  <a:lnTo>
                    <a:pt x="557" y="947"/>
                  </a:lnTo>
                  <a:cubicBezTo>
                    <a:pt x="557" y="950"/>
                    <a:pt x="561" y="954"/>
                    <a:pt x="564" y="957"/>
                  </a:cubicBezTo>
                  <a:cubicBezTo>
                    <a:pt x="624" y="1062"/>
                    <a:pt x="641" y="1188"/>
                    <a:pt x="603" y="1304"/>
                  </a:cubicBezTo>
                  <a:cubicBezTo>
                    <a:pt x="564" y="1454"/>
                    <a:pt x="470" y="1587"/>
                    <a:pt x="375" y="1636"/>
                  </a:cubicBezTo>
                  <a:cubicBezTo>
                    <a:pt x="333" y="1657"/>
                    <a:pt x="284" y="1727"/>
                    <a:pt x="242" y="1790"/>
                  </a:cubicBezTo>
                  <a:cubicBezTo>
                    <a:pt x="172" y="1888"/>
                    <a:pt x="106" y="1987"/>
                    <a:pt x="8" y="1997"/>
                  </a:cubicBezTo>
                  <a:cubicBezTo>
                    <a:pt x="1" y="2057"/>
                    <a:pt x="11" y="2116"/>
                    <a:pt x="36" y="2172"/>
                  </a:cubicBezTo>
                  <a:cubicBezTo>
                    <a:pt x="81" y="2312"/>
                    <a:pt x="162" y="2421"/>
                    <a:pt x="242" y="2456"/>
                  </a:cubicBezTo>
                  <a:cubicBezTo>
                    <a:pt x="505" y="2568"/>
                    <a:pt x="508" y="2767"/>
                    <a:pt x="508" y="2869"/>
                  </a:cubicBezTo>
                  <a:cubicBezTo>
                    <a:pt x="522" y="2893"/>
                    <a:pt x="610" y="2942"/>
                    <a:pt x="666" y="2974"/>
                  </a:cubicBezTo>
                  <a:cubicBezTo>
                    <a:pt x="764" y="3026"/>
                    <a:pt x="862" y="3082"/>
                    <a:pt x="918" y="3156"/>
                  </a:cubicBezTo>
                  <a:cubicBezTo>
                    <a:pt x="1030" y="3303"/>
                    <a:pt x="1188" y="3936"/>
                    <a:pt x="1188" y="4164"/>
                  </a:cubicBezTo>
                  <a:cubicBezTo>
                    <a:pt x="1188" y="4175"/>
                    <a:pt x="1188" y="4182"/>
                    <a:pt x="1188" y="4192"/>
                  </a:cubicBezTo>
                  <a:lnTo>
                    <a:pt x="1188" y="4199"/>
                  </a:lnTo>
                  <a:cubicBezTo>
                    <a:pt x="1188" y="4203"/>
                    <a:pt x="1188" y="4206"/>
                    <a:pt x="1191" y="4213"/>
                  </a:cubicBezTo>
                  <a:cubicBezTo>
                    <a:pt x="1230" y="4192"/>
                    <a:pt x="1265" y="4168"/>
                    <a:pt x="1300" y="4143"/>
                  </a:cubicBezTo>
                  <a:lnTo>
                    <a:pt x="1317" y="4126"/>
                  </a:lnTo>
                  <a:lnTo>
                    <a:pt x="1321" y="4122"/>
                  </a:lnTo>
                  <a:cubicBezTo>
                    <a:pt x="1324" y="4115"/>
                    <a:pt x="1328" y="4112"/>
                    <a:pt x="1335" y="4105"/>
                  </a:cubicBezTo>
                  <a:lnTo>
                    <a:pt x="1338" y="4101"/>
                  </a:lnTo>
                  <a:cubicBezTo>
                    <a:pt x="1342" y="4094"/>
                    <a:pt x="1349" y="4087"/>
                    <a:pt x="1352" y="4080"/>
                  </a:cubicBezTo>
                  <a:cubicBezTo>
                    <a:pt x="1426" y="3940"/>
                    <a:pt x="1461" y="3740"/>
                    <a:pt x="1447" y="3702"/>
                  </a:cubicBezTo>
                  <a:cubicBezTo>
                    <a:pt x="1398" y="3593"/>
                    <a:pt x="1422" y="3464"/>
                    <a:pt x="1510" y="3383"/>
                  </a:cubicBezTo>
                  <a:cubicBezTo>
                    <a:pt x="1534" y="3362"/>
                    <a:pt x="1583" y="3313"/>
                    <a:pt x="1636" y="3257"/>
                  </a:cubicBezTo>
                  <a:cubicBezTo>
                    <a:pt x="1821" y="3072"/>
                    <a:pt x="1905" y="2991"/>
                    <a:pt x="1951" y="2974"/>
                  </a:cubicBezTo>
                  <a:cubicBezTo>
                    <a:pt x="1972" y="2967"/>
                    <a:pt x="2000" y="2960"/>
                    <a:pt x="2024" y="2960"/>
                  </a:cubicBezTo>
                  <a:cubicBezTo>
                    <a:pt x="2122" y="2946"/>
                    <a:pt x="2147" y="2935"/>
                    <a:pt x="2143" y="2869"/>
                  </a:cubicBezTo>
                  <a:lnTo>
                    <a:pt x="2143" y="2844"/>
                  </a:lnTo>
                  <a:lnTo>
                    <a:pt x="2143" y="2834"/>
                  </a:lnTo>
                  <a:lnTo>
                    <a:pt x="2143" y="2816"/>
                  </a:lnTo>
                  <a:lnTo>
                    <a:pt x="2143" y="2806"/>
                  </a:lnTo>
                  <a:lnTo>
                    <a:pt x="2143" y="2785"/>
                  </a:lnTo>
                  <a:lnTo>
                    <a:pt x="2143" y="2774"/>
                  </a:lnTo>
                  <a:lnTo>
                    <a:pt x="2143" y="2753"/>
                  </a:lnTo>
                  <a:lnTo>
                    <a:pt x="2143" y="2739"/>
                  </a:lnTo>
                  <a:lnTo>
                    <a:pt x="2143" y="2715"/>
                  </a:lnTo>
                  <a:lnTo>
                    <a:pt x="2143" y="2701"/>
                  </a:lnTo>
                  <a:lnTo>
                    <a:pt x="2143" y="2676"/>
                  </a:lnTo>
                  <a:lnTo>
                    <a:pt x="2143" y="2659"/>
                  </a:lnTo>
                  <a:lnTo>
                    <a:pt x="2147" y="2631"/>
                  </a:lnTo>
                  <a:lnTo>
                    <a:pt x="2147" y="2617"/>
                  </a:lnTo>
                  <a:lnTo>
                    <a:pt x="2147" y="2613"/>
                  </a:lnTo>
                  <a:cubicBezTo>
                    <a:pt x="2038" y="2536"/>
                    <a:pt x="1940" y="2431"/>
                    <a:pt x="1940" y="2347"/>
                  </a:cubicBezTo>
                  <a:cubicBezTo>
                    <a:pt x="1933" y="2298"/>
                    <a:pt x="1909" y="2253"/>
                    <a:pt x="1870" y="2218"/>
                  </a:cubicBezTo>
                  <a:cubicBezTo>
                    <a:pt x="1860" y="2207"/>
                    <a:pt x="1849" y="2200"/>
                    <a:pt x="1835" y="2200"/>
                  </a:cubicBezTo>
                  <a:cubicBezTo>
                    <a:pt x="1832" y="2200"/>
                    <a:pt x="1832" y="2200"/>
                    <a:pt x="1828" y="2204"/>
                  </a:cubicBezTo>
                  <a:cubicBezTo>
                    <a:pt x="1794" y="2246"/>
                    <a:pt x="1735" y="2268"/>
                    <a:pt x="1664" y="2268"/>
                  </a:cubicBezTo>
                  <a:cubicBezTo>
                    <a:pt x="1634" y="2268"/>
                    <a:pt x="1602" y="2264"/>
                    <a:pt x="1569" y="2256"/>
                  </a:cubicBezTo>
                  <a:cubicBezTo>
                    <a:pt x="1457" y="2228"/>
                    <a:pt x="1317" y="2141"/>
                    <a:pt x="1286" y="1987"/>
                  </a:cubicBezTo>
                  <a:cubicBezTo>
                    <a:pt x="1251" y="1811"/>
                    <a:pt x="1384" y="1745"/>
                    <a:pt x="1510" y="1682"/>
                  </a:cubicBezTo>
                  <a:cubicBezTo>
                    <a:pt x="1590" y="1643"/>
                    <a:pt x="1667" y="1598"/>
                    <a:pt x="1737" y="1545"/>
                  </a:cubicBezTo>
                  <a:cubicBezTo>
                    <a:pt x="1839" y="1461"/>
                    <a:pt x="1898" y="1335"/>
                    <a:pt x="1898" y="1206"/>
                  </a:cubicBezTo>
                  <a:cubicBezTo>
                    <a:pt x="1898" y="1090"/>
                    <a:pt x="1846" y="982"/>
                    <a:pt x="1755" y="912"/>
                  </a:cubicBezTo>
                  <a:cubicBezTo>
                    <a:pt x="1660" y="835"/>
                    <a:pt x="1611" y="765"/>
                    <a:pt x="1608" y="688"/>
                  </a:cubicBezTo>
                  <a:cubicBezTo>
                    <a:pt x="1604" y="579"/>
                    <a:pt x="1685" y="495"/>
                    <a:pt x="1783" y="401"/>
                  </a:cubicBezTo>
                  <a:cubicBezTo>
                    <a:pt x="1804" y="380"/>
                    <a:pt x="1828" y="359"/>
                    <a:pt x="1846" y="338"/>
                  </a:cubicBezTo>
                  <a:cubicBezTo>
                    <a:pt x="1909" y="275"/>
                    <a:pt x="1909" y="236"/>
                    <a:pt x="1902" y="229"/>
                  </a:cubicBezTo>
                  <a:cubicBezTo>
                    <a:pt x="1900" y="226"/>
                    <a:pt x="1896" y="224"/>
                    <a:pt x="1891" y="224"/>
                  </a:cubicBezTo>
                  <a:cubicBezTo>
                    <a:pt x="1884" y="224"/>
                    <a:pt x="1875" y="228"/>
                    <a:pt x="1867" y="236"/>
                  </a:cubicBezTo>
                  <a:cubicBezTo>
                    <a:pt x="1820" y="286"/>
                    <a:pt x="1757" y="312"/>
                    <a:pt x="1692" y="312"/>
                  </a:cubicBezTo>
                  <a:cubicBezTo>
                    <a:pt x="1670" y="312"/>
                    <a:pt x="1647" y="309"/>
                    <a:pt x="1625" y="303"/>
                  </a:cubicBezTo>
                  <a:cubicBezTo>
                    <a:pt x="1576" y="285"/>
                    <a:pt x="1513" y="236"/>
                    <a:pt x="1499" y="107"/>
                  </a:cubicBezTo>
                  <a:cubicBezTo>
                    <a:pt x="1496" y="79"/>
                    <a:pt x="1461" y="51"/>
                    <a:pt x="1405" y="33"/>
                  </a:cubicBezTo>
                  <a:cubicBezTo>
                    <a:pt x="1349" y="12"/>
                    <a:pt x="1278" y="1"/>
                    <a:pt x="120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7" name="Google Shape;4524;p64">
              <a:extLst>
                <a:ext uri="{FF2B5EF4-FFF2-40B4-BE49-F238E27FC236}">
                  <a16:creationId xmlns:a16="http://schemas.microsoft.com/office/drawing/2014/main" id="{D46EF346-3EE0-74CD-3970-E20DDFD8B678}"/>
                </a:ext>
              </a:extLst>
            </p:cNvPr>
            <p:cNvSpPr/>
            <p:nvPr/>
          </p:nvSpPr>
          <p:spPr>
            <a:xfrm>
              <a:off x="1983932" y="1753020"/>
              <a:ext cx="152883" cy="146433"/>
            </a:xfrm>
            <a:custGeom>
              <a:avLst/>
              <a:gdLst/>
              <a:ahLst/>
              <a:cxnLst/>
              <a:rect l="l" t="t" r="r" b="b"/>
              <a:pathLst>
                <a:path w="11260" h="10785" extrusionOk="0">
                  <a:moveTo>
                    <a:pt x="8820" y="1"/>
                  </a:moveTo>
                  <a:cubicBezTo>
                    <a:pt x="8760" y="1"/>
                    <a:pt x="8662" y="17"/>
                    <a:pt x="8581" y="30"/>
                  </a:cubicBezTo>
                  <a:cubicBezTo>
                    <a:pt x="8497" y="48"/>
                    <a:pt x="8410" y="58"/>
                    <a:pt x="8326" y="65"/>
                  </a:cubicBezTo>
                  <a:cubicBezTo>
                    <a:pt x="8242" y="79"/>
                    <a:pt x="8158" y="107"/>
                    <a:pt x="8081" y="142"/>
                  </a:cubicBezTo>
                  <a:cubicBezTo>
                    <a:pt x="7944" y="195"/>
                    <a:pt x="7797" y="254"/>
                    <a:pt x="7677" y="254"/>
                  </a:cubicBezTo>
                  <a:cubicBezTo>
                    <a:pt x="7615" y="254"/>
                    <a:pt x="7560" y="239"/>
                    <a:pt x="7517" y="198"/>
                  </a:cubicBezTo>
                  <a:cubicBezTo>
                    <a:pt x="7493" y="180"/>
                    <a:pt x="7423" y="173"/>
                    <a:pt x="7323" y="173"/>
                  </a:cubicBezTo>
                  <a:cubicBezTo>
                    <a:pt x="7030" y="173"/>
                    <a:pt x="6487" y="236"/>
                    <a:pt x="6155" y="275"/>
                  </a:cubicBezTo>
                  <a:cubicBezTo>
                    <a:pt x="5882" y="307"/>
                    <a:pt x="5648" y="335"/>
                    <a:pt x="5511" y="338"/>
                  </a:cubicBezTo>
                  <a:cubicBezTo>
                    <a:pt x="5301" y="349"/>
                    <a:pt x="5157" y="471"/>
                    <a:pt x="5021" y="594"/>
                  </a:cubicBezTo>
                  <a:cubicBezTo>
                    <a:pt x="4905" y="695"/>
                    <a:pt x="4797" y="793"/>
                    <a:pt x="4660" y="793"/>
                  </a:cubicBezTo>
                  <a:cubicBezTo>
                    <a:pt x="4433" y="793"/>
                    <a:pt x="4055" y="989"/>
                    <a:pt x="3852" y="1213"/>
                  </a:cubicBezTo>
                  <a:cubicBezTo>
                    <a:pt x="3810" y="1262"/>
                    <a:pt x="3754" y="1297"/>
                    <a:pt x="3694" y="1315"/>
                  </a:cubicBezTo>
                  <a:lnTo>
                    <a:pt x="3701" y="1329"/>
                  </a:lnTo>
                  <a:lnTo>
                    <a:pt x="3705" y="1336"/>
                  </a:lnTo>
                  <a:cubicBezTo>
                    <a:pt x="3712" y="1346"/>
                    <a:pt x="3715" y="1357"/>
                    <a:pt x="3722" y="1364"/>
                  </a:cubicBezTo>
                  <a:lnTo>
                    <a:pt x="3722" y="1371"/>
                  </a:lnTo>
                  <a:cubicBezTo>
                    <a:pt x="3729" y="1378"/>
                    <a:pt x="3733" y="1385"/>
                    <a:pt x="3740" y="1392"/>
                  </a:cubicBezTo>
                  <a:cubicBezTo>
                    <a:pt x="3859" y="1542"/>
                    <a:pt x="3915" y="1738"/>
                    <a:pt x="3915" y="2001"/>
                  </a:cubicBezTo>
                  <a:cubicBezTo>
                    <a:pt x="3915" y="2068"/>
                    <a:pt x="3908" y="2138"/>
                    <a:pt x="3901" y="2208"/>
                  </a:cubicBezTo>
                  <a:cubicBezTo>
                    <a:pt x="3894" y="2281"/>
                    <a:pt x="3883" y="2407"/>
                    <a:pt x="3901" y="2439"/>
                  </a:cubicBezTo>
                  <a:cubicBezTo>
                    <a:pt x="4079" y="2474"/>
                    <a:pt x="4163" y="2859"/>
                    <a:pt x="4163" y="2862"/>
                  </a:cubicBezTo>
                  <a:cubicBezTo>
                    <a:pt x="4181" y="2943"/>
                    <a:pt x="4163" y="3023"/>
                    <a:pt x="4114" y="3090"/>
                  </a:cubicBezTo>
                  <a:cubicBezTo>
                    <a:pt x="4079" y="3132"/>
                    <a:pt x="4030" y="3156"/>
                    <a:pt x="3974" y="3156"/>
                  </a:cubicBezTo>
                  <a:cubicBezTo>
                    <a:pt x="3950" y="3156"/>
                    <a:pt x="3908" y="3153"/>
                    <a:pt x="3845" y="3149"/>
                  </a:cubicBezTo>
                  <a:cubicBezTo>
                    <a:pt x="3763" y="3143"/>
                    <a:pt x="3586" y="3131"/>
                    <a:pt x="3441" y="3131"/>
                  </a:cubicBezTo>
                  <a:cubicBezTo>
                    <a:pt x="3350" y="3131"/>
                    <a:pt x="3271" y="3136"/>
                    <a:pt x="3235" y="3149"/>
                  </a:cubicBezTo>
                  <a:cubicBezTo>
                    <a:pt x="3214" y="3293"/>
                    <a:pt x="3025" y="3387"/>
                    <a:pt x="2850" y="3387"/>
                  </a:cubicBezTo>
                  <a:lnTo>
                    <a:pt x="2749" y="3387"/>
                  </a:lnTo>
                  <a:cubicBezTo>
                    <a:pt x="2745" y="3401"/>
                    <a:pt x="2742" y="3426"/>
                    <a:pt x="2738" y="3450"/>
                  </a:cubicBezTo>
                  <a:lnTo>
                    <a:pt x="2738" y="3471"/>
                  </a:lnTo>
                  <a:cubicBezTo>
                    <a:pt x="2731" y="3524"/>
                    <a:pt x="2731" y="3573"/>
                    <a:pt x="2735" y="3622"/>
                  </a:cubicBezTo>
                  <a:cubicBezTo>
                    <a:pt x="2738" y="3713"/>
                    <a:pt x="2738" y="3786"/>
                    <a:pt x="2689" y="3832"/>
                  </a:cubicBezTo>
                  <a:cubicBezTo>
                    <a:pt x="2665" y="3856"/>
                    <a:pt x="2633" y="3870"/>
                    <a:pt x="2598" y="3870"/>
                  </a:cubicBezTo>
                  <a:cubicBezTo>
                    <a:pt x="2584" y="3870"/>
                    <a:pt x="2577" y="3874"/>
                    <a:pt x="2553" y="3909"/>
                  </a:cubicBezTo>
                  <a:cubicBezTo>
                    <a:pt x="2511" y="3976"/>
                    <a:pt x="2437" y="4021"/>
                    <a:pt x="2357" y="4028"/>
                  </a:cubicBezTo>
                  <a:cubicBezTo>
                    <a:pt x="2322" y="4035"/>
                    <a:pt x="2280" y="4035"/>
                    <a:pt x="2238" y="4035"/>
                  </a:cubicBezTo>
                  <a:cubicBezTo>
                    <a:pt x="2080" y="4042"/>
                    <a:pt x="2007" y="4053"/>
                    <a:pt x="2007" y="4109"/>
                  </a:cubicBezTo>
                  <a:cubicBezTo>
                    <a:pt x="2007" y="4301"/>
                    <a:pt x="1874" y="4452"/>
                    <a:pt x="1667" y="4494"/>
                  </a:cubicBezTo>
                  <a:cubicBezTo>
                    <a:pt x="1612" y="4502"/>
                    <a:pt x="1559" y="4505"/>
                    <a:pt x="1505" y="4505"/>
                  </a:cubicBezTo>
                  <a:cubicBezTo>
                    <a:pt x="1487" y="4505"/>
                    <a:pt x="1468" y="4505"/>
                    <a:pt x="1450" y="4504"/>
                  </a:cubicBezTo>
                  <a:cubicBezTo>
                    <a:pt x="1383" y="4504"/>
                    <a:pt x="1254" y="4504"/>
                    <a:pt x="1236" y="4529"/>
                  </a:cubicBezTo>
                  <a:cubicBezTo>
                    <a:pt x="1236" y="4532"/>
                    <a:pt x="1236" y="4532"/>
                    <a:pt x="1236" y="4536"/>
                  </a:cubicBezTo>
                  <a:cubicBezTo>
                    <a:pt x="1240" y="4571"/>
                    <a:pt x="1226" y="4609"/>
                    <a:pt x="1198" y="4634"/>
                  </a:cubicBezTo>
                  <a:cubicBezTo>
                    <a:pt x="1162" y="4672"/>
                    <a:pt x="1107" y="4680"/>
                    <a:pt x="1049" y="4680"/>
                  </a:cubicBezTo>
                  <a:cubicBezTo>
                    <a:pt x="1033" y="4680"/>
                    <a:pt x="1017" y="4680"/>
                    <a:pt x="1002" y="4679"/>
                  </a:cubicBezTo>
                  <a:lnTo>
                    <a:pt x="960" y="4679"/>
                  </a:lnTo>
                  <a:cubicBezTo>
                    <a:pt x="953" y="4679"/>
                    <a:pt x="947" y="4678"/>
                    <a:pt x="940" y="4678"/>
                  </a:cubicBezTo>
                  <a:cubicBezTo>
                    <a:pt x="908" y="4678"/>
                    <a:pt x="877" y="4685"/>
                    <a:pt x="848" y="4697"/>
                  </a:cubicBezTo>
                  <a:cubicBezTo>
                    <a:pt x="575" y="4854"/>
                    <a:pt x="74" y="5159"/>
                    <a:pt x="4" y="5236"/>
                  </a:cubicBezTo>
                  <a:cubicBezTo>
                    <a:pt x="1" y="5285"/>
                    <a:pt x="8" y="5509"/>
                    <a:pt x="11" y="5726"/>
                  </a:cubicBezTo>
                  <a:cubicBezTo>
                    <a:pt x="11" y="5796"/>
                    <a:pt x="18" y="5866"/>
                    <a:pt x="18" y="5936"/>
                  </a:cubicBezTo>
                  <a:lnTo>
                    <a:pt x="29" y="5950"/>
                  </a:lnTo>
                  <a:lnTo>
                    <a:pt x="39" y="5960"/>
                  </a:lnTo>
                  <a:lnTo>
                    <a:pt x="43" y="5964"/>
                  </a:lnTo>
                  <a:lnTo>
                    <a:pt x="53" y="5974"/>
                  </a:lnTo>
                  <a:cubicBezTo>
                    <a:pt x="60" y="5981"/>
                    <a:pt x="64" y="5985"/>
                    <a:pt x="71" y="5988"/>
                  </a:cubicBezTo>
                  <a:lnTo>
                    <a:pt x="78" y="5992"/>
                  </a:lnTo>
                  <a:cubicBezTo>
                    <a:pt x="85" y="5999"/>
                    <a:pt x="92" y="6002"/>
                    <a:pt x="102" y="6009"/>
                  </a:cubicBezTo>
                  <a:cubicBezTo>
                    <a:pt x="141" y="6031"/>
                    <a:pt x="270" y="6115"/>
                    <a:pt x="456" y="6234"/>
                  </a:cubicBezTo>
                  <a:lnTo>
                    <a:pt x="494" y="6262"/>
                  </a:lnTo>
                  <a:cubicBezTo>
                    <a:pt x="865" y="6500"/>
                    <a:pt x="1454" y="6888"/>
                    <a:pt x="2094" y="7312"/>
                  </a:cubicBezTo>
                  <a:lnTo>
                    <a:pt x="2220" y="7392"/>
                  </a:lnTo>
                  <a:lnTo>
                    <a:pt x="2584" y="7634"/>
                  </a:lnTo>
                  <a:lnTo>
                    <a:pt x="2679" y="7697"/>
                  </a:lnTo>
                  <a:lnTo>
                    <a:pt x="2689" y="7704"/>
                  </a:lnTo>
                  <a:cubicBezTo>
                    <a:pt x="3834" y="8464"/>
                    <a:pt x="5241" y="9405"/>
                    <a:pt x="5409" y="9545"/>
                  </a:cubicBezTo>
                  <a:lnTo>
                    <a:pt x="5420" y="9552"/>
                  </a:lnTo>
                  <a:cubicBezTo>
                    <a:pt x="5528" y="9671"/>
                    <a:pt x="5623" y="9804"/>
                    <a:pt x="5704" y="9944"/>
                  </a:cubicBezTo>
                  <a:cubicBezTo>
                    <a:pt x="5728" y="9983"/>
                    <a:pt x="5749" y="10014"/>
                    <a:pt x="5760" y="10035"/>
                  </a:cubicBezTo>
                  <a:cubicBezTo>
                    <a:pt x="5973" y="10067"/>
                    <a:pt x="6176" y="10133"/>
                    <a:pt x="6365" y="10232"/>
                  </a:cubicBezTo>
                  <a:cubicBezTo>
                    <a:pt x="6407" y="10256"/>
                    <a:pt x="6442" y="10288"/>
                    <a:pt x="6477" y="10319"/>
                  </a:cubicBezTo>
                  <a:cubicBezTo>
                    <a:pt x="6600" y="10452"/>
                    <a:pt x="6645" y="10641"/>
                    <a:pt x="6659" y="10757"/>
                  </a:cubicBezTo>
                  <a:cubicBezTo>
                    <a:pt x="6659" y="10767"/>
                    <a:pt x="6663" y="10778"/>
                    <a:pt x="6663" y="10785"/>
                  </a:cubicBezTo>
                  <a:cubicBezTo>
                    <a:pt x="6747" y="10767"/>
                    <a:pt x="6887" y="10736"/>
                    <a:pt x="7009" y="10711"/>
                  </a:cubicBezTo>
                  <a:lnTo>
                    <a:pt x="7044" y="10704"/>
                  </a:lnTo>
                  <a:lnTo>
                    <a:pt x="7058" y="10704"/>
                  </a:lnTo>
                  <a:lnTo>
                    <a:pt x="7079" y="10701"/>
                  </a:lnTo>
                  <a:lnTo>
                    <a:pt x="7132" y="10687"/>
                  </a:lnTo>
                  <a:cubicBezTo>
                    <a:pt x="7205" y="10673"/>
                    <a:pt x="7335" y="10634"/>
                    <a:pt x="7475" y="10589"/>
                  </a:cubicBezTo>
                  <a:cubicBezTo>
                    <a:pt x="7639" y="10536"/>
                    <a:pt x="7811" y="10477"/>
                    <a:pt x="7902" y="10445"/>
                  </a:cubicBezTo>
                  <a:lnTo>
                    <a:pt x="7955" y="10428"/>
                  </a:lnTo>
                  <a:lnTo>
                    <a:pt x="8952" y="9622"/>
                  </a:lnTo>
                  <a:lnTo>
                    <a:pt x="11259" y="8184"/>
                  </a:lnTo>
                  <a:lnTo>
                    <a:pt x="11249" y="8138"/>
                  </a:lnTo>
                  <a:lnTo>
                    <a:pt x="11245" y="8128"/>
                  </a:lnTo>
                  <a:lnTo>
                    <a:pt x="11238" y="8110"/>
                  </a:lnTo>
                  <a:lnTo>
                    <a:pt x="11235" y="8096"/>
                  </a:lnTo>
                  <a:lnTo>
                    <a:pt x="11228" y="8078"/>
                  </a:lnTo>
                  <a:lnTo>
                    <a:pt x="11224" y="8061"/>
                  </a:lnTo>
                  <a:lnTo>
                    <a:pt x="11217" y="8047"/>
                  </a:lnTo>
                  <a:lnTo>
                    <a:pt x="11210" y="8029"/>
                  </a:lnTo>
                  <a:lnTo>
                    <a:pt x="11203" y="8012"/>
                  </a:lnTo>
                  <a:lnTo>
                    <a:pt x="11196" y="7994"/>
                  </a:lnTo>
                  <a:lnTo>
                    <a:pt x="11193" y="7980"/>
                  </a:lnTo>
                  <a:lnTo>
                    <a:pt x="11182" y="7959"/>
                  </a:lnTo>
                  <a:lnTo>
                    <a:pt x="11179" y="7949"/>
                  </a:lnTo>
                  <a:cubicBezTo>
                    <a:pt x="11172" y="7938"/>
                    <a:pt x="11168" y="7928"/>
                    <a:pt x="11165" y="7921"/>
                  </a:cubicBezTo>
                  <a:lnTo>
                    <a:pt x="11158" y="7910"/>
                  </a:lnTo>
                  <a:lnTo>
                    <a:pt x="11147" y="7893"/>
                  </a:lnTo>
                  <a:lnTo>
                    <a:pt x="11144" y="7882"/>
                  </a:lnTo>
                  <a:lnTo>
                    <a:pt x="11133" y="7868"/>
                  </a:lnTo>
                  <a:lnTo>
                    <a:pt x="11126" y="7858"/>
                  </a:lnTo>
                  <a:lnTo>
                    <a:pt x="11119" y="7847"/>
                  </a:lnTo>
                  <a:lnTo>
                    <a:pt x="11112" y="7840"/>
                  </a:lnTo>
                  <a:lnTo>
                    <a:pt x="11102" y="7830"/>
                  </a:lnTo>
                  <a:lnTo>
                    <a:pt x="11095" y="7826"/>
                  </a:lnTo>
                  <a:cubicBezTo>
                    <a:pt x="11091" y="7823"/>
                    <a:pt x="11088" y="7819"/>
                    <a:pt x="11084" y="7819"/>
                  </a:cubicBezTo>
                  <a:lnTo>
                    <a:pt x="11077" y="7816"/>
                  </a:lnTo>
                  <a:cubicBezTo>
                    <a:pt x="11074" y="7816"/>
                    <a:pt x="11067" y="7812"/>
                    <a:pt x="11060" y="7812"/>
                  </a:cubicBezTo>
                  <a:cubicBezTo>
                    <a:pt x="10986" y="7809"/>
                    <a:pt x="10913" y="7788"/>
                    <a:pt x="10846" y="7749"/>
                  </a:cubicBezTo>
                  <a:cubicBezTo>
                    <a:pt x="10787" y="7714"/>
                    <a:pt x="10724" y="7697"/>
                    <a:pt x="10657" y="7693"/>
                  </a:cubicBezTo>
                  <a:cubicBezTo>
                    <a:pt x="10458" y="7693"/>
                    <a:pt x="10234" y="7588"/>
                    <a:pt x="10209" y="7413"/>
                  </a:cubicBezTo>
                  <a:cubicBezTo>
                    <a:pt x="10202" y="7364"/>
                    <a:pt x="10202" y="7315"/>
                    <a:pt x="10209" y="7266"/>
                  </a:cubicBezTo>
                  <a:cubicBezTo>
                    <a:pt x="10227" y="7179"/>
                    <a:pt x="10209" y="7088"/>
                    <a:pt x="10157" y="7018"/>
                  </a:cubicBezTo>
                  <a:cubicBezTo>
                    <a:pt x="10115" y="6955"/>
                    <a:pt x="10069" y="6899"/>
                    <a:pt x="10020" y="6843"/>
                  </a:cubicBezTo>
                  <a:cubicBezTo>
                    <a:pt x="9954" y="6769"/>
                    <a:pt x="9905" y="6710"/>
                    <a:pt x="9905" y="6640"/>
                  </a:cubicBezTo>
                  <a:cubicBezTo>
                    <a:pt x="9905" y="6559"/>
                    <a:pt x="9989" y="6475"/>
                    <a:pt x="10129" y="6353"/>
                  </a:cubicBezTo>
                  <a:lnTo>
                    <a:pt x="10143" y="6339"/>
                  </a:lnTo>
                  <a:cubicBezTo>
                    <a:pt x="10136" y="6325"/>
                    <a:pt x="10125" y="6307"/>
                    <a:pt x="10118" y="6293"/>
                  </a:cubicBezTo>
                  <a:cubicBezTo>
                    <a:pt x="10087" y="6241"/>
                    <a:pt x="10066" y="6181"/>
                    <a:pt x="10062" y="6118"/>
                  </a:cubicBezTo>
                  <a:cubicBezTo>
                    <a:pt x="10059" y="6090"/>
                    <a:pt x="10055" y="6062"/>
                    <a:pt x="10048" y="6034"/>
                  </a:cubicBezTo>
                  <a:cubicBezTo>
                    <a:pt x="10027" y="5946"/>
                    <a:pt x="9999" y="5827"/>
                    <a:pt x="10076" y="5736"/>
                  </a:cubicBezTo>
                  <a:cubicBezTo>
                    <a:pt x="10143" y="5656"/>
                    <a:pt x="10185" y="5586"/>
                    <a:pt x="10108" y="5435"/>
                  </a:cubicBezTo>
                  <a:cubicBezTo>
                    <a:pt x="10055" y="5327"/>
                    <a:pt x="10087" y="5225"/>
                    <a:pt x="10115" y="5134"/>
                  </a:cubicBezTo>
                  <a:cubicBezTo>
                    <a:pt x="10143" y="5043"/>
                    <a:pt x="10167" y="4959"/>
                    <a:pt x="10125" y="4858"/>
                  </a:cubicBezTo>
                  <a:cubicBezTo>
                    <a:pt x="10080" y="4767"/>
                    <a:pt x="10034" y="4679"/>
                    <a:pt x="9978" y="4595"/>
                  </a:cubicBezTo>
                  <a:cubicBezTo>
                    <a:pt x="9905" y="4473"/>
                    <a:pt x="9856" y="4389"/>
                    <a:pt x="9866" y="4319"/>
                  </a:cubicBezTo>
                  <a:cubicBezTo>
                    <a:pt x="9870" y="4312"/>
                    <a:pt x="9873" y="4305"/>
                    <a:pt x="9873" y="4298"/>
                  </a:cubicBezTo>
                  <a:lnTo>
                    <a:pt x="9877" y="4291"/>
                  </a:lnTo>
                  <a:cubicBezTo>
                    <a:pt x="9880" y="4287"/>
                    <a:pt x="9884" y="4280"/>
                    <a:pt x="9887" y="4277"/>
                  </a:cubicBezTo>
                  <a:lnTo>
                    <a:pt x="9887" y="4273"/>
                  </a:lnTo>
                  <a:cubicBezTo>
                    <a:pt x="9894" y="4266"/>
                    <a:pt x="9898" y="4259"/>
                    <a:pt x="9901" y="4252"/>
                  </a:cubicBezTo>
                  <a:lnTo>
                    <a:pt x="9908" y="4249"/>
                  </a:lnTo>
                  <a:lnTo>
                    <a:pt x="9919" y="4235"/>
                  </a:lnTo>
                  <a:lnTo>
                    <a:pt x="9929" y="4228"/>
                  </a:lnTo>
                  <a:lnTo>
                    <a:pt x="9940" y="4217"/>
                  </a:lnTo>
                  <a:lnTo>
                    <a:pt x="9964" y="4200"/>
                  </a:lnTo>
                  <a:lnTo>
                    <a:pt x="9968" y="4196"/>
                  </a:lnTo>
                  <a:cubicBezTo>
                    <a:pt x="9961" y="4189"/>
                    <a:pt x="9957" y="4179"/>
                    <a:pt x="9957" y="4172"/>
                  </a:cubicBezTo>
                  <a:cubicBezTo>
                    <a:pt x="9950" y="4158"/>
                    <a:pt x="9947" y="4140"/>
                    <a:pt x="9947" y="4126"/>
                  </a:cubicBezTo>
                  <a:lnTo>
                    <a:pt x="9947" y="4116"/>
                  </a:lnTo>
                  <a:cubicBezTo>
                    <a:pt x="9943" y="4102"/>
                    <a:pt x="9943" y="4088"/>
                    <a:pt x="9943" y="4074"/>
                  </a:cubicBezTo>
                  <a:cubicBezTo>
                    <a:pt x="9943" y="3856"/>
                    <a:pt x="9782" y="3258"/>
                    <a:pt x="9698" y="3142"/>
                  </a:cubicBezTo>
                  <a:cubicBezTo>
                    <a:pt x="9659" y="3090"/>
                    <a:pt x="9568" y="3041"/>
                    <a:pt x="9488" y="2995"/>
                  </a:cubicBezTo>
                  <a:cubicBezTo>
                    <a:pt x="9362" y="2925"/>
                    <a:pt x="9264" y="2869"/>
                    <a:pt x="9264" y="2775"/>
                  </a:cubicBezTo>
                  <a:cubicBezTo>
                    <a:pt x="9264" y="2684"/>
                    <a:pt x="9264" y="2561"/>
                    <a:pt x="9075" y="2481"/>
                  </a:cubicBezTo>
                  <a:cubicBezTo>
                    <a:pt x="8868" y="2393"/>
                    <a:pt x="8732" y="2040"/>
                    <a:pt x="8763" y="1875"/>
                  </a:cubicBezTo>
                  <a:cubicBezTo>
                    <a:pt x="8767" y="1868"/>
                    <a:pt x="8767" y="1857"/>
                    <a:pt x="8770" y="1850"/>
                  </a:cubicBezTo>
                  <a:cubicBezTo>
                    <a:pt x="8784" y="1805"/>
                    <a:pt x="8826" y="1773"/>
                    <a:pt x="8875" y="1773"/>
                  </a:cubicBezTo>
                  <a:cubicBezTo>
                    <a:pt x="8914" y="1773"/>
                    <a:pt x="8973" y="1686"/>
                    <a:pt x="9019" y="1623"/>
                  </a:cubicBezTo>
                  <a:cubicBezTo>
                    <a:pt x="9071" y="1542"/>
                    <a:pt x="9131" y="1462"/>
                    <a:pt x="9201" y="1423"/>
                  </a:cubicBezTo>
                  <a:cubicBezTo>
                    <a:pt x="9253" y="1399"/>
                    <a:pt x="9327" y="1297"/>
                    <a:pt x="9362" y="1178"/>
                  </a:cubicBezTo>
                  <a:cubicBezTo>
                    <a:pt x="9376" y="1122"/>
                    <a:pt x="9390" y="1017"/>
                    <a:pt x="9337" y="937"/>
                  </a:cubicBezTo>
                  <a:cubicBezTo>
                    <a:pt x="9337" y="933"/>
                    <a:pt x="9334" y="930"/>
                    <a:pt x="9334" y="926"/>
                  </a:cubicBezTo>
                  <a:cubicBezTo>
                    <a:pt x="9330" y="923"/>
                    <a:pt x="9327" y="919"/>
                    <a:pt x="9327" y="912"/>
                  </a:cubicBezTo>
                  <a:cubicBezTo>
                    <a:pt x="9323" y="909"/>
                    <a:pt x="9323" y="905"/>
                    <a:pt x="9320" y="902"/>
                  </a:cubicBezTo>
                  <a:cubicBezTo>
                    <a:pt x="9320" y="898"/>
                    <a:pt x="9316" y="891"/>
                    <a:pt x="9313" y="888"/>
                  </a:cubicBezTo>
                  <a:cubicBezTo>
                    <a:pt x="9313" y="881"/>
                    <a:pt x="9309" y="877"/>
                    <a:pt x="9309" y="870"/>
                  </a:cubicBezTo>
                  <a:cubicBezTo>
                    <a:pt x="9306" y="867"/>
                    <a:pt x="9306" y="860"/>
                    <a:pt x="9302" y="856"/>
                  </a:cubicBezTo>
                  <a:cubicBezTo>
                    <a:pt x="9302" y="849"/>
                    <a:pt x="9302" y="846"/>
                    <a:pt x="9299" y="839"/>
                  </a:cubicBezTo>
                  <a:cubicBezTo>
                    <a:pt x="9299" y="835"/>
                    <a:pt x="9295" y="828"/>
                    <a:pt x="9295" y="821"/>
                  </a:cubicBezTo>
                  <a:cubicBezTo>
                    <a:pt x="9295" y="814"/>
                    <a:pt x="9292" y="807"/>
                    <a:pt x="9292" y="804"/>
                  </a:cubicBezTo>
                  <a:cubicBezTo>
                    <a:pt x="9292" y="797"/>
                    <a:pt x="9288" y="790"/>
                    <a:pt x="9288" y="783"/>
                  </a:cubicBezTo>
                  <a:cubicBezTo>
                    <a:pt x="9288" y="776"/>
                    <a:pt x="9288" y="769"/>
                    <a:pt x="9285" y="762"/>
                  </a:cubicBezTo>
                  <a:cubicBezTo>
                    <a:pt x="9285" y="755"/>
                    <a:pt x="9285" y="748"/>
                    <a:pt x="9285" y="737"/>
                  </a:cubicBezTo>
                  <a:cubicBezTo>
                    <a:pt x="9281" y="730"/>
                    <a:pt x="9285" y="723"/>
                    <a:pt x="9285" y="716"/>
                  </a:cubicBezTo>
                  <a:lnTo>
                    <a:pt x="9285" y="692"/>
                  </a:lnTo>
                  <a:lnTo>
                    <a:pt x="9285" y="667"/>
                  </a:lnTo>
                  <a:lnTo>
                    <a:pt x="9285" y="639"/>
                  </a:lnTo>
                  <a:lnTo>
                    <a:pt x="9285" y="615"/>
                  </a:lnTo>
                  <a:lnTo>
                    <a:pt x="9285" y="587"/>
                  </a:lnTo>
                  <a:lnTo>
                    <a:pt x="9285" y="555"/>
                  </a:lnTo>
                  <a:lnTo>
                    <a:pt x="9285" y="524"/>
                  </a:lnTo>
                  <a:lnTo>
                    <a:pt x="9285" y="496"/>
                  </a:lnTo>
                  <a:lnTo>
                    <a:pt x="9285" y="461"/>
                  </a:lnTo>
                  <a:cubicBezTo>
                    <a:pt x="9285" y="450"/>
                    <a:pt x="9285" y="440"/>
                    <a:pt x="9285" y="429"/>
                  </a:cubicBezTo>
                  <a:cubicBezTo>
                    <a:pt x="9288" y="415"/>
                    <a:pt x="9285" y="405"/>
                    <a:pt x="9288" y="391"/>
                  </a:cubicBezTo>
                  <a:cubicBezTo>
                    <a:pt x="9292" y="380"/>
                    <a:pt x="9288" y="370"/>
                    <a:pt x="9292" y="356"/>
                  </a:cubicBezTo>
                  <a:cubicBezTo>
                    <a:pt x="9295" y="345"/>
                    <a:pt x="9295" y="331"/>
                    <a:pt x="9295" y="321"/>
                  </a:cubicBezTo>
                  <a:cubicBezTo>
                    <a:pt x="9295" y="307"/>
                    <a:pt x="9299" y="293"/>
                    <a:pt x="9299" y="282"/>
                  </a:cubicBezTo>
                  <a:cubicBezTo>
                    <a:pt x="9302" y="268"/>
                    <a:pt x="9302" y="254"/>
                    <a:pt x="9306" y="240"/>
                  </a:cubicBezTo>
                  <a:cubicBezTo>
                    <a:pt x="9306" y="226"/>
                    <a:pt x="9306" y="216"/>
                    <a:pt x="9309" y="202"/>
                  </a:cubicBezTo>
                  <a:cubicBezTo>
                    <a:pt x="9309" y="188"/>
                    <a:pt x="9313" y="174"/>
                    <a:pt x="9316" y="156"/>
                  </a:cubicBezTo>
                  <a:cubicBezTo>
                    <a:pt x="9316" y="142"/>
                    <a:pt x="9320" y="128"/>
                    <a:pt x="9320" y="114"/>
                  </a:cubicBezTo>
                  <a:lnTo>
                    <a:pt x="9320" y="104"/>
                  </a:lnTo>
                  <a:cubicBezTo>
                    <a:pt x="9162" y="90"/>
                    <a:pt x="9008" y="55"/>
                    <a:pt x="8861" y="6"/>
                  </a:cubicBezTo>
                  <a:cubicBezTo>
                    <a:pt x="8852" y="2"/>
                    <a:pt x="8837" y="1"/>
                    <a:pt x="88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8" name="Google Shape;4525;p64">
              <a:extLst>
                <a:ext uri="{FF2B5EF4-FFF2-40B4-BE49-F238E27FC236}">
                  <a16:creationId xmlns:a16="http://schemas.microsoft.com/office/drawing/2014/main" id="{2AE35179-E279-9FD9-3DA0-3AD6490810FE}"/>
                </a:ext>
              </a:extLst>
            </p:cNvPr>
            <p:cNvSpPr/>
            <p:nvPr/>
          </p:nvSpPr>
          <p:spPr>
            <a:xfrm>
              <a:off x="2000849" y="18146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cubicBezTo>
                    <a:pt x="1" y="4"/>
                    <a:pt x="1" y="4"/>
                    <a:pt x="1" y="0"/>
                  </a:cubicBez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9" name="Google Shape;4526;p64">
              <a:extLst>
                <a:ext uri="{FF2B5EF4-FFF2-40B4-BE49-F238E27FC236}">
                  <a16:creationId xmlns:a16="http://schemas.microsoft.com/office/drawing/2014/main" id="{BCA170DB-856F-138C-5213-C1965FE38B45}"/>
                </a:ext>
              </a:extLst>
            </p:cNvPr>
            <p:cNvSpPr/>
            <p:nvPr/>
          </p:nvSpPr>
          <p:spPr>
            <a:xfrm>
              <a:off x="2021202" y="1799102"/>
              <a:ext cx="149" cy="869"/>
            </a:xfrm>
            <a:custGeom>
              <a:avLst/>
              <a:gdLst/>
              <a:ahLst/>
              <a:cxnLst/>
              <a:rect l="l" t="t" r="r" b="b"/>
              <a:pathLst>
                <a:path w="11" h="64" extrusionOk="0">
                  <a:moveTo>
                    <a:pt x="11" y="0"/>
                  </a:moveTo>
                  <a:cubicBezTo>
                    <a:pt x="7" y="14"/>
                    <a:pt x="4" y="39"/>
                    <a:pt x="0" y="63"/>
                  </a:cubicBezTo>
                  <a:cubicBezTo>
                    <a:pt x="4" y="39"/>
                    <a:pt x="7" y="1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0" name="Google Shape;4527;p64">
              <a:extLst>
                <a:ext uri="{FF2B5EF4-FFF2-40B4-BE49-F238E27FC236}">
                  <a16:creationId xmlns:a16="http://schemas.microsoft.com/office/drawing/2014/main" id="{BFB50BF4-3784-3649-CD0E-AC531FD35A48}"/>
                </a:ext>
              </a:extLst>
            </p:cNvPr>
            <p:cNvSpPr/>
            <p:nvPr/>
          </p:nvSpPr>
          <p:spPr>
            <a:xfrm>
              <a:off x="2034372" y="177129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8" y="32"/>
                  </a:moveTo>
                  <a:cubicBezTo>
                    <a:pt x="11" y="21"/>
                    <a:pt x="4" y="11"/>
                    <a:pt x="0" y="0"/>
                  </a:cubicBezTo>
                  <a:cubicBezTo>
                    <a:pt x="4" y="11"/>
                    <a:pt x="11" y="21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1" name="Google Shape;4528;p64">
              <a:extLst>
                <a:ext uri="{FF2B5EF4-FFF2-40B4-BE49-F238E27FC236}">
                  <a16:creationId xmlns:a16="http://schemas.microsoft.com/office/drawing/2014/main" id="{A8AE2085-A168-CA27-DB7B-AE969426E131}"/>
                </a:ext>
              </a:extLst>
            </p:cNvPr>
            <p:cNvSpPr/>
            <p:nvPr/>
          </p:nvSpPr>
          <p:spPr>
            <a:xfrm>
              <a:off x="1995581" y="1816645"/>
              <a:ext cx="1534" cy="299"/>
            </a:xfrm>
            <a:custGeom>
              <a:avLst/>
              <a:gdLst/>
              <a:ahLst/>
              <a:cxnLst/>
              <a:rect l="l" t="t" r="r" b="b"/>
              <a:pathLst>
                <a:path w="113" h="22" extrusionOk="0">
                  <a:moveTo>
                    <a:pt x="0" y="21"/>
                  </a:moveTo>
                  <a:cubicBezTo>
                    <a:pt x="35" y="7"/>
                    <a:pt x="74" y="0"/>
                    <a:pt x="112" y="4"/>
                  </a:cubicBezTo>
                  <a:cubicBezTo>
                    <a:pt x="74" y="0"/>
                    <a:pt x="35" y="7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2" name="Google Shape;4529;p64">
              <a:extLst>
                <a:ext uri="{FF2B5EF4-FFF2-40B4-BE49-F238E27FC236}">
                  <a16:creationId xmlns:a16="http://schemas.microsoft.com/office/drawing/2014/main" id="{6D8B0DA5-03BE-294F-BC0A-A768CF1486E9}"/>
                </a:ext>
              </a:extLst>
            </p:cNvPr>
            <p:cNvSpPr/>
            <p:nvPr/>
          </p:nvSpPr>
          <p:spPr>
            <a:xfrm>
              <a:off x="2034603" y="177177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0"/>
                  </a:moveTo>
                  <a:cubicBezTo>
                    <a:pt x="4" y="7"/>
                    <a:pt x="11" y="18"/>
                    <a:pt x="15" y="21"/>
                  </a:cubicBezTo>
                  <a:cubicBezTo>
                    <a:pt x="11" y="18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3" name="Google Shape;4530;p64">
              <a:extLst>
                <a:ext uri="{FF2B5EF4-FFF2-40B4-BE49-F238E27FC236}">
                  <a16:creationId xmlns:a16="http://schemas.microsoft.com/office/drawing/2014/main" id="{0C7127E9-35F4-CAD3-B2B1-26D665FDB26E}"/>
                </a:ext>
              </a:extLst>
            </p:cNvPr>
            <p:cNvSpPr/>
            <p:nvPr/>
          </p:nvSpPr>
          <p:spPr>
            <a:xfrm>
              <a:off x="2034182" y="177105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4" name="Google Shape;4531;p64">
              <a:extLst>
                <a:ext uri="{FF2B5EF4-FFF2-40B4-BE49-F238E27FC236}">
                  <a16:creationId xmlns:a16="http://schemas.microsoft.com/office/drawing/2014/main" id="{30F956C4-C6A8-9B74-DB4B-B1DE00921400}"/>
                </a:ext>
              </a:extLst>
            </p:cNvPr>
            <p:cNvSpPr/>
            <p:nvPr/>
          </p:nvSpPr>
          <p:spPr>
            <a:xfrm>
              <a:off x="1997672" y="1816115"/>
              <a:ext cx="2675" cy="611"/>
            </a:xfrm>
            <a:custGeom>
              <a:avLst/>
              <a:gdLst/>
              <a:ahLst/>
              <a:cxnLst/>
              <a:rect l="l" t="t" r="r" b="b"/>
              <a:pathLst>
                <a:path w="197" h="45" extrusionOk="0">
                  <a:moveTo>
                    <a:pt x="196" y="1"/>
                  </a:moveTo>
                  <a:cubicBezTo>
                    <a:pt x="154" y="40"/>
                    <a:pt x="93" y="43"/>
                    <a:pt x="30" y="43"/>
                  </a:cubicBezTo>
                  <a:cubicBezTo>
                    <a:pt x="20" y="43"/>
                    <a:pt x="10" y="43"/>
                    <a:pt x="0" y="43"/>
                  </a:cubicBezTo>
                  <a:cubicBezTo>
                    <a:pt x="16" y="43"/>
                    <a:pt x="32" y="44"/>
                    <a:pt x="48" y="44"/>
                  </a:cubicBezTo>
                  <a:cubicBezTo>
                    <a:pt x="105" y="44"/>
                    <a:pt x="158" y="36"/>
                    <a:pt x="1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5" name="Google Shape;4532;p64">
              <a:extLst>
                <a:ext uri="{FF2B5EF4-FFF2-40B4-BE49-F238E27FC236}">
                  <a16:creationId xmlns:a16="http://schemas.microsoft.com/office/drawing/2014/main" id="{FAA68EAE-9D87-EF41-1A4A-0016821AE11F}"/>
                </a:ext>
              </a:extLst>
            </p:cNvPr>
            <p:cNvSpPr/>
            <p:nvPr/>
          </p:nvSpPr>
          <p:spPr>
            <a:xfrm>
              <a:off x="2027950" y="1795491"/>
              <a:ext cx="8282" cy="434"/>
            </a:xfrm>
            <a:custGeom>
              <a:avLst/>
              <a:gdLst/>
              <a:ahLst/>
              <a:cxnLst/>
              <a:rect l="l" t="t" r="r" b="b"/>
              <a:pathLst>
                <a:path w="610" h="32" extrusionOk="0">
                  <a:moveTo>
                    <a:pt x="610" y="32"/>
                  </a:moveTo>
                  <a:cubicBezTo>
                    <a:pt x="477" y="25"/>
                    <a:pt x="91" y="0"/>
                    <a:pt x="0" y="32"/>
                  </a:cubicBezTo>
                  <a:cubicBezTo>
                    <a:pt x="91" y="0"/>
                    <a:pt x="477" y="25"/>
                    <a:pt x="61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6" name="Google Shape;4533;p64">
              <a:extLst>
                <a:ext uri="{FF2B5EF4-FFF2-40B4-BE49-F238E27FC236}">
                  <a16:creationId xmlns:a16="http://schemas.microsoft.com/office/drawing/2014/main" id="{8BCEE769-2747-3153-5E7E-D76E9B55AD51}"/>
                </a:ext>
              </a:extLst>
            </p:cNvPr>
            <p:cNvSpPr/>
            <p:nvPr/>
          </p:nvSpPr>
          <p:spPr>
            <a:xfrm>
              <a:off x="2110135" y="1764018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cubicBezTo>
                    <a:pt x="0" y="8"/>
                    <a:pt x="0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7" name="Google Shape;4534;p64">
              <a:extLst>
                <a:ext uri="{FF2B5EF4-FFF2-40B4-BE49-F238E27FC236}">
                  <a16:creationId xmlns:a16="http://schemas.microsoft.com/office/drawing/2014/main" id="{5C21A52E-5631-C1EB-E99F-105CE59FB7AC}"/>
                </a:ext>
              </a:extLst>
            </p:cNvPr>
            <p:cNvSpPr/>
            <p:nvPr/>
          </p:nvSpPr>
          <p:spPr>
            <a:xfrm>
              <a:off x="2110270" y="1764493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1"/>
                    <a:pt x="4" y="18"/>
                  </a:cubicBez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8" name="Google Shape;4535;p64">
              <a:extLst>
                <a:ext uri="{FF2B5EF4-FFF2-40B4-BE49-F238E27FC236}">
                  <a16:creationId xmlns:a16="http://schemas.microsoft.com/office/drawing/2014/main" id="{434EFD11-7459-BE85-D644-F5DE2DA1EA30}"/>
                </a:ext>
              </a:extLst>
            </p:cNvPr>
            <p:cNvSpPr/>
            <p:nvPr/>
          </p:nvSpPr>
          <p:spPr>
            <a:xfrm>
              <a:off x="2110080" y="1763448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1"/>
                  </a:moveTo>
                  <a:cubicBezTo>
                    <a:pt x="1" y="8"/>
                    <a:pt x="1" y="15"/>
                    <a:pt x="4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9" name="Google Shape;4536;p64">
              <a:extLst>
                <a:ext uri="{FF2B5EF4-FFF2-40B4-BE49-F238E27FC236}">
                  <a16:creationId xmlns:a16="http://schemas.microsoft.com/office/drawing/2014/main" id="{3A2C8789-AAF6-8B44-8491-6E5A8D9A2AEE}"/>
                </a:ext>
              </a:extLst>
            </p:cNvPr>
            <p:cNvSpPr/>
            <p:nvPr/>
          </p:nvSpPr>
          <p:spPr>
            <a:xfrm>
              <a:off x="2110039" y="1759836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0" y="1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0" name="Google Shape;4537;p64">
              <a:extLst>
                <a:ext uri="{FF2B5EF4-FFF2-40B4-BE49-F238E27FC236}">
                  <a16:creationId xmlns:a16="http://schemas.microsoft.com/office/drawing/2014/main" id="{33D1A7BD-E89E-70D4-0090-50DC874F58E4}"/>
                </a:ext>
              </a:extLst>
            </p:cNvPr>
            <p:cNvSpPr/>
            <p:nvPr/>
          </p:nvSpPr>
          <p:spPr>
            <a:xfrm>
              <a:off x="2110039" y="1762878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1" name="Google Shape;4538;p64">
              <a:extLst>
                <a:ext uri="{FF2B5EF4-FFF2-40B4-BE49-F238E27FC236}">
                  <a16:creationId xmlns:a16="http://schemas.microsoft.com/office/drawing/2014/main" id="{BA897C4F-C3BB-3015-5166-FFE1927132B0}"/>
                </a:ext>
              </a:extLst>
            </p:cNvPr>
            <p:cNvSpPr/>
            <p:nvPr/>
          </p:nvSpPr>
          <p:spPr>
            <a:xfrm>
              <a:off x="2119218" y="18097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2" name="Google Shape;4539;p64">
              <a:extLst>
                <a:ext uri="{FF2B5EF4-FFF2-40B4-BE49-F238E27FC236}">
                  <a16:creationId xmlns:a16="http://schemas.microsoft.com/office/drawing/2014/main" id="{2586DAF2-30CA-F7CA-E89D-F85305B2356C}"/>
                </a:ext>
              </a:extLst>
            </p:cNvPr>
            <p:cNvSpPr/>
            <p:nvPr/>
          </p:nvSpPr>
          <p:spPr>
            <a:xfrm>
              <a:off x="2110555" y="176534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3" name="Google Shape;4540;p64">
              <a:extLst>
                <a:ext uri="{FF2B5EF4-FFF2-40B4-BE49-F238E27FC236}">
                  <a16:creationId xmlns:a16="http://schemas.microsoft.com/office/drawing/2014/main" id="{BEC6AD72-5363-E5A2-9969-7C2A914C1D1B}"/>
                </a:ext>
              </a:extLst>
            </p:cNvPr>
            <p:cNvSpPr/>
            <p:nvPr/>
          </p:nvSpPr>
          <p:spPr>
            <a:xfrm>
              <a:off x="2119028" y="180898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4" name="Google Shape;4541;p64">
              <a:extLst>
                <a:ext uri="{FF2B5EF4-FFF2-40B4-BE49-F238E27FC236}">
                  <a16:creationId xmlns:a16="http://schemas.microsoft.com/office/drawing/2014/main" id="{5A672848-6F01-E655-B41B-CD950376D22A}"/>
                </a:ext>
              </a:extLst>
            </p:cNvPr>
            <p:cNvSpPr/>
            <p:nvPr/>
          </p:nvSpPr>
          <p:spPr>
            <a:xfrm>
              <a:off x="2110365" y="176496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1" y="1"/>
                  </a:ln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5" name="Google Shape;4542;p64">
              <a:extLst>
                <a:ext uri="{FF2B5EF4-FFF2-40B4-BE49-F238E27FC236}">
                  <a16:creationId xmlns:a16="http://schemas.microsoft.com/office/drawing/2014/main" id="{FE56EB0D-9E99-B31D-5495-6F38682B401C}"/>
                </a:ext>
              </a:extLst>
            </p:cNvPr>
            <p:cNvSpPr/>
            <p:nvPr/>
          </p:nvSpPr>
          <p:spPr>
            <a:xfrm>
              <a:off x="2110080" y="1758981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cubicBezTo>
                    <a:pt x="1" y="11"/>
                    <a:pt x="1" y="22"/>
                    <a:pt x="1" y="32"/>
                  </a:cubicBez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6" name="Google Shape;4543;p64">
              <a:extLst>
                <a:ext uri="{FF2B5EF4-FFF2-40B4-BE49-F238E27FC236}">
                  <a16:creationId xmlns:a16="http://schemas.microsoft.com/office/drawing/2014/main" id="{DF5CF4F7-3FD9-19E0-3F4C-39B95B0BA51F}"/>
                </a:ext>
              </a:extLst>
            </p:cNvPr>
            <p:cNvSpPr/>
            <p:nvPr/>
          </p:nvSpPr>
          <p:spPr>
            <a:xfrm>
              <a:off x="2109985" y="176221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7" name="Google Shape;4544;p64">
              <a:extLst>
                <a:ext uri="{FF2B5EF4-FFF2-40B4-BE49-F238E27FC236}">
                  <a16:creationId xmlns:a16="http://schemas.microsoft.com/office/drawing/2014/main" id="{305C228C-48B4-6E21-2A31-EF69117BA358}"/>
                </a:ext>
              </a:extLst>
            </p:cNvPr>
            <p:cNvSpPr/>
            <p:nvPr/>
          </p:nvSpPr>
          <p:spPr>
            <a:xfrm>
              <a:off x="2109985" y="176069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8" name="Google Shape;4545;p64">
              <a:extLst>
                <a:ext uri="{FF2B5EF4-FFF2-40B4-BE49-F238E27FC236}">
                  <a16:creationId xmlns:a16="http://schemas.microsoft.com/office/drawing/2014/main" id="{DE3DB216-895A-F6FF-C0E7-B55C26AC5E1C}"/>
                </a:ext>
              </a:extLst>
            </p:cNvPr>
            <p:cNvSpPr/>
            <p:nvPr/>
          </p:nvSpPr>
          <p:spPr>
            <a:xfrm>
              <a:off x="2109985" y="1761452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9" name="Google Shape;4546;p64">
              <a:extLst>
                <a:ext uri="{FF2B5EF4-FFF2-40B4-BE49-F238E27FC236}">
                  <a16:creationId xmlns:a16="http://schemas.microsoft.com/office/drawing/2014/main" id="{F0B58458-6B29-C2C2-31DC-9BD64B05FF26}"/>
                </a:ext>
              </a:extLst>
            </p:cNvPr>
            <p:cNvSpPr/>
            <p:nvPr/>
          </p:nvSpPr>
          <p:spPr>
            <a:xfrm>
              <a:off x="2110705" y="1765688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0" name="Google Shape;4547;p64">
              <a:extLst>
                <a:ext uri="{FF2B5EF4-FFF2-40B4-BE49-F238E27FC236}">
                  <a16:creationId xmlns:a16="http://schemas.microsoft.com/office/drawing/2014/main" id="{83330642-9FAF-5B90-C42C-F9E4FDD30202}"/>
                </a:ext>
              </a:extLst>
            </p:cNvPr>
            <p:cNvSpPr/>
            <p:nvPr/>
          </p:nvSpPr>
          <p:spPr>
            <a:xfrm>
              <a:off x="2110135" y="1757990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4" y="14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1" name="Google Shape;4548;p64">
              <a:extLst>
                <a:ext uri="{FF2B5EF4-FFF2-40B4-BE49-F238E27FC236}">
                  <a16:creationId xmlns:a16="http://schemas.microsoft.com/office/drawing/2014/main" id="{590D9A3A-7F6F-7813-2870-DAEBA966DDDA}"/>
                </a:ext>
              </a:extLst>
            </p:cNvPr>
            <p:cNvSpPr/>
            <p:nvPr/>
          </p:nvSpPr>
          <p:spPr>
            <a:xfrm>
              <a:off x="2110230" y="17569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1"/>
                    <a:pt x="0" y="25"/>
                    <a:pt x="0" y="36"/>
                  </a:cubicBezTo>
                  <a:cubicBezTo>
                    <a:pt x="0" y="25"/>
                    <a:pt x="4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2" name="Google Shape;4549;p64">
              <a:extLst>
                <a:ext uri="{FF2B5EF4-FFF2-40B4-BE49-F238E27FC236}">
                  <a16:creationId xmlns:a16="http://schemas.microsoft.com/office/drawing/2014/main" id="{AEEB3B69-2B86-126D-EC79-E483F1D4914D}"/>
                </a:ext>
              </a:extLst>
            </p:cNvPr>
            <p:cNvSpPr/>
            <p:nvPr/>
          </p:nvSpPr>
          <p:spPr>
            <a:xfrm>
              <a:off x="2110365" y="1755899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4" y="0"/>
                  </a:moveTo>
                  <a:cubicBezTo>
                    <a:pt x="4" y="14"/>
                    <a:pt x="1" y="25"/>
                    <a:pt x="1" y="39"/>
                  </a:cubicBezTo>
                  <a:cubicBezTo>
                    <a:pt x="1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3" name="Google Shape;4550;p64">
              <a:extLst>
                <a:ext uri="{FF2B5EF4-FFF2-40B4-BE49-F238E27FC236}">
                  <a16:creationId xmlns:a16="http://schemas.microsoft.com/office/drawing/2014/main" id="{D9459D41-587C-1521-F52A-2BB8233269E8}"/>
                </a:ext>
              </a:extLst>
            </p:cNvPr>
            <p:cNvSpPr/>
            <p:nvPr/>
          </p:nvSpPr>
          <p:spPr>
            <a:xfrm>
              <a:off x="2110515" y="1754704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4" y="1"/>
                  </a:moveTo>
                  <a:lnTo>
                    <a:pt x="4" y="1"/>
                  </a:lnTo>
                  <a:cubicBezTo>
                    <a:pt x="4" y="15"/>
                    <a:pt x="0" y="32"/>
                    <a:pt x="0" y="46"/>
                  </a:cubicBezTo>
                  <a:cubicBezTo>
                    <a:pt x="0" y="32"/>
                    <a:pt x="4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4" name="Google Shape;4551;p64">
              <a:extLst>
                <a:ext uri="{FF2B5EF4-FFF2-40B4-BE49-F238E27FC236}">
                  <a16:creationId xmlns:a16="http://schemas.microsoft.com/office/drawing/2014/main" id="{5460DF51-DC7A-9D25-282C-BBE48DE6A564}"/>
                </a:ext>
              </a:extLst>
            </p:cNvPr>
            <p:cNvSpPr/>
            <p:nvPr/>
          </p:nvSpPr>
          <p:spPr>
            <a:xfrm>
              <a:off x="2119734" y="1788268"/>
              <a:ext cx="110385" cy="105294"/>
            </a:xfrm>
            <a:custGeom>
              <a:avLst/>
              <a:gdLst/>
              <a:ahLst/>
              <a:cxnLst/>
              <a:rect l="l" t="t" r="r" b="b"/>
              <a:pathLst>
                <a:path w="8130" h="7755" extrusionOk="0">
                  <a:moveTo>
                    <a:pt x="1152" y="0"/>
                  </a:moveTo>
                  <a:lnTo>
                    <a:pt x="1152" y="4"/>
                  </a:lnTo>
                  <a:cubicBezTo>
                    <a:pt x="1152" y="21"/>
                    <a:pt x="1152" y="35"/>
                    <a:pt x="1152" y="49"/>
                  </a:cubicBezTo>
                  <a:lnTo>
                    <a:pt x="1152" y="56"/>
                  </a:lnTo>
                  <a:cubicBezTo>
                    <a:pt x="1152" y="70"/>
                    <a:pt x="1152" y="84"/>
                    <a:pt x="1149" y="98"/>
                  </a:cubicBezTo>
                  <a:lnTo>
                    <a:pt x="1149" y="102"/>
                  </a:lnTo>
                  <a:lnTo>
                    <a:pt x="1149" y="137"/>
                  </a:lnTo>
                  <a:lnTo>
                    <a:pt x="1149" y="144"/>
                  </a:lnTo>
                  <a:lnTo>
                    <a:pt x="1149" y="175"/>
                  </a:lnTo>
                  <a:cubicBezTo>
                    <a:pt x="1156" y="371"/>
                    <a:pt x="988" y="392"/>
                    <a:pt x="914" y="399"/>
                  </a:cubicBezTo>
                  <a:lnTo>
                    <a:pt x="893" y="403"/>
                  </a:lnTo>
                  <a:lnTo>
                    <a:pt x="876" y="403"/>
                  </a:lnTo>
                  <a:cubicBezTo>
                    <a:pt x="799" y="466"/>
                    <a:pt x="729" y="536"/>
                    <a:pt x="659" y="606"/>
                  </a:cubicBezTo>
                  <a:lnTo>
                    <a:pt x="648" y="616"/>
                  </a:lnTo>
                  <a:lnTo>
                    <a:pt x="638" y="630"/>
                  </a:lnTo>
                  <a:lnTo>
                    <a:pt x="606" y="662"/>
                  </a:lnTo>
                  <a:cubicBezTo>
                    <a:pt x="547" y="718"/>
                    <a:pt x="498" y="767"/>
                    <a:pt x="473" y="788"/>
                  </a:cubicBezTo>
                  <a:cubicBezTo>
                    <a:pt x="431" y="833"/>
                    <a:pt x="417" y="896"/>
                    <a:pt x="442" y="952"/>
                  </a:cubicBezTo>
                  <a:cubicBezTo>
                    <a:pt x="494" y="1057"/>
                    <a:pt x="403" y="1334"/>
                    <a:pt x="344" y="1450"/>
                  </a:cubicBezTo>
                  <a:cubicBezTo>
                    <a:pt x="295" y="1527"/>
                    <a:pt x="232" y="1593"/>
                    <a:pt x="155" y="1642"/>
                  </a:cubicBezTo>
                  <a:lnTo>
                    <a:pt x="148" y="1646"/>
                  </a:lnTo>
                  <a:lnTo>
                    <a:pt x="113" y="1667"/>
                  </a:lnTo>
                  <a:lnTo>
                    <a:pt x="88" y="1684"/>
                  </a:lnTo>
                  <a:cubicBezTo>
                    <a:pt x="57" y="1705"/>
                    <a:pt x="29" y="1730"/>
                    <a:pt x="1" y="1754"/>
                  </a:cubicBezTo>
                  <a:cubicBezTo>
                    <a:pt x="1" y="1758"/>
                    <a:pt x="1" y="1761"/>
                    <a:pt x="1" y="1765"/>
                  </a:cubicBezTo>
                  <a:lnTo>
                    <a:pt x="1" y="1768"/>
                  </a:lnTo>
                  <a:cubicBezTo>
                    <a:pt x="1" y="1772"/>
                    <a:pt x="4" y="1775"/>
                    <a:pt x="4" y="1779"/>
                  </a:cubicBezTo>
                  <a:lnTo>
                    <a:pt x="8" y="1786"/>
                  </a:lnTo>
                  <a:lnTo>
                    <a:pt x="11" y="1796"/>
                  </a:lnTo>
                  <a:lnTo>
                    <a:pt x="18" y="1810"/>
                  </a:lnTo>
                  <a:lnTo>
                    <a:pt x="22" y="1817"/>
                  </a:lnTo>
                  <a:cubicBezTo>
                    <a:pt x="43" y="1852"/>
                    <a:pt x="67" y="1898"/>
                    <a:pt x="92" y="1936"/>
                  </a:cubicBezTo>
                  <a:cubicBezTo>
                    <a:pt x="148" y="2027"/>
                    <a:pt x="200" y="2118"/>
                    <a:pt x="242" y="2216"/>
                  </a:cubicBezTo>
                  <a:cubicBezTo>
                    <a:pt x="309" y="2360"/>
                    <a:pt x="270" y="2486"/>
                    <a:pt x="239" y="2584"/>
                  </a:cubicBezTo>
                  <a:cubicBezTo>
                    <a:pt x="214" y="2671"/>
                    <a:pt x="197" y="2727"/>
                    <a:pt x="225" y="2787"/>
                  </a:cubicBezTo>
                  <a:cubicBezTo>
                    <a:pt x="333" y="2997"/>
                    <a:pt x="267" y="3123"/>
                    <a:pt x="179" y="3228"/>
                  </a:cubicBezTo>
                  <a:cubicBezTo>
                    <a:pt x="144" y="3273"/>
                    <a:pt x="158" y="3343"/>
                    <a:pt x="176" y="3417"/>
                  </a:cubicBezTo>
                  <a:cubicBezTo>
                    <a:pt x="186" y="3452"/>
                    <a:pt x="190" y="3491"/>
                    <a:pt x="193" y="3526"/>
                  </a:cubicBezTo>
                  <a:cubicBezTo>
                    <a:pt x="200" y="3568"/>
                    <a:pt x="214" y="3606"/>
                    <a:pt x="235" y="3641"/>
                  </a:cubicBezTo>
                  <a:cubicBezTo>
                    <a:pt x="270" y="3708"/>
                    <a:pt x="305" y="3774"/>
                    <a:pt x="253" y="3823"/>
                  </a:cubicBezTo>
                  <a:cubicBezTo>
                    <a:pt x="249" y="3830"/>
                    <a:pt x="232" y="3844"/>
                    <a:pt x="214" y="3858"/>
                  </a:cubicBezTo>
                  <a:cubicBezTo>
                    <a:pt x="172" y="3897"/>
                    <a:pt x="137" y="3928"/>
                    <a:pt x="113" y="3953"/>
                  </a:cubicBezTo>
                  <a:cubicBezTo>
                    <a:pt x="57" y="4009"/>
                    <a:pt x="39" y="4037"/>
                    <a:pt x="36" y="4051"/>
                  </a:cubicBezTo>
                  <a:cubicBezTo>
                    <a:pt x="46" y="4079"/>
                    <a:pt x="67" y="4107"/>
                    <a:pt x="88" y="4131"/>
                  </a:cubicBezTo>
                  <a:lnTo>
                    <a:pt x="120" y="4166"/>
                  </a:lnTo>
                  <a:cubicBezTo>
                    <a:pt x="172" y="4226"/>
                    <a:pt x="221" y="4289"/>
                    <a:pt x="267" y="4355"/>
                  </a:cubicBezTo>
                  <a:cubicBezTo>
                    <a:pt x="337" y="4450"/>
                    <a:pt x="361" y="4572"/>
                    <a:pt x="340" y="4688"/>
                  </a:cubicBezTo>
                  <a:cubicBezTo>
                    <a:pt x="337" y="4726"/>
                    <a:pt x="333" y="4765"/>
                    <a:pt x="337" y="4803"/>
                  </a:cubicBezTo>
                  <a:cubicBezTo>
                    <a:pt x="351" y="4901"/>
                    <a:pt x="519" y="4971"/>
                    <a:pt x="655" y="4971"/>
                  </a:cubicBezTo>
                  <a:cubicBezTo>
                    <a:pt x="743" y="4975"/>
                    <a:pt x="827" y="4999"/>
                    <a:pt x="900" y="5041"/>
                  </a:cubicBezTo>
                  <a:cubicBezTo>
                    <a:pt x="949" y="5069"/>
                    <a:pt x="1005" y="5087"/>
                    <a:pt x="1061" y="5090"/>
                  </a:cubicBezTo>
                  <a:cubicBezTo>
                    <a:pt x="1072" y="5090"/>
                    <a:pt x="1082" y="5090"/>
                    <a:pt x="1093" y="5094"/>
                  </a:cubicBezTo>
                  <a:lnTo>
                    <a:pt x="1103" y="5097"/>
                  </a:lnTo>
                  <a:cubicBezTo>
                    <a:pt x="1110" y="5097"/>
                    <a:pt x="1114" y="5101"/>
                    <a:pt x="1121" y="5101"/>
                  </a:cubicBezTo>
                  <a:lnTo>
                    <a:pt x="1131" y="5108"/>
                  </a:lnTo>
                  <a:cubicBezTo>
                    <a:pt x="1138" y="5111"/>
                    <a:pt x="1145" y="5111"/>
                    <a:pt x="1149" y="5115"/>
                  </a:cubicBezTo>
                  <a:lnTo>
                    <a:pt x="1159" y="5122"/>
                  </a:lnTo>
                  <a:lnTo>
                    <a:pt x="1177" y="5132"/>
                  </a:lnTo>
                  <a:lnTo>
                    <a:pt x="1187" y="5143"/>
                  </a:lnTo>
                  <a:lnTo>
                    <a:pt x="1201" y="5157"/>
                  </a:lnTo>
                  <a:lnTo>
                    <a:pt x="1212" y="5167"/>
                  </a:lnTo>
                  <a:lnTo>
                    <a:pt x="1222" y="5181"/>
                  </a:lnTo>
                  <a:lnTo>
                    <a:pt x="1233" y="5195"/>
                  </a:lnTo>
                  <a:lnTo>
                    <a:pt x="1247" y="5209"/>
                  </a:lnTo>
                  <a:lnTo>
                    <a:pt x="1254" y="5227"/>
                  </a:lnTo>
                  <a:lnTo>
                    <a:pt x="1264" y="5244"/>
                  </a:lnTo>
                  <a:lnTo>
                    <a:pt x="1275" y="5258"/>
                  </a:lnTo>
                  <a:lnTo>
                    <a:pt x="1285" y="5279"/>
                  </a:lnTo>
                  <a:lnTo>
                    <a:pt x="1292" y="5297"/>
                  </a:lnTo>
                  <a:lnTo>
                    <a:pt x="1303" y="5318"/>
                  </a:lnTo>
                  <a:lnTo>
                    <a:pt x="1310" y="5335"/>
                  </a:lnTo>
                  <a:lnTo>
                    <a:pt x="1320" y="5360"/>
                  </a:lnTo>
                  <a:lnTo>
                    <a:pt x="1327" y="5377"/>
                  </a:lnTo>
                  <a:lnTo>
                    <a:pt x="1338" y="5402"/>
                  </a:lnTo>
                  <a:lnTo>
                    <a:pt x="1341" y="5419"/>
                  </a:lnTo>
                  <a:lnTo>
                    <a:pt x="1352" y="5451"/>
                  </a:lnTo>
                  <a:lnTo>
                    <a:pt x="1359" y="5465"/>
                  </a:lnTo>
                  <a:lnTo>
                    <a:pt x="1369" y="5504"/>
                  </a:lnTo>
                  <a:lnTo>
                    <a:pt x="1373" y="5511"/>
                  </a:lnTo>
                  <a:lnTo>
                    <a:pt x="1387" y="5560"/>
                  </a:lnTo>
                  <a:cubicBezTo>
                    <a:pt x="1425" y="5560"/>
                    <a:pt x="1485" y="5563"/>
                    <a:pt x="1555" y="5567"/>
                  </a:cubicBezTo>
                  <a:lnTo>
                    <a:pt x="1562" y="5567"/>
                  </a:lnTo>
                  <a:lnTo>
                    <a:pt x="1600" y="5570"/>
                  </a:lnTo>
                  <a:lnTo>
                    <a:pt x="1625" y="5574"/>
                  </a:lnTo>
                  <a:lnTo>
                    <a:pt x="1646" y="5574"/>
                  </a:lnTo>
                  <a:cubicBezTo>
                    <a:pt x="1733" y="5584"/>
                    <a:pt x="1821" y="5598"/>
                    <a:pt x="1909" y="5619"/>
                  </a:cubicBezTo>
                  <a:lnTo>
                    <a:pt x="1916" y="5619"/>
                  </a:lnTo>
                  <a:lnTo>
                    <a:pt x="1965" y="5630"/>
                  </a:lnTo>
                  <a:lnTo>
                    <a:pt x="1979" y="5637"/>
                  </a:lnTo>
                  <a:lnTo>
                    <a:pt x="2003" y="5644"/>
                  </a:lnTo>
                  <a:lnTo>
                    <a:pt x="2035" y="5654"/>
                  </a:lnTo>
                  <a:lnTo>
                    <a:pt x="2056" y="5661"/>
                  </a:lnTo>
                  <a:lnTo>
                    <a:pt x="2084" y="5672"/>
                  </a:lnTo>
                  <a:lnTo>
                    <a:pt x="2094" y="5675"/>
                  </a:lnTo>
                  <a:cubicBezTo>
                    <a:pt x="2108" y="5682"/>
                    <a:pt x="2119" y="5689"/>
                    <a:pt x="2133" y="5693"/>
                  </a:cubicBezTo>
                  <a:lnTo>
                    <a:pt x="2140" y="5700"/>
                  </a:lnTo>
                  <a:cubicBezTo>
                    <a:pt x="2154" y="5707"/>
                    <a:pt x="2164" y="5710"/>
                    <a:pt x="2175" y="5721"/>
                  </a:cubicBezTo>
                  <a:cubicBezTo>
                    <a:pt x="2196" y="5731"/>
                    <a:pt x="2213" y="5745"/>
                    <a:pt x="2231" y="5759"/>
                  </a:cubicBezTo>
                  <a:cubicBezTo>
                    <a:pt x="2336" y="5836"/>
                    <a:pt x="2427" y="5931"/>
                    <a:pt x="2504" y="6032"/>
                  </a:cubicBezTo>
                  <a:lnTo>
                    <a:pt x="3407" y="5546"/>
                  </a:lnTo>
                  <a:lnTo>
                    <a:pt x="7517" y="7755"/>
                  </a:lnTo>
                  <a:lnTo>
                    <a:pt x="7517" y="7509"/>
                  </a:lnTo>
                  <a:lnTo>
                    <a:pt x="8021" y="7509"/>
                  </a:lnTo>
                  <a:lnTo>
                    <a:pt x="8021" y="2213"/>
                  </a:lnTo>
                  <a:cubicBezTo>
                    <a:pt x="8017" y="2097"/>
                    <a:pt x="8003" y="1978"/>
                    <a:pt x="7979" y="1863"/>
                  </a:cubicBezTo>
                  <a:cubicBezTo>
                    <a:pt x="7940" y="1677"/>
                    <a:pt x="7909" y="1513"/>
                    <a:pt x="8035" y="1362"/>
                  </a:cubicBezTo>
                  <a:cubicBezTo>
                    <a:pt x="8098" y="1285"/>
                    <a:pt x="8088" y="1239"/>
                    <a:pt x="8070" y="1145"/>
                  </a:cubicBezTo>
                  <a:cubicBezTo>
                    <a:pt x="8031" y="998"/>
                    <a:pt x="8039" y="844"/>
                    <a:pt x="8091" y="707"/>
                  </a:cubicBezTo>
                  <a:lnTo>
                    <a:pt x="8105" y="672"/>
                  </a:lnTo>
                  <a:lnTo>
                    <a:pt x="8130" y="602"/>
                  </a:lnTo>
                  <a:cubicBezTo>
                    <a:pt x="8130" y="599"/>
                    <a:pt x="8126" y="595"/>
                    <a:pt x="8126" y="592"/>
                  </a:cubicBezTo>
                  <a:cubicBezTo>
                    <a:pt x="8105" y="536"/>
                    <a:pt x="7923" y="511"/>
                    <a:pt x="7671" y="476"/>
                  </a:cubicBezTo>
                  <a:cubicBezTo>
                    <a:pt x="7601" y="466"/>
                    <a:pt x="7527" y="455"/>
                    <a:pt x="7443" y="441"/>
                  </a:cubicBezTo>
                  <a:cubicBezTo>
                    <a:pt x="7191" y="403"/>
                    <a:pt x="7100" y="298"/>
                    <a:pt x="7020" y="203"/>
                  </a:cubicBezTo>
                  <a:cubicBezTo>
                    <a:pt x="6939" y="112"/>
                    <a:pt x="6869" y="28"/>
                    <a:pt x="6614" y="14"/>
                  </a:cubicBezTo>
                  <a:cubicBezTo>
                    <a:pt x="6596" y="13"/>
                    <a:pt x="6579" y="13"/>
                    <a:pt x="6561" y="13"/>
                  </a:cubicBezTo>
                  <a:cubicBezTo>
                    <a:pt x="6217" y="13"/>
                    <a:pt x="5801" y="203"/>
                    <a:pt x="5584" y="399"/>
                  </a:cubicBezTo>
                  <a:cubicBezTo>
                    <a:pt x="5476" y="501"/>
                    <a:pt x="5465" y="557"/>
                    <a:pt x="5465" y="574"/>
                  </a:cubicBezTo>
                  <a:cubicBezTo>
                    <a:pt x="5469" y="658"/>
                    <a:pt x="5490" y="735"/>
                    <a:pt x="5525" y="812"/>
                  </a:cubicBezTo>
                  <a:cubicBezTo>
                    <a:pt x="5588" y="970"/>
                    <a:pt x="5658" y="1148"/>
                    <a:pt x="5525" y="1323"/>
                  </a:cubicBezTo>
                  <a:cubicBezTo>
                    <a:pt x="5427" y="1446"/>
                    <a:pt x="5287" y="1523"/>
                    <a:pt x="5129" y="1534"/>
                  </a:cubicBezTo>
                  <a:cubicBezTo>
                    <a:pt x="5113" y="1535"/>
                    <a:pt x="5096" y="1535"/>
                    <a:pt x="5079" y="1535"/>
                  </a:cubicBezTo>
                  <a:cubicBezTo>
                    <a:pt x="4897" y="1535"/>
                    <a:pt x="4721" y="1466"/>
                    <a:pt x="4587" y="1341"/>
                  </a:cubicBezTo>
                  <a:cubicBezTo>
                    <a:pt x="4303" y="1085"/>
                    <a:pt x="3901" y="994"/>
                    <a:pt x="3620" y="994"/>
                  </a:cubicBezTo>
                  <a:cubicBezTo>
                    <a:pt x="3410" y="994"/>
                    <a:pt x="3214" y="914"/>
                    <a:pt x="3102" y="784"/>
                  </a:cubicBezTo>
                  <a:cubicBezTo>
                    <a:pt x="3036" y="714"/>
                    <a:pt x="3004" y="623"/>
                    <a:pt x="3015" y="532"/>
                  </a:cubicBezTo>
                  <a:cubicBezTo>
                    <a:pt x="3025" y="431"/>
                    <a:pt x="3015" y="350"/>
                    <a:pt x="2710" y="287"/>
                  </a:cubicBezTo>
                  <a:cubicBezTo>
                    <a:pt x="2619" y="266"/>
                    <a:pt x="2528" y="235"/>
                    <a:pt x="2444" y="196"/>
                  </a:cubicBezTo>
                  <a:cubicBezTo>
                    <a:pt x="2294" y="134"/>
                    <a:pt x="2142" y="71"/>
                    <a:pt x="1934" y="71"/>
                  </a:cubicBezTo>
                  <a:cubicBezTo>
                    <a:pt x="1875" y="71"/>
                    <a:pt x="1810" y="76"/>
                    <a:pt x="1740" y="88"/>
                  </a:cubicBezTo>
                  <a:cubicBezTo>
                    <a:pt x="1688" y="96"/>
                    <a:pt x="1635" y="100"/>
                    <a:pt x="1582" y="100"/>
                  </a:cubicBezTo>
                  <a:cubicBezTo>
                    <a:pt x="1434" y="100"/>
                    <a:pt x="1287" y="67"/>
                    <a:pt x="11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5" name="Google Shape;4552;p64">
              <a:extLst>
                <a:ext uri="{FF2B5EF4-FFF2-40B4-BE49-F238E27FC236}">
                  <a16:creationId xmlns:a16="http://schemas.microsoft.com/office/drawing/2014/main" id="{99CC4489-5F67-786E-78BB-C884A56B5817}"/>
                </a:ext>
              </a:extLst>
            </p:cNvPr>
            <p:cNvSpPr/>
            <p:nvPr/>
          </p:nvSpPr>
          <p:spPr>
            <a:xfrm>
              <a:off x="2135375" y="179016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6" name="Google Shape;4553;p64">
              <a:extLst>
                <a:ext uri="{FF2B5EF4-FFF2-40B4-BE49-F238E27FC236}">
                  <a16:creationId xmlns:a16="http://schemas.microsoft.com/office/drawing/2014/main" id="{DEA796E6-9EA0-B241-18C5-930E325F1407}"/>
                </a:ext>
              </a:extLst>
            </p:cNvPr>
            <p:cNvSpPr/>
            <p:nvPr/>
          </p:nvSpPr>
          <p:spPr>
            <a:xfrm>
              <a:off x="2127962" y="1796916"/>
              <a:ext cx="434" cy="434"/>
            </a:xfrm>
            <a:custGeom>
              <a:avLst/>
              <a:gdLst/>
              <a:ahLst/>
              <a:cxnLst/>
              <a:rect l="l" t="t" r="r" b="b"/>
              <a:pathLst>
                <a:path w="32" h="32" extrusionOk="0">
                  <a:moveTo>
                    <a:pt x="0" y="32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7" name="Google Shape;4554;p64">
              <a:extLst>
                <a:ext uri="{FF2B5EF4-FFF2-40B4-BE49-F238E27FC236}">
                  <a16:creationId xmlns:a16="http://schemas.microsoft.com/office/drawing/2014/main" id="{00A07AE5-E9FD-D397-22B0-B906209ED2AB}"/>
                </a:ext>
              </a:extLst>
            </p:cNvPr>
            <p:cNvSpPr/>
            <p:nvPr/>
          </p:nvSpPr>
          <p:spPr>
            <a:xfrm>
              <a:off x="2128573" y="17965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8" name="Google Shape;4555;p64">
              <a:extLst>
                <a:ext uri="{FF2B5EF4-FFF2-40B4-BE49-F238E27FC236}">
                  <a16:creationId xmlns:a16="http://schemas.microsoft.com/office/drawing/2014/main" id="{6B23EA4D-CD83-AA3E-98F7-C4A28C3CE2ED}"/>
                </a:ext>
              </a:extLst>
            </p:cNvPr>
            <p:cNvSpPr/>
            <p:nvPr/>
          </p:nvSpPr>
          <p:spPr>
            <a:xfrm>
              <a:off x="2135416" y="1789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9" name="Google Shape;4556;p64">
              <a:extLst>
                <a:ext uri="{FF2B5EF4-FFF2-40B4-BE49-F238E27FC236}">
                  <a16:creationId xmlns:a16="http://schemas.microsoft.com/office/drawing/2014/main" id="{57F8387C-BECF-8CD9-47E7-DBC99103FA7A}"/>
                </a:ext>
              </a:extLst>
            </p:cNvPr>
            <p:cNvSpPr/>
            <p:nvPr/>
          </p:nvSpPr>
          <p:spPr>
            <a:xfrm>
              <a:off x="2131668" y="179382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0" name="Google Shape;4557;p64">
              <a:extLst>
                <a:ext uri="{FF2B5EF4-FFF2-40B4-BE49-F238E27FC236}">
                  <a16:creationId xmlns:a16="http://schemas.microsoft.com/office/drawing/2014/main" id="{38566695-87D7-4F5A-ADC0-0FAE74C4F518}"/>
                </a:ext>
              </a:extLst>
            </p:cNvPr>
            <p:cNvSpPr/>
            <p:nvPr/>
          </p:nvSpPr>
          <p:spPr>
            <a:xfrm>
              <a:off x="2131899" y="1793726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1" name="Google Shape;4558;p64">
              <a:extLst>
                <a:ext uri="{FF2B5EF4-FFF2-40B4-BE49-F238E27FC236}">
                  <a16:creationId xmlns:a16="http://schemas.microsoft.com/office/drawing/2014/main" id="{BD007A11-92DB-B8A2-3CE3-46187DD6ED24}"/>
                </a:ext>
              </a:extLst>
            </p:cNvPr>
            <p:cNvSpPr/>
            <p:nvPr/>
          </p:nvSpPr>
          <p:spPr>
            <a:xfrm>
              <a:off x="2131763" y="179382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2" name="Google Shape;4559;p64">
              <a:extLst>
                <a:ext uri="{FF2B5EF4-FFF2-40B4-BE49-F238E27FC236}">
                  <a16:creationId xmlns:a16="http://schemas.microsoft.com/office/drawing/2014/main" id="{F2937984-0648-25BE-8E18-1E9A12E87CC0}"/>
                </a:ext>
              </a:extLst>
            </p:cNvPr>
            <p:cNvSpPr/>
            <p:nvPr/>
          </p:nvSpPr>
          <p:spPr>
            <a:xfrm>
              <a:off x="2121825" y="1808036"/>
              <a:ext cx="2580" cy="2485"/>
            </a:xfrm>
            <a:custGeom>
              <a:avLst/>
              <a:gdLst/>
              <a:ahLst/>
              <a:cxnLst/>
              <a:rect l="l" t="t" r="r" b="b"/>
              <a:pathLst>
                <a:path w="190" h="183" extrusionOk="0">
                  <a:moveTo>
                    <a:pt x="190" y="1"/>
                  </a:moveTo>
                  <a:cubicBezTo>
                    <a:pt x="141" y="74"/>
                    <a:pt x="78" y="137"/>
                    <a:pt x="1" y="183"/>
                  </a:cubicBezTo>
                  <a:lnTo>
                    <a:pt x="1" y="183"/>
                  </a:lnTo>
                  <a:cubicBezTo>
                    <a:pt x="78" y="137"/>
                    <a:pt x="141" y="74"/>
                    <a:pt x="19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3" name="Google Shape;4560;p64">
              <a:extLst>
                <a:ext uri="{FF2B5EF4-FFF2-40B4-BE49-F238E27FC236}">
                  <a16:creationId xmlns:a16="http://schemas.microsoft.com/office/drawing/2014/main" id="{9677562A-9B37-227E-A301-1150E26A7248}"/>
                </a:ext>
              </a:extLst>
            </p:cNvPr>
            <p:cNvSpPr/>
            <p:nvPr/>
          </p:nvSpPr>
          <p:spPr>
            <a:xfrm>
              <a:off x="2120929" y="1810847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3" y="0"/>
                  </a:moveTo>
                  <a:lnTo>
                    <a:pt x="28" y="4"/>
                  </a:lnTo>
                  <a:lnTo>
                    <a:pt x="0" y="21"/>
                  </a:lnTo>
                  <a:lnTo>
                    <a:pt x="7" y="18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4" name="Google Shape;4561;p64">
              <a:extLst>
                <a:ext uri="{FF2B5EF4-FFF2-40B4-BE49-F238E27FC236}">
                  <a16:creationId xmlns:a16="http://schemas.microsoft.com/office/drawing/2014/main" id="{40201B48-F38F-ADA6-1529-B2720DE6D759}"/>
                </a:ext>
              </a:extLst>
            </p:cNvPr>
            <p:cNvSpPr/>
            <p:nvPr/>
          </p:nvSpPr>
          <p:spPr>
            <a:xfrm>
              <a:off x="2135375" y="17896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5" name="Google Shape;4562;p64">
              <a:extLst>
                <a:ext uri="{FF2B5EF4-FFF2-40B4-BE49-F238E27FC236}">
                  <a16:creationId xmlns:a16="http://schemas.microsoft.com/office/drawing/2014/main" id="{007B6569-760D-538D-F866-A94B68FDC370}"/>
                </a:ext>
              </a:extLst>
            </p:cNvPr>
            <p:cNvSpPr/>
            <p:nvPr/>
          </p:nvSpPr>
          <p:spPr>
            <a:xfrm>
              <a:off x="2135470" y="1788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6" name="Google Shape;4563;p64">
              <a:extLst>
                <a:ext uri="{FF2B5EF4-FFF2-40B4-BE49-F238E27FC236}">
                  <a16:creationId xmlns:a16="http://schemas.microsoft.com/office/drawing/2014/main" id="{B06308E3-CB5D-7520-1EB8-2F31FA5CEF4D}"/>
                </a:ext>
              </a:extLst>
            </p:cNvPr>
            <p:cNvSpPr/>
            <p:nvPr/>
          </p:nvSpPr>
          <p:spPr>
            <a:xfrm>
              <a:off x="2120114" y="1812884"/>
              <a:ext cx="964" cy="1684"/>
            </a:xfrm>
            <a:custGeom>
              <a:avLst/>
              <a:gdLst/>
              <a:ahLst/>
              <a:cxnLst/>
              <a:rect l="l" t="t" r="r" b="b"/>
              <a:pathLst>
                <a:path w="71" h="124" extrusionOk="0">
                  <a:moveTo>
                    <a:pt x="1" y="1"/>
                  </a:moveTo>
                  <a:cubicBezTo>
                    <a:pt x="18" y="39"/>
                    <a:pt x="46" y="85"/>
                    <a:pt x="71" y="123"/>
                  </a:cubicBezTo>
                  <a:cubicBezTo>
                    <a:pt x="46" y="85"/>
                    <a:pt x="18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7" name="Google Shape;4564;p64">
              <a:extLst>
                <a:ext uri="{FF2B5EF4-FFF2-40B4-BE49-F238E27FC236}">
                  <a16:creationId xmlns:a16="http://schemas.microsoft.com/office/drawing/2014/main" id="{3322921E-484C-F3D9-3D5A-83121D8C79E2}"/>
                </a:ext>
              </a:extLst>
            </p:cNvPr>
            <p:cNvSpPr/>
            <p:nvPr/>
          </p:nvSpPr>
          <p:spPr>
            <a:xfrm>
              <a:off x="2137222" y="1859943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8" name="Google Shape;4565;p64">
              <a:extLst>
                <a:ext uri="{FF2B5EF4-FFF2-40B4-BE49-F238E27FC236}">
                  <a16:creationId xmlns:a16="http://schemas.microsoft.com/office/drawing/2014/main" id="{73B685B6-FF9F-67A1-66C8-A76531FC8A04}"/>
                </a:ext>
              </a:extLst>
            </p:cNvPr>
            <p:cNvSpPr/>
            <p:nvPr/>
          </p:nvSpPr>
          <p:spPr>
            <a:xfrm>
              <a:off x="2134615" y="18574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9" name="Google Shape;4566;p64">
              <a:extLst>
                <a:ext uri="{FF2B5EF4-FFF2-40B4-BE49-F238E27FC236}">
                  <a16:creationId xmlns:a16="http://schemas.microsoft.com/office/drawing/2014/main" id="{FCE5C0AB-E7D6-9323-47E3-46FA4E6D3F8B}"/>
                </a:ext>
              </a:extLst>
            </p:cNvPr>
            <p:cNvSpPr/>
            <p:nvPr/>
          </p:nvSpPr>
          <p:spPr>
            <a:xfrm>
              <a:off x="2136706" y="1859034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"/>
                  </a:moveTo>
                  <a:lnTo>
                    <a:pt x="1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0" name="Google Shape;4567;p64">
              <a:extLst>
                <a:ext uri="{FF2B5EF4-FFF2-40B4-BE49-F238E27FC236}">
                  <a16:creationId xmlns:a16="http://schemas.microsoft.com/office/drawing/2014/main" id="{4BB996AC-7BA6-70AD-F630-44BE71A50505}"/>
                </a:ext>
              </a:extLst>
            </p:cNvPr>
            <p:cNvSpPr/>
            <p:nvPr/>
          </p:nvSpPr>
          <p:spPr>
            <a:xfrm>
              <a:off x="2137466" y="1860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1" name="Google Shape;4568;p64">
              <a:extLst>
                <a:ext uri="{FF2B5EF4-FFF2-40B4-BE49-F238E27FC236}">
                  <a16:creationId xmlns:a16="http://schemas.microsoft.com/office/drawing/2014/main" id="{DB84762A-7C21-DE68-B347-63F3906E52EB}"/>
                </a:ext>
              </a:extLst>
            </p:cNvPr>
            <p:cNvSpPr/>
            <p:nvPr/>
          </p:nvSpPr>
          <p:spPr>
            <a:xfrm>
              <a:off x="2119788" y="1811132"/>
              <a:ext cx="1195" cy="964"/>
            </a:xfrm>
            <a:custGeom>
              <a:avLst/>
              <a:gdLst/>
              <a:ahLst/>
              <a:cxnLst/>
              <a:rect l="l" t="t" r="r" b="b"/>
              <a:pathLst>
                <a:path w="88" h="71" extrusionOk="0">
                  <a:moveTo>
                    <a:pt x="88" y="0"/>
                  </a:moveTo>
                  <a:lnTo>
                    <a:pt x="88" y="0"/>
                  </a:lnTo>
                  <a:cubicBezTo>
                    <a:pt x="81" y="4"/>
                    <a:pt x="75" y="9"/>
                    <a:pt x="69" y="13"/>
                  </a:cubicBezTo>
                  <a:lnTo>
                    <a:pt x="69" y="13"/>
                  </a:lnTo>
                  <a:cubicBezTo>
                    <a:pt x="70" y="12"/>
                    <a:pt x="72" y="11"/>
                    <a:pt x="74" y="11"/>
                  </a:cubicBezTo>
                  <a:lnTo>
                    <a:pt x="88" y="0"/>
                  </a:lnTo>
                  <a:close/>
                  <a:moveTo>
                    <a:pt x="69" y="13"/>
                  </a:moveTo>
                  <a:lnTo>
                    <a:pt x="69" y="13"/>
                  </a:lnTo>
                  <a:cubicBezTo>
                    <a:pt x="43" y="27"/>
                    <a:pt x="20" y="47"/>
                    <a:pt x="0" y="70"/>
                  </a:cubicBezTo>
                  <a:cubicBezTo>
                    <a:pt x="20" y="51"/>
                    <a:pt x="44" y="31"/>
                    <a:pt x="69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2" name="Google Shape;4569;p64">
              <a:extLst>
                <a:ext uri="{FF2B5EF4-FFF2-40B4-BE49-F238E27FC236}">
                  <a16:creationId xmlns:a16="http://schemas.microsoft.com/office/drawing/2014/main" id="{FE6610D3-D1A8-8FF4-B093-D38FFD8CE0A1}"/>
                </a:ext>
              </a:extLst>
            </p:cNvPr>
            <p:cNvSpPr/>
            <p:nvPr/>
          </p:nvSpPr>
          <p:spPr>
            <a:xfrm>
              <a:off x="2137697" y="18610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3" name="Google Shape;4570;p64">
              <a:extLst>
                <a:ext uri="{FF2B5EF4-FFF2-40B4-BE49-F238E27FC236}">
                  <a16:creationId xmlns:a16="http://schemas.microsoft.com/office/drawing/2014/main" id="{855BC303-01A7-A857-3F34-E5FB8BC58333}"/>
                </a:ext>
              </a:extLst>
            </p:cNvPr>
            <p:cNvSpPr/>
            <p:nvPr/>
          </p:nvSpPr>
          <p:spPr>
            <a:xfrm>
              <a:off x="2135036" y="1857567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4" name="Google Shape;4571;p64">
              <a:extLst>
                <a:ext uri="{FF2B5EF4-FFF2-40B4-BE49-F238E27FC236}">
                  <a16:creationId xmlns:a16="http://schemas.microsoft.com/office/drawing/2014/main" id="{912B70AD-C8B7-966C-2725-1E56CD1F9216}"/>
                </a:ext>
              </a:extLst>
            </p:cNvPr>
            <p:cNvSpPr/>
            <p:nvPr/>
          </p:nvSpPr>
          <p:spPr>
            <a:xfrm>
              <a:off x="2137982" y="1861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5" name="Google Shape;4572;p64">
              <a:extLst>
                <a:ext uri="{FF2B5EF4-FFF2-40B4-BE49-F238E27FC236}">
                  <a16:creationId xmlns:a16="http://schemas.microsoft.com/office/drawing/2014/main" id="{52A072BD-A457-DD4C-4050-321A6FB6BE85}"/>
                </a:ext>
              </a:extLst>
            </p:cNvPr>
            <p:cNvSpPr/>
            <p:nvPr/>
          </p:nvSpPr>
          <p:spPr>
            <a:xfrm>
              <a:off x="2138172" y="186226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6" name="Google Shape;4573;p64">
              <a:extLst>
                <a:ext uri="{FF2B5EF4-FFF2-40B4-BE49-F238E27FC236}">
                  <a16:creationId xmlns:a16="http://schemas.microsoft.com/office/drawing/2014/main" id="{CEF43AAD-045C-4681-AE90-A78589472C0D}"/>
                </a:ext>
              </a:extLst>
            </p:cNvPr>
            <p:cNvSpPr/>
            <p:nvPr/>
          </p:nvSpPr>
          <p:spPr>
            <a:xfrm>
              <a:off x="2136081" y="185827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7" name="Google Shape;4574;p64">
              <a:extLst>
                <a:ext uri="{FF2B5EF4-FFF2-40B4-BE49-F238E27FC236}">
                  <a16:creationId xmlns:a16="http://schemas.microsoft.com/office/drawing/2014/main" id="{85E037F7-570A-7135-D9F6-A5759B4D3690}"/>
                </a:ext>
              </a:extLst>
            </p:cNvPr>
            <p:cNvSpPr/>
            <p:nvPr/>
          </p:nvSpPr>
          <p:spPr>
            <a:xfrm>
              <a:off x="2136421" y="18586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8" name="Google Shape;4575;p64">
              <a:extLst>
                <a:ext uri="{FF2B5EF4-FFF2-40B4-BE49-F238E27FC236}">
                  <a16:creationId xmlns:a16="http://schemas.microsoft.com/office/drawing/2014/main" id="{944D5066-3B20-2EEC-FF11-61F3AB6C26D4}"/>
                </a:ext>
              </a:extLst>
            </p:cNvPr>
            <p:cNvSpPr/>
            <p:nvPr/>
          </p:nvSpPr>
          <p:spPr>
            <a:xfrm>
              <a:off x="2135755" y="185794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9" name="Google Shape;4576;p64">
              <a:extLst>
                <a:ext uri="{FF2B5EF4-FFF2-40B4-BE49-F238E27FC236}">
                  <a16:creationId xmlns:a16="http://schemas.microsoft.com/office/drawing/2014/main" id="{44203E5A-C274-F1F8-7D8D-74368DEB98D9}"/>
                </a:ext>
              </a:extLst>
            </p:cNvPr>
            <p:cNvSpPr/>
            <p:nvPr/>
          </p:nvSpPr>
          <p:spPr>
            <a:xfrm>
              <a:off x="2119883" y="181240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0" name="Google Shape;4577;p64">
              <a:extLst>
                <a:ext uri="{FF2B5EF4-FFF2-40B4-BE49-F238E27FC236}">
                  <a16:creationId xmlns:a16="http://schemas.microsoft.com/office/drawing/2014/main" id="{6B4C8FD4-5651-DF06-7CC6-5FD305FF2966}"/>
                </a:ext>
              </a:extLst>
            </p:cNvPr>
            <p:cNvSpPr/>
            <p:nvPr/>
          </p:nvSpPr>
          <p:spPr>
            <a:xfrm>
              <a:off x="2119788" y="18122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4"/>
                  </a:lnTo>
                  <a:cubicBezTo>
                    <a:pt x="0" y="8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1" name="Google Shape;4578;p64">
              <a:extLst>
                <a:ext uri="{FF2B5EF4-FFF2-40B4-BE49-F238E27FC236}">
                  <a16:creationId xmlns:a16="http://schemas.microsoft.com/office/drawing/2014/main" id="{28BB4DDD-9C3E-CD85-C987-821A5CDFF785}"/>
                </a:ext>
              </a:extLst>
            </p:cNvPr>
            <p:cNvSpPr/>
            <p:nvPr/>
          </p:nvSpPr>
          <p:spPr>
            <a:xfrm>
              <a:off x="2135416" y="1857703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2" name="Google Shape;4579;p64">
              <a:extLst>
                <a:ext uri="{FF2B5EF4-FFF2-40B4-BE49-F238E27FC236}">
                  <a16:creationId xmlns:a16="http://schemas.microsoft.com/office/drawing/2014/main" id="{72D25308-67A4-CFF9-237D-A5B864F7C9CD}"/>
                </a:ext>
              </a:extLst>
            </p:cNvPr>
            <p:cNvSpPr/>
            <p:nvPr/>
          </p:nvSpPr>
          <p:spPr>
            <a:xfrm>
              <a:off x="2119978" y="1812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3" name="Google Shape;4580;p64">
              <a:extLst>
                <a:ext uri="{FF2B5EF4-FFF2-40B4-BE49-F238E27FC236}">
                  <a16:creationId xmlns:a16="http://schemas.microsoft.com/office/drawing/2014/main" id="{BBDEE4E2-B346-2755-CD30-56D7F7F46EE6}"/>
                </a:ext>
              </a:extLst>
            </p:cNvPr>
            <p:cNvSpPr/>
            <p:nvPr/>
          </p:nvSpPr>
          <p:spPr>
            <a:xfrm>
              <a:off x="2136991" y="18594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4" name="Google Shape;4581;p64">
              <a:extLst>
                <a:ext uri="{FF2B5EF4-FFF2-40B4-BE49-F238E27FC236}">
                  <a16:creationId xmlns:a16="http://schemas.microsoft.com/office/drawing/2014/main" id="{7EFC061B-265E-E05D-152A-5E49F97C5AE3}"/>
                </a:ext>
              </a:extLst>
            </p:cNvPr>
            <p:cNvSpPr/>
            <p:nvPr/>
          </p:nvSpPr>
          <p:spPr>
            <a:xfrm>
              <a:off x="2122449" y="1836183"/>
              <a:ext cx="584" cy="1534"/>
            </a:xfrm>
            <a:custGeom>
              <a:avLst/>
              <a:gdLst/>
              <a:ahLst/>
              <a:cxnLst/>
              <a:rect l="l" t="t" r="r" b="b"/>
              <a:pathLst>
                <a:path w="43" h="113" extrusionOk="0">
                  <a:moveTo>
                    <a:pt x="0" y="0"/>
                  </a:moveTo>
                  <a:cubicBezTo>
                    <a:pt x="7" y="39"/>
                    <a:pt x="21" y="77"/>
                    <a:pt x="42" y="112"/>
                  </a:cubicBezTo>
                  <a:cubicBezTo>
                    <a:pt x="21" y="77"/>
                    <a:pt x="7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5" name="Google Shape;4582;p64">
              <a:extLst>
                <a:ext uri="{FF2B5EF4-FFF2-40B4-BE49-F238E27FC236}">
                  <a16:creationId xmlns:a16="http://schemas.microsoft.com/office/drawing/2014/main" id="{CC61775C-6630-66CA-3CCB-EB875E5B88B3}"/>
                </a:ext>
              </a:extLst>
            </p:cNvPr>
            <p:cNvSpPr/>
            <p:nvPr/>
          </p:nvSpPr>
          <p:spPr>
            <a:xfrm>
              <a:off x="2121730" y="1810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6" name="Google Shape;4583;p64">
              <a:extLst>
                <a:ext uri="{FF2B5EF4-FFF2-40B4-BE49-F238E27FC236}">
                  <a16:creationId xmlns:a16="http://schemas.microsoft.com/office/drawing/2014/main" id="{0F1C105B-7AD1-1563-BFC4-D0186CD53799}"/>
                </a:ext>
              </a:extLst>
            </p:cNvPr>
            <p:cNvSpPr/>
            <p:nvPr/>
          </p:nvSpPr>
          <p:spPr>
            <a:xfrm>
              <a:off x="2138362" y="186298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7" name="Google Shape;4584;p64">
              <a:extLst>
                <a:ext uri="{FF2B5EF4-FFF2-40B4-BE49-F238E27FC236}">
                  <a16:creationId xmlns:a16="http://schemas.microsoft.com/office/drawing/2014/main" id="{4CB2245A-D743-764D-CABA-91B76158F49C}"/>
                </a:ext>
              </a:extLst>
            </p:cNvPr>
            <p:cNvSpPr/>
            <p:nvPr/>
          </p:nvSpPr>
          <p:spPr>
            <a:xfrm>
              <a:off x="2120779" y="1810562"/>
              <a:ext cx="1059" cy="720"/>
            </a:xfrm>
            <a:custGeom>
              <a:avLst/>
              <a:gdLst/>
              <a:ahLst/>
              <a:cxnLst/>
              <a:rect l="l" t="t" r="r" b="b"/>
              <a:pathLst>
                <a:path w="78" h="53" extrusionOk="0">
                  <a:moveTo>
                    <a:pt x="78" y="0"/>
                  </a:moveTo>
                  <a:lnTo>
                    <a:pt x="39" y="25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39"/>
                  </a:lnTo>
                  <a:lnTo>
                    <a:pt x="74" y="4"/>
                  </a:lnTo>
                  <a:lnTo>
                    <a:pt x="78" y="0"/>
                  </a:lnTo>
                  <a:close/>
                  <a:moveTo>
                    <a:pt x="18" y="40"/>
                  </a:moveTo>
                  <a:lnTo>
                    <a:pt x="11" y="42"/>
                  </a:lnTo>
                  <a:lnTo>
                    <a:pt x="1" y="53"/>
                  </a:lnTo>
                  <a:lnTo>
                    <a:pt x="18" y="40"/>
                  </a:lnTo>
                  <a:close/>
                  <a:moveTo>
                    <a:pt x="1" y="53"/>
                  </a:moveTo>
                  <a:lnTo>
                    <a:pt x="1" y="53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8" name="Google Shape;4585;p64">
              <a:extLst>
                <a:ext uri="{FF2B5EF4-FFF2-40B4-BE49-F238E27FC236}">
                  <a16:creationId xmlns:a16="http://schemas.microsoft.com/office/drawing/2014/main" id="{5BB2C1C0-BFC7-9AED-178E-41ABF8D6C24A}"/>
                </a:ext>
              </a:extLst>
            </p:cNvPr>
            <p:cNvSpPr/>
            <p:nvPr/>
          </p:nvSpPr>
          <p:spPr>
            <a:xfrm>
              <a:off x="1925087" y="1940173"/>
              <a:ext cx="16741" cy="4195"/>
            </a:xfrm>
            <a:custGeom>
              <a:avLst/>
              <a:gdLst/>
              <a:ahLst/>
              <a:cxnLst/>
              <a:rect l="l" t="t" r="r" b="b"/>
              <a:pathLst>
                <a:path w="1233" h="309" extrusionOk="0">
                  <a:moveTo>
                    <a:pt x="774" y="1"/>
                  </a:moveTo>
                  <a:cubicBezTo>
                    <a:pt x="755" y="1"/>
                    <a:pt x="734" y="6"/>
                    <a:pt x="708" y="18"/>
                  </a:cubicBezTo>
                  <a:cubicBezTo>
                    <a:pt x="680" y="32"/>
                    <a:pt x="655" y="43"/>
                    <a:pt x="631" y="53"/>
                  </a:cubicBezTo>
                  <a:lnTo>
                    <a:pt x="620" y="57"/>
                  </a:lnTo>
                  <a:cubicBezTo>
                    <a:pt x="599" y="67"/>
                    <a:pt x="575" y="78"/>
                    <a:pt x="550" y="85"/>
                  </a:cubicBezTo>
                  <a:lnTo>
                    <a:pt x="540" y="88"/>
                  </a:lnTo>
                  <a:cubicBezTo>
                    <a:pt x="515" y="99"/>
                    <a:pt x="494" y="106"/>
                    <a:pt x="470" y="109"/>
                  </a:cubicBezTo>
                  <a:lnTo>
                    <a:pt x="459" y="113"/>
                  </a:lnTo>
                  <a:cubicBezTo>
                    <a:pt x="438" y="120"/>
                    <a:pt x="414" y="127"/>
                    <a:pt x="393" y="130"/>
                  </a:cubicBezTo>
                  <a:lnTo>
                    <a:pt x="382" y="130"/>
                  </a:lnTo>
                  <a:cubicBezTo>
                    <a:pt x="358" y="134"/>
                    <a:pt x="337" y="137"/>
                    <a:pt x="312" y="141"/>
                  </a:cubicBezTo>
                  <a:lnTo>
                    <a:pt x="302" y="141"/>
                  </a:lnTo>
                  <a:cubicBezTo>
                    <a:pt x="277" y="144"/>
                    <a:pt x="253" y="144"/>
                    <a:pt x="228" y="144"/>
                  </a:cubicBezTo>
                  <a:lnTo>
                    <a:pt x="221" y="144"/>
                  </a:lnTo>
                  <a:cubicBezTo>
                    <a:pt x="205" y="145"/>
                    <a:pt x="188" y="146"/>
                    <a:pt x="171" y="146"/>
                  </a:cubicBezTo>
                  <a:cubicBezTo>
                    <a:pt x="131" y="146"/>
                    <a:pt x="89" y="143"/>
                    <a:pt x="50" y="141"/>
                  </a:cubicBezTo>
                  <a:lnTo>
                    <a:pt x="46" y="141"/>
                  </a:lnTo>
                  <a:cubicBezTo>
                    <a:pt x="39" y="172"/>
                    <a:pt x="29" y="211"/>
                    <a:pt x="18" y="246"/>
                  </a:cubicBezTo>
                  <a:cubicBezTo>
                    <a:pt x="11" y="267"/>
                    <a:pt x="8" y="291"/>
                    <a:pt x="1" y="309"/>
                  </a:cubicBezTo>
                  <a:lnTo>
                    <a:pt x="11" y="309"/>
                  </a:lnTo>
                  <a:lnTo>
                    <a:pt x="29" y="305"/>
                  </a:lnTo>
                  <a:lnTo>
                    <a:pt x="43" y="302"/>
                  </a:lnTo>
                  <a:lnTo>
                    <a:pt x="71" y="302"/>
                  </a:lnTo>
                  <a:cubicBezTo>
                    <a:pt x="99" y="302"/>
                    <a:pt x="130" y="298"/>
                    <a:pt x="165" y="295"/>
                  </a:cubicBezTo>
                  <a:lnTo>
                    <a:pt x="235" y="284"/>
                  </a:lnTo>
                  <a:cubicBezTo>
                    <a:pt x="403" y="256"/>
                    <a:pt x="589" y="204"/>
                    <a:pt x="655" y="144"/>
                  </a:cubicBezTo>
                  <a:cubicBezTo>
                    <a:pt x="691" y="112"/>
                    <a:pt x="729" y="100"/>
                    <a:pt x="769" y="100"/>
                  </a:cubicBezTo>
                  <a:cubicBezTo>
                    <a:pt x="815" y="100"/>
                    <a:pt x="864" y="117"/>
                    <a:pt x="911" y="137"/>
                  </a:cubicBezTo>
                  <a:cubicBezTo>
                    <a:pt x="939" y="151"/>
                    <a:pt x="967" y="165"/>
                    <a:pt x="995" y="183"/>
                  </a:cubicBezTo>
                  <a:cubicBezTo>
                    <a:pt x="1047" y="214"/>
                    <a:pt x="1107" y="239"/>
                    <a:pt x="1170" y="253"/>
                  </a:cubicBezTo>
                  <a:cubicBezTo>
                    <a:pt x="1180" y="255"/>
                    <a:pt x="1191" y="256"/>
                    <a:pt x="1201" y="256"/>
                  </a:cubicBezTo>
                  <a:cubicBezTo>
                    <a:pt x="1212" y="256"/>
                    <a:pt x="1222" y="255"/>
                    <a:pt x="1233" y="253"/>
                  </a:cubicBezTo>
                  <a:lnTo>
                    <a:pt x="1198" y="249"/>
                  </a:lnTo>
                  <a:cubicBezTo>
                    <a:pt x="1051" y="239"/>
                    <a:pt x="967" y="155"/>
                    <a:pt x="900" y="85"/>
                  </a:cubicBezTo>
                  <a:cubicBezTo>
                    <a:pt x="847" y="29"/>
                    <a:pt x="816" y="1"/>
                    <a:pt x="7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9" name="Google Shape;4586;p64">
              <a:extLst>
                <a:ext uri="{FF2B5EF4-FFF2-40B4-BE49-F238E27FC236}">
                  <a16:creationId xmlns:a16="http://schemas.microsoft.com/office/drawing/2014/main" id="{ADBE3E66-692D-E191-AEFD-944684FE9A40}"/>
                </a:ext>
              </a:extLst>
            </p:cNvPr>
            <p:cNvSpPr/>
            <p:nvPr/>
          </p:nvSpPr>
          <p:spPr>
            <a:xfrm>
              <a:off x="1920484" y="1919467"/>
              <a:ext cx="41887" cy="31391"/>
            </a:xfrm>
            <a:custGeom>
              <a:avLst/>
              <a:gdLst/>
              <a:ahLst/>
              <a:cxnLst/>
              <a:rect l="l" t="t" r="r" b="b"/>
              <a:pathLst>
                <a:path w="3085" h="2312" extrusionOk="0">
                  <a:moveTo>
                    <a:pt x="1346" y="1"/>
                  </a:moveTo>
                  <a:cubicBezTo>
                    <a:pt x="1245" y="1"/>
                    <a:pt x="1124" y="41"/>
                    <a:pt x="1078" y="59"/>
                  </a:cubicBezTo>
                  <a:lnTo>
                    <a:pt x="1071" y="63"/>
                  </a:lnTo>
                  <a:lnTo>
                    <a:pt x="1061" y="63"/>
                  </a:lnTo>
                  <a:cubicBezTo>
                    <a:pt x="1057" y="63"/>
                    <a:pt x="1036" y="66"/>
                    <a:pt x="998" y="70"/>
                  </a:cubicBezTo>
                  <a:cubicBezTo>
                    <a:pt x="933" y="77"/>
                    <a:pt x="867" y="81"/>
                    <a:pt x="801" y="81"/>
                  </a:cubicBezTo>
                  <a:cubicBezTo>
                    <a:pt x="715" y="81"/>
                    <a:pt x="628" y="74"/>
                    <a:pt x="543" y="63"/>
                  </a:cubicBezTo>
                  <a:cubicBezTo>
                    <a:pt x="534" y="61"/>
                    <a:pt x="526" y="60"/>
                    <a:pt x="519" y="60"/>
                  </a:cubicBezTo>
                  <a:cubicBezTo>
                    <a:pt x="486" y="60"/>
                    <a:pt x="469" y="82"/>
                    <a:pt x="434" y="154"/>
                  </a:cubicBezTo>
                  <a:lnTo>
                    <a:pt x="420" y="182"/>
                  </a:lnTo>
                  <a:lnTo>
                    <a:pt x="417" y="189"/>
                  </a:lnTo>
                  <a:lnTo>
                    <a:pt x="410" y="206"/>
                  </a:lnTo>
                  <a:lnTo>
                    <a:pt x="403" y="217"/>
                  </a:lnTo>
                  <a:lnTo>
                    <a:pt x="392" y="231"/>
                  </a:lnTo>
                  <a:lnTo>
                    <a:pt x="385" y="241"/>
                  </a:lnTo>
                  <a:lnTo>
                    <a:pt x="375" y="255"/>
                  </a:lnTo>
                  <a:lnTo>
                    <a:pt x="368" y="266"/>
                  </a:lnTo>
                  <a:lnTo>
                    <a:pt x="354" y="280"/>
                  </a:lnTo>
                  <a:lnTo>
                    <a:pt x="343" y="290"/>
                  </a:lnTo>
                  <a:lnTo>
                    <a:pt x="329" y="301"/>
                  </a:lnTo>
                  <a:lnTo>
                    <a:pt x="319" y="308"/>
                  </a:lnTo>
                  <a:lnTo>
                    <a:pt x="305" y="315"/>
                  </a:lnTo>
                  <a:lnTo>
                    <a:pt x="291" y="322"/>
                  </a:lnTo>
                  <a:lnTo>
                    <a:pt x="280" y="325"/>
                  </a:lnTo>
                  <a:cubicBezTo>
                    <a:pt x="259" y="476"/>
                    <a:pt x="228" y="630"/>
                    <a:pt x="147" y="749"/>
                  </a:cubicBezTo>
                  <a:cubicBezTo>
                    <a:pt x="0" y="973"/>
                    <a:pt x="221" y="1330"/>
                    <a:pt x="340" y="1442"/>
                  </a:cubicBezTo>
                  <a:cubicBezTo>
                    <a:pt x="368" y="1466"/>
                    <a:pt x="382" y="1498"/>
                    <a:pt x="389" y="1533"/>
                  </a:cubicBezTo>
                  <a:lnTo>
                    <a:pt x="392" y="1533"/>
                  </a:lnTo>
                  <a:cubicBezTo>
                    <a:pt x="424" y="1533"/>
                    <a:pt x="448" y="1536"/>
                    <a:pt x="476" y="1536"/>
                  </a:cubicBezTo>
                  <a:lnTo>
                    <a:pt x="557" y="1536"/>
                  </a:lnTo>
                  <a:cubicBezTo>
                    <a:pt x="581" y="1536"/>
                    <a:pt x="602" y="1533"/>
                    <a:pt x="623" y="1533"/>
                  </a:cubicBezTo>
                  <a:lnTo>
                    <a:pt x="630" y="1533"/>
                  </a:lnTo>
                  <a:cubicBezTo>
                    <a:pt x="655" y="1529"/>
                    <a:pt x="676" y="1526"/>
                    <a:pt x="697" y="1522"/>
                  </a:cubicBezTo>
                  <a:lnTo>
                    <a:pt x="704" y="1522"/>
                  </a:lnTo>
                  <a:cubicBezTo>
                    <a:pt x="725" y="1519"/>
                    <a:pt x="749" y="1512"/>
                    <a:pt x="767" y="1508"/>
                  </a:cubicBezTo>
                  <a:lnTo>
                    <a:pt x="774" y="1508"/>
                  </a:lnTo>
                  <a:cubicBezTo>
                    <a:pt x="795" y="1501"/>
                    <a:pt x="819" y="1494"/>
                    <a:pt x="840" y="1487"/>
                  </a:cubicBezTo>
                  <a:lnTo>
                    <a:pt x="847" y="1484"/>
                  </a:lnTo>
                  <a:cubicBezTo>
                    <a:pt x="868" y="1477"/>
                    <a:pt x="889" y="1470"/>
                    <a:pt x="914" y="1459"/>
                  </a:cubicBezTo>
                  <a:lnTo>
                    <a:pt x="917" y="1456"/>
                  </a:lnTo>
                  <a:cubicBezTo>
                    <a:pt x="942" y="1445"/>
                    <a:pt x="966" y="1435"/>
                    <a:pt x="991" y="1424"/>
                  </a:cubicBezTo>
                  <a:cubicBezTo>
                    <a:pt x="1037" y="1401"/>
                    <a:pt x="1078" y="1392"/>
                    <a:pt x="1115" y="1392"/>
                  </a:cubicBezTo>
                  <a:cubicBezTo>
                    <a:pt x="1212" y="1392"/>
                    <a:pt x="1278" y="1459"/>
                    <a:pt x="1334" y="1515"/>
                  </a:cubicBezTo>
                  <a:cubicBezTo>
                    <a:pt x="1393" y="1578"/>
                    <a:pt x="1449" y="1634"/>
                    <a:pt x="1547" y="1641"/>
                  </a:cubicBezTo>
                  <a:cubicBezTo>
                    <a:pt x="1831" y="1662"/>
                    <a:pt x="1862" y="1687"/>
                    <a:pt x="1873" y="1694"/>
                  </a:cubicBezTo>
                  <a:lnTo>
                    <a:pt x="1957" y="1750"/>
                  </a:lnTo>
                  <a:lnTo>
                    <a:pt x="1873" y="1802"/>
                  </a:lnTo>
                  <a:cubicBezTo>
                    <a:pt x="1867" y="1809"/>
                    <a:pt x="1711" y="1907"/>
                    <a:pt x="1543" y="1907"/>
                  </a:cubicBezTo>
                  <a:cubicBezTo>
                    <a:pt x="1526" y="1907"/>
                    <a:pt x="1509" y="1906"/>
                    <a:pt x="1491" y="1904"/>
                  </a:cubicBezTo>
                  <a:cubicBezTo>
                    <a:pt x="1414" y="1890"/>
                    <a:pt x="1341" y="1862"/>
                    <a:pt x="1274" y="1816"/>
                  </a:cubicBezTo>
                  <a:cubicBezTo>
                    <a:pt x="1204" y="1780"/>
                    <a:pt x="1152" y="1753"/>
                    <a:pt x="1116" y="1753"/>
                  </a:cubicBezTo>
                  <a:cubicBezTo>
                    <a:pt x="1104" y="1753"/>
                    <a:pt x="1093" y="1757"/>
                    <a:pt x="1085" y="1764"/>
                  </a:cubicBezTo>
                  <a:cubicBezTo>
                    <a:pt x="987" y="1855"/>
                    <a:pt x="756" y="1911"/>
                    <a:pt x="581" y="1939"/>
                  </a:cubicBezTo>
                  <a:lnTo>
                    <a:pt x="525" y="1946"/>
                  </a:lnTo>
                  <a:cubicBezTo>
                    <a:pt x="501" y="1949"/>
                    <a:pt x="476" y="1953"/>
                    <a:pt x="452" y="1953"/>
                  </a:cubicBezTo>
                  <a:lnTo>
                    <a:pt x="420" y="1956"/>
                  </a:lnTo>
                  <a:lnTo>
                    <a:pt x="371" y="1956"/>
                  </a:lnTo>
                  <a:lnTo>
                    <a:pt x="357" y="1960"/>
                  </a:lnTo>
                  <a:lnTo>
                    <a:pt x="340" y="1963"/>
                  </a:lnTo>
                  <a:lnTo>
                    <a:pt x="329" y="1967"/>
                  </a:lnTo>
                  <a:lnTo>
                    <a:pt x="319" y="1967"/>
                  </a:lnTo>
                  <a:cubicBezTo>
                    <a:pt x="312" y="2026"/>
                    <a:pt x="333" y="2083"/>
                    <a:pt x="368" y="2128"/>
                  </a:cubicBezTo>
                  <a:lnTo>
                    <a:pt x="399" y="2163"/>
                  </a:lnTo>
                  <a:lnTo>
                    <a:pt x="403" y="2163"/>
                  </a:lnTo>
                  <a:cubicBezTo>
                    <a:pt x="424" y="2160"/>
                    <a:pt x="441" y="2156"/>
                    <a:pt x="455" y="2156"/>
                  </a:cubicBezTo>
                  <a:cubicBezTo>
                    <a:pt x="469" y="2153"/>
                    <a:pt x="487" y="2153"/>
                    <a:pt x="501" y="2153"/>
                  </a:cubicBezTo>
                  <a:cubicBezTo>
                    <a:pt x="515" y="2153"/>
                    <a:pt x="525" y="2153"/>
                    <a:pt x="539" y="2156"/>
                  </a:cubicBezTo>
                  <a:lnTo>
                    <a:pt x="543" y="2156"/>
                  </a:lnTo>
                  <a:cubicBezTo>
                    <a:pt x="553" y="2156"/>
                    <a:pt x="564" y="2160"/>
                    <a:pt x="571" y="2163"/>
                  </a:cubicBezTo>
                  <a:lnTo>
                    <a:pt x="578" y="2163"/>
                  </a:lnTo>
                  <a:cubicBezTo>
                    <a:pt x="585" y="2167"/>
                    <a:pt x="592" y="2170"/>
                    <a:pt x="599" y="2174"/>
                  </a:cubicBezTo>
                  <a:lnTo>
                    <a:pt x="602" y="2177"/>
                  </a:lnTo>
                  <a:cubicBezTo>
                    <a:pt x="613" y="2181"/>
                    <a:pt x="616" y="2188"/>
                    <a:pt x="623" y="2191"/>
                  </a:cubicBezTo>
                  <a:lnTo>
                    <a:pt x="627" y="2195"/>
                  </a:lnTo>
                  <a:cubicBezTo>
                    <a:pt x="634" y="2202"/>
                    <a:pt x="637" y="2209"/>
                    <a:pt x="644" y="2216"/>
                  </a:cubicBezTo>
                  <a:cubicBezTo>
                    <a:pt x="648" y="2223"/>
                    <a:pt x="655" y="2230"/>
                    <a:pt x="658" y="2240"/>
                  </a:cubicBezTo>
                  <a:lnTo>
                    <a:pt x="662" y="2244"/>
                  </a:lnTo>
                  <a:cubicBezTo>
                    <a:pt x="704" y="2240"/>
                    <a:pt x="746" y="2226"/>
                    <a:pt x="784" y="2205"/>
                  </a:cubicBezTo>
                  <a:cubicBezTo>
                    <a:pt x="830" y="2184"/>
                    <a:pt x="875" y="2160"/>
                    <a:pt x="921" y="2132"/>
                  </a:cubicBezTo>
                  <a:lnTo>
                    <a:pt x="935" y="2121"/>
                  </a:lnTo>
                  <a:lnTo>
                    <a:pt x="949" y="2121"/>
                  </a:lnTo>
                  <a:cubicBezTo>
                    <a:pt x="956" y="2121"/>
                    <a:pt x="1635" y="2072"/>
                    <a:pt x="1747" y="2062"/>
                  </a:cubicBezTo>
                  <a:lnTo>
                    <a:pt x="1785" y="2062"/>
                  </a:lnTo>
                  <a:lnTo>
                    <a:pt x="1799" y="2065"/>
                  </a:lnTo>
                  <a:cubicBezTo>
                    <a:pt x="1810" y="2065"/>
                    <a:pt x="1817" y="2065"/>
                    <a:pt x="1824" y="2069"/>
                  </a:cubicBezTo>
                  <a:lnTo>
                    <a:pt x="1824" y="2040"/>
                  </a:lnTo>
                  <a:lnTo>
                    <a:pt x="1908" y="2054"/>
                  </a:lnTo>
                  <a:cubicBezTo>
                    <a:pt x="2087" y="2090"/>
                    <a:pt x="2300" y="2153"/>
                    <a:pt x="2342" y="2251"/>
                  </a:cubicBezTo>
                  <a:cubicBezTo>
                    <a:pt x="2383" y="2280"/>
                    <a:pt x="2549" y="2312"/>
                    <a:pt x="2729" y="2312"/>
                  </a:cubicBezTo>
                  <a:cubicBezTo>
                    <a:pt x="2845" y="2312"/>
                    <a:pt x="2966" y="2299"/>
                    <a:pt x="3063" y="2265"/>
                  </a:cubicBezTo>
                  <a:lnTo>
                    <a:pt x="3081" y="2258"/>
                  </a:lnTo>
                  <a:cubicBezTo>
                    <a:pt x="3081" y="2209"/>
                    <a:pt x="3081" y="2170"/>
                    <a:pt x="3081" y="2135"/>
                  </a:cubicBezTo>
                  <a:lnTo>
                    <a:pt x="3081" y="2132"/>
                  </a:lnTo>
                  <a:lnTo>
                    <a:pt x="3081" y="2114"/>
                  </a:lnTo>
                  <a:cubicBezTo>
                    <a:pt x="3084" y="2069"/>
                    <a:pt x="3081" y="2019"/>
                    <a:pt x="3077" y="1970"/>
                  </a:cubicBezTo>
                  <a:cubicBezTo>
                    <a:pt x="3067" y="1921"/>
                    <a:pt x="2937" y="1785"/>
                    <a:pt x="2853" y="1701"/>
                  </a:cubicBezTo>
                  <a:lnTo>
                    <a:pt x="2804" y="1652"/>
                  </a:lnTo>
                  <a:cubicBezTo>
                    <a:pt x="2703" y="1550"/>
                    <a:pt x="2699" y="1351"/>
                    <a:pt x="2703" y="1281"/>
                  </a:cubicBezTo>
                  <a:lnTo>
                    <a:pt x="2608" y="1141"/>
                  </a:lnTo>
                  <a:lnTo>
                    <a:pt x="2605" y="1130"/>
                  </a:lnTo>
                  <a:cubicBezTo>
                    <a:pt x="2591" y="1092"/>
                    <a:pt x="2577" y="1053"/>
                    <a:pt x="2559" y="1015"/>
                  </a:cubicBezTo>
                  <a:cubicBezTo>
                    <a:pt x="2531" y="955"/>
                    <a:pt x="2493" y="903"/>
                    <a:pt x="2447" y="857"/>
                  </a:cubicBezTo>
                  <a:cubicBezTo>
                    <a:pt x="2437" y="850"/>
                    <a:pt x="2430" y="840"/>
                    <a:pt x="2419" y="833"/>
                  </a:cubicBezTo>
                  <a:lnTo>
                    <a:pt x="2416" y="829"/>
                  </a:lnTo>
                  <a:cubicBezTo>
                    <a:pt x="2405" y="822"/>
                    <a:pt x="2395" y="819"/>
                    <a:pt x="2384" y="812"/>
                  </a:cubicBezTo>
                  <a:lnTo>
                    <a:pt x="2377" y="808"/>
                  </a:lnTo>
                  <a:cubicBezTo>
                    <a:pt x="2367" y="801"/>
                    <a:pt x="2353" y="798"/>
                    <a:pt x="2342" y="794"/>
                  </a:cubicBezTo>
                  <a:cubicBezTo>
                    <a:pt x="2328" y="787"/>
                    <a:pt x="2314" y="784"/>
                    <a:pt x="2300" y="777"/>
                  </a:cubicBezTo>
                  <a:cubicBezTo>
                    <a:pt x="2164" y="710"/>
                    <a:pt x="2059" y="553"/>
                    <a:pt x="1996" y="427"/>
                  </a:cubicBezTo>
                  <a:cubicBezTo>
                    <a:pt x="1989" y="409"/>
                    <a:pt x="1978" y="395"/>
                    <a:pt x="1971" y="381"/>
                  </a:cubicBezTo>
                  <a:cubicBezTo>
                    <a:pt x="1957" y="346"/>
                    <a:pt x="1943" y="318"/>
                    <a:pt x="1936" y="297"/>
                  </a:cubicBezTo>
                  <a:lnTo>
                    <a:pt x="1754" y="297"/>
                  </a:lnTo>
                  <a:lnTo>
                    <a:pt x="1733" y="273"/>
                  </a:lnTo>
                  <a:cubicBezTo>
                    <a:pt x="1659" y="182"/>
                    <a:pt x="1572" y="101"/>
                    <a:pt x="1474" y="35"/>
                  </a:cubicBezTo>
                  <a:lnTo>
                    <a:pt x="1446" y="21"/>
                  </a:lnTo>
                  <a:cubicBezTo>
                    <a:pt x="1418" y="6"/>
                    <a:pt x="1384" y="1"/>
                    <a:pt x="13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0" name="Google Shape;4587;p64">
              <a:extLst>
                <a:ext uri="{FF2B5EF4-FFF2-40B4-BE49-F238E27FC236}">
                  <a16:creationId xmlns:a16="http://schemas.microsoft.com/office/drawing/2014/main" id="{E2DDEE6C-094E-2AB8-5DB7-A34A29B77BA0}"/>
                </a:ext>
              </a:extLst>
            </p:cNvPr>
            <p:cNvSpPr/>
            <p:nvPr/>
          </p:nvSpPr>
          <p:spPr>
            <a:xfrm>
              <a:off x="1924802" y="1946215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1" name="Google Shape;4588;p64">
              <a:extLst>
                <a:ext uri="{FF2B5EF4-FFF2-40B4-BE49-F238E27FC236}">
                  <a16:creationId xmlns:a16="http://schemas.microsoft.com/office/drawing/2014/main" id="{6805A604-F116-DF22-9C25-9476F732D203}"/>
                </a:ext>
              </a:extLst>
            </p:cNvPr>
            <p:cNvSpPr/>
            <p:nvPr/>
          </p:nvSpPr>
          <p:spPr>
            <a:xfrm>
              <a:off x="1925752" y="194606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2" name="Google Shape;4589;p64">
              <a:extLst>
                <a:ext uri="{FF2B5EF4-FFF2-40B4-BE49-F238E27FC236}">
                  <a16:creationId xmlns:a16="http://schemas.microsoft.com/office/drawing/2014/main" id="{982662D0-3D6F-81E4-5323-A71751122BE9}"/>
                </a:ext>
              </a:extLst>
            </p:cNvPr>
            <p:cNvSpPr/>
            <p:nvPr/>
          </p:nvSpPr>
          <p:spPr>
            <a:xfrm>
              <a:off x="1928943" y="194026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3" name="Google Shape;4590;p64">
              <a:extLst>
                <a:ext uri="{FF2B5EF4-FFF2-40B4-BE49-F238E27FC236}">
                  <a16:creationId xmlns:a16="http://schemas.microsoft.com/office/drawing/2014/main" id="{9051D36F-526F-9250-DF72-DD14ED43F7F3}"/>
                </a:ext>
              </a:extLst>
            </p:cNvPr>
            <p:cNvSpPr/>
            <p:nvPr/>
          </p:nvSpPr>
          <p:spPr>
            <a:xfrm>
              <a:off x="1925752" y="1940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4" name="Google Shape;4591;p64">
              <a:extLst>
                <a:ext uri="{FF2B5EF4-FFF2-40B4-BE49-F238E27FC236}">
                  <a16:creationId xmlns:a16="http://schemas.microsoft.com/office/drawing/2014/main" id="{98207F39-27D3-8297-813B-46C8A7FC38FA}"/>
                </a:ext>
              </a:extLst>
            </p:cNvPr>
            <p:cNvSpPr/>
            <p:nvPr/>
          </p:nvSpPr>
          <p:spPr>
            <a:xfrm>
              <a:off x="1932880" y="193918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5" name="Google Shape;4592;p64">
              <a:extLst>
                <a:ext uri="{FF2B5EF4-FFF2-40B4-BE49-F238E27FC236}">
                  <a16:creationId xmlns:a16="http://schemas.microsoft.com/office/drawing/2014/main" id="{81F375B0-D03F-8B36-05EE-E570E36D17A2}"/>
                </a:ext>
              </a:extLst>
            </p:cNvPr>
            <p:cNvSpPr/>
            <p:nvPr/>
          </p:nvSpPr>
          <p:spPr>
            <a:xfrm>
              <a:off x="1931835" y="193956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6" name="Google Shape;4593;p64">
              <a:extLst>
                <a:ext uri="{FF2B5EF4-FFF2-40B4-BE49-F238E27FC236}">
                  <a16:creationId xmlns:a16="http://schemas.microsoft.com/office/drawing/2014/main" id="{FFBCA400-2B03-29A6-17DA-40960BEC1E20}"/>
                </a:ext>
              </a:extLst>
            </p:cNvPr>
            <p:cNvSpPr/>
            <p:nvPr/>
          </p:nvSpPr>
          <p:spPr>
            <a:xfrm>
              <a:off x="1925901" y="194602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7" name="Google Shape;4594;p64">
              <a:extLst>
                <a:ext uri="{FF2B5EF4-FFF2-40B4-BE49-F238E27FC236}">
                  <a16:creationId xmlns:a16="http://schemas.microsoft.com/office/drawing/2014/main" id="{80A46B01-46B7-03EA-FAC2-8F8F3683221F}"/>
                </a:ext>
              </a:extLst>
            </p:cNvPr>
            <p:cNvSpPr/>
            <p:nvPr/>
          </p:nvSpPr>
          <p:spPr>
            <a:xfrm>
              <a:off x="1925521" y="194612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8" name="Google Shape;4595;p64">
              <a:extLst>
                <a:ext uri="{FF2B5EF4-FFF2-40B4-BE49-F238E27FC236}">
                  <a16:creationId xmlns:a16="http://schemas.microsoft.com/office/drawing/2014/main" id="{C4C82354-F7D8-2859-744B-495422E73900}"/>
                </a:ext>
              </a:extLst>
            </p:cNvPr>
            <p:cNvSpPr/>
            <p:nvPr/>
          </p:nvSpPr>
          <p:spPr>
            <a:xfrm>
              <a:off x="1926947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9" name="Google Shape;4596;p64">
              <a:extLst>
                <a:ext uri="{FF2B5EF4-FFF2-40B4-BE49-F238E27FC236}">
                  <a16:creationId xmlns:a16="http://schemas.microsoft.com/office/drawing/2014/main" id="{B545FED5-5A1E-428D-8DC4-9818DE6296BF}"/>
                </a:ext>
              </a:extLst>
            </p:cNvPr>
            <p:cNvSpPr/>
            <p:nvPr/>
          </p:nvSpPr>
          <p:spPr>
            <a:xfrm>
              <a:off x="1925087" y="1946160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0" name="Google Shape;4597;p64">
              <a:extLst>
                <a:ext uri="{FF2B5EF4-FFF2-40B4-BE49-F238E27FC236}">
                  <a16:creationId xmlns:a16="http://schemas.microsoft.com/office/drawing/2014/main" id="{EEA88F31-DDC3-5999-1D86-1EF678E9C847}"/>
                </a:ext>
              </a:extLst>
            </p:cNvPr>
            <p:cNvSpPr/>
            <p:nvPr/>
          </p:nvSpPr>
          <p:spPr>
            <a:xfrm>
              <a:off x="1928033" y="19403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1" name="Google Shape;4598;p64">
              <a:extLst>
                <a:ext uri="{FF2B5EF4-FFF2-40B4-BE49-F238E27FC236}">
                  <a16:creationId xmlns:a16="http://schemas.microsoft.com/office/drawing/2014/main" id="{BA4440A7-B556-6F2F-91B9-D56BE18C93D4}"/>
                </a:ext>
              </a:extLst>
            </p:cNvPr>
            <p:cNvSpPr/>
            <p:nvPr/>
          </p:nvSpPr>
          <p:spPr>
            <a:xfrm>
              <a:off x="1926037" y="19460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2" name="Google Shape;4599;p64">
              <a:extLst>
                <a:ext uri="{FF2B5EF4-FFF2-40B4-BE49-F238E27FC236}">
                  <a16:creationId xmlns:a16="http://schemas.microsoft.com/office/drawing/2014/main" id="{AFFC47C3-7760-8E6B-A998-1EA96A7610E2}"/>
                </a:ext>
              </a:extLst>
            </p:cNvPr>
            <p:cNvSpPr/>
            <p:nvPr/>
          </p:nvSpPr>
          <p:spPr>
            <a:xfrm>
              <a:off x="1929893" y="194013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3" name="Google Shape;4600;p64">
              <a:extLst>
                <a:ext uri="{FF2B5EF4-FFF2-40B4-BE49-F238E27FC236}">
                  <a16:creationId xmlns:a16="http://schemas.microsoft.com/office/drawing/2014/main" id="{1AC0BD6F-20E0-EADA-35F3-10FB09F8DEA5}"/>
                </a:ext>
              </a:extLst>
            </p:cNvPr>
            <p:cNvSpPr/>
            <p:nvPr/>
          </p:nvSpPr>
          <p:spPr>
            <a:xfrm>
              <a:off x="1930884" y="193988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4" name="Google Shape;4601;p64">
              <a:extLst>
                <a:ext uri="{FF2B5EF4-FFF2-40B4-BE49-F238E27FC236}">
                  <a16:creationId xmlns:a16="http://schemas.microsoft.com/office/drawing/2014/main" id="{CB0B66CA-257A-F74C-9DDD-F76E17F421F7}"/>
                </a:ext>
              </a:extLst>
            </p:cNvPr>
            <p:cNvSpPr/>
            <p:nvPr/>
          </p:nvSpPr>
          <p:spPr>
            <a:xfrm>
              <a:off x="1926132" y="19459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5" name="Google Shape;4602;p64">
              <a:extLst>
                <a:ext uri="{FF2B5EF4-FFF2-40B4-BE49-F238E27FC236}">
                  <a16:creationId xmlns:a16="http://schemas.microsoft.com/office/drawing/2014/main" id="{65BEC2AC-1D19-00D8-8139-A181E75FB9AF}"/>
                </a:ext>
              </a:extLst>
            </p:cNvPr>
            <p:cNvSpPr/>
            <p:nvPr/>
          </p:nvSpPr>
          <p:spPr>
            <a:xfrm>
              <a:off x="1928318" y="1943404"/>
              <a:ext cx="6911" cy="2349"/>
            </a:xfrm>
            <a:custGeom>
              <a:avLst/>
              <a:gdLst/>
              <a:ahLst/>
              <a:cxnLst/>
              <a:rect l="l" t="t" r="r" b="b"/>
              <a:pathLst>
                <a:path w="509" h="173" extrusionOk="0">
                  <a:moveTo>
                    <a:pt x="508" y="1"/>
                  </a:moveTo>
                  <a:cubicBezTo>
                    <a:pt x="423" y="74"/>
                    <a:pt x="250" y="126"/>
                    <a:pt x="90" y="157"/>
                  </a:cubicBezTo>
                  <a:lnTo>
                    <a:pt x="90" y="157"/>
                  </a:lnTo>
                  <a:cubicBezTo>
                    <a:pt x="248" y="126"/>
                    <a:pt x="423" y="77"/>
                    <a:pt x="508" y="1"/>
                  </a:cubicBezTo>
                  <a:close/>
                  <a:moveTo>
                    <a:pt x="90" y="157"/>
                  </a:moveTo>
                  <a:cubicBezTo>
                    <a:pt x="60" y="163"/>
                    <a:pt x="29" y="168"/>
                    <a:pt x="1" y="172"/>
                  </a:cubicBezTo>
                  <a:cubicBezTo>
                    <a:pt x="30" y="168"/>
                    <a:pt x="60" y="163"/>
                    <a:pt x="90" y="1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6" name="Google Shape;4603;p64">
              <a:extLst>
                <a:ext uri="{FF2B5EF4-FFF2-40B4-BE49-F238E27FC236}">
                  <a16:creationId xmlns:a16="http://schemas.microsoft.com/office/drawing/2014/main" id="{159C0654-8F4F-872B-0232-5F84B44166E3}"/>
                </a:ext>
              </a:extLst>
            </p:cNvPr>
            <p:cNvSpPr/>
            <p:nvPr/>
          </p:nvSpPr>
          <p:spPr>
            <a:xfrm>
              <a:off x="1926607" y="1945834"/>
              <a:ext cx="1018" cy="149"/>
            </a:xfrm>
            <a:custGeom>
              <a:avLst/>
              <a:gdLst/>
              <a:ahLst/>
              <a:cxnLst/>
              <a:rect l="l" t="t" r="r" b="b"/>
              <a:pathLst>
                <a:path w="75" h="11" extrusionOk="0">
                  <a:moveTo>
                    <a:pt x="74" y="0"/>
                  </a:moveTo>
                  <a:lnTo>
                    <a:pt x="74" y="0"/>
                  </a:lnTo>
                  <a:cubicBezTo>
                    <a:pt x="46" y="4"/>
                    <a:pt x="22" y="7"/>
                    <a:pt x="1" y="11"/>
                  </a:cubicBezTo>
                  <a:cubicBezTo>
                    <a:pt x="22" y="11"/>
                    <a:pt x="46" y="4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7" name="Google Shape;4604;p64">
              <a:extLst>
                <a:ext uri="{FF2B5EF4-FFF2-40B4-BE49-F238E27FC236}">
                  <a16:creationId xmlns:a16="http://schemas.microsoft.com/office/drawing/2014/main" id="{105A0DC3-AEBF-E9E5-BC63-769EF2CDA454}"/>
                </a:ext>
              </a:extLst>
            </p:cNvPr>
            <p:cNvSpPr/>
            <p:nvPr/>
          </p:nvSpPr>
          <p:spPr>
            <a:xfrm>
              <a:off x="1927273" y="1949405"/>
              <a:ext cx="17936" cy="10224"/>
            </a:xfrm>
            <a:custGeom>
              <a:avLst/>
              <a:gdLst/>
              <a:ahLst/>
              <a:cxnLst/>
              <a:rect l="l" t="t" r="r" b="b"/>
              <a:pathLst>
                <a:path w="1321" h="753" extrusionOk="0">
                  <a:moveTo>
                    <a:pt x="1264" y="0"/>
                  </a:moveTo>
                  <a:cubicBezTo>
                    <a:pt x="1159" y="7"/>
                    <a:pt x="589" y="53"/>
                    <a:pt x="480" y="60"/>
                  </a:cubicBezTo>
                  <a:cubicBezTo>
                    <a:pt x="424" y="93"/>
                    <a:pt x="269" y="183"/>
                    <a:pt x="161" y="183"/>
                  </a:cubicBezTo>
                  <a:cubicBezTo>
                    <a:pt x="155" y="183"/>
                    <a:pt x="150" y="183"/>
                    <a:pt x="144" y="182"/>
                  </a:cubicBezTo>
                  <a:cubicBezTo>
                    <a:pt x="137" y="182"/>
                    <a:pt x="130" y="182"/>
                    <a:pt x="123" y="179"/>
                  </a:cubicBezTo>
                  <a:cubicBezTo>
                    <a:pt x="92" y="168"/>
                    <a:pt x="67" y="147"/>
                    <a:pt x="50" y="119"/>
                  </a:cubicBezTo>
                  <a:lnTo>
                    <a:pt x="46" y="109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3" y="98"/>
                  </a:lnTo>
                  <a:cubicBezTo>
                    <a:pt x="39" y="98"/>
                    <a:pt x="36" y="95"/>
                    <a:pt x="32" y="95"/>
                  </a:cubicBezTo>
                  <a:cubicBezTo>
                    <a:pt x="25" y="92"/>
                    <a:pt x="17" y="90"/>
                    <a:pt x="10" y="90"/>
                  </a:cubicBezTo>
                  <a:cubicBezTo>
                    <a:pt x="7" y="90"/>
                    <a:pt x="4" y="90"/>
                    <a:pt x="1" y="91"/>
                  </a:cubicBezTo>
                  <a:cubicBezTo>
                    <a:pt x="85" y="203"/>
                    <a:pt x="130" y="259"/>
                    <a:pt x="340" y="319"/>
                  </a:cubicBezTo>
                  <a:cubicBezTo>
                    <a:pt x="550" y="378"/>
                    <a:pt x="543" y="480"/>
                    <a:pt x="522" y="581"/>
                  </a:cubicBezTo>
                  <a:cubicBezTo>
                    <a:pt x="512" y="648"/>
                    <a:pt x="505" y="686"/>
                    <a:pt x="589" y="742"/>
                  </a:cubicBezTo>
                  <a:lnTo>
                    <a:pt x="610" y="753"/>
                  </a:lnTo>
                  <a:lnTo>
                    <a:pt x="624" y="742"/>
                  </a:lnTo>
                  <a:lnTo>
                    <a:pt x="634" y="735"/>
                  </a:lnTo>
                  <a:cubicBezTo>
                    <a:pt x="648" y="725"/>
                    <a:pt x="662" y="714"/>
                    <a:pt x="680" y="700"/>
                  </a:cubicBezTo>
                  <a:lnTo>
                    <a:pt x="732" y="662"/>
                  </a:lnTo>
                  <a:cubicBezTo>
                    <a:pt x="893" y="537"/>
                    <a:pt x="1010" y="450"/>
                    <a:pt x="1100" y="450"/>
                  </a:cubicBezTo>
                  <a:cubicBezTo>
                    <a:pt x="1116" y="450"/>
                    <a:pt x="1131" y="453"/>
                    <a:pt x="1145" y="459"/>
                  </a:cubicBezTo>
                  <a:cubicBezTo>
                    <a:pt x="1155" y="461"/>
                    <a:pt x="1164" y="463"/>
                    <a:pt x="1173" y="463"/>
                  </a:cubicBezTo>
                  <a:cubicBezTo>
                    <a:pt x="1200" y="463"/>
                    <a:pt x="1225" y="452"/>
                    <a:pt x="1243" y="434"/>
                  </a:cubicBezTo>
                  <a:cubicBezTo>
                    <a:pt x="1240" y="424"/>
                    <a:pt x="1233" y="413"/>
                    <a:pt x="1226" y="403"/>
                  </a:cubicBezTo>
                  <a:cubicBezTo>
                    <a:pt x="1191" y="347"/>
                    <a:pt x="1145" y="273"/>
                    <a:pt x="1166" y="203"/>
                  </a:cubicBezTo>
                  <a:cubicBezTo>
                    <a:pt x="1184" y="161"/>
                    <a:pt x="1215" y="130"/>
                    <a:pt x="1254" y="119"/>
                  </a:cubicBezTo>
                  <a:cubicBezTo>
                    <a:pt x="1296" y="95"/>
                    <a:pt x="1320" y="53"/>
                    <a:pt x="1320" y="7"/>
                  </a:cubicBezTo>
                  <a:lnTo>
                    <a:pt x="1317" y="7"/>
                  </a:lnTo>
                  <a:lnTo>
                    <a:pt x="1303" y="4"/>
                  </a:lnTo>
                  <a:lnTo>
                    <a:pt x="1299" y="4"/>
                  </a:lnTo>
                  <a:lnTo>
                    <a:pt x="128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8" name="Google Shape;4605;p64">
              <a:extLst>
                <a:ext uri="{FF2B5EF4-FFF2-40B4-BE49-F238E27FC236}">
                  <a16:creationId xmlns:a16="http://schemas.microsoft.com/office/drawing/2014/main" id="{E0AB7A5E-CF88-7220-1D77-AC8B9F6FF615}"/>
                </a:ext>
              </a:extLst>
            </p:cNvPr>
            <p:cNvSpPr/>
            <p:nvPr/>
          </p:nvSpPr>
          <p:spPr>
            <a:xfrm>
              <a:off x="1944856" y="194940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9" name="Google Shape;4606;p64">
              <a:extLst>
                <a:ext uri="{FF2B5EF4-FFF2-40B4-BE49-F238E27FC236}">
                  <a16:creationId xmlns:a16="http://schemas.microsoft.com/office/drawing/2014/main" id="{8353C7C4-F3A5-665F-9EBA-A5CA628F2454}"/>
                </a:ext>
              </a:extLst>
            </p:cNvPr>
            <p:cNvSpPr/>
            <p:nvPr/>
          </p:nvSpPr>
          <p:spPr>
            <a:xfrm>
              <a:off x="1945141" y="1949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0" name="Google Shape;4607;p64">
              <a:extLst>
                <a:ext uri="{FF2B5EF4-FFF2-40B4-BE49-F238E27FC236}">
                  <a16:creationId xmlns:a16="http://schemas.microsoft.com/office/drawing/2014/main" id="{CE83FAF5-6A5F-718F-F295-7B4CF324324F}"/>
                </a:ext>
              </a:extLst>
            </p:cNvPr>
            <p:cNvSpPr/>
            <p:nvPr/>
          </p:nvSpPr>
          <p:spPr>
            <a:xfrm>
              <a:off x="1927938" y="1950967"/>
              <a:ext cx="1018" cy="828"/>
            </a:xfrm>
            <a:custGeom>
              <a:avLst/>
              <a:gdLst/>
              <a:ahLst/>
              <a:cxnLst/>
              <a:rect l="l" t="t" r="r" b="b"/>
              <a:pathLst>
                <a:path w="75" h="61" extrusionOk="0">
                  <a:moveTo>
                    <a:pt x="74" y="60"/>
                  </a:moveTo>
                  <a:cubicBezTo>
                    <a:pt x="43" y="50"/>
                    <a:pt x="15" y="29"/>
                    <a:pt x="1" y="1"/>
                  </a:cubicBezTo>
                  <a:cubicBezTo>
                    <a:pt x="15" y="29"/>
                    <a:pt x="43" y="50"/>
                    <a:pt x="7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1" name="Google Shape;4608;p64">
              <a:extLst>
                <a:ext uri="{FF2B5EF4-FFF2-40B4-BE49-F238E27FC236}">
                  <a16:creationId xmlns:a16="http://schemas.microsoft.com/office/drawing/2014/main" id="{D08B6BB8-65B1-68E1-8B30-049558FCC785}"/>
                </a:ext>
              </a:extLst>
            </p:cNvPr>
            <p:cNvSpPr/>
            <p:nvPr/>
          </p:nvSpPr>
          <p:spPr>
            <a:xfrm>
              <a:off x="1927612" y="1950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2" name="Google Shape;4609;p64">
              <a:extLst>
                <a:ext uri="{FF2B5EF4-FFF2-40B4-BE49-F238E27FC236}">
                  <a16:creationId xmlns:a16="http://schemas.microsoft.com/office/drawing/2014/main" id="{C5D23E72-39CE-3AB6-5CE3-46E3A4F67178}"/>
                </a:ext>
              </a:extLst>
            </p:cNvPr>
            <p:cNvSpPr/>
            <p:nvPr/>
          </p:nvSpPr>
          <p:spPr>
            <a:xfrm>
              <a:off x="1927843" y="19507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3" name="Google Shape;4610;p64">
              <a:extLst>
                <a:ext uri="{FF2B5EF4-FFF2-40B4-BE49-F238E27FC236}">
                  <a16:creationId xmlns:a16="http://schemas.microsoft.com/office/drawing/2014/main" id="{083BA521-0DF3-EFE2-EC09-8FBF5E14E55C}"/>
                </a:ext>
              </a:extLst>
            </p:cNvPr>
            <p:cNvSpPr/>
            <p:nvPr/>
          </p:nvSpPr>
          <p:spPr>
            <a:xfrm>
              <a:off x="1944666" y="19493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4" name="Google Shape;4611;p64">
              <a:extLst>
                <a:ext uri="{FF2B5EF4-FFF2-40B4-BE49-F238E27FC236}">
                  <a16:creationId xmlns:a16="http://schemas.microsoft.com/office/drawing/2014/main" id="{D7386932-6577-433A-BC27-239EE2366D46}"/>
                </a:ext>
              </a:extLst>
            </p:cNvPr>
            <p:cNvSpPr/>
            <p:nvPr/>
          </p:nvSpPr>
          <p:spPr>
            <a:xfrm>
              <a:off x="1927802" y="1950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5" name="Google Shape;4612;p64">
              <a:extLst>
                <a:ext uri="{FF2B5EF4-FFF2-40B4-BE49-F238E27FC236}">
                  <a16:creationId xmlns:a16="http://schemas.microsoft.com/office/drawing/2014/main" id="{B25DA74E-B638-5987-357D-47278787572C}"/>
                </a:ext>
              </a:extLst>
            </p:cNvPr>
            <p:cNvSpPr/>
            <p:nvPr/>
          </p:nvSpPr>
          <p:spPr>
            <a:xfrm>
              <a:off x="1927748" y="19506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6" name="Google Shape;4613;p64">
              <a:extLst>
                <a:ext uri="{FF2B5EF4-FFF2-40B4-BE49-F238E27FC236}">
                  <a16:creationId xmlns:a16="http://schemas.microsoft.com/office/drawing/2014/main" id="{8A19CBEF-798D-F5CC-ED43-86D887511CBF}"/>
                </a:ext>
              </a:extLst>
            </p:cNvPr>
            <p:cNvSpPr/>
            <p:nvPr/>
          </p:nvSpPr>
          <p:spPr>
            <a:xfrm>
              <a:off x="1927137" y="19505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7" name="Google Shape;4614;p64">
              <a:extLst>
                <a:ext uri="{FF2B5EF4-FFF2-40B4-BE49-F238E27FC236}">
                  <a16:creationId xmlns:a16="http://schemas.microsoft.com/office/drawing/2014/main" id="{909D823C-5E38-D884-7827-F76D3C053B12}"/>
                </a:ext>
              </a:extLst>
            </p:cNvPr>
            <p:cNvSpPr/>
            <p:nvPr/>
          </p:nvSpPr>
          <p:spPr>
            <a:xfrm>
              <a:off x="1944475" y="19493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8" name="Google Shape;4615;p64">
              <a:extLst>
                <a:ext uri="{FF2B5EF4-FFF2-40B4-BE49-F238E27FC236}">
                  <a16:creationId xmlns:a16="http://schemas.microsoft.com/office/drawing/2014/main" id="{781FFDFD-5293-5E1B-6258-6D223486C0F4}"/>
                </a:ext>
              </a:extLst>
            </p:cNvPr>
            <p:cNvSpPr/>
            <p:nvPr/>
          </p:nvSpPr>
          <p:spPr>
            <a:xfrm>
              <a:off x="2156244" y="1961014"/>
              <a:ext cx="88987" cy="61547"/>
            </a:xfrm>
            <a:custGeom>
              <a:avLst/>
              <a:gdLst/>
              <a:ahLst/>
              <a:cxnLst/>
              <a:rect l="l" t="t" r="r" b="b"/>
              <a:pathLst>
                <a:path w="6554" h="4533" extrusionOk="0">
                  <a:moveTo>
                    <a:pt x="4106" y="0"/>
                  </a:moveTo>
                  <a:cubicBezTo>
                    <a:pt x="4103" y="0"/>
                    <a:pt x="4100" y="1"/>
                    <a:pt x="4096" y="3"/>
                  </a:cubicBezTo>
                  <a:cubicBezTo>
                    <a:pt x="4009" y="6"/>
                    <a:pt x="3862" y="90"/>
                    <a:pt x="3774" y="178"/>
                  </a:cubicBezTo>
                  <a:cubicBezTo>
                    <a:pt x="3743" y="206"/>
                    <a:pt x="3722" y="244"/>
                    <a:pt x="3722" y="286"/>
                  </a:cubicBezTo>
                  <a:cubicBezTo>
                    <a:pt x="3722" y="342"/>
                    <a:pt x="3701" y="395"/>
                    <a:pt x="3662" y="437"/>
                  </a:cubicBezTo>
                  <a:cubicBezTo>
                    <a:pt x="3645" y="454"/>
                    <a:pt x="3617" y="479"/>
                    <a:pt x="3582" y="510"/>
                  </a:cubicBezTo>
                  <a:cubicBezTo>
                    <a:pt x="3421" y="657"/>
                    <a:pt x="3270" y="811"/>
                    <a:pt x="3133" y="979"/>
                  </a:cubicBezTo>
                  <a:cubicBezTo>
                    <a:pt x="3011" y="1135"/>
                    <a:pt x="2798" y="1141"/>
                    <a:pt x="2612" y="1141"/>
                  </a:cubicBezTo>
                  <a:cubicBezTo>
                    <a:pt x="2597" y="1141"/>
                    <a:pt x="2581" y="1141"/>
                    <a:pt x="2566" y="1141"/>
                  </a:cubicBezTo>
                  <a:cubicBezTo>
                    <a:pt x="2540" y="1139"/>
                    <a:pt x="2513" y="1138"/>
                    <a:pt x="2486" y="1138"/>
                  </a:cubicBezTo>
                  <a:cubicBezTo>
                    <a:pt x="2459" y="1138"/>
                    <a:pt x="2432" y="1139"/>
                    <a:pt x="2405" y="1141"/>
                  </a:cubicBezTo>
                  <a:cubicBezTo>
                    <a:pt x="2381" y="1144"/>
                    <a:pt x="2356" y="1148"/>
                    <a:pt x="2335" y="1158"/>
                  </a:cubicBezTo>
                  <a:cubicBezTo>
                    <a:pt x="2311" y="1172"/>
                    <a:pt x="2311" y="1172"/>
                    <a:pt x="2335" y="1232"/>
                  </a:cubicBezTo>
                  <a:cubicBezTo>
                    <a:pt x="2360" y="1281"/>
                    <a:pt x="2398" y="1375"/>
                    <a:pt x="2314" y="1442"/>
                  </a:cubicBezTo>
                  <a:cubicBezTo>
                    <a:pt x="2234" y="1512"/>
                    <a:pt x="2031" y="1606"/>
                    <a:pt x="1898" y="1669"/>
                  </a:cubicBezTo>
                  <a:lnTo>
                    <a:pt x="1817" y="1708"/>
                  </a:lnTo>
                  <a:cubicBezTo>
                    <a:pt x="1754" y="1732"/>
                    <a:pt x="1684" y="1750"/>
                    <a:pt x="1618" y="1753"/>
                  </a:cubicBezTo>
                  <a:cubicBezTo>
                    <a:pt x="1485" y="1771"/>
                    <a:pt x="1299" y="1795"/>
                    <a:pt x="1243" y="1869"/>
                  </a:cubicBezTo>
                  <a:cubicBezTo>
                    <a:pt x="1204" y="1918"/>
                    <a:pt x="1162" y="1934"/>
                    <a:pt x="1122" y="1934"/>
                  </a:cubicBezTo>
                  <a:cubicBezTo>
                    <a:pt x="1066" y="1934"/>
                    <a:pt x="1013" y="1901"/>
                    <a:pt x="980" y="1883"/>
                  </a:cubicBezTo>
                  <a:cubicBezTo>
                    <a:pt x="941" y="1858"/>
                    <a:pt x="922" y="1848"/>
                    <a:pt x="910" y="1848"/>
                  </a:cubicBezTo>
                  <a:cubicBezTo>
                    <a:pt x="899" y="1848"/>
                    <a:pt x="894" y="1856"/>
                    <a:pt x="886" y="1869"/>
                  </a:cubicBezTo>
                  <a:cubicBezTo>
                    <a:pt x="830" y="1960"/>
                    <a:pt x="742" y="2023"/>
                    <a:pt x="641" y="2047"/>
                  </a:cubicBezTo>
                  <a:cubicBezTo>
                    <a:pt x="627" y="2047"/>
                    <a:pt x="616" y="2051"/>
                    <a:pt x="602" y="2051"/>
                  </a:cubicBezTo>
                  <a:lnTo>
                    <a:pt x="592" y="2051"/>
                  </a:lnTo>
                  <a:cubicBezTo>
                    <a:pt x="581" y="2047"/>
                    <a:pt x="571" y="2047"/>
                    <a:pt x="560" y="2047"/>
                  </a:cubicBezTo>
                  <a:lnTo>
                    <a:pt x="550" y="2044"/>
                  </a:lnTo>
                  <a:cubicBezTo>
                    <a:pt x="543" y="2040"/>
                    <a:pt x="532" y="2037"/>
                    <a:pt x="525" y="2033"/>
                  </a:cubicBezTo>
                  <a:lnTo>
                    <a:pt x="515" y="2030"/>
                  </a:lnTo>
                  <a:cubicBezTo>
                    <a:pt x="504" y="2026"/>
                    <a:pt x="494" y="2019"/>
                    <a:pt x="487" y="2012"/>
                  </a:cubicBezTo>
                  <a:cubicBezTo>
                    <a:pt x="480" y="2009"/>
                    <a:pt x="473" y="2005"/>
                    <a:pt x="469" y="1998"/>
                  </a:cubicBezTo>
                  <a:lnTo>
                    <a:pt x="466" y="2005"/>
                  </a:lnTo>
                  <a:lnTo>
                    <a:pt x="452" y="2016"/>
                  </a:lnTo>
                  <a:lnTo>
                    <a:pt x="431" y="2037"/>
                  </a:lnTo>
                  <a:lnTo>
                    <a:pt x="417" y="2047"/>
                  </a:lnTo>
                  <a:lnTo>
                    <a:pt x="396" y="2068"/>
                  </a:lnTo>
                  <a:lnTo>
                    <a:pt x="385" y="2082"/>
                  </a:lnTo>
                  <a:lnTo>
                    <a:pt x="364" y="2103"/>
                  </a:lnTo>
                  <a:lnTo>
                    <a:pt x="354" y="2117"/>
                  </a:lnTo>
                  <a:lnTo>
                    <a:pt x="336" y="2138"/>
                  </a:lnTo>
                  <a:lnTo>
                    <a:pt x="326" y="2152"/>
                  </a:lnTo>
                  <a:cubicBezTo>
                    <a:pt x="319" y="2159"/>
                    <a:pt x="312" y="2166"/>
                    <a:pt x="308" y="2173"/>
                  </a:cubicBezTo>
                  <a:lnTo>
                    <a:pt x="298" y="2187"/>
                  </a:lnTo>
                  <a:cubicBezTo>
                    <a:pt x="294" y="2198"/>
                    <a:pt x="291" y="2205"/>
                    <a:pt x="284" y="2215"/>
                  </a:cubicBezTo>
                  <a:lnTo>
                    <a:pt x="280" y="2226"/>
                  </a:lnTo>
                  <a:cubicBezTo>
                    <a:pt x="273" y="2236"/>
                    <a:pt x="266" y="2250"/>
                    <a:pt x="263" y="2264"/>
                  </a:cubicBezTo>
                  <a:cubicBezTo>
                    <a:pt x="228" y="2369"/>
                    <a:pt x="179" y="2467"/>
                    <a:pt x="119" y="2562"/>
                  </a:cubicBezTo>
                  <a:lnTo>
                    <a:pt x="95" y="2597"/>
                  </a:lnTo>
                  <a:cubicBezTo>
                    <a:pt x="53" y="2670"/>
                    <a:pt x="0" y="2754"/>
                    <a:pt x="0" y="2789"/>
                  </a:cubicBezTo>
                  <a:cubicBezTo>
                    <a:pt x="4" y="2838"/>
                    <a:pt x="11" y="2887"/>
                    <a:pt x="28" y="2936"/>
                  </a:cubicBezTo>
                  <a:cubicBezTo>
                    <a:pt x="56" y="3034"/>
                    <a:pt x="70" y="3136"/>
                    <a:pt x="74" y="3238"/>
                  </a:cubicBezTo>
                  <a:cubicBezTo>
                    <a:pt x="74" y="3413"/>
                    <a:pt x="116" y="3500"/>
                    <a:pt x="217" y="3637"/>
                  </a:cubicBezTo>
                  <a:cubicBezTo>
                    <a:pt x="291" y="3738"/>
                    <a:pt x="326" y="3864"/>
                    <a:pt x="315" y="3990"/>
                  </a:cubicBezTo>
                  <a:cubicBezTo>
                    <a:pt x="347" y="4043"/>
                    <a:pt x="382" y="4095"/>
                    <a:pt x="424" y="4144"/>
                  </a:cubicBezTo>
                  <a:cubicBezTo>
                    <a:pt x="469" y="4197"/>
                    <a:pt x="522" y="4249"/>
                    <a:pt x="581" y="4295"/>
                  </a:cubicBezTo>
                  <a:cubicBezTo>
                    <a:pt x="697" y="4393"/>
                    <a:pt x="767" y="4456"/>
                    <a:pt x="784" y="4519"/>
                  </a:cubicBezTo>
                  <a:lnTo>
                    <a:pt x="784" y="4522"/>
                  </a:lnTo>
                  <a:lnTo>
                    <a:pt x="788" y="4526"/>
                  </a:lnTo>
                  <a:lnTo>
                    <a:pt x="788" y="4529"/>
                  </a:lnTo>
                  <a:lnTo>
                    <a:pt x="791" y="4533"/>
                  </a:lnTo>
                  <a:cubicBezTo>
                    <a:pt x="900" y="4396"/>
                    <a:pt x="882" y="4204"/>
                    <a:pt x="879" y="4183"/>
                  </a:cubicBezTo>
                  <a:lnTo>
                    <a:pt x="879" y="4179"/>
                  </a:lnTo>
                  <a:lnTo>
                    <a:pt x="872" y="4120"/>
                  </a:lnTo>
                  <a:lnTo>
                    <a:pt x="1233" y="4039"/>
                  </a:lnTo>
                  <a:lnTo>
                    <a:pt x="1478" y="3969"/>
                  </a:lnTo>
                  <a:lnTo>
                    <a:pt x="1891" y="4025"/>
                  </a:lnTo>
                  <a:lnTo>
                    <a:pt x="1891" y="3710"/>
                  </a:lnTo>
                  <a:lnTo>
                    <a:pt x="1905" y="3693"/>
                  </a:lnTo>
                  <a:cubicBezTo>
                    <a:pt x="1940" y="3644"/>
                    <a:pt x="2269" y="3227"/>
                    <a:pt x="2528" y="3227"/>
                  </a:cubicBezTo>
                  <a:cubicBezTo>
                    <a:pt x="2759" y="3227"/>
                    <a:pt x="2951" y="3462"/>
                    <a:pt x="3007" y="3539"/>
                  </a:cubicBezTo>
                  <a:lnTo>
                    <a:pt x="3963" y="3724"/>
                  </a:lnTo>
                  <a:cubicBezTo>
                    <a:pt x="3991" y="3619"/>
                    <a:pt x="4051" y="3434"/>
                    <a:pt x="4145" y="3374"/>
                  </a:cubicBezTo>
                  <a:cubicBezTo>
                    <a:pt x="4180" y="3351"/>
                    <a:pt x="4219" y="3342"/>
                    <a:pt x="4260" y="3342"/>
                  </a:cubicBezTo>
                  <a:cubicBezTo>
                    <a:pt x="4305" y="3342"/>
                    <a:pt x="4351" y="3353"/>
                    <a:pt x="4397" y="3364"/>
                  </a:cubicBezTo>
                  <a:cubicBezTo>
                    <a:pt x="4442" y="3372"/>
                    <a:pt x="4489" y="3381"/>
                    <a:pt x="4529" y="3381"/>
                  </a:cubicBezTo>
                  <a:cubicBezTo>
                    <a:pt x="4552" y="3381"/>
                    <a:pt x="4573" y="3378"/>
                    <a:pt x="4590" y="3371"/>
                  </a:cubicBezTo>
                  <a:cubicBezTo>
                    <a:pt x="4733" y="3297"/>
                    <a:pt x="4940" y="3196"/>
                    <a:pt x="5195" y="3196"/>
                  </a:cubicBezTo>
                  <a:cubicBezTo>
                    <a:pt x="5265" y="3196"/>
                    <a:pt x="5335" y="3206"/>
                    <a:pt x="5402" y="3224"/>
                  </a:cubicBezTo>
                  <a:cubicBezTo>
                    <a:pt x="5441" y="3232"/>
                    <a:pt x="5469" y="3239"/>
                    <a:pt x="5490" y="3239"/>
                  </a:cubicBezTo>
                  <a:cubicBezTo>
                    <a:pt x="5527" y="3239"/>
                    <a:pt x="5545" y="3220"/>
                    <a:pt x="5574" y="3164"/>
                  </a:cubicBezTo>
                  <a:cubicBezTo>
                    <a:pt x="5598" y="3115"/>
                    <a:pt x="5640" y="3080"/>
                    <a:pt x="5693" y="3066"/>
                  </a:cubicBezTo>
                  <a:cubicBezTo>
                    <a:pt x="5721" y="3057"/>
                    <a:pt x="5750" y="3051"/>
                    <a:pt x="5781" y="3051"/>
                  </a:cubicBezTo>
                  <a:cubicBezTo>
                    <a:pt x="5788" y="3051"/>
                    <a:pt x="5794" y="3051"/>
                    <a:pt x="5801" y="3052"/>
                  </a:cubicBezTo>
                  <a:cubicBezTo>
                    <a:pt x="5973" y="3059"/>
                    <a:pt x="6179" y="3157"/>
                    <a:pt x="6249" y="3192"/>
                  </a:cubicBezTo>
                  <a:lnTo>
                    <a:pt x="6554" y="3139"/>
                  </a:lnTo>
                  <a:lnTo>
                    <a:pt x="6466" y="2898"/>
                  </a:lnTo>
                  <a:cubicBezTo>
                    <a:pt x="6396" y="2866"/>
                    <a:pt x="6333" y="2835"/>
                    <a:pt x="6270" y="2793"/>
                  </a:cubicBezTo>
                  <a:lnTo>
                    <a:pt x="6263" y="2789"/>
                  </a:lnTo>
                  <a:lnTo>
                    <a:pt x="6260" y="2786"/>
                  </a:lnTo>
                  <a:cubicBezTo>
                    <a:pt x="6239" y="2775"/>
                    <a:pt x="6221" y="2761"/>
                    <a:pt x="6204" y="2751"/>
                  </a:cubicBezTo>
                  <a:cubicBezTo>
                    <a:pt x="6148" y="2716"/>
                    <a:pt x="6106" y="2663"/>
                    <a:pt x="6081" y="2600"/>
                  </a:cubicBezTo>
                  <a:cubicBezTo>
                    <a:pt x="6081" y="2593"/>
                    <a:pt x="6078" y="2586"/>
                    <a:pt x="6078" y="2579"/>
                  </a:cubicBezTo>
                  <a:cubicBezTo>
                    <a:pt x="6078" y="2492"/>
                    <a:pt x="6078" y="2418"/>
                    <a:pt x="5931" y="2285"/>
                  </a:cubicBezTo>
                  <a:lnTo>
                    <a:pt x="5903" y="2261"/>
                  </a:lnTo>
                  <a:cubicBezTo>
                    <a:pt x="5843" y="2212"/>
                    <a:pt x="5780" y="2166"/>
                    <a:pt x="5717" y="2124"/>
                  </a:cubicBezTo>
                  <a:cubicBezTo>
                    <a:pt x="5619" y="2058"/>
                    <a:pt x="5542" y="2005"/>
                    <a:pt x="5542" y="1904"/>
                  </a:cubicBezTo>
                  <a:cubicBezTo>
                    <a:pt x="5542" y="1862"/>
                    <a:pt x="5525" y="1837"/>
                    <a:pt x="5444" y="1750"/>
                  </a:cubicBezTo>
                  <a:cubicBezTo>
                    <a:pt x="5409" y="1715"/>
                    <a:pt x="5371" y="1669"/>
                    <a:pt x="5321" y="1610"/>
                  </a:cubicBezTo>
                  <a:cubicBezTo>
                    <a:pt x="5174" y="1435"/>
                    <a:pt x="4936" y="1431"/>
                    <a:pt x="4933" y="1431"/>
                  </a:cubicBezTo>
                  <a:lnTo>
                    <a:pt x="4887" y="1431"/>
                  </a:lnTo>
                  <a:lnTo>
                    <a:pt x="4817" y="1256"/>
                  </a:lnTo>
                  <a:lnTo>
                    <a:pt x="4604" y="1225"/>
                  </a:lnTo>
                  <a:lnTo>
                    <a:pt x="4590" y="1218"/>
                  </a:lnTo>
                  <a:cubicBezTo>
                    <a:pt x="4544" y="1183"/>
                    <a:pt x="4516" y="1130"/>
                    <a:pt x="4520" y="1074"/>
                  </a:cubicBezTo>
                  <a:cubicBezTo>
                    <a:pt x="4523" y="1007"/>
                    <a:pt x="4572" y="951"/>
                    <a:pt x="4667" y="906"/>
                  </a:cubicBezTo>
                  <a:cubicBezTo>
                    <a:pt x="4688" y="895"/>
                    <a:pt x="4705" y="878"/>
                    <a:pt x="4712" y="857"/>
                  </a:cubicBezTo>
                  <a:cubicBezTo>
                    <a:pt x="4737" y="790"/>
                    <a:pt x="4677" y="678"/>
                    <a:pt x="4639" y="601"/>
                  </a:cubicBezTo>
                  <a:cubicBezTo>
                    <a:pt x="4625" y="573"/>
                    <a:pt x="4611" y="542"/>
                    <a:pt x="4600" y="510"/>
                  </a:cubicBezTo>
                  <a:cubicBezTo>
                    <a:pt x="4597" y="507"/>
                    <a:pt x="4597" y="503"/>
                    <a:pt x="4593" y="500"/>
                  </a:cubicBezTo>
                  <a:lnTo>
                    <a:pt x="4590" y="493"/>
                  </a:lnTo>
                  <a:lnTo>
                    <a:pt x="4586" y="486"/>
                  </a:lnTo>
                  <a:lnTo>
                    <a:pt x="4579" y="475"/>
                  </a:lnTo>
                  <a:lnTo>
                    <a:pt x="4576" y="468"/>
                  </a:lnTo>
                  <a:lnTo>
                    <a:pt x="4565" y="451"/>
                  </a:lnTo>
                  <a:lnTo>
                    <a:pt x="4562" y="444"/>
                  </a:lnTo>
                  <a:lnTo>
                    <a:pt x="4551" y="430"/>
                  </a:lnTo>
                  <a:lnTo>
                    <a:pt x="4541" y="416"/>
                  </a:lnTo>
                  <a:lnTo>
                    <a:pt x="4534" y="405"/>
                  </a:lnTo>
                  <a:lnTo>
                    <a:pt x="4516" y="381"/>
                  </a:lnTo>
                  <a:cubicBezTo>
                    <a:pt x="4446" y="286"/>
                    <a:pt x="4345" y="157"/>
                    <a:pt x="4243" y="38"/>
                  </a:cubicBezTo>
                  <a:lnTo>
                    <a:pt x="4226" y="38"/>
                  </a:lnTo>
                  <a:lnTo>
                    <a:pt x="4208" y="34"/>
                  </a:lnTo>
                  <a:lnTo>
                    <a:pt x="4198" y="31"/>
                  </a:lnTo>
                  <a:lnTo>
                    <a:pt x="4177" y="24"/>
                  </a:lnTo>
                  <a:lnTo>
                    <a:pt x="4170" y="20"/>
                  </a:lnTo>
                  <a:cubicBezTo>
                    <a:pt x="4163" y="17"/>
                    <a:pt x="4156" y="13"/>
                    <a:pt x="4145" y="10"/>
                  </a:cubicBezTo>
                  <a:cubicBezTo>
                    <a:pt x="4142" y="10"/>
                    <a:pt x="4138" y="6"/>
                    <a:pt x="4131" y="3"/>
                  </a:cubicBezTo>
                  <a:lnTo>
                    <a:pt x="4114" y="3"/>
                  </a:lnTo>
                  <a:cubicBezTo>
                    <a:pt x="4112" y="1"/>
                    <a:pt x="4109" y="0"/>
                    <a:pt x="4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9" name="Google Shape;4616;p64">
              <a:extLst>
                <a:ext uri="{FF2B5EF4-FFF2-40B4-BE49-F238E27FC236}">
                  <a16:creationId xmlns:a16="http://schemas.microsoft.com/office/drawing/2014/main" id="{3C85E326-E97D-6C94-82A2-2A2BCBA4A8D4}"/>
                </a:ext>
              </a:extLst>
            </p:cNvPr>
            <p:cNvSpPr/>
            <p:nvPr/>
          </p:nvSpPr>
          <p:spPr>
            <a:xfrm>
              <a:off x="2069728" y="1940363"/>
              <a:ext cx="85810" cy="69734"/>
            </a:xfrm>
            <a:custGeom>
              <a:avLst/>
              <a:gdLst/>
              <a:ahLst/>
              <a:cxnLst/>
              <a:rect l="l" t="t" r="r" b="b"/>
              <a:pathLst>
                <a:path w="6320" h="5136" extrusionOk="0">
                  <a:moveTo>
                    <a:pt x="1573" y="0"/>
                  </a:moveTo>
                  <a:cubicBezTo>
                    <a:pt x="1560" y="0"/>
                    <a:pt x="1539" y="14"/>
                    <a:pt x="1496" y="53"/>
                  </a:cubicBezTo>
                  <a:cubicBezTo>
                    <a:pt x="1452" y="94"/>
                    <a:pt x="1400" y="143"/>
                    <a:pt x="1334" y="143"/>
                  </a:cubicBezTo>
                  <a:cubicBezTo>
                    <a:pt x="1326" y="143"/>
                    <a:pt x="1318" y="142"/>
                    <a:pt x="1310" y="141"/>
                  </a:cubicBezTo>
                  <a:lnTo>
                    <a:pt x="1250" y="134"/>
                  </a:lnTo>
                  <a:cubicBezTo>
                    <a:pt x="1186" y="123"/>
                    <a:pt x="1068" y="103"/>
                    <a:pt x="976" y="103"/>
                  </a:cubicBezTo>
                  <a:cubicBezTo>
                    <a:pt x="924" y="103"/>
                    <a:pt x="880" y="109"/>
                    <a:pt x="858" y="127"/>
                  </a:cubicBezTo>
                  <a:cubicBezTo>
                    <a:pt x="820" y="158"/>
                    <a:pt x="802" y="284"/>
                    <a:pt x="792" y="365"/>
                  </a:cubicBezTo>
                  <a:cubicBezTo>
                    <a:pt x="778" y="470"/>
                    <a:pt x="767" y="526"/>
                    <a:pt x="736" y="561"/>
                  </a:cubicBezTo>
                  <a:cubicBezTo>
                    <a:pt x="659" y="638"/>
                    <a:pt x="512" y="831"/>
                    <a:pt x="512" y="901"/>
                  </a:cubicBezTo>
                  <a:cubicBezTo>
                    <a:pt x="512" y="915"/>
                    <a:pt x="508" y="929"/>
                    <a:pt x="508" y="939"/>
                  </a:cubicBezTo>
                  <a:lnTo>
                    <a:pt x="508" y="943"/>
                  </a:lnTo>
                  <a:cubicBezTo>
                    <a:pt x="501" y="978"/>
                    <a:pt x="487" y="1013"/>
                    <a:pt x="463" y="1041"/>
                  </a:cubicBezTo>
                  <a:lnTo>
                    <a:pt x="480" y="1139"/>
                  </a:lnTo>
                  <a:lnTo>
                    <a:pt x="487" y="1184"/>
                  </a:lnTo>
                  <a:lnTo>
                    <a:pt x="487" y="1195"/>
                  </a:lnTo>
                  <a:lnTo>
                    <a:pt x="491" y="1230"/>
                  </a:lnTo>
                  <a:lnTo>
                    <a:pt x="494" y="1244"/>
                  </a:lnTo>
                  <a:lnTo>
                    <a:pt x="498" y="1272"/>
                  </a:lnTo>
                  <a:lnTo>
                    <a:pt x="501" y="1289"/>
                  </a:lnTo>
                  <a:lnTo>
                    <a:pt x="505" y="1310"/>
                  </a:lnTo>
                  <a:lnTo>
                    <a:pt x="508" y="1328"/>
                  </a:lnTo>
                  <a:lnTo>
                    <a:pt x="508" y="1342"/>
                  </a:lnTo>
                  <a:cubicBezTo>
                    <a:pt x="508" y="1352"/>
                    <a:pt x="508" y="1363"/>
                    <a:pt x="512" y="1370"/>
                  </a:cubicBezTo>
                  <a:cubicBezTo>
                    <a:pt x="529" y="1527"/>
                    <a:pt x="575" y="2056"/>
                    <a:pt x="431" y="2199"/>
                  </a:cubicBezTo>
                  <a:cubicBezTo>
                    <a:pt x="351" y="2290"/>
                    <a:pt x="288" y="2388"/>
                    <a:pt x="239" y="2497"/>
                  </a:cubicBezTo>
                  <a:lnTo>
                    <a:pt x="235" y="2500"/>
                  </a:lnTo>
                  <a:lnTo>
                    <a:pt x="232" y="2514"/>
                  </a:lnTo>
                  <a:lnTo>
                    <a:pt x="214" y="2525"/>
                  </a:lnTo>
                  <a:cubicBezTo>
                    <a:pt x="106" y="2613"/>
                    <a:pt x="32" y="2739"/>
                    <a:pt x="11" y="2879"/>
                  </a:cubicBezTo>
                  <a:cubicBezTo>
                    <a:pt x="4" y="2935"/>
                    <a:pt x="1" y="2994"/>
                    <a:pt x="1" y="3050"/>
                  </a:cubicBezTo>
                  <a:cubicBezTo>
                    <a:pt x="1" y="3131"/>
                    <a:pt x="4" y="3215"/>
                    <a:pt x="11" y="3295"/>
                  </a:cubicBezTo>
                  <a:cubicBezTo>
                    <a:pt x="18" y="3365"/>
                    <a:pt x="25" y="3435"/>
                    <a:pt x="25" y="3512"/>
                  </a:cubicBezTo>
                  <a:cubicBezTo>
                    <a:pt x="25" y="3589"/>
                    <a:pt x="57" y="3645"/>
                    <a:pt x="99" y="3722"/>
                  </a:cubicBezTo>
                  <a:lnTo>
                    <a:pt x="120" y="3768"/>
                  </a:lnTo>
                  <a:lnTo>
                    <a:pt x="130" y="3782"/>
                  </a:lnTo>
                  <a:lnTo>
                    <a:pt x="144" y="3813"/>
                  </a:lnTo>
                  <a:lnTo>
                    <a:pt x="151" y="3834"/>
                  </a:lnTo>
                  <a:cubicBezTo>
                    <a:pt x="158" y="3845"/>
                    <a:pt x="162" y="3852"/>
                    <a:pt x="165" y="3862"/>
                  </a:cubicBezTo>
                  <a:cubicBezTo>
                    <a:pt x="169" y="3873"/>
                    <a:pt x="172" y="3880"/>
                    <a:pt x="176" y="3887"/>
                  </a:cubicBezTo>
                  <a:cubicBezTo>
                    <a:pt x="176" y="3894"/>
                    <a:pt x="179" y="3901"/>
                    <a:pt x="183" y="3908"/>
                  </a:cubicBezTo>
                  <a:lnTo>
                    <a:pt x="186" y="3915"/>
                  </a:lnTo>
                  <a:cubicBezTo>
                    <a:pt x="239" y="3985"/>
                    <a:pt x="508" y="4023"/>
                    <a:pt x="704" y="4055"/>
                  </a:cubicBezTo>
                  <a:cubicBezTo>
                    <a:pt x="799" y="4069"/>
                    <a:pt x="890" y="4083"/>
                    <a:pt x="963" y="4097"/>
                  </a:cubicBezTo>
                  <a:cubicBezTo>
                    <a:pt x="1254" y="4163"/>
                    <a:pt x="1545" y="4552"/>
                    <a:pt x="1534" y="4724"/>
                  </a:cubicBezTo>
                  <a:cubicBezTo>
                    <a:pt x="1527" y="4829"/>
                    <a:pt x="1681" y="5074"/>
                    <a:pt x="1790" y="5130"/>
                  </a:cubicBezTo>
                  <a:cubicBezTo>
                    <a:pt x="1798" y="5134"/>
                    <a:pt x="1809" y="5136"/>
                    <a:pt x="1822" y="5136"/>
                  </a:cubicBezTo>
                  <a:cubicBezTo>
                    <a:pt x="1884" y="5136"/>
                    <a:pt x="1992" y="5096"/>
                    <a:pt x="2070" y="5070"/>
                  </a:cubicBezTo>
                  <a:cubicBezTo>
                    <a:pt x="2147" y="5035"/>
                    <a:pt x="2231" y="5011"/>
                    <a:pt x="2315" y="5004"/>
                  </a:cubicBezTo>
                  <a:lnTo>
                    <a:pt x="2350" y="5004"/>
                  </a:lnTo>
                  <a:cubicBezTo>
                    <a:pt x="2850" y="5004"/>
                    <a:pt x="2973" y="4962"/>
                    <a:pt x="2997" y="4937"/>
                  </a:cubicBezTo>
                  <a:cubicBezTo>
                    <a:pt x="3025" y="4916"/>
                    <a:pt x="3057" y="4902"/>
                    <a:pt x="3088" y="4902"/>
                  </a:cubicBezTo>
                  <a:cubicBezTo>
                    <a:pt x="3095" y="4885"/>
                    <a:pt x="3102" y="4867"/>
                    <a:pt x="3109" y="4850"/>
                  </a:cubicBezTo>
                  <a:lnTo>
                    <a:pt x="3113" y="4832"/>
                  </a:lnTo>
                  <a:lnTo>
                    <a:pt x="3123" y="4797"/>
                  </a:lnTo>
                  <a:lnTo>
                    <a:pt x="3130" y="4780"/>
                  </a:lnTo>
                  <a:lnTo>
                    <a:pt x="3141" y="4748"/>
                  </a:lnTo>
                  <a:lnTo>
                    <a:pt x="3144" y="4727"/>
                  </a:lnTo>
                  <a:lnTo>
                    <a:pt x="3155" y="4699"/>
                  </a:lnTo>
                  <a:lnTo>
                    <a:pt x="3158" y="4678"/>
                  </a:lnTo>
                  <a:lnTo>
                    <a:pt x="3165" y="4653"/>
                  </a:lnTo>
                  <a:lnTo>
                    <a:pt x="3172" y="4636"/>
                  </a:lnTo>
                  <a:lnTo>
                    <a:pt x="3176" y="4611"/>
                  </a:lnTo>
                  <a:lnTo>
                    <a:pt x="3183" y="4590"/>
                  </a:lnTo>
                  <a:lnTo>
                    <a:pt x="3186" y="4569"/>
                  </a:lnTo>
                  <a:lnTo>
                    <a:pt x="3190" y="4552"/>
                  </a:lnTo>
                  <a:lnTo>
                    <a:pt x="3197" y="4531"/>
                  </a:lnTo>
                  <a:lnTo>
                    <a:pt x="3200" y="4517"/>
                  </a:lnTo>
                  <a:lnTo>
                    <a:pt x="3204" y="4496"/>
                  </a:lnTo>
                  <a:lnTo>
                    <a:pt x="3207" y="4485"/>
                  </a:lnTo>
                  <a:lnTo>
                    <a:pt x="3211" y="4468"/>
                  </a:lnTo>
                  <a:lnTo>
                    <a:pt x="3211" y="4457"/>
                  </a:lnTo>
                  <a:lnTo>
                    <a:pt x="3214" y="4440"/>
                  </a:lnTo>
                  <a:lnTo>
                    <a:pt x="3214" y="4433"/>
                  </a:lnTo>
                  <a:lnTo>
                    <a:pt x="3218" y="4419"/>
                  </a:lnTo>
                  <a:lnTo>
                    <a:pt x="3218" y="4415"/>
                  </a:lnTo>
                  <a:lnTo>
                    <a:pt x="3218" y="4401"/>
                  </a:lnTo>
                  <a:lnTo>
                    <a:pt x="3218" y="4391"/>
                  </a:lnTo>
                  <a:lnTo>
                    <a:pt x="3221" y="4370"/>
                  </a:lnTo>
                  <a:lnTo>
                    <a:pt x="3235" y="4352"/>
                  </a:lnTo>
                  <a:cubicBezTo>
                    <a:pt x="3617" y="3960"/>
                    <a:pt x="3838" y="3754"/>
                    <a:pt x="3894" y="3740"/>
                  </a:cubicBezTo>
                  <a:cubicBezTo>
                    <a:pt x="3922" y="3733"/>
                    <a:pt x="3953" y="3733"/>
                    <a:pt x="3985" y="3733"/>
                  </a:cubicBezTo>
                  <a:lnTo>
                    <a:pt x="3995" y="3733"/>
                  </a:lnTo>
                  <a:cubicBezTo>
                    <a:pt x="4013" y="3735"/>
                    <a:pt x="4030" y="3736"/>
                    <a:pt x="4047" y="3736"/>
                  </a:cubicBezTo>
                  <a:cubicBezTo>
                    <a:pt x="4081" y="3736"/>
                    <a:pt x="4114" y="3732"/>
                    <a:pt x="4149" y="3722"/>
                  </a:cubicBezTo>
                  <a:cubicBezTo>
                    <a:pt x="4163" y="3719"/>
                    <a:pt x="4181" y="3708"/>
                    <a:pt x="4195" y="3701"/>
                  </a:cubicBezTo>
                  <a:cubicBezTo>
                    <a:pt x="4227" y="3680"/>
                    <a:pt x="4265" y="3669"/>
                    <a:pt x="4304" y="3669"/>
                  </a:cubicBezTo>
                  <a:cubicBezTo>
                    <a:pt x="4335" y="3669"/>
                    <a:pt x="4366" y="3677"/>
                    <a:pt x="4394" y="3691"/>
                  </a:cubicBezTo>
                  <a:cubicBezTo>
                    <a:pt x="4520" y="3743"/>
                    <a:pt x="4618" y="3845"/>
                    <a:pt x="4671" y="3971"/>
                  </a:cubicBezTo>
                  <a:cubicBezTo>
                    <a:pt x="4695" y="3932"/>
                    <a:pt x="4723" y="3880"/>
                    <a:pt x="4744" y="3841"/>
                  </a:cubicBezTo>
                  <a:cubicBezTo>
                    <a:pt x="4758" y="3810"/>
                    <a:pt x="4772" y="3782"/>
                    <a:pt x="4786" y="3754"/>
                  </a:cubicBezTo>
                  <a:lnTo>
                    <a:pt x="4835" y="3663"/>
                  </a:lnTo>
                  <a:cubicBezTo>
                    <a:pt x="4930" y="3491"/>
                    <a:pt x="5182" y="3036"/>
                    <a:pt x="5182" y="2942"/>
                  </a:cubicBezTo>
                  <a:cubicBezTo>
                    <a:pt x="5182" y="2840"/>
                    <a:pt x="5276" y="2763"/>
                    <a:pt x="5357" y="2693"/>
                  </a:cubicBezTo>
                  <a:cubicBezTo>
                    <a:pt x="5388" y="2672"/>
                    <a:pt x="5416" y="2644"/>
                    <a:pt x="5441" y="2616"/>
                  </a:cubicBezTo>
                  <a:lnTo>
                    <a:pt x="5441" y="2584"/>
                  </a:lnTo>
                  <a:cubicBezTo>
                    <a:pt x="5437" y="2476"/>
                    <a:pt x="5434" y="2311"/>
                    <a:pt x="5546" y="2266"/>
                  </a:cubicBezTo>
                  <a:cubicBezTo>
                    <a:pt x="5588" y="2245"/>
                    <a:pt x="5651" y="2052"/>
                    <a:pt x="5634" y="1986"/>
                  </a:cubicBezTo>
                  <a:cubicBezTo>
                    <a:pt x="5609" y="1853"/>
                    <a:pt x="5966" y="1338"/>
                    <a:pt x="5970" y="1335"/>
                  </a:cubicBezTo>
                  <a:cubicBezTo>
                    <a:pt x="6005" y="1289"/>
                    <a:pt x="6064" y="1275"/>
                    <a:pt x="6131" y="1261"/>
                  </a:cubicBezTo>
                  <a:cubicBezTo>
                    <a:pt x="6218" y="1244"/>
                    <a:pt x="6278" y="1230"/>
                    <a:pt x="6281" y="1188"/>
                  </a:cubicBezTo>
                  <a:cubicBezTo>
                    <a:pt x="6285" y="1160"/>
                    <a:pt x="6288" y="1132"/>
                    <a:pt x="6292" y="1100"/>
                  </a:cubicBezTo>
                  <a:cubicBezTo>
                    <a:pt x="6302" y="1037"/>
                    <a:pt x="6320" y="925"/>
                    <a:pt x="6292" y="918"/>
                  </a:cubicBezTo>
                  <a:cubicBezTo>
                    <a:pt x="6183" y="883"/>
                    <a:pt x="6022" y="750"/>
                    <a:pt x="6022" y="631"/>
                  </a:cubicBezTo>
                  <a:lnTo>
                    <a:pt x="6022" y="607"/>
                  </a:lnTo>
                  <a:lnTo>
                    <a:pt x="6022" y="600"/>
                  </a:lnTo>
                  <a:lnTo>
                    <a:pt x="6022" y="579"/>
                  </a:lnTo>
                  <a:lnTo>
                    <a:pt x="6022" y="568"/>
                  </a:lnTo>
                  <a:lnTo>
                    <a:pt x="6022" y="547"/>
                  </a:lnTo>
                  <a:lnTo>
                    <a:pt x="6022" y="533"/>
                  </a:lnTo>
                  <a:lnTo>
                    <a:pt x="6022" y="508"/>
                  </a:lnTo>
                  <a:lnTo>
                    <a:pt x="6022" y="494"/>
                  </a:lnTo>
                  <a:cubicBezTo>
                    <a:pt x="6022" y="480"/>
                    <a:pt x="6026" y="470"/>
                    <a:pt x="6026" y="456"/>
                  </a:cubicBezTo>
                  <a:lnTo>
                    <a:pt x="6026" y="449"/>
                  </a:lnTo>
                  <a:cubicBezTo>
                    <a:pt x="6029" y="438"/>
                    <a:pt x="6029" y="424"/>
                    <a:pt x="6033" y="414"/>
                  </a:cubicBezTo>
                  <a:lnTo>
                    <a:pt x="6033" y="400"/>
                  </a:lnTo>
                  <a:cubicBezTo>
                    <a:pt x="6033" y="393"/>
                    <a:pt x="6033" y="386"/>
                    <a:pt x="6036" y="382"/>
                  </a:cubicBezTo>
                  <a:cubicBezTo>
                    <a:pt x="5987" y="344"/>
                    <a:pt x="5949" y="295"/>
                    <a:pt x="5931" y="235"/>
                  </a:cubicBezTo>
                  <a:cubicBezTo>
                    <a:pt x="5917" y="207"/>
                    <a:pt x="5900" y="183"/>
                    <a:pt x="5879" y="158"/>
                  </a:cubicBezTo>
                  <a:cubicBezTo>
                    <a:pt x="5872" y="148"/>
                    <a:pt x="5865" y="141"/>
                    <a:pt x="5854" y="134"/>
                  </a:cubicBezTo>
                  <a:cubicBezTo>
                    <a:pt x="5847" y="123"/>
                    <a:pt x="5833" y="106"/>
                    <a:pt x="5826" y="95"/>
                  </a:cubicBezTo>
                  <a:cubicBezTo>
                    <a:pt x="5816" y="81"/>
                    <a:pt x="5805" y="71"/>
                    <a:pt x="5788" y="60"/>
                  </a:cubicBezTo>
                  <a:cubicBezTo>
                    <a:pt x="5782" y="59"/>
                    <a:pt x="5776" y="58"/>
                    <a:pt x="5770" y="58"/>
                  </a:cubicBezTo>
                  <a:cubicBezTo>
                    <a:pt x="5763" y="58"/>
                    <a:pt x="5756" y="59"/>
                    <a:pt x="5749" y="60"/>
                  </a:cubicBezTo>
                  <a:cubicBezTo>
                    <a:pt x="5732" y="71"/>
                    <a:pt x="5718" y="81"/>
                    <a:pt x="5704" y="95"/>
                  </a:cubicBezTo>
                  <a:cubicBezTo>
                    <a:pt x="5690" y="106"/>
                    <a:pt x="5679" y="120"/>
                    <a:pt x="5665" y="137"/>
                  </a:cubicBezTo>
                  <a:cubicBezTo>
                    <a:pt x="5651" y="155"/>
                    <a:pt x="5641" y="165"/>
                    <a:pt x="5630" y="179"/>
                  </a:cubicBezTo>
                  <a:lnTo>
                    <a:pt x="5613" y="200"/>
                  </a:lnTo>
                  <a:cubicBezTo>
                    <a:pt x="5536" y="291"/>
                    <a:pt x="5458" y="386"/>
                    <a:pt x="5364" y="417"/>
                  </a:cubicBezTo>
                  <a:cubicBezTo>
                    <a:pt x="5332" y="429"/>
                    <a:pt x="5298" y="433"/>
                    <a:pt x="5263" y="433"/>
                  </a:cubicBezTo>
                  <a:cubicBezTo>
                    <a:pt x="5123" y="433"/>
                    <a:pt x="4971" y="357"/>
                    <a:pt x="4881" y="309"/>
                  </a:cubicBezTo>
                  <a:lnTo>
                    <a:pt x="4863" y="302"/>
                  </a:lnTo>
                  <a:cubicBezTo>
                    <a:pt x="4839" y="289"/>
                    <a:pt x="4764" y="285"/>
                    <a:pt x="4679" y="285"/>
                  </a:cubicBezTo>
                  <a:cubicBezTo>
                    <a:pt x="4628" y="285"/>
                    <a:pt x="4573" y="287"/>
                    <a:pt x="4524" y="288"/>
                  </a:cubicBezTo>
                  <a:lnTo>
                    <a:pt x="4468" y="288"/>
                  </a:lnTo>
                  <a:cubicBezTo>
                    <a:pt x="4412" y="288"/>
                    <a:pt x="4356" y="291"/>
                    <a:pt x="4310" y="295"/>
                  </a:cubicBezTo>
                  <a:cubicBezTo>
                    <a:pt x="4268" y="295"/>
                    <a:pt x="4230" y="295"/>
                    <a:pt x="4191" y="291"/>
                  </a:cubicBezTo>
                  <a:cubicBezTo>
                    <a:pt x="4188" y="291"/>
                    <a:pt x="4185" y="291"/>
                    <a:pt x="4183" y="291"/>
                  </a:cubicBezTo>
                  <a:cubicBezTo>
                    <a:pt x="4117" y="291"/>
                    <a:pt x="4034" y="364"/>
                    <a:pt x="3960" y="431"/>
                  </a:cubicBezTo>
                  <a:cubicBezTo>
                    <a:pt x="3922" y="473"/>
                    <a:pt x="3873" y="508"/>
                    <a:pt x="3824" y="540"/>
                  </a:cubicBezTo>
                  <a:cubicBezTo>
                    <a:pt x="3792" y="558"/>
                    <a:pt x="3761" y="568"/>
                    <a:pt x="3726" y="575"/>
                  </a:cubicBezTo>
                  <a:cubicBezTo>
                    <a:pt x="3670" y="582"/>
                    <a:pt x="3614" y="586"/>
                    <a:pt x="3558" y="586"/>
                  </a:cubicBezTo>
                  <a:cubicBezTo>
                    <a:pt x="3450" y="586"/>
                    <a:pt x="3343" y="572"/>
                    <a:pt x="3239" y="547"/>
                  </a:cubicBezTo>
                  <a:cubicBezTo>
                    <a:pt x="3193" y="526"/>
                    <a:pt x="3148" y="505"/>
                    <a:pt x="3106" y="473"/>
                  </a:cubicBezTo>
                  <a:lnTo>
                    <a:pt x="3053" y="442"/>
                  </a:lnTo>
                  <a:cubicBezTo>
                    <a:pt x="2987" y="396"/>
                    <a:pt x="2875" y="323"/>
                    <a:pt x="2840" y="323"/>
                  </a:cubicBezTo>
                  <a:cubicBezTo>
                    <a:pt x="2689" y="326"/>
                    <a:pt x="2546" y="368"/>
                    <a:pt x="2420" y="442"/>
                  </a:cubicBezTo>
                  <a:cubicBezTo>
                    <a:pt x="2390" y="462"/>
                    <a:pt x="2357" y="473"/>
                    <a:pt x="2323" y="473"/>
                  </a:cubicBezTo>
                  <a:cubicBezTo>
                    <a:pt x="2309" y="473"/>
                    <a:pt x="2294" y="471"/>
                    <a:pt x="2280" y="466"/>
                  </a:cubicBezTo>
                  <a:cubicBezTo>
                    <a:pt x="2192" y="442"/>
                    <a:pt x="2143" y="347"/>
                    <a:pt x="2098" y="256"/>
                  </a:cubicBezTo>
                  <a:cubicBezTo>
                    <a:pt x="2080" y="214"/>
                    <a:pt x="2056" y="176"/>
                    <a:pt x="2028" y="137"/>
                  </a:cubicBezTo>
                  <a:cubicBezTo>
                    <a:pt x="2000" y="102"/>
                    <a:pt x="1937" y="99"/>
                    <a:pt x="1867" y="95"/>
                  </a:cubicBezTo>
                  <a:cubicBezTo>
                    <a:pt x="1779" y="88"/>
                    <a:pt x="1681" y="85"/>
                    <a:pt x="1597" y="15"/>
                  </a:cubicBezTo>
                  <a:cubicBezTo>
                    <a:pt x="1589" y="6"/>
                    <a:pt x="1582" y="0"/>
                    <a:pt x="15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0" name="Google Shape;4617;p64">
              <a:extLst>
                <a:ext uri="{FF2B5EF4-FFF2-40B4-BE49-F238E27FC236}">
                  <a16:creationId xmlns:a16="http://schemas.microsoft.com/office/drawing/2014/main" id="{442ED945-C16D-C20F-3DAE-979239FC0FC0}"/>
                </a:ext>
              </a:extLst>
            </p:cNvPr>
            <p:cNvSpPr/>
            <p:nvPr/>
          </p:nvSpPr>
          <p:spPr>
            <a:xfrm>
              <a:off x="2055186" y="1951225"/>
              <a:ext cx="19973" cy="43584"/>
            </a:xfrm>
            <a:custGeom>
              <a:avLst/>
              <a:gdLst/>
              <a:ahLst/>
              <a:cxnLst/>
              <a:rect l="l" t="t" r="r" b="b"/>
              <a:pathLst>
                <a:path w="1471" h="3210" extrusionOk="0">
                  <a:moveTo>
                    <a:pt x="1062" y="0"/>
                  </a:moveTo>
                  <a:cubicBezTo>
                    <a:pt x="1045" y="0"/>
                    <a:pt x="1029" y="6"/>
                    <a:pt x="1016" y="17"/>
                  </a:cubicBezTo>
                  <a:cubicBezTo>
                    <a:pt x="1009" y="20"/>
                    <a:pt x="1005" y="24"/>
                    <a:pt x="1005" y="31"/>
                  </a:cubicBezTo>
                  <a:cubicBezTo>
                    <a:pt x="1002" y="34"/>
                    <a:pt x="998" y="38"/>
                    <a:pt x="995" y="41"/>
                  </a:cubicBezTo>
                  <a:lnTo>
                    <a:pt x="995" y="48"/>
                  </a:lnTo>
                  <a:cubicBezTo>
                    <a:pt x="995" y="52"/>
                    <a:pt x="991" y="55"/>
                    <a:pt x="988" y="59"/>
                  </a:cubicBezTo>
                  <a:lnTo>
                    <a:pt x="984" y="66"/>
                  </a:lnTo>
                  <a:cubicBezTo>
                    <a:pt x="984" y="73"/>
                    <a:pt x="984" y="76"/>
                    <a:pt x="981" y="83"/>
                  </a:cubicBezTo>
                  <a:lnTo>
                    <a:pt x="981" y="87"/>
                  </a:lnTo>
                  <a:cubicBezTo>
                    <a:pt x="974" y="118"/>
                    <a:pt x="974" y="150"/>
                    <a:pt x="981" y="181"/>
                  </a:cubicBezTo>
                  <a:lnTo>
                    <a:pt x="1030" y="388"/>
                  </a:lnTo>
                  <a:lnTo>
                    <a:pt x="967" y="328"/>
                  </a:lnTo>
                  <a:lnTo>
                    <a:pt x="963" y="335"/>
                  </a:lnTo>
                  <a:lnTo>
                    <a:pt x="956" y="339"/>
                  </a:lnTo>
                  <a:lnTo>
                    <a:pt x="953" y="346"/>
                  </a:lnTo>
                  <a:lnTo>
                    <a:pt x="946" y="353"/>
                  </a:lnTo>
                  <a:lnTo>
                    <a:pt x="942" y="356"/>
                  </a:lnTo>
                  <a:lnTo>
                    <a:pt x="939" y="360"/>
                  </a:lnTo>
                  <a:lnTo>
                    <a:pt x="932" y="367"/>
                  </a:lnTo>
                  <a:lnTo>
                    <a:pt x="925" y="370"/>
                  </a:lnTo>
                  <a:lnTo>
                    <a:pt x="921" y="374"/>
                  </a:lnTo>
                  <a:lnTo>
                    <a:pt x="914" y="377"/>
                  </a:lnTo>
                  <a:lnTo>
                    <a:pt x="907" y="384"/>
                  </a:lnTo>
                  <a:lnTo>
                    <a:pt x="904" y="384"/>
                  </a:lnTo>
                  <a:lnTo>
                    <a:pt x="897" y="391"/>
                  </a:lnTo>
                  <a:lnTo>
                    <a:pt x="886" y="398"/>
                  </a:lnTo>
                  <a:cubicBezTo>
                    <a:pt x="865" y="409"/>
                    <a:pt x="844" y="426"/>
                    <a:pt x="827" y="444"/>
                  </a:cubicBezTo>
                  <a:cubicBezTo>
                    <a:pt x="736" y="559"/>
                    <a:pt x="389" y="566"/>
                    <a:pt x="322" y="566"/>
                  </a:cubicBezTo>
                  <a:cubicBezTo>
                    <a:pt x="294" y="566"/>
                    <a:pt x="235" y="622"/>
                    <a:pt x="196" y="657"/>
                  </a:cubicBezTo>
                  <a:cubicBezTo>
                    <a:pt x="151" y="706"/>
                    <a:pt x="98" y="745"/>
                    <a:pt x="35" y="773"/>
                  </a:cubicBezTo>
                  <a:cubicBezTo>
                    <a:pt x="25" y="776"/>
                    <a:pt x="11" y="780"/>
                    <a:pt x="0" y="780"/>
                  </a:cubicBezTo>
                  <a:lnTo>
                    <a:pt x="0" y="801"/>
                  </a:lnTo>
                  <a:lnTo>
                    <a:pt x="0" y="825"/>
                  </a:lnTo>
                  <a:cubicBezTo>
                    <a:pt x="0" y="832"/>
                    <a:pt x="0" y="843"/>
                    <a:pt x="4" y="850"/>
                  </a:cubicBezTo>
                  <a:cubicBezTo>
                    <a:pt x="4" y="857"/>
                    <a:pt x="4" y="864"/>
                    <a:pt x="4" y="867"/>
                  </a:cubicBezTo>
                  <a:cubicBezTo>
                    <a:pt x="4" y="881"/>
                    <a:pt x="4" y="895"/>
                    <a:pt x="7" y="906"/>
                  </a:cubicBezTo>
                  <a:cubicBezTo>
                    <a:pt x="7" y="909"/>
                    <a:pt x="7" y="916"/>
                    <a:pt x="11" y="920"/>
                  </a:cubicBezTo>
                  <a:cubicBezTo>
                    <a:pt x="14" y="923"/>
                    <a:pt x="11" y="934"/>
                    <a:pt x="14" y="937"/>
                  </a:cubicBezTo>
                  <a:cubicBezTo>
                    <a:pt x="14" y="944"/>
                    <a:pt x="14" y="948"/>
                    <a:pt x="18" y="951"/>
                  </a:cubicBezTo>
                  <a:cubicBezTo>
                    <a:pt x="21" y="955"/>
                    <a:pt x="18" y="962"/>
                    <a:pt x="21" y="969"/>
                  </a:cubicBezTo>
                  <a:lnTo>
                    <a:pt x="25" y="979"/>
                  </a:lnTo>
                  <a:cubicBezTo>
                    <a:pt x="25" y="983"/>
                    <a:pt x="28" y="990"/>
                    <a:pt x="28" y="993"/>
                  </a:cubicBezTo>
                  <a:lnTo>
                    <a:pt x="32" y="1004"/>
                  </a:lnTo>
                  <a:lnTo>
                    <a:pt x="39" y="1014"/>
                  </a:lnTo>
                  <a:lnTo>
                    <a:pt x="42" y="1025"/>
                  </a:lnTo>
                  <a:lnTo>
                    <a:pt x="49" y="1032"/>
                  </a:lnTo>
                  <a:lnTo>
                    <a:pt x="53" y="1042"/>
                  </a:lnTo>
                  <a:lnTo>
                    <a:pt x="60" y="1049"/>
                  </a:lnTo>
                  <a:lnTo>
                    <a:pt x="67" y="1056"/>
                  </a:lnTo>
                  <a:lnTo>
                    <a:pt x="74" y="1063"/>
                  </a:lnTo>
                  <a:lnTo>
                    <a:pt x="81" y="1070"/>
                  </a:lnTo>
                  <a:lnTo>
                    <a:pt x="88" y="1077"/>
                  </a:lnTo>
                  <a:lnTo>
                    <a:pt x="95" y="1081"/>
                  </a:lnTo>
                  <a:lnTo>
                    <a:pt x="105" y="1088"/>
                  </a:lnTo>
                  <a:lnTo>
                    <a:pt x="112" y="1091"/>
                  </a:lnTo>
                  <a:lnTo>
                    <a:pt x="123" y="1098"/>
                  </a:lnTo>
                  <a:lnTo>
                    <a:pt x="130" y="1105"/>
                  </a:lnTo>
                  <a:lnTo>
                    <a:pt x="144" y="1112"/>
                  </a:lnTo>
                  <a:lnTo>
                    <a:pt x="151" y="1116"/>
                  </a:lnTo>
                  <a:lnTo>
                    <a:pt x="172" y="1126"/>
                  </a:lnTo>
                  <a:cubicBezTo>
                    <a:pt x="196" y="1140"/>
                    <a:pt x="224" y="1154"/>
                    <a:pt x="256" y="1172"/>
                  </a:cubicBezTo>
                  <a:cubicBezTo>
                    <a:pt x="435" y="1273"/>
                    <a:pt x="403" y="1420"/>
                    <a:pt x="382" y="1504"/>
                  </a:cubicBezTo>
                  <a:cubicBezTo>
                    <a:pt x="372" y="1557"/>
                    <a:pt x="365" y="1581"/>
                    <a:pt x="379" y="1592"/>
                  </a:cubicBezTo>
                  <a:cubicBezTo>
                    <a:pt x="442" y="1658"/>
                    <a:pt x="459" y="1760"/>
                    <a:pt x="466" y="1886"/>
                  </a:cubicBezTo>
                  <a:cubicBezTo>
                    <a:pt x="466" y="1932"/>
                    <a:pt x="470" y="1974"/>
                    <a:pt x="470" y="2023"/>
                  </a:cubicBezTo>
                  <a:cubicBezTo>
                    <a:pt x="470" y="2100"/>
                    <a:pt x="473" y="2187"/>
                    <a:pt x="480" y="2275"/>
                  </a:cubicBezTo>
                  <a:lnTo>
                    <a:pt x="480" y="2303"/>
                  </a:lnTo>
                  <a:lnTo>
                    <a:pt x="480" y="2320"/>
                  </a:lnTo>
                  <a:lnTo>
                    <a:pt x="480" y="2338"/>
                  </a:lnTo>
                  <a:lnTo>
                    <a:pt x="480" y="2359"/>
                  </a:lnTo>
                  <a:lnTo>
                    <a:pt x="480" y="2373"/>
                  </a:lnTo>
                  <a:lnTo>
                    <a:pt x="480" y="2404"/>
                  </a:lnTo>
                  <a:lnTo>
                    <a:pt x="480" y="2415"/>
                  </a:lnTo>
                  <a:lnTo>
                    <a:pt x="480" y="2450"/>
                  </a:lnTo>
                  <a:lnTo>
                    <a:pt x="480" y="2457"/>
                  </a:lnTo>
                  <a:lnTo>
                    <a:pt x="484" y="2502"/>
                  </a:lnTo>
                  <a:lnTo>
                    <a:pt x="484" y="2506"/>
                  </a:lnTo>
                  <a:cubicBezTo>
                    <a:pt x="487" y="2621"/>
                    <a:pt x="494" y="2772"/>
                    <a:pt x="501" y="2954"/>
                  </a:cubicBezTo>
                  <a:lnTo>
                    <a:pt x="501" y="2968"/>
                  </a:lnTo>
                  <a:cubicBezTo>
                    <a:pt x="501" y="2985"/>
                    <a:pt x="501" y="3006"/>
                    <a:pt x="505" y="3024"/>
                  </a:cubicBezTo>
                  <a:lnTo>
                    <a:pt x="505" y="3076"/>
                  </a:lnTo>
                  <a:lnTo>
                    <a:pt x="505" y="3104"/>
                  </a:lnTo>
                  <a:cubicBezTo>
                    <a:pt x="505" y="3139"/>
                    <a:pt x="508" y="3174"/>
                    <a:pt x="508" y="3209"/>
                  </a:cubicBezTo>
                  <a:cubicBezTo>
                    <a:pt x="610" y="3195"/>
                    <a:pt x="711" y="3188"/>
                    <a:pt x="813" y="3188"/>
                  </a:cubicBezTo>
                  <a:cubicBezTo>
                    <a:pt x="869" y="3188"/>
                    <a:pt x="921" y="3150"/>
                    <a:pt x="974" y="3111"/>
                  </a:cubicBezTo>
                  <a:cubicBezTo>
                    <a:pt x="1005" y="3087"/>
                    <a:pt x="1040" y="3066"/>
                    <a:pt x="1079" y="3052"/>
                  </a:cubicBezTo>
                  <a:lnTo>
                    <a:pt x="1075" y="3041"/>
                  </a:lnTo>
                  <a:cubicBezTo>
                    <a:pt x="1065" y="3020"/>
                    <a:pt x="1054" y="2999"/>
                    <a:pt x="1040" y="2978"/>
                  </a:cubicBezTo>
                  <a:cubicBezTo>
                    <a:pt x="998" y="2891"/>
                    <a:pt x="953" y="2807"/>
                    <a:pt x="953" y="2705"/>
                  </a:cubicBezTo>
                  <a:cubicBezTo>
                    <a:pt x="953" y="2635"/>
                    <a:pt x="949" y="2569"/>
                    <a:pt x="942" y="2499"/>
                  </a:cubicBezTo>
                  <a:cubicBezTo>
                    <a:pt x="925" y="2352"/>
                    <a:pt x="925" y="2201"/>
                    <a:pt x="942" y="2054"/>
                  </a:cubicBezTo>
                  <a:cubicBezTo>
                    <a:pt x="960" y="1907"/>
                    <a:pt x="1026" y="1774"/>
                    <a:pt x="1131" y="1669"/>
                  </a:cubicBezTo>
                  <a:cubicBezTo>
                    <a:pt x="1142" y="1658"/>
                    <a:pt x="1152" y="1648"/>
                    <a:pt x="1159" y="1641"/>
                  </a:cubicBezTo>
                  <a:cubicBezTo>
                    <a:pt x="1170" y="1630"/>
                    <a:pt x="1177" y="1623"/>
                    <a:pt x="1184" y="1620"/>
                  </a:cubicBezTo>
                  <a:cubicBezTo>
                    <a:pt x="1236" y="1501"/>
                    <a:pt x="1310" y="1396"/>
                    <a:pt x="1397" y="1301"/>
                  </a:cubicBezTo>
                  <a:cubicBezTo>
                    <a:pt x="1467" y="1231"/>
                    <a:pt x="1471" y="878"/>
                    <a:pt x="1439" y="577"/>
                  </a:cubicBezTo>
                  <a:cubicBezTo>
                    <a:pt x="1439" y="570"/>
                    <a:pt x="1439" y="563"/>
                    <a:pt x="1439" y="556"/>
                  </a:cubicBezTo>
                  <a:lnTo>
                    <a:pt x="1439" y="552"/>
                  </a:lnTo>
                  <a:lnTo>
                    <a:pt x="1436" y="528"/>
                  </a:lnTo>
                  <a:lnTo>
                    <a:pt x="1436" y="524"/>
                  </a:lnTo>
                  <a:cubicBezTo>
                    <a:pt x="1432" y="503"/>
                    <a:pt x="1429" y="479"/>
                    <a:pt x="1425" y="454"/>
                  </a:cubicBezTo>
                  <a:cubicBezTo>
                    <a:pt x="1422" y="426"/>
                    <a:pt x="1415" y="398"/>
                    <a:pt x="1411" y="370"/>
                  </a:cubicBezTo>
                  <a:lnTo>
                    <a:pt x="1408" y="332"/>
                  </a:lnTo>
                  <a:lnTo>
                    <a:pt x="1404" y="314"/>
                  </a:lnTo>
                  <a:lnTo>
                    <a:pt x="1404" y="304"/>
                  </a:lnTo>
                  <a:lnTo>
                    <a:pt x="1401" y="286"/>
                  </a:lnTo>
                  <a:cubicBezTo>
                    <a:pt x="1369" y="286"/>
                    <a:pt x="1338" y="286"/>
                    <a:pt x="1306" y="279"/>
                  </a:cubicBezTo>
                  <a:cubicBezTo>
                    <a:pt x="1289" y="272"/>
                    <a:pt x="1275" y="269"/>
                    <a:pt x="1261" y="262"/>
                  </a:cubicBezTo>
                  <a:cubicBezTo>
                    <a:pt x="1194" y="234"/>
                    <a:pt x="1149" y="171"/>
                    <a:pt x="1142" y="101"/>
                  </a:cubicBezTo>
                  <a:cubicBezTo>
                    <a:pt x="1142" y="90"/>
                    <a:pt x="1142" y="83"/>
                    <a:pt x="1142" y="80"/>
                  </a:cubicBezTo>
                  <a:cubicBezTo>
                    <a:pt x="1135" y="31"/>
                    <a:pt x="1135" y="17"/>
                    <a:pt x="1093" y="6"/>
                  </a:cubicBezTo>
                  <a:cubicBezTo>
                    <a:pt x="1082" y="2"/>
                    <a:pt x="1072" y="0"/>
                    <a:pt x="10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1" name="Google Shape;4618;p64">
              <a:extLst>
                <a:ext uri="{FF2B5EF4-FFF2-40B4-BE49-F238E27FC236}">
                  <a16:creationId xmlns:a16="http://schemas.microsoft.com/office/drawing/2014/main" id="{6887C4C6-9F38-45C4-2E00-E4B7B481E5C2}"/>
                </a:ext>
              </a:extLst>
            </p:cNvPr>
            <p:cNvSpPr/>
            <p:nvPr/>
          </p:nvSpPr>
          <p:spPr>
            <a:xfrm>
              <a:off x="2074819" y="1958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2" name="Google Shape;4619;p64">
              <a:extLst>
                <a:ext uri="{FF2B5EF4-FFF2-40B4-BE49-F238E27FC236}">
                  <a16:creationId xmlns:a16="http://schemas.microsoft.com/office/drawing/2014/main" id="{8AA0D014-4A81-BA4A-95BB-1331C04998ED}"/>
                </a:ext>
              </a:extLst>
            </p:cNvPr>
            <p:cNvSpPr/>
            <p:nvPr/>
          </p:nvSpPr>
          <p:spPr>
            <a:xfrm>
              <a:off x="2069972" y="19927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3" name="Google Shape;4620;p64">
              <a:extLst>
                <a:ext uri="{FF2B5EF4-FFF2-40B4-BE49-F238E27FC236}">
                  <a16:creationId xmlns:a16="http://schemas.microsoft.com/office/drawing/2014/main" id="{C19B3905-27AF-6B19-D6EE-24203DB6242B}"/>
                </a:ext>
              </a:extLst>
            </p:cNvPr>
            <p:cNvSpPr/>
            <p:nvPr/>
          </p:nvSpPr>
          <p:spPr>
            <a:xfrm>
              <a:off x="2074860" y="19588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4" name="Google Shape;4621;p64">
              <a:extLst>
                <a:ext uri="{FF2B5EF4-FFF2-40B4-BE49-F238E27FC236}">
                  <a16:creationId xmlns:a16="http://schemas.microsoft.com/office/drawing/2014/main" id="{68EE121D-70CE-83C2-297F-0821D6239BA2}"/>
                </a:ext>
              </a:extLst>
            </p:cNvPr>
            <p:cNvSpPr/>
            <p:nvPr/>
          </p:nvSpPr>
          <p:spPr>
            <a:xfrm>
              <a:off x="2074670" y="19575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5" name="Google Shape;4622;p64">
              <a:extLst>
                <a:ext uri="{FF2B5EF4-FFF2-40B4-BE49-F238E27FC236}">
                  <a16:creationId xmlns:a16="http://schemas.microsoft.com/office/drawing/2014/main" id="{7143CEF8-8251-1B6C-9A8F-78E8190D2B63}"/>
                </a:ext>
              </a:extLst>
            </p:cNvPr>
            <p:cNvSpPr/>
            <p:nvPr/>
          </p:nvSpPr>
          <p:spPr>
            <a:xfrm>
              <a:off x="2074385" y="195567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6" name="Google Shape;4623;p64">
              <a:extLst>
                <a:ext uri="{FF2B5EF4-FFF2-40B4-BE49-F238E27FC236}">
                  <a16:creationId xmlns:a16="http://schemas.microsoft.com/office/drawing/2014/main" id="{966E32EF-4401-A2FF-5AE4-E4688C9550AF}"/>
                </a:ext>
              </a:extLst>
            </p:cNvPr>
            <p:cNvSpPr/>
            <p:nvPr/>
          </p:nvSpPr>
          <p:spPr>
            <a:xfrm>
              <a:off x="2074480" y="1956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7" name="Google Shape;4624;p64">
              <a:extLst>
                <a:ext uri="{FF2B5EF4-FFF2-40B4-BE49-F238E27FC236}">
                  <a16:creationId xmlns:a16="http://schemas.microsoft.com/office/drawing/2014/main" id="{0640FA89-92E6-4E5E-FC52-8BFA422852A8}"/>
                </a:ext>
              </a:extLst>
            </p:cNvPr>
            <p:cNvSpPr/>
            <p:nvPr/>
          </p:nvSpPr>
          <p:spPr>
            <a:xfrm>
              <a:off x="2074344" y="1955244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8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8" name="Google Shape;4625;p64">
              <a:extLst>
                <a:ext uri="{FF2B5EF4-FFF2-40B4-BE49-F238E27FC236}">
                  <a16:creationId xmlns:a16="http://schemas.microsoft.com/office/drawing/2014/main" id="{D316B430-6984-CF17-9E38-A8FA726F14C3}"/>
                </a:ext>
              </a:extLst>
            </p:cNvPr>
            <p:cNvSpPr/>
            <p:nvPr/>
          </p:nvSpPr>
          <p:spPr>
            <a:xfrm>
              <a:off x="2048669" y="1961041"/>
              <a:ext cx="11704" cy="36279"/>
            </a:xfrm>
            <a:custGeom>
              <a:avLst/>
              <a:gdLst/>
              <a:ahLst/>
              <a:cxnLst/>
              <a:rect l="l" t="t" r="r" b="b"/>
              <a:pathLst>
                <a:path w="862" h="2672" extrusionOk="0">
                  <a:moveTo>
                    <a:pt x="1" y="1"/>
                  </a:moveTo>
                  <a:lnTo>
                    <a:pt x="1" y="11"/>
                  </a:lnTo>
                  <a:lnTo>
                    <a:pt x="4" y="25"/>
                  </a:lnTo>
                  <a:lnTo>
                    <a:pt x="8" y="46"/>
                  </a:lnTo>
                  <a:lnTo>
                    <a:pt x="8" y="57"/>
                  </a:lnTo>
                  <a:lnTo>
                    <a:pt x="11" y="81"/>
                  </a:lnTo>
                  <a:lnTo>
                    <a:pt x="11" y="88"/>
                  </a:lnTo>
                  <a:lnTo>
                    <a:pt x="18" y="109"/>
                  </a:lnTo>
                  <a:lnTo>
                    <a:pt x="18" y="113"/>
                  </a:lnTo>
                  <a:cubicBezTo>
                    <a:pt x="25" y="141"/>
                    <a:pt x="29" y="158"/>
                    <a:pt x="36" y="176"/>
                  </a:cubicBezTo>
                  <a:lnTo>
                    <a:pt x="39" y="190"/>
                  </a:lnTo>
                  <a:lnTo>
                    <a:pt x="39" y="193"/>
                  </a:lnTo>
                  <a:lnTo>
                    <a:pt x="43" y="204"/>
                  </a:lnTo>
                  <a:lnTo>
                    <a:pt x="43" y="207"/>
                  </a:lnTo>
                  <a:lnTo>
                    <a:pt x="46" y="214"/>
                  </a:lnTo>
                  <a:lnTo>
                    <a:pt x="46" y="218"/>
                  </a:lnTo>
                  <a:lnTo>
                    <a:pt x="50" y="221"/>
                  </a:lnTo>
                  <a:lnTo>
                    <a:pt x="53" y="228"/>
                  </a:lnTo>
                  <a:lnTo>
                    <a:pt x="53" y="232"/>
                  </a:lnTo>
                  <a:lnTo>
                    <a:pt x="57" y="239"/>
                  </a:lnTo>
                  <a:cubicBezTo>
                    <a:pt x="134" y="284"/>
                    <a:pt x="186" y="358"/>
                    <a:pt x="207" y="442"/>
                  </a:cubicBezTo>
                  <a:cubicBezTo>
                    <a:pt x="221" y="501"/>
                    <a:pt x="225" y="564"/>
                    <a:pt x="221" y="624"/>
                  </a:cubicBezTo>
                  <a:cubicBezTo>
                    <a:pt x="221" y="652"/>
                    <a:pt x="218" y="683"/>
                    <a:pt x="214" y="722"/>
                  </a:cubicBezTo>
                  <a:lnTo>
                    <a:pt x="211" y="757"/>
                  </a:lnTo>
                  <a:cubicBezTo>
                    <a:pt x="200" y="858"/>
                    <a:pt x="193" y="984"/>
                    <a:pt x="193" y="1104"/>
                  </a:cubicBezTo>
                  <a:cubicBezTo>
                    <a:pt x="190" y="1191"/>
                    <a:pt x="204" y="1279"/>
                    <a:pt x="228" y="1359"/>
                  </a:cubicBezTo>
                  <a:cubicBezTo>
                    <a:pt x="316" y="1590"/>
                    <a:pt x="368" y="1835"/>
                    <a:pt x="379" y="2080"/>
                  </a:cubicBezTo>
                  <a:lnTo>
                    <a:pt x="379" y="2136"/>
                  </a:lnTo>
                  <a:cubicBezTo>
                    <a:pt x="379" y="2157"/>
                    <a:pt x="379" y="2178"/>
                    <a:pt x="382" y="2199"/>
                  </a:cubicBezTo>
                  <a:cubicBezTo>
                    <a:pt x="382" y="2206"/>
                    <a:pt x="386" y="2217"/>
                    <a:pt x="386" y="2224"/>
                  </a:cubicBezTo>
                  <a:cubicBezTo>
                    <a:pt x="389" y="2238"/>
                    <a:pt x="389" y="2252"/>
                    <a:pt x="393" y="2266"/>
                  </a:cubicBezTo>
                  <a:cubicBezTo>
                    <a:pt x="396" y="2280"/>
                    <a:pt x="396" y="2287"/>
                    <a:pt x="400" y="2294"/>
                  </a:cubicBezTo>
                  <a:cubicBezTo>
                    <a:pt x="403" y="2304"/>
                    <a:pt x="407" y="2325"/>
                    <a:pt x="410" y="2339"/>
                  </a:cubicBezTo>
                  <a:cubicBezTo>
                    <a:pt x="417" y="2353"/>
                    <a:pt x="417" y="2360"/>
                    <a:pt x="421" y="2371"/>
                  </a:cubicBezTo>
                  <a:cubicBezTo>
                    <a:pt x="424" y="2381"/>
                    <a:pt x="431" y="2399"/>
                    <a:pt x="435" y="2413"/>
                  </a:cubicBezTo>
                  <a:lnTo>
                    <a:pt x="445" y="2444"/>
                  </a:lnTo>
                  <a:cubicBezTo>
                    <a:pt x="452" y="2458"/>
                    <a:pt x="456" y="2476"/>
                    <a:pt x="463" y="2490"/>
                  </a:cubicBezTo>
                  <a:lnTo>
                    <a:pt x="473" y="2518"/>
                  </a:lnTo>
                  <a:cubicBezTo>
                    <a:pt x="480" y="2535"/>
                    <a:pt x="487" y="2549"/>
                    <a:pt x="494" y="2567"/>
                  </a:cubicBezTo>
                  <a:lnTo>
                    <a:pt x="505" y="2595"/>
                  </a:lnTo>
                  <a:cubicBezTo>
                    <a:pt x="512" y="2609"/>
                    <a:pt x="519" y="2626"/>
                    <a:pt x="526" y="2644"/>
                  </a:cubicBezTo>
                  <a:lnTo>
                    <a:pt x="536" y="2665"/>
                  </a:lnTo>
                  <a:lnTo>
                    <a:pt x="540" y="2672"/>
                  </a:lnTo>
                  <a:cubicBezTo>
                    <a:pt x="554" y="2661"/>
                    <a:pt x="568" y="2651"/>
                    <a:pt x="582" y="2640"/>
                  </a:cubicBezTo>
                  <a:cubicBezTo>
                    <a:pt x="662" y="2577"/>
                    <a:pt x="760" y="2535"/>
                    <a:pt x="862" y="2518"/>
                  </a:cubicBezTo>
                  <a:lnTo>
                    <a:pt x="862" y="2483"/>
                  </a:lnTo>
                  <a:lnTo>
                    <a:pt x="862" y="2469"/>
                  </a:lnTo>
                  <a:lnTo>
                    <a:pt x="859" y="2399"/>
                  </a:lnTo>
                  <a:lnTo>
                    <a:pt x="859" y="2367"/>
                  </a:lnTo>
                  <a:lnTo>
                    <a:pt x="859" y="2311"/>
                  </a:lnTo>
                  <a:lnTo>
                    <a:pt x="859" y="2280"/>
                  </a:lnTo>
                  <a:lnTo>
                    <a:pt x="859" y="2234"/>
                  </a:lnTo>
                  <a:lnTo>
                    <a:pt x="859" y="2199"/>
                  </a:lnTo>
                  <a:lnTo>
                    <a:pt x="859" y="2154"/>
                  </a:lnTo>
                  <a:lnTo>
                    <a:pt x="859" y="2119"/>
                  </a:lnTo>
                  <a:lnTo>
                    <a:pt x="859" y="2080"/>
                  </a:lnTo>
                  <a:lnTo>
                    <a:pt x="859" y="2045"/>
                  </a:lnTo>
                  <a:lnTo>
                    <a:pt x="859" y="2010"/>
                  </a:lnTo>
                  <a:lnTo>
                    <a:pt x="859" y="1982"/>
                  </a:lnTo>
                  <a:lnTo>
                    <a:pt x="859" y="1940"/>
                  </a:lnTo>
                  <a:lnTo>
                    <a:pt x="859" y="1919"/>
                  </a:lnTo>
                  <a:lnTo>
                    <a:pt x="859" y="1874"/>
                  </a:lnTo>
                  <a:lnTo>
                    <a:pt x="859" y="1860"/>
                  </a:lnTo>
                  <a:lnTo>
                    <a:pt x="859" y="1814"/>
                  </a:lnTo>
                  <a:lnTo>
                    <a:pt x="859" y="1800"/>
                  </a:lnTo>
                  <a:lnTo>
                    <a:pt x="859" y="1762"/>
                  </a:lnTo>
                  <a:lnTo>
                    <a:pt x="859" y="1751"/>
                  </a:lnTo>
                  <a:lnTo>
                    <a:pt x="859" y="1713"/>
                  </a:lnTo>
                  <a:lnTo>
                    <a:pt x="859" y="1706"/>
                  </a:lnTo>
                  <a:lnTo>
                    <a:pt x="859" y="1671"/>
                  </a:lnTo>
                  <a:lnTo>
                    <a:pt x="859" y="1664"/>
                  </a:lnTo>
                  <a:lnTo>
                    <a:pt x="859" y="1632"/>
                  </a:lnTo>
                  <a:lnTo>
                    <a:pt x="859" y="1625"/>
                  </a:lnTo>
                  <a:lnTo>
                    <a:pt x="859" y="1594"/>
                  </a:lnTo>
                  <a:lnTo>
                    <a:pt x="859" y="1562"/>
                  </a:lnTo>
                  <a:cubicBezTo>
                    <a:pt x="852" y="1471"/>
                    <a:pt x="848" y="1380"/>
                    <a:pt x="848" y="1300"/>
                  </a:cubicBezTo>
                  <a:cubicBezTo>
                    <a:pt x="845" y="1146"/>
                    <a:pt x="841" y="1009"/>
                    <a:pt x="792" y="960"/>
                  </a:cubicBezTo>
                  <a:cubicBezTo>
                    <a:pt x="764" y="932"/>
                    <a:pt x="750" y="893"/>
                    <a:pt x="750" y="855"/>
                  </a:cubicBezTo>
                  <a:cubicBezTo>
                    <a:pt x="750" y="820"/>
                    <a:pt x="753" y="785"/>
                    <a:pt x="764" y="750"/>
                  </a:cubicBezTo>
                  <a:cubicBezTo>
                    <a:pt x="781" y="666"/>
                    <a:pt x="795" y="613"/>
                    <a:pt x="697" y="557"/>
                  </a:cubicBezTo>
                  <a:cubicBezTo>
                    <a:pt x="669" y="543"/>
                    <a:pt x="645" y="529"/>
                    <a:pt x="620" y="515"/>
                  </a:cubicBezTo>
                  <a:lnTo>
                    <a:pt x="592" y="498"/>
                  </a:lnTo>
                  <a:lnTo>
                    <a:pt x="578" y="491"/>
                  </a:lnTo>
                  <a:lnTo>
                    <a:pt x="564" y="484"/>
                  </a:lnTo>
                  <a:lnTo>
                    <a:pt x="550" y="477"/>
                  </a:lnTo>
                  <a:lnTo>
                    <a:pt x="536" y="466"/>
                  </a:lnTo>
                  <a:lnTo>
                    <a:pt x="526" y="459"/>
                  </a:lnTo>
                  <a:lnTo>
                    <a:pt x="512" y="449"/>
                  </a:lnTo>
                  <a:lnTo>
                    <a:pt x="505" y="442"/>
                  </a:lnTo>
                  <a:lnTo>
                    <a:pt x="491" y="431"/>
                  </a:lnTo>
                  <a:lnTo>
                    <a:pt x="484" y="421"/>
                  </a:lnTo>
                  <a:lnTo>
                    <a:pt x="473" y="410"/>
                  </a:lnTo>
                  <a:lnTo>
                    <a:pt x="463" y="400"/>
                  </a:lnTo>
                  <a:lnTo>
                    <a:pt x="456" y="389"/>
                  </a:lnTo>
                  <a:lnTo>
                    <a:pt x="449" y="379"/>
                  </a:lnTo>
                  <a:lnTo>
                    <a:pt x="438" y="365"/>
                  </a:lnTo>
                  <a:lnTo>
                    <a:pt x="435" y="351"/>
                  </a:lnTo>
                  <a:lnTo>
                    <a:pt x="428" y="337"/>
                  </a:lnTo>
                  <a:lnTo>
                    <a:pt x="421" y="323"/>
                  </a:lnTo>
                  <a:lnTo>
                    <a:pt x="414" y="305"/>
                  </a:lnTo>
                  <a:lnTo>
                    <a:pt x="410" y="288"/>
                  </a:lnTo>
                  <a:cubicBezTo>
                    <a:pt x="410" y="284"/>
                    <a:pt x="407" y="277"/>
                    <a:pt x="403" y="270"/>
                  </a:cubicBezTo>
                  <a:cubicBezTo>
                    <a:pt x="403" y="263"/>
                    <a:pt x="400" y="256"/>
                    <a:pt x="400" y="253"/>
                  </a:cubicBezTo>
                  <a:cubicBezTo>
                    <a:pt x="400" y="246"/>
                    <a:pt x="396" y="239"/>
                    <a:pt x="396" y="232"/>
                  </a:cubicBezTo>
                  <a:cubicBezTo>
                    <a:pt x="393" y="221"/>
                    <a:pt x="393" y="218"/>
                    <a:pt x="389" y="211"/>
                  </a:cubicBezTo>
                  <a:cubicBezTo>
                    <a:pt x="389" y="204"/>
                    <a:pt x="389" y="193"/>
                    <a:pt x="386" y="186"/>
                  </a:cubicBezTo>
                  <a:cubicBezTo>
                    <a:pt x="386" y="176"/>
                    <a:pt x="386" y="172"/>
                    <a:pt x="382" y="165"/>
                  </a:cubicBezTo>
                  <a:cubicBezTo>
                    <a:pt x="382" y="155"/>
                    <a:pt x="382" y="144"/>
                    <a:pt x="379" y="134"/>
                  </a:cubicBezTo>
                  <a:cubicBezTo>
                    <a:pt x="379" y="123"/>
                    <a:pt x="379" y="120"/>
                    <a:pt x="379" y="113"/>
                  </a:cubicBezTo>
                  <a:cubicBezTo>
                    <a:pt x="375" y="102"/>
                    <a:pt x="379" y="88"/>
                    <a:pt x="375" y="78"/>
                  </a:cubicBezTo>
                  <a:cubicBezTo>
                    <a:pt x="372" y="67"/>
                    <a:pt x="375" y="60"/>
                    <a:pt x="375" y="53"/>
                  </a:cubicBezTo>
                  <a:lnTo>
                    <a:pt x="375" y="50"/>
                  </a:lnTo>
                  <a:cubicBezTo>
                    <a:pt x="364" y="50"/>
                    <a:pt x="354" y="50"/>
                    <a:pt x="343" y="50"/>
                  </a:cubicBezTo>
                  <a:cubicBezTo>
                    <a:pt x="276" y="50"/>
                    <a:pt x="224" y="41"/>
                    <a:pt x="176" y="29"/>
                  </a:cubicBezTo>
                  <a:cubicBezTo>
                    <a:pt x="144" y="22"/>
                    <a:pt x="109" y="18"/>
                    <a:pt x="78" y="11"/>
                  </a:cubicBezTo>
                  <a:lnTo>
                    <a:pt x="71" y="11"/>
                  </a:lnTo>
                  <a:lnTo>
                    <a:pt x="36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9" name="Google Shape;4626;p64">
              <a:extLst>
                <a:ext uri="{FF2B5EF4-FFF2-40B4-BE49-F238E27FC236}">
                  <a16:creationId xmlns:a16="http://schemas.microsoft.com/office/drawing/2014/main" id="{AE0BF749-CC51-69AB-D489-D4D558906149}"/>
                </a:ext>
              </a:extLst>
            </p:cNvPr>
            <p:cNvSpPr/>
            <p:nvPr/>
          </p:nvSpPr>
          <p:spPr>
            <a:xfrm>
              <a:off x="2054141" y="196598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0" name="Google Shape;4627;p64">
              <a:extLst>
                <a:ext uri="{FF2B5EF4-FFF2-40B4-BE49-F238E27FC236}">
                  <a16:creationId xmlns:a16="http://schemas.microsoft.com/office/drawing/2014/main" id="{2393A836-94F5-93E5-868A-244536B8A6F7}"/>
                </a:ext>
              </a:extLst>
            </p:cNvPr>
            <p:cNvSpPr/>
            <p:nvPr/>
          </p:nvSpPr>
          <p:spPr>
            <a:xfrm>
              <a:off x="2054331" y="196632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1" name="Google Shape;4628;p64">
              <a:extLst>
                <a:ext uri="{FF2B5EF4-FFF2-40B4-BE49-F238E27FC236}">
                  <a16:creationId xmlns:a16="http://schemas.microsoft.com/office/drawing/2014/main" id="{2F360B00-475B-6CB3-81C0-0A4BF8C70E28}"/>
                </a:ext>
              </a:extLst>
            </p:cNvPr>
            <p:cNvSpPr/>
            <p:nvPr/>
          </p:nvSpPr>
          <p:spPr>
            <a:xfrm>
              <a:off x="2053476" y="196341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2" name="Google Shape;4629;p64">
              <a:extLst>
                <a:ext uri="{FF2B5EF4-FFF2-40B4-BE49-F238E27FC236}">
                  <a16:creationId xmlns:a16="http://schemas.microsoft.com/office/drawing/2014/main" id="{F8BF084C-3884-E8EA-391D-71FE88A60B7E}"/>
                </a:ext>
              </a:extLst>
            </p:cNvPr>
            <p:cNvSpPr/>
            <p:nvPr/>
          </p:nvSpPr>
          <p:spPr>
            <a:xfrm>
              <a:off x="2053326" y="196189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3" name="Google Shape;4630;p64">
              <a:extLst>
                <a:ext uri="{FF2B5EF4-FFF2-40B4-BE49-F238E27FC236}">
                  <a16:creationId xmlns:a16="http://schemas.microsoft.com/office/drawing/2014/main" id="{7C5E0E51-7649-E094-0B0D-E596BC986832}"/>
                </a:ext>
              </a:extLst>
            </p:cNvPr>
            <p:cNvSpPr/>
            <p:nvPr/>
          </p:nvSpPr>
          <p:spPr>
            <a:xfrm>
              <a:off x="2060414" y="1992514"/>
              <a:ext cx="14" cy="774"/>
            </a:xfrm>
            <a:custGeom>
              <a:avLst/>
              <a:gdLst/>
              <a:ahLst/>
              <a:cxnLst/>
              <a:rect l="l" t="t" r="r" b="b"/>
              <a:pathLst>
                <a:path w="1" h="57" extrusionOk="0">
                  <a:moveTo>
                    <a:pt x="1" y="0"/>
                  </a:moveTo>
                  <a:lnTo>
                    <a:pt x="1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4" name="Google Shape;4631;p64">
              <a:extLst>
                <a:ext uri="{FF2B5EF4-FFF2-40B4-BE49-F238E27FC236}">
                  <a16:creationId xmlns:a16="http://schemas.microsoft.com/office/drawing/2014/main" id="{43E04922-12BA-C413-6086-C4F01D6F4889}"/>
                </a:ext>
              </a:extLst>
            </p:cNvPr>
            <p:cNvSpPr/>
            <p:nvPr/>
          </p:nvSpPr>
          <p:spPr>
            <a:xfrm>
              <a:off x="2053666" y="196465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8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5" name="Google Shape;4632;p64">
              <a:extLst>
                <a:ext uri="{FF2B5EF4-FFF2-40B4-BE49-F238E27FC236}">
                  <a16:creationId xmlns:a16="http://schemas.microsoft.com/office/drawing/2014/main" id="{973B328B-7118-D896-1AE8-CDEDCF74F189}"/>
                </a:ext>
              </a:extLst>
            </p:cNvPr>
            <p:cNvSpPr/>
            <p:nvPr/>
          </p:nvSpPr>
          <p:spPr>
            <a:xfrm>
              <a:off x="2053571" y="19640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8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6" name="Google Shape;4633;p64">
              <a:extLst>
                <a:ext uri="{FF2B5EF4-FFF2-40B4-BE49-F238E27FC236}">
                  <a16:creationId xmlns:a16="http://schemas.microsoft.com/office/drawing/2014/main" id="{DCB46133-D621-CFB7-177B-0BC85B8D1D26}"/>
                </a:ext>
              </a:extLst>
            </p:cNvPr>
            <p:cNvSpPr/>
            <p:nvPr/>
          </p:nvSpPr>
          <p:spPr>
            <a:xfrm>
              <a:off x="2053381" y="196271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11"/>
                    <a:pt x="0" y="18"/>
                    <a:pt x="4" y="25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7" name="Google Shape;4634;p64">
              <a:extLst>
                <a:ext uri="{FF2B5EF4-FFF2-40B4-BE49-F238E27FC236}">
                  <a16:creationId xmlns:a16="http://schemas.microsoft.com/office/drawing/2014/main" id="{7D10DFCD-1184-A978-B4F9-A7E62FCB70E8}"/>
                </a:ext>
              </a:extLst>
            </p:cNvPr>
            <p:cNvSpPr/>
            <p:nvPr/>
          </p:nvSpPr>
          <p:spPr>
            <a:xfrm>
              <a:off x="2060319" y="1990369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8" name="Google Shape;4635;p64">
              <a:extLst>
                <a:ext uri="{FF2B5EF4-FFF2-40B4-BE49-F238E27FC236}">
                  <a16:creationId xmlns:a16="http://schemas.microsoft.com/office/drawing/2014/main" id="{C6B86A76-4F51-08A9-FA81-2F554424CD5D}"/>
                </a:ext>
              </a:extLst>
            </p:cNvPr>
            <p:cNvSpPr/>
            <p:nvPr/>
          </p:nvSpPr>
          <p:spPr>
            <a:xfrm>
              <a:off x="2060319" y="1989378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9" name="Google Shape;4636;p64">
              <a:extLst>
                <a:ext uri="{FF2B5EF4-FFF2-40B4-BE49-F238E27FC236}">
                  <a16:creationId xmlns:a16="http://schemas.microsoft.com/office/drawing/2014/main" id="{6C0F468A-A63F-972B-2230-4F59675205B3}"/>
                </a:ext>
              </a:extLst>
            </p:cNvPr>
            <p:cNvSpPr/>
            <p:nvPr/>
          </p:nvSpPr>
          <p:spPr>
            <a:xfrm>
              <a:off x="2058459" y="1972786"/>
              <a:ext cx="584" cy="1439"/>
            </a:xfrm>
            <a:custGeom>
              <a:avLst/>
              <a:gdLst/>
              <a:ahLst/>
              <a:cxnLst/>
              <a:rect l="l" t="t" r="r" b="b"/>
              <a:pathLst>
                <a:path w="43" h="106" extrusionOk="0">
                  <a:moveTo>
                    <a:pt x="43" y="105"/>
                  </a:moveTo>
                  <a:cubicBezTo>
                    <a:pt x="15" y="77"/>
                    <a:pt x="1" y="42"/>
                    <a:pt x="1" y="0"/>
                  </a:cubicBezTo>
                  <a:cubicBezTo>
                    <a:pt x="1" y="42"/>
                    <a:pt x="15" y="77"/>
                    <a:pt x="43" y="1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0" name="Google Shape;4637;p64">
              <a:extLst>
                <a:ext uri="{FF2B5EF4-FFF2-40B4-BE49-F238E27FC236}">
                  <a16:creationId xmlns:a16="http://schemas.microsoft.com/office/drawing/2014/main" id="{1A52A0DC-F17B-9244-C323-458AE66586EE}"/>
                </a:ext>
              </a:extLst>
            </p:cNvPr>
            <p:cNvSpPr/>
            <p:nvPr/>
          </p:nvSpPr>
          <p:spPr>
            <a:xfrm>
              <a:off x="2054806" y="196693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1" name="Google Shape;4638;p64">
              <a:extLst>
                <a:ext uri="{FF2B5EF4-FFF2-40B4-BE49-F238E27FC236}">
                  <a16:creationId xmlns:a16="http://schemas.microsoft.com/office/drawing/2014/main" id="{23713DA8-EED2-40D7-2155-258CEE7CBCA4}"/>
                </a:ext>
              </a:extLst>
            </p:cNvPr>
            <p:cNvSpPr/>
            <p:nvPr/>
          </p:nvSpPr>
          <p:spPr>
            <a:xfrm>
              <a:off x="2053951" y="196560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7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2" name="Google Shape;4639;p64">
              <a:extLst>
                <a:ext uri="{FF2B5EF4-FFF2-40B4-BE49-F238E27FC236}">
                  <a16:creationId xmlns:a16="http://schemas.microsoft.com/office/drawing/2014/main" id="{823CEF75-AF67-138F-35CC-70E2F48BACF8}"/>
                </a:ext>
              </a:extLst>
            </p:cNvPr>
            <p:cNvSpPr/>
            <p:nvPr/>
          </p:nvSpPr>
          <p:spPr>
            <a:xfrm>
              <a:off x="2060373" y="1991414"/>
              <a:ext cx="0" cy="679"/>
            </a:xfrm>
            <a:custGeom>
              <a:avLst/>
              <a:gdLst/>
              <a:ahLst/>
              <a:cxnLst/>
              <a:rect l="l" t="t" r="r" b="b"/>
              <a:pathLst>
                <a:path h="50" extrusionOk="0">
                  <a:moveTo>
                    <a:pt x="0" y="1"/>
                  </a:moveTo>
                  <a:lnTo>
                    <a:pt x="0" y="5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3" name="Google Shape;4640;p64">
              <a:extLst>
                <a:ext uri="{FF2B5EF4-FFF2-40B4-BE49-F238E27FC236}">
                  <a16:creationId xmlns:a16="http://schemas.microsoft.com/office/drawing/2014/main" id="{340A3069-5E0E-2286-5C7D-DA88EF4C74F1}"/>
                </a:ext>
              </a:extLst>
            </p:cNvPr>
            <p:cNvSpPr/>
            <p:nvPr/>
          </p:nvSpPr>
          <p:spPr>
            <a:xfrm>
              <a:off x="2053801" y="196512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4" name="Google Shape;4641;p64">
              <a:extLst>
                <a:ext uri="{FF2B5EF4-FFF2-40B4-BE49-F238E27FC236}">
                  <a16:creationId xmlns:a16="http://schemas.microsoft.com/office/drawing/2014/main" id="{67505850-EC85-BF69-AA33-74D4C663B6A8}"/>
                </a:ext>
              </a:extLst>
            </p:cNvPr>
            <p:cNvSpPr/>
            <p:nvPr/>
          </p:nvSpPr>
          <p:spPr>
            <a:xfrm>
              <a:off x="2060224" y="1987477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1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5" name="Google Shape;4642;p64">
              <a:extLst>
                <a:ext uri="{FF2B5EF4-FFF2-40B4-BE49-F238E27FC236}">
                  <a16:creationId xmlns:a16="http://schemas.microsoft.com/office/drawing/2014/main" id="{9E290848-FC4B-DE20-B391-6A810175159E}"/>
                </a:ext>
              </a:extLst>
            </p:cNvPr>
            <p:cNvSpPr/>
            <p:nvPr/>
          </p:nvSpPr>
          <p:spPr>
            <a:xfrm>
              <a:off x="2060034" y="198386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6" name="Google Shape;4643;p64">
              <a:extLst>
                <a:ext uri="{FF2B5EF4-FFF2-40B4-BE49-F238E27FC236}">
                  <a16:creationId xmlns:a16="http://schemas.microsoft.com/office/drawing/2014/main" id="{B930ADA7-AF7C-A271-9418-48D140CC0ADB}"/>
                </a:ext>
              </a:extLst>
            </p:cNvPr>
            <p:cNvSpPr/>
            <p:nvPr/>
          </p:nvSpPr>
          <p:spPr>
            <a:xfrm>
              <a:off x="2059939" y="198282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7" name="Google Shape;4644;p64">
              <a:extLst>
                <a:ext uri="{FF2B5EF4-FFF2-40B4-BE49-F238E27FC236}">
                  <a16:creationId xmlns:a16="http://schemas.microsoft.com/office/drawing/2014/main" id="{2CB9ECCF-29EB-7A5A-3C02-CD3B1BC131D6}"/>
                </a:ext>
              </a:extLst>
            </p:cNvPr>
            <p:cNvSpPr/>
            <p:nvPr/>
          </p:nvSpPr>
          <p:spPr>
            <a:xfrm>
              <a:off x="2060088" y="1984435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8" name="Google Shape;4645;p64">
              <a:extLst>
                <a:ext uri="{FF2B5EF4-FFF2-40B4-BE49-F238E27FC236}">
                  <a16:creationId xmlns:a16="http://schemas.microsoft.com/office/drawing/2014/main" id="{B6F32A2D-7905-F8E6-7684-DEADD13D5BF4}"/>
                </a:ext>
              </a:extLst>
            </p:cNvPr>
            <p:cNvSpPr/>
            <p:nvPr/>
          </p:nvSpPr>
          <p:spPr>
            <a:xfrm>
              <a:off x="2059993" y="19832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0" y="32"/>
                  </a:lnTo>
                  <a:cubicBezTo>
                    <a:pt x="4" y="21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9" name="Google Shape;4646;p64">
              <a:extLst>
                <a:ext uri="{FF2B5EF4-FFF2-40B4-BE49-F238E27FC236}">
                  <a16:creationId xmlns:a16="http://schemas.microsoft.com/office/drawing/2014/main" id="{9500D609-5F8A-512A-723A-F5C23CA6B567}"/>
                </a:ext>
              </a:extLst>
            </p:cNvPr>
            <p:cNvSpPr/>
            <p:nvPr/>
          </p:nvSpPr>
          <p:spPr>
            <a:xfrm>
              <a:off x="2060468" y="1993695"/>
              <a:ext cx="54" cy="923"/>
            </a:xfrm>
            <a:custGeom>
              <a:avLst/>
              <a:gdLst/>
              <a:ahLst/>
              <a:cxnLst/>
              <a:rect l="l" t="t" r="r" b="b"/>
              <a:pathLst>
                <a:path w="4" h="68" extrusionOk="0">
                  <a:moveTo>
                    <a:pt x="0" y="1"/>
                  </a:moveTo>
                  <a:lnTo>
                    <a:pt x="4" y="6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0" name="Google Shape;4647;p64">
              <a:extLst>
                <a:ext uri="{FF2B5EF4-FFF2-40B4-BE49-F238E27FC236}">
                  <a16:creationId xmlns:a16="http://schemas.microsoft.com/office/drawing/2014/main" id="{744FBA9C-636C-61F5-DF6C-775ECFB06BA8}"/>
                </a:ext>
              </a:extLst>
            </p:cNvPr>
            <p:cNvSpPr/>
            <p:nvPr/>
          </p:nvSpPr>
          <p:spPr>
            <a:xfrm>
              <a:off x="2060183" y="1986621"/>
              <a:ext cx="0" cy="584"/>
            </a:xfrm>
            <a:custGeom>
              <a:avLst/>
              <a:gdLst/>
              <a:ahLst/>
              <a:cxnLst/>
              <a:rect l="l" t="t" r="r" b="b"/>
              <a:pathLst>
                <a:path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1" name="Google Shape;4648;p64">
              <a:extLst>
                <a:ext uri="{FF2B5EF4-FFF2-40B4-BE49-F238E27FC236}">
                  <a16:creationId xmlns:a16="http://schemas.microsoft.com/office/drawing/2014/main" id="{3A7F0466-49BA-E00E-5154-1DF1F314EB29}"/>
                </a:ext>
              </a:extLst>
            </p:cNvPr>
            <p:cNvSpPr/>
            <p:nvPr/>
          </p:nvSpPr>
          <p:spPr>
            <a:xfrm>
              <a:off x="2060129" y="1985807"/>
              <a:ext cx="14" cy="638"/>
            </a:xfrm>
            <a:custGeom>
              <a:avLst/>
              <a:gdLst/>
              <a:ahLst/>
              <a:cxnLst/>
              <a:rect l="l" t="t" r="r" b="b"/>
              <a:pathLst>
                <a:path w="1" h="47" extrusionOk="0">
                  <a:moveTo>
                    <a:pt x="1" y="1"/>
                  </a:moveTo>
                  <a:lnTo>
                    <a:pt x="1" y="4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2" name="Google Shape;4649;p64">
              <a:extLst>
                <a:ext uri="{FF2B5EF4-FFF2-40B4-BE49-F238E27FC236}">
                  <a16:creationId xmlns:a16="http://schemas.microsoft.com/office/drawing/2014/main" id="{07B5C7A4-9755-9F8C-13A6-32F9FFD9EED1}"/>
                </a:ext>
              </a:extLst>
            </p:cNvPr>
            <p:cNvSpPr/>
            <p:nvPr/>
          </p:nvSpPr>
          <p:spPr>
            <a:xfrm>
              <a:off x="2060088" y="1985101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3" name="Google Shape;4650;p64">
              <a:extLst>
                <a:ext uri="{FF2B5EF4-FFF2-40B4-BE49-F238E27FC236}">
                  <a16:creationId xmlns:a16="http://schemas.microsoft.com/office/drawing/2014/main" id="{89C4FC9D-FA73-06CC-AFAF-6D372374BA60}"/>
                </a:ext>
              </a:extLst>
            </p:cNvPr>
            <p:cNvSpPr/>
            <p:nvPr/>
          </p:nvSpPr>
          <p:spPr>
            <a:xfrm>
              <a:off x="2054562" y="196664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4" name="Google Shape;4651;p64">
              <a:extLst>
                <a:ext uri="{FF2B5EF4-FFF2-40B4-BE49-F238E27FC236}">
                  <a16:creationId xmlns:a16="http://schemas.microsoft.com/office/drawing/2014/main" id="{DC5E3B47-E10B-4E2C-5CBB-6B126D841EE8}"/>
                </a:ext>
              </a:extLst>
            </p:cNvPr>
            <p:cNvSpPr/>
            <p:nvPr/>
          </p:nvSpPr>
          <p:spPr>
            <a:xfrm>
              <a:off x="2060509" y="1994795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5" name="Google Shape;4652;p64">
              <a:extLst>
                <a:ext uri="{FF2B5EF4-FFF2-40B4-BE49-F238E27FC236}">
                  <a16:creationId xmlns:a16="http://schemas.microsoft.com/office/drawing/2014/main" id="{55563FD9-0305-77A9-83C8-F72D676ED43C}"/>
                </a:ext>
              </a:extLst>
            </p:cNvPr>
            <p:cNvSpPr/>
            <p:nvPr/>
          </p:nvSpPr>
          <p:spPr>
            <a:xfrm>
              <a:off x="2055091" y="196717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6" name="Google Shape;4653;p64">
              <a:extLst>
                <a:ext uri="{FF2B5EF4-FFF2-40B4-BE49-F238E27FC236}">
                  <a16:creationId xmlns:a16="http://schemas.microsoft.com/office/drawing/2014/main" id="{520A87E9-9E1F-9146-2DFC-9415D263C7FB}"/>
                </a:ext>
              </a:extLst>
            </p:cNvPr>
            <p:cNvSpPr/>
            <p:nvPr/>
          </p:nvSpPr>
          <p:spPr>
            <a:xfrm>
              <a:off x="2055376" y="196746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7" name="Google Shape;4654;p64">
              <a:extLst>
                <a:ext uri="{FF2B5EF4-FFF2-40B4-BE49-F238E27FC236}">
                  <a16:creationId xmlns:a16="http://schemas.microsoft.com/office/drawing/2014/main" id="{94FE099B-4CE7-5178-B894-8E0383A7A536}"/>
                </a:ext>
              </a:extLst>
            </p:cNvPr>
            <p:cNvSpPr/>
            <p:nvPr/>
          </p:nvSpPr>
          <p:spPr>
            <a:xfrm>
              <a:off x="2059939" y="1982385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1"/>
                  </a:moveTo>
                  <a:lnTo>
                    <a:pt x="1" y="32"/>
                  </a:lnTo>
                  <a:cubicBezTo>
                    <a:pt x="1" y="22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8" name="Google Shape;4655;p64">
              <a:extLst>
                <a:ext uri="{FF2B5EF4-FFF2-40B4-BE49-F238E27FC236}">
                  <a16:creationId xmlns:a16="http://schemas.microsoft.com/office/drawing/2014/main" id="{B4EE5CF0-D59E-0835-24F3-DAB04A511814}"/>
                </a:ext>
              </a:extLst>
            </p:cNvPr>
            <p:cNvSpPr/>
            <p:nvPr/>
          </p:nvSpPr>
          <p:spPr>
            <a:xfrm>
              <a:off x="2060278" y="1988427"/>
              <a:ext cx="0" cy="530"/>
            </a:xfrm>
            <a:custGeom>
              <a:avLst/>
              <a:gdLst/>
              <a:ahLst/>
              <a:cxnLst/>
              <a:rect l="l" t="t" r="r" b="b"/>
              <a:pathLst>
                <a:path h="39" extrusionOk="0">
                  <a:moveTo>
                    <a:pt x="0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9" name="Google Shape;4656;p64">
              <a:extLst>
                <a:ext uri="{FF2B5EF4-FFF2-40B4-BE49-F238E27FC236}">
                  <a16:creationId xmlns:a16="http://schemas.microsoft.com/office/drawing/2014/main" id="{B4F62F87-E062-DFE4-269D-E8E3AE46ECF5}"/>
                </a:ext>
              </a:extLst>
            </p:cNvPr>
            <p:cNvSpPr/>
            <p:nvPr/>
          </p:nvSpPr>
          <p:spPr>
            <a:xfrm>
              <a:off x="2056137" y="196788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0" name="Google Shape;4657;p64">
              <a:extLst>
                <a:ext uri="{FF2B5EF4-FFF2-40B4-BE49-F238E27FC236}">
                  <a16:creationId xmlns:a16="http://schemas.microsoft.com/office/drawing/2014/main" id="{AAAD356A-20A2-0F45-493E-CB3CB8B66BB4}"/>
                </a:ext>
              </a:extLst>
            </p:cNvPr>
            <p:cNvSpPr/>
            <p:nvPr/>
          </p:nvSpPr>
          <p:spPr>
            <a:xfrm>
              <a:off x="2055757" y="19676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1" name="Google Shape;4658;p64">
              <a:extLst>
                <a:ext uri="{FF2B5EF4-FFF2-40B4-BE49-F238E27FC236}">
                  <a16:creationId xmlns:a16="http://schemas.microsoft.com/office/drawing/2014/main" id="{4F7A09BB-CB57-D8BF-28AC-D5197E2BA238}"/>
                </a:ext>
              </a:extLst>
            </p:cNvPr>
            <p:cNvSpPr/>
            <p:nvPr/>
          </p:nvSpPr>
          <p:spPr>
            <a:xfrm>
              <a:off x="2153623" y="1945930"/>
              <a:ext cx="3720" cy="6381"/>
            </a:xfrm>
            <a:custGeom>
              <a:avLst/>
              <a:gdLst/>
              <a:ahLst/>
              <a:cxnLst/>
              <a:rect l="l" t="t" r="r" b="b"/>
              <a:pathLst>
                <a:path w="274" h="470" extrusionOk="0">
                  <a:moveTo>
                    <a:pt x="15" y="0"/>
                  </a:moveTo>
                  <a:lnTo>
                    <a:pt x="11" y="14"/>
                  </a:lnTo>
                  <a:lnTo>
                    <a:pt x="8" y="28"/>
                  </a:lnTo>
                  <a:cubicBezTo>
                    <a:pt x="8" y="35"/>
                    <a:pt x="8" y="46"/>
                    <a:pt x="4" y="53"/>
                  </a:cubicBezTo>
                  <a:lnTo>
                    <a:pt x="4" y="63"/>
                  </a:lnTo>
                  <a:cubicBezTo>
                    <a:pt x="4" y="77"/>
                    <a:pt x="4" y="88"/>
                    <a:pt x="1" y="98"/>
                  </a:cubicBezTo>
                  <a:lnTo>
                    <a:pt x="1" y="109"/>
                  </a:lnTo>
                  <a:lnTo>
                    <a:pt x="1" y="134"/>
                  </a:lnTo>
                  <a:lnTo>
                    <a:pt x="1" y="144"/>
                  </a:lnTo>
                  <a:lnTo>
                    <a:pt x="1" y="165"/>
                  </a:lnTo>
                  <a:lnTo>
                    <a:pt x="1" y="176"/>
                  </a:lnTo>
                  <a:lnTo>
                    <a:pt x="1" y="193"/>
                  </a:lnTo>
                  <a:lnTo>
                    <a:pt x="1" y="200"/>
                  </a:lnTo>
                  <a:lnTo>
                    <a:pt x="1" y="221"/>
                  </a:lnTo>
                  <a:cubicBezTo>
                    <a:pt x="1" y="260"/>
                    <a:pt x="92" y="354"/>
                    <a:pt x="183" y="386"/>
                  </a:cubicBezTo>
                  <a:cubicBezTo>
                    <a:pt x="193" y="389"/>
                    <a:pt x="204" y="393"/>
                    <a:pt x="211" y="400"/>
                  </a:cubicBezTo>
                  <a:lnTo>
                    <a:pt x="218" y="403"/>
                  </a:lnTo>
                  <a:cubicBezTo>
                    <a:pt x="225" y="407"/>
                    <a:pt x="232" y="414"/>
                    <a:pt x="239" y="421"/>
                  </a:cubicBezTo>
                  <a:cubicBezTo>
                    <a:pt x="246" y="424"/>
                    <a:pt x="249" y="435"/>
                    <a:pt x="256" y="442"/>
                  </a:cubicBezTo>
                  <a:lnTo>
                    <a:pt x="260" y="445"/>
                  </a:lnTo>
                  <a:cubicBezTo>
                    <a:pt x="261" y="448"/>
                    <a:pt x="263" y="452"/>
                    <a:pt x="265" y="456"/>
                  </a:cubicBezTo>
                  <a:lnTo>
                    <a:pt x="265" y="456"/>
                  </a:lnTo>
                  <a:cubicBezTo>
                    <a:pt x="263" y="450"/>
                    <a:pt x="263" y="444"/>
                    <a:pt x="263" y="438"/>
                  </a:cubicBezTo>
                  <a:cubicBezTo>
                    <a:pt x="274" y="365"/>
                    <a:pt x="197" y="176"/>
                    <a:pt x="99" y="67"/>
                  </a:cubicBezTo>
                  <a:cubicBezTo>
                    <a:pt x="92" y="60"/>
                    <a:pt x="85" y="53"/>
                    <a:pt x="78" y="46"/>
                  </a:cubicBezTo>
                  <a:lnTo>
                    <a:pt x="71" y="39"/>
                  </a:lnTo>
                  <a:cubicBezTo>
                    <a:pt x="64" y="35"/>
                    <a:pt x="57" y="28"/>
                    <a:pt x="53" y="25"/>
                  </a:cubicBezTo>
                  <a:cubicBezTo>
                    <a:pt x="46" y="18"/>
                    <a:pt x="39" y="14"/>
                    <a:pt x="36" y="11"/>
                  </a:cubicBezTo>
                  <a:lnTo>
                    <a:pt x="29" y="7"/>
                  </a:lnTo>
                  <a:cubicBezTo>
                    <a:pt x="25" y="4"/>
                    <a:pt x="18" y="4"/>
                    <a:pt x="15" y="0"/>
                  </a:cubicBezTo>
                  <a:close/>
                  <a:moveTo>
                    <a:pt x="265" y="456"/>
                  </a:moveTo>
                  <a:cubicBezTo>
                    <a:pt x="266" y="461"/>
                    <a:pt x="267" y="465"/>
                    <a:pt x="270" y="470"/>
                  </a:cubicBezTo>
                  <a:cubicBezTo>
                    <a:pt x="268" y="466"/>
                    <a:pt x="266" y="461"/>
                    <a:pt x="265" y="4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2" name="Google Shape;4659;p64">
              <a:extLst>
                <a:ext uri="{FF2B5EF4-FFF2-40B4-BE49-F238E27FC236}">
                  <a16:creationId xmlns:a16="http://schemas.microsoft.com/office/drawing/2014/main" id="{B7CEA0C4-2971-FE4D-7392-6F81022EDEE1}"/>
                </a:ext>
              </a:extLst>
            </p:cNvPr>
            <p:cNvSpPr/>
            <p:nvPr/>
          </p:nvSpPr>
          <p:spPr>
            <a:xfrm>
              <a:off x="2113366" y="1953723"/>
              <a:ext cx="52776" cy="75260"/>
            </a:xfrm>
            <a:custGeom>
              <a:avLst/>
              <a:gdLst/>
              <a:ahLst/>
              <a:cxnLst/>
              <a:rect l="l" t="t" r="r" b="b"/>
              <a:pathLst>
                <a:path w="3887" h="5543" extrusionOk="0">
                  <a:moveTo>
                    <a:pt x="3239" y="1"/>
                  </a:moveTo>
                  <a:cubicBezTo>
                    <a:pt x="3239" y="22"/>
                    <a:pt x="3235" y="46"/>
                    <a:pt x="3235" y="64"/>
                  </a:cubicBezTo>
                  <a:lnTo>
                    <a:pt x="3235" y="67"/>
                  </a:lnTo>
                  <a:cubicBezTo>
                    <a:pt x="3232" y="88"/>
                    <a:pt x="3228" y="109"/>
                    <a:pt x="3225" y="130"/>
                  </a:cubicBezTo>
                  <a:cubicBezTo>
                    <a:pt x="3221" y="158"/>
                    <a:pt x="3218" y="183"/>
                    <a:pt x="3214" y="211"/>
                  </a:cubicBezTo>
                  <a:cubicBezTo>
                    <a:pt x="3200" y="347"/>
                    <a:pt x="3057" y="379"/>
                    <a:pt x="2962" y="400"/>
                  </a:cubicBezTo>
                  <a:cubicBezTo>
                    <a:pt x="2931" y="403"/>
                    <a:pt x="2903" y="410"/>
                    <a:pt x="2875" y="424"/>
                  </a:cubicBezTo>
                  <a:cubicBezTo>
                    <a:pt x="2812" y="508"/>
                    <a:pt x="2574" y="893"/>
                    <a:pt x="2567" y="970"/>
                  </a:cubicBezTo>
                  <a:cubicBezTo>
                    <a:pt x="2584" y="1068"/>
                    <a:pt x="2521" y="1348"/>
                    <a:pt x="2399" y="1397"/>
                  </a:cubicBezTo>
                  <a:cubicBezTo>
                    <a:pt x="2388" y="1401"/>
                    <a:pt x="2371" y="1425"/>
                    <a:pt x="2374" y="1590"/>
                  </a:cubicBezTo>
                  <a:lnTo>
                    <a:pt x="2374" y="1629"/>
                  </a:lnTo>
                  <a:cubicBezTo>
                    <a:pt x="2374" y="1695"/>
                    <a:pt x="2315" y="1744"/>
                    <a:pt x="2241" y="1804"/>
                  </a:cubicBezTo>
                  <a:cubicBezTo>
                    <a:pt x="2188" y="1846"/>
                    <a:pt x="2115" y="1909"/>
                    <a:pt x="2115" y="1951"/>
                  </a:cubicBezTo>
                  <a:cubicBezTo>
                    <a:pt x="2115" y="2059"/>
                    <a:pt x="1975" y="2329"/>
                    <a:pt x="1751" y="2731"/>
                  </a:cubicBezTo>
                  <a:lnTo>
                    <a:pt x="1702" y="2819"/>
                  </a:lnTo>
                  <a:cubicBezTo>
                    <a:pt x="1688" y="2847"/>
                    <a:pt x="1670" y="2875"/>
                    <a:pt x="1656" y="2903"/>
                  </a:cubicBezTo>
                  <a:cubicBezTo>
                    <a:pt x="1578" y="3057"/>
                    <a:pt x="1527" y="3153"/>
                    <a:pt x="1454" y="3153"/>
                  </a:cubicBezTo>
                  <a:cubicBezTo>
                    <a:pt x="1449" y="3153"/>
                    <a:pt x="1444" y="3152"/>
                    <a:pt x="1439" y="3151"/>
                  </a:cubicBezTo>
                  <a:cubicBezTo>
                    <a:pt x="1394" y="3144"/>
                    <a:pt x="1366" y="3109"/>
                    <a:pt x="1352" y="3046"/>
                  </a:cubicBezTo>
                  <a:cubicBezTo>
                    <a:pt x="1334" y="2962"/>
                    <a:pt x="1236" y="2854"/>
                    <a:pt x="1142" y="2815"/>
                  </a:cubicBezTo>
                  <a:cubicBezTo>
                    <a:pt x="1129" y="2808"/>
                    <a:pt x="1114" y="2804"/>
                    <a:pt x="1100" y="2804"/>
                  </a:cubicBezTo>
                  <a:cubicBezTo>
                    <a:pt x="1088" y="2804"/>
                    <a:pt x="1076" y="2807"/>
                    <a:pt x="1065" y="2812"/>
                  </a:cubicBezTo>
                  <a:cubicBezTo>
                    <a:pt x="1006" y="2851"/>
                    <a:pt x="936" y="2872"/>
                    <a:pt x="864" y="2872"/>
                  </a:cubicBezTo>
                  <a:cubicBezTo>
                    <a:pt x="859" y="2872"/>
                    <a:pt x="853" y="2872"/>
                    <a:pt x="848" y="2871"/>
                  </a:cubicBezTo>
                  <a:lnTo>
                    <a:pt x="785" y="2871"/>
                  </a:lnTo>
                  <a:cubicBezTo>
                    <a:pt x="774" y="2870"/>
                    <a:pt x="764" y="2869"/>
                    <a:pt x="753" y="2869"/>
                  </a:cubicBezTo>
                  <a:cubicBezTo>
                    <a:pt x="743" y="2869"/>
                    <a:pt x="732" y="2870"/>
                    <a:pt x="722" y="2871"/>
                  </a:cubicBezTo>
                  <a:cubicBezTo>
                    <a:pt x="666" y="2906"/>
                    <a:pt x="386" y="3179"/>
                    <a:pt x="137" y="3438"/>
                  </a:cubicBezTo>
                  <a:lnTo>
                    <a:pt x="137" y="3452"/>
                  </a:lnTo>
                  <a:lnTo>
                    <a:pt x="137" y="3459"/>
                  </a:lnTo>
                  <a:lnTo>
                    <a:pt x="137" y="3470"/>
                  </a:lnTo>
                  <a:lnTo>
                    <a:pt x="137" y="3477"/>
                  </a:lnTo>
                  <a:lnTo>
                    <a:pt x="133" y="3491"/>
                  </a:lnTo>
                  <a:lnTo>
                    <a:pt x="133" y="3501"/>
                  </a:lnTo>
                  <a:lnTo>
                    <a:pt x="130" y="3515"/>
                  </a:lnTo>
                  <a:lnTo>
                    <a:pt x="126" y="3529"/>
                  </a:lnTo>
                  <a:lnTo>
                    <a:pt x="123" y="3543"/>
                  </a:lnTo>
                  <a:lnTo>
                    <a:pt x="119" y="3557"/>
                  </a:lnTo>
                  <a:lnTo>
                    <a:pt x="116" y="3575"/>
                  </a:lnTo>
                  <a:lnTo>
                    <a:pt x="112" y="3589"/>
                  </a:lnTo>
                  <a:lnTo>
                    <a:pt x="109" y="3606"/>
                  </a:lnTo>
                  <a:lnTo>
                    <a:pt x="105" y="3624"/>
                  </a:lnTo>
                  <a:lnTo>
                    <a:pt x="98" y="3645"/>
                  </a:lnTo>
                  <a:lnTo>
                    <a:pt x="95" y="3659"/>
                  </a:lnTo>
                  <a:lnTo>
                    <a:pt x="91" y="3680"/>
                  </a:lnTo>
                  <a:lnTo>
                    <a:pt x="84" y="3701"/>
                  </a:lnTo>
                  <a:lnTo>
                    <a:pt x="81" y="3722"/>
                  </a:lnTo>
                  <a:lnTo>
                    <a:pt x="74" y="3740"/>
                  </a:lnTo>
                  <a:lnTo>
                    <a:pt x="67" y="3764"/>
                  </a:lnTo>
                  <a:lnTo>
                    <a:pt x="63" y="3782"/>
                  </a:lnTo>
                  <a:lnTo>
                    <a:pt x="53" y="3810"/>
                  </a:lnTo>
                  <a:lnTo>
                    <a:pt x="49" y="3827"/>
                  </a:lnTo>
                  <a:lnTo>
                    <a:pt x="39" y="3855"/>
                  </a:lnTo>
                  <a:lnTo>
                    <a:pt x="35" y="3873"/>
                  </a:lnTo>
                  <a:lnTo>
                    <a:pt x="25" y="3904"/>
                  </a:lnTo>
                  <a:lnTo>
                    <a:pt x="18" y="3918"/>
                  </a:lnTo>
                  <a:lnTo>
                    <a:pt x="7" y="3953"/>
                  </a:lnTo>
                  <a:lnTo>
                    <a:pt x="0" y="3967"/>
                  </a:lnTo>
                  <a:lnTo>
                    <a:pt x="0" y="3971"/>
                  </a:lnTo>
                  <a:cubicBezTo>
                    <a:pt x="53" y="4030"/>
                    <a:pt x="102" y="4093"/>
                    <a:pt x="140" y="4160"/>
                  </a:cubicBezTo>
                  <a:cubicBezTo>
                    <a:pt x="161" y="4191"/>
                    <a:pt x="182" y="4226"/>
                    <a:pt x="207" y="4258"/>
                  </a:cubicBezTo>
                  <a:cubicBezTo>
                    <a:pt x="240" y="4305"/>
                    <a:pt x="285" y="4319"/>
                    <a:pt x="346" y="4319"/>
                  </a:cubicBezTo>
                  <a:cubicBezTo>
                    <a:pt x="371" y="4319"/>
                    <a:pt x="398" y="4317"/>
                    <a:pt x="428" y="4314"/>
                  </a:cubicBezTo>
                  <a:cubicBezTo>
                    <a:pt x="449" y="4309"/>
                    <a:pt x="470" y="4306"/>
                    <a:pt x="491" y="4306"/>
                  </a:cubicBezTo>
                  <a:cubicBezTo>
                    <a:pt x="529" y="4306"/>
                    <a:pt x="566" y="4314"/>
                    <a:pt x="603" y="4328"/>
                  </a:cubicBezTo>
                  <a:cubicBezTo>
                    <a:pt x="729" y="4394"/>
                    <a:pt x="827" y="4814"/>
                    <a:pt x="788" y="4940"/>
                  </a:cubicBezTo>
                  <a:cubicBezTo>
                    <a:pt x="781" y="4965"/>
                    <a:pt x="767" y="4996"/>
                    <a:pt x="753" y="5031"/>
                  </a:cubicBezTo>
                  <a:cubicBezTo>
                    <a:pt x="722" y="5115"/>
                    <a:pt x="666" y="5255"/>
                    <a:pt x="673" y="5339"/>
                  </a:cubicBezTo>
                  <a:lnTo>
                    <a:pt x="1373" y="5339"/>
                  </a:lnTo>
                  <a:lnTo>
                    <a:pt x="1597" y="5273"/>
                  </a:lnTo>
                  <a:lnTo>
                    <a:pt x="1607" y="5276"/>
                  </a:lnTo>
                  <a:lnTo>
                    <a:pt x="1625" y="5276"/>
                  </a:lnTo>
                  <a:cubicBezTo>
                    <a:pt x="1677" y="5280"/>
                    <a:pt x="2069" y="5301"/>
                    <a:pt x="2427" y="5311"/>
                  </a:cubicBezTo>
                  <a:cubicBezTo>
                    <a:pt x="2610" y="5317"/>
                    <a:pt x="2740" y="5319"/>
                    <a:pt x="2833" y="5319"/>
                  </a:cubicBezTo>
                  <a:cubicBezTo>
                    <a:pt x="2959" y="5319"/>
                    <a:pt x="3015" y="5315"/>
                    <a:pt x="3039" y="5311"/>
                  </a:cubicBezTo>
                  <a:lnTo>
                    <a:pt x="3050" y="5311"/>
                  </a:lnTo>
                  <a:cubicBezTo>
                    <a:pt x="3060" y="5311"/>
                    <a:pt x="3074" y="5308"/>
                    <a:pt x="3085" y="5308"/>
                  </a:cubicBezTo>
                  <a:lnTo>
                    <a:pt x="3120" y="5308"/>
                  </a:lnTo>
                  <a:lnTo>
                    <a:pt x="3151" y="5311"/>
                  </a:lnTo>
                  <a:lnTo>
                    <a:pt x="3158" y="5311"/>
                  </a:lnTo>
                  <a:cubicBezTo>
                    <a:pt x="3225" y="5325"/>
                    <a:pt x="3288" y="5343"/>
                    <a:pt x="3351" y="5364"/>
                  </a:cubicBezTo>
                  <a:lnTo>
                    <a:pt x="3403" y="5381"/>
                  </a:lnTo>
                  <a:lnTo>
                    <a:pt x="3407" y="5381"/>
                  </a:lnTo>
                  <a:lnTo>
                    <a:pt x="3452" y="5399"/>
                  </a:lnTo>
                  <a:lnTo>
                    <a:pt x="3459" y="5402"/>
                  </a:lnTo>
                  <a:lnTo>
                    <a:pt x="3505" y="5420"/>
                  </a:lnTo>
                  <a:lnTo>
                    <a:pt x="3512" y="5423"/>
                  </a:lnTo>
                  <a:lnTo>
                    <a:pt x="3557" y="5441"/>
                  </a:lnTo>
                  <a:lnTo>
                    <a:pt x="3564" y="5444"/>
                  </a:lnTo>
                  <a:lnTo>
                    <a:pt x="3606" y="5462"/>
                  </a:lnTo>
                  <a:lnTo>
                    <a:pt x="3617" y="5465"/>
                  </a:lnTo>
                  <a:lnTo>
                    <a:pt x="3652" y="5483"/>
                  </a:lnTo>
                  <a:lnTo>
                    <a:pt x="3662" y="5486"/>
                  </a:lnTo>
                  <a:lnTo>
                    <a:pt x="3697" y="5504"/>
                  </a:lnTo>
                  <a:lnTo>
                    <a:pt x="3708" y="5507"/>
                  </a:lnTo>
                  <a:lnTo>
                    <a:pt x="3743" y="5525"/>
                  </a:lnTo>
                  <a:lnTo>
                    <a:pt x="3746" y="5525"/>
                  </a:lnTo>
                  <a:lnTo>
                    <a:pt x="3785" y="5542"/>
                  </a:lnTo>
                  <a:cubicBezTo>
                    <a:pt x="3802" y="5416"/>
                    <a:pt x="3837" y="5290"/>
                    <a:pt x="3886" y="5175"/>
                  </a:cubicBezTo>
                  <a:lnTo>
                    <a:pt x="3883" y="5171"/>
                  </a:lnTo>
                  <a:cubicBezTo>
                    <a:pt x="3876" y="5168"/>
                    <a:pt x="3869" y="5161"/>
                    <a:pt x="3865" y="5157"/>
                  </a:cubicBezTo>
                  <a:lnTo>
                    <a:pt x="3858" y="5150"/>
                  </a:lnTo>
                  <a:cubicBezTo>
                    <a:pt x="3855" y="5147"/>
                    <a:pt x="3848" y="5140"/>
                    <a:pt x="3841" y="5133"/>
                  </a:cubicBezTo>
                  <a:lnTo>
                    <a:pt x="3837" y="5126"/>
                  </a:lnTo>
                  <a:cubicBezTo>
                    <a:pt x="3834" y="5122"/>
                    <a:pt x="3830" y="5115"/>
                    <a:pt x="3827" y="5108"/>
                  </a:cubicBezTo>
                  <a:lnTo>
                    <a:pt x="3823" y="5101"/>
                  </a:lnTo>
                  <a:cubicBezTo>
                    <a:pt x="3820" y="5094"/>
                    <a:pt x="3816" y="5087"/>
                    <a:pt x="3816" y="5080"/>
                  </a:cubicBezTo>
                  <a:cubicBezTo>
                    <a:pt x="3806" y="5049"/>
                    <a:pt x="3708" y="4965"/>
                    <a:pt x="3652" y="4916"/>
                  </a:cubicBezTo>
                  <a:cubicBezTo>
                    <a:pt x="3589" y="4867"/>
                    <a:pt x="3529" y="4811"/>
                    <a:pt x="3477" y="4748"/>
                  </a:cubicBezTo>
                  <a:cubicBezTo>
                    <a:pt x="3428" y="4688"/>
                    <a:pt x="3386" y="4625"/>
                    <a:pt x="3347" y="4555"/>
                  </a:cubicBezTo>
                  <a:lnTo>
                    <a:pt x="3340" y="4538"/>
                  </a:lnTo>
                  <a:lnTo>
                    <a:pt x="3340" y="4520"/>
                  </a:lnTo>
                  <a:cubicBezTo>
                    <a:pt x="3351" y="4419"/>
                    <a:pt x="3326" y="4321"/>
                    <a:pt x="3270" y="4240"/>
                  </a:cubicBezTo>
                  <a:cubicBezTo>
                    <a:pt x="3155" y="4086"/>
                    <a:pt x="3099" y="3974"/>
                    <a:pt x="3099" y="3764"/>
                  </a:cubicBezTo>
                  <a:cubicBezTo>
                    <a:pt x="3095" y="3669"/>
                    <a:pt x="3081" y="3578"/>
                    <a:pt x="3057" y="3491"/>
                  </a:cubicBezTo>
                  <a:cubicBezTo>
                    <a:pt x="3039" y="3435"/>
                    <a:pt x="3029" y="3375"/>
                    <a:pt x="3025" y="3316"/>
                  </a:cubicBezTo>
                  <a:cubicBezTo>
                    <a:pt x="3025" y="3242"/>
                    <a:pt x="3074" y="3158"/>
                    <a:pt x="3141" y="3053"/>
                  </a:cubicBezTo>
                  <a:cubicBezTo>
                    <a:pt x="3204" y="2959"/>
                    <a:pt x="3256" y="2854"/>
                    <a:pt x="3295" y="2749"/>
                  </a:cubicBezTo>
                  <a:cubicBezTo>
                    <a:pt x="3298" y="2731"/>
                    <a:pt x="3305" y="2714"/>
                    <a:pt x="3312" y="2696"/>
                  </a:cubicBezTo>
                  <a:cubicBezTo>
                    <a:pt x="3316" y="2693"/>
                    <a:pt x="3319" y="2686"/>
                    <a:pt x="3323" y="2682"/>
                  </a:cubicBezTo>
                  <a:cubicBezTo>
                    <a:pt x="3326" y="2675"/>
                    <a:pt x="3333" y="2661"/>
                    <a:pt x="3340" y="2651"/>
                  </a:cubicBezTo>
                  <a:cubicBezTo>
                    <a:pt x="3347" y="2640"/>
                    <a:pt x="3347" y="2637"/>
                    <a:pt x="3351" y="2630"/>
                  </a:cubicBezTo>
                  <a:cubicBezTo>
                    <a:pt x="3354" y="2626"/>
                    <a:pt x="3361" y="2612"/>
                    <a:pt x="3368" y="2605"/>
                  </a:cubicBezTo>
                  <a:lnTo>
                    <a:pt x="3386" y="2584"/>
                  </a:lnTo>
                  <a:cubicBezTo>
                    <a:pt x="3389" y="2577"/>
                    <a:pt x="3396" y="2570"/>
                    <a:pt x="3403" y="2563"/>
                  </a:cubicBezTo>
                  <a:lnTo>
                    <a:pt x="3421" y="2542"/>
                  </a:lnTo>
                  <a:lnTo>
                    <a:pt x="3438" y="2521"/>
                  </a:lnTo>
                  <a:lnTo>
                    <a:pt x="3456" y="2504"/>
                  </a:lnTo>
                  <a:lnTo>
                    <a:pt x="3477" y="2483"/>
                  </a:lnTo>
                  <a:lnTo>
                    <a:pt x="3498" y="2465"/>
                  </a:lnTo>
                  <a:lnTo>
                    <a:pt x="3519" y="2444"/>
                  </a:lnTo>
                  <a:lnTo>
                    <a:pt x="3536" y="2427"/>
                  </a:lnTo>
                  <a:lnTo>
                    <a:pt x="3550" y="2416"/>
                  </a:lnTo>
                  <a:cubicBezTo>
                    <a:pt x="3491" y="2297"/>
                    <a:pt x="3442" y="2175"/>
                    <a:pt x="3407" y="2052"/>
                  </a:cubicBezTo>
                  <a:cubicBezTo>
                    <a:pt x="3403" y="2035"/>
                    <a:pt x="3396" y="2021"/>
                    <a:pt x="3389" y="2007"/>
                  </a:cubicBezTo>
                  <a:cubicBezTo>
                    <a:pt x="3389" y="2003"/>
                    <a:pt x="3386" y="1996"/>
                    <a:pt x="3382" y="1993"/>
                  </a:cubicBezTo>
                  <a:cubicBezTo>
                    <a:pt x="3382" y="1989"/>
                    <a:pt x="3375" y="1975"/>
                    <a:pt x="3368" y="1968"/>
                  </a:cubicBezTo>
                  <a:cubicBezTo>
                    <a:pt x="3340" y="1923"/>
                    <a:pt x="3302" y="1881"/>
                    <a:pt x="3260" y="1846"/>
                  </a:cubicBezTo>
                  <a:cubicBezTo>
                    <a:pt x="3242" y="1832"/>
                    <a:pt x="3225" y="1818"/>
                    <a:pt x="3204" y="1800"/>
                  </a:cubicBezTo>
                  <a:lnTo>
                    <a:pt x="3162" y="1769"/>
                  </a:lnTo>
                  <a:cubicBezTo>
                    <a:pt x="3102" y="1723"/>
                    <a:pt x="3039" y="1674"/>
                    <a:pt x="2973" y="1611"/>
                  </a:cubicBezTo>
                  <a:cubicBezTo>
                    <a:pt x="2777" y="1432"/>
                    <a:pt x="2801" y="1296"/>
                    <a:pt x="2815" y="1215"/>
                  </a:cubicBezTo>
                  <a:cubicBezTo>
                    <a:pt x="2819" y="1201"/>
                    <a:pt x="2822" y="1187"/>
                    <a:pt x="2822" y="1177"/>
                  </a:cubicBezTo>
                  <a:cubicBezTo>
                    <a:pt x="2822" y="1145"/>
                    <a:pt x="2836" y="1117"/>
                    <a:pt x="2857" y="1100"/>
                  </a:cubicBezTo>
                  <a:cubicBezTo>
                    <a:pt x="2909" y="1050"/>
                    <a:pt x="3035" y="1036"/>
                    <a:pt x="3169" y="1036"/>
                  </a:cubicBezTo>
                  <a:cubicBezTo>
                    <a:pt x="3234" y="1036"/>
                    <a:pt x="3301" y="1039"/>
                    <a:pt x="3361" y="1044"/>
                  </a:cubicBezTo>
                  <a:cubicBezTo>
                    <a:pt x="3386" y="1047"/>
                    <a:pt x="3409" y="1049"/>
                    <a:pt x="3433" y="1049"/>
                  </a:cubicBezTo>
                  <a:cubicBezTo>
                    <a:pt x="3456" y="1049"/>
                    <a:pt x="3479" y="1047"/>
                    <a:pt x="3501" y="1044"/>
                  </a:cubicBezTo>
                  <a:cubicBezTo>
                    <a:pt x="3396" y="914"/>
                    <a:pt x="3277" y="575"/>
                    <a:pt x="3291" y="347"/>
                  </a:cubicBezTo>
                  <a:cubicBezTo>
                    <a:pt x="3298" y="249"/>
                    <a:pt x="3284" y="155"/>
                    <a:pt x="3253" y="64"/>
                  </a:cubicBezTo>
                  <a:cubicBezTo>
                    <a:pt x="3249" y="43"/>
                    <a:pt x="3246" y="25"/>
                    <a:pt x="3239" y="8"/>
                  </a:cubicBezTo>
                  <a:lnTo>
                    <a:pt x="32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3" name="Google Shape;4660;p64">
              <a:extLst>
                <a:ext uri="{FF2B5EF4-FFF2-40B4-BE49-F238E27FC236}">
                  <a16:creationId xmlns:a16="http://schemas.microsoft.com/office/drawing/2014/main" id="{79220D1D-CA87-D561-EB9B-2980E62B2AE8}"/>
                </a:ext>
              </a:extLst>
            </p:cNvPr>
            <p:cNvSpPr/>
            <p:nvPr/>
          </p:nvSpPr>
          <p:spPr>
            <a:xfrm>
              <a:off x="2165368" y="2023172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18"/>
                  </a:moveTo>
                  <a:cubicBezTo>
                    <a:pt x="7" y="11"/>
                    <a:pt x="4" y="7"/>
                    <a:pt x="0" y="0"/>
                  </a:cubicBezTo>
                  <a:cubicBezTo>
                    <a:pt x="4" y="7"/>
                    <a:pt x="7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4" name="Google Shape;4661;p64">
              <a:extLst>
                <a:ext uri="{FF2B5EF4-FFF2-40B4-BE49-F238E27FC236}">
                  <a16:creationId xmlns:a16="http://schemas.microsoft.com/office/drawing/2014/main" id="{E650FB3A-367E-0F1B-EB91-64BE0B26FE50}"/>
                </a:ext>
              </a:extLst>
            </p:cNvPr>
            <p:cNvSpPr/>
            <p:nvPr/>
          </p:nvSpPr>
          <p:spPr>
            <a:xfrm>
              <a:off x="2165178" y="2022792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4" y="14"/>
                    <a:pt x="4" y="7"/>
                    <a:pt x="0" y="0"/>
                  </a:cubicBezTo>
                  <a:cubicBezTo>
                    <a:pt x="4" y="7"/>
                    <a:pt x="4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5" name="Google Shape;4662;p64">
              <a:extLst>
                <a:ext uri="{FF2B5EF4-FFF2-40B4-BE49-F238E27FC236}">
                  <a16:creationId xmlns:a16="http://schemas.microsoft.com/office/drawing/2014/main" id="{280F6465-1DFF-C379-BC9C-C3644D9B925B}"/>
                </a:ext>
              </a:extLst>
            </p:cNvPr>
            <p:cNvSpPr/>
            <p:nvPr/>
          </p:nvSpPr>
          <p:spPr>
            <a:xfrm>
              <a:off x="2159136" y="198890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6" name="Google Shape;4663;p64">
              <a:extLst>
                <a:ext uri="{FF2B5EF4-FFF2-40B4-BE49-F238E27FC236}">
                  <a16:creationId xmlns:a16="http://schemas.microsoft.com/office/drawing/2014/main" id="{5A5BD8A8-4C88-E1F7-60D7-E0D926E3C3A2}"/>
                </a:ext>
              </a:extLst>
            </p:cNvPr>
            <p:cNvSpPr/>
            <p:nvPr/>
          </p:nvSpPr>
          <p:spPr>
            <a:xfrm>
              <a:off x="2158715" y="1989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cubicBezTo>
                    <a:pt x="4" y="11"/>
                    <a:pt x="11" y="4"/>
                    <a:pt x="14" y="0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7" name="Google Shape;4664;p64">
              <a:extLst>
                <a:ext uri="{FF2B5EF4-FFF2-40B4-BE49-F238E27FC236}">
                  <a16:creationId xmlns:a16="http://schemas.microsoft.com/office/drawing/2014/main" id="{B9B3C6A1-B0F2-AC3B-5968-4155F8E59D7A}"/>
                </a:ext>
              </a:extLst>
            </p:cNvPr>
            <p:cNvSpPr/>
            <p:nvPr/>
          </p:nvSpPr>
          <p:spPr>
            <a:xfrm>
              <a:off x="2158375" y="199017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8" name="Google Shape;4665;p64">
              <a:extLst>
                <a:ext uri="{FF2B5EF4-FFF2-40B4-BE49-F238E27FC236}">
                  <a16:creationId xmlns:a16="http://schemas.microsoft.com/office/drawing/2014/main" id="{976FB008-A548-3CCC-7A1A-F5033E132DD6}"/>
                </a:ext>
              </a:extLst>
            </p:cNvPr>
            <p:cNvSpPr/>
            <p:nvPr/>
          </p:nvSpPr>
          <p:spPr>
            <a:xfrm>
              <a:off x="2159611" y="198833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" y="2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9" name="Google Shape;4666;p64">
              <a:extLst>
                <a:ext uri="{FF2B5EF4-FFF2-40B4-BE49-F238E27FC236}">
                  <a16:creationId xmlns:a16="http://schemas.microsoft.com/office/drawing/2014/main" id="{353BAC67-312B-45FD-41F7-6079469C749A}"/>
                </a:ext>
              </a:extLst>
            </p:cNvPr>
            <p:cNvSpPr/>
            <p:nvPr/>
          </p:nvSpPr>
          <p:spPr>
            <a:xfrm>
              <a:off x="2161132" y="1986757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0" name="Google Shape;4667;p64">
              <a:extLst>
                <a:ext uri="{FF2B5EF4-FFF2-40B4-BE49-F238E27FC236}">
                  <a16:creationId xmlns:a16="http://schemas.microsoft.com/office/drawing/2014/main" id="{0D6A409E-5844-CE83-AEEA-6EDF912FD4DC}"/>
                </a:ext>
              </a:extLst>
            </p:cNvPr>
            <p:cNvSpPr/>
            <p:nvPr/>
          </p:nvSpPr>
          <p:spPr>
            <a:xfrm>
              <a:off x="2160086" y="1987803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1" name="Google Shape;4668;p64">
              <a:extLst>
                <a:ext uri="{FF2B5EF4-FFF2-40B4-BE49-F238E27FC236}">
                  <a16:creationId xmlns:a16="http://schemas.microsoft.com/office/drawing/2014/main" id="{ACD0DD9D-25A3-AFA1-324B-A94E3065F382}"/>
                </a:ext>
              </a:extLst>
            </p:cNvPr>
            <p:cNvSpPr/>
            <p:nvPr/>
          </p:nvSpPr>
          <p:spPr>
            <a:xfrm>
              <a:off x="2165884" y="202383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cubicBezTo>
                    <a:pt x="11" y="11"/>
                    <a:pt x="4" y="4"/>
                    <a:pt x="1" y="0"/>
                  </a:cubicBezTo>
                  <a:cubicBezTo>
                    <a:pt x="4" y="4"/>
                    <a:pt x="11" y="11"/>
                    <a:pt x="1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2" name="Google Shape;4669;p64">
              <a:extLst>
                <a:ext uri="{FF2B5EF4-FFF2-40B4-BE49-F238E27FC236}">
                  <a16:creationId xmlns:a16="http://schemas.microsoft.com/office/drawing/2014/main" id="{EA208BCC-BD92-BD39-5D89-E45D39822332}"/>
                </a:ext>
              </a:extLst>
            </p:cNvPr>
            <p:cNvSpPr/>
            <p:nvPr/>
          </p:nvSpPr>
          <p:spPr>
            <a:xfrm>
              <a:off x="2160616" y="1987287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3" name="Google Shape;4670;p64">
              <a:extLst>
                <a:ext uri="{FF2B5EF4-FFF2-40B4-BE49-F238E27FC236}">
                  <a16:creationId xmlns:a16="http://schemas.microsoft.com/office/drawing/2014/main" id="{55696173-FD22-37BE-ED55-D7F42EE48621}"/>
                </a:ext>
              </a:extLst>
            </p:cNvPr>
            <p:cNvSpPr/>
            <p:nvPr/>
          </p:nvSpPr>
          <p:spPr>
            <a:xfrm>
              <a:off x="2165558" y="2023457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4" name="Google Shape;4671;p64">
              <a:extLst>
                <a:ext uri="{FF2B5EF4-FFF2-40B4-BE49-F238E27FC236}">
                  <a16:creationId xmlns:a16="http://schemas.microsoft.com/office/drawing/2014/main" id="{B79C0CE4-77FA-ED4B-5833-099625B05450}"/>
                </a:ext>
              </a:extLst>
            </p:cNvPr>
            <p:cNvSpPr/>
            <p:nvPr/>
          </p:nvSpPr>
          <p:spPr>
            <a:xfrm>
              <a:off x="2157289" y="1953832"/>
              <a:ext cx="54" cy="855"/>
            </a:xfrm>
            <a:custGeom>
              <a:avLst/>
              <a:gdLst/>
              <a:ahLst/>
              <a:cxnLst/>
              <a:rect l="l" t="t" r="r" b="b"/>
              <a:pathLst>
                <a:path w="4" h="63" extrusionOk="0">
                  <a:moveTo>
                    <a:pt x="4" y="1"/>
                  </a:moveTo>
                  <a:cubicBezTo>
                    <a:pt x="4" y="18"/>
                    <a:pt x="4" y="42"/>
                    <a:pt x="0" y="63"/>
                  </a:cubicBezTo>
                  <a:cubicBezTo>
                    <a:pt x="4" y="42"/>
                    <a:pt x="4" y="2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5" name="Google Shape;4672;p64">
              <a:extLst>
                <a:ext uri="{FF2B5EF4-FFF2-40B4-BE49-F238E27FC236}">
                  <a16:creationId xmlns:a16="http://schemas.microsoft.com/office/drawing/2014/main" id="{8929D858-868D-96FE-F105-2778E54D58CE}"/>
                </a:ext>
              </a:extLst>
            </p:cNvPr>
            <p:cNvSpPr/>
            <p:nvPr/>
          </p:nvSpPr>
          <p:spPr>
            <a:xfrm>
              <a:off x="2157140" y="1954728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" y="63"/>
                  </a:moveTo>
                  <a:cubicBezTo>
                    <a:pt x="4" y="42"/>
                    <a:pt x="8" y="21"/>
                    <a:pt x="11" y="0"/>
                  </a:cubicBezTo>
                  <a:cubicBezTo>
                    <a:pt x="8" y="21"/>
                    <a:pt x="4" y="42"/>
                    <a:pt x="1" y="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6" name="Google Shape;4673;p64">
              <a:extLst>
                <a:ext uri="{FF2B5EF4-FFF2-40B4-BE49-F238E27FC236}">
                  <a16:creationId xmlns:a16="http://schemas.microsoft.com/office/drawing/2014/main" id="{E70CA4BA-C2A2-0C44-D169-66F737283BB4}"/>
                </a:ext>
              </a:extLst>
            </p:cNvPr>
            <p:cNvSpPr/>
            <p:nvPr/>
          </p:nvSpPr>
          <p:spPr>
            <a:xfrm>
              <a:off x="2157004" y="1951971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11" y="25"/>
                  </a:moveTo>
                  <a:cubicBezTo>
                    <a:pt x="7" y="14"/>
                    <a:pt x="4" y="7"/>
                    <a:pt x="0" y="0"/>
                  </a:cubicBezTo>
                  <a:cubicBezTo>
                    <a:pt x="4" y="7"/>
                    <a:pt x="7" y="14"/>
                    <a:pt x="1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7" name="Google Shape;4674;p64">
              <a:extLst>
                <a:ext uri="{FF2B5EF4-FFF2-40B4-BE49-F238E27FC236}">
                  <a16:creationId xmlns:a16="http://schemas.microsoft.com/office/drawing/2014/main" id="{B3F9F208-92E8-E22F-EA5A-CD704AF43283}"/>
                </a:ext>
              </a:extLst>
            </p:cNvPr>
            <p:cNvSpPr/>
            <p:nvPr/>
          </p:nvSpPr>
          <p:spPr>
            <a:xfrm>
              <a:off x="2115213" y="200068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8" name="Google Shape;4675;p64">
              <a:extLst>
                <a:ext uri="{FF2B5EF4-FFF2-40B4-BE49-F238E27FC236}">
                  <a16:creationId xmlns:a16="http://schemas.microsoft.com/office/drawing/2014/main" id="{6FDB9EC3-131D-A5B0-B442-7FC81DBD896F}"/>
                </a:ext>
              </a:extLst>
            </p:cNvPr>
            <p:cNvSpPr/>
            <p:nvPr/>
          </p:nvSpPr>
          <p:spPr>
            <a:xfrm>
              <a:off x="2124011" y="1992826"/>
              <a:ext cx="923" cy="27"/>
            </a:xfrm>
            <a:custGeom>
              <a:avLst/>
              <a:gdLst/>
              <a:ahLst/>
              <a:cxnLst/>
              <a:rect l="l" t="t" r="r" b="b"/>
              <a:pathLst>
                <a:path w="68" h="2" extrusionOk="0">
                  <a:moveTo>
                    <a:pt x="23" y="0"/>
                  </a:moveTo>
                  <a:cubicBezTo>
                    <a:pt x="15" y="0"/>
                    <a:pt x="8" y="1"/>
                    <a:pt x="1" y="2"/>
                  </a:cubicBezTo>
                  <a:lnTo>
                    <a:pt x="67" y="2"/>
                  </a:lnTo>
                  <a:cubicBezTo>
                    <a:pt x="53" y="2"/>
                    <a:pt x="38" y="0"/>
                    <a:pt x="2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9" name="Google Shape;4676;p64">
              <a:extLst>
                <a:ext uri="{FF2B5EF4-FFF2-40B4-BE49-F238E27FC236}">
                  <a16:creationId xmlns:a16="http://schemas.microsoft.com/office/drawing/2014/main" id="{64738463-C899-0A05-28CA-136B076114E0}"/>
                </a:ext>
              </a:extLst>
            </p:cNvPr>
            <p:cNvSpPr/>
            <p:nvPr/>
          </p:nvSpPr>
          <p:spPr>
            <a:xfrm>
              <a:off x="2153528" y="194788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0" name="Google Shape;4677;p64">
              <a:extLst>
                <a:ext uri="{FF2B5EF4-FFF2-40B4-BE49-F238E27FC236}">
                  <a16:creationId xmlns:a16="http://schemas.microsoft.com/office/drawing/2014/main" id="{4BBC213F-E150-A4EC-7AF9-16B0FF42132B}"/>
                </a:ext>
              </a:extLst>
            </p:cNvPr>
            <p:cNvSpPr/>
            <p:nvPr/>
          </p:nvSpPr>
          <p:spPr>
            <a:xfrm>
              <a:off x="2153528" y="1947409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1" name="Google Shape;4678;p64">
              <a:extLst>
                <a:ext uri="{FF2B5EF4-FFF2-40B4-BE49-F238E27FC236}">
                  <a16:creationId xmlns:a16="http://schemas.microsoft.com/office/drawing/2014/main" id="{13350861-90D5-0E92-2B04-213A303D3FD1}"/>
                </a:ext>
              </a:extLst>
            </p:cNvPr>
            <p:cNvSpPr/>
            <p:nvPr/>
          </p:nvSpPr>
          <p:spPr>
            <a:xfrm>
              <a:off x="2153487" y="194830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4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2" name="Google Shape;4679;p64">
              <a:extLst>
                <a:ext uri="{FF2B5EF4-FFF2-40B4-BE49-F238E27FC236}">
                  <a16:creationId xmlns:a16="http://schemas.microsoft.com/office/drawing/2014/main" id="{F4C4C42E-4F35-B2E1-B735-36E5235F1C7E}"/>
                </a:ext>
              </a:extLst>
            </p:cNvPr>
            <p:cNvSpPr/>
            <p:nvPr/>
          </p:nvSpPr>
          <p:spPr>
            <a:xfrm>
              <a:off x="2153678" y="1946255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cubicBezTo>
                    <a:pt x="0" y="18"/>
                    <a:pt x="0" y="11"/>
                    <a:pt x="4" y="1"/>
                  </a:cubicBezTo>
                  <a:cubicBezTo>
                    <a:pt x="0" y="11"/>
                    <a:pt x="0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3" name="Google Shape;4680;p64">
              <a:extLst>
                <a:ext uri="{FF2B5EF4-FFF2-40B4-BE49-F238E27FC236}">
                  <a16:creationId xmlns:a16="http://schemas.microsoft.com/office/drawing/2014/main" id="{CE54D708-8C25-D017-CB7A-3FA1F6323348}"/>
                </a:ext>
              </a:extLst>
            </p:cNvPr>
            <p:cNvSpPr/>
            <p:nvPr/>
          </p:nvSpPr>
          <p:spPr>
            <a:xfrm>
              <a:off x="2153583" y="19467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cubicBezTo>
                    <a:pt x="0" y="11"/>
                    <a:pt x="0" y="25"/>
                    <a:pt x="0" y="35"/>
                  </a:cubicBezTo>
                  <a:cubicBezTo>
                    <a:pt x="0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4" name="Google Shape;4681;p64">
              <a:extLst>
                <a:ext uri="{FF2B5EF4-FFF2-40B4-BE49-F238E27FC236}">
                  <a16:creationId xmlns:a16="http://schemas.microsoft.com/office/drawing/2014/main" id="{693A8BE3-F7F3-9A17-97FE-FC4D9E6762F9}"/>
                </a:ext>
              </a:extLst>
            </p:cNvPr>
            <p:cNvSpPr/>
            <p:nvPr/>
          </p:nvSpPr>
          <p:spPr>
            <a:xfrm>
              <a:off x="2153718" y="19458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5" name="Google Shape;4682;p64">
              <a:extLst>
                <a:ext uri="{FF2B5EF4-FFF2-40B4-BE49-F238E27FC236}">
                  <a16:creationId xmlns:a16="http://schemas.microsoft.com/office/drawing/2014/main" id="{8503F080-A83B-2E29-07B2-BC3DF7B58D41}"/>
                </a:ext>
              </a:extLst>
            </p:cNvPr>
            <p:cNvSpPr/>
            <p:nvPr/>
          </p:nvSpPr>
          <p:spPr>
            <a:xfrm>
              <a:off x="2155959" y="1951116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4"/>
                  </a:moveTo>
                  <a:cubicBezTo>
                    <a:pt x="21" y="11"/>
                    <a:pt x="11" y="4"/>
                    <a:pt x="0" y="0"/>
                  </a:cubicBezTo>
                  <a:cubicBezTo>
                    <a:pt x="11" y="4"/>
                    <a:pt x="21" y="11"/>
                    <a:pt x="2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6" name="Google Shape;4683;p64">
              <a:extLst>
                <a:ext uri="{FF2B5EF4-FFF2-40B4-BE49-F238E27FC236}">
                  <a16:creationId xmlns:a16="http://schemas.microsoft.com/office/drawing/2014/main" id="{AFE05F64-4695-CD97-14F8-31A44920C065}"/>
                </a:ext>
              </a:extLst>
            </p:cNvPr>
            <p:cNvSpPr/>
            <p:nvPr/>
          </p:nvSpPr>
          <p:spPr>
            <a:xfrm>
              <a:off x="2156760" y="1951591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" y="0"/>
                  </a:moveTo>
                  <a:cubicBezTo>
                    <a:pt x="4" y="7"/>
                    <a:pt x="11" y="14"/>
                    <a:pt x="15" y="25"/>
                  </a:cubicBezTo>
                  <a:cubicBezTo>
                    <a:pt x="11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7" name="Google Shape;4684;p64">
              <a:extLst>
                <a:ext uri="{FF2B5EF4-FFF2-40B4-BE49-F238E27FC236}">
                  <a16:creationId xmlns:a16="http://schemas.microsoft.com/office/drawing/2014/main" id="{5AE018EC-FA1D-0A84-54BC-AB78069126FB}"/>
                </a:ext>
              </a:extLst>
            </p:cNvPr>
            <p:cNvSpPr/>
            <p:nvPr/>
          </p:nvSpPr>
          <p:spPr>
            <a:xfrm>
              <a:off x="2115172" y="200091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8" name="Google Shape;4685;p64">
              <a:extLst>
                <a:ext uri="{FF2B5EF4-FFF2-40B4-BE49-F238E27FC236}">
                  <a16:creationId xmlns:a16="http://schemas.microsoft.com/office/drawing/2014/main" id="{0488D9DA-9110-DFEF-7E56-0E67733E7153}"/>
                </a:ext>
              </a:extLst>
            </p:cNvPr>
            <p:cNvSpPr/>
            <p:nvPr/>
          </p:nvSpPr>
          <p:spPr>
            <a:xfrm>
              <a:off x="2153487" y="19486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9" name="Google Shape;4686;p64">
              <a:extLst>
                <a:ext uri="{FF2B5EF4-FFF2-40B4-BE49-F238E27FC236}">
                  <a16:creationId xmlns:a16="http://schemas.microsoft.com/office/drawing/2014/main" id="{B7E67EB1-2A96-FCCC-AE88-AB66990A6D81}"/>
                </a:ext>
              </a:extLst>
            </p:cNvPr>
            <p:cNvSpPr/>
            <p:nvPr/>
          </p:nvSpPr>
          <p:spPr>
            <a:xfrm>
              <a:off x="2156434" y="1951347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0" name="Google Shape;4687;p64">
              <a:extLst>
                <a:ext uri="{FF2B5EF4-FFF2-40B4-BE49-F238E27FC236}">
                  <a16:creationId xmlns:a16="http://schemas.microsoft.com/office/drawing/2014/main" id="{DC9D259E-A801-4FBB-E603-F30085EE4CAC}"/>
                </a:ext>
              </a:extLst>
            </p:cNvPr>
            <p:cNvSpPr/>
            <p:nvPr/>
          </p:nvSpPr>
          <p:spPr>
            <a:xfrm>
              <a:off x="2113597" y="200682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1" name="Google Shape;4688;p64">
              <a:extLst>
                <a:ext uri="{FF2B5EF4-FFF2-40B4-BE49-F238E27FC236}">
                  <a16:creationId xmlns:a16="http://schemas.microsoft.com/office/drawing/2014/main" id="{5D293105-435B-1E2C-E67C-BB98684D3B94}"/>
                </a:ext>
              </a:extLst>
            </p:cNvPr>
            <p:cNvSpPr/>
            <p:nvPr/>
          </p:nvSpPr>
          <p:spPr>
            <a:xfrm>
              <a:off x="2114506" y="200382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2" name="Google Shape;4689;p64">
              <a:extLst>
                <a:ext uri="{FF2B5EF4-FFF2-40B4-BE49-F238E27FC236}">
                  <a16:creationId xmlns:a16="http://schemas.microsoft.com/office/drawing/2014/main" id="{22CE7AC5-3239-C0B1-736C-A1F67056C7A1}"/>
                </a:ext>
              </a:extLst>
            </p:cNvPr>
            <p:cNvSpPr/>
            <p:nvPr/>
          </p:nvSpPr>
          <p:spPr>
            <a:xfrm>
              <a:off x="2115117" y="20012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3" name="Google Shape;4690;p64">
              <a:extLst>
                <a:ext uri="{FF2B5EF4-FFF2-40B4-BE49-F238E27FC236}">
                  <a16:creationId xmlns:a16="http://schemas.microsoft.com/office/drawing/2014/main" id="{3EBDC908-6EAD-CC64-7E89-79AB67111565}"/>
                </a:ext>
              </a:extLst>
            </p:cNvPr>
            <p:cNvSpPr/>
            <p:nvPr/>
          </p:nvSpPr>
          <p:spPr>
            <a:xfrm>
              <a:off x="2113977" y="200553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4" name="Google Shape;4691;p64">
              <a:extLst>
                <a:ext uri="{FF2B5EF4-FFF2-40B4-BE49-F238E27FC236}">
                  <a16:creationId xmlns:a16="http://schemas.microsoft.com/office/drawing/2014/main" id="{22DBEF8F-2E25-A3C9-89CB-6CF8E8F3F5E3}"/>
                </a:ext>
              </a:extLst>
            </p:cNvPr>
            <p:cNvSpPr/>
            <p:nvPr/>
          </p:nvSpPr>
          <p:spPr>
            <a:xfrm>
              <a:off x="2114602" y="200325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5" name="Google Shape;4692;p64">
              <a:extLst>
                <a:ext uri="{FF2B5EF4-FFF2-40B4-BE49-F238E27FC236}">
                  <a16:creationId xmlns:a16="http://schemas.microsoft.com/office/drawing/2014/main" id="{40789F96-FE5B-A0C3-47D3-E042517B0319}"/>
                </a:ext>
              </a:extLst>
            </p:cNvPr>
            <p:cNvSpPr/>
            <p:nvPr/>
          </p:nvSpPr>
          <p:spPr>
            <a:xfrm>
              <a:off x="2114221" y="200492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6" name="Google Shape;4693;p64">
              <a:extLst>
                <a:ext uri="{FF2B5EF4-FFF2-40B4-BE49-F238E27FC236}">
                  <a16:creationId xmlns:a16="http://schemas.microsoft.com/office/drawing/2014/main" id="{36967878-3899-50E3-FF20-97954F994D9A}"/>
                </a:ext>
              </a:extLst>
            </p:cNvPr>
            <p:cNvSpPr/>
            <p:nvPr/>
          </p:nvSpPr>
          <p:spPr>
            <a:xfrm>
              <a:off x="2113787" y="20061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7" name="Google Shape;4694;p64">
              <a:extLst>
                <a:ext uri="{FF2B5EF4-FFF2-40B4-BE49-F238E27FC236}">
                  <a16:creationId xmlns:a16="http://schemas.microsoft.com/office/drawing/2014/main" id="{08D2CD37-A5C3-0F7B-42A5-B2BA1586E5A2}"/>
                </a:ext>
              </a:extLst>
            </p:cNvPr>
            <p:cNvSpPr/>
            <p:nvPr/>
          </p:nvSpPr>
          <p:spPr>
            <a:xfrm>
              <a:off x="2114316" y="200435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8" name="Google Shape;4695;p64">
              <a:extLst>
                <a:ext uri="{FF2B5EF4-FFF2-40B4-BE49-F238E27FC236}">
                  <a16:creationId xmlns:a16="http://schemas.microsoft.com/office/drawing/2014/main" id="{7A2758F1-FD0E-7795-621B-C66A85243663}"/>
                </a:ext>
              </a:extLst>
            </p:cNvPr>
            <p:cNvSpPr/>
            <p:nvPr/>
          </p:nvSpPr>
          <p:spPr>
            <a:xfrm>
              <a:off x="2114982" y="200192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9" name="Google Shape;4696;p64">
              <a:extLst>
                <a:ext uri="{FF2B5EF4-FFF2-40B4-BE49-F238E27FC236}">
                  <a16:creationId xmlns:a16="http://schemas.microsoft.com/office/drawing/2014/main" id="{49613A7C-A736-A61A-0B40-A949DC68B48D}"/>
                </a:ext>
              </a:extLst>
            </p:cNvPr>
            <p:cNvSpPr/>
            <p:nvPr/>
          </p:nvSpPr>
          <p:spPr>
            <a:xfrm>
              <a:off x="2114737" y="200277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0" name="Google Shape;4697;p64">
              <a:extLst>
                <a:ext uri="{FF2B5EF4-FFF2-40B4-BE49-F238E27FC236}">
                  <a16:creationId xmlns:a16="http://schemas.microsoft.com/office/drawing/2014/main" id="{2A367CE0-0FFE-FDF2-DC30-1B3DF54E579E}"/>
                </a:ext>
              </a:extLst>
            </p:cNvPr>
            <p:cNvSpPr/>
            <p:nvPr/>
          </p:nvSpPr>
          <p:spPr>
            <a:xfrm>
              <a:off x="2114832" y="200234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1" name="Google Shape;4698;p64">
              <a:extLst>
                <a:ext uri="{FF2B5EF4-FFF2-40B4-BE49-F238E27FC236}">
                  <a16:creationId xmlns:a16="http://schemas.microsoft.com/office/drawing/2014/main" id="{47627F97-4CFA-F828-8785-9961BCFD8BA3}"/>
                </a:ext>
              </a:extLst>
            </p:cNvPr>
            <p:cNvSpPr/>
            <p:nvPr/>
          </p:nvSpPr>
          <p:spPr>
            <a:xfrm>
              <a:off x="2113366" y="20074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2" name="Google Shape;4699;p64">
              <a:extLst>
                <a:ext uri="{FF2B5EF4-FFF2-40B4-BE49-F238E27FC236}">
                  <a16:creationId xmlns:a16="http://schemas.microsoft.com/office/drawing/2014/main" id="{054DB95A-4B06-AC0B-0C0E-58D3DFD4CFF6}"/>
                </a:ext>
              </a:extLst>
            </p:cNvPr>
            <p:cNvSpPr/>
            <p:nvPr/>
          </p:nvSpPr>
          <p:spPr>
            <a:xfrm>
              <a:off x="2115022" y="200154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3" name="Google Shape;4700;p64">
              <a:extLst>
                <a:ext uri="{FF2B5EF4-FFF2-40B4-BE49-F238E27FC236}">
                  <a16:creationId xmlns:a16="http://schemas.microsoft.com/office/drawing/2014/main" id="{BDA9E9EA-DD3E-9009-BA9A-E519633CC9AD}"/>
                </a:ext>
              </a:extLst>
            </p:cNvPr>
            <p:cNvSpPr/>
            <p:nvPr/>
          </p:nvSpPr>
          <p:spPr>
            <a:xfrm>
              <a:off x="1985928" y="1964599"/>
              <a:ext cx="43217" cy="44466"/>
            </a:xfrm>
            <a:custGeom>
              <a:avLst/>
              <a:gdLst/>
              <a:ahLst/>
              <a:cxnLst/>
              <a:rect l="l" t="t" r="r" b="b"/>
              <a:pathLst>
                <a:path w="3183" h="3275" extrusionOk="0">
                  <a:moveTo>
                    <a:pt x="1105" y="0"/>
                  </a:moveTo>
                  <a:cubicBezTo>
                    <a:pt x="1094" y="0"/>
                    <a:pt x="1082" y="3"/>
                    <a:pt x="1072" y="8"/>
                  </a:cubicBezTo>
                  <a:cubicBezTo>
                    <a:pt x="1037" y="15"/>
                    <a:pt x="1005" y="40"/>
                    <a:pt x="991" y="75"/>
                  </a:cubicBezTo>
                  <a:cubicBezTo>
                    <a:pt x="960" y="190"/>
                    <a:pt x="834" y="285"/>
                    <a:pt x="732" y="302"/>
                  </a:cubicBezTo>
                  <a:cubicBezTo>
                    <a:pt x="722" y="302"/>
                    <a:pt x="711" y="306"/>
                    <a:pt x="701" y="306"/>
                  </a:cubicBezTo>
                  <a:lnTo>
                    <a:pt x="690" y="306"/>
                  </a:lnTo>
                  <a:cubicBezTo>
                    <a:pt x="680" y="306"/>
                    <a:pt x="669" y="302"/>
                    <a:pt x="655" y="302"/>
                  </a:cubicBezTo>
                  <a:lnTo>
                    <a:pt x="652" y="302"/>
                  </a:lnTo>
                  <a:cubicBezTo>
                    <a:pt x="645" y="299"/>
                    <a:pt x="634" y="295"/>
                    <a:pt x="624" y="292"/>
                  </a:cubicBezTo>
                  <a:lnTo>
                    <a:pt x="617" y="288"/>
                  </a:lnTo>
                  <a:cubicBezTo>
                    <a:pt x="610" y="281"/>
                    <a:pt x="599" y="278"/>
                    <a:pt x="592" y="271"/>
                  </a:cubicBezTo>
                  <a:lnTo>
                    <a:pt x="589" y="264"/>
                  </a:lnTo>
                  <a:cubicBezTo>
                    <a:pt x="578" y="257"/>
                    <a:pt x="571" y="250"/>
                    <a:pt x="564" y="239"/>
                  </a:cubicBezTo>
                  <a:cubicBezTo>
                    <a:pt x="520" y="172"/>
                    <a:pt x="457" y="124"/>
                    <a:pt x="430" y="124"/>
                  </a:cubicBezTo>
                  <a:cubicBezTo>
                    <a:pt x="429" y="124"/>
                    <a:pt x="429" y="124"/>
                    <a:pt x="428" y="124"/>
                  </a:cubicBezTo>
                  <a:cubicBezTo>
                    <a:pt x="417" y="124"/>
                    <a:pt x="407" y="145"/>
                    <a:pt x="407" y="148"/>
                  </a:cubicBezTo>
                  <a:cubicBezTo>
                    <a:pt x="400" y="159"/>
                    <a:pt x="396" y="169"/>
                    <a:pt x="389" y="180"/>
                  </a:cubicBezTo>
                  <a:lnTo>
                    <a:pt x="386" y="187"/>
                  </a:lnTo>
                  <a:cubicBezTo>
                    <a:pt x="382" y="194"/>
                    <a:pt x="375" y="197"/>
                    <a:pt x="372" y="204"/>
                  </a:cubicBezTo>
                  <a:lnTo>
                    <a:pt x="365" y="211"/>
                  </a:lnTo>
                  <a:lnTo>
                    <a:pt x="354" y="222"/>
                  </a:lnTo>
                  <a:lnTo>
                    <a:pt x="347" y="229"/>
                  </a:lnTo>
                  <a:lnTo>
                    <a:pt x="333" y="239"/>
                  </a:lnTo>
                  <a:lnTo>
                    <a:pt x="323" y="246"/>
                  </a:lnTo>
                  <a:lnTo>
                    <a:pt x="316" y="253"/>
                  </a:lnTo>
                  <a:lnTo>
                    <a:pt x="302" y="257"/>
                  </a:lnTo>
                  <a:lnTo>
                    <a:pt x="298" y="257"/>
                  </a:lnTo>
                  <a:cubicBezTo>
                    <a:pt x="288" y="260"/>
                    <a:pt x="274" y="264"/>
                    <a:pt x="260" y="267"/>
                  </a:cubicBezTo>
                  <a:lnTo>
                    <a:pt x="242" y="267"/>
                  </a:lnTo>
                  <a:cubicBezTo>
                    <a:pt x="232" y="267"/>
                    <a:pt x="218" y="264"/>
                    <a:pt x="207" y="260"/>
                  </a:cubicBezTo>
                  <a:lnTo>
                    <a:pt x="204" y="274"/>
                  </a:lnTo>
                  <a:lnTo>
                    <a:pt x="200" y="285"/>
                  </a:lnTo>
                  <a:lnTo>
                    <a:pt x="200" y="295"/>
                  </a:lnTo>
                  <a:lnTo>
                    <a:pt x="197" y="313"/>
                  </a:lnTo>
                  <a:lnTo>
                    <a:pt x="197" y="320"/>
                  </a:lnTo>
                  <a:lnTo>
                    <a:pt x="193" y="337"/>
                  </a:lnTo>
                  <a:lnTo>
                    <a:pt x="193" y="344"/>
                  </a:lnTo>
                  <a:cubicBezTo>
                    <a:pt x="193" y="355"/>
                    <a:pt x="193" y="362"/>
                    <a:pt x="190" y="372"/>
                  </a:cubicBezTo>
                  <a:cubicBezTo>
                    <a:pt x="190" y="379"/>
                    <a:pt x="186" y="390"/>
                    <a:pt x="186" y="397"/>
                  </a:cubicBezTo>
                  <a:lnTo>
                    <a:pt x="186" y="404"/>
                  </a:lnTo>
                  <a:lnTo>
                    <a:pt x="186" y="421"/>
                  </a:lnTo>
                  <a:lnTo>
                    <a:pt x="186" y="428"/>
                  </a:lnTo>
                  <a:lnTo>
                    <a:pt x="186" y="446"/>
                  </a:lnTo>
                  <a:lnTo>
                    <a:pt x="186" y="453"/>
                  </a:lnTo>
                  <a:lnTo>
                    <a:pt x="186" y="470"/>
                  </a:lnTo>
                  <a:lnTo>
                    <a:pt x="186" y="474"/>
                  </a:lnTo>
                  <a:lnTo>
                    <a:pt x="186" y="495"/>
                  </a:lnTo>
                  <a:lnTo>
                    <a:pt x="186" y="498"/>
                  </a:lnTo>
                  <a:lnTo>
                    <a:pt x="186" y="509"/>
                  </a:lnTo>
                  <a:lnTo>
                    <a:pt x="186" y="516"/>
                  </a:lnTo>
                  <a:lnTo>
                    <a:pt x="186" y="523"/>
                  </a:lnTo>
                  <a:lnTo>
                    <a:pt x="186" y="530"/>
                  </a:lnTo>
                  <a:cubicBezTo>
                    <a:pt x="186" y="530"/>
                    <a:pt x="190" y="533"/>
                    <a:pt x="190" y="537"/>
                  </a:cubicBezTo>
                  <a:cubicBezTo>
                    <a:pt x="193" y="540"/>
                    <a:pt x="193" y="544"/>
                    <a:pt x="197" y="544"/>
                  </a:cubicBezTo>
                  <a:cubicBezTo>
                    <a:pt x="312" y="610"/>
                    <a:pt x="368" y="747"/>
                    <a:pt x="326" y="873"/>
                  </a:cubicBezTo>
                  <a:cubicBezTo>
                    <a:pt x="340" y="901"/>
                    <a:pt x="354" y="929"/>
                    <a:pt x="372" y="954"/>
                  </a:cubicBezTo>
                  <a:cubicBezTo>
                    <a:pt x="424" y="1041"/>
                    <a:pt x="494" y="1157"/>
                    <a:pt x="407" y="1244"/>
                  </a:cubicBezTo>
                  <a:cubicBezTo>
                    <a:pt x="374" y="1277"/>
                    <a:pt x="338" y="1288"/>
                    <a:pt x="305" y="1288"/>
                  </a:cubicBezTo>
                  <a:cubicBezTo>
                    <a:pt x="268" y="1288"/>
                    <a:pt x="233" y="1274"/>
                    <a:pt x="207" y="1265"/>
                  </a:cubicBezTo>
                  <a:cubicBezTo>
                    <a:pt x="197" y="1262"/>
                    <a:pt x="183" y="1255"/>
                    <a:pt x="169" y="1251"/>
                  </a:cubicBezTo>
                  <a:cubicBezTo>
                    <a:pt x="169" y="1255"/>
                    <a:pt x="165" y="1258"/>
                    <a:pt x="165" y="1262"/>
                  </a:cubicBezTo>
                  <a:cubicBezTo>
                    <a:pt x="151" y="1290"/>
                    <a:pt x="165" y="1318"/>
                    <a:pt x="193" y="1374"/>
                  </a:cubicBezTo>
                  <a:cubicBezTo>
                    <a:pt x="221" y="1433"/>
                    <a:pt x="270" y="1517"/>
                    <a:pt x="207" y="1601"/>
                  </a:cubicBezTo>
                  <a:cubicBezTo>
                    <a:pt x="186" y="1629"/>
                    <a:pt x="162" y="1654"/>
                    <a:pt x="134" y="1678"/>
                  </a:cubicBezTo>
                  <a:cubicBezTo>
                    <a:pt x="109" y="1696"/>
                    <a:pt x="88" y="1720"/>
                    <a:pt x="71" y="1752"/>
                  </a:cubicBezTo>
                  <a:cubicBezTo>
                    <a:pt x="64" y="1776"/>
                    <a:pt x="57" y="1804"/>
                    <a:pt x="60" y="1829"/>
                  </a:cubicBezTo>
                  <a:lnTo>
                    <a:pt x="60" y="1853"/>
                  </a:lnTo>
                  <a:cubicBezTo>
                    <a:pt x="85" y="2042"/>
                    <a:pt x="74" y="2165"/>
                    <a:pt x="25" y="2249"/>
                  </a:cubicBezTo>
                  <a:cubicBezTo>
                    <a:pt x="18" y="2259"/>
                    <a:pt x="8" y="2270"/>
                    <a:pt x="1" y="2280"/>
                  </a:cubicBezTo>
                  <a:lnTo>
                    <a:pt x="15" y="2287"/>
                  </a:lnTo>
                  <a:cubicBezTo>
                    <a:pt x="50" y="2305"/>
                    <a:pt x="99" y="2333"/>
                    <a:pt x="151" y="2364"/>
                  </a:cubicBezTo>
                  <a:cubicBezTo>
                    <a:pt x="183" y="2385"/>
                    <a:pt x="214" y="2403"/>
                    <a:pt x="249" y="2424"/>
                  </a:cubicBezTo>
                  <a:cubicBezTo>
                    <a:pt x="421" y="2525"/>
                    <a:pt x="631" y="2648"/>
                    <a:pt x="606" y="2840"/>
                  </a:cubicBezTo>
                  <a:cubicBezTo>
                    <a:pt x="596" y="2914"/>
                    <a:pt x="575" y="2984"/>
                    <a:pt x="543" y="3047"/>
                  </a:cubicBezTo>
                  <a:lnTo>
                    <a:pt x="533" y="3072"/>
                  </a:lnTo>
                  <a:lnTo>
                    <a:pt x="529" y="3082"/>
                  </a:lnTo>
                  <a:lnTo>
                    <a:pt x="522" y="3096"/>
                  </a:lnTo>
                  <a:lnTo>
                    <a:pt x="519" y="3107"/>
                  </a:lnTo>
                  <a:lnTo>
                    <a:pt x="512" y="3124"/>
                  </a:lnTo>
                  <a:lnTo>
                    <a:pt x="505" y="3138"/>
                  </a:lnTo>
                  <a:lnTo>
                    <a:pt x="498" y="3159"/>
                  </a:lnTo>
                  <a:lnTo>
                    <a:pt x="494" y="3170"/>
                  </a:lnTo>
                  <a:cubicBezTo>
                    <a:pt x="491" y="3180"/>
                    <a:pt x="487" y="3191"/>
                    <a:pt x="484" y="3205"/>
                  </a:cubicBezTo>
                  <a:lnTo>
                    <a:pt x="480" y="3219"/>
                  </a:lnTo>
                  <a:lnTo>
                    <a:pt x="470" y="3243"/>
                  </a:lnTo>
                  <a:lnTo>
                    <a:pt x="466" y="3261"/>
                  </a:lnTo>
                  <a:lnTo>
                    <a:pt x="463" y="3275"/>
                  </a:lnTo>
                  <a:cubicBezTo>
                    <a:pt x="627" y="3261"/>
                    <a:pt x="851" y="3198"/>
                    <a:pt x="1103" y="3131"/>
                  </a:cubicBezTo>
                  <a:cubicBezTo>
                    <a:pt x="1366" y="3061"/>
                    <a:pt x="1660" y="2981"/>
                    <a:pt x="1982" y="2925"/>
                  </a:cubicBezTo>
                  <a:cubicBezTo>
                    <a:pt x="2116" y="2901"/>
                    <a:pt x="2251" y="2890"/>
                    <a:pt x="2386" y="2890"/>
                  </a:cubicBezTo>
                  <a:cubicBezTo>
                    <a:pt x="2594" y="2890"/>
                    <a:pt x="2803" y="2917"/>
                    <a:pt x="3004" y="2970"/>
                  </a:cubicBezTo>
                  <a:lnTo>
                    <a:pt x="3008" y="2949"/>
                  </a:lnTo>
                  <a:lnTo>
                    <a:pt x="3011" y="2939"/>
                  </a:lnTo>
                  <a:cubicBezTo>
                    <a:pt x="3011" y="2928"/>
                    <a:pt x="3015" y="2914"/>
                    <a:pt x="3015" y="2907"/>
                  </a:cubicBezTo>
                  <a:lnTo>
                    <a:pt x="3015" y="2900"/>
                  </a:lnTo>
                  <a:lnTo>
                    <a:pt x="3015" y="2879"/>
                  </a:lnTo>
                  <a:lnTo>
                    <a:pt x="3015" y="2872"/>
                  </a:lnTo>
                  <a:lnTo>
                    <a:pt x="3015" y="2858"/>
                  </a:lnTo>
                  <a:lnTo>
                    <a:pt x="3015" y="2851"/>
                  </a:lnTo>
                  <a:lnTo>
                    <a:pt x="3015" y="2840"/>
                  </a:lnTo>
                  <a:lnTo>
                    <a:pt x="3015" y="2837"/>
                  </a:lnTo>
                  <a:cubicBezTo>
                    <a:pt x="3015" y="2833"/>
                    <a:pt x="3015" y="2833"/>
                    <a:pt x="3015" y="2830"/>
                  </a:cubicBezTo>
                  <a:lnTo>
                    <a:pt x="3015" y="2826"/>
                  </a:lnTo>
                  <a:cubicBezTo>
                    <a:pt x="3015" y="2826"/>
                    <a:pt x="3015" y="2823"/>
                    <a:pt x="3015" y="2823"/>
                  </a:cubicBezTo>
                  <a:cubicBezTo>
                    <a:pt x="2994" y="2795"/>
                    <a:pt x="2976" y="2763"/>
                    <a:pt x="2962" y="2735"/>
                  </a:cubicBezTo>
                  <a:lnTo>
                    <a:pt x="2941" y="2697"/>
                  </a:lnTo>
                  <a:cubicBezTo>
                    <a:pt x="2885" y="2574"/>
                    <a:pt x="2836" y="2452"/>
                    <a:pt x="2798" y="2322"/>
                  </a:cubicBezTo>
                  <a:cubicBezTo>
                    <a:pt x="2791" y="2301"/>
                    <a:pt x="2784" y="2280"/>
                    <a:pt x="2780" y="2259"/>
                  </a:cubicBezTo>
                  <a:cubicBezTo>
                    <a:pt x="2777" y="2238"/>
                    <a:pt x="2773" y="2217"/>
                    <a:pt x="2770" y="2196"/>
                  </a:cubicBezTo>
                  <a:cubicBezTo>
                    <a:pt x="2770" y="2186"/>
                    <a:pt x="2770" y="2179"/>
                    <a:pt x="2770" y="2168"/>
                  </a:cubicBezTo>
                  <a:cubicBezTo>
                    <a:pt x="2791" y="2095"/>
                    <a:pt x="2819" y="2025"/>
                    <a:pt x="2857" y="1962"/>
                  </a:cubicBezTo>
                  <a:cubicBezTo>
                    <a:pt x="2910" y="1860"/>
                    <a:pt x="2983" y="1717"/>
                    <a:pt x="2976" y="1650"/>
                  </a:cubicBezTo>
                  <a:cubicBezTo>
                    <a:pt x="2969" y="1542"/>
                    <a:pt x="3043" y="1461"/>
                    <a:pt x="3102" y="1398"/>
                  </a:cubicBezTo>
                  <a:cubicBezTo>
                    <a:pt x="3141" y="1353"/>
                    <a:pt x="3183" y="1311"/>
                    <a:pt x="3183" y="1279"/>
                  </a:cubicBezTo>
                  <a:lnTo>
                    <a:pt x="3183" y="1258"/>
                  </a:lnTo>
                  <a:lnTo>
                    <a:pt x="3183" y="1248"/>
                  </a:lnTo>
                  <a:lnTo>
                    <a:pt x="3183" y="1230"/>
                  </a:lnTo>
                  <a:lnTo>
                    <a:pt x="3183" y="1216"/>
                  </a:lnTo>
                  <a:lnTo>
                    <a:pt x="3183" y="1195"/>
                  </a:lnTo>
                  <a:lnTo>
                    <a:pt x="3183" y="1178"/>
                  </a:lnTo>
                  <a:lnTo>
                    <a:pt x="3179" y="1153"/>
                  </a:lnTo>
                  <a:lnTo>
                    <a:pt x="3179" y="1132"/>
                  </a:lnTo>
                  <a:cubicBezTo>
                    <a:pt x="3179" y="1125"/>
                    <a:pt x="3179" y="1118"/>
                    <a:pt x="3176" y="1108"/>
                  </a:cubicBezTo>
                  <a:lnTo>
                    <a:pt x="3172" y="1087"/>
                  </a:lnTo>
                  <a:lnTo>
                    <a:pt x="3169" y="1059"/>
                  </a:lnTo>
                  <a:lnTo>
                    <a:pt x="3162" y="1034"/>
                  </a:lnTo>
                  <a:lnTo>
                    <a:pt x="3158" y="1006"/>
                  </a:lnTo>
                  <a:lnTo>
                    <a:pt x="3155" y="978"/>
                  </a:lnTo>
                  <a:lnTo>
                    <a:pt x="3148" y="947"/>
                  </a:lnTo>
                  <a:lnTo>
                    <a:pt x="3141" y="922"/>
                  </a:lnTo>
                  <a:lnTo>
                    <a:pt x="3137" y="891"/>
                  </a:lnTo>
                  <a:lnTo>
                    <a:pt x="3130" y="863"/>
                  </a:lnTo>
                  <a:lnTo>
                    <a:pt x="3123" y="828"/>
                  </a:lnTo>
                  <a:lnTo>
                    <a:pt x="3116" y="799"/>
                  </a:lnTo>
                  <a:lnTo>
                    <a:pt x="3109" y="768"/>
                  </a:lnTo>
                  <a:lnTo>
                    <a:pt x="3102" y="740"/>
                  </a:lnTo>
                  <a:lnTo>
                    <a:pt x="3092" y="705"/>
                  </a:lnTo>
                  <a:lnTo>
                    <a:pt x="3085" y="677"/>
                  </a:lnTo>
                  <a:lnTo>
                    <a:pt x="3074" y="645"/>
                  </a:lnTo>
                  <a:lnTo>
                    <a:pt x="3067" y="617"/>
                  </a:lnTo>
                  <a:lnTo>
                    <a:pt x="3057" y="586"/>
                  </a:lnTo>
                  <a:lnTo>
                    <a:pt x="3046" y="558"/>
                  </a:lnTo>
                  <a:lnTo>
                    <a:pt x="3036" y="526"/>
                  </a:lnTo>
                  <a:lnTo>
                    <a:pt x="3025" y="502"/>
                  </a:lnTo>
                  <a:lnTo>
                    <a:pt x="3022" y="491"/>
                  </a:lnTo>
                  <a:cubicBezTo>
                    <a:pt x="3004" y="491"/>
                    <a:pt x="2990" y="488"/>
                    <a:pt x="2976" y="484"/>
                  </a:cubicBezTo>
                  <a:lnTo>
                    <a:pt x="2969" y="481"/>
                  </a:lnTo>
                  <a:cubicBezTo>
                    <a:pt x="2966" y="477"/>
                    <a:pt x="2959" y="474"/>
                    <a:pt x="2952" y="470"/>
                  </a:cubicBezTo>
                  <a:lnTo>
                    <a:pt x="2938" y="460"/>
                  </a:lnTo>
                  <a:lnTo>
                    <a:pt x="2927" y="453"/>
                  </a:lnTo>
                  <a:cubicBezTo>
                    <a:pt x="2917" y="446"/>
                    <a:pt x="2910" y="439"/>
                    <a:pt x="2903" y="432"/>
                  </a:cubicBezTo>
                  <a:lnTo>
                    <a:pt x="2899" y="428"/>
                  </a:lnTo>
                  <a:cubicBezTo>
                    <a:pt x="2855" y="400"/>
                    <a:pt x="2803" y="386"/>
                    <a:pt x="2749" y="386"/>
                  </a:cubicBezTo>
                  <a:cubicBezTo>
                    <a:pt x="2743" y="386"/>
                    <a:pt x="2737" y="386"/>
                    <a:pt x="2731" y="386"/>
                  </a:cubicBezTo>
                  <a:lnTo>
                    <a:pt x="2696" y="386"/>
                  </a:lnTo>
                  <a:cubicBezTo>
                    <a:pt x="2546" y="390"/>
                    <a:pt x="2409" y="439"/>
                    <a:pt x="2346" y="505"/>
                  </a:cubicBezTo>
                  <a:cubicBezTo>
                    <a:pt x="2339" y="516"/>
                    <a:pt x="2329" y="526"/>
                    <a:pt x="2318" y="533"/>
                  </a:cubicBezTo>
                  <a:lnTo>
                    <a:pt x="2315" y="537"/>
                  </a:lnTo>
                  <a:cubicBezTo>
                    <a:pt x="2304" y="544"/>
                    <a:pt x="2294" y="551"/>
                    <a:pt x="2280" y="554"/>
                  </a:cubicBezTo>
                  <a:lnTo>
                    <a:pt x="2276" y="554"/>
                  </a:lnTo>
                  <a:cubicBezTo>
                    <a:pt x="2266" y="561"/>
                    <a:pt x="2252" y="565"/>
                    <a:pt x="2241" y="568"/>
                  </a:cubicBezTo>
                  <a:lnTo>
                    <a:pt x="2238" y="568"/>
                  </a:lnTo>
                  <a:cubicBezTo>
                    <a:pt x="2224" y="568"/>
                    <a:pt x="2210" y="572"/>
                    <a:pt x="2196" y="572"/>
                  </a:cubicBezTo>
                  <a:lnTo>
                    <a:pt x="2175" y="572"/>
                  </a:lnTo>
                  <a:cubicBezTo>
                    <a:pt x="1989" y="554"/>
                    <a:pt x="1793" y="327"/>
                    <a:pt x="1758" y="267"/>
                  </a:cubicBezTo>
                  <a:cubicBezTo>
                    <a:pt x="1755" y="260"/>
                    <a:pt x="1751" y="257"/>
                    <a:pt x="1744" y="250"/>
                  </a:cubicBezTo>
                  <a:cubicBezTo>
                    <a:pt x="1692" y="187"/>
                    <a:pt x="1622" y="141"/>
                    <a:pt x="1541" y="124"/>
                  </a:cubicBezTo>
                  <a:cubicBezTo>
                    <a:pt x="1531" y="122"/>
                    <a:pt x="1522" y="121"/>
                    <a:pt x="1512" y="121"/>
                  </a:cubicBezTo>
                  <a:cubicBezTo>
                    <a:pt x="1484" y="121"/>
                    <a:pt x="1456" y="129"/>
                    <a:pt x="1433" y="145"/>
                  </a:cubicBezTo>
                  <a:cubicBezTo>
                    <a:pt x="1373" y="187"/>
                    <a:pt x="1307" y="225"/>
                    <a:pt x="1250" y="225"/>
                  </a:cubicBezTo>
                  <a:cubicBezTo>
                    <a:pt x="1229" y="225"/>
                    <a:pt x="1208" y="218"/>
                    <a:pt x="1194" y="208"/>
                  </a:cubicBezTo>
                  <a:cubicBezTo>
                    <a:pt x="1121" y="166"/>
                    <a:pt x="1131" y="57"/>
                    <a:pt x="1135" y="19"/>
                  </a:cubicBezTo>
                  <a:cubicBezTo>
                    <a:pt x="1138" y="15"/>
                    <a:pt x="1138" y="12"/>
                    <a:pt x="1135" y="8"/>
                  </a:cubicBezTo>
                  <a:cubicBezTo>
                    <a:pt x="1126" y="3"/>
                    <a:pt x="1116" y="0"/>
                    <a:pt x="1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4" name="Google Shape;4701;p64">
              <a:extLst>
                <a:ext uri="{FF2B5EF4-FFF2-40B4-BE49-F238E27FC236}">
                  <a16:creationId xmlns:a16="http://schemas.microsoft.com/office/drawing/2014/main" id="{D4122666-F01A-F6C1-7A89-8155DE6DD9C2}"/>
                </a:ext>
              </a:extLst>
            </p:cNvPr>
            <p:cNvSpPr/>
            <p:nvPr/>
          </p:nvSpPr>
          <p:spPr>
            <a:xfrm>
              <a:off x="2025044" y="1961747"/>
              <a:ext cx="29585" cy="45417"/>
            </a:xfrm>
            <a:custGeom>
              <a:avLst/>
              <a:gdLst/>
              <a:ahLst/>
              <a:cxnLst/>
              <a:rect l="l" t="t" r="r" b="b"/>
              <a:pathLst>
                <a:path w="2179" h="3345" extrusionOk="0">
                  <a:moveTo>
                    <a:pt x="563" y="0"/>
                  </a:moveTo>
                  <a:cubicBezTo>
                    <a:pt x="454" y="0"/>
                    <a:pt x="343" y="8"/>
                    <a:pt x="235" y="22"/>
                  </a:cubicBezTo>
                  <a:cubicBezTo>
                    <a:pt x="225" y="26"/>
                    <a:pt x="214" y="29"/>
                    <a:pt x="200" y="33"/>
                  </a:cubicBezTo>
                  <a:cubicBezTo>
                    <a:pt x="190" y="78"/>
                    <a:pt x="239" y="232"/>
                    <a:pt x="260" y="306"/>
                  </a:cubicBezTo>
                  <a:cubicBezTo>
                    <a:pt x="298" y="425"/>
                    <a:pt x="319" y="498"/>
                    <a:pt x="312" y="551"/>
                  </a:cubicBezTo>
                  <a:cubicBezTo>
                    <a:pt x="309" y="561"/>
                    <a:pt x="305" y="575"/>
                    <a:pt x="302" y="586"/>
                  </a:cubicBezTo>
                  <a:lnTo>
                    <a:pt x="302" y="593"/>
                  </a:lnTo>
                  <a:cubicBezTo>
                    <a:pt x="298" y="600"/>
                    <a:pt x="295" y="610"/>
                    <a:pt x="291" y="617"/>
                  </a:cubicBezTo>
                  <a:lnTo>
                    <a:pt x="291" y="621"/>
                  </a:lnTo>
                  <a:cubicBezTo>
                    <a:pt x="284" y="642"/>
                    <a:pt x="270" y="656"/>
                    <a:pt x="256" y="670"/>
                  </a:cubicBezTo>
                  <a:lnTo>
                    <a:pt x="260" y="684"/>
                  </a:lnTo>
                  <a:cubicBezTo>
                    <a:pt x="267" y="698"/>
                    <a:pt x="274" y="715"/>
                    <a:pt x="277" y="733"/>
                  </a:cubicBezTo>
                  <a:lnTo>
                    <a:pt x="284" y="754"/>
                  </a:lnTo>
                  <a:cubicBezTo>
                    <a:pt x="291" y="768"/>
                    <a:pt x="295" y="782"/>
                    <a:pt x="298" y="792"/>
                  </a:cubicBezTo>
                  <a:lnTo>
                    <a:pt x="305" y="820"/>
                  </a:lnTo>
                  <a:cubicBezTo>
                    <a:pt x="312" y="831"/>
                    <a:pt x="316" y="845"/>
                    <a:pt x="319" y="859"/>
                  </a:cubicBezTo>
                  <a:lnTo>
                    <a:pt x="326" y="883"/>
                  </a:lnTo>
                  <a:cubicBezTo>
                    <a:pt x="330" y="897"/>
                    <a:pt x="333" y="911"/>
                    <a:pt x="337" y="922"/>
                  </a:cubicBezTo>
                  <a:lnTo>
                    <a:pt x="344" y="950"/>
                  </a:lnTo>
                  <a:cubicBezTo>
                    <a:pt x="347" y="960"/>
                    <a:pt x="347" y="974"/>
                    <a:pt x="351" y="988"/>
                  </a:cubicBezTo>
                  <a:lnTo>
                    <a:pt x="358" y="1013"/>
                  </a:lnTo>
                  <a:lnTo>
                    <a:pt x="365" y="1052"/>
                  </a:lnTo>
                  <a:lnTo>
                    <a:pt x="372" y="1076"/>
                  </a:lnTo>
                  <a:lnTo>
                    <a:pt x="379" y="1115"/>
                  </a:lnTo>
                  <a:lnTo>
                    <a:pt x="386" y="1139"/>
                  </a:lnTo>
                  <a:lnTo>
                    <a:pt x="389" y="1174"/>
                  </a:lnTo>
                  <a:lnTo>
                    <a:pt x="396" y="1199"/>
                  </a:lnTo>
                  <a:lnTo>
                    <a:pt x="400" y="1230"/>
                  </a:lnTo>
                  <a:lnTo>
                    <a:pt x="403" y="1255"/>
                  </a:lnTo>
                  <a:lnTo>
                    <a:pt x="407" y="1286"/>
                  </a:lnTo>
                  <a:lnTo>
                    <a:pt x="410" y="1307"/>
                  </a:lnTo>
                  <a:cubicBezTo>
                    <a:pt x="410" y="1318"/>
                    <a:pt x="414" y="1328"/>
                    <a:pt x="414" y="1335"/>
                  </a:cubicBezTo>
                  <a:lnTo>
                    <a:pt x="417" y="1356"/>
                  </a:lnTo>
                  <a:cubicBezTo>
                    <a:pt x="417" y="1363"/>
                    <a:pt x="417" y="1374"/>
                    <a:pt x="421" y="1381"/>
                  </a:cubicBezTo>
                  <a:cubicBezTo>
                    <a:pt x="424" y="1388"/>
                    <a:pt x="421" y="1391"/>
                    <a:pt x="421" y="1398"/>
                  </a:cubicBezTo>
                  <a:lnTo>
                    <a:pt x="421" y="1419"/>
                  </a:lnTo>
                  <a:lnTo>
                    <a:pt x="421" y="1433"/>
                  </a:lnTo>
                  <a:lnTo>
                    <a:pt x="421" y="1454"/>
                  </a:lnTo>
                  <a:lnTo>
                    <a:pt x="421" y="1465"/>
                  </a:lnTo>
                  <a:lnTo>
                    <a:pt x="421" y="1489"/>
                  </a:lnTo>
                  <a:cubicBezTo>
                    <a:pt x="421" y="1570"/>
                    <a:pt x="361" y="1633"/>
                    <a:pt x="305" y="1692"/>
                  </a:cubicBezTo>
                  <a:cubicBezTo>
                    <a:pt x="256" y="1748"/>
                    <a:pt x="211" y="1797"/>
                    <a:pt x="214" y="1846"/>
                  </a:cubicBezTo>
                  <a:cubicBezTo>
                    <a:pt x="221" y="1951"/>
                    <a:pt x="148" y="2098"/>
                    <a:pt x="81" y="2228"/>
                  </a:cubicBezTo>
                  <a:cubicBezTo>
                    <a:pt x="53" y="2280"/>
                    <a:pt x="29" y="2336"/>
                    <a:pt x="8" y="2392"/>
                  </a:cubicBezTo>
                  <a:cubicBezTo>
                    <a:pt x="1" y="2462"/>
                    <a:pt x="155" y="2854"/>
                    <a:pt x="228" y="2952"/>
                  </a:cubicBezTo>
                  <a:cubicBezTo>
                    <a:pt x="232" y="2959"/>
                    <a:pt x="239" y="2966"/>
                    <a:pt x="242" y="2973"/>
                  </a:cubicBezTo>
                  <a:cubicBezTo>
                    <a:pt x="242" y="2977"/>
                    <a:pt x="242" y="2980"/>
                    <a:pt x="246" y="2984"/>
                  </a:cubicBezTo>
                  <a:cubicBezTo>
                    <a:pt x="246" y="2987"/>
                    <a:pt x="249" y="2994"/>
                    <a:pt x="253" y="3001"/>
                  </a:cubicBezTo>
                  <a:cubicBezTo>
                    <a:pt x="253" y="3005"/>
                    <a:pt x="253" y="3008"/>
                    <a:pt x="253" y="3012"/>
                  </a:cubicBezTo>
                  <a:cubicBezTo>
                    <a:pt x="256" y="3015"/>
                    <a:pt x="256" y="3026"/>
                    <a:pt x="256" y="3033"/>
                  </a:cubicBezTo>
                  <a:cubicBezTo>
                    <a:pt x="260" y="3040"/>
                    <a:pt x="256" y="3040"/>
                    <a:pt x="256" y="3047"/>
                  </a:cubicBezTo>
                  <a:lnTo>
                    <a:pt x="256" y="3068"/>
                  </a:lnTo>
                  <a:lnTo>
                    <a:pt x="256" y="3082"/>
                  </a:lnTo>
                  <a:lnTo>
                    <a:pt x="256" y="3107"/>
                  </a:lnTo>
                  <a:lnTo>
                    <a:pt x="256" y="3124"/>
                  </a:lnTo>
                  <a:cubicBezTo>
                    <a:pt x="256" y="3128"/>
                    <a:pt x="256" y="3145"/>
                    <a:pt x="253" y="3159"/>
                  </a:cubicBezTo>
                  <a:lnTo>
                    <a:pt x="253" y="3166"/>
                  </a:lnTo>
                  <a:cubicBezTo>
                    <a:pt x="249" y="3184"/>
                    <a:pt x="249" y="3198"/>
                    <a:pt x="246" y="3215"/>
                  </a:cubicBezTo>
                  <a:cubicBezTo>
                    <a:pt x="365" y="3254"/>
                    <a:pt x="456" y="3292"/>
                    <a:pt x="519" y="3317"/>
                  </a:cubicBezTo>
                  <a:cubicBezTo>
                    <a:pt x="551" y="3331"/>
                    <a:pt x="582" y="3341"/>
                    <a:pt x="593" y="3345"/>
                  </a:cubicBezTo>
                  <a:cubicBezTo>
                    <a:pt x="680" y="3345"/>
                    <a:pt x="1219" y="3114"/>
                    <a:pt x="1608" y="2921"/>
                  </a:cubicBezTo>
                  <a:cubicBezTo>
                    <a:pt x="1720" y="2865"/>
                    <a:pt x="1839" y="2819"/>
                    <a:pt x="1951" y="2774"/>
                  </a:cubicBezTo>
                  <a:cubicBezTo>
                    <a:pt x="2035" y="2742"/>
                    <a:pt x="2112" y="2714"/>
                    <a:pt x="2178" y="2683"/>
                  </a:cubicBezTo>
                  <a:lnTo>
                    <a:pt x="2178" y="2676"/>
                  </a:lnTo>
                  <a:lnTo>
                    <a:pt x="2168" y="2658"/>
                  </a:lnTo>
                  <a:lnTo>
                    <a:pt x="2164" y="2644"/>
                  </a:lnTo>
                  <a:lnTo>
                    <a:pt x="2154" y="2627"/>
                  </a:lnTo>
                  <a:lnTo>
                    <a:pt x="2147" y="2609"/>
                  </a:lnTo>
                  <a:lnTo>
                    <a:pt x="2136" y="2585"/>
                  </a:lnTo>
                  <a:lnTo>
                    <a:pt x="2126" y="2557"/>
                  </a:lnTo>
                  <a:lnTo>
                    <a:pt x="2119" y="2543"/>
                  </a:lnTo>
                  <a:lnTo>
                    <a:pt x="2108" y="2518"/>
                  </a:lnTo>
                  <a:lnTo>
                    <a:pt x="2101" y="2501"/>
                  </a:lnTo>
                  <a:lnTo>
                    <a:pt x="2091" y="2476"/>
                  </a:lnTo>
                  <a:lnTo>
                    <a:pt x="2084" y="2455"/>
                  </a:lnTo>
                  <a:lnTo>
                    <a:pt x="2077" y="2431"/>
                  </a:lnTo>
                  <a:lnTo>
                    <a:pt x="2070" y="2413"/>
                  </a:lnTo>
                  <a:lnTo>
                    <a:pt x="2059" y="2382"/>
                  </a:lnTo>
                  <a:lnTo>
                    <a:pt x="2056" y="2368"/>
                  </a:lnTo>
                  <a:cubicBezTo>
                    <a:pt x="2049" y="2354"/>
                    <a:pt x="2045" y="2340"/>
                    <a:pt x="2042" y="2326"/>
                  </a:cubicBezTo>
                  <a:lnTo>
                    <a:pt x="2038" y="2312"/>
                  </a:lnTo>
                  <a:cubicBezTo>
                    <a:pt x="2035" y="2301"/>
                    <a:pt x="2031" y="2291"/>
                    <a:pt x="2031" y="2277"/>
                  </a:cubicBezTo>
                  <a:lnTo>
                    <a:pt x="2024" y="2263"/>
                  </a:lnTo>
                  <a:cubicBezTo>
                    <a:pt x="2024" y="2252"/>
                    <a:pt x="2021" y="2242"/>
                    <a:pt x="2021" y="2231"/>
                  </a:cubicBezTo>
                  <a:lnTo>
                    <a:pt x="2017" y="2214"/>
                  </a:lnTo>
                  <a:cubicBezTo>
                    <a:pt x="2017" y="2207"/>
                    <a:pt x="2014" y="2196"/>
                    <a:pt x="2010" y="2186"/>
                  </a:cubicBezTo>
                  <a:cubicBezTo>
                    <a:pt x="2010" y="2179"/>
                    <a:pt x="2010" y="2175"/>
                    <a:pt x="2007" y="2168"/>
                  </a:cubicBezTo>
                  <a:cubicBezTo>
                    <a:pt x="2007" y="2165"/>
                    <a:pt x="2007" y="2151"/>
                    <a:pt x="2007" y="2140"/>
                  </a:cubicBezTo>
                  <a:cubicBezTo>
                    <a:pt x="2003" y="2130"/>
                    <a:pt x="2007" y="2130"/>
                    <a:pt x="2007" y="2126"/>
                  </a:cubicBezTo>
                  <a:lnTo>
                    <a:pt x="2007" y="2081"/>
                  </a:lnTo>
                  <a:cubicBezTo>
                    <a:pt x="2003" y="1832"/>
                    <a:pt x="1954" y="1587"/>
                    <a:pt x="1863" y="1353"/>
                  </a:cubicBezTo>
                  <a:cubicBezTo>
                    <a:pt x="1832" y="1248"/>
                    <a:pt x="1814" y="1132"/>
                    <a:pt x="1821" y="1020"/>
                  </a:cubicBezTo>
                  <a:cubicBezTo>
                    <a:pt x="1821" y="957"/>
                    <a:pt x="1825" y="894"/>
                    <a:pt x="1828" y="831"/>
                  </a:cubicBezTo>
                  <a:cubicBezTo>
                    <a:pt x="1832" y="768"/>
                    <a:pt x="1835" y="708"/>
                    <a:pt x="1839" y="656"/>
                  </a:cubicBezTo>
                  <a:cubicBezTo>
                    <a:pt x="1842" y="621"/>
                    <a:pt x="1846" y="589"/>
                    <a:pt x="1849" y="561"/>
                  </a:cubicBezTo>
                  <a:cubicBezTo>
                    <a:pt x="1856" y="425"/>
                    <a:pt x="1825" y="337"/>
                    <a:pt x="1748" y="295"/>
                  </a:cubicBezTo>
                  <a:lnTo>
                    <a:pt x="1741" y="292"/>
                  </a:lnTo>
                  <a:lnTo>
                    <a:pt x="1737" y="292"/>
                  </a:lnTo>
                  <a:lnTo>
                    <a:pt x="1734" y="288"/>
                  </a:lnTo>
                  <a:lnTo>
                    <a:pt x="1730" y="285"/>
                  </a:lnTo>
                  <a:lnTo>
                    <a:pt x="1727" y="281"/>
                  </a:lnTo>
                  <a:lnTo>
                    <a:pt x="1723" y="278"/>
                  </a:lnTo>
                  <a:lnTo>
                    <a:pt x="1716" y="271"/>
                  </a:lnTo>
                  <a:lnTo>
                    <a:pt x="1716" y="267"/>
                  </a:lnTo>
                  <a:lnTo>
                    <a:pt x="1709" y="260"/>
                  </a:lnTo>
                  <a:lnTo>
                    <a:pt x="1702" y="246"/>
                  </a:lnTo>
                  <a:lnTo>
                    <a:pt x="1702" y="243"/>
                  </a:lnTo>
                  <a:lnTo>
                    <a:pt x="1695" y="232"/>
                  </a:lnTo>
                  <a:lnTo>
                    <a:pt x="1692" y="229"/>
                  </a:lnTo>
                  <a:lnTo>
                    <a:pt x="1688" y="215"/>
                  </a:lnTo>
                  <a:lnTo>
                    <a:pt x="1685" y="208"/>
                  </a:lnTo>
                  <a:lnTo>
                    <a:pt x="1678" y="194"/>
                  </a:lnTo>
                  <a:lnTo>
                    <a:pt x="1674" y="187"/>
                  </a:lnTo>
                  <a:lnTo>
                    <a:pt x="1667" y="166"/>
                  </a:lnTo>
                  <a:lnTo>
                    <a:pt x="1667" y="162"/>
                  </a:lnTo>
                  <a:cubicBezTo>
                    <a:pt x="1667" y="152"/>
                    <a:pt x="1664" y="141"/>
                    <a:pt x="1660" y="131"/>
                  </a:cubicBezTo>
                  <a:lnTo>
                    <a:pt x="1660" y="127"/>
                  </a:lnTo>
                  <a:cubicBezTo>
                    <a:pt x="1657" y="117"/>
                    <a:pt x="1657" y="110"/>
                    <a:pt x="1653" y="99"/>
                  </a:cubicBezTo>
                  <a:lnTo>
                    <a:pt x="1650" y="89"/>
                  </a:lnTo>
                  <a:lnTo>
                    <a:pt x="1643" y="61"/>
                  </a:lnTo>
                  <a:lnTo>
                    <a:pt x="1639" y="47"/>
                  </a:lnTo>
                  <a:lnTo>
                    <a:pt x="1639" y="36"/>
                  </a:lnTo>
                  <a:cubicBezTo>
                    <a:pt x="1625" y="57"/>
                    <a:pt x="1608" y="75"/>
                    <a:pt x="1587" y="89"/>
                  </a:cubicBezTo>
                  <a:cubicBezTo>
                    <a:pt x="1583" y="92"/>
                    <a:pt x="1580" y="96"/>
                    <a:pt x="1573" y="99"/>
                  </a:cubicBezTo>
                  <a:cubicBezTo>
                    <a:pt x="1569" y="99"/>
                    <a:pt x="1566" y="103"/>
                    <a:pt x="1562" y="103"/>
                  </a:cubicBezTo>
                  <a:cubicBezTo>
                    <a:pt x="1556" y="104"/>
                    <a:pt x="1549" y="105"/>
                    <a:pt x="1543" y="105"/>
                  </a:cubicBezTo>
                  <a:cubicBezTo>
                    <a:pt x="1519" y="105"/>
                    <a:pt x="1498" y="95"/>
                    <a:pt x="1482" y="78"/>
                  </a:cubicBezTo>
                  <a:cubicBezTo>
                    <a:pt x="1482" y="75"/>
                    <a:pt x="1478" y="71"/>
                    <a:pt x="1475" y="68"/>
                  </a:cubicBezTo>
                  <a:cubicBezTo>
                    <a:pt x="1440" y="54"/>
                    <a:pt x="1405" y="47"/>
                    <a:pt x="1370" y="43"/>
                  </a:cubicBezTo>
                  <a:cubicBezTo>
                    <a:pt x="1125" y="15"/>
                    <a:pt x="876" y="1"/>
                    <a:pt x="628" y="1"/>
                  </a:cubicBezTo>
                  <a:cubicBezTo>
                    <a:pt x="606" y="1"/>
                    <a:pt x="584" y="0"/>
                    <a:pt x="5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5" name="Google Shape;4702;p64">
              <a:extLst>
                <a:ext uri="{FF2B5EF4-FFF2-40B4-BE49-F238E27FC236}">
                  <a16:creationId xmlns:a16="http://schemas.microsoft.com/office/drawing/2014/main" id="{55B160BF-9830-C89A-9939-78E4BF5F3FB2}"/>
                </a:ext>
              </a:extLst>
            </p:cNvPr>
            <p:cNvSpPr/>
            <p:nvPr/>
          </p:nvSpPr>
          <p:spPr>
            <a:xfrm>
              <a:off x="2053761" y="19963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6" name="Google Shape;4703;p64">
              <a:extLst>
                <a:ext uri="{FF2B5EF4-FFF2-40B4-BE49-F238E27FC236}">
                  <a16:creationId xmlns:a16="http://schemas.microsoft.com/office/drawing/2014/main" id="{7E61EFE0-76E5-01C0-EAC9-00CA360C9F3C}"/>
                </a:ext>
              </a:extLst>
            </p:cNvPr>
            <p:cNvSpPr/>
            <p:nvPr/>
          </p:nvSpPr>
          <p:spPr>
            <a:xfrm>
              <a:off x="2053516" y="199578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7" name="Google Shape;4704;p64">
              <a:extLst>
                <a:ext uri="{FF2B5EF4-FFF2-40B4-BE49-F238E27FC236}">
                  <a16:creationId xmlns:a16="http://schemas.microsoft.com/office/drawing/2014/main" id="{AD974768-0BC0-BD1C-5534-4CF0FD2BD7FC}"/>
                </a:ext>
              </a:extLst>
            </p:cNvPr>
            <p:cNvSpPr/>
            <p:nvPr/>
          </p:nvSpPr>
          <p:spPr>
            <a:xfrm>
              <a:off x="2052905" y="19939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8" name="Google Shape;4705;p64">
              <a:extLst>
                <a:ext uri="{FF2B5EF4-FFF2-40B4-BE49-F238E27FC236}">
                  <a16:creationId xmlns:a16="http://schemas.microsoft.com/office/drawing/2014/main" id="{1DF97F5A-A444-B35A-CBE6-8D93DBBEA841}"/>
                </a:ext>
              </a:extLst>
            </p:cNvPr>
            <p:cNvSpPr/>
            <p:nvPr/>
          </p:nvSpPr>
          <p:spPr>
            <a:xfrm>
              <a:off x="2053326" y="1995175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9" name="Google Shape;4706;p64">
              <a:extLst>
                <a:ext uri="{FF2B5EF4-FFF2-40B4-BE49-F238E27FC236}">
                  <a16:creationId xmlns:a16="http://schemas.microsoft.com/office/drawing/2014/main" id="{0E334844-F7FB-8287-3D7B-051E66AF2AA1}"/>
                </a:ext>
              </a:extLst>
            </p:cNvPr>
            <p:cNvSpPr/>
            <p:nvPr/>
          </p:nvSpPr>
          <p:spPr>
            <a:xfrm>
              <a:off x="2053095" y="19946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0" name="Google Shape;4707;p64">
              <a:extLst>
                <a:ext uri="{FF2B5EF4-FFF2-40B4-BE49-F238E27FC236}">
                  <a16:creationId xmlns:a16="http://schemas.microsoft.com/office/drawing/2014/main" id="{DE346EF4-E1E1-C0BC-92EB-62930EBB3511}"/>
                </a:ext>
              </a:extLst>
            </p:cNvPr>
            <p:cNvSpPr/>
            <p:nvPr/>
          </p:nvSpPr>
          <p:spPr>
            <a:xfrm>
              <a:off x="2054277" y="199749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1" name="Google Shape;4708;p64">
              <a:extLst>
                <a:ext uri="{FF2B5EF4-FFF2-40B4-BE49-F238E27FC236}">
                  <a16:creationId xmlns:a16="http://schemas.microsoft.com/office/drawing/2014/main" id="{85DE3515-69D9-827E-D765-6E7985701BDC}"/>
                </a:ext>
              </a:extLst>
            </p:cNvPr>
            <p:cNvSpPr/>
            <p:nvPr/>
          </p:nvSpPr>
          <p:spPr>
            <a:xfrm>
              <a:off x="2053992" y="199692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2" name="Google Shape;4709;p64">
              <a:extLst>
                <a:ext uri="{FF2B5EF4-FFF2-40B4-BE49-F238E27FC236}">
                  <a16:creationId xmlns:a16="http://schemas.microsoft.com/office/drawing/2014/main" id="{12E97673-15EB-33FC-223C-518530BF151D}"/>
                </a:ext>
              </a:extLst>
            </p:cNvPr>
            <p:cNvSpPr/>
            <p:nvPr/>
          </p:nvSpPr>
          <p:spPr>
            <a:xfrm>
              <a:off x="2054467" y="19979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3" name="Google Shape;4710;p64">
              <a:extLst>
                <a:ext uri="{FF2B5EF4-FFF2-40B4-BE49-F238E27FC236}">
                  <a16:creationId xmlns:a16="http://schemas.microsoft.com/office/drawing/2014/main" id="{8D88C405-445A-FAA9-FCF6-C6B33187F587}"/>
                </a:ext>
              </a:extLst>
            </p:cNvPr>
            <p:cNvSpPr/>
            <p:nvPr/>
          </p:nvSpPr>
          <p:spPr>
            <a:xfrm>
              <a:off x="2048004" y="196508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4" name="Google Shape;4711;p64">
              <a:extLst>
                <a:ext uri="{FF2B5EF4-FFF2-40B4-BE49-F238E27FC236}">
                  <a16:creationId xmlns:a16="http://schemas.microsoft.com/office/drawing/2014/main" id="{2881028F-8D0B-02AC-D38E-945D66CDE43A}"/>
                </a:ext>
              </a:extLst>
            </p:cNvPr>
            <p:cNvSpPr/>
            <p:nvPr/>
          </p:nvSpPr>
          <p:spPr>
            <a:xfrm>
              <a:off x="2047909" y="19648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5" name="Google Shape;4712;p64">
              <a:extLst>
                <a:ext uri="{FF2B5EF4-FFF2-40B4-BE49-F238E27FC236}">
                  <a16:creationId xmlns:a16="http://schemas.microsoft.com/office/drawing/2014/main" id="{034DF8A2-1973-F43A-80D0-95E77E83F939}"/>
                </a:ext>
              </a:extLst>
            </p:cNvPr>
            <p:cNvSpPr/>
            <p:nvPr/>
          </p:nvSpPr>
          <p:spPr>
            <a:xfrm>
              <a:off x="2048343" y="196556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6" name="Google Shape;4713;p64">
              <a:extLst>
                <a:ext uri="{FF2B5EF4-FFF2-40B4-BE49-F238E27FC236}">
                  <a16:creationId xmlns:a16="http://schemas.microsoft.com/office/drawing/2014/main" id="{52B73346-5E4A-33CD-10E5-94823F3981F7}"/>
                </a:ext>
              </a:extLst>
            </p:cNvPr>
            <p:cNvSpPr/>
            <p:nvPr/>
          </p:nvSpPr>
          <p:spPr>
            <a:xfrm>
              <a:off x="2049620" y="1975691"/>
              <a:ext cx="679" cy="4521"/>
            </a:xfrm>
            <a:custGeom>
              <a:avLst/>
              <a:gdLst/>
              <a:ahLst/>
              <a:cxnLst/>
              <a:rect l="l" t="t" r="r" b="b"/>
              <a:pathLst>
                <a:path w="50" h="333" extrusionOk="0">
                  <a:moveTo>
                    <a:pt x="50" y="333"/>
                  </a:moveTo>
                  <a:lnTo>
                    <a:pt x="50" y="333"/>
                  </a:lnTo>
                  <a:cubicBezTo>
                    <a:pt x="15" y="224"/>
                    <a:pt x="1" y="112"/>
                    <a:pt x="4" y="0"/>
                  </a:cubicBezTo>
                  <a:cubicBezTo>
                    <a:pt x="1" y="112"/>
                    <a:pt x="15" y="224"/>
                    <a:pt x="50" y="3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7" name="Google Shape;4714;p64">
              <a:extLst>
                <a:ext uri="{FF2B5EF4-FFF2-40B4-BE49-F238E27FC236}">
                  <a16:creationId xmlns:a16="http://schemas.microsoft.com/office/drawing/2014/main" id="{26FBC378-249E-387A-7240-E02A3B236CDB}"/>
                </a:ext>
              </a:extLst>
            </p:cNvPr>
            <p:cNvSpPr/>
            <p:nvPr/>
          </p:nvSpPr>
          <p:spPr>
            <a:xfrm>
              <a:off x="2052376" y="199184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8" name="Google Shape;4715;p64">
              <a:extLst>
                <a:ext uri="{FF2B5EF4-FFF2-40B4-BE49-F238E27FC236}">
                  <a16:creationId xmlns:a16="http://schemas.microsoft.com/office/drawing/2014/main" id="{FBDC9F88-576F-66C9-D1D0-FF1AB8827363}"/>
                </a:ext>
              </a:extLst>
            </p:cNvPr>
            <p:cNvSpPr/>
            <p:nvPr/>
          </p:nvSpPr>
          <p:spPr>
            <a:xfrm>
              <a:off x="2047393" y="19634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9" name="Google Shape;4716;p64">
              <a:extLst>
                <a:ext uri="{FF2B5EF4-FFF2-40B4-BE49-F238E27FC236}">
                  <a16:creationId xmlns:a16="http://schemas.microsoft.com/office/drawing/2014/main" id="{D37885FF-741F-5AD8-9626-33438EA94271}"/>
                </a:ext>
              </a:extLst>
            </p:cNvPr>
            <p:cNvSpPr/>
            <p:nvPr/>
          </p:nvSpPr>
          <p:spPr>
            <a:xfrm>
              <a:off x="2047773" y="196461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0" name="Google Shape;4717;p64">
              <a:extLst>
                <a:ext uri="{FF2B5EF4-FFF2-40B4-BE49-F238E27FC236}">
                  <a16:creationId xmlns:a16="http://schemas.microsoft.com/office/drawing/2014/main" id="{F398E37F-7D4A-1A15-0011-AE64C335AFBB}"/>
                </a:ext>
              </a:extLst>
            </p:cNvPr>
            <p:cNvSpPr/>
            <p:nvPr/>
          </p:nvSpPr>
          <p:spPr>
            <a:xfrm>
              <a:off x="2047529" y="1963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1" name="Google Shape;4718;p64">
              <a:extLst>
                <a:ext uri="{FF2B5EF4-FFF2-40B4-BE49-F238E27FC236}">
                  <a16:creationId xmlns:a16="http://schemas.microsoft.com/office/drawing/2014/main" id="{168BA66A-FB34-8173-ADF2-6408844DE3BD}"/>
                </a:ext>
              </a:extLst>
            </p:cNvPr>
            <p:cNvSpPr/>
            <p:nvPr/>
          </p:nvSpPr>
          <p:spPr>
            <a:xfrm>
              <a:off x="2047678" y="19642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2" name="Google Shape;4719;p64">
              <a:extLst>
                <a:ext uri="{FF2B5EF4-FFF2-40B4-BE49-F238E27FC236}">
                  <a16:creationId xmlns:a16="http://schemas.microsoft.com/office/drawing/2014/main" id="{6BEF2FF6-24D5-A445-9573-02220162D93D}"/>
                </a:ext>
              </a:extLst>
            </p:cNvPr>
            <p:cNvSpPr/>
            <p:nvPr/>
          </p:nvSpPr>
          <p:spPr>
            <a:xfrm>
              <a:off x="2052281" y="199122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"/>
                  </a:moveTo>
                  <a:cubicBezTo>
                    <a:pt x="1" y="8"/>
                    <a:pt x="1" y="15"/>
                    <a:pt x="4" y="18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3" name="Google Shape;4720;p64">
              <a:extLst>
                <a:ext uri="{FF2B5EF4-FFF2-40B4-BE49-F238E27FC236}">
                  <a16:creationId xmlns:a16="http://schemas.microsoft.com/office/drawing/2014/main" id="{D8B93792-F0DB-88D5-86B6-9CAE9BD690A4}"/>
                </a:ext>
              </a:extLst>
            </p:cNvPr>
            <p:cNvSpPr/>
            <p:nvPr/>
          </p:nvSpPr>
          <p:spPr>
            <a:xfrm>
              <a:off x="2048153" y="196531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4" name="Google Shape;4721;p64">
              <a:extLst>
                <a:ext uri="{FF2B5EF4-FFF2-40B4-BE49-F238E27FC236}">
                  <a16:creationId xmlns:a16="http://schemas.microsoft.com/office/drawing/2014/main" id="{135FC1D4-7492-2719-492B-04844DD3602C}"/>
                </a:ext>
              </a:extLst>
            </p:cNvPr>
            <p:cNvSpPr/>
            <p:nvPr/>
          </p:nvSpPr>
          <p:spPr>
            <a:xfrm>
              <a:off x="2048438" y="196565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5" name="Google Shape;4722;p64">
              <a:extLst>
                <a:ext uri="{FF2B5EF4-FFF2-40B4-BE49-F238E27FC236}">
                  <a16:creationId xmlns:a16="http://schemas.microsoft.com/office/drawing/2014/main" id="{7299D02B-0B32-372E-A85D-12CC65C66551}"/>
                </a:ext>
              </a:extLst>
            </p:cNvPr>
            <p:cNvSpPr/>
            <p:nvPr/>
          </p:nvSpPr>
          <p:spPr>
            <a:xfrm>
              <a:off x="2047298" y="19629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6" name="Google Shape;4723;p64">
              <a:extLst>
                <a:ext uri="{FF2B5EF4-FFF2-40B4-BE49-F238E27FC236}">
                  <a16:creationId xmlns:a16="http://schemas.microsoft.com/office/drawing/2014/main" id="{CFEFF1E8-C864-0DB1-6903-1F53051BCCCA}"/>
                </a:ext>
              </a:extLst>
            </p:cNvPr>
            <p:cNvSpPr/>
            <p:nvPr/>
          </p:nvSpPr>
          <p:spPr>
            <a:xfrm>
              <a:off x="2052661" y="199317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7" name="Google Shape;4724;p64">
              <a:extLst>
                <a:ext uri="{FF2B5EF4-FFF2-40B4-BE49-F238E27FC236}">
                  <a16:creationId xmlns:a16="http://schemas.microsoft.com/office/drawing/2014/main" id="{055E82AC-96DE-96B3-5B30-6BF4594473C5}"/>
                </a:ext>
              </a:extLst>
            </p:cNvPr>
            <p:cNvSpPr/>
            <p:nvPr/>
          </p:nvSpPr>
          <p:spPr>
            <a:xfrm>
              <a:off x="2048574" y="19657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8" name="Google Shape;4725;p64">
              <a:extLst>
                <a:ext uri="{FF2B5EF4-FFF2-40B4-BE49-F238E27FC236}">
                  <a16:creationId xmlns:a16="http://schemas.microsoft.com/office/drawing/2014/main" id="{88D9DB22-5A6B-9308-9295-9A8A1707589E}"/>
                </a:ext>
              </a:extLst>
            </p:cNvPr>
            <p:cNvSpPr/>
            <p:nvPr/>
          </p:nvSpPr>
          <p:spPr>
            <a:xfrm>
              <a:off x="2052525" y="199251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9" name="Google Shape;4726;p64">
              <a:extLst>
                <a:ext uri="{FF2B5EF4-FFF2-40B4-BE49-F238E27FC236}">
                  <a16:creationId xmlns:a16="http://schemas.microsoft.com/office/drawing/2014/main" id="{65361977-5E17-4B63-A403-1779E5738980}"/>
                </a:ext>
              </a:extLst>
            </p:cNvPr>
            <p:cNvSpPr/>
            <p:nvPr/>
          </p:nvSpPr>
          <p:spPr>
            <a:xfrm>
              <a:off x="2047149" y="196242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0" name="Google Shape;4727;p64">
              <a:extLst>
                <a:ext uri="{FF2B5EF4-FFF2-40B4-BE49-F238E27FC236}">
                  <a16:creationId xmlns:a16="http://schemas.microsoft.com/office/drawing/2014/main" id="{4C309DBB-4562-07AD-2D4D-2D16617FED52}"/>
                </a:ext>
              </a:extLst>
            </p:cNvPr>
            <p:cNvSpPr/>
            <p:nvPr/>
          </p:nvSpPr>
          <p:spPr>
            <a:xfrm>
              <a:off x="2052186" y="1990654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1" name="Google Shape;4728;p64">
              <a:extLst>
                <a:ext uri="{FF2B5EF4-FFF2-40B4-BE49-F238E27FC236}">
                  <a16:creationId xmlns:a16="http://schemas.microsoft.com/office/drawing/2014/main" id="{D9B70C5E-61EF-D947-3AC3-2BE776793D93}"/>
                </a:ext>
              </a:extLst>
            </p:cNvPr>
            <p:cNvSpPr/>
            <p:nvPr/>
          </p:nvSpPr>
          <p:spPr>
            <a:xfrm>
              <a:off x="2048248" y="19654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2" name="Google Shape;4729;p64">
              <a:extLst>
                <a:ext uri="{FF2B5EF4-FFF2-40B4-BE49-F238E27FC236}">
                  <a16:creationId xmlns:a16="http://schemas.microsoft.com/office/drawing/2014/main" id="{39B9928E-F24F-1D21-BCA0-844B382169B5}"/>
                </a:ext>
              </a:extLst>
            </p:cNvPr>
            <p:cNvSpPr/>
            <p:nvPr/>
          </p:nvSpPr>
          <p:spPr>
            <a:xfrm>
              <a:off x="2030082" y="197692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3" name="Google Shape;4730;p64">
              <a:extLst>
                <a:ext uri="{FF2B5EF4-FFF2-40B4-BE49-F238E27FC236}">
                  <a16:creationId xmlns:a16="http://schemas.microsoft.com/office/drawing/2014/main" id="{D968FA16-88F8-9722-47DB-05F2C4B1A27B}"/>
                </a:ext>
              </a:extLst>
            </p:cNvPr>
            <p:cNvSpPr/>
            <p:nvPr/>
          </p:nvSpPr>
          <p:spPr>
            <a:xfrm>
              <a:off x="2028520" y="200401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4" name="Google Shape;4731;p64">
              <a:extLst>
                <a:ext uri="{FF2B5EF4-FFF2-40B4-BE49-F238E27FC236}">
                  <a16:creationId xmlns:a16="http://schemas.microsoft.com/office/drawing/2014/main" id="{B525E1DE-5909-955F-1F1C-2F046F42C69B}"/>
                </a:ext>
              </a:extLst>
            </p:cNvPr>
            <p:cNvSpPr/>
            <p:nvPr/>
          </p:nvSpPr>
          <p:spPr>
            <a:xfrm>
              <a:off x="2029756" y="197520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5" name="Google Shape;4732;p64">
              <a:extLst>
                <a:ext uri="{FF2B5EF4-FFF2-40B4-BE49-F238E27FC236}">
                  <a16:creationId xmlns:a16="http://schemas.microsoft.com/office/drawing/2014/main" id="{F61F031D-638A-5ED9-13C4-E856286667D3}"/>
                </a:ext>
              </a:extLst>
            </p:cNvPr>
            <p:cNvSpPr/>
            <p:nvPr/>
          </p:nvSpPr>
          <p:spPr>
            <a:xfrm>
              <a:off x="2028520" y="200296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6" name="Google Shape;4733;p64">
              <a:extLst>
                <a:ext uri="{FF2B5EF4-FFF2-40B4-BE49-F238E27FC236}">
                  <a16:creationId xmlns:a16="http://schemas.microsoft.com/office/drawing/2014/main" id="{0953841A-6F4B-D285-AF48-BAA8AA2A7685}"/>
                </a:ext>
              </a:extLst>
            </p:cNvPr>
            <p:cNvSpPr/>
            <p:nvPr/>
          </p:nvSpPr>
          <p:spPr>
            <a:xfrm>
              <a:off x="2028561" y="200344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7" name="Google Shape;4734;p64">
              <a:extLst>
                <a:ext uri="{FF2B5EF4-FFF2-40B4-BE49-F238E27FC236}">
                  <a16:creationId xmlns:a16="http://schemas.microsoft.com/office/drawing/2014/main" id="{8F5B30F1-9815-A0DE-9E51-6597BD5F8683}"/>
                </a:ext>
              </a:extLst>
            </p:cNvPr>
            <p:cNvSpPr/>
            <p:nvPr/>
          </p:nvSpPr>
          <p:spPr>
            <a:xfrm>
              <a:off x="2028262" y="2002195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1" y="1"/>
                  </a:moveTo>
                  <a:cubicBezTo>
                    <a:pt x="1" y="1"/>
                    <a:pt x="5" y="6"/>
                    <a:pt x="5" y="8"/>
                  </a:cubicBezTo>
                  <a:cubicBezTo>
                    <a:pt x="5" y="5"/>
                    <a:pt x="5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8" name="Google Shape;4735;p64">
              <a:extLst>
                <a:ext uri="{FF2B5EF4-FFF2-40B4-BE49-F238E27FC236}">
                  <a16:creationId xmlns:a16="http://schemas.microsoft.com/office/drawing/2014/main" id="{F2EB1512-1B50-8189-FE55-C9840E9B33D1}"/>
                </a:ext>
              </a:extLst>
            </p:cNvPr>
            <p:cNvSpPr/>
            <p:nvPr/>
          </p:nvSpPr>
          <p:spPr>
            <a:xfrm>
              <a:off x="2028425" y="20025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9" name="Google Shape;4736;p64">
              <a:extLst>
                <a:ext uri="{FF2B5EF4-FFF2-40B4-BE49-F238E27FC236}">
                  <a16:creationId xmlns:a16="http://schemas.microsoft.com/office/drawing/2014/main" id="{C56B2BE0-E067-579C-8FFE-36028334EB49}"/>
                </a:ext>
              </a:extLst>
            </p:cNvPr>
            <p:cNvSpPr/>
            <p:nvPr/>
          </p:nvSpPr>
          <p:spPr>
            <a:xfrm>
              <a:off x="2030231" y="197772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0" name="Google Shape;4737;p64">
              <a:extLst>
                <a:ext uri="{FF2B5EF4-FFF2-40B4-BE49-F238E27FC236}">
                  <a16:creationId xmlns:a16="http://schemas.microsoft.com/office/drawing/2014/main" id="{5BF52CA3-6B7D-8040-8A68-61A13B837871}"/>
                </a:ext>
              </a:extLst>
            </p:cNvPr>
            <p:cNvSpPr/>
            <p:nvPr/>
          </p:nvSpPr>
          <p:spPr>
            <a:xfrm>
              <a:off x="2030747" y="198153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1" name="Google Shape;4738;p64">
              <a:extLst>
                <a:ext uri="{FF2B5EF4-FFF2-40B4-BE49-F238E27FC236}">
                  <a16:creationId xmlns:a16="http://schemas.microsoft.com/office/drawing/2014/main" id="{F11E0B85-750A-C386-C45E-F9E3E27B7907}"/>
                </a:ext>
              </a:extLst>
            </p:cNvPr>
            <p:cNvSpPr/>
            <p:nvPr/>
          </p:nvSpPr>
          <p:spPr>
            <a:xfrm>
              <a:off x="2030652" y="198053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2" name="Google Shape;4739;p64">
              <a:extLst>
                <a:ext uri="{FF2B5EF4-FFF2-40B4-BE49-F238E27FC236}">
                  <a16:creationId xmlns:a16="http://schemas.microsoft.com/office/drawing/2014/main" id="{4F48D75E-0C3D-4C1A-6047-BC8111EF2587}"/>
                </a:ext>
              </a:extLst>
            </p:cNvPr>
            <p:cNvSpPr/>
            <p:nvPr/>
          </p:nvSpPr>
          <p:spPr>
            <a:xfrm>
              <a:off x="2030557" y="197991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3" name="Google Shape;4740;p64">
              <a:extLst>
                <a:ext uri="{FF2B5EF4-FFF2-40B4-BE49-F238E27FC236}">
                  <a16:creationId xmlns:a16="http://schemas.microsoft.com/office/drawing/2014/main" id="{FE76788E-C13D-ED8E-D3C5-C79AEFC8DBE8}"/>
                </a:ext>
              </a:extLst>
            </p:cNvPr>
            <p:cNvSpPr/>
            <p:nvPr/>
          </p:nvSpPr>
          <p:spPr>
            <a:xfrm>
              <a:off x="2029281" y="1973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4" name="Google Shape;4741;p64">
              <a:extLst>
                <a:ext uri="{FF2B5EF4-FFF2-40B4-BE49-F238E27FC236}">
                  <a16:creationId xmlns:a16="http://schemas.microsoft.com/office/drawing/2014/main" id="{9203DB5D-B381-1FB0-F0DF-656798DAA36E}"/>
                </a:ext>
              </a:extLst>
            </p:cNvPr>
            <p:cNvSpPr/>
            <p:nvPr/>
          </p:nvSpPr>
          <p:spPr>
            <a:xfrm>
              <a:off x="2030367" y="19784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5" name="Google Shape;4742;p64">
              <a:extLst>
                <a:ext uri="{FF2B5EF4-FFF2-40B4-BE49-F238E27FC236}">
                  <a16:creationId xmlns:a16="http://schemas.microsoft.com/office/drawing/2014/main" id="{28B3BB8F-1DAE-5AE8-6EBD-018DFBC0DBF6}"/>
                </a:ext>
              </a:extLst>
            </p:cNvPr>
            <p:cNvSpPr/>
            <p:nvPr/>
          </p:nvSpPr>
          <p:spPr>
            <a:xfrm>
              <a:off x="2029511" y="197430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6" name="Google Shape;4743;p64">
              <a:extLst>
                <a:ext uri="{FF2B5EF4-FFF2-40B4-BE49-F238E27FC236}">
                  <a16:creationId xmlns:a16="http://schemas.microsoft.com/office/drawing/2014/main" id="{DDF4A7A4-8F69-536B-186E-BF398D8A013D}"/>
                </a:ext>
              </a:extLst>
            </p:cNvPr>
            <p:cNvSpPr/>
            <p:nvPr/>
          </p:nvSpPr>
          <p:spPr>
            <a:xfrm>
              <a:off x="2030706" y="19811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7" name="Google Shape;4744;p64">
              <a:extLst>
                <a:ext uri="{FF2B5EF4-FFF2-40B4-BE49-F238E27FC236}">
                  <a16:creationId xmlns:a16="http://schemas.microsoft.com/office/drawing/2014/main" id="{D8BA91F4-3E9C-E9C8-496D-F929CC58759A}"/>
                </a:ext>
              </a:extLst>
            </p:cNvPr>
            <p:cNvSpPr/>
            <p:nvPr/>
          </p:nvSpPr>
          <p:spPr>
            <a:xfrm>
              <a:off x="2030462" y="197924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8" name="Google Shape;4745;p64">
              <a:extLst>
                <a:ext uri="{FF2B5EF4-FFF2-40B4-BE49-F238E27FC236}">
                  <a16:creationId xmlns:a16="http://schemas.microsoft.com/office/drawing/2014/main" id="{AB6B7F0C-A951-97BC-44E8-7BB00EF2E6F6}"/>
                </a:ext>
              </a:extLst>
            </p:cNvPr>
            <p:cNvSpPr/>
            <p:nvPr/>
          </p:nvSpPr>
          <p:spPr>
            <a:xfrm>
              <a:off x="2028425" y="2004666"/>
              <a:ext cx="54" cy="177"/>
            </a:xfrm>
            <a:custGeom>
              <a:avLst/>
              <a:gdLst/>
              <a:ahLst/>
              <a:cxnLst/>
              <a:rect l="l" t="t" r="r" b="b"/>
              <a:pathLst>
                <a:path w="4" h="13" extrusionOk="0">
                  <a:moveTo>
                    <a:pt x="1" y="1"/>
                  </a:moveTo>
                  <a:cubicBezTo>
                    <a:pt x="1" y="1"/>
                    <a:pt x="0" y="1"/>
                    <a:pt x="0" y="2"/>
                  </a:cubicBezTo>
                  <a:lnTo>
                    <a:pt x="0" y="12"/>
                  </a:lnTo>
                  <a:cubicBezTo>
                    <a:pt x="3" y="9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9" name="Google Shape;4746;p64">
              <a:extLst>
                <a:ext uri="{FF2B5EF4-FFF2-40B4-BE49-F238E27FC236}">
                  <a16:creationId xmlns:a16="http://schemas.microsoft.com/office/drawing/2014/main" id="{23680386-561B-172B-04AA-966404B1007B}"/>
                </a:ext>
              </a:extLst>
            </p:cNvPr>
            <p:cNvSpPr/>
            <p:nvPr/>
          </p:nvSpPr>
          <p:spPr>
            <a:xfrm>
              <a:off x="2028995" y="197254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0" name="Google Shape;4747;p64">
              <a:extLst>
                <a:ext uri="{FF2B5EF4-FFF2-40B4-BE49-F238E27FC236}">
                  <a16:creationId xmlns:a16="http://schemas.microsoft.com/office/drawing/2014/main" id="{C28803DD-F12E-6E72-73EE-A53C4E634F2A}"/>
                </a:ext>
              </a:extLst>
            </p:cNvPr>
            <p:cNvSpPr/>
            <p:nvPr/>
          </p:nvSpPr>
          <p:spPr>
            <a:xfrm>
              <a:off x="2029892" y="1976072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1" name="Google Shape;4748;p64">
              <a:extLst>
                <a:ext uri="{FF2B5EF4-FFF2-40B4-BE49-F238E27FC236}">
                  <a16:creationId xmlns:a16="http://schemas.microsoft.com/office/drawing/2014/main" id="{6650FEB5-4CAE-CE37-A065-B8D662611BB4}"/>
                </a:ext>
              </a:extLst>
            </p:cNvPr>
            <p:cNvSpPr/>
            <p:nvPr/>
          </p:nvSpPr>
          <p:spPr>
            <a:xfrm>
              <a:off x="2028425" y="197088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2" name="Google Shape;4749;p64">
              <a:extLst>
                <a:ext uri="{FF2B5EF4-FFF2-40B4-BE49-F238E27FC236}">
                  <a16:creationId xmlns:a16="http://schemas.microsoft.com/office/drawing/2014/main" id="{7A503093-86EE-25B4-6F8D-848B78F73069}"/>
                </a:ext>
              </a:extLst>
            </p:cNvPr>
            <p:cNvSpPr/>
            <p:nvPr/>
          </p:nvSpPr>
          <p:spPr>
            <a:xfrm>
              <a:off x="2025044" y="1994320"/>
              <a:ext cx="3055" cy="7563"/>
            </a:xfrm>
            <a:custGeom>
              <a:avLst/>
              <a:gdLst/>
              <a:ahLst/>
              <a:cxnLst/>
              <a:rect l="l" t="t" r="r" b="b"/>
              <a:pathLst>
                <a:path w="225" h="557" extrusionOk="0">
                  <a:moveTo>
                    <a:pt x="225" y="557"/>
                  </a:moveTo>
                  <a:cubicBezTo>
                    <a:pt x="151" y="459"/>
                    <a:pt x="1" y="67"/>
                    <a:pt x="8" y="0"/>
                  </a:cubicBezTo>
                  <a:cubicBezTo>
                    <a:pt x="1" y="67"/>
                    <a:pt x="151" y="459"/>
                    <a:pt x="225" y="5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3" name="Google Shape;4750;p64">
              <a:extLst>
                <a:ext uri="{FF2B5EF4-FFF2-40B4-BE49-F238E27FC236}">
                  <a16:creationId xmlns:a16="http://schemas.microsoft.com/office/drawing/2014/main" id="{12EED994-650B-20F8-6A02-1C66EC5CFA31}"/>
                </a:ext>
              </a:extLst>
            </p:cNvPr>
            <p:cNvSpPr/>
            <p:nvPr/>
          </p:nvSpPr>
          <p:spPr>
            <a:xfrm>
              <a:off x="2028710" y="1971686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4" name="Google Shape;4751;p64">
              <a:extLst>
                <a:ext uri="{FF2B5EF4-FFF2-40B4-BE49-F238E27FC236}">
                  <a16:creationId xmlns:a16="http://schemas.microsoft.com/office/drawing/2014/main" id="{28F54654-1EA0-7E28-CE26-501ED07E240C}"/>
                </a:ext>
              </a:extLst>
            </p:cNvPr>
            <p:cNvSpPr/>
            <p:nvPr/>
          </p:nvSpPr>
          <p:spPr>
            <a:xfrm>
              <a:off x="1936777" y="1949351"/>
              <a:ext cx="53305" cy="39619"/>
            </a:xfrm>
            <a:custGeom>
              <a:avLst/>
              <a:gdLst/>
              <a:ahLst/>
              <a:cxnLst/>
              <a:rect l="l" t="t" r="r" b="b"/>
              <a:pathLst>
                <a:path w="3926" h="2918" extrusionOk="0">
                  <a:moveTo>
                    <a:pt x="750" y="1"/>
                  </a:moveTo>
                  <a:lnTo>
                    <a:pt x="747" y="71"/>
                  </a:lnTo>
                  <a:lnTo>
                    <a:pt x="736" y="67"/>
                  </a:lnTo>
                  <a:cubicBezTo>
                    <a:pt x="736" y="71"/>
                    <a:pt x="732" y="78"/>
                    <a:pt x="732" y="81"/>
                  </a:cubicBezTo>
                  <a:cubicBezTo>
                    <a:pt x="729" y="88"/>
                    <a:pt x="725" y="95"/>
                    <a:pt x="722" y="102"/>
                  </a:cubicBezTo>
                  <a:cubicBezTo>
                    <a:pt x="722" y="109"/>
                    <a:pt x="718" y="116"/>
                    <a:pt x="715" y="120"/>
                  </a:cubicBezTo>
                  <a:cubicBezTo>
                    <a:pt x="711" y="127"/>
                    <a:pt x="708" y="130"/>
                    <a:pt x="704" y="137"/>
                  </a:cubicBezTo>
                  <a:cubicBezTo>
                    <a:pt x="701" y="144"/>
                    <a:pt x="697" y="148"/>
                    <a:pt x="694" y="155"/>
                  </a:cubicBezTo>
                  <a:cubicBezTo>
                    <a:pt x="690" y="158"/>
                    <a:pt x="687" y="165"/>
                    <a:pt x="683" y="169"/>
                  </a:cubicBezTo>
                  <a:cubicBezTo>
                    <a:pt x="680" y="172"/>
                    <a:pt x="676" y="179"/>
                    <a:pt x="669" y="183"/>
                  </a:cubicBezTo>
                  <a:cubicBezTo>
                    <a:pt x="666" y="190"/>
                    <a:pt x="662" y="193"/>
                    <a:pt x="659" y="197"/>
                  </a:cubicBezTo>
                  <a:cubicBezTo>
                    <a:pt x="652" y="200"/>
                    <a:pt x="645" y="207"/>
                    <a:pt x="638" y="211"/>
                  </a:cubicBezTo>
                  <a:lnTo>
                    <a:pt x="627" y="218"/>
                  </a:lnTo>
                  <a:cubicBezTo>
                    <a:pt x="617" y="225"/>
                    <a:pt x="603" y="232"/>
                    <a:pt x="592" y="235"/>
                  </a:cubicBezTo>
                  <a:lnTo>
                    <a:pt x="582" y="239"/>
                  </a:lnTo>
                  <a:cubicBezTo>
                    <a:pt x="592" y="270"/>
                    <a:pt x="610" y="298"/>
                    <a:pt x="627" y="326"/>
                  </a:cubicBezTo>
                  <a:cubicBezTo>
                    <a:pt x="652" y="354"/>
                    <a:pt x="666" y="393"/>
                    <a:pt x="669" y="428"/>
                  </a:cubicBezTo>
                  <a:cubicBezTo>
                    <a:pt x="666" y="480"/>
                    <a:pt x="638" y="522"/>
                    <a:pt x="592" y="547"/>
                  </a:cubicBezTo>
                  <a:cubicBezTo>
                    <a:pt x="554" y="574"/>
                    <a:pt x="509" y="588"/>
                    <a:pt x="463" y="588"/>
                  </a:cubicBezTo>
                  <a:cubicBezTo>
                    <a:pt x="438" y="588"/>
                    <a:pt x="413" y="583"/>
                    <a:pt x="389" y="575"/>
                  </a:cubicBezTo>
                  <a:cubicBezTo>
                    <a:pt x="337" y="575"/>
                    <a:pt x="179" y="697"/>
                    <a:pt x="102" y="757"/>
                  </a:cubicBezTo>
                  <a:cubicBezTo>
                    <a:pt x="71" y="785"/>
                    <a:pt x="39" y="809"/>
                    <a:pt x="11" y="827"/>
                  </a:cubicBezTo>
                  <a:lnTo>
                    <a:pt x="1" y="834"/>
                  </a:lnTo>
                  <a:cubicBezTo>
                    <a:pt x="53" y="890"/>
                    <a:pt x="99" y="956"/>
                    <a:pt x="137" y="1026"/>
                  </a:cubicBezTo>
                  <a:cubicBezTo>
                    <a:pt x="183" y="1121"/>
                    <a:pt x="249" y="1201"/>
                    <a:pt x="333" y="1264"/>
                  </a:cubicBezTo>
                  <a:cubicBezTo>
                    <a:pt x="540" y="1415"/>
                    <a:pt x="771" y="1600"/>
                    <a:pt x="932" y="1884"/>
                  </a:cubicBezTo>
                  <a:lnTo>
                    <a:pt x="957" y="1863"/>
                  </a:lnTo>
                  <a:lnTo>
                    <a:pt x="974" y="1845"/>
                  </a:lnTo>
                  <a:lnTo>
                    <a:pt x="1009" y="1814"/>
                  </a:lnTo>
                  <a:lnTo>
                    <a:pt x="1027" y="1800"/>
                  </a:lnTo>
                  <a:lnTo>
                    <a:pt x="1051" y="1775"/>
                  </a:lnTo>
                  <a:lnTo>
                    <a:pt x="1069" y="1761"/>
                  </a:lnTo>
                  <a:lnTo>
                    <a:pt x="1083" y="1744"/>
                  </a:lnTo>
                  <a:lnTo>
                    <a:pt x="1097" y="1730"/>
                  </a:lnTo>
                  <a:lnTo>
                    <a:pt x="1111" y="1716"/>
                  </a:lnTo>
                  <a:lnTo>
                    <a:pt x="1125" y="1702"/>
                  </a:lnTo>
                  <a:lnTo>
                    <a:pt x="1135" y="1691"/>
                  </a:lnTo>
                  <a:lnTo>
                    <a:pt x="1146" y="1681"/>
                  </a:lnTo>
                  <a:lnTo>
                    <a:pt x="1156" y="1670"/>
                  </a:lnTo>
                  <a:lnTo>
                    <a:pt x="1163" y="1660"/>
                  </a:lnTo>
                  <a:lnTo>
                    <a:pt x="1174" y="1649"/>
                  </a:lnTo>
                  <a:lnTo>
                    <a:pt x="1181" y="1639"/>
                  </a:lnTo>
                  <a:lnTo>
                    <a:pt x="1184" y="1632"/>
                  </a:lnTo>
                  <a:lnTo>
                    <a:pt x="1191" y="1625"/>
                  </a:lnTo>
                  <a:lnTo>
                    <a:pt x="1195" y="1618"/>
                  </a:lnTo>
                  <a:lnTo>
                    <a:pt x="1202" y="1611"/>
                  </a:lnTo>
                  <a:lnTo>
                    <a:pt x="1205" y="1607"/>
                  </a:lnTo>
                  <a:lnTo>
                    <a:pt x="1209" y="1600"/>
                  </a:lnTo>
                  <a:lnTo>
                    <a:pt x="1209" y="1597"/>
                  </a:lnTo>
                  <a:lnTo>
                    <a:pt x="1212" y="1590"/>
                  </a:lnTo>
                  <a:lnTo>
                    <a:pt x="1212" y="1583"/>
                  </a:lnTo>
                  <a:cubicBezTo>
                    <a:pt x="1216" y="1579"/>
                    <a:pt x="1216" y="1576"/>
                    <a:pt x="1216" y="1572"/>
                  </a:cubicBezTo>
                  <a:cubicBezTo>
                    <a:pt x="1216" y="1527"/>
                    <a:pt x="1237" y="1481"/>
                    <a:pt x="1275" y="1453"/>
                  </a:cubicBezTo>
                  <a:cubicBezTo>
                    <a:pt x="1303" y="1432"/>
                    <a:pt x="1335" y="1424"/>
                    <a:pt x="1368" y="1424"/>
                  </a:cubicBezTo>
                  <a:cubicBezTo>
                    <a:pt x="1406" y="1424"/>
                    <a:pt x="1446" y="1434"/>
                    <a:pt x="1489" y="1443"/>
                  </a:cubicBezTo>
                  <a:lnTo>
                    <a:pt x="1548" y="1453"/>
                  </a:lnTo>
                  <a:cubicBezTo>
                    <a:pt x="1557" y="1455"/>
                    <a:pt x="1567" y="1456"/>
                    <a:pt x="1577" y="1456"/>
                  </a:cubicBezTo>
                  <a:cubicBezTo>
                    <a:pt x="1628" y="1456"/>
                    <a:pt x="1690" y="1435"/>
                    <a:pt x="1751" y="1415"/>
                  </a:cubicBezTo>
                  <a:cubicBezTo>
                    <a:pt x="1814" y="1390"/>
                    <a:pt x="1881" y="1373"/>
                    <a:pt x="1947" y="1369"/>
                  </a:cubicBezTo>
                  <a:cubicBezTo>
                    <a:pt x="2119" y="1369"/>
                    <a:pt x="2448" y="1838"/>
                    <a:pt x="2448" y="1982"/>
                  </a:cubicBezTo>
                  <a:lnTo>
                    <a:pt x="2448" y="2021"/>
                  </a:lnTo>
                  <a:lnTo>
                    <a:pt x="2448" y="2035"/>
                  </a:lnTo>
                  <a:lnTo>
                    <a:pt x="2448" y="2059"/>
                  </a:lnTo>
                  <a:lnTo>
                    <a:pt x="2448" y="2077"/>
                  </a:lnTo>
                  <a:lnTo>
                    <a:pt x="2448" y="2094"/>
                  </a:lnTo>
                  <a:cubicBezTo>
                    <a:pt x="2448" y="2101"/>
                    <a:pt x="2448" y="2108"/>
                    <a:pt x="2451" y="2115"/>
                  </a:cubicBezTo>
                  <a:cubicBezTo>
                    <a:pt x="2455" y="2122"/>
                    <a:pt x="2451" y="2126"/>
                    <a:pt x="2455" y="2133"/>
                  </a:cubicBezTo>
                  <a:cubicBezTo>
                    <a:pt x="2458" y="2140"/>
                    <a:pt x="2458" y="2147"/>
                    <a:pt x="2458" y="2154"/>
                  </a:cubicBezTo>
                  <a:cubicBezTo>
                    <a:pt x="2462" y="2161"/>
                    <a:pt x="2458" y="2164"/>
                    <a:pt x="2462" y="2168"/>
                  </a:cubicBezTo>
                  <a:cubicBezTo>
                    <a:pt x="2465" y="2175"/>
                    <a:pt x="2465" y="2182"/>
                    <a:pt x="2469" y="2189"/>
                  </a:cubicBezTo>
                  <a:cubicBezTo>
                    <a:pt x="2472" y="2196"/>
                    <a:pt x="2472" y="2199"/>
                    <a:pt x="2472" y="2206"/>
                  </a:cubicBezTo>
                  <a:cubicBezTo>
                    <a:pt x="2476" y="2210"/>
                    <a:pt x="2479" y="2220"/>
                    <a:pt x="2483" y="2224"/>
                  </a:cubicBezTo>
                  <a:cubicBezTo>
                    <a:pt x="2486" y="2231"/>
                    <a:pt x="2486" y="2234"/>
                    <a:pt x="2486" y="2241"/>
                  </a:cubicBezTo>
                  <a:cubicBezTo>
                    <a:pt x="2490" y="2245"/>
                    <a:pt x="2493" y="2252"/>
                    <a:pt x="2497" y="2259"/>
                  </a:cubicBezTo>
                  <a:cubicBezTo>
                    <a:pt x="2500" y="2266"/>
                    <a:pt x="2504" y="2269"/>
                    <a:pt x="2507" y="2273"/>
                  </a:cubicBezTo>
                  <a:lnTo>
                    <a:pt x="2577" y="2259"/>
                  </a:lnTo>
                  <a:lnTo>
                    <a:pt x="2584" y="2259"/>
                  </a:lnTo>
                  <a:cubicBezTo>
                    <a:pt x="2640" y="2248"/>
                    <a:pt x="2696" y="2238"/>
                    <a:pt x="2742" y="2231"/>
                  </a:cubicBezTo>
                  <a:lnTo>
                    <a:pt x="2745" y="2231"/>
                  </a:lnTo>
                  <a:lnTo>
                    <a:pt x="2784" y="2224"/>
                  </a:lnTo>
                  <a:lnTo>
                    <a:pt x="2791" y="2224"/>
                  </a:lnTo>
                  <a:lnTo>
                    <a:pt x="2823" y="2220"/>
                  </a:lnTo>
                  <a:lnTo>
                    <a:pt x="2830" y="2220"/>
                  </a:lnTo>
                  <a:lnTo>
                    <a:pt x="2854" y="2217"/>
                  </a:lnTo>
                  <a:lnTo>
                    <a:pt x="2879" y="2217"/>
                  </a:lnTo>
                  <a:cubicBezTo>
                    <a:pt x="2910" y="2217"/>
                    <a:pt x="2942" y="2234"/>
                    <a:pt x="2963" y="2259"/>
                  </a:cubicBezTo>
                  <a:cubicBezTo>
                    <a:pt x="3033" y="2343"/>
                    <a:pt x="3120" y="2584"/>
                    <a:pt x="3099" y="2756"/>
                  </a:cubicBezTo>
                  <a:cubicBezTo>
                    <a:pt x="3089" y="2822"/>
                    <a:pt x="3127" y="2885"/>
                    <a:pt x="3187" y="2913"/>
                  </a:cubicBezTo>
                  <a:cubicBezTo>
                    <a:pt x="3196" y="2917"/>
                    <a:pt x="3204" y="2918"/>
                    <a:pt x="3210" y="2918"/>
                  </a:cubicBezTo>
                  <a:cubicBezTo>
                    <a:pt x="3231" y="2918"/>
                    <a:pt x="3240" y="2905"/>
                    <a:pt x="3243" y="2899"/>
                  </a:cubicBezTo>
                  <a:cubicBezTo>
                    <a:pt x="3342" y="2758"/>
                    <a:pt x="3406" y="2670"/>
                    <a:pt x="3479" y="2670"/>
                  </a:cubicBezTo>
                  <a:cubicBezTo>
                    <a:pt x="3485" y="2670"/>
                    <a:pt x="3492" y="2670"/>
                    <a:pt x="3498" y="2672"/>
                  </a:cubicBezTo>
                  <a:cubicBezTo>
                    <a:pt x="3540" y="2679"/>
                    <a:pt x="3568" y="2710"/>
                    <a:pt x="3575" y="2752"/>
                  </a:cubicBezTo>
                  <a:lnTo>
                    <a:pt x="3579" y="2756"/>
                  </a:lnTo>
                  <a:lnTo>
                    <a:pt x="3582" y="2756"/>
                  </a:lnTo>
                  <a:lnTo>
                    <a:pt x="3589" y="2759"/>
                  </a:lnTo>
                  <a:cubicBezTo>
                    <a:pt x="3607" y="2738"/>
                    <a:pt x="3628" y="2717"/>
                    <a:pt x="3649" y="2700"/>
                  </a:cubicBezTo>
                  <a:cubicBezTo>
                    <a:pt x="3670" y="2682"/>
                    <a:pt x="3691" y="2665"/>
                    <a:pt x="3708" y="2644"/>
                  </a:cubicBezTo>
                  <a:cubicBezTo>
                    <a:pt x="3715" y="2630"/>
                    <a:pt x="3708" y="2609"/>
                    <a:pt x="3680" y="2556"/>
                  </a:cubicBezTo>
                  <a:cubicBezTo>
                    <a:pt x="3649" y="2497"/>
                    <a:pt x="3607" y="2416"/>
                    <a:pt x="3652" y="2325"/>
                  </a:cubicBezTo>
                  <a:cubicBezTo>
                    <a:pt x="3685" y="2261"/>
                    <a:pt x="3731" y="2245"/>
                    <a:pt x="3772" y="2245"/>
                  </a:cubicBezTo>
                  <a:cubicBezTo>
                    <a:pt x="3807" y="2245"/>
                    <a:pt x="3838" y="2256"/>
                    <a:pt x="3859" y="2262"/>
                  </a:cubicBezTo>
                  <a:cubicBezTo>
                    <a:pt x="3887" y="2273"/>
                    <a:pt x="3900" y="2277"/>
                    <a:pt x="3908" y="2277"/>
                  </a:cubicBezTo>
                  <a:cubicBezTo>
                    <a:pt x="3913" y="2277"/>
                    <a:pt x="3916" y="2275"/>
                    <a:pt x="3918" y="2273"/>
                  </a:cubicBezTo>
                  <a:cubicBezTo>
                    <a:pt x="3925" y="2262"/>
                    <a:pt x="3880" y="2171"/>
                    <a:pt x="3862" y="2143"/>
                  </a:cubicBezTo>
                  <a:cubicBezTo>
                    <a:pt x="3824" y="2077"/>
                    <a:pt x="3785" y="2017"/>
                    <a:pt x="3806" y="1958"/>
                  </a:cubicBezTo>
                  <a:cubicBezTo>
                    <a:pt x="3827" y="1891"/>
                    <a:pt x="3799" y="1817"/>
                    <a:pt x="3740" y="1782"/>
                  </a:cubicBezTo>
                  <a:cubicBezTo>
                    <a:pt x="3733" y="1779"/>
                    <a:pt x="3726" y="1772"/>
                    <a:pt x="3719" y="1768"/>
                  </a:cubicBezTo>
                  <a:lnTo>
                    <a:pt x="3712" y="1761"/>
                  </a:lnTo>
                  <a:cubicBezTo>
                    <a:pt x="3708" y="1758"/>
                    <a:pt x="3701" y="1754"/>
                    <a:pt x="3698" y="1751"/>
                  </a:cubicBezTo>
                  <a:cubicBezTo>
                    <a:pt x="3698" y="1747"/>
                    <a:pt x="3694" y="1744"/>
                    <a:pt x="3694" y="1740"/>
                  </a:cubicBezTo>
                  <a:cubicBezTo>
                    <a:pt x="3691" y="1737"/>
                    <a:pt x="3687" y="1733"/>
                    <a:pt x="3684" y="1730"/>
                  </a:cubicBezTo>
                  <a:cubicBezTo>
                    <a:pt x="3684" y="1726"/>
                    <a:pt x="3680" y="1723"/>
                    <a:pt x="3680" y="1719"/>
                  </a:cubicBezTo>
                  <a:cubicBezTo>
                    <a:pt x="3677" y="1716"/>
                    <a:pt x="3677" y="1709"/>
                    <a:pt x="3673" y="1705"/>
                  </a:cubicBezTo>
                  <a:cubicBezTo>
                    <a:pt x="3670" y="1702"/>
                    <a:pt x="3670" y="1698"/>
                    <a:pt x="3670" y="1695"/>
                  </a:cubicBezTo>
                  <a:cubicBezTo>
                    <a:pt x="3666" y="1691"/>
                    <a:pt x="3666" y="1684"/>
                    <a:pt x="3666" y="1681"/>
                  </a:cubicBezTo>
                  <a:cubicBezTo>
                    <a:pt x="3663" y="1674"/>
                    <a:pt x="3666" y="1670"/>
                    <a:pt x="3663" y="1667"/>
                  </a:cubicBezTo>
                  <a:cubicBezTo>
                    <a:pt x="3659" y="1663"/>
                    <a:pt x="3663" y="1656"/>
                    <a:pt x="3659" y="1653"/>
                  </a:cubicBezTo>
                  <a:cubicBezTo>
                    <a:pt x="3656" y="1646"/>
                    <a:pt x="3659" y="1642"/>
                    <a:pt x="3659" y="1639"/>
                  </a:cubicBezTo>
                  <a:lnTo>
                    <a:pt x="3659" y="1621"/>
                  </a:lnTo>
                  <a:lnTo>
                    <a:pt x="3659" y="1607"/>
                  </a:lnTo>
                  <a:lnTo>
                    <a:pt x="3659" y="1590"/>
                  </a:lnTo>
                  <a:lnTo>
                    <a:pt x="3659" y="1576"/>
                  </a:lnTo>
                  <a:lnTo>
                    <a:pt x="3659" y="1558"/>
                  </a:lnTo>
                  <a:lnTo>
                    <a:pt x="3659" y="1541"/>
                  </a:lnTo>
                  <a:lnTo>
                    <a:pt x="3659" y="1523"/>
                  </a:lnTo>
                  <a:lnTo>
                    <a:pt x="3659" y="1506"/>
                  </a:lnTo>
                  <a:cubicBezTo>
                    <a:pt x="3659" y="1502"/>
                    <a:pt x="3659" y="1495"/>
                    <a:pt x="3663" y="1488"/>
                  </a:cubicBezTo>
                  <a:lnTo>
                    <a:pt x="3663" y="1471"/>
                  </a:lnTo>
                  <a:lnTo>
                    <a:pt x="3666" y="1453"/>
                  </a:lnTo>
                  <a:lnTo>
                    <a:pt x="3670" y="1432"/>
                  </a:lnTo>
                  <a:lnTo>
                    <a:pt x="3673" y="1415"/>
                  </a:lnTo>
                  <a:lnTo>
                    <a:pt x="3677" y="1397"/>
                  </a:lnTo>
                  <a:lnTo>
                    <a:pt x="3680" y="1376"/>
                  </a:lnTo>
                  <a:lnTo>
                    <a:pt x="3684" y="1359"/>
                  </a:lnTo>
                  <a:lnTo>
                    <a:pt x="3691" y="1338"/>
                  </a:lnTo>
                  <a:lnTo>
                    <a:pt x="3694" y="1320"/>
                  </a:lnTo>
                  <a:lnTo>
                    <a:pt x="3694" y="1313"/>
                  </a:lnTo>
                  <a:cubicBezTo>
                    <a:pt x="3673" y="1292"/>
                    <a:pt x="3656" y="1271"/>
                    <a:pt x="3638" y="1250"/>
                  </a:cubicBezTo>
                  <a:cubicBezTo>
                    <a:pt x="3610" y="1194"/>
                    <a:pt x="3593" y="1131"/>
                    <a:pt x="3589" y="1068"/>
                  </a:cubicBezTo>
                  <a:cubicBezTo>
                    <a:pt x="3586" y="1037"/>
                    <a:pt x="3579" y="1002"/>
                    <a:pt x="3565" y="970"/>
                  </a:cubicBezTo>
                  <a:cubicBezTo>
                    <a:pt x="3562" y="970"/>
                    <a:pt x="3560" y="970"/>
                    <a:pt x="3558" y="970"/>
                  </a:cubicBezTo>
                  <a:cubicBezTo>
                    <a:pt x="3490" y="970"/>
                    <a:pt x="3431" y="922"/>
                    <a:pt x="3421" y="851"/>
                  </a:cubicBezTo>
                  <a:cubicBezTo>
                    <a:pt x="3421" y="844"/>
                    <a:pt x="3421" y="837"/>
                    <a:pt x="3421" y="830"/>
                  </a:cubicBezTo>
                  <a:cubicBezTo>
                    <a:pt x="3421" y="774"/>
                    <a:pt x="3446" y="718"/>
                    <a:pt x="3488" y="683"/>
                  </a:cubicBezTo>
                  <a:lnTo>
                    <a:pt x="3470" y="666"/>
                  </a:lnTo>
                  <a:cubicBezTo>
                    <a:pt x="3397" y="613"/>
                    <a:pt x="3306" y="543"/>
                    <a:pt x="3306" y="452"/>
                  </a:cubicBezTo>
                  <a:cubicBezTo>
                    <a:pt x="3306" y="372"/>
                    <a:pt x="3201" y="169"/>
                    <a:pt x="3152" y="120"/>
                  </a:cubicBezTo>
                  <a:cubicBezTo>
                    <a:pt x="3110" y="151"/>
                    <a:pt x="3071" y="183"/>
                    <a:pt x="3033" y="221"/>
                  </a:cubicBezTo>
                  <a:cubicBezTo>
                    <a:pt x="2921" y="326"/>
                    <a:pt x="2844" y="389"/>
                    <a:pt x="2773" y="389"/>
                  </a:cubicBezTo>
                  <a:cubicBezTo>
                    <a:pt x="2721" y="382"/>
                    <a:pt x="2668" y="365"/>
                    <a:pt x="2623" y="340"/>
                  </a:cubicBezTo>
                  <a:cubicBezTo>
                    <a:pt x="2581" y="319"/>
                    <a:pt x="2523" y="293"/>
                    <a:pt x="2492" y="293"/>
                  </a:cubicBezTo>
                  <a:cubicBezTo>
                    <a:pt x="2487" y="293"/>
                    <a:pt x="2483" y="293"/>
                    <a:pt x="2479" y="295"/>
                  </a:cubicBezTo>
                  <a:cubicBezTo>
                    <a:pt x="2472" y="298"/>
                    <a:pt x="2465" y="309"/>
                    <a:pt x="2462" y="316"/>
                  </a:cubicBezTo>
                  <a:cubicBezTo>
                    <a:pt x="2448" y="354"/>
                    <a:pt x="2420" y="386"/>
                    <a:pt x="2381" y="403"/>
                  </a:cubicBezTo>
                  <a:cubicBezTo>
                    <a:pt x="2363" y="410"/>
                    <a:pt x="2345" y="413"/>
                    <a:pt x="2326" y="413"/>
                  </a:cubicBezTo>
                  <a:cubicBezTo>
                    <a:pt x="2293" y="413"/>
                    <a:pt x="2260" y="403"/>
                    <a:pt x="2231" y="386"/>
                  </a:cubicBezTo>
                  <a:cubicBezTo>
                    <a:pt x="2196" y="371"/>
                    <a:pt x="2178" y="365"/>
                    <a:pt x="2167" y="365"/>
                  </a:cubicBezTo>
                  <a:cubicBezTo>
                    <a:pt x="2156" y="365"/>
                    <a:pt x="2152" y="370"/>
                    <a:pt x="2147" y="379"/>
                  </a:cubicBezTo>
                  <a:cubicBezTo>
                    <a:pt x="2125" y="416"/>
                    <a:pt x="2081" y="439"/>
                    <a:pt x="2038" y="439"/>
                  </a:cubicBezTo>
                  <a:cubicBezTo>
                    <a:pt x="2032" y="439"/>
                    <a:pt x="2026" y="439"/>
                    <a:pt x="2021" y="438"/>
                  </a:cubicBezTo>
                  <a:cubicBezTo>
                    <a:pt x="1926" y="417"/>
                    <a:pt x="1884" y="270"/>
                    <a:pt x="1870" y="211"/>
                  </a:cubicBezTo>
                  <a:lnTo>
                    <a:pt x="1870" y="200"/>
                  </a:lnTo>
                  <a:lnTo>
                    <a:pt x="1870" y="197"/>
                  </a:lnTo>
                  <a:lnTo>
                    <a:pt x="1863" y="197"/>
                  </a:lnTo>
                  <a:lnTo>
                    <a:pt x="1835" y="204"/>
                  </a:lnTo>
                  <a:lnTo>
                    <a:pt x="1814" y="211"/>
                  </a:lnTo>
                  <a:lnTo>
                    <a:pt x="1776" y="218"/>
                  </a:lnTo>
                  <a:lnTo>
                    <a:pt x="1744" y="221"/>
                  </a:lnTo>
                  <a:lnTo>
                    <a:pt x="1716" y="228"/>
                  </a:lnTo>
                  <a:lnTo>
                    <a:pt x="1688" y="228"/>
                  </a:lnTo>
                  <a:lnTo>
                    <a:pt x="1664" y="232"/>
                  </a:lnTo>
                  <a:lnTo>
                    <a:pt x="1636" y="235"/>
                  </a:lnTo>
                  <a:lnTo>
                    <a:pt x="1447" y="235"/>
                  </a:lnTo>
                  <a:lnTo>
                    <a:pt x="1398" y="232"/>
                  </a:lnTo>
                  <a:lnTo>
                    <a:pt x="1384" y="232"/>
                  </a:lnTo>
                  <a:cubicBezTo>
                    <a:pt x="1342" y="228"/>
                    <a:pt x="1303" y="225"/>
                    <a:pt x="1268" y="218"/>
                  </a:cubicBezTo>
                  <a:lnTo>
                    <a:pt x="1254" y="218"/>
                  </a:lnTo>
                  <a:lnTo>
                    <a:pt x="1216" y="211"/>
                  </a:lnTo>
                  <a:lnTo>
                    <a:pt x="1202" y="207"/>
                  </a:lnTo>
                  <a:lnTo>
                    <a:pt x="1170" y="200"/>
                  </a:lnTo>
                  <a:lnTo>
                    <a:pt x="1156" y="197"/>
                  </a:lnTo>
                  <a:lnTo>
                    <a:pt x="1128" y="186"/>
                  </a:lnTo>
                  <a:lnTo>
                    <a:pt x="1118" y="183"/>
                  </a:lnTo>
                  <a:cubicBezTo>
                    <a:pt x="1107" y="179"/>
                    <a:pt x="1097" y="172"/>
                    <a:pt x="1086" y="169"/>
                  </a:cubicBezTo>
                  <a:cubicBezTo>
                    <a:pt x="1055" y="155"/>
                    <a:pt x="1030" y="130"/>
                    <a:pt x="1016" y="99"/>
                  </a:cubicBezTo>
                  <a:cubicBezTo>
                    <a:pt x="1013" y="95"/>
                    <a:pt x="1009" y="92"/>
                    <a:pt x="1002" y="88"/>
                  </a:cubicBezTo>
                  <a:cubicBezTo>
                    <a:pt x="925" y="46"/>
                    <a:pt x="838" y="18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5" name="Google Shape;4752;p64">
              <a:extLst>
                <a:ext uri="{FF2B5EF4-FFF2-40B4-BE49-F238E27FC236}">
                  <a16:creationId xmlns:a16="http://schemas.microsoft.com/office/drawing/2014/main" id="{C03783B0-76E5-3CF1-BD4F-B58B4C534139}"/>
                </a:ext>
              </a:extLst>
            </p:cNvPr>
            <p:cNvSpPr/>
            <p:nvPr/>
          </p:nvSpPr>
          <p:spPr>
            <a:xfrm>
              <a:off x="1956464" y="19525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6" name="Google Shape;4753;p64">
              <a:extLst>
                <a:ext uri="{FF2B5EF4-FFF2-40B4-BE49-F238E27FC236}">
                  <a16:creationId xmlns:a16="http://schemas.microsoft.com/office/drawing/2014/main" id="{35A99C61-94EA-E8E0-3818-88BCEDB7FC2F}"/>
                </a:ext>
              </a:extLst>
            </p:cNvPr>
            <p:cNvSpPr/>
            <p:nvPr/>
          </p:nvSpPr>
          <p:spPr>
            <a:xfrm>
              <a:off x="1957510" y="19525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7" name="Google Shape;4754;p64">
              <a:extLst>
                <a:ext uri="{FF2B5EF4-FFF2-40B4-BE49-F238E27FC236}">
                  <a16:creationId xmlns:a16="http://schemas.microsoft.com/office/drawing/2014/main" id="{B53F939F-2EB6-D851-257A-D1E421C07E19}"/>
                </a:ext>
              </a:extLst>
            </p:cNvPr>
            <p:cNvSpPr/>
            <p:nvPr/>
          </p:nvSpPr>
          <p:spPr>
            <a:xfrm>
              <a:off x="1953898" y="195235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8" name="Google Shape;4755;p64">
              <a:extLst>
                <a:ext uri="{FF2B5EF4-FFF2-40B4-BE49-F238E27FC236}">
                  <a16:creationId xmlns:a16="http://schemas.microsoft.com/office/drawing/2014/main" id="{1BEAA57A-21DD-4719-00CE-20F94B464FEA}"/>
                </a:ext>
              </a:extLst>
            </p:cNvPr>
            <p:cNvSpPr/>
            <p:nvPr/>
          </p:nvSpPr>
          <p:spPr>
            <a:xfrm>
              <a:off x="1953138" y="1952162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9" name="Google Shape;4756;p64">
              <a:extLst>
                <a:ext uri="{FF2B5EF4-FFF2-40B4-BE49-F238E27FC236}">
                  <a16:creationId xmlns:a16="http://schemas.microsoft.com/office/drawing/2014/main" id="{8EF39C74-0AFA-0F10-F858-5D4721B1C1AB}"/>
                </a:ext>
              </a:extLst>
            </p:cNvPr>
            <p:cNvSpPr/>
            <p:nvPr/>
          </p:nvSpPr>
          <p:spPr>
            <a:xfrm>
              <a:off x="1951997" y="195182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0" name="Google Shape;4757;p64">
              <a:extLst>
                <a:ext uri="{FF2B5EF4-FFF2-40B4-BE49-F238E27FC236}">
                  <a16:creationId xmlns:a16="http://schemas.microsoft.com/office/drawing/2014/main" id="{D904DBD7-9595-956D-DAF2-AB721FDCF467}"/>
                </a:ext>
              </a:extLst>
            </p:cNvPr>
            <p:cNvSpPr/>
            <p:nvPr/>
          </p:nvSpPr>
          <p:spPr>
            <a:xfrm>
              <a:off x="1952513" y="1952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1" name="Google Shape;4758;p64">
              <a:extLst>
                <a:ext uri="{FF2B5EF4-FFF2-40B4-BE49-F238E27FC236}">
                  <a16:creationId xmlns:a16="http://schemas.microsoft.com/office/drawing/2014/main" id="{65AE8ABB-B4F7-6437-65BA-17710253B957}"/>
                </a:ext>
              </a:extLst>
            </p:cNvPr>
            <p:cNvSpPr/>
            <p:nvPr/>
          </p:nvSpPr>
          <p:spPr>
            <a:xfrm>
              <a:off x="1955650" y="195254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2" name="Google Shape;4759;p64">
              <a:extLst>
                <a:ext uri="{FF2B5EF4-FFF2-40B4-BE49-F238E27FC236}">
                  <a16:creationId xmlns:a16="http://schemas.microsoft.com/office/drawing/2014/main" id="{E510D070-39B7-F327-4FBE-4EDCC2BE7843}"/>
                </a:ext>
              </a:extLst>
            </p:cNvPr>
            <p:cNvSpPr/>
            <p:nvPr/>
          </p:nvSpPr>
          <p:spPr>
            <a:xfrm>
              <a:off x="1958026" y="195258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3" name="Google Shape;4760;p64">
              <a:extLst>
                <a:ext uri="{FF2B5EF4-FFF2-40B4-BE49-F238E27FC236}">
                  <a16:creationId xmlns:a16="http://schemas.microsoft.com/office/drawing/2014/main" id="{DB117DE7-6866-B4E7-7D0E-896D47346DB4}"/>
                </a:ext>
              </a:extLst>
            </p:cNvPr>
            <p:cNvSpPr/>
            <p:nvPr/>
          </p:nvSpPr>
          <p:spPr>
            <a:xfrm>
              <a:off x="1958745" y="1952542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4" name="Google Shape;4761;p64">
              <a:extLst>
                <a:ext uri="{FF2B5EF4-FFF2-40B4-BE49-F238E27FC236}">
                  <a16:creationId xmlns:a16="http://schemas.microsoft.com/office/drawing/2014/main" id="{CB5EBD4E-D0AF-8061-1E53-BB92B19A317A}"/>
                </a:ext>
              </a:extLst>
            </p:cNvPr>
            <p:cNvSpPr/>
            <p:nvPr/>
          </p:nvSpPr>
          <p:spPr>
            <a:xfrm>
              <a:off x="1960972" y="1952202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5" name="Google Shape;4762;p64">
              <a:extLst>
                <a:ext uri="{FF2B5EF4-FFF2-40B4-BE49-F238E27FC236}">
                  <a16:creationId xmlns:a16="http://schemas.microsoft.com/office/drawing/2014/main" id="{2436659A-D73E-A14F-6995-90B1A09001F5}"/>
                </a:ext>
              </a:extLst>
            </p:cNvPr>
            <p:cNvSpPr/>
            <p:nvPr/>
          </p:nvSpPr>
          <p:spPr>
            <a:xfrm>
              <a:off x="1959451" y="1952487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6" name="Google Shape;4763;p64">
              <a:extLst>
                <a:ext uri="{FF2B5EF4-FFF2-40B4-BE49-F238E27FC236}">
                  <a16:creationId xmlns:a16="http://schemas.microsoft.com/office/drawing/2014/main" id="{656145AB-1CEB-3E9F-1C57-0B88346645FE}"/>
                </a:ext>
              </a:extLst>
            </p:cNvPr>
            <p:cNvSpPr/>
            <p:nvPr/>
          </p:nvSpPr>
          <p:spPr>
            <a:xfrm>
              <a:off x="1960171" y="1952392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7" name="Google Shape;4764;p64">
              <a:extLst>
                <a:ext uri="{FF2B5EF4-FFF2-40B4-BE49-F238E27FC236}">
                  <a16:creationId xmlns:a16="http://schemas.microsoft.com/office/drawing/2014/main" id="{67934B0A-70A4-D8C2-BE2C-9813572E77B1}"/>
                </a:ext>
              </a:extLst>
            </p:cNvPr>
            <p:cNvSpPr/>
            <p:nvPr/>
          </p:nvSpPr>
          <p:spPr>
            <a:xfrm>
              <a:off x="1961732" y="1952067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3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8" name="Google Shape;4765;p64">
              <a:extLst>
                <a:ext uri="{FF2B5EF4-FFF2-40B4-BE49-F238E27FC236}">
                  <a16:creationId xmlns:a16="http://schemas.microsoft.com/office/drawing/2014/main" id="{B4B8C2F5-5CE6-5007-8D9E-00E4D3B9C776}"/>
                </a:ext>
              </a:extLst>
            </p:cNvPr>
            <p:cNvSpPr/>
            <p:nvPr/>
          </p:nvSpPr>
          <p:spPr>
            <a:xfrm>
              <a:off x="1946865" y="1949351"/>
              <a:ext cx="190" cy="964"/>
            </a:xfrm>
            <a:custGeom>
              <a:avLst/>
              <a:gdLst/>
              <a:ahLst/>
              <a:cxnLst/>
              <a:rect l="l" t="t" r="r" b="b"/>
              <a:pathLst>
                <a:path w="14" h="71" extrusionOk="0">
                  <a:moveTo>
                    <a:pt x="14" y="1"/>
                  </a:moveTo>
                  <a:lnTo>
                    <a:pt x="14" y="3"/>
                  </a:lnTo>
                  <a:lnTo>
                    <a:pt x="14" y="3"/>
                  </a:lnTo>
                  <a:cubicBezTo>
                    <a:pt x="14" y="2"/>
                    <a:pt x="14" y="1"/>
                    <a:pt x="14" y="1"/>
                  </a:cubicBezTo>
                  <a:close/>
                  <a:moveTo>
                    <a:pt x="14" y="3"/>
                  </a:moveTo>
                  <a:lnTo>
                    <a:pt x="14" y="3"/>
                  </a:lnTo>
                  <a:cubicBezTo>
                    <a:pt x="13" y="8"/>
                    <a:pt x="11" y="12"/>
                    <a:pt x="11" y="18"/>
                  </a:cubicBezTo>
                  <a:lnTo>
                    <a:pt x="11" y="25"/>
                  </a:lnTo>
                  <a:cubicBezTo>
                    <a:pt x="7" y="39"/>
                    <a:pt x="4" y="53"/>
                    <a:pt x="0" y="64"/>
                  </a:cubicBezTo>
                  <a:lnTo>
                    <a:pt x="11" y="71"/>
                  </a:lnTo>
                  <a:lnTo>
                    <a:pt x="14" y="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9" name="Google Shape;4766;p64">
              <a:extLst>
                <a:ext uri="{FF2B5EF4-FFF2-40B4-BE49-F238E27FC236}">
                  <a16:creationId xmlns:a16="http://schemas.microsoft.com/office/drawing/2014/main" id="{3276E7A2-3B8F-96A9-2000-5CD12FAEEF7F}"/>
                </a:ext>
              </a:extLst>
            </p:cNvPr>
            <p:cNvSpPr/>
            <p:nvPr/>
          </p:nvSpPr>
          <p:spPr>
            <a:xfrm>
              <a:off x="1946756" y="19502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8" y="0"/>
                  </a:lnTo>
                  <a:cubicBezTo>
                    <a:pt x="5" y="4"/>
                    <a:pt x="1" y="11"/>
                    <a:pt x="1" y="14"/>
                  </a:cubicBezTo>
                  <a:cubicBezTo>
                    <a:pt x="5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0" name="Google Shape;4767;p64">
              <a:extLst>
                <a:ext uri="{FF2B5EF4-FFF2-40B4-BE49-F238E27FC236}">
                  <a16:creationId xmlns:a16="http://schemas.microsoft.com/office/drawing/2014/main" id="{027262E6-7151-AF4D-6DE8-7C5FC807AFCD}"/>
                </a:ext>
              </a:extLst>
            </p:cNvPr>
            <p:cNvSpPr/>
            <p:nvPr/>
          </p:nvSpPr>
          <p:spPr>
            <a:xfrm>
              <a:off x="1946281" y="195121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8" y="7"/>
                    <a:pt x="11" y="0"/>
                  </a:cubicBezTo>
                  <a:cubicBezTo>
                    <a:pt x="8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1" name="Google Shape;4768;p64">
              <a:extLst>
                <a:ext uri="{FF2B5EF4-FFF2-40B4-BE49-F238E27FC236}">
                  <a16:creationId xmlns:a16="http://schemas.microsoft.com/office/drawing/2014/main" id="{406571FF-8397-4296-E6B9-EFC1DC9AA177}"/>
                </a:ext>
              </a:extLst>
            </p:cNvPr>
            <p:cNvSpPr/>
            <p:nvPr/>
          </p:nvSpPr>
          <p:spPr>
            <a:xfrm>
              <a:off x="1936831" y="19606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2" name="Google Shape;4769;p64">
              <a:extLst>
                <a:ext uri="{FF2B5EF4-FFF2-40B4-BE49-F238E27FC236}">
                  <a16:creationId xmlns:a16="http://schemas.microsoft.com/office/drawing/2014/main" id="{9B6BFDC3-36CD-25C4-23F0-58973B7738D8}"/>
                </a:ext>
              </a:extLst>
            </p:cNvPr>
            <p:cNvSpPr/>
            <p:nvPr/>
          </p:nvSpPr>
          <p:spPr>
            <a:xfrm>
              <a:off x="1945521" y="19520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5"/>
                  </a:moveTo>
                  <a:cubicBezTo>
                    <a:pt x="8" y="8"/>
                    <a:pt x="11" y="4"/>
                    <a:pt x="18" y="1"/>
                  </a:cubicBezTo>
                  <a:cubicBezTo>
                    <a:pt x="11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3" name="Google Shape;4770;p64">
              <a:extLst>
                <a:ext uri="{FF2B5EF4-FFF2-40B4-BE49-F238E27FC236}">
                  <a16:creationId xmlns:a16="http://schemas.microsoft.com/office/drawing/2014/main" id="{5AD32655-9C60-0847-A799-99A3E7D6C818}"/>
                </a:ext>
              </a:extLst>
            </p:cNvPr>
            <p:cNvSpPr/>
            <p:nvPr/>
          </p:nvSpPr>
          <p:spPr>
            <a:xfrm>
              <a:off x="1944856" y="1952297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1" y="18"/>
                  </a:moveTo>
                  <a:cubicBezTo>
                    <a:pt x="15" y="15"/>
                    <a:pt x="25" y="8"/>
                    <a:pt x="36" y="1"/>
                  </a:cubicBezTo>
                  <a:cubicBezTo>
                    <a:pt x="25" y="8"/>
                    <a:pt x="15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4" name="Google Shape;4771;p64">
              <a:extLst>
                <a:ext uri="{FF2B5EF4-FFF2-40B4-BE49-F238E27FC236}">
                  <a16:creationId xmlns:a16="http://schemas.microsoft.com/office/drawing/2014/main" id="{16823AE6-1FAF-C9E5-F9C4-42B8D1A8E362}"/>
                </a:ext>
              </a:extLst>
            </p:cNvPr>
            <p:cNvSpPr/>
            <p:nvPr/>
          </p:nvSpPr>
          <p:spPr>
            <a:xfrm>
              <a:off x="1936967" y="1959616"/>
              <a:ext cx="1249" cy="964"/>
            </a:xfrm>
            <a:custGeom>
              <a:avLst/>
              <a:gdLst/>
              <a:ahLst/>
              <a:cxnLst/>
              <a:rect l="l" t="t" r="r" b="b"/>
              <a:pathLst>
                <a:path w="92" h="71" extrusionOk="0">
                  <a:moveTo>
                    <a:pt x="92" y="1"/>
                  </a:moveTo>
                  <a:cubicBezTo>
                    <a:pt x="60" y="25"/>
                    <a:pt x="29" y="50"/>
                    <a:pt x="1" y="71"/>
                  </a:cubicBezTo>
                  <a:cubicBezTo>
                    <a:pt x="29" y="50"/>
                    <a:pt x="60" y="29"/>
                    <a:pt x="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5" name="Google Shape;4772;p64">
              <a:extLst>
                <a:ext uri="{FF2B5EF4-FFF2-40B4-BE49-F238E27FC236}">
                  <a16:creationId xmlns:a16="http://schemas.microsoft.com/office/drawing/2014/main" id="{F146F362-F9DD-2F07-6D90-49B9AE904746}"/>
                </a:ext>
              </a:extLst>
            </p:cNvPr>
            <p:cNvSpPr/>
            <p:nvPr/>
          </p:nvSpPr>
          <p:spPr>
            <a:xfrm>
              <a:off x="1945955" y="19516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cubicBezTo>
                    <a:pt x="7" y="4"/>
                    <a:pt x="4" y="11"/>
                    <a:pt x="0" y="15"/>
                  </a:cubicBezTo>
                  <a:cubicBezTo>
                    <a:pt x="4" y="11"/>
                    <a:pt x="11" y="4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6" name="Google Shape;4773;p64">
              <a:extLst>
                <a:ext uri="{FF2B5EF4-FFF2-40B4-BE49-F238E27FC236}">
                  <a16:creationId xmlns:a16="http://schemas.microsoft.com/office/drawing/2014/main" id="{CD70D306-861D-A35A-18C2-EB61D3762473}"/>
                </a:ext>
              </a:extLst>
            </p:cNvPr>
            <p:cNvSpPr/>
            <p:nvPr/>
          </p:nvSpPr>
          <p:spPr>
            <a:xfrm>
              <a:off x="1946526" y="195073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7"/>
                    <a:pt x="4" y="11"/>
                    <a:pt x="0" y="18"/>
                  </a:cubicBezTo>
                  <a:cubicBezTo>
                    <a:pt x="4" y="11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7" name="Google Shape;4774;p64">
              <a:extLst>
                <a:ext uri="{FF2B5EF4-FFF2-40B4-BE49-F238E27FC236}">
                  <a16:creationId xmlns:a16="http://schemas.microsoft.com/office/drawing/2014/main" id="{75D4737A-A5FF-4047-C5AF-098857F492CB}"/>
                </a:ext>
              </a:extLst>
            </p:cNvPr>
            <p:cNvSpPr/>
            <p:nvPr/>
          </p:nvSpPr>
          <p:spPr>
            <a:xfrm>
              <a:off x="1946865" y="1950206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8" name="Google Shape;4775;p64">
              <a:extLst>
                <a:ext uri="{FF2B5EF4-FFF2-40B4-BE49-F238E27FC236}">
                  <a16:creationId xmlns:a16="http://schemas.microsoft.com/office/drawing/2014/main" id="{83255BB9-8FB1-8417-58E8-B5B1946536BD}"/>
                </a:ext>
              </a:extLst>
            </p:cNvPr>
            <p:cNvSpPr/>
            <p:nvPr/>
          </p:nvSpPr>
          <p:spPr>
            <a:xfrm>
              <a:off x="1946960" y="194959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9" name="Google Shape;4776;p64">
              <a:extLst>
                <a:ext uri="{FF2B5EF4-FFF2-40B4-BE49-F238E27FC236}">
                  <a16:creationId xmlns:a16="http://schemas.microsoft.com/office/drawing/2014/main" id="{4E826F50-88A6-941F-CBBC-749957E8FF13}"/>
                </a:ext>
              </a:extLst>
            </p:cNvPr>
            <p:cNvSpPr/>
            <p:nvPr/>
          </p:nvSpPr>
          <p:spPr>
            <a:xfrm>
              <a:off x="1987217" y="19732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0" name="Google Shape;4777;p64">
              <a:extLst>
                <a:ext uri="{FF2B5EF4-FFF2-40B4-BE49-F238E27FC236}">
                  <a16:creationId xmlns:a16="http://schemas.microsoft.com/office/drawing/2014/main" id="{7E642ECF-A63F-9CA8-2FED-362A0E4A0269}"/>
                </a:ext>
              </a:extLst>
            </p:cNvPr>
            <p:cNvSpPr/>
            <p:nvPr/>
          </p:nvSpPr>
          <p:spPr>
            <a:xfrm>
              <a:off x="1986498" y="196983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14"/>
                  </a:ln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1" name="Google Shape;4778;p64">
              <a:extLst>
                <a:ext uri="{FF2B5EF4-FFF2-40B4-BE49-F238E27FC236}">
                  <a16:creationId xmlns:a16="http://schemas.microsoft.com/office/drawing/2014/main" id="{BADFE1BB-A0DC-40CB-B692-A516EF038585}"/>
                </a:ext>
              </a:extLst>
            </p:cNvPr>
            <p:cNvSpPr/>
            <p:nvPr/>
          </p:nvSpPr>
          <p:spPr>
            <a:xfrm>
              <a:off x="1986783" y="197267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lnTo>
                    <a:pt x="2" y="3"/>
                  </a:lnTo>
                  <a:cubicBezTo>
                    <a:pt x="2" y="2"/>
                    <a:pt x="1" y="1"/>
                    <a:pt x="1" y="1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4" y="6"/>
                    <a:pt x="6" y="10"/>
                    <a:pt x="8" y="12"/>
                  </a:cubicBezTo>
                  <a:cubicBezTo>
                    <a:pt x="8" y="9"/>
                    <a:pt x="5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2" name="Google Shape;4779;p64">
              <a:extLst>
                <a:ext uri="{FF2B5EF4-FFF2-40B4-BE49-F238E27FC236}">
                  <a16:creationId xmlns:a16="http://schemas.microsoft.com/office/drawing/2014/main" id="{9B2FD3B5-96C3-00E2-9C14-CA28458AA6B2}"/>
                </a:ext>
              </a:extLst>
            </p:cNvPr>
            <p:cNvSpPr/>
            <p:nvPr/>
          </p:nvSpPr>
          <p:spPr>
            <a:xfrm>
              <a:off x="1986457" y="1970315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4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3" name="Google Shape;4780;p64">
              <a:extLst>
                <a:ext uri="{FF2B5EF4-FFF2-40B4-BE49-F238E27FC236}">
                  <a16:creationId xmlns:a16="http://schemas.microsoft.com/office/drawing/2014/main" id="{2421EEA8-E797-8FB7-CF03-B0B1F420D885}"/>
                </a:ext>
              </a:extLst>
            </p:cNvPr>
            <p:cNvSpPr/>
            <p:nvPr/>
          </p:nvSpPr>
          <p:spPr>
            <a:xfrm>
              <a:off x="1985547" y="1985236"/>
              <a:ext cx="1629" cy="1629"/>
            </a:xfrm>
            <a:custGeom>
              <a:avLst/>
              <a:gdLst/>
              <a:ahLst/>
              <a:cxnLst/>
              <a:rect l="l" t="t" r="r" b="b"/>
              <a:pathLst>
                <a:path w="120" h="120" extrusionOk="0">
                  <a:moveTo>
                    <a:pt x="64" y="60"/>
                  </a:moveTo>
                  <a:cubicBezTo>
                    <a:pt x="85" y="43"/>
                    <a:pt x="102" y="22"/>
                    <a:pt x="120" y="1"/>
                  </a:cubicBezTo>
                  <a:cubicBezTo>
                    <a:pt x="102" y="22"/>
                    <a:pt x="85" y="43"/>
                    <a:pt x="64" y="60"/>
                  </a:cubicBezTo>
                  <a:cubicBezTo>
                    <a:pt x="39" y="78"/>
                    <a:pt x="18" y="99"/>
                    <a:pt x="1" y="120"/>
                  </a:cubicBezTo>
                  <a:lnTo>
                    <a:pt x="1" y="120"/>
                  </a:lnTo>
                  <a:cubicBezTo>
                    <a:pt x="18" y="99"/>
                    <a:pt x="39" y="78"/>
                    <a:pt x="64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4" name="Google Shape;4781;p64">
              <a:extLst>
                <a:ext uri="{FF2B5EF4-FFF2-40B4-BE49-F238E27FC236}">
                  <a16:creationId xmlns:a16="http://schemas.microsoft.com/office/drawing/2014/main" id="{E8EFC40A-8BA6-84AC-DE2F-6601641E6AD9}"/>
                </a:ext>
              </a:extLst>
            </p:cNvPr>
            <p:cNvSpPr/>
            <p:nvPr/>
          </p:nvSpPr>
          <p:spPr>
            <a:xfrm>
              <a:off x="1986878" y="196778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5" name="Google Shape;4782;p64">
              <a:extLst>
                <a:ext uri="{FF2B5EF4-FFF2-40B4-BE49-F238E27FC236}">
                  <a16:creationId xmlns:a16="http://schemas.microsoft.com/office/drawing/2014/main" id="{9234B265-E7E2-3E30-6B81-5CA783AD1234}"/>
                </a:ext>
              </a:extLst>
            </p:cNvPr>
            <p:cNvSpPr/>
            <p:nvPr/>
          </p:nvSpPr>
          <p:spPr>
            <a:xfrm>
              <a:off x="1986742" y="196831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6" name="Google Shape;4783;p64">
              <a:extLst>
                <a:ext uri="{FF2B5EF4-FFF2-40B4-BE49-F238E27FC236}">
                  <a16:creationId xmlns:a16="http://schemas.microsoft.com/office/drawing/2014/main" id="{9EEB348F-3318-AF9D-A447-6F7057354F43}"/>
                </a:ext>
              </a:extLst>
            </p:cNvPr>
            <p:cNvSpPr/>
            <p:nvPr/>
          </p:nvSpPr>
          <p:spPr>
            <a:xfrm>
              <a:off x="1986457" y="197121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7" name="Google Shape;4784;p64">
              <a:extLst>
                <a:ext uri="{FF2B5EF4-FFF2-40B4-BE49-F238E27FC236}">
                  <a16:creationId xmlns:a16="http://schemas.microsoft.com/office/drawing/2014/main" id="{2CDD0E14-93C9-FFAB-793E-66865886D519}"/>
                </a:ext>
              </a:extLst>
            </p:cNvPr>
            <p:cNvSpPr/>
            <p:nvPr/>
          </p:nvSpPr>
          <p:spPr>
            <a:xfrm>
              <a:off x="1986688" y="19688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8" name="Google Shape;4785;p64">
              <a:extLst>
                <a:ext uri="{FF2B5EF4-FFF2-40B4-BE49-F238E27FC236}">
                  <a16:creationId xmlns:a16="http://schemas.microsoft.com/office/drawing/2014/main" id="{9F539153-A00C-04C0-DB1F-9E5ECB93FDAE}"/>
                </a:ext>
              </a:extLst>
            </p:cNvPr>
            <p:cNvSpPr/>
            <p:nvPr/>
          </p:nvSpPr>
          <p:spPr>
            <a:xfrm>
              <a:off x="1986457" y="197073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9" name="Google Shape;4786;p64">
              <a:extLst>
                <a:ext uri="{FF2B5EF4-FFF2-40B4-BE49-F238E27FC236}">
                  <a16:creationId xmlns:a16="http://schemas.microsoft.com/office/drawing/2014/main" id="{4C6725C7-ECD6-8E58-588B-E4920FC3ED02}"/>
                </a:ext>
              </a:extLst>
            </p:cNvPr>
            <p:cNvSpPr/>
            <p:nvPr/>
          </p:nvSpPr>
          <p:spPr>
            <a:xfrm>
              <a:off x="1986973" y="1967273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0" name="Google Shape;4787;p64">
              <a:extLst>
                <a:ext uri="{FF2B5EF4-FFF2-40B4-BE49-F238E27FC236}">
                  <a16:creationId xmlns:a16="http://schemas.microsoft.com/office/drawing/2014/main" id="{52904F84-91B9-2FCC-7DC4-FF750D08B92E}"/>
                </a:ext>
              </a:extLst>
            </p:cNvPr>
            <p:cNvSpPr/>
            <p:nvPr/>
          </p:nvSpPr>
          <p:spPr>
            <a:xfrm>
              <a:off x="1986959" y="1973017"/>
              <a:ext cx="122" cy="109"/>
            </a:xfrm>
            <a:custGeom>
              <a:avLst/>
              <a:gdLst/>
              <a:ahLst/>
              <a:cxnLst/>
              <a:rect l="l" t="t" r="r" b="b"/>
              <a:pathLst>
                <a:path w="9" h="8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4" y="2"/>
                    <a:pt x="7" y="4"/>
                  </a:cubicBezTo>
                  <a:lnTo>
                    <a:pt x="7" y="4"/>
                  </a:lnTo>
                  <a:cubicBezTo>
                    <a:pt x="4" y="2"/>
                    <a:pt x="2" y="0"/>
                    <a:pt x="1" y="0"/>
                  </a:cubicBezTo>
                  <a:close/>
                  <a:moveTo>
                    <a:pt x="7" y="4"/>
                  </a:moveTo>
                  <a:lnTo>
                    <a:pt x="7" y="4"/>
                  </a:lnTo>
                  <a:cubicBezTo>
                    <a:pt x="8" y="6"/>
                    <a:pt x="9" y="7"/>
                    <a:pt x="9" y="8"/>
                  </a:cubicBezTo>
                  <a:cubicBezTo>
                    <a:pt x="9" y="7"/>
                    <a:pt x="8" y="5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1" name="Google Shape;4788;p64">
              <a:extLst>
                <a:ext uri="{FF2B5EF4-FFF2-40B4-BE49-F238E27FC236}">
                  <a16:creationId xmlns:a16="http://schemas.microsoft.com/office/drawing/2014/main" id="{18D401AA-0517-704A-902C-7DB86A440700}"/>
                </a:ext>
              </a:extLst>
            </p:cNvPr>
            <p:cNvSpPr/>
            <p:nvPr/>
          </p:nvSpPr>
          <p:spPr>
            <a:xfrm>
              <a:off x="1986498" y="197159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2" name="Google Shape;4789;p64">
              <a:extLst>
                <a:ext uri="{FF2B5EF4-FFF2-40B4-BE49-F238E27FC236}">
                  <a16:creationId xmlns:a16="http://schemas.microsoft.com/office/drawing/2014/main" id="{378DA582-0DC1-CD71-3574-2108C528CC5C}"/>
                </a:ext>
              </a:extLst>
            </p:cNvPr>
            <p:cNvSpPr/>
            <p:nvPr/>
          </p:nvSpPr>
          <p:spPr>
            <a:xfrm>
              <a:off x="1986647" y="1972351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cubicBezTo>
                    <a:pt x="4" y="8"/>
                    <a:pt x="4" y="4"/>
                    <a:pt x="0" y="1"/>
                  </a:cubicBezTo>
                  <a:cubicBezTo>
                    <a:pt x="4" y="4"/>
                    <a:pt x="4" y="8"/>
                    <a:pt x="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3" name="Google Shape;4790;p64">
              <a:extLst>
                <a:ext uri="{FF2B5EF4-FFF2-40B4-BE49-F238E27FC236}">
                  <a16:creationId xmlns:a16="http://schemas.microsoft.com/office/drawing/2014/main" id="{5669D2C0-8D50-B962-605E-95F8F650CC12}"/>
                </a:ext>
              </a:extLst>
            </p:cNvPr>
            <p:cNvSpPr/>
            <p:nvPr/>
          </p:nvSpPr>
          <p:spPr>
            <a:xfrm>
              <a:off x="1986552" y="19719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8"/>
                    <a:pt x="4" y="11"/>
                    <a:pt x="4" y="15"/>
                  </a:cubicBezTo>
                  <a:cubicBezTo>
                    <a:pt x="4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4" name="Google Shape;4791;p64">
              <a:extLst>
                <a:ext uri="{FF2B5EF4-FFF2-40B4-BE49-F238E27FC236}">
                  <a16:creationId xmlns:a16="http://schemas.microsoft.com/office/drawing/2014/main" id="{8087CB35-54E1-E320-F1C7-B52B94C98309}"/>
                </a:ext>
              </a:extLst>
            </p:cNvPr>
            <p:cNvSpPr/>
            <p:nvPr/>
          </p:nvSpPr>
          <p:spPr>
            <a:xfrm>
              <a:off x="1986593" y="1969310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5" name="Google Shape;4792;p64">
              <a:extLst>
                <a:ext uri="{FF2B5EF4-FFF2-40B4-BE49-F238E27FC236}">
                  <a16:creationId xmlns:a16="http://schemas.microsoft.com/office/drawing/2014/main" id="{3D879EB8-995C-FD57-ED61-6E22A49AF215}"/>
                </a:ext>
              </a:extLst>
            </p:cNvPr>
            <p:cNvSpPr/>
            <p:nvPr/>
          </p:nvSpPr>
          <p:spPr>
            <a:xfrm>
              <a:off x="1963443" y="1981204"/>
              <a:ext cx="29110" cy="27820"/>
            </a:xfrm>
            <a:custGeom>
              <a:avLst/>
              <a:gdLst/>
              <a:ahLst/>
              <a:cxnLst/>
              <a:rect l="l" t="t" r="r" b="b"/>
              <a:pathLst>
                <a:path w="2144" h="2049" extrusionOk="0">
                  <a:moveTo>
                    <a:pt x="869" y="0"/>
                  </a:moveTo>
                  <a:lnTo>
                    <a:pt x="848" y="4"/>
                  </a:lnTo>
                  <a:lnTo>
                    <a:pt x="837" y="4"/>
                  </a:lnTo>
                  <a:lnTo>
                    <a:pt x="813" y="7"/>
                  </a:lnTo>
                  <a:lnTo>
                    <a:pt x="799" y="11"/>
                  </a:lnTo>
                  <a:lnTo>
                    <a:pt x="771" y="14"/>
                  </a:lnTo>
                  <a:lnTo>
                    <a:pt x="753" y="18"/>
                  </a:lnTo>
                  <a:lnTo>
                    <a:pt x="722" y="25"/>
                  </a:lnTo>
                  <a:lnTo>
                    <a:pt x="704" y="28"/>
                  </a:lnTo>
                  <a:lnTo>
                    <a:pt x="673" y="35"/>
                  </a:lnTo>
                  <a:lnTo>
                    <a:pt x="652" y="39"/>
                  </a:lnTo>
                  <a:lnTo>
                    <a:pt x="613" y="46"/>
                  </a:lnTo>
                  <a:lnTo>
                    <a:pt x="592" y="49"/>
                  </a:lnTo>
                  <a:lnTo>
                    <a:pt x="589" y="49"/>
                  </a:lnTo>
                  <a:lnTo>
                    <a:pt x="589" y="63"/>
                  </a:lnTo>
                  <a:lnTo>
                    <a:pt x="589" y="81"/>
                  </a:lnTo>
                  <a:cubicBezTo>
                    <a:pt x="589" y="84"/>
                    <a:pt x="589" y="95"/>
                    <a:pt x="585" y="102"/>
                  </a:cubicBezTo>
                  <a:cubicBezTo>
                    <a:pt x="585" y="109"/>
                    <a:pt x="585" y="112"/>
                    <a:pt x="585" y="116"/>
                  </a:cubicBezTo>
                  <a:cubicBezTo>
                    <a:pt x="582" y="123"/>
                    <a:pt x="582" y="133"/>
                    <a:pt x="578" y="140"/>
                  </a:cubicBezTo>
                  <a:lnTo>
                    <a:pt x="575" y="151"/>
                  </a:lnTo>
                  <a:cubicBezTo>
                    <a:pt x="571" y="168"/>
                    <a:pt x="564" y="189"/>
                    <a:pt x="557" y="207"/>
                  </a:cubicBezTo>
                  <a:cubicBezTo>
                    <a:pt x="550" y="224"/>
                    <a:pt x="540" y="256"/>
                    <a:pt x="536" y="277"/>
                  </a:cubicBezTo>
                  <a:cubicBezTo>
                    <a:pt x="536" y="280"/>
                    <a:pt x="533" y="284"/>
                    <a:pt x="533" y="291"/>
                  </a:cubicBezTo>
                  <a:cubicBezTo>
                    <a:pt x="529" y="301"/>
                    <a:pt x="526" y="312"/>
                    <a:pt x="519" y="326"/>
                  </a:cubicBezTo>
                  <a:cubicBezTo>
                    <a:pt x="484" y="396"/>
                    <a:pt x="396" y="466"/>
                    <a:pt x="270" y="553"/>
                  </a:cubicBezTo>
                  <a:lnTo>
                    <a:pt x="207" y="595"/>
                  </a:lnTo>
                  <a:cubicBezTo>
                    <a:pt x="155" y="630"/>
                    <a:pt x="106" y="662"/>
                    <a:pt x="74" y="690"/>
                  </a:cubicBezTo>
                  <a:lnTo>
                    <a:pt x="71" y="693"/>
                  </a:lnTo>
                  <a:lnTo>
                    <a:pt x="67" y="697"/>
                  </a:lnTo>
                  <a:lnTo>
                    <a:pt x="64" y="700"/>
                  </a:lnTo>
                  <a:lnTo>
                    <a:pt x="60" y="707"/>
                  </a:lnTo>
                  <a:lnTo>
                    <a:pt x="53" y="711"/>
                  </a:lnTo>
                  <a:lnTo>
                    <a:pt x="46" y="721"/>
                  </a:lnTo>
                  <a:lnTo>
                    <a:pt x="43" y="728"/>
                  </a:lnTo>
                  <a:lnTo>
                    <a:pt x="32" y="742"/>
                  </a:lnTo>
                  <a:lnTo>
                    <a:pt x="29" y="746"/>
                  </a:lnTo>
                  <a:lnTo>
                    <a:pt x="15" y="774"/>
                  </a:lnTo>
                  <a:lnTo>
                    <a:pt x="8" y="781"/>
                  </a:lnTo>
                  <a:lnTo>
                    <a:pt x="1" y="798"/>
                  </a:lnTo>
                  <a:cubicBezTo>
                    <a:pt x="218" y="935"/>
                    <a:pt x="459" y="1092"/>
                    <a:pt x="662" y="1243"/>
                  </a:cubicBezTo>
                  <a:cubicBezTo>
                    <a:pt x="1076" y="1554"/>
                    <a:pt x="1660" y="1936"/>
                    <a:pt x="1923" y="2034"/>
                  </a:cubicBezTo>
                  <a:cubicBezTo>
                    <a:pt x="1940" y="2041"/>
                    <a:pt x="1961" y="2045"/>
                    <a:pt x="1982" y="2048"/>
                  </a:cubicBezTo>
                  <a:lnTo>
                    <a:pt x="1982" y="2045"/>
                  </a:lnTo>
                  <a:lnTo>
                    <a:pt x="1986" y="2027"/>
                  </a:lnTo>
                  <a:cubicBezTo>
                    <a:pt x="1989" y="2017"/>
                    <a:pt x="1993" y="2006"/>
                    <a:pt x="1996" y="1996"/>
                  </a:cubicBezTo>
                  <a:lnTo>
                    <a:pt x="2000" y="1975"/>
                  </a:lnTo>
                  <a:lnTo>
                    <a:pt x="2010" y="1950"/>
                  </a:lnTo>
                  <a:lnTo>
                    <a:pt x="2014" y="1933"/>
                  </a:lnTo>
                  <a:lnTo>
                    <a:pt x="2021" y="1908"/>
                  </a:lnTo>
                  <a:lnTo>
                    <a:pt x="2028" y="1891"/>
                  </a:lnTo>
                  <a:lnTo>
                    <a:pt x="2035" y="1870"/>
                  </a:lnTo>
                  <a:lnTo>
                    <a:pt x="2042" y="1856"/>
                  </a:lnTo>
                  <a:lnTo>
                    <a:pt x="2049" y="1838"/>
                  </a:lnTo>
                  <a:lnTo>
                    <a:pt x="2052" y="1824"/>
                  </a:lnTo>
                  <a:lnTo>
                    <a:pt x="2063" y="1807"/>
                  </a:lnTo>
                  <a:lnTo>
                    <a:pt x="2066" y="1796"/>
                  </a:lnTo>
                  <a:lnTo>
                    <a:pt x="2077" y="1772"/>
                  </a:lnTo>
                  <a:cubicBezTo>
                    <a:pt x="2101" y="1716"/>
                    <a:pt x="2122" y="1659"/>
                    <a:pt x="2129" y="1600"/>
                  </a:cubicBezTo>
                  <a:cubicBezTo>
                    <a:pt x="2143" y="1491"/>
                    <a:pt x="1972" y="1393"/>
                    <a:pt x="1835" y="1313"/>
                  </a:cubicBezTo>
                  <a:cubicBezTo>
                    <a:pt x="1800" y="1292"/>
                    <a:pt x="1765" y="1271"/>
                    <a:pt x="1734" y="1250"/>
                  </a:cubicBezTo>
                  <a:cubicBezTo>
                    <a:pt x="1699" y="1225"/>
                    <a:pt x="1664" y="1208"/>
                    <a:pt x="1636" y="1194"/>
                  </a:cubicBezTo>
                  <a:lnTo>
                    <a:pt x="1608" y="1176"/>
                  </a:lnTo>
                  <a:cubicBezTo>
                    <a:pt x="1548" y="1145"/>
                    <a:pt x="1503" y="1124"/>
                    <a:pt x="1496" y="1071"/>
                  </a:cubicBezTo>
                  <a:cubicBezTo>
                    <a:pt x="1496" y="1033"/>
                    <a:pt x="1513" y="994"/>
                    <a:pt x="1545" y="973"/>
                  </a:cubicBezTo>
                  <a:cubicBezTo>
                    <a:pt x="1594" y="935"/>
                    <a:pt x="1608" y="823"/>
                    <a:pt x="1583" y="644"/>
                  </a:cubicBezTo>
                  <a:cubicBezTo>
                    <a:pt x="1580" y="609"/>
                    <a:pt x="1580" y="571"/>
                    <a:pt x="1583" y="536"/>
                  </a:cubicBezTo>
                  <a:lnTo>
                    <a:pt x="1559" y="529"/>
                  </a:lnTo>
                  <a:lnTo>
                    <a:pt x="1552" y="522"/>
                  </a:lnTo>
                  <a:lnTo>
                    <a:pt x="1538" y="515"/>
                  </a:lnTo>
                  <a:lnTo>
                    <a:pt x="1531" y="508"/>
                  </a:lnTo>
                  <a:lnTo>
                    <a:pt x="1520" y="497"/>
                  </a:lnTo>
                  <a:lnTo>
                    <a:pt x="1513" y="490"/>
                  </a:lnTo>
                  <a:cubicBezTo>
                    <a:pt x="1510" y="487"/>
                    <a:pt x="1503" y="480"/>
                    <a:pt x="1499" y="473"/>
                  </a:cubicBezTo>
                  <a:cubicBezTo>
                    <a:pt x="1461" y="522"/>
                    <a:pt x="1422" y="571"/>
                    <a:pt x="1387" y="623"/>
                  </a:cubicBezTo>
                  <a:lnTo>
                    <a:pt x="1384" y="627"/>
                  </a:lnTo>
                  <a:cubicBezTo>
                    <a:pt x="1377" y="634"/>
                    <a:pt x="1370" y="644"/>
                    <a:pt x="1359" y="655"/>
                  </a:cubicBezTo>
                  <a:lnTo>
                    <a:pt x="1352" y="662"/>
                  </a:lnTo>
                  <a:cubicBezTo>
                    <a:pt x="1345" y="665"/>
                    <a:pt x="1338" y="672"/>
                    <a:pt x="1328" y="676"/>
                  </a:cubicBezTo>
                  <a:lnTo>
                    <a:pt x="1321" y="683"/>
                  </a:lnTo>
                  <a:cubicBezTo>
                    <a:pt x="1310" y="686"/>
                    <a:pt x="1300" y="690"/>
                    <a:pt x="1289" y="693"/>
                  </a:cubicBezTo>
                  <a:lnTo>
                    <a:pt x="1279" y="693"/>
                  </a:lnTo>
                  <a:cubicBezTo>
                    <a:pt x="1272" y="693"/>
                    <a:pt x="1261" y="697"/>
                    <a:pt x="1254" y="697"/>
                  </a:cubicBezTo>
                  <a:lnTo>
                    <a:pt x="1205" y="697"/>
                  </a:lnTo>
                  <a:cubicBezTo>
                    <a:pt x="1195" y="693"/>
                    <a:pt x="1184" y="690"/>
                    <a:pt x="1174" y="686"/>
                  </a:cubicBezTo>
                  <a:cubicBezTo>
                    <a:pt x="1058" y="637"/>
                    <a:pt x="988" y="515"/>
                    <a:pt x="1002" y="389"/>
                  </a:cubicBezTo>
                  <a:cubicBezTo>
                    <a:pt x="1009" y="252"/>
                    <a:pt x="974" y="116"/>
                    <a:pt x="9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6" name="Google Shape;4793;p64">
              <a:extLst>
                <a:ext uri="{FF2B5EF4-FFF2-40B4-BE49-F238E27FC236}">
                  <a16:creationId xmlns:a16="http://schemas.microsoft.com/office/drawing/2014/main" id="{5EDC42AA-0ABE-9B2C-81B9-00D0B2AE439F}"/>
                </a:ext>
              </a:extLst>
            </p:cNvPr>
            <p:cNvSpPr/>
            <p:nvPr/>
          </p:nvSpPr>
          <p:spPr>
            <a:xfrm>
              <a:off x="1984787" y="1988522"/>
              <a:ext cx="68" cy="1534"/>
            </a:xfrm>
            <a:custGeom>
              <a:avLst/>
              <a:gdLst/>
              <a:ahLst/>
              <a:cxnLst/>
              <a:rect l="l" t="t" r="r" b="b"/>
              <a:pathLst>
                <a:path w="5" h="113" extrusionOk="0">
                  <a:moveTo>
                    <a:pt x="4" y="112"/>
                  </a:moveTo>
                  <a:cubicBezTo>
                    <a:pt x="1" y="74"/>
                    <a:pt x="1" y="35"/>
                    <a:pt x="4" y="0"/>
                  </a:cubicBezTo>
                  <a:lnTo>
                    <a:pt x="4" y="0"/>
                  </a:lnTo>
                  <a:cubicBezTo>
                    <a:pt x="1" y="35"/>
                    <a:pt x="1" y="74"/>
                    <a:pt x="4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7" name="Google Shape;4794;p64">
              <a:extLst>
                <a:ext uri="{FF2B5EF4-FFF2-40B4-BE49-F238E27FC236}">
                  <a16:creationId xmlns:a16="http://schemas.microsoft.com/office/drawing/2014/main" id="{41294949-67E8-6953-EDA3-20046ADDB2C8}"/>
                </a:ext>
              </a:extLst>
            </p:cNvPr>
            <p:cNvSpPr/>
            <p:nvPr/>
          </p:nvSpPr>
          <p:spPr>
            <a:xfrm>
              <a:off x="1991345" y="20056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8" name="Google Shape;4795;p64">
              <a:extLst>
                <a:ext uri="{FF2B5EF4-FFF2-40B4-BE49-F238E27FC236}">
                  <a16:creationId xmlns:a16="http://schemas.microsoft.com/office/drawing/2014/main" id="{937FB4EF-F975-DB55-4C0A-D52C487BE405}"/>
                </a:ext>
              </a:extLst>
            </p:cNvPr>
            <p:cNvSpPr/>
            <p:nvPr/>
          </p:nvSpPr>
          <p:spPr>
            <a:xfrm>
              <a:off x="1990259" y="200876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9" name="Google Shape;4796;p64">
              <a:extLst>
                <a:ext uri="{FF2B5EF4-FFF2-40B4-BE49-F238E27FC236}">
                  <a16:creationId xmlns:a16="http://schemas.microsoft.com/office/drawing/2014/main" id="{853B6AF3-0709-25CC-4E17-4902B2CF06A6}"/>
                </a:ext>
              </a:extLst>
            </p:cNvPr>
            <p:cNvSpPr/>
            <p:nvPr/>
          </p:nvSpPr>
          <p:spPr>
            <a:xfrm>
              <a:off x="1990639" y="2007490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0" name="Google Shape;4797;p64">
              <a:extLst>
                <a:ext uri="{FF2B5EF4-FFF2-40B4-BE49-F238E27FC236}">
                  <a16:creationId xmlns:a16="http://schemas.microsoft.com/office/drawing/2014/main" id="{6C269AA9-CD5C-8C88-528E-3536C8FD445F}"/>
                </a:ext>
              </a:extLst>
            </p:cNvPr>
            <p:cNvSpPr/>
            <p:nvPr/>
          </p:nvSpPr>
          <p:spPr>
            <a:xfrm>
              <a:off x="1991155" y="200606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1" name="Google Shape;4798;p64">
              <a:extLst>
                <a:ext uri="{FF2B5EF4-FFF2-40B4-BE49-F238E27FC236}">
                  <a16:creationId xmlns:a16="http://schemas.microsoft.com/office/drawing/2014/main" id="{E6576C7F-A14D-E37C-0357-074D1D9C8BA6}"/>
                </a:ext>
              </a:extLst>
            </p:cNvPr>
            <p:cNvSpPr/>
            <p:nvPr/>
          </p:nvSpPr>
          <p:spPr>
            <a:xfrm>
              <a:off x="1990449" y="20081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2" name="Google Shape;4799;p64">
              <a:extLst>
                <a:ext uri="{FF2B5EF4-FFF2-40B4-BE49-F238E27FC236}">
                  <a16:creationId xmlns:a16="http://schemas.microsoft.com/office/drawing/2014/main" id="{324A29A8-2A67-80E7-82B6-BE9FC36390A5}"/>
                </a:ext>
              </a:extLst>
            </p:cNvPr>
            <p:cNvSpPr/>
            <p:nvPr/>
          </p:nvSpPr>
          <p:spPr>
            <a:xfrm>
              <a:off x="1990965" y="200648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3" name="Google Shape;4800;p64">
              <a:extLst>
                <a:ext uri="{FF2B5EF4-FFF2-40B4-BE49-F238E27FC236}">
                  <a16:creationId xmlns:a16="http://schemas.microsoft.com/office/drawing/2014/main" id="{4C6BCDF2-920F-441D-8332-130089FAC7E3}"/>
                </a:ext>
              </a:extLst>
            </p:cNvPr>
            <p:cNvSpPr/>
            <p:nvPr/>
          </p:nvSpPr>
          <p:spPr>
            <a:xfrm>
              <a:off x="1990775" y="2006960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4" name="Google Shape;4801;p64">
              <a:extLst>
                <a:ext uri="{FF2B5EF4-FFF2-40B4-BE49-F238E27FC236}">
                  <a16:creationId xmlns:a16="http://schemas.microsoft.com/office/drawing/2014/main" id="{9E5D94D7-135A-AB8F-8A46-87E59808298E}"/>
                </a:ext>
              </a:extLst>
            </p:cNvPr>
            <p:cNvSpPr/>
            <p:nvPr/>
          </p:nvSpPr>
          <p:spPr>
            <a:xfrm>
              <a:off x="1985547" y="1997456"/>
              <a:ext cx="1344" cy="774"/>
            </a:xfrm>
            <a:custGeom>
              <a:avLst/>
              <a:gdLst/>
              <a:ahLst/>
              <a:cxnLst/>
              <a:rect l="l" t="t" r="r" b="b"/>
              <a:pathLst>
                <a:path w="99" h="57" extrusionOk="0">
                  <a:moveTo>
                    <a:pt x="99" y="56"/>
                  </a:moveTo>
                  <a:cubicBezTo>
                    <a:pt x="64" y="32"/>
                    <a:pt x="29" y="14"/>
                    <a:pt x="1" y="0"/>
                  </a:cubicBezTo>
                  <a:cubicBezTo>
                    <a:pt x="29" y="14"/>
                    <a:pt x="64" y="32"/>
                    <a:pt x="99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5" name="Google Shape;4802;p64">
              <a:extLst>
                <a:ext uri="{FF2B5EF4-FFF2-40B4-BE49-F238E27FC236}">
                  <a16:creationId xmlns:a16="http://schemas.microsoft.com/office/drawing/2014/main" id="{35DC64DD-93C9-800A-A7C9-8E9801A3B9B4}"/>
                </a:ext>
              </a:extLst>
            </p:cNvPr>
            <p:cNvSpPr/>
            <p:nvPr/>
          </p:nvSpPr>
          <p:spPr>
            <a:xfrm>
              <a:off x="198079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6" name="Google Shape;4803;p64">
              <a:extLst>
                <a:ext uri="{FF2B5EF4-FFF2-40B4-BE49-F238E27FC236}">
                  <a16:creationId xmlns:a16="http://schemas.microsoft.com/office/drawing/2014/main" id="{46CA60A5-3801-6E45-2088-3A56B9875A78}"/>
                </a:ext>
              </a:extLst>
            </p:cNvPr>
            <p:cNvSpPr/>
            <p:nvPr/>
          </p:nvSpPr>
          <p:spPr>
            <a:xfrm>
              <a:off x="1979845" y="199065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7" name="Google Shape;4804;p64">
              <a:extLst>
                <a:ext uri="{FF2B5EF4-FFF2-40B4-BE49-F238E27FC236}">
                  <a16:creationId xmlns:a16="http://schemas.microsoft.com/office/drawing/2014/main" id="{0F8AB816-4859-84AB-E23F-8EEBF2A828EE}"/>
                </a:ext>
              </a:extLst>
            </p:cNvPr>
            <p:cNvSpPr/>
            <p:nvPr/>
          </p:nvSpPr>
          <p:spPr>
            <a:xfrm>
              <a:off x="1971481" y="19819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8" name="Google Shape;4805;p64">
              <a:extLst>
                <a:ext uri="{FF2B5EF4-FFF2-40B4-BE49-F238E27FC236}">
                  <a16:creationId xmlns:a16="http://schemas.microsoft.com/office/drawing/2014/main" id="{71EC1548-9616-9C5D-A0E8-5E7B84733C86}"/>
                </a:ext>
              </a:extLst>
            </p:cNvPr>
            <p:cNvSpPr/>
            <p:nvPr/>
          </p:nvSpPr>
          <p:spPr>
            <a:xfrm>
              <a:off x="1983796" y="1987612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9" name="Google Shape;4806;p64">
              <a:extLst>
                <a:ext uri="{FF2B5EF4-FFF2-40B4-BE49-F238E27FC236}">
                  <a16:creationId xmlns:a16="http://schemas.microsoft.com/office/drawing/2014/main" id="{C66CA9C6-4A87-02E8-C140-2A869AA6DF85}"/>
                </a:ext>
              </a:extLst>
            </p:cNvPr>
            <p:cNvSpPr/>
            <p:nvPr/>
          </p:nvSpPr>
          <p:spPr>
            <a:xfrm>
              <a:off x="1981800" y="199008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0" name="Google Shape;4807;p64">
              <a:extLst>
                <a:ext uri="{FF2B5EF4-FFF2-40B4-BE49-F238E27FC236}">
                  <a16:creationId xmlns:a16="http://schemas.microsoft.com/office/drawing/2014/main" id="{69822CF0-D602-04C0-A463-DBDD457D5B4B}"/>
                </a:ext>
              </a:extLst>
            </p:cNvPr>
            <p:cNvSpPr/>
            <p:nvPr/>
          </p:nvSpPr>
          <p:spPr>
            <a:xfrm>
              <a:off x="1974468" y="198129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1" name="Google Shape;4808;p64">
              <a:extLst>
                <a:ext uri="{FF2B5EF4-FFF2-40B4-BE49-F238E27FC236}">
                  <a16:creationId xmlns:a16="http://schemas.microsoft.com/office/drawing/2014/main" id="{DA7D80CD-A55E-290E-EAA7-2EFF90858247}"/>
                </a:ext>
              </a:extLst>
            </p:cNvPr>
            <p:cNvSpPr/>
            <p:nvPr/>
          </p:nvSpPr>
          <p:spPr>
            <a:xfrm>
              <a:off x="1972567" y="1981584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7"/>
                  </a:move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2" name="Google Shape;4809;p64">
              <a:extLst>
                <a:ext uri="{FF2B5EF4-FFF2-40B4-BE49-F238E27FC236}">
                  <a16:creationId xmlns:a16="http://schemas.microsoft.com/office/drawing/2014/main" id="{CBDDF3A1-5120-12A1-C4A9-085B7C7F6305}"/>
                </a:ext>
              </a:extLst>
            </p:cNvPr>
            <p:cNvSpPr/>
            <p:nvPr/>
          </p:nvSpPr>
          <p:spPr>
            <a:xfrm>
              <a:off x="1984597" y="1988373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3" name="Google Shape;4810;p64">
              <a:extLst>
                <a:ext uri="{FF2B5EF4-FFF2-40B4-BE49-F238E27FC236}">
                  <a16:creationId xmlns:a16="http://schemas.microsoft.com/office/drawing/2014/main" id="{321E639A-F9E4-4000-F5CC-0DC41277E6D1}"/>
                </a:ext>
              </a:extLst>
            </p:cNvPr>
            <p:cNvSpPr/>
            <p:nvPr/>
          </p:nvSpPr>
          <p:spPr>
            <a:xfrm>
              <a:off x="1980374" y="19907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4" name="Google Shape;4811;p64">
              <a:extLst>
                <a:ext uri="{FF2B5EF4-FFF2-40B4-BE49-F238E27FC236}">
                  <a16:creationId xmlns:a16="http://schemas.microsoft.com/office/drawing/2014/main" id="{0F9E4133-321F-03C4-09C5-F8BE804959ED}"/>
                </a:ext>
              </a:extLst>
            </p:cNvPr>
            <p:cNvSpPr/>
            <p:nvPr/>
          </p:nvSpPr>
          <p:spPr>
            <a:xfrm>
              <a:off x="1984081" y="198795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5" name="Google Shape;4812;p64">
              <a:extLst>
                <a:ext uri="{FF2B5EF4-FFF2-40B4-BE49-F238E27FC236}">
                  <a16:creationId xmlns:a16="http://schemas.microsoft.com/office/drawing/2014/main" id="{73AA77C6-7F23-38E9-0DD2-758A4E861258}"/>
                </a:ext>
              </a:extLst>
            </p:cNvPr>
            <p:cNvSpPr/>
            <p:nvPr/>
          </p:nvSpPr>
          <p:spPr>
            <a:xfrm>
              <a:off x="1984312" y="198818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6" name="Google Shape;4813;p64">
              <a:extLst>
                <a:ext uri="{FF2B5EF4-FFF2-40B4-BE49-F238E27FC236}">
                  <a16:creationId xmlns:a16="http://schemas.microsoft.com/office/drawing/2014/main" id="{1F4AF002-A92C-33EB-4AE5-DB7B24930B06}"/>
                </a:ext>
              </a:extLst>
            </p:cNvPr>
            <p:cNvSpPr/>
            <p:nvPr/>
          </p:nvSpPr>
          <p:spPr>
            <a:xfrm>
              <a:off x="1981366" y="199036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7" name="Google Shape;4814;p64">
              <a:extLst>
                <a:ext uri="{FF2B5EF4-FFF2-40B4-BE49-F238E27FC236}">
                  <a16:creationId xmlns:a16="http://schemas.microsoft.com/office/drawing/2014/main" id="{C533FC9D-4F2F-61E2-77FF-247EFE192171}"/>
                </a:ext>
              </a:extLst>
            </p:cNvPr>
            <p:cNvSpPr/>
            <p:nvPr/>
          </p:nvSpPr>
          <p:spPr>
            <a:xfrm>
              <a:off x="1973898" y="1981340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8" name="Google Shape;4815;p64">
              <a:extLst>
                <a:ext uri="{FF2B5EF4-FFF2-40B4-BE49-F238E27FC236}">
                  <a16:creationId xmlns:a16="http://schemas.microsoft.com/office/drawing/2014/main" id="{D6B1316A-86CB-EE0D-15A1-0B205CA8B21C}"/>
                </a:ext>
              </a:extLst>
            </p:cNvPr>
            <p:cNvSpPr/>
            <p:nvPr/>
          </p:nvSpPr>
          <p:spPr>
            <a:xfrm>
              <a:off x="1973233" y="1981435"/>
              <a:ext cx="448" cy="109"/>
            </a:xfrm>
            <a:custGeom>
              <a:avLst/>
              <a:gdLst/>
              <a:ahLst/>
              <a:cxnLst/>
              <a:rect l="l" t="t" r="r" b="b"/>
              <a:pathLst>
                <a:path w="33" h="8" extrusionOk="0">
                  <a:moveTo>
                    <a:pt x="1" y="8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9" name="Google Shape;4816;p64">
              <a:extLst>
                <a:ext uri="{FF2B5EF4-FFF2-40B4-BE49-F238E27FC236}">
                  <a16:creationId xmlns:a16="http://schemas.microsoft.com/office/drawing/2014/main" id="{2DE481F3-E47C-595E-0474-4B8F95B37BCF}"/>
                </a:ext>
              </a:extLst>
            </p:cNvPr>
            <p:cNvSpPr/>
            <p:nvPr/>
          </p:nvSpPr>
          <p:spPr>
            <a:xfrm>
              <a:off x="1971766" y="1981720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0" y="8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0" name="Google Shape;4817;p64">
              <a:extLst>
                <a:ext uri="{FF2B5EF4-FFF2-40B4-BE49-F238E27FC236}">
                  <a16:creationId xmlns:a16="http://schemas.microsoft.com/office/drawing/2014/main" id="{6D940ADB-A7CF-C65F-3B63-54975F10CA52}"/>
                </a:ext>
              </a:extLst>
            </p:cNvPr>
            <p:cNvSpPr/>
            <p:nvPr/>
          </p:nvSpPr>
          <p:spPr>
            <a:xfrm>
              <a:off x="1975378" y="1981150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1" name="Google Shape;4818;p64">
              <a:extLst>
                <a:ext uri="{FF2B5EF4-FFF2-40B4-BE49-F238E27FC236}">
                  <a16:creationId xmlns:a16="http://schemas.microsoft.com/office/drawing/2014/main" id="{BE3B8869-D53C-7EDC-5514-9330CB21AE0A}"/>
                </a:ext>
              </a:extLst>
            </p:cNvPr>
            <p:cNvSpPr/>
            <p:nvPr/>
          </p:nvSpPr>
          <p:spPr>
            <a:xfrm>
              <a:off x="1974943" y="198120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1" y="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2" name="Google Shape;4819;p64">
              <a:extLst>
                <a:ext uri="{FF2B5EF4-FFF2-40B4-BE49-F238E27FC236}">
                  <a16:creationId xmlns:a16="http://schemas.microsoft.com/office/drawing/2014/main" id="{7E1B28D4-68F9-ED77-6AF2-3FA9AD94FDA0}"/>
                </a:ext>
              </a:extLst>
            </p:cNvPr>
            <p:cNvSpPr/>
            <p:nvPr/>
          </p:nvSpPr>
          <p:spPr>
            <a:xfrm>
              <a:off x="1950327" y="1969744"/>
              <a:ext cx="19362" cy="21398"/>
            </a:xfrm>
            <a:custGeom>
              <a:avLst/>
              <a:gdLst/>
              <a:ahLst/>
              <a:cxnLst/>
              <a:rect l="l" t="t" r="r" b="b"/>
              <a:pathLst>
                <a:path w="1426" h="1576" extrusionOk="0">
                  <a:moveTo>
                    <a:pt x="960" y="0"/>
                  </a:moveTo>
                  <a:cubicBezTo>
                    <a:pt x="907" y="4"/>
                    <a:pt x="855" y="18"/>
                    <a:pt x="806" y="39"/>
                  </a:cubicBezTo>
                  <a:cubicBezTo>
                    <a:pt x="740" y="61"/>
                    <a:pt x="667" y="87"/>
                    <a:pt x="595" y="87"/>
                  </a:cubicBezTo>
                  <a:cubicBezTo>
                    <a:pt x="575" y="87"/>
                    <a:pt x="556" y="85"/>
                    <a:pt x="536" y="81"/>
                  </a:cubicBezTo>
                  <a:cubicBezTo>
                    <a:pt x="515" y="77"/>
                    <a:pt x="491" y="74"/>
                    <a:pt x="473" y="70"/>
                  </a:cubicBezTo>
                  <a:cubicBezTo>
                    <a:pt x="444" y="62"/>
                    <a:pt x="413" y="55"/>
                    <a:pt x="384" y="55"/>
                  </a:cubicBezTo>
                  <a:cubicBezTo>
                    <a:pt x="377" y="55"/>
                    <a:pt x="371" y="56"/>
                    <a:pt x="365" y="56"/>
                  </a:cubicBezTo>
                  <a:cubicBezTo>
                    <a:pt x="361" y="63"/>
                    <a:pt x="358" y="74"/>
                    <a:pt x="358" y="84"/>
                  </a:cubicBezTo>
                  <a:cubicBezTo>
                    <a:pt x="358" y="91"/>
                    <a:pt x="358" y="95"/>
                    <a:pt x="354" y="102"/>
                  </a:cubicBezTo>
                  <a:lnTo>
                    <a:pt x="354" y="105"/>
                  </a:lnTo>
                  <a:cubicBezTo>
                    <a:pt x="354" y="112"/>
                    <a:pt x="354" y="116"/>
                    <a:pt x="351" y="119"/>
                  </a:cubicBezTo>
                  <a:lnTo>
                    <a:pt x="347" y="126"/>
                  </a:lnTo>
                  <a:lnTo>
                    <a:pt x="344" y="137"/>
                  </a:lnTo>
                  <a:lnTo>
                    <a:pt x="340" y="147"/>
                  </a:lnTo>
                  <a:lnTo>
                    <a:pt x="333" y="158"/>
                  </a:lnTo>
                  <a:lnTo>
                    <a:pt x="326" y="168"/>
                  </a:lnTo>
                  <a:lnTo>
                    <a:pt x="323" y="179"/>
                  </a:lnTo>
                  <a:lnTo>
                    <a:pt x="312" y="189"/>
                  </a:lnTo>
                  <a:lnTo>
                    <a:pt x="305" y="200"/>
                  </a:lnTo>
                  <a:lnTo>
                    <a:pt x="295" y="214"/>
                  </a:lnTo>
                  <a:lnTo>
                    <a:pt x="288" y="224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3" y="263"/>
                  </a:lnTo>
                  <a:lnTo>
                    <a:pt x="242" y="277"/>
                  </a:lnTo>
                  <a:lnTo>
                    <a:pt x="228" y="291"/>
                  </a:lnTo>
                  <a:lnTo>
                    <a:pt x="214" y="308"/>
                  </a:lnTo>
                  <a:lnTo>
                    <a:pt x="200" y="322"/>
                  </a:lnTo>
                  <a:lnTo>
                    <a:pt x="183" y="340"/>
                  </a:lnTo>
                  <a:lnTo>
                    <a:pt x="169" y="354"/>
                  </a:lnTo>
                  <a:lnTo>
                    <a:pt x="148" y="371"/>
                  </a:lnTo>
                  <a:lnTo>
                    <a:pt x="134" y="385"/>
                  </a:lnTo>
                  <a:lnTo>
                    <a:pt x="109" y="406"/>
                  </a:lnTo>
                  <a:lnTo>
                    <a:pt x="95" y="420"/>
                  </a:lnTo>
                  <a:lnTo>
                    <a:pt x="67" y="445"/>
                  </a:lnTo>
                  <a:lnTo>
                    <a:pt x="53" y="459"/>
                  </a:lnTo>
                  <a:lnTo>
                    <a:pt x="22" y="487"/>
                  </a:lnTo>
                  <a:lnTo>
                    <a:pt x="8" y="498"/>
                  </a:lnTo>
                  <a:lnTo>
                    <a:pt x="1" y="505"/>
                  </a:lnTo>
                  <a:cubicBezTo>
                    <a:pt x="25" y="557"/>
                    <a:pt x="43" y="613"/>
                    <a:pt x="60" y="669"/>
                  </a:cubicBezTo>
                  <a:cubicBezTo>
                    <a:pt x="179" y="1082"/>
                    <a:pt x="288" y="1170"/>
                    <a:pt x="459" y="1313"/>
                  </a:cubicBezTo>
                  <a:lnTo>
                    <a:pt x="477" y="1324"/>
                  </a:lnTo>
                  <a:cubicBezTo>
                    <a:pt x="596" y="1415"/>
                    <a:pt x="722" y="1499"/>
                    <a:pt x="848" y="1576"/>
                  </a:cubicBezTo>
                  <a:lnTo>
                    <a:pt x="848" y="1572"/>
                  </a:lnTo>
                  <a:cubicBezTo>
                    <a:pt x="858" y="1558"/>
                    <a:pt x="865" y="1544"/>
                    <a:pt x="876" y="1530"/>
                  </a:cubicBezTo>
                  <a:lnTo>
                    <a:pt x="879" y="1523"/>
                  </a:lnTo>
                  <a:cubicBezTo>
                    <a:pt x="886" y="1513"/>
                    <a:pt x="893" y="1499"/>
                    <a:pt x="900" y="1492"/>
                  </a:cubicBezTo>
                  <a:lnTo>
                    <a:pt x="904" y="1485"/>
                  </a:lnTo>
                  <a:cubicBezTo>
                    <a:pt x="914" y="1474"/>
                    <a:pt x="921" y="1467"/>
                    <a:pt x="928" y="1457"/>
                  </a:cubicBezTo>
                  <a:lnTo>
                    <a:pt x="932" y="1453"/>
                  </a:lnTo>
                  <a:cubicBezTo>
                    <a:pt x="939" y="1446"/>
                    <a:pt x="946" y="1439"/>
                    <a:pt x="953" y="1432"/>
                  </a:cubicBezTo>
                  <a:cubicBezTo>
                    <a:pt x="991" y="1404"/>
                    <a:pt x="1040" y="1369"/>
                    <a:pt x="1096" y="1334"/>
                  </a:cubicBezTo>
                  <a:cubicBezTo>
                    <a:pt x="1187" y="1271"/>
                    <a:pt x="1355" y="1159"/>
                    <a:pt x="1366" y="1107"/>
                  </a:cubicBezTo>
                  <a:cubicBezTo>
                    <a:pt x="1376" y="1072"/>
                    <a:pt x="1383" y="1040"/>
                    <a:pt x="1397" y="1009"/>
                  </a:cubicBezTo>
                  <a:cubicBezTo>
                    <a:pt x="1408" y="977"/>
                    <a:pt x="1418" y="946"/>
                    <a:pt x="1425" y="911"/>
                  </a:cubicBezTo>
                  <a:lnTo>
                    <a:pt x="1425" y="904"/>
                  </a:lnTo>
                  <a:lnTo>
                    <a:pt x="1425" y="893"/>
                  </a:lnTo>
                  <a:lnTo>
                    <a:pt x="1425" y="883"/>
                  </a:lnTo>
                  <a:lnTo>
                    <a:pt x="1425" y="876"/>
                  </a:lnTo>
                  <a:cubicBezTo>
                    <a:pt x="1422" y="872"/>
                    <a:pt x="1422" y="869"/>
                    <a:pt x="1422" y="865"/>
                  </a:cubicBezTo>
                  <a:lnTo>
                    <a:pt x="1422" y="858"/>
                  </a:lnTo>
                  <a:cubicBezTo>
                    <a:pt x="1418" y="855"/>
                    <a:pt x="1415" y="848"/>
                    <a:pt x="1411" y="841"/>
                  </a:cubicBezTo>
                  <a:cubicBezTo>
                    <a:pt x="1355" y="746"/>
                    <a:pt x="1327" y="638"/>
                    <a:pt x="1331" y="526"/>
                  </a:cubicBezTo>
                  <a:lnTo>
                    <a:pt x="1331" y="480"/>
                  </a:lnTo>
                  <a:cubicBezTo>
                    <a:pt x="1331" y="385"/>
                    <a:pt x="1044" y="11"/>
                    <a:pt x="9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3" name="Google Shape;4820;p64">
              <a:extLst>
                <a:ext uri="{FF2B5EF4-FFF2-40B4-BE49-F238E27FC236}">
                  <a16:creationId xmlns:a16="http://schemas.microsoft.com/office/drawing/2014/main" id="{974153FA-25F1-4913-76DE-944F84EEC60E}"/>
                </a:ext>
              </a:extLst>
            </p:cNvPr>
            <p:cNvSpPr/>
            <p:nvPr/>
          </p:nvSpPr>
          <p:spPr>
            <a:xfrm>
              <a:off x="1953749" y="197316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4" name="Google Shape;4821;p64">
              <a:extLst>
                <a:ext uri="{FF2B5EF4-FFF2-40B4-BE49-F238E27FC236}">
                  <a16:creationId xmlns:a16="http://schemas.microsoft.com/office/drawing/2014/main" id="{3A2DFFB5-F689-4A42-8A1B-BAB4588BBBFA}"/>
                </a:ext>
              </a:extLst>
            </p:cNvPr>
            <p:cNvSpPr/>
            <p:nvPr/>
          </p:nvSpPr>
          <p:spPr>
            <a:xfrm>
              <a:off x="1954754" y="197187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5" name="Google Shape;4822;p64">
              <a:extLst>
                <a:ext uri="{FF2B5EF4-FFF2-40B4-BE49-F238E27FC236}">
                  <a16:creationId xmlns:a16="http://schemas.microsoft.com/office/drawing/2014/main" id="{1E16FD16-D970-7D52-F82C-5BD47D38F618}"/>
                </a:ext>
              </a:extLst>
            </p:cNvPr>
            <p:cNvSpPr/>
            <p:nvPr/>
          </p:nvSpPr>
          <p:spPr>
            <a:xfrm>
              <a:off x="1951563" y="197525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6" name="Google Shape;4823;p64">
              <a:extLst>
                <a:ext uri="{FF2B5EF4-FFF2-40B4-BE49-F238E27FC236}">
                  <a16:creationId xmlns:a16="http://schemas.microsoft.com/office/drawing/2014/main" id="{736D4EC3-D764-2636-7E4E-E1704D851781}"/>
                </a:ext>
              </a:extLst>
            </p:cNvPr>
            <p:cNvSpPr/>
            <p:nvPr/>
          </p:nvSpPr>
          <p:spPr>
            <a:xfrm>
              <a:off x="1954564" y="197216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7" name="Google Shape;4824;p64">
              <a:extLst>
                <a:ext uri="{FF2B5EF4-FFF2-40B4-BE49-F238E27FC236}">
                  <a16:creationId xmlns:a16="http://schemas.microsoft.com/office/drawing/2014/main" id="{6AA66909-02CE-A884-5E91-680C269E5A90}"/>
                </a:ext>
              </a:extLst>
            </p:cNvPr>
            <p:cNvSpPr/>
            <p:nvPr/>
          </p:nvSpPr>
          <p:spPr>
            <a:xfrm>
              <a:off x="1950382" y="197635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8" name="Google Shape;4825;p64">
              <a:extLst>
                <a:ext uri="{FF2B5EF4-FFF2-40B4-BE49-F238E27FC236}">
                  <a16:creationId xmlns:a16="http://schemas.microsoft.com/office/drawing/2014/main" id="{4B0E4ADE-8FCB-61D0-729B-7D07DE19046B}"/>
                </a:ext>
              </a:extLst>
            </p:cNvPr>
            <p:cNvSpPr/>
            <p:nvPr/>
          </p:nvSpPr>
          <p:spPr>
            <a:xfrm>
              <a:off x="1954319" y="19725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9" name="Google Shape;4826;p64">
              <a:extLst>
                <a:ext uri="{FF2B5EF4-FFF2-40B4-BE49-F238E27FC236}">
                  <a16:creationId xmlns:a16="http://schemas.microsoft.com/office/drawing/2014/main" id="{B9BE36BE-412D-B1BB-DA9D-9C26A922D6CC}"/>
                </a:ext>
              </a:extLst>
            </p:cNvPr>
            <p:cNvSpPr/>
            <p:nvPr/>
          </p:nvSpPr>
          <p:spPr>
            <a:xfrm>
              <a:off x="1955039" y="19713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0" name="Google Shape;4827;p64">
              <a:extLst>
                <a:ext uri="{FF2B5EF4-FFF2-40B4-BE49-F238E27FC236}">
                  <a16:creationId xmlns:a16="http://schemas.microsoft.com/office/drawing/2014/main" id="{42CFEBDD-7AF3-55CF-E095-566C3DB02799}"/>
                </a:ext>
              </a:extLst>
            </p:cNvPr>
            <p:cNvSpPr/>
            <p:nvPr/>
          </p:nvSpPr>
          <p:spPr>
            <a:xfrm>
              <a:off x="1954889" y="197159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1" name="Google Shape;4828;p64">
              <a:extLst>
                <a:ext uri="{FF2B5EF4-FFF2-40B4-BE49-F238E27FC236}">
                  <a16:creationId xmlns:a16="http://schemas.microsoft.com/office/drawing/2014/main" id="{39CAD302-547B-3A89-0539-09E669043999}"/>
                </a:ext>
              </a:extLst>
            </p:cNvPr>
            <p:cNvSpPr/>
            <p:nvPr/>
          </p:nvSpPr>
          <p:spPr>
            <a:xfrm>
              <a:off x="1955134" y="19711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2" name="Google Shape;4829;p64">
              <a:extLst>
                <a:ext uri="{FF2B5EF4-FFF2-40B4-BE49-F238E27FC236}">
                  <a16:creationId xmlns:a16="http://schemas.microsoft.com/office/drawing/2014/main" id="{4A5BBF45-6BDD-F16F-FF15-B93D303BE939}"/>
                </a:ext>
              </a:extLst>
            </p:cNvPr>
            <p:cNvSpPr/>
            <p:nvPr/>
          </p:nvSpPr>
          <p:spPr>
            <a:xfrm>
              <a:off x="1952608" y="197434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3" name="Google Shape;4830;p64">
              <a:extLst>
                <a:ext uri="{FF2B5EF4-FFF2-40B4-BE49-F238E27FC236}">
                  <a16:creationId xmlns:a16="http://schemas.microsoft.com/office/drawing/2014/main" id="{85656449-506C-A39B-3057-99B0181A6C74}"/>
                </a:ext>
              </a:extLst>
            </p:cNvPr>
            <p:cNvSpPr/>
            <p:nvPr/>
          </p:nvSpPr>
          <p:spPr>
            <a:xfrm>
              <a:off x="1952092" y="1974782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4" name="Google Shape;4831;p64">
              <a:extLst>
                <a:ext uri="{FF2B5EF4-FFF2-40B4-BE49-F238E27FC236}">
                  <a16:creationId xmlns:a16="http://schemas.microsoft.com/office/drawing/2014/main" id="{AA47A937-2D31-1A94-DED1-04FC3BB72C40}"/>
                </a:ext>
              </a:extLst>
            </p:cNvPr>
            <p:cNvSpPr/>
            <p:nvPr/>
          </p:nvSpPr>
          <p:spPr>
            <a:xfrm>
              <a:off x="1950993" y="1975786"/>
              <a:ext cx="204" cy="190"/>
            </a:xfrm>
            <a:custGeom>
              <a:avLst/>
              <a:gdLst/>
              <a:ahLst/>
              <a:cxnLst/>
              <a:rect l="l" t="t" r="r" b="b"/>
              <a:pathLst>
                <a:path w="15" h="14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5" name="Google Shape;4832;p64">
              <a:extLst>
                <a:ext uri="{FF2B5EF4-FFF2-40B4-BE49-F238E27FC236}">
                  <a16:creationId xmlns:a16="http://schemas.microsoft.com/office/drawing/2014/main" id="{DF1A8796-15ED-A7BE-937E-269E9A45D809}"/>
                </a:ext>
              </a:extLst>
            </p:cNvPr>
            <p:cNvSpPr/>
            <p:nvPr/>
          </p:nvSpPr>
          <p:spPr>
            <a:xfrm>
              <a:off x="1969526" y="198120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2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1" y="0"/>
                  </a:cubicBezTo>
                  <a:close/>
                  <a:moveTo>
                    <a:pt x="4" y="9"/>
                  </a:moveTo>
                  <a:cubicBezTo>
                    <a:pt x="5" y="13"/>
                    <a:pt x="6" y="17"/>
                    <a:pt x="8" y="21"/>
                  </a:cubicBezTo>
                  <a:lnTo>
                    <a:pt x="8" y="14"/>
                  </a:ln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6" name="Google Shape;4833;p64">
              <a:extLst>
                <a:ext uri="{FF2B5EF4-FFF2-40B4-BE49-F238E27FC236}">
                  <a16:creationId xmlns:a16="http://schemas.microsoft.com/office/drawing/2014/main" id="{5EBE2442-80AC-28BD-BDD5-FD35DDAEDEEE}"/>
                </a:ext>
              </a:extLst>
            </p:cNvPr>
            <p:cNvSpPr/>
            <p:nvPr/>
          </p:nvSpPr>
          <p:spPr>
            <a:xfrm>
              <a:off x="1954034" y="197282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7" name="Google Shape;4834;p64">
              <a:extLst>
                <a:ext uri="{FF2B5EF4-FFF2-40B4-BE49-F238E27FC236}">
                  <a16:creationId xmlns:a16="http://schemas.microsoft.com/office/drawing/2014/main" id="{868BD623-E457-3923-3901-F7BB4160D87E}"/>
                </a:ext>
              </a:extLst>
            </p:cNvPr>
            <p:cNvSpPr/>
            <p:nvPr/>
          </p:nvSpPr>
          <p:spPr>
            <a:xfrm>
              <a:off x="1953369" y="197354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4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8" name="Google Shape;4835;p64">
              <a:extLst>
                <a:ext uri="{FF2B5EF4-FFF2-40B4-BE49-F238E27FC236}">
                  <a16:creationId xmlns:a16="http://schemas.microsoft.com/office/drawing/2014/main" id="{9D8D0737-CADE-7BE2-91F3-9A2B9FA627BA}"/>
                </a:ext>
              </a:extLst>
            </p:cNvPr>
            <p:cNvSpPr/>
            <p:nvPr/>
          </p:nvSpPr>
          <p:spPr>
            <a:xfrm>
              <a:off x="1952989" y="197392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9" name="Google Shape;4836;p64">
              <a:extLst>
                <a:ext uri="{FF2B5EF4-FFF2-40B4-BE49-F238E27FC236}">
                  <a16:creationId xmlns:a16="http://schemas.microsoft.com/office/drawing/2014/main" id="{20DB38A8-C5B5-681E-8E80-3DA8FDF03629}"/>
                </a:ext>
              </a:extLst>
            </p:cNvPr>
            <p:cNvSpPr/>
            <p:nvPr/>
          </p:nvSpPr>
          <p:spPr>
            <a:xfrm>
              <a:off x="1962968" y="1989228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1" y="18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0" name="Google Shape;4837;p64">
              <a:extLst>
                <a:ext uri="{FF2B5EF4-FFF2-40B4-BE49-F238E27FC236}">
                  <a16:creationId xmlns:a16="http://schemas.microsoft.com/office/drawing/2014/main" id="{29E763C6-20D5-11E7-D6B1-31EF75144BA4}"/>
                </a:ext>
              </a:extLst>
            </p:cNvPr>
            <p:cNvSpPr/>
            <p:nvPr/>
          </p:nvSpPr>
          <p:spPr>
            <a:xfrm>
              <a:off x="1961828" y="1990518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0"/>
                  </a:moveTo>
                  <a:cubicBezTo>
                    <a:pt x="18" y="14"/>
                    <a:pt x="11" y="28"/>
                    <a:pt x="1" y="46"/>
                  </a:cubicBezTo>
                  <a:cubicBezTo>
                    <a:pt x="11" y="28"/>
                    <a:pt x="22" y="14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1" name="Google Shape;4838;p64">
              <a:extLst>
                <a:ext uri="{FF2B5EF4-FFF2-40B4-BE49-F238E27FC236}">
                  <a16:creationId xmlns:a16="http://schemas.microsoft.com/office/drawing/2014/main" id="{0EF6C9AC-D37F-B150-0D94-CA277DCCB231}"/>
                </a:ext>
              </a:extLst>
            </p:cNvPr>
            <p:cNvSpPr/>
            <p:nvPr/>
          </p:nvSpPr>
          <p:spPr>
            <a:xfrm>
              <a:off x="1962262" y="1989988"/>
              <a:ext cx="339" cy="448"/>
            </a:xfrm>
            <a:custGeom>
              <a:avLst/>
              <a:gdLst/>
              <a:ahLst/>
              <a:cxnLst/>
              <a:rect l="l" t="t" r="r" b="b"/>
              <a:pathLst>
                <a:path w="25" h="33" extrusionOk="0">
                  <a:moveTo>
                    <a:pt x="25" y="1"/>
                  </a:moveTo>
                  <a:cubicBezTo>
                    <a:pt x="14" y="11"/>
                    <a:pt x="7" y="22"/>
                    <a:pt x="0" y="32"/>
                  </a:cubicBezTo>
                  <a:cubicBezTo>
                    <a:pt x="7" y="22"/>
                    <a:pt x="14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2" name="Google Shape;4839;p64">
              <a:extLst>
                <a:ext uri="{FF2B5EF4-FFF2-40B4-BE49-F238E27FC236}">
                  <a16:creationId xmlns:a16="http://schemas.microsoft.com/office/drawing/2014/main" id="{5704D324-67A3-8BE3-2991-F6196460B496}"/>
                </a:ext>
              </a:extLst>
            </p:cNvPr>
            <p:cNvSpPr/>
            <p:nvPr/>
          </p:nvSpPr>
          <p:spPr>
            <a:xfrm>
              <a:off x="1969675" y="198172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3" name="Google Shape;4840;p64">
              <a:extLst>
                <a:ext uri="{FF2B5EF4-FFF2-40B4-BE49-F238E27FC236}">
                  <a16:creationId xmlns:a16="http://schemas.microsoft.com/office/drawing/2014/main" id="{40F32993-BEB0-F2AF-5C80-FFA17B88452B}"/>
                </a:ext>
              </a:extLst>
            </p:cNvPr>
            <p:cNvSpPr/>
            <p:nvPr/>
          </p:nvSpPr>
          <p:spPr>
            <a:xfrm>
              <a:off x="1969621" y="198153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cubicBezTo>
                    <a:pt x="1" y="4"/>
                    <a:pt x="4" y="8"/>
                    <a:pt x="4" y="11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4" name="Google Shape;4841;p64">
              <a:extLst>
                <a:ext uri="{FF2B5EF4-FFF2-40B4-BE49-F238E27FC236}">
                  <a16:creationId xmlns:a16="http://schemas.microsoft.com/office/drawing/2014/main" id="{77FE60CE-5BE1-60A4-650B-7D05A47ED3DE}"/>
                </a:ext>
              </a:extLst>
            </p:cNvPr>
            <p:cNvSpPr/>
            <p:nvPr/>
          </p:nvSpPr>
          <p:spPr>
            <a:xfrm>
              <a:off x="1969675" y="198200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5" name="Google Shape;4842;p64">
              <a:extLst>
                <a:ext uri="{FF2B5EF4-FFF2-40B4-BE49-F238E27FC236}">
                  <a16:creationId xmlns:a16="http://schemas.microsoft.com/office/drawing/2014/main" id="{3AF6C1BE-82B6-DB35-35FD-28474788FB5E}"/>
                </a:ext>
              </a:extLst>
            </p:cNvPr>
            <p:cNvSpPr/>
            <p:nvPr/>
          </p:nvSpPr>
          <p:spPr>
            <a:xfrm>
              <a:off x="1962588" y="1989568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7"/>
                    <a:pt x="8" y="18"/>
                    <a:pt x="1" y="28"/>
                  </a:cubicBezTo>
                  <a:cubicBezTo>
                    <a:pt x="11" y="18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6" name="Google Shape;4843;p64">
              <a:extLst>
                <a:ext uri="{FF2B5EF4-FFF2-40B4-BE49-F238E27FC236}">
                  <a16:creationId xmlns:a16="http://schemas.microsoft.com/office/drawing/2014/main" id="{DDC061B9-9F4D-13BE-486D-27C87BEAB1F8}"/>
                </a:ext>
              </a:extLst>
            </p:cNvPr>
            <p:cNvSpPr/>
            <p:nvPr/>
          </p:nvSpPr>
          <p:spPr>
            <a:xfrm>
              <a:off x="1969580" y="19813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7" name="Google Shape;4844;p64">
              <a:extLst>
                <a:ext uri="{FF2B5EF4-FFF2-40B4-BE49-F238E27FC236}">
                  <a16:creationId xmlns:a16="http://schemas.microsoft.com/office/drawing/2014/main" id="{42047A38-3DD3-3CA3-787C-12A43579B864}"/>
                </a:ext>
              </a:extLst>
            </p:cNvPr>
            <p:cNvSpPr/>
            <p:nvPr/>
          </p:nvSpPr>
          <p:spPr>
            <a:xfrm>
              <a:off x="1922385" y="1832082"/>
              <a:ext cx="60230" cy="48838"/>
            </a:xfrm>
            <a:custGeom>
              <a:avLst/>
              <a:gdLst/>
              <a:ahLst/>
              <a:cxnLst/>
              <a:rect l="l" t="t" r="r" b="b"/>
              <a:pathLst>
                <a:path w="4436" h="3597" extrusionOk="0">
                  <a:moveTo>
                    <a:pt x="2101" y="1"/>
                  </a:moveTo>
                  <a:cubicBezTo>
                    <a:pt x="1968" y="134"/>
                    <a:pt x="1894" y="309"/>
                    <a:pt x="1838" y="460"/>
                  </a:cubicBezTo>
                  <a:cubicBezTo>
                    <a:pt x="1792" y="579"/>
                    <a:pt x="1666" y="705"/>
                    <a:pt x="1523" y="852"/>
                  </a:cubicBezTo>
                  <a:cubicBezTo>
                    <a:pt x="1337" y="1041"/>
                    <a:pt x="1127" y="1254"/>
                    <a:pt x="1113" y="1447"/>
                  </a:cubicBezTo>
                  <a:cubicBezTo>
                    <a:pt x="1099" y="1664"/>
                    <a:pt x="921" y="1923"/>
                    <a:pt x="697" y="2255"/>
                  </a:cubicBezTo>
                  <a:cubicBezTo>
                    <a:pt x="490" y="2550"/>
                    <a:pt x="305" y="2854"/>
                    <a:pt x="144" y="3176"/>
                  </a:cubicBezTo>
                  <a:cubicBezTo>
                    <a:pt x="77" y="3309"/>
                    <a:pt x="28" y="3449"/>
                    <a:pt x="0" y="3596"/>
                  </a:cubicBezTo>
                  <a:lnTo>
                    <a:pt x="2017" y="3596"/>
                  </a:lnTo>
                  <a:lnTo>
                    <a:pt x="2017" y="2805"/>
                  </a:lnTo>
                  <a:cubicBezTo>
                    <a:pt x="2017" y="2704"/>
                    <a:pt x="2157" y="2630"/>
                    <a:pt x="2339" y="2543"/>
                  </a:cubicBezTo>
                  <a:lnTo>
                    <a:pt x="2374" y="2525"/>
                  </a:lnTo>
                  <a:cubicBezTo>
                    <a:pt x="2458" y="2483"/>
                    <a:pt x="2570" y="2424"/>
                    <a:pt x="2587" y="2396"/>
                  </a:cubicBezTo>
                  <a:lnTo>
                    <a:pt x="2587" y="866"/>
                  </a:lnTo>
                  <a:lnTo>
                    <a:pt x="2654" y="866"/>
                  </a:lnTo>
                  <a:cubicBezTo>
                    <a:pt x="3053" y="876"/>
                    <a:pt x="3609" y="883"/>
                    <a:pt x="4002" y="883"/>
                  </a:cubicBezTo>
                  <a:cubicBezTo>
                    <a:pt x="4191" y="883"/>
                    <a:pt x="4338" y="883"/>
                    <a:pt x="4415" y="876"/>
                  </a:cubicBezTo>
                  <a:lnTo>
                    <a:pt x="4436" y="876"/>
                  </a:lnTo>
                  <a:lnTo>
                    <a:pt x="4436" y="859"/>
                  </a:lnTo>
                  <a:lnTo>
                    <a:pt x="4436" y="848"/>
                  </a:lnTo>
                  <a:lnTo>
                    <a:pt x="4436" y="838"/>
                  </a:lnTo>
                  <a:lnTo>
                    <a:pt x="4436" y="824"/>
                  </a:lnTo>
                  <a:lnTo>
                    <a:pt x="4436" y="813"/>
                  </a:lnTo>
                  <a:lnTo>
                    <a:pt x="4436" y="792"/>
                  </a:lnTo>
                  <a:lnTo>
                    <a:pt x="4436" y="785"/>
                  </a:lnTo>
                  <a:lnTo>
                    <a:pt x="4436" y="764"/>
                  </a:lnTo>
                  <a:lnTo>
                    <a:pt x="4436" y="750"/>
                  </a:lnTo>
                  <a:lnTo>
                    <a:pt x="4436" y="729"/>
                  </a:lnTo>
                  <a:lnTo>
                    <a:pt x="4436" y="715"/>
                  </a:lnTo>
                  <a:lnTo>
                    <a:pt x="4436" y="694"/>
                  </a:lnTo>
                  <a:lnTo>
                    <a:pt x="4436" y="677"/>
                  </a:lnTo>
                  <a:lnTo>
                    <a:pt x="4436" y="656"/>
                  </a:lnTo>
                  <a:lnTo>
                    <a:pt x="4436" y="631"/>
                  </a:lnTo>
                  <a:lnTo>
                    <a:pt x="4436" y="610"/>
                  </a:lnTo>
                  <a:lnTo>
                    <a:pt x="4436" y="586"/>
                  </a:lnTo>
                  <a:lnTo>
                    <a:pt x="4436" y="568"/>
                  </a:lnTo>
                  <a:lnTo>
                    <a:pt x="4436" y="533"/>
                  </a:lnTo>
                  <a:lnTo>
                    <a:pt x="4436" y="519"/>
                  </a:lnTo>
                  <a:lnTo>
                    <a:pt x="4436" y="477"/>
                  </a:lnTo>
                  <a:lnTo>
                    <a:pt x="4436" y="463"/>
                  </a:lnTo>
                  <a:lnTo>
                    <a:pt x="4436" y="418"/>
                  </a:lnTo>
                  <a:lnTo>
                    <a:pt x="4436" y="411"/>
                  </a:lnTo>
                  <a:cubicBezTo>
                    <a:pt x="4436" y="337"/>
                    <a:pt x="4432" y="253"/>
                    <a:pt x="4432" y="162"/>
                  </a:cubicBezTo>
                  <a:lnTo>
                    <a:pt x="4429" y="158"/>
                  </a:lnTo>
                  <a:lnTo>
                    <a:pt x="4425" y="148"/>
                  </a:lnTo>
                  <a:lnTo>
                    <a:pt x="4418" y="134"/>
                  </a:lnTo>
                  <a:lnTo>
                    <a:pt x="4418" y="127"/>
                  </a:lnTo>
                  <a:lnTo>
                    <a:pt x="4411" y="113"/>
                  </a:lnTo>
                  <a:lnTo>
                    <a:pt x="4411" y="106"/>
                  </a:lnTo>
                  <a:lnTo>
                    <a:pt x="4408" y="88"/>
                  </a:lnTo>
                  <a:cubicBezTo>
                    <a:pt x="4394" y="36"/>
                    <a:pt x="4383" y="1"/>
                    <a:pt x="41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8" name="Google Shape;4845;p64">
              <a:extLst>
                <a:ext uri="{FF2B5EF4-FFF2-40B4-BE49-F238E27FC236}">
                  <a16:creationId xmlns:a16="http://schemas.microsoft.com/office/drawing/2014/main" id="{02EBC23E-982B-AC85-8DB5-7B55A56D6B17}"/>
                </a:ext>
              </a:extLst>
            </p:cNvPr>
            <p:cNvSpPr/>
            <p:nvPr/>
          </p:nvSpPr>
          <p:spPr>
            <a:xfrm>
              <a:off x="1982370" y="183379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9" name="Google Shape;4846;p64">
              <a:extLst>
                <a:ext uri="{FF2B5EF4-FFF2-40B4-BE49-F238E27FC236}">
                  <a16:creationId xmlns:a16="http://schemas.microsoft.com/office/drawing/2014/main" id="{C34F838F-8D2F-32F3-EF97-0BE179D02391}"/>
                </a:ext>
              </a:extLst>
            </p:cNvPr>
            <p:cNvSpPr/>
            <p:nvPr/>
          </p:nvSpPr>
          <p:spPr>
            <a:xfrm>
              <a:off x="1982275" y="183350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0" name="Google Shape;4847;p64">
              <a:extLst>
                <a:ext uri="{FF2B5EF4-FFF2-40B4-BE49-F238E27FC236}">
                  <a16:creationId xmlns:a16="http://schemas.microsoft.com/office/drawing/2014/main" id="{E0592B91-3135-AB9D-8E9A-6C49E0BD7F8D}"/>
                </a:ext>
              </a:extLst>
            </p:cNvPr>
            <p:cNvSpPr/>
            <p:nvPr/>
          </p:nvSpPr>
          <p:spPr>
            <a:xfrm>
              <a:off x="1982465" y="183407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1" name="Google Shape;4848;p64">
              <a:extLst>
                <a:ext uri="{FF2B5EF4-FFF2-40B4-BE49-F238E27FC236}">
                  <a16:creationId xmlns:a16="http://schemas.microsoft.com/office/drawing/2014/main" id="{768EE0F0-3589-A320-A162-C889AF821B43}"/>
                </a:ext>
              </a:extLst>
            </p:cNvPr>
            <p:cNvSpPr/>
            <p:nvPr/>
          </p:nvSpPr>
          <p:spPr>
            <a:xfrm>
              <a:off x="1922575" y="1836318"/>
              <a:ext cx="85525" cy="95653"/>
            </a:xfrm>
            <a:custGeom>
              <a:avLst/>
              <a:gdLst/>
              <a:ahLst/>
              <a:cxnLst/>
              <a:rect l="l" t="t" r="r" b="b"/>
              <a:pathLst>
                <a:path w="6299" h="7045" extrusionOk="0">
                  <a:moveTo>
                    <a:pt x="4548" y="1"/>
                  </a:moveTo>
                  <a:lnTo>
                    <a:pt x="4551" y="99"/>
                  </a:lnTo>
                  <a:cubicBezTo>
                    <a:pt x="4551" y="176"/>
                    <a:pt x="4551" y="242"/>
                    <a:pt x="4555" y="298"/>
                  </a:cubicBezTo>
                  <a:lnTo>
                    <a:pt x="4555" y="305"/>
                  </a:lnTo>
                  <a:lnTo>
                    <a:pt x="4555" y="337"/>
                  </a:lnTo>
                  <a:lnTo>
                    <a:pt x="4555" y="347"/>
                  </a:lnTo>
                  <a:lnTo>
                    <a:pt x="4555" y="372"/>
                  </a:lnTo>
                  <a:lnTo>
                    <a:pt x="4555" y="386"/>
                  </a:lnTo>
                  <a:lnTo>
                    <a:pt x="4555" y="403"/>
                  </a:lnTo>
                  <a:lnTo>
                    <a:pt x="4555" y="421"/>
                  </a:lnTo>
                  <a:lnTo>
                    <a:pt x="4555" y="435"/>
                  </a:lnTo>
                  <a:lnTo>
                    <a:pt x="4555" y="452"/>
                  </a:lnTo>
                  <a:lnTo>
                    <a:pt x="4555" y="466"/>
                  </a:lnTo>
                  <a:lnTo>
                    <a:pt x="4555" y="480"/>
                  </a:lnTo>
                  <a:lnTo>
                    <a:pt x="4555" y="494"/>
                  </a:lnTo>
                  <a:lnTo>
                    <a:pt x="4555" y="508"/>
                  </a:lnTo>
                  <a:lnTo>
                    <a:pt x="4555" y="519"/>
                  </a:lnTo>
                  <a:lnTo>
                    <a:pt x="4555" y="533"/>
                  </a:lnTo>
                  <a:lnTo>
                    <a:pt x="4555" y="540"/>
                  </a:lnTo>
                  <a:lnTo>
                    <a:pt x="4555" y="554"/>
                  </a:lnTo>
                  <a:lnTo>
                    <a:pt x="4555" y="561"/>
                  </a:lnTo>
                  <a:lnTo>
                    <a:pt x="4555" y="575"/>
                  </a:lnTo>
                  <a:lnTo>
                    <a:pt x="4555" y="578"/>
                  </a:lnTo>
                  <a:cubicBezTo>
                    <a:pt x="4555" y="589"/>
                    <a:pt x="4551" y="599"/>
                    <a:pt x="4551" y="610"/>
                  </a:cubicBezTo>
                  <a:lnTo>
                    <a:pt x="4551" y="620"/>
                  </a:lnTo>
                  <a:lnTo>
                    <a:pt x="4551" y="624"/>
                  </a:lnTo>
                  <a:lnTo>
                    <a:pt x="4551" y="634"/>
                  </a:lnTo>
                  <a:lnTo>
                    <a:pt x="4551" y="641"/>
                  </a:lnTo>
                  <a:lnTo>
                    <a:pt x="4551" y="645"/>
                  </a:lnTo>
                  <a:lnTo>
                    <a:pt x="4551" y="652"/>
                  </a:lnTo>
                  <a:lnTo>
                    <a:pt x="4551" y="659"/>
                  </a:lnTo>
                  <a:lnTo>
                    <a:pt x="4551" y="666"/>
                  </a:lnTo>
                  <a:lnTo>
                    <a:pt x="4551" y="669"/>
                  </a:lnTo>
                  <a:lnTo>
                    <a:pt x="4551" y="673"/>
                  </a:lnTo>
                  <a:lnTo>
                    <a:pt x="4544" y="673"/>
                  </a:lnTo>
                  <a:lnTo>
                    <a:pt x="4541" y="676"/>
                  </a:lnTo>
                  <a:lnTo>
                    <a:pt x="4537" y="676"/>
                  </a:lnTo>
                  <a:cubicBezTo>
                    <a:pt x="4523" y="686"/>
                    <a:pt x="4495" y="705"/>
                    <a:pt x="3919" y="705"/>
                  </a:cubicBezTo>
                  <a:cubicBezTo>
                    <a:pt x="3655" y="705"/>
                    <a:pt x="3276" y="701"/>
                    <a:pt x="2731" y="690"/>
                  </a:cubicBezTo>
                  <a:lnTo>
                    <a:pt x="2731" y="2084"/>
                  </a:lnTo>
                  <a:cubicBezTo>
                    <a:pt x="2731" y="2189"/>
                    <a:pt x="2591" y="2259"/>
                    <a:pt x="2409" y="2346"/>
                  </a:cubicBezTo>
                  <a:cubicBezTo>
                    <a:pt x="2321" y="2392"/>
                    <a:pt x="2181" y="2462"/>
                    <a:pt x="2160" y="2500"/>
                  </a:cubicBezTo>
                  <a:lnTo>
                    <a:pt x="2160" y="3417"/>
                  </a:lnTo>
                  <a:lnTo>
                    <a:pt x="0" y="3417"/>
                  </a:lnTo>
                  <a:cubicBezTo>
                    <a:pt x="0" y="3634"/>
                    <a:pt x="109" y="3739"/>
                    <a:pt x="214" y="3844"/>
                  </a:cubicBezTo>
                  <a:cubicBezTo>
                    <a:pt x="242" y="3872"/>
                    <a:pt x="270" y="3897"/>
                    <a:pt x="294" y="3925"/>
                  </a:cubicBezTo>
                  <a:cubicBezTo>
                    <a:pt x="389" y="4037"/>
                    <a:pt x="368" y="4177"/>
                    <a:pt x="347" y="4314"/>
                  </a:cubicBezTo>
                  <a:cubicBezTo>
                    <a:pt x="322" y="4475"/>
                    <a:pt x="298" y="4643"/>
                    <a:pt x="420" y="4811"/>
                  </a:cubicBezTo>
                  <a:cubicBezTo>
                    <a:pt x="609" y="5073"/>
                    <a:pt x="550" y="5472"/>
                    <a:pt x="245" y="5962"/>
                  </a:cubicBezTo>
                  <a:cubicBezTo>
                    <a:pt x="203" y="6025"/>
                    <a:pt x="189" y="6138"/>
                    <a:pt x="175" y="6260"/>
                  </a:cubicBezTo>
                  <a:lnTo>
                    <a:pt x="179" y="6253"/>
                  </a:lnTo>
                  <a:lnTo>
                    <a:pt x="193" y="6225"/>
                  </a:lnTo>
                  <a:cubicBezTo>
                    <a:pt x="227" y="6157"/>
                    <a:pt x="275" y="6055"/>
                    <a:pt x="395" y="6055"/>
                  </a:cubicBezTo>
                  <a:cubicBezTo>
                    <a:pt x="410" y="6055"/>
                    <a:pt x="427" y="6057"/>
                    <a:pt x="445" y="6060"/>
                  </a:cubicBezTo>
                  <a:cubicBezTo>
                    <a:pt x="487" y="6067"/>
                    <a:pt x="529" y="6074"/>
                    <a:pt x="571" y="6074"/>
                  </a:cubicBezTo>
                  <a:cubicBezTo>
                    <a:pt x="598" y="6075"/>
                    <a:pt x="625" y="6076"/>
                    <a:pt x="652" y="6076"/>
                  </a:cubicBezTo>
                  <a:cubicBezTo>
                    <a:pt x="741" y="6076"/>
                    <a:pt x="828" y="6071"/>
                    <a:pt x="914" y="6060"/>
                  </a:cubicBezTo>
                  <a:cubicBezTo>
                    <a:pt x="956" y="6046"/>
                    <a:pt x="1091" y="5995"/>
                    <a:pt x="1223" y="5995"/>
                  </a:cubicBezTo>
                  <a:cubicBezTo>
                    <a:pt x="1279" y="5995"/>
                    <a:pt x="1335" y="6004"/>
                    <a:pt x="1383" y="6029"/>
                  </a:cubicBezTo>
                  <a:cubicBezTo>
                    <a:pt x="1516" y="6095"/>
                    <a:pt x="1645" y="6232"/>
                    <a:pt x="1691" y="6292"/>
                  </a:cubicBezTo>
                  <a:lnTo>
                    <a:pt x="1901" y="6292"/>
                  </a:lnTo>
                  <a:lnTo>
                    <a:pt x="1915" y="6334"/>
                  </a:lnTo>
                  <a:cubicBezTo>
                    <a:pt x="1957" y="6442"/>
                    <a:pt x="2094" y="6740"/>
                    <a:pt x="2258" y="6796"/>
                  </a:cubicBezTo>
                  <a:cubicBezTo>
                    <a:pt x="2272" y="6799"/>
                    <a:pt x="2286" y="6803"/>
                    <a:pt x="2300" y="6810"/>
                  </a:cubicBezTo>
                  <a:cubicBezTo>
                    <a:pt x="2391" y="6866"/>
                    <a:pt x="2461" y="6946"/>
                    <a:pt x="2503" y="7044"/>
                  </a:cubicBezTo>
                  <a:lnTo>
                    <a:pt x="2542" y="7044"/>
                  </a:lnTo>
                  <a:lnTo>
                    <a:pt x="2556" y="7041"/>
                  </a:lnTo>
                  <a:lnTo>
                    <a:pt x="2559" y="7041"/>
                  </a:lnTo>
                  <a:lnTo>
                    <a:pt x="2577" y="7037"/>
                  </a:lnTo>
                  <a:lnTo>
                    <a:pt x="2594" y="7034"/>
                  </a:lnTo>
                  <a:lnTo>
                    <a:pt x="2598" y="7034"/>
                  </a:lnTo>
                  <a:lnTo>
                    <a:pt x="2612" y="7027"/>
                  </a:lnTo>
                  <a:lnTo>
                    <a:pt x="2619" y="7027"/>
                  </a:lnTo>
                  <a:lnTo>
                    <a:pt x="2629" y="7023"/>
                  </a:lnTo>
                  <a:lnTo>
                    <a:pt x="2633" y="7020"/>
                  </a:lnTo>
                  <a:lnTo>
                    <a:pt x="2643" y="7013"/>
                  </a:lnTo>
                  <a:lnTo>
                    <a:pt x="2650" y="7013"/>
                  </a:lnTo>
                  <a:cubicBezTo>
                    <a:pt x="2654" y="7009"/>
                    <a:pt x="2657" y="7006"/>
                    <a:pt x="2661" y="7002"/>
                  </a:cubicBezTo>
                  <a:lnTo>
                    <a:pt x="2664" y="7002"/>
                  </a:lnTo>
                  <a:lnTo>
                    <a:pt x="2671" y="6995"/>
                  </a:lnTo>
                  <a:lnTo>
                    <a:pt x="2675" y="6988"/>
                  </a:lnTo>
                  <a:lnTo>
                    <a:pt x="2682" y="6981"/>
                  </a:lnTo>
                  <a:lnTo>
                    <a:pt x="2682" y="6978"/>
                  </a:lnTo>
                  <a:cubicBezTo>
                    <a:pt x="2685" y="6974"/>
                    <a:pt x="2685" y="6971"/>
                    <a:pt x="2685" y="6967"/>
                  </a:cubicBezTo>
                  <a:lnTo>
                    <a:pt x="2685" y="6964"/>
                  </a:lnTo>
                  <a:cubicBezTo>
                    <a:pt x="2689" y="6957"/>
                    <a:pt x="2689" y="6953"/>
                    <a:pt x="2685" y="6946"/>
                  </a:cubicBezTo>
                  <a:cubicBezTo>
                    <a:pt x="2685" y="6897"/>
                    <a:pt x="2696" y="6729"/>
                    <a:pt x="2815" y="6673"/>
                  </a:cubicBezTo>
                  <a:cubicBezTo>
                    <a:pt x="2837" y="6664"/>
                    <a:pt x="2860" y="6659"/>
                    <a:pt x="2884" y="6659"/>
                  </a:cubicBezTo>
                  <a:cubicBezTo>
                    <a:pt x="2952" y="6659"/>
                    <a:pt x="3030" y="6697"/>
                    <a:pt x="3116" y="6775"/>
                  </a:cubicBezTo>
                  <a:cubicBezTo>
                    <a:pt x="3204" y="6854"/>
                    <a:pt x="3237" y="6859"/>
                    <a:pt x="3246" y="6859"/>
                  </a:cubicBezTo>
                  <a:cubicBezTo>
                    <a:pt x="3247" y="6859"/>
                    <a:pt x="3248" y="6859"/>
                    <a:pt x="3249" y="6859"/>
                  </a:cubicBezTo>
                  <a:cubicBezTo>
                    <a:pt x="3263" y="6841"/>
                    <a:pt x="3273" y="6824"/>
                    <a:pt x="3280" y="6803"/>
                  </a:cubicBezTo>
                  <a:cubicBezTo>
                    <a:pt x="3287" y="6782"/>
                    <a:pt x="3298" y="6757"/>
                    <a:pt x="3312" y="6740"/>
                  </a:cubicBezTo>
                  <a:cubicBezTo>
                    <a:pt x="3341" y="6696"/>
                    <a:pt x="3384" y="6681"/>
                    <a:pt x="3433" y="6681"/>
                  </a:cubicBezTo>
                  <a:cubicBezTo>
                    <a:pt x="3477" y="6681"/>
                    <a:pt x="3526" y="6693"/>
                    <a:pt x="3574" y="6705"/>
                  </a:cubicBezTo>
                  <a:cubicBezTo>
                    <a:pt x="3627" y="6722"/>
                    <a:pt x="3679" y="6729"/>
                    <a:pt x="3735" y="6733"/>
                  </a:cubicBezTo>
                  <a:cubicBezTo>
                    <a:pt x="3865" y="6733"/>
                    <a:pt x="4047" y="6642"/>
                    <a:pt x="4047" y="6642"/>
                  </a:cubicBezTo>
                  <a:lnTo>
                    <a:pt x="4061" y="6635"/>
                  </a:lnTo>
                  <a:lnTo>
                    <a:pt x="4079" y="6635"/>
                  </a:lnTo>
                  <a:cubicBezTo>
                    <a:pt x="4388" y="6639"/>
                    <a:pt x="4778" y="6642"/>
                    <a:pt x="5138" y="6642"/>
                  </a:cubicBezTo>
                  <a:cubicBezTo>
                    <a:pt x="5653" y="6642"/>
                    <a:pt x="6108" y="6636"/>
                    <a:pt x="6183" y="6617"/>
                  </a:cubicBezTo>
                  <a:cubicBezTo>
                    <a:pt x="6211" y="6586"/>
                    <a:pt x="6228" y="6414"/>
                    <a:pt x="6221" y="6243"/>
                  </a:cubicBezTo>
                  <a:lnTo>
                    <a:pt x="6221" y="6239"/>
                  </a:lnTo>
                  <a:lnTo>
                    <a:pt x="6050" y="6067"/>
                  </a:lnTo>
                  <a:lnTo>
                    <a:pt x="6050" y="6046"/>
                  </a:lnTo>
                  <a:lnTo>
                    <a:pt x="5524" y="1142"/>
                  </a:lnTo>
                  <a:lnTo>
                    <a:pt x="6298" y="1142"/>
                  </a:lnTo>
                  <a:cubicBezTo>
                    <a:pt x="5430" y="568"/>
                    <a:pt x="4709" y="95"/>
                    <a:pt x="4569" y="11"/>
                  </a:cubicBezTo>
                  <a:lnTo>
                    <a:pt x="4555" y="4"/>
                  </a:lnTo>
                  <a:lnTo>
                    <a:pt x="454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2" name="Google Shape;4849;p64">
              <a:extLst>
                <a:ext uri="{FF2B5EF4-FFF2-40B4-BE49-F238E27FC236}">
                  <a16:creationId xmlns:a16="http://schemas.microsoft.com/office/drawing/2014/main" id="{8EDB4970-2199-5530-8AD1-78D838B59FB6}"/>
                </a:ext>
              </a:extLst>
            </p:cNvPr>
            <p:cNvSpPr/>
            <p:nvPr/>
          </p:nvSpPr>
          <p:spPr>
            <a:xfrm>
              <a:off x="1984366" y="1836088"/>
              <a:ext cx="54" cy="1385"/>
            </a:xfrm>
            <a:custGeom>
              <a:avLst/>
              <a:gdLst/>
              <a:ahLst/>
              <a:cxnLst/>
              <a:rect l="l" t="t" r="r" b="b"/>
              <a:pathLst>
                <a:path w="4" h="102" extrusionOk="0">
                  <a:moveTo>
                    <a:pt x="0" y="0"/>
                  </a:moveTo>
                  <a:cubicBezTo>
                    <a:pt x="0" y="18"/>
                    <a:pt x="1" y="37"/>
                    <a:pt x="2" y="55"/>
                  </a:cubicBezTo>
                  <a:lnTo>
                    <a:pt x="2" y="55"/>
                  </a:lnTo>
                  <a:lnTo>
                    <a:pt x="0" y="0"/>
                  </a:lnTo>
                  <a:close/>
                  <a:moveTo>
                    <a:pt x="2" y="55"/>
                  </a:moveTo>
                  <a:lnTo>
                    <a:pt x="4" y="102"/>
                  </a:lnTo>
                  <a:cubicBezTo>
                    <a:pt x="4" y="87"/>
                    <a:pt x="3" y="71"/>
                    <a:pt x="2" y="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3" name="Google Shape;4850;p64">
              <a:extLst>
                <a:ext uri="{FF2B5EF4-FFF2-40B4-BE49-F238E27FC236}">
                  <a16:creationId xmlns:a16="http://schemas.microsoft.com/office/drawing/2014/main" id="{39B60AAE-3C34-1427-EFC4-166912D06C72}"/>
                </a:ext>
              </a:extLst>
            </p:cNvPr>
            <p:cNvSpPr/>
            <p:nvPr/>
          </p:nvSpPr>
          <p:spPr>
            <a:xfrm>
              <a:off x="1984692" y="1836278"/>
              <a:ext cx="23503" cy="15410"/>
            </a:xfrm>
            <a:custGeom>
              <a:avLst/>
              <a:gdLst/>
              <a:ahLst/>
              <a:cxnLst/>
              <a:rect l="l" t="t" r="r" b="b"/>
              <a:pathLst>
                <a:path w="1731" h="1135" extrusionOk="0">
                  <a:moveTo>
                    <a:pt x="1" y="0"/>
                  </a:moveTo>
                  <a:lnTo>
                    <a:pt x="1" y="0"/>
                  </a:lnTo>
                  <a:cubicBezTo>
                    <a:pt x="141" y="88"/>
                    <a:pt x="862" y="560"/>
                    <a:pt x="1730" y="1134"/>
                  </a:cubicBezTo>
                  <a:cubicBezTo>
                    <a:pt x="809" y="525"/>
                    <a:pt x="137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4" name="Google Shape;4851;p64">
              <a:extLst>
                <a:ext uri="{FF2B5EF4-FFF2-40B4-BE49-F238E27FC236}">
                  <a16:creationId xmlns:a16="http://schemas.microsoft.com/office/drawing/2014/main" id="{E0DD3FF0-C930-5951-41E2-4744F9264253}"/>
                </a:ext>
              </a:extLst>
            </p:cNvPr>
            <p:cNvSpPr/>
            <p:nvPr/>
          </p:nvSpPr>
          <p:spPr>
            <a:xfrm>
              <a:off x="1984502" y="18361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5" name="Google Shape;4852;p64">
              <a:extLst>
                <a:ext uri="{FF2B5EF4-FFF2-40B4-BE49-F238E27FC236}">
                  <a16:creationId xmlns:a16="http://schemas.microsoft.com/office/drawing/2014/main" id="{F00C274E-00D4-5FEE-97A3-ED324351B3AB}"/>
                </a:ext>
              </a:extLst>
            </p:cNvPr>
            <p:cNvSpPr/>
            <p:nvPr/>
          </p:nvSpPr>
          <p:spPr>
            <a:xfrm>
              <a:off x="1924517" y="192121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6" name="Google Shape;4853;p64">
              <a:extLst>
                <a:ext uri="{FF2B5EF4-FFF2-40B4-BE49-F238E27FC236}">
                  <a16:creationId xmlns:a16="http://schemas.microsoft.com/office/drawing/2014/main" id="{777E4B78-4C6F-5853-008F-6C084CAF6F5A}"/>
                </a:ext>
              </a:extLst>
            </p:cNvPr>
            <p:cNvSpPr/>
            <p:nvPr/>
          </p:nvSpPr>
          <p:spPr>
            <a:xfrm>
              <a:off x="1953369" y="1928727"/>
              <a:ext cx="3204" cy="3245"/>
            </a:xfrm>
            <a:custGeom>
              <a:avLst/>
              <a:gdLst/>
              <a:ahLst/>
              <a:cxnLst/>
              <a:rect l="l" t="t" r="r" b="b"/>
              <a:pathLst>
                <a:path w="236" h="239" extrusionOk="0">
                  <a:moveTo>
                    <a:pt x="1" y="0"/>
                  </a:moveTo>
                  <a:cubicBezTo>
                    <a:pt x="102" y="53"/>
                    <a:pt x="183" y="137"/>
                    <a:pt x="235" y="238"/>
                  </a:cubicBezTo>
                  <a:lnTo>
                    <a:pt x="235" y="238"/>
                  </a:lnTo>
                  <a:cubicBezTo>
                    <a:pt x="183" y="137"/>
                    <a:pt x="102" y="5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7" name="Google Shape;4854;p64">
              <a:extLst>
                <a:ext uri="{FF2B5EF4-FFF2-40B4-BE49-F238E27FC236}">
                  <a16:creationId xmlns:a16="http://schemas.microsoft.com/office/drawing/2014/main" id="{532FDE0D-2487-1E45-2FAE-97AC8FD73174}"/>
                </a:ext>
              </a:extLst>
            </p:cNvPr>
            <p:cNvSpPr/>
            <p:nvPr/>
          </p:nvSpPr>
          <p:spPr>
            <a:xfrm>
              <a:off x="1929893" y="1918544"/>
              <a:ext cx="4671" cy="258"/>
            </a:xfrm>
            <a:custGeom>
              <a:avLst/>
              <a:gdLst/>
              <a:ahLst/>
              <a:cxnLst/>
              <a:rect l="l" t="t" r="r" b="b"/>
              <a:pathLst>
                <a:path w="344" h="19" extrusionOk="0">
                  <a:moveTo>
                    <a:pt x="0" y="15"/>
                  </a:moveTo>
                  <a:cubicBezTo>
                    <a:pt x="116" y="18"/>
                    <a:pt x="231" y="15"/>
                    <a:pt x="343" y="1"/>
                  </a:cubicBezTo>
                  <a:cubicBezTo>
                    <a:pt x="231" y="15"/>
                    <a:pt x="116" y="1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8" name="Google Shape;4855;p64">
              <a:extLst>
                <a:ext uri="{FF2B5EF4-FFF2-40B4-BE49-F238E27FC236}">
                  <a16:creationId xmlns:a16="http://schemas.microsoft.com/office/drawing/2014/main" id="{F37DEB9B-CEDC-5871-64A1-1FD8E765BDC7}"/>
                </a:ext>
              </a:extLst>
            </p:cNvPr>
            <p:cNvSpPr/>
            <p:nvPr/>
          </p:nvSpPr>
          <p:spPr>
            <a:xfrm>
              <a:off x="1983796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9" name="Google Shape;4856;p64">
              <a:extLst>
                <a:ext uri="{FF2B5EF4-FFF2-40B4-BE49-F238E27FC236}">
                  <a16:creationId xmlns:a16="http://schemas.microsoft.com/office/drawing/2014/main" id="{0F41C5AB-9DCD-95F3-D1DA-29B404E7E8E7}"/>
                </a:ext>
              </a:extLst>
            </p:cNvPr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0" name="Google Shape;4857;p64">
              <a:extLst>
                <a:ext uri="{FF2B5EF4-FFF2-40B4-BE49-F238E27FC236}">
                  <a16:creationId xmlns:a16="http://schemas.microsoft.com/office/drawing/2014/main" id="{5AE9531F-9E65-593E-0410-80E44458C7AC}"/>
                </a:ext>
              </a:extLst>
            </p:cNvPr>
            <p:cNvSpPr/>
            <p:nvPr/>
          </p:nvSpPr>
          <p:spPr>
            <a:xfrm>
              <a:off x="1984081" y="184515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1" name="Google Shape;4858;p64">
              <a:extLst>
                <a:ext uri="{FF2B5EF4-FFF2-40B4-BE49-F238E27FC236}">
                  <a16:creationId xmlns:a16="http://schemas.microsoft.com/office/drawing/2014/main" id="{A11CEC64-CF32-D38E-6CF8-900E6C59A82A}"/>
                </a:ext>
              </a:extLst>
            </p:cNvPr>
            <p:cNvSpPr/>
            <p:nvPr/>
          </p:nvSpPr>
          <p:spPr>
            <a:xfrm>
              <a:off x="1983891" y="1845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2" name="Google Shape;4859;p64">
              <a:extLst>
                <a:ext uri="{FF2B5EF4-FFF2-40B4-BE49-F238E27FC236}">
                  <a16:creationId xmlns:a16="http://schemas.microsoft.com/office/drawing/2014/main" id="{A90B0D15-FAF9-B419-C327-909FD303D6B5}"/>
                </a:ext>
              </a:extLst>
            </p:cNvPr>
            <p:cNvSpPr/>
            <p:nvPr/>
          </p:nvSpPr>
          <p:spPr>
            <a:xfrm>
              <a:off x="1984122" y="18450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3" name="Google Shape;4860;p64">
              <a:extLst>
                <a:ext uri="{FF2B5EF4-FFF2-40B4-BE49-F238E27FC236}">
                  <a16:creationId xmlns:a16="http://schemas.microsoft.com/office/drawing/2014/main" id="{EC608333-3442-DAF0-0CB6-77B133EAE270}"/>
                </a:ext>
              </a:extLst>
            </p:cNvPr>
            <p:cNvSpPr/>
            <p:nvPr/>
          </p:nvSpPr>
          <p:spPr>
            <a:xfrm>
              <a:off x="1984366" y="1843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4" name="Google Shape;4861;p64">
              <a:extLst>
                <a:ext uri="{FF2B5EF4-FFF2-40B4-BE49-F238E27FC236}">
                  <a16:creationId xmlns:a16="http://schemas.microsoft.com/office/drawing/2014/main" id="{D5259279-0292-69A7-5897-7C388624E47B}"/>
                </a:ext>
              </a:extLst>
            </p:cNvPr>
            <p:cNvSpPr/>
            <p:nvPr/>
          </p:nvSpPr>
          <p:spPr>
            <a:xfrm>
              <a:off x="1983932" y="18454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5" name="Google Shape;4862;p64">
              <a:extLst>
                <a:ext uri="{FF2B5EF4-FFF2-40B4-BE49-F238E27FC236}">
                  <a16:creationId xmlns:a16="http://schemas.microsoft.com/office/drawing/2014/main" id="{D318BFED-722D-3EA4-FACC-921CD5AD0A35}"/>
                </a:ext>
              </a:extLst>
            </p:cNvPr>
            <p:cNvSpPr/>
            <p:nvPr/>
          </p:nvSpPr>
          <p:spPr>
            <a:xfrm>
              <a:off x="1984027" y="18452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6" name="Google Shape;4863;p64">
              <a:extLst>
                <a:ext uri="{FF2B5EF4-FFF2-40B4-BE49-F238E27FC236}">
                  <a16:creationId xmlns:a16="http://schemas.microsoft.com/office/drawing/2014/main" id="{5C38D47E-59A9-9A22-3ABD-863A59F7B95F}"/>
                </a:ext>
              </a:extLst>
            </p:cNvPr>
            <p:cNvSpPr/>
            <p:nvPr/>
          </p:nvSpPr>
          <p:spPr>
            <a:xfrm>
              <a:off x="1984407" y="184026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7" name="Google Shape;4864;p64">
              <a:extLst>
                <a:ext uri="{FF2B5EF4-FFF2-40B4-BE49-F238E27FC236}">
                  <a16:creationId xmlns:a16="http://schemas.microsoft.com/office/drawing/2014/main" id="{70F3284A-4AB1-8B7B-73F2-12FB8C1D7DF7}"/>
                </a:ext>
              </a:extLst>
            </p:cNvPr>
            <p:cNvSpPr/>
            <p:nvPr/>
          </p:nvSpPr>
          <p:spPr>
            <a:xfrm>
              <a:off x="1984407" y="184179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8" name="Google Shape;4865;p64">
              <a:extLst>
                <a:ext uri="{FF2B5EF4-FFF2-40B4-BE49-F238E27FC236}">
                  <a16:creationId xmlns:a16="http://schemas.microsoft.com/office/drawing/2014/main" id="{81A25453-5D57-6F0A-D45E-F0F637BF0A07}"/>
                </a:ext>
              </a:extLst>
            </p:cNvPr>
            <p:cNvSpPr/>
            <p:nvPr/>
          </p:nvSpPr>
          <p:spPr>
            <a:xfrm>
              <a:off x="1984217" y="18447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9" name="Google Shape;4866;p64">
              <a:extLst>
                <a:ext uri="{FF2B5EF4-FFF2-40B4-BE49-F238E27FC236}">
                  <a16:creationId xmlns:a16="http://schemas.microsoft.com/office/drawing/2014/main" id="{06A86471-1BE4-FE7D-7C04-200575E841C2}"/>
                </a:ext>
              </a:extLst>
            </p:cNvPr>
            <p:cNvSpPr/>
            <p:nvPr/>
          </p:nvSpPr>
          <p:spPr>
            <a:xfrm>
              <a:off x="1984271" y="1844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0" name="Google Shape;4867;p64">
              <a:extLst>
                <a:ext uri="{FF2B5EF4-FFF2-40B4-BE49-F238E27FC236}">
                  <a16:creationId xmlns:a16="http://schemas.microsoft.com/office/drawing/2014/main" id="{18AE9988-F7D6-B622-EB67-2402853D117F}"/>
                </a:ext>
              </a:extLst>
            </p:cNvPr>
            <p:cNvSpPr/>
            <p:nvPr/>
          </p:nvSpPr>
          <p:spPr>
            <a:xfrm>
              <a:off x="1984366" y="18437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1" name="Google Shape;4868;p64">
              <a:extLst>
                <a:ext uri="{FF2B5EF4-FFF2-40B4-BE49-F238E27FC236}">
                  <a16:creationId xmlns:a16="http://schemas.microsoft.com/office/drawing/2014/main" id="{40806FEA-B462-9AC9-4ED2-8AB18BBC5B3F}"/>
                </a:ext>
              </a:extLst>
            </p:cNvPr>
            <p:cNvSpPr/>
            <p:nvPr/>
          </p:nvSpPr>
          <p:spPr>
            <a:xfrm>
              <a:off x="1984366" y="18439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2" name="Google Shape;4869;p64">
              <a:extLst>
                <a:ext uri="{FF2B5EF4-FFF2-40B4-BE49-F238E27FC236}">
                  <a16:creationId xmlns:a16="http://schemas.microsoft.com/office/drawing/2014/main" id="{D9B4ECD4-58EF-C93F-C6F6-AA3FEE30A4DC}"/>
                </a:ext>
              </a:extLst>
            </p:cNvPr>
            <p:cNvSpPr/>
            <p:nvPr/>
          </p:nvSpPr>
          <p:spPr>
            <a:xfrm>
              <a:off x="1984407" y="18427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3" name="Google Shape;4870;p64">
              <a:extLst>
                <a:ext uri="{FF2B5EF4-FFF2-40B4-BE49-F238E27FC236}">
                  <a16:creationId xmlns:a16="http://schemas.microsoft.com/office/drawing/2014/main" id="{774906E8-0D69-3D2B-1BAE-213B920968F2}"/>
                </a:ext>
              </a:extLst>
            </p:cNvPr>
            <p:cNvSpPr/>
            <p:nvPr/>
          </p:nvSpPr>
          <p:spPr>
            <a:xfrm>
              <a:off x="1984312" y="18443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4" name="Google Shape;4871;p64">
              <a:extLst>
                <a:ext uri="{FF2B5EF4-FFF2-40B4-BE49-F238E27FC236}">
                  <a16:creationId xmlns:a16="http://schemas.microsoft.com/office/drawing/2014/main" id="{D4F5D521-4CB6-2342-D867-0F1029EB7737}"/>
                </a:ext>
              </a:extLst>
            </p:cNvPr>
            <p:cNvSpPr/>
            <p:nvPr/>
          </p:nvSpPr>
          <p:spPr>
            <a:xfrm>
              <a:off x="1984176" y="184496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5" name="Google Shape;4872;p64">
              <a:extLst>
                <a:ext uri="{FF2B5EF4-FFF2-40B4-BE49-F238E27FC236}">
                  <a16:creationId xmlns:a16="http://schemas.microsoft.com/office/drawing/2014/main" id="{50F29D5E-C25E-7027-F2DA-FC3898650259}"/>
                </a:ext>
              </a:extLst>
            </p:cNvPr>
            <p:cNvSpPr/>
            <p:nvPr/>
          </p:nvSpPr>
          <p:spPr>
            <a:xfrm>
              <a:off x="1983986" y="18453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6" name="Google Shape;4873;p64">
              <a:extLst>
                <a:ext uri="{FF2B5EF4-FFF2-40B4-BE49-F238E27FC236}">
                  <a16:creationId xmlns:a16="http://schemas.microsoft.com/office/drawing/2014/main" id="{20FBC803-A248-C6E7-929F-5F8FE0947B21}"/>
                </a:ext>
              </a:extLst>
            </p:cNvPr>
            <p:cNvSpPr/>
            <p:nvPr/>
          </p:nvSpPr>
          <p:spPr>
            <a:xfrm>
              <a:off x="1984176" y="1844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7" name="Google Shape;4874;p64">
              <a:extLst>
                <a:ext uri="{FF2B5EF4-FFF2-40B4-BE49-F238E27FC236}">
                  <a16:creationId xmlns:a16="http://schemas.microsoft.com/office/drawing/2014/main" id="{A7E5D5AD-82C0-DDA8-04C8-596772B40117}"/>
                </a:ext>
              </a:extLst>
            </p:cNvPr>
            <p:cNvSpPr/>
            <p:nvPr/>
          </p:nvSpPr>
          <p:spPr>
            <a:xfrm>
              <a:off x="1984407" y="1842971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8" name="Google Shape;4875;p64">
              <a:extLst>
                <a:ext uri="{FF2B5EF4-FFF2-40B4-BE49-F238E27FC236}">
                  <a16:creationId xmlns:a16="http://schemas.microsoft.com/office/drawing/2014/main" id="{BF796F7D-E631-FF70-A009-1634EEE06A09}"/>
                </a:ext>
              </a:extLst>
            </p:cNvPr>
            <p:cNvSpPr/>
            <p:nvPr/>
          </p:nvSpPr>
          <p:spPr>
            <a:xfrm>
              <a:off x="1984407" y="184078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9" name="Google Shape;4876;p64">
              <a:extLst>
                <a:ext uri="{FF2B5EF4-FFF2-40B4-BE49-F238E27FC236}">
                  <a16:creationId xmlns:a16="http://schemas.microsoft.com/office/drawing/2014/main" id="{CEAA9715-F87A-7C34-584C-0A12528B2FFB}"/>
                </a:ext>
              </a:extLst>
            </p:cNvPr>
            <p:cNvSpPr/>
            <p:nvPr/>
          </p:nvSpPr>
          <p:spPr>
            <a:xfrm>
              <a:off x="1984407" y="1837459"/>
              <a:ext cx="68" cy="2729"/>
            </a:xfrm>
            <a:custGeom>
              <a:avLst/>
              <a:gdLst/>
              <a:ahLst/>
              <a:cxnLst/>
              <a:rect l="l" t="t" r="r" b="b"/>
              <a:pathLst>
                <a:path w="5" h="201" extrusionOk="0">
                  <a:moveTo>
                    <a:pt x="1" y="1"/>
                  </a:moveTo>
                  <a:cubicBezTo>
                    <a:pt x="1" y="78"/>
                    <a:pt x="1" y="144"/>
                    <a:pt x="4" y="200"/>
                  </a:cubicBezTo>
                  <a:cubicBezTo>
                    <a:pt x="4" y="144"/>
                    <a:pt x="4" y="7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0" name="Google Shape;4877;p64">
              <a:extLst>
                <a:ext uri="{FF2B5EF4-FFF2-40B4-BE49-F238E27FC236}">
                  <a16:creationId xmlns:a16="http://schemas.microsoft.com/office/drawing/2014/main" id="{99EDAD98-3E1E-E3C4-7D4D-067739EFFCF7}"/>
                </a:ext>
              </a:extLst>
            </p:cNvPr>
            <p:cNvSpPr/>
            <p:nvPr/>
          </p:nvSpPr>
          <p:spPr>
            <a:xfrm>
              <a:off x="1984407" y="184131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1" name="Google Shape;4878;p64">
              <a:extLst>
                <a:ext uri="{FF2B5EF4-FFF2-40B4-BE49-F238E27FC236}">
                  <a16:creationId xmlns:a16="http://schemas.microsoft.com/office/drawing/2014/main" id="{090A212E-592B-5414-B8F1-B80DF6D1ACE4}"/>
                </a:ext>
              </a:extLst>
            </p:cNvPr>
            <p:cNvSpPr/>
            <p:nvPr/>
          </p:nvSpPr>
          <p:spPr>
            <a:xfrm>
              <a:off x="1984407" y="184221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2" name="Google Shape;4879;p64">
              <a:extLst>
                <a:ext uri="{FF2B5EF4-FFF2-40B4-BE49-F238E27FC236}">
                  <a16:creationId xmlns:a16="http://schemas.microsoft.com/office/drawing/2014/main" id="{6685142F-C8F9-35F1-4DD4-88C2242E5BC2}"/>
                </a:ext>
              </a:extLst>
            </p:cNvPr>
            <p:cNvSpPr/>
            <p:nvPr/>
          </p:nvSpPr>
          <p:spPr>
            <a:xfrm>
              <a:off x="1984366" y="1836128"/>
              <a:ext cx="14" cy="1344"/>
            </a:xfrm>
            <a:custGeom>
              <a:avLst/>
              <a:gdLst/>
              <a:ahLst/>
              <a:cxnLst/>
              <a:rect l="l" t="t" r="r" b="b"/>
              <a:pathLst>
                <a:path w="1" h="99" extrusionOk="0">
                  <a:moveTo>
                    <a:pt x="0" y="1"/>
                  </a:moveTo>
                  <a:lnTo>
                    <a:pt x="0" y="1"/>
                  </a:lnTo>
                  <a:lnTo>
                    <a:pt x="0" y="99"/>
                  </a:lnTo>
                  <a:lnTo>
                    <a:pt x="0" y="99"/>
                  </a:lnTo>
                  <a:cubicBezTo>
                    <a:pt x="0" y="67"/>
                    <a:pt x="0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3" name="Google Shape;4880;p64">
              <a:extLst>
                <a:ext uri="{FF2B5EF4-FFF2-40B4-BE49-F238E27FC236}">
                  <a16:creationId xmlns:a16="http://schemas.microsoft.com/office/drawing/2014/main" id="{CFE3548D-7D1A-CC64-A95A-69FC1B615CF3}"/>
                </a:ext>
              </a:extLst>
            </p:cNvPr>
            <p:cNvSpPr/>
            <p:nvPr/>
          </p:nvSpPr>
          <p:spPr>
            <a:xfrm>
              <a:off x="1957170" y="1853426"/>
              <a:ext cx="121505" cy="113481"/>
            </a:xfrm>
            <a:custGeom>
              <a:avLst/>
              <a:gdLst/>
              <a:ahLst/>
              <a:cxnLst/>
              <a:rect l="l" t="t" r="r" b="b"/>
              <a:pathLst>
                <a:path w="8949" h="8358" extrusionOk="0">
                  <a:moveTo>
                    <a:pt x="3109" y="1"/>
                  </a:moveTo>
                  <a:lnTo>
                    <a:pt x="3614" y="4737"/>
                  </a:lnTo>
                  <a:lnTo>
                    <a:pt x="3789" y="4913"/>
                  </a:lnTo>
                  <a:lnTo>
                    <a:pt x="3789" y="4937"/>
                  </a:lnTo>
                  <a:cubicBezTo>
                    <a:pt x="3799" y="5109"/>
                    <a:pt x="3799" y="5406"/>
                    <a:pt x="3680" y="5466"/>
                  </a:cubicBezTo>
                  <a:cubicBezTo>
                    <a:pt x="3618" y="5495"/>
                    <a:pt x="3071" y="5503"/>
                    <a:pt x="2511" y="5503"/>
                  </a:cubicBezTo>
                  <a:cubicBezTo>
                    <a:pt x="2147" y="5503"/>
                    <a:pt x="1777" y="5500"/>
                    <a:pt x="1531" y="5497"/>
                  </a:cubicBezTo>
                  <a:cubicBezTo>
                    <a:pt x="1482" y="5522"/>
                    <a:pt x="1313" y="5595"/>
                    <a:pt x="1173" y="5595"/>
                  </a:cubicBezTo>
                  <a:cubicBezTo>
                    <a:pt x="1107" y="5592"/>
                    <a:pt x="1044" y="5581"/>
                    <a:pt x="981" y="5564"/>
                  </a:cubicBezTo>
                  <a:lnTo>
                    <a:pt x="963" y="5560"/>
                  </a:lnTo>
                  <a:cubicBezTo>
                    <a:pt x="950" y="5535"/>
                    <a:pt x="927" y="5524"/>
                    <a:pt x="904" y="5524"/>
                  </a:cubicBezTo>
                  <a:cubicBezTo>
                    <a:pt x="873" y="5524"/>
                    <a:pt x="843" y="5545"/>
                    <a:pt x="841" y="5581"/>
                  </a:cubicBezTo>
                  <a:cubicBezTo>
                    <a:pt x="820" y="5630"/>
                    <a:pt x="792" y="5700"/>
                    <a:pt x="718" y="5718"/>
                  </a:cubicBezTo>
                  <a:cubicBezTo>
                    <a:pt x="709" y="5720"/>
                    <a:pt x="699" y="5721"/>
                    <a:pt x="688" y="5721"/>
                  </a:cubicBezTo>
                  <a:cubicBezTo>
                    <a:pt x="626" y="5721"/>
                    <a:pt x="557" y="5683"/>
                    <a:pt x="466" y="5602"/>
                  </a:cubicBezTo>
                  <a:cubicBezTo>
                    <a:pt x="400" y="5541"/>
                    <a:pt x="350" y="5519"/>
                    <a:pt x="323" y="5519"/>
                  </a:cubicBezTo>
                  <a:cubicBezTo>
                    <a:pt x="317" y="5519"/>
                    <a:pt x="312" y="5520"/>
                    <a:pt x="309" y="5522"/>
                  </a:cubicBezTo>
                  <a:cubicBezTo>
                    <a:pt x="277" y="5536"/>
                    <a:pt x="256" y="5602"/>
                    <a:pt x="256" y="5676"/>
                  </a:cubicBezTo>
                  <a:cubicBezTo>
                    <a:pt x="256" y="5690"/>
                    <a:pt x="256" y="5704"/>
                    <a:pt x="253" y="5718"/>
                  </a:cubicBezTo>
                  <a:lnTo>
                    <a:pt x="253" y="5725"/>
                  </a:lnTo>
                  <a:cubicBezTo>
                    <a:pt x="249" y="5735"/>
                    <a:pt x="246" y="5746"/>
                    <a:pt x="242" y="5760"/>
                  </a:cubicBezTo>
                  <a:lnTo>
                    <a:pt x="239" y="5763"/>
                  </a:lnTo>
                  <a:cubicBezTo>
                    <a:pt x="232" y="5777"/>
                    <a:pt x="228" y="5788"/>
                    <a:pt x="218" y="5798"/>
                  </a:cubicBezTo>
                  <a:cubicBezTo>
                    <a:pt x="211" y="5809"/>
                    <a:pt x="204" y="5819"/>
                    <a:pt x="193" y="5826"/>
                  </a:cubicBezTo>
                  <a:lnTo>
                    <a:pt x="190" y="5830"/>
                  </a:lnTo>
                  <a:cubicBezTo>
                    <a:pt x="179" y="5840"/>
                    <a:pt x="169" y="5847"/>
                    <a:pt x="158" y="5854"/>
                  </a:cubicBezTo>
                  <a:lnTo>
                    <a:pt x="151" y="5858"/>
                  </a:lnTo>
                  <a:cubicBezTo>
                    <a:pt x="137" y="5868"/>
                    <a:pt x="123" y="5875"/>
                    <a:pt x="109" y="5879"/>
                  </a:cubicBezTo>
                  <a:lnTo>
                    <a:pt x="106" y="5879"/>
                  </a:lnTo>
                  <a:cubicBezTo>
                    <a:pt x="92" y="5886"/>
                    <a:pt x="74" y="5889"/>
                    <a:pt x="60" y="5896"/>
                  </a:cubicBezTo>
                  <a:lnTo>
                    <a:pt x="57" y="5896"/>
                  </a:lnTo>
                  <a:cubicBezTo>
                    <a:pt x="43" y="5900"/>
                    <a:pt x="25" y="5903"/>
                    <a:pt x="4" y="5907"/>
                  </a:cubicBezTo>
                  <a:lnTo>
                    <a:pt x="1" y="5907"/>
                  </a:lnTo>
                  <a:cubicBezTo>
                    <a:pt x="18" y="5928"/>
                    <a:pt x="25" y="5942"/>
                    <a:pt x="25" y="5949"/>
                  </a:cubicBezTo>
                  <a:lnTo>
                    <a:pt x="134" y="6110"/>
                  </a:lnTo>
                  <a:lnTo>
                    <a:pt x="134" y="6131"/>
                  </a:lnTo>
                  <a:cubicBezTo>
                    <a:pt x="127" y="6215"/>
                    <a:pt x="141" y="6365"/>
                    <a:pt x="197" y="6421"/>
                  </a:cubicBezTo>
                  <a:cubicBezTo>
                    <a:pt x="379" y="6603"/>
                    <a:pt x="487" y="6726"/>
                    <a:pt x="505" y="6810"/>
                  </a:cubicBezTo>
                  <a:cubicBezTo>
                    <a:pt x="505" y="6813"/>
                    <a:pt x="505" y="6820"/>
                    <a:pt x="508" y="6827"/>
                  </a:cubicBezTo>
                  <a:cubicBezTo>
                    <a:pt x="512" y="6866"/>
                    <a:pt x="512" y="6901"/>
                    <a:pt x="512" y="6940"/>
                  </a:cubicBezTo>
                  <a:lnTo>
                    <a:pt x="512" y="7073"/>
                  </a:lnTo>
                  <a:lnTo>
                    <a:pt x="508" y="7160"/>
                  </a:lnTo>
                  <a:lnTo>
                    <a:pt x="508" y="7181"/>
                  </a:lnTo>
                  <a:lnTo>
                    <a:pt x="508" y="7216"/>
                  </a:lnTo>
                  <a:lnTo>
                    <a:pt x="508" y="7255"/>
                  </a:lnTo>
                  <a:cubicBezTo>
                    <a:pt x="515" y="7276"/>
                    <a:pt x="522" y="7297"/>
                    <a:pt x="529" y="7314"/>
                  </a:cubicBezTo>
                  <a:lnTo>
                    <a:pt x="529" y="7318"/>
                  </a:lnTo>
                  <a:cubicBezTo>
                    <a:pt x="536" y="7335"/>
                    <a:pt x="543" y="7349"/>
                    <a:pt x="554" y="7367"/>
                  </a:cubicBezTo>
                  <a:cubicBezTo>
                    <a:pt x="591" y="7316"/>
                    <a:pt x="634" y="7300"/>
                    <a:pt x="676" y="7300"/>
                  </a:cubicBezTo>
                  <a:cubicBezTo>
                    <a:pt x="720" y="7300"/>
                    <a:pt x="763" y="7319"/>
                    <a:pt x="792" y="7332"/>
                  </a:cubicBezTo>
                  <a:cubicBezTo>
                    <a:pt x="809" y="7342"/>
                    <a:pt x="823" y="7346"/>
                    <a:pt x="844" y="7349"/>
                  </a:cubicBezTo>
                  <a:cubicBezTo>
                    <a:pt x="844" y="7349"/>
                    <a:pt x="848" y="7346"/>
                    <a:pt x="851" y="7335"/>
                  </a:cubicBezTo>
                  <a:cubicBezTo>
                    <a:pt x="865" y="7290"/>
                    <a:pt x="897" y="7255"/>
                    <a:pt x="939" y="7237"/>
                  </a:cubicBezTo>
                  <a:cubicBezTo>
                    <a:pt x="957" y="7231"/>
                    <a:pt x="976" y="7228"/>
                    <a:pt x="996" y="7228"/>
                  </a:cubicBezTo>
                  <a:cubicBezTo>
                    <a:pt x="1060" y="7228"/>
                    <a:pt x="1128" y="7259"/>
                    <a:pt x="1187" y="7286"/>
                  </a:cubicBezTo>
                  <a:cubicBezTo>
                    <a:pt x="1219" y="7304"/>
                    <a:pt x="1250" y="7318"/>
                    <a:pt x="1282" y="7325"/>
                  </a:cubicBezTo>
                  <a:cubicBezTo>
                    <a:pt x="1313" y="7321"/>
                    <a:pt x="1405" y="7237"/>
                    <a:pt x="1454" y="7192"/>
                  </a:cubicBezTo>
                  <a:cubicBezTo>
                    <a:pt x="1544" y="7108"/>
                    <a:pt x="1606" y="7049"/>
                    <a:pt x="1666" y="7049"/>
                  </a:cubicBezTo>
                  <a:cubicBezTo>
                    <a:pt x="1673" y="7049"/>
                    <a:pt x="1681" y="7050"/>
                    <a:pt x="1688" y="7052"/>
                  </a:cubicBezTo>
                  <a:cubicBezTo>
                    <a:pt x="1797" y="7080"/>
                    <a:pt x="1947" y="7395"/>
                    <a:pt x="1947" y="7521"/>
                  </a:cubicBezTo>
                  <a:cubicBezTo>
                    <a:pt x="1947" y="7545"/>
                    <a:pt x="2028" y="7608"/>
                    <a:pt x="2059" y="7629"/>
                  </a:cubicBezTo>
                  <a:cubicBezTo>
                    <a:pt x="2122" y="7678"/>
                    <a:pt x="2171" y="7717"/>
                    <a:pt x="2161" y="7773"/>
                  </a:cubicBezTo>
                  <a:cubicBezTo>
                    <a:pt x="2154" y="7808"/>
                    <a:pt x="2129" y="7832"/>
                    <a:pt x="2098" y="7839"/>
                  </a:cubicBezTo>
                  <a:cubicBezTo>
                    <a:pt x="2080" y="7846"/>
                    <a:pt x="2066" y="7864"/>
                    <a:pt x="2063" y="7881"/>
                  </a:cubicBezTo>
                  <a:cubicBezTo>
                    <a:pt x="2059" y="7888"/>
                    <a:pt x="2059" y="7899"/>
                    <a:pt x="2063" y="7906"/>
                  </a:cubicBezTo>
                  <a:lnTo>
                    <a:pt x="2073" y="7906"/>
                  </a:lnTo>
                  <a:cubicBezTo>
                    <a:pt x="2199" y="7906"/>
                    <a:pt x="2217" y="8032"/>
                    <a:pt x="2227" y="8116"/>
                  </a:cubicBezTo>
                  <a:cubicBezTo>
                    <a:pt x="2231" y="8161"/>
                    <a:pt x="2241" y="8203"/>
                    <a:pt x="2259" y="8242"/>
                  </a:cubicBezTo>
                  <a:cubicBezTo>
                    <a:pt x="2273" y="8266"/>
                    <a:pt x="2294" y="8284"/>
                    <a:pt x="2315" y="8301"/>
                  </a:cubicBezTo>
                  <a:cubicBezTo>
                    <a:pt x="2332" y="8315"/>
                    <a:pt x="2350" y="8322"/>
                    <a:pt x="2367" y="8322"/>
                  </a:cubicBezTo>
                  <a:lnTo>
                    <a:pt x="2374" y="8319"/>
                  </a:lnTo>
                  <a:lnTo>
                    <a:pt x="2378" y="8319"/>
                  </a:lnTo>
                  <a:cubicBezTo>
                    <a:pt x="2381" y="8315"/>
                    <a:pt x="2385" y="8312"/>
                    <a:pt x="2388" y="8308"/>
                  </a:cubicBezTo>
                  <a:lnTo>
                    <a:pt x="2392" y="8301"/>
                  </a:lnTo>
                  <a:lnTo>
                    <a:pt x="2395" y="8298"/>
                  </a:lnTo>
                  <a:cubicBezTo>
                    <a:pt x="2399" y="8294"/>
                    <a:pt x="2399" y="8287"/>
                    <a:pt x="2402" y="8284"/>
                  </a:cubicBezTo>
                  <a:cubicBezTo>
                    <a:pt x="2420" y="8238"/>
                    <a:pt x="2458" y="8203"/>
                    <a:pt x="2504" y="8186"/>
                  </a:cubicBezTo>
                  <a:cubicBezTo>
                    <a:pt x="2514" y="8182"/>
                    <a:pt x="2521" y="8182"/>
                    <a:pt x="2532" y="8179"/>
                  </a:cubicBezTo>
                  <a:lnTo>
                    <a:pt x="2574" y="8179"/>
                  </a:lnTo>
                  <a:cubicBezTo>
                    <a:pt x="2581" y="8182"/>
                    <a:pt x="2588" y="8182"/>
                    <a:pt x="2595" y="8186"/>
                  </a:cubicBezTo>
                  <a:lnTo>
                    <a:pt x="2612" y="8189"/>
                  </a:lnTo>
                  <a:cubicBezTo>
                    <a:pt x="2619" y="8193"/>
                    <a:pt x="2626" y="8196"/>
                    <a:pt x="2633" y="8200"/>
                  </a:cubicBezTo>
                  <a:lnTo>
                    <a:pt x="2647" y="8207"/>
                  </a:lnTo>
                  <a:cubicBezTo>
                    <a:pt x="2654" y="8214"/>
                    <a:pt x="2661" y="8217"/>
                    <a:pt x="2668" y="8221"/>
                  </a:cubicBezTo>
                  <a:lnTo>
                    <a:pt x="2682" y="8231"/>
                  </a:lnTo>
                  <a:cubicBezTo>
                    <a:pt x="2689" y="8235"/>
                    <a:pt x="2696" y="8242"/>
                    <a:pt x="2703" y="8249"/>
                  </a:cubicBezTo>
                  <a:lnTo>
                    <a:pt x="2714" y="8259"/>
                  </a:lnTo>
                  <a:cubicBezTo>
                    <a:pt x="2721" y="8266"/>
                    <a:pt x="2728" y="8270"/>
                    <a:pt x="2731" y="8277"/>
                  </a:cubicBezTo>
                  <a:lnTo>
                    <a:pt x="2742" y="8287"/>
                  </a:lnTo>
                  <a:cubicBezTo>
                    <a:pt x="2749" y="8294"/>
                    <a:pt x="2756" y="8301"/>
                    <a:pt x="2763" y="8308"/>
                  </a:cubicBezTo>
                  <a:lnTo>
                    <a:pt x="2770" y="8319"/>
                  </a:lnTo>
                  <a:cubicBezTo>
                    <a:pt x="2777" y="8329"/>
                    <a:pt x="2787" y="8340"/>
                    <a:pt x="2794" y="8350"/>
                  </a:cubicBezTo>
                  <a:cubicBezTo>
                    <a:pt x="2799" y="8357"/>
                    <a:pt x="2807" y="8358"/>
                    <a:pt x="2815" y="8358"/>
                  </a:cubicBezTo>
                  <a:cubicBezTo>
                    <a:pt x="2820" y="8358"/>
                    <a:pt x="2825" y="8357"/>
                    <a:pt x="2829" y="8357"/>
                  </a:cubicBezTo>
                  <a:cubicBezTo>
                    <a:pt x="2899" y="8343"/>
                    <a:pt x="2955" y="8294"/>
                    <a:pt x="2983" y="8224"/>
                  </a:cubicBezTo>
                  <a:cubicBezTo>
                    <a:pt x="3009" y="8121"/>
                    <a:pt x="3130" y="8054"/>
                    <a:pt x="3233" y="8054"/>
                  </a:cubicBezTo>
                  <a:cubicBezTo>
                    <a:pt x="3244" y="8054"/>
                    <a:pt x="3256" y="8054"/>
                    <a:pt x="3267" y="8056"/>
                  </a:cubicBezTo>
                  <a:cubicBezTo>
                    <a:pt x="3344" y="8067"/>
                    <a:pt x="3400" y="8140"/>
                    <a:pt x="3386" y="8217"/>
                  </a:cubicBezTo>
                  <a:cubicBezTo>
                    <a:pt x="3382" y="8235"/>
                    <a:pt x="3382" y="8256"/>
                    <a:pt x="3386" y="8273"/>
                  </a:cubicBezTo>
                  <a:cubicBezTo>
                    <a:pt x="3418" y="8259"/>
                    <a:pt x="3449" y="8242"/>
                    <a:pt x="3477" y="8221"/>
                  </a:cubicBezTo>
                  <a:cubicBezTo>
                    <a:pt x="3488" y="8214"/>
                    <a:pt x="3498" y="8207"/>
                    <a:pt x="3509" y="8200"/>
                  </a:cubicBezTo>
                  <a:lnTo>
                    <a:pt x="3516" y="8200"/>
                  </a:lnTo>
                  <a:cubicBezTo>
                    <a:pt x="3547" y="8186"/>
                    <a:pt x="3586" y="8175"/>
                    <a:pt x="3624" y="8175"/>
                  </a:cubicBezTo>
                  <a:lnTo>
                    <a:pt x="3624" y="8172"/>
                  </a:lnTo>
                  <a:lnTo>
                    <a:pt x="3642" y="8116"/>
                  </a:lnTo>
                  <a:lnTo>
                    <a:pt x="3645" y="8109"/>
                  </a:lnTo>
                  <a:lnTo>
                    <a:pt x="3663" y="8053"/>
                  </a:lnTo>
                  <a:lnTo>
                    <a:pt x="3680" y="7997"/>
                  </a:lnTo>
                  <a:lnTo>
                    <a:pt x="3701" y="7948"/>
                  </a:lnTo>
                  <a:lnTo>
                    <a:pt x="3701" y="7941"/>
                  </a:lnTo>
                  <a:lnTo>
                    <a:pt x="3715" y="7899"/>
                  </a:lnTo>
                  <a:lnTo>
                    <a:pt x="3715" y="7895"/>
                  </a:lnTo>
                  <a:lnTo>
                    <a:pt x="3733" y="7857"/>
                  </a:lnTo>
                  <a:lnTo>
                    <a:pt x="3733" y="7853"/>
                  </a:lnTo>
                  <a:lnTo>
                    <a:pt x="3743" y="7822"/>
                  </a:lnTo>
                  <a:lnTo>
                    <a:pt x="3743" y="7818"/>
                  </a:lnTo>
                  <a:cubicBezTo>
                    <a:pt x="3750" y="7811"/>
                    <a:pt x="3754" y="7801"/>
                    <a:pt x="3757" y="7794"/>
                  </a:cubicBezTo>
                  <a:cubicBezTo>
                    <a:pt x="3768" y="7773"/>
                    <a:pt x="3740" y="7692"/>
                    <a:pt x="3726" y="7650"/>
                  </a:cubicBezTo>
                  <a:cubicBezTo>
                    <a:pt x="3698" y="7563"/>
                    <a:pt x="3659" y="7447"/>
                    <a:pt x="3757" y="7409"/>
                  </a:cubicBezTo>
                  <a:cubicBezTo>
                    <a:pt x="3796" y="7395"/>
                    <a:pt x="3834" y="7391"/>
                    <a:pt x="3876" y="7391"/>
                  </a:cubicBezTo>
                  <a:cubicBezTo>
                    <a:pt x="4009" y="7384"/>
                    <a:pt x="4114" y="7370"/>
                    <a:pt x="4156" y="7251"/>
                  </a:cubicBezTo>
                  <a:cubicBezTo>
                    <a:pt x="4198" y="7129"/>
                    <a:pt x="4258" y="7017"/>
                    <a:pt x="4331" y="6911"/>
                  </a:cubicBezTo>
                  <a:cubicBezTo>
                    <a:pt x="4342" y="6782"/>
                    <a:pt x="4373" y="6530"/>
                    <a:pt x="4485" y="6474"/>
                  </a:cubicBezTo>
                  <a:cubicBezTo>
                    <a:pt x="4505" y="6463"/>
                    <a:pt x="4526" y="6458"/>
                    <a:pt x="4546" y="6458"/>
                  </a:cubicBezTo>
                  <a:cubicBezTo>
                    <a:pt x="4567" y="6458"/>
                    <a:pt x="4587" y="6463"/>
                    <a:pt x="4604" y="6474"/>
                  </a:cubicBezTo>
                  <a:lnTo>
                    <a:pt x="4657" y="6505"/>
                  </a:lnTo>
                  <a:cubicBezTo>
                    <a:pt x="4702" y="6531"/>
                    <a:pt x="4794" y="6584"/>
                    <a:pt x="4831" y="6584"/>
                  </a:cubicBezTo>
                  <a:cubicBezTo>
                    <a:pt x="4834" y="6584"/>
                    <a:pt x="4837" y="6583"/>
                    <a:pt x="4839" y="6582"/>
                  </a:cubicBezTo>
                  <a:cubicBezTo>
                    <a:pt x="4846" y="6572"/>
                    <a:pt x="4846" y="6558"/>
                    <a:pt x="4849" y="6540"/>
                  </a:cubicBezTo>
                  <a:cubicBezTo>
                    <a:pt x="4849" y="6449"/>
                    <a:pt x="4916" y="6365"/>
                    <a:pt x="5007" y="6348"/>
                  </a:cubicBezTo>
                  <a:cubicBezTo>
                    <a:pt x="5056" y="6330"/>
                    <a:pt x="5077" y="6323"/>
                    <a:pt x="5091" y="6271"/>
                  </a:cubicBezTo>
                  <a:cubicBezTo>
                    <a:pt x="5105" y="6201"/>
                    <a:pt x="5147" y="6138"/>
                    <a:pt x="5206" y="6096"/>
                  </a:cubicBezTo>
                  <a:cubicBezTo>
                    <a:pt x="5237" y="6079"/>
                    <a:pt x="5269" y="6073"/>
                    <a:pt x="5302" y="6073"/>
                  </a:cubicBezTo>
                  <a:cubicBezTo>
                    <a:pt x="5345" y="6073"/>
                    <a:pt x="5390" y="6084"/>
                    <a:pt x="5434" y="6096"/>
                  </a:cubicBezTo>
                  <a:cubicBezTo>
                    <a:pt x="5449" y="6102"/>
                    <a:pt x="5464" y="6104"/>
                    <a:pt x="5479" y="6104"/>
                  </a:cubicBezTo>
                  <a:cubicBezTo>
                    <a:pt x="5500" y="6104"/>
                    <a:pt x="5521" y="6099"/>
                    <a:pt x="5539" y="6089"/>
                  </a:cubicBezTo>
                  <a:cubicBezTo>
                    <a:pt x="5553" y="6078"/>
                    <a:pt x="5560" y="6061"/>
                    <a:pt x="5560" y="6047"/>
                  </a:cubicBezTo>
                  <a:cubicBezTo>
                    <a:pt x="5560" y="5945"/>
                    <a:pt x="5662" y="5924"/>
                    <a:pt x="5763" y="5903"/>
                  </a:cubicBezTo>
                  <a:cubicBezTo>
                    <a:pt x="5868" y="5889"/>
                    <a:pt x="5966" y="5851"/>
                    <a:pt x="6057" y="5798"/>
                  </a:cubicBezTo>
                  <a:cubicBezTo>
                    <a:pt x="6096" y="5770"/>
                    <a:pt x="6127" y="5746"/>
                    <a:pt x="6162" y="5721"/>
                  </a:cubicBezTo>
                  <a:cubicBezTo>
                    <a:pt x="6267" y="5645"/>
                    <a:pt x="6358" y="5580"/>
                    <a:pt x="6438" y="5580"/>
                  </a:cubicBezTo>
                  <a:cubicBezTo>
                    <a:pt x="6476" y="5580"/>
                    <a:pt x="6511" y="5593"/>
                    <a:pt x="6544" y="5627"/>
                  </a:cubicBezTo>
                  <a:cubicBezTo>
                    <a:pt x="6547" y="5627"/>
                    <a:pt x="6551" y="5630"/>
                    <a:pt x="6554" y="5630"/>
                  </a:cubicBezTo>
                  <a:cubicBezTo>
                    <a:pt x="6607" y="5648"/>
                    <a:pt x="6663" y="5658"/>
                    <a:pt x="6719" y="5662"/>
                  </a:cubicBezTo>
                  <a:lnTo>
                    <a:pt x="6838" y="5662"/>
                  </a:lnTo>
                  <a:cubicBezTo>
                    <a:pt x="6862" y="5662"/>
                    <a:pt x="6886" y="5663"/>
                    <a:pt x="6911" y="5663"/>
                  </a:cubicBezTo>
                  <a:cubicBezTo>
                    <a:pt x="6994" y="5663"/>
                    <a:pt x="7076" y="5658"/>
                    <a:pt x="7160" y="5644"/>
                  </a:cubicBezTo>
                  <a:lnTo>
                    <a:pt x="7167" y="5641"/>
                  </a:lnTo>
                  <a:cubicBezTo>
                    <a:pt x="7188" y="5630"/>
                    <a:pt x="7209" y="5620"/>
                    <a:pt x="7230" y="5606"/>
                  </a:cubicBezTo>
                  <a:cubicBezTo>
                    <a:pt x="7312" y="5557"/>
                    <a:pt x="7430" y="5488"/>
                    <a:pt x="7571" y="5488"/>
                  </a:cubicBezTo>
                  <a:cubicBezTo>
                    <a:pt x="7593" y="5488"/>
                    <a:pt x="7616" y="5490"/>
                    <a:pt x="7640" y="5494"/>
                  </a:cubicBezTo>
                  <a:cubicBezTo>
                    <a:pt x="7660" y="5497"/>
                    <a:pt x="7685" y="5499"/>
                    <a:pt x="7713" y="5499"/>
                  </a:cubicBezTo>
                  <a:cubicBezTo>
                    <a:pt x="7827" y="5499"/>
                    <a:pt x="7991" y="5473"/>
                    <a:pt x="8137" y="5448"/>
                  </a:cubicBezTo>
                  <a:cubicBezTo>
                    <a:pt x="8252" y="5427"/>
                    <a:pt x="8368" y="5417"/>
                    <a:pt x="8487" y="5410"/>
                  </a:cubicBezTo>
                  <a:cubicBezTo>
                    <a:pt x="8606" y="5410"/>
                    <a:pt x="8669" y="5322"/>
                    <a:pt x="8728" y="5249"/>
                  </a:cubicBezTo>
                  <a:cubicBezTo>
                    <a:pt x="8742" y="5228"/>
                    <a:pt x="8760" y="5207"/>
                    <a:pt x="8777" y="5186"/>
                  </a:cubicBezTo>
                  <a:cubicBezTo>
                    <a:pt x="8809" y="5130"/>
                    <a:pt x="8833" y="5074"/>
                    <a:pt x="8851" y="5011"/>
                  </a:cubicBezTo>
                  <a:cubicBezTo>
                    <a:pt x="8886" y="4902"/>
                    <a:pt x="8910" y="4828"/>
                    <a:pt x="8949" y="4786"/>
                  </a:cubicBezTo>
                  <a:lnTo>
                    <a:pt x="8949" y="4779"/>
                  </a:lnTo>
                  <a:lnTo>
                    <a:pt x="8949" y="4776"/>
                  </a:lnTo>
                  <a:lnTo>
                    <a:pt x="8949" y="4769"/>
                  </a:lnTo>
                  <a:lnTo>
                    <a:pt x="8949" y="4765"/>
                  </a:lnTo>
                  <a:lnTo>
                    <a:pt x="8949" y="4758"/>
                  </a:lnTo>
                  <a:lnTo>
                    <a:pt x="8949" y="4751"/>
                  </a:lnTo>
                  <a:lnTo>
                    <a:pt x="8949" y="4744"/>
                  </a:lnTo>
                  <a:lnTo>
                    <a:pt x="8949" y="4737"/>
                  </a:lnTo>
                  <a:lnTo>
                    <a:pt x="8949" y="4727"/>
                  </a:lnTo>
                  <a:lnTo>
                    <a:pt x="8949" y="4720"/>
                  </a:lnTo>
                  <a:lnTo>
                    <a:pt x="8949" y="4709"/>
                  </a:lnTo>
                  <a:lnTo>
                    <a:pt x="8949" y="4695"/>
                  </a:lnTo>
                  <a:lnTo>
                    <a:pt x="8949" y="4688"/>
                  </a:lnTo>
                  <a:lnTo>
                    <a:pt x="8949" y="4671"/>
                  </a:lnTo>
                  <a:lnTo>
                    <a:pt x="8949" y="4664"/>
                  </a:lnTo>
                  <a:lnTo>
                    <a:pt x="8949" y="4646"/>
                  </a:lnTo>
                  <a:lnTo>
                    <a:pt x="8949" y="4639"/>
                  </a:lnTo>
                  <a:lnTo>
                    <a:pt x="8949" y="4622"/>
                  </a:lnTo>
                  <a:lnTo>
                    <a:pt x="8949" y="4611"/>
                  </a:lnTo>
                  <a:lnTo>
                    <a:pt x="8949" y="4590"/>
                  </a:lnTo>
                  <a:lnTo>
                    <a:pt x="8949" y="4580"/>
                  </a:lnTo>
                  <a:lnTo>
                    <a:pt x="8949" y="4562"/>
                  </a:lnTo>
                  <a:lnTo>
                    <a:pt x="8949" y="4548"/>
                  </a:lnTo>
                  <a:lnTo>
                    <a:pt x="8949" y="4527"/>
                  </a:lnTo>
                  <a:lnTo>
                    <a:pt x="8949" y="4412"/>
                  </a:lnTo>
                  <a:lnTo>
                    <a:pt x="8949" y="4398"/>
                  </a:lnTo>
                  <a:lnTo>
                    <a:pt x="8949" y="4370"/>
                  </a:lnTo>
                  <a:lnTo>
                    <a:pt x="8949" y="4328"/>
                  </a:lnTo>
                  <a:lnTo>
                    <a:pt x="8949" y="4307"/>
                  </a:lnTo>
                  <a:lnTo>
                    <a:pt x="8949" y="4279"/>
                  </a:lnTo>
                  <a:lnTo>
                    <a:pt x="8949" y="4258"/>
                  </a:lnTo>
                  <a:lnTo>
                    <a:pt x="8949" y="4230"/>
                  </a:lnTo>
                  <a:lnTo>
                    <a:pt x="8949" y="4205"/>
                  </a:lnTo>
                  <a:lnTo>
                    <a:pt x="8949" y="4174"/>
                  </a:lnTo>
                  <a:lnTo>
                    <a:pt x="8949" y="4153"/>
                  </a:lnTo>
                  <a:lnTo>
                    <a:pt x="8949" y="4118"/>
                  </a:lnTo>
                  <a:lnTo>
                    <a:pt x="8949" y="4093"/>
                  </a:lnTo>
                  <a:lnTo>
                    <a:pt x="8949" y="4062"/>
                  </a:lnTo>
                  <a:lnTo>
                    <a:pt x="8949" y="4034"/>
                  </a:lnTo>
                  <a:lnTo>
                    <a:pt x="8949" y="4002"/>
                  </a:lnTo>
                  <a:lnTo>
                    <a:pt x="8949" y="3939"/>
                  </a:lnTo>
                  <a:lnTo>
                    <a:pt x="8949" y="3908"/>
                  </a:lnTo>
                  <a:lnTo>
                    <a:pt x="8949" y="3876"/>
                  </a:lnTo>
                  <a:lnTo>
                    <a:pt x="8949" y="3838"/>
                  </a:lnTo>
                  <a:lnTo>
                    <a:pt x="8949" y="3810"/>
                  </a:lnTo>
                  <a:lnTo>
                    <a:pt x="8949" y="3768"/>
                  </a:lnTo>
                  <a:lnTo>
                    <a:pt x="8949" y="3736"/>
                  </a:lnTo>
                  <a:lnTo>
                    <a:pt x="8949" y="3694"/>
                  </a:lnTo>
                  <a:lnTo>
                    <a:pt x="8949" y="3663"/>
                  </a:lnTo>
                  <a:lnTo>
                    <a:pt x="8949" y="3617"/>
                  </a:lnTo>
                  <a:lnTo>
                    <a:pt x="8949" y="3589"/>
                  </a:lnTo>
                  <a:lnTo>
                    <a:pt x="8949" y="3540"/>
                  </a:lnTo>
                  <a:lnTo>
                    <a:pt x="8949" y="3509"/>
                  </a:lnTo>
                  <a:lnTo>
                    <a:pt x="8949" y="3460"/>
                  </a:lnTo>
                  <a:lnTo>
                    <a:pt x="8931" y="3463"/>
                  </a:lnTo>
                  <a:cubicBezTo>
                    <a:pt x="8756" y="3498"/>
                    <a:pt x="8567" y="3540"/>
                    <a:pt x="8564" y="3544"/>
                  </a:cubicBezTo>
                  <a:lnTo>
                    <a:pt x="8522" y="3551"/>
                  </a:lnTo>
                  <a:lnTo>
                    <a:pt x="8483" y="3561"/>
                  </a:lnTo>
                  <a:lnTo>
                    <a:pt x="8483" y="3477"/>
                  </a:lnTo>
                  <a:lnTo>
                    <a:pt x="8483" y="3474"/>
                  </a:lnTo>
                  <a:lnTo>
                    <a:pt x="8483" y="3463"/>
                  </a:lnTo>
                  <a:lnTo>
                    <a:pt x="8483" y="3460"/>
                  </a:lnTo>
                  <a:lnTo>
                    <a:pt x="8483" y="3449"/>
                  </a:lnTo>
                  <a:lnTo>
                    <a:pt x="8483" y="3439"/>
                  </a:lnTo>
                  <a:lnTo>
                    <a:pt x="8483" y="3428"/>
                  </a:lnTo>
                  <a:lnTo>
                    <a:pt x="8483" y="3414"/>
                  </a:lnTo>
                  <a:lnTo>
                    <a:pt x="8483" y="3400"/>
                  </a:lnTo>
                  <a:lnTo>
                    <a:pt x="8483" y="3383"/>
                  </a:lnTo>
                  <a:lnTo>
                    <a:pt x="8483" y="3369"/>
                  </a:lnTo>
                  <a:cubicBezTo>
                    <a:pt x="8483" y="3365"/>
                    <a:pt x="8483" y="3355"/>
                    <a:pt x="8480" y="3348"/>
                  </a:cubicBezTo>
                  <a:cubicBezTo>
                    <a:pt x="8476" y="3337"/>
                    <a:pt x="8480" y="3337"/>
                    <a:pt x="8476" y="3334"/>
                  </a:cubicBezTo>
                  <a:cubicBezTo>
                    <a:pt x="8476" y="3330"/>
                    <a:pt x="8473" y="3316"/>
                    <a:pt x="8473" y="3309"/>
                  </a:cubicBezTo>
                  <a:lnTo>
                    <a:pt x="8469" y="3295"/>
                  </a:lnTo>
                  <a:cubicBezTo>
                    <a:pt x="8469" y="3285"/>
                    <a:pt x="8466" y="3278"/>
                    <a:pt x="8462" y="3267"/>
                  </a:cubicBezTo>
                  <a:lnTo>
                    <a:pt x="8459" y="3253"/>
                  </a:lnTo>
                  <a:cubicBezTo>
                    <a:pt x="8455" y="3243"/>
                    <a:pt x="8452" y="3232"/>
                    <a:pt x="8448" y="3225"/>
                  </a:cubicBezTo>
                  <a:lnTo>
                    <a:pt x="8445" y="3211"/>
                  </a:lnTo>
                  <a:cubicBezTo>
                    <a:pt x="8441" y="3201"/>
                    <a:pt x="8438" y="3190"/>
                    <a:pt x="8434" y="3180"/>
                  </a:cubicBezTo>
                  <a:lnTo>
                    <a:pt x="8427" y="3169"/>
                  </a:lnTo>
                  <a:cubicBezTo>
                    <a:pt x="8424" y="3159"/>
                    <a:pt x="8420" y="3148"/>
                    <a:pt x="8413" y="3138"/>
                  </a:cubicBezTo>
                  <a:cubicBezTo>
                    <a:pt x="8410" y="3127"/>
                    <a:pt x="8410" y="3127"/>
                    <a:pt x="8406" y="3120"/>
                  </a:cubicBezTo>
                  <a:cubicBezTo>
                    <a:pt x="8403" y="3117"/>
                    <a:pt x="8396" y="3103"/>
                    <a:pt x="8392" y="3096"/>
                  </a:cubicBezTo>
                  <a:cubicBezTo>
                    <a:pt x="8385" y="3085"/>
                    <a:pt x="8385" y="3082"/>
                    <a:pt x="8382" y="3078"/>
                  </a:cubicBezTo>
                  <a:cubicBezTo>
                    <a:pt x="8375" y="3071"/>
                    <a:pt x="8371" y="3064"/>
                    <a:pt x="8364" y="3054"/>
                  </a:cubicBezTo>
                  <a:cubicBezTo>
                    <a:pt x="8361" y="3047"/>
                    <a:pt x="8354" y="3043"/>
                    <a:pt x="8350" y="3036"/>
                  </a:cubicBezTo>
                  <a:cubicBezTo>
                    <a:pt x="8343" y="3033"/>
                    <a:pt x="8340" y="3026"/>
                    <a:pt x="8333" y="3019"/>
                  </a:cubicBezTo>
                  <a:cubicBezTo>
                    <a:pt x="8329" y="3012"/>
                    <a:pt x="8322" y="3005"/>
                    <a:pt x="8315" y="3001"/>
                  </a:cubicBezTo>
                  <a:cubicBezTo>
                    <a:pt x="8308" y="2994"/>
                    <a:pt x="8305" y="2991"/>
                    <a:pt x="8298" y="2987"/>
                  </a:cubicBezTo>
                  <a:cubicBezTo>
                    <a:pt x="8284" y="2977"/>
                    <a:pt x="8270" y="2966"/>
                    <a:pt x="8256" y="2959"/>
                  </a:cubicBezTo>
                  <a:cubicBezTo>
                    <a:pt x="8004" y="2812"/>
                    <a:pt x="7671" y="2774"/>
                    <a:pt x="7668" y="2774"/>
                  </a:cubicBezTo>
                  <a:lnTo>
                    <a:pt x="7664" y="2774"/>
                  </a:lnTo>
                  <a:lnTo>
                    <a:pt x="7633" y="2770"/>
                  </a:lnTo>
                  <a:lnTo>
                    <a:pt x="7619" y="2742"/>
                  </a:lnTo>
                  <a:cubicBezTo>
                    <a:pt x="7619" y="2738"/>
                    <a:pt x="7426" y="2399"/>
                    <a:pt x="7282" y="2255"/>
                  </a:cubicBezTo>
                  <a:lnTo>
                    <a:pt x="7272" y="2245"/>
                  </a:lnTo>
                  <a:lnTo>
                    <a:pt x="7261" y="2238"/>
                  </a:lnTo>
                  <a:lnTo>
                    <a:pt x="7251" y="2231"/>
                  </a:lnTo>
                  <a:lnTo>
                    <a:pt x="7233" y="2217"/>
                  </a:lnTo>
                  <a:cubicBezTo>
                    <a:pt x="6915" y="1982"/>
                    <a:pt x="5294" y="901"/>
                    <a:pt x="39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4" name="Google Shape;4881;p64">
              <a:extLst>
                <a:ext uri="{FF2B5EF4-FFF2-40B4-BE49-F238E27FC236}">
                  <a16:creationId xmlns:a16="http://schemas.microsoft.com/office/drawing/2014/main" id="{DDBDD255-BA1E-79D0-12BC-F321BE1FA3FD}"/>
                </a:ext>
              </a:extLst>
            </p:cNvPr>
            <p:cNvSpPr/>
            <p:nvPr/>
          </p:nvSpPr>
          <p:spPr>
            <a:xfrm>
              <a:off x="2072674" y="18995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5" name="Google Shape;4882;p64">
              <a:extLst>
                <a:ext uri="{FF2B5EF4-FFF2-40B4-BE49-F238E27FC236}">
                  <a16:creationId xmlns:a16="http://schemas.microsoft.com/office/drawing/2014/main" id="{CA0645E4-0397-031E-78D4-CAC8B32F7B15}"/>
                </a:ext>
              </a:extLst>
            </p:cNvPr>
            <p:cNvSpPr/>
            <p:nvPr/>
          </p:nvSpPr>
          <p:spPr>
            <a:xfrm>
              <a:off x="2072729" y="1900635"/>
              <a:ext cx="14" cy="1154"/>
            </a:xfrm>
            <a:custGeom>
              <a:avLst/>
              <a:gdLst/>
              <a:ahLst/>
              <a:cxnLst/>
              <a:rect l="l" t="t" r="r" b="b"/>
              <a:pathLst>
                <a:path w="1" h="85" extrusionOk="0">
                  <a:moveTo>
                    <a:pt x="0" y="0"/>
                  </a:move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6" name="Google Shape;4883;p64">
              <a:extLst>
                <a:ext uri="{FF2B5EF4-FFF2-40B4-BE49-F238E27FC236}">
                  <a16:creationId xmlns:a16="http://schemas.microsoft.com/office/drawing/2014/main" id="{770D0454-41D4-E65A-0B3A-C84BFCAF3011}"/>
                </a:ext>
              </a:extLst>
            </p:cNvPr>
            <p:cNvSpPr/>
            <p:nvPr/>
          </p:nvSpPr>
          <p:spPr>
            <a:xfrm>
              <a:off x="2055607" y="188351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7" name="Google Shape;4884;p64">
              <a:extLst>
                <a:ext uri="{FF2B5EF4-FFF2-40B4-BE49-F238E27FC236}">
                  <a16:creationId xmlns:a16="http://schemas.microsoft.com/office/drawing/2014/main" id="{69F3B78F-BDA8-BDDC-D998-B12F63F355B4}"/>
                </a:ext>
              </a:extLst>
            </p:cNvPr>
            <p:cNvSpPr/>
            <p:nvPr/>
          </p:nvSpPr>
          <p:spPr>
            <a:xfrm>
              <a:off x="2070298" y="1894172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cubicBezTo>
                    <a:pt x="8" y="7"/>
                    <a:pt x="15" y="11"/>
                    <a:pt x="22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8" name="Google Shape;4885;p64">
              <a:extLst>
                <a:ext uri="{FF2B5EF4-FFF2-40B4-BE49-F238E27FC236}">
                  <a16:creationId xmlns:a16="http://schemas.microsoft.com/office/drawing/2014/main" id="{54DD6CB1-155D-AB82-0EBD-5A753CB35452}"/>
                </a:ext>
              </a:extLst>
            </p:cNvPr>
            <p:cNvSpPr/>
            <p:nvPr/>
          </p:nvSpPr>
          <p:spPr>
            <a:xfrm>
              <a:off x="2072104" y="189702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1"/>
                    <a:pt x="1" y="2"/>
                    <a:pt x="2" y="4"/>
                  </a:cubicBezTo>
                  <a:lnTo>
                    <a:pt x="2" y="4"/>
                  </a:lnTo>
                  <a:lnTo>
                    <a:pt x="1" y="0"/>
                  </a:lnTo>
                  <a:close/>
                  <a:moveTo>
                    <a:pt x="2" y="4"/>
                  </a:moveTo>
                  <a:lnTo>
                    <a:pt x="4" y="14"/>
                  </a:lnTo>
                  <a:cubicBezTo>
                    <a:pt x="4" y="9"/>
                    <a:pt x="3" y="6"/>
                    <a:pt x="2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9" name="Google Shape;4886;p64">
              <a:extLst>
                <a:ext uri="{FF2B5EF4-FFF2-40B4-BE49-F238E27FC236}">
                  <a16:creationId xmlns:a16="http://schemas.microsoft.com/office/drawing/2014/main" id="{3551082A-B490-2CA4-516F-4E2C0D6A2F7B}"/>
                </a:ext>
              </a:extLst>
            </p:cNvPr>
            <p:cNvSpPr/>
            <p:nvPr/>
          </p:nvSpPr>
          <p:spPr>
            <a:xfrm>
              <a:off x="2056042" y="188379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0" name="Google Shape;4887;p64">
              <a:extLst>
                <a:ext uri="{FF2B5EF4-FFF2-40B4-BE49-F238E27FC236}">
                  <a16:creationId xmlns:a16="http://schemas.microsoft.com/office/drawing/2014/main" id="{2AB0E1EB-7F26-DEB5-871D-121E59D00FDF}"/>
                </a:ext>
              </a:extLst>
            </p:cNvPr>
            <p:cNvSpPr/>
            <p:nvPr/>
          </p:nvSpPr>
          <p:spPr>
            <a:xfrm>
              <a:off x="2072443" y="189816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1" name="Google Shape;4888;p64">
              <a:extLst>
                <a:ext uri="{FF2B5EF4-FFF2-40B4-BE49-F238E27FC236}">
                  <a16:creationId xmlns:a16="http://schemas.microsoft.com/office/drawing/2014/main" id="{43C3AD4E-3387-7C10-4607-7C5FDC287B3F}"/>
                </a:ext>
              </a:extLst>
            </p:cNvPr>
            <p:cNvSpPr/>
            <p:nvPr/>
          </p:nvSpPr>
          <p:spPr>
            <a:xfrm>
              <a:off x="2072633" y="189915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4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2" name="Google Shape;4889;p64">
              <a:extLst>
                <a:ext uri="{FF2B5EF4-FFF2-40B4-BE49-F238E27FC236}">
                  <a16:creationId xmlns:a16="http://schemas.microsoft.com/office/drawing/2014/main" id="{B301C0B4-D44B-C814-370E-6C432AED9977}"/>
                </a:ext>
              </a:extLst>
            </p:cNvPr>
            <p:cNvSpPr/>
            <p:nvPr/>
          </p:nvSpPr>
          <p:spPr>
            <a:xfrm>
              <a:off x="2071588" y="1895829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3"/>
                    <a:pt x="2" y="6"/>
                    <a:pt x="4" y="9"/>
                  </a:cubicBezTo>
                  <a:lnTo>
                    <a:pt x="4" y="9"/>
                  </a:lnTo>
                  <a:cubicBezTo>
                    <a:pt x="3" y="6"/>
                    <a:pt x="2" y="3"/>
                    <a:pt x="0" y="1"/>
                  </a:cubicBezTo>
                  <a:close/>
                  <a:moveTo>
                    <a:pt x="4" y="9"/>
                  </a:moveTo>
                  <a:cubicBezTo>
                    <a:pt x="5" y="11"/>
                    <a:pt x="6" y="13"/>
                    <a:pt x="7" y="15"/>
                  </a:cubicBezTo>
                  <a:cubicBezTo>
                    <a:pt x="6" y="13"/>
                    <a:pt x="5" y="11"/>
                    <a:pt x="4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3" name="Google Shape;4890;p64">
              <a:extLst>
                <a:ext uri="{FF2B5EF4-FFF2-40B4-BE49-F238E27FC236}">
                  <a16:creationId xmlns:a16="http://schemas.microsoft.com/office/drawing/2014/main" id="{06EB86B0-B9FA-E482-2C1C-372BDF4D7E03}"/>
                </a:ext>
              </a:extLst>
            </p:cNvPr>
            <p:cNvSpPr/>
            <p:nvPr/>
          </p:nvSpPr>
          <p:spPr>
            <a:xfrm>
              <a:off x="2071208" y="189521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18"/>
                  </a:moveTo>
                  <a:cubicBezTo>
                    <a:pt x="11" y="11"/>
                    <a:pt x="4" y="7"/>
                    <a:pt x="0" y="0"/>
                  </a:cubicBezTo>
                  <a:cubicBezTo>
                    <a:pt x="4" y="7"/>
                    <a:pt x="11" y="11"/>
                    <a:pt x="1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4" name="Google Shape;4891;p64">
              <a:extLst>
                <a:ext uri="{FF2B5EF4-FFF2-40B4-BE49-F238E27FC236}">
                  <a16:creationId xmlns:a16="http://schemas.microsoft.com/office/drawing/2014/main" id="{7D22FBE5-50D1-DB62-D92A-8D9E677E3DB0}"/>
                </a:ext>
              </a:extLst>
            </p:cNvPr>
            <p:cNvSpPr/>
            <p:nvPr/>
          </p:nvSpPr>
          <p:spPr>
            <a:xfrm>
              <a:off x="2072253" y="189759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5" name="Google Shape;4892;p64">
              <a:extLst>
                <a:ext uri="{FF2B5EF4-FFF2-40B4-BE49-F238E27FC236}">
                  <a16:creationId xmlns:a16="http://schemas.microsoft.com/office/drawing/2014/main" id="{3C4E8FD2-FEC0-B2FB-2471-A462A5638EEB}"/>
                </a:ext>
              </a:extLst>
            </p:cNvPr>
            <p:cNvSpPr/>
            <p:nvPr/>
          </p:nvSpPr>
          <p:spPr>
            <a:xfrm>
              <a:off x="2060848" y="189064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0" y="1"/>
                  </a:moveTo>
                  <a:lnTo>
                    <a:pt x="18" y="29"/>
                  </a:lnTo>
                  <a:lnTo>
                    <a:pt x="49" y="33"/>
                  </a:ln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6" name="Google Shape;4893;p64">
              <a:extLst>
                <a:ext uri="{FF2B5EF4-FFF2-40B4-BE49-F238E27FC236}">
                  <a16:creationId xmlns:a16="http://schemas.microsoft.com/office/drawing/2014/main" id="{E6FCC300-D0E4-D2B3-BC17-4D85BA61B5DF}"/>
                </a:ext>
              </a:extLst>
            </p:cNvPr>
            <p:cNvSpPr/>
            <p:nvPr/>
          </p:nvSpPr>
          <p:spPr>
            <a:xfrm>
              <a:off x="2072729" y="18999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ubicBezTo>
                    <a:pt x="0" y="8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7" name="Google Shape;4894;p64">
              <a:extLst>
                <a:ext uri="{FF2B5EF4-FFF2-40B4-BE49-F238E27FC236}">
                  <a16:creationId xmlns:a16="http://schemas.microsoft.com/office/drawing/2014/main" id="{3BF7786F-F077-8F50-9CE0-5633EFC452B9}"/>
                </a:ext>
              </a:extLst>
            </p:cNvPr>
            <p:cNvSpPr/>
            <p:nvPr/>
          </p:nvSpPr>
          <p:spPr>
            <a:xfrm>
              <a:off x="2073815" y="1900445"/>
              <a:ext cx="5010" cy="1100"/>
            </a:xfrm>
            <a:custGeom>
              <a:avLst/>
              <a:gdLst/>
              <a:ahLst/>
              <a:cxnLst/>
              <a:rect l="l" t="t" r="r" b="b"/>
              <a:pathLst>
                <a:path w="369" h="81" extrusionOk="0">
                  <a:moveTo>
                    <a:pt x="368" y="0"/>
                  </a:moveTo>
                  <a:cubicBezTo>
                    <a:pt x="193" y="35"/>
                    <a:pt x="4" y="81"/>
                    <a:pt x="1" y="81"/>
                  </a:cubicBezTo>
                  <a:cubicBezTo>
                    <a:pt x="4" y="81"/>
                    <a:pt x="193" y="39"/>
                    <a:pt x="36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8" name="Google Shape;4895;p64">
              <a:extLst>
                <a:ext uri="{FF2B5EF4-FFF2-40B4-BE49-F238E27FC236}">
                  <a16:creationId xmlns:a16="http://schemas.microsoft.com/office/drawing/2014/main" id="{2E9313CC-E185-6046-DED2-F1C0B9919E12}"/>
                </a:ext>
              </a:extLst>
            </p:cNvPr>
            <p:cNvSpPr/>
            <p:nvPr/>
          </p:nvSpPr>
          <p:spPr>
            <a:xfrm>
              <a:off x="2010883" y="1853426"/>
              <a:ext cx="44738" cy="30101"/>
            </a:xfrm>
            <a:custGeom>
              <a:avLst/>
              <a:gdLst/>
              <a:ahLst/>
              <a:cxnLst/>
              <a:rect l="l" t="t" r="r" b="b"/>
              <a:pathLst>
                <a:path w="3295" h="2217" extrusionOk="0">
                  <a:moveTo>
                    <a:pt x="1" y="1"/>
                  </a:moveTo>
                  <a:cubicBezTo>
                    <a:pt x="754" y="501"/>
                    <a:pt x="1590" y="1057"/>
                    <a:pt x="2239" y="1493"/>
                  </a:cubicBezTo>
                  <a:lnTo>
                    <a:pt x="2239" y="1493"/>
                  </a:lnTo>
                  <a:cubicBezTo>
                    <a:pt x="1613" y="1072"/>
                    <a:pt x="800" y="530"/>
                    <a:pt x="1" y="1"/>
                  </a:cubicBezTo>
                  <a:close/>
                  <a:moveTo>
                    <a:pt x="2239" y="1493"/>
                  </a:moveTo>
                  <a:lnTo>
                    <a:pt x="2239" y="1493"/>
                  </a:lnTo>
                  <a:cubicBezTo>
                    <a:pt x="2764" y="1847"/>
                    <a:pt x="3156" y="2115"/>
                    <a:pt x="3295" y="2217"/>
                  </a:cubicBezTo>
                  <a:cubicBezTo>
                    <a:pt x="3155" y="2113"/>
                    <a:pt x="2757" y="1841"/>
                    <a:pt x="2239" y="149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9" name="Google Shape;4896;p64">
              <a:extLst>
                <a:ext uri="{FF2B5EF4-FFF2-40B4-BE49-F238E27FC236}">
                  <a16:creationId xmlns:a16="http://schemas.microsoft.com/office/drawing/2014/main" id="{47E11E45-2203-7413-FF24-92DE075000DF}"/>
                </a:ext>
              </a:extLst>
            </p:cNvPr>
            <p:cNvSpPr/>
            <p:nvPr/>
          </p:nvSpPr>
          <p:spPr>
            <a:xfrm>
              <a:off x="2069538" y="1893602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18"/>
                    <a:pt x="15" y="7"/>
                    <a:pt x="1" y="0"/>
                  </a:cubicBezTo>
                  <a:cubicBezTo>
                    <a:pt x="15" y="7"/>
                    <a:pt x="29" y="18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0" name="Google Shape;4897;p64">
              <a:extLst>
                <a:ext uri="{FF2B5EF4-FFF2-40B4-BE49-F238E27FC236}">
                  <a16:creationId xmlns:a16="http://schemas.microsoft.com/office/drawing/2014/main" id="{4E41BE03-879E-1413-DE31-F7F3657C1A9C}"/>
                </a:ext>
              </a:extLst>
            </p:cNvPr>
            <p:cNvSpPr/>
            <p:nvPr/>
          </p:nvSpPr>
          <p:spPr>
            <a:xfrm>
              <a:off x="2070828" y="1894647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0"/>
                  </a:moveTo>
                  <a:cubicBezTo>
                    <a:pt x="4" y="11"/>
                    <a:pt x="7" y="14"/>
                    <a:pt x="14" y="21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1" name="Google Shape;4898;p64">
              <a:extLst>
                <a:ext uri="{FF2B5EF4-FFF2-40B4-BE49-F238E27FC236}">
                  <a16:creationId xmlns:a16="http://schemas.microsoft.com/office/drawing/2014/main" id="{202181DE-F72F-11BA-61B7-D1EB83AC8369}"/>
                </a:ext>
              </a:extLst>
            </p:cNvPr>
            <p:cNvSpPr/>
            <p:nvPr/>
          </p:nvSpPr>
          <p:spPr>
            <a:xfrm>
              <a:off x="2072729" y="190025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2" name="Google Shape;4899;p64">
              <a:extLst>
                <a:ext uri="{FF2B5EF4-FFF2-40B4-BE49-F238E27FC236}">
                  <a16:creationId xmlns:a16="http://schemas.microsoft.com/office/drawing/2014/main" id="{3372C37C-42C5-04BE-1446-A90E13AE0F2A}"/>
                </a:ext>
              </a:extLst>
            </p:cNvPr>
            <p:cNvSpPr/>
            <p:nvPr/>
          </p:nvSpPr>
          <p:spPr>
            <a:xfrm>
              <a:off x="2072729" y="190048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3" name="Google Shape;4900;p64">
              <a:extLst>
                <a:ext uri="{FF2B5EF4-FFF2-40B4-BE49-F238E27FC236}">
                  <a16:creationId xmlns:a16="http://schemas.microsoft.com/office/drawing/2014/main" id="{129FCFA1-FE1C-7C01-794D-4BD8C1FEF0EB}"/>
                </a:ext>
              </a:extLst>
            </p:cNvPr>
            <p:cNvSpPr/>
            <p:nvPr/>
          </p:nvSpPr>
          <p:spPr>
            <a:xfrm>
              <a:off x="2079042" y="190039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4" name="Google Shape;4901;p64">
              <a:extLst>
                <a:ext uri="{FF2B5EF4-FFF2-40B4-BE49-F238E27FC236}">
                  <a16:creationId xmlns:a16="http://schemas.microsoft.com/office/drawing/2014/main" id="{515D85BF-2D82-1F57-7FCC-E61D668BC663}"/>
                </a:ext>
              </a:extLst>
            </p:cNvPr>
            <p:cNvSpPr/>
            <p:nvPr/>
          </p:nvSpPr>
          <p:spPr>
            <a:xfrm>
              <a:off x="2072538" y="189868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cubicBezTo>
                    <a:pt x="0" y="4"/>
                    <a:pt x="0" y="11"/>
                    <a:pt x="4" y="15"/>
                  </a:cubicBezTo>
                  <a:cubicBezTo>
                    <a:pt x="4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5" name="Google Shape;4902;p64">
              <a:extLst>
                <a:ext uri="{FF2B5EF4-FFF2-40B4-BE49-F238E27FC236}">
                  <a16:creationId xmlns:a16="http://schemas.microsoft.com/office/drawing/2014/main" id="{090E4488-1284-2AD3-38AA-7CFEB3F5CD01}"/>
                </a:ext>
              </a:extLst>
            </p:cNvPr>
            <p:cNvSpPr/>
            <p:nvPr/>
          </p:nvSpPr>
          <p:spPr>
            <a:xfrm>
              <a:off x="2071873" y="18964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6" name="Google Shape;4903;p64">
              <a:extLst>
                <a:ext uri="{FF2B5EF4-FFF2-40B4-BE49-F238E27FC236}">
                  <a16:creationId xmlns:a16="http://schemas.microsoft.com/office/drawing/2014/main" id="{FF237FF6-C936-DE26-84C6-3A8805334C5B}"/>
                </a:ext>
              </a:extLst>
            </p:cNvPr>
            <p:cNvSpPr/>
            <p:nvPr/>
          </p:nvSpPr>
          <p:spPr>
            <a:xfrm>
              <a:off x="1964013" y="1946120"/>
              <a:ext cx="109" cy="1534"/>
            </a:xfrm>
            <a:custGeom>
              <a:avLst/>
              <a:gdLst/>
              <a:ahLst/>
              <a:cxnLst/>
              <a:rect l="l" t="t" r="r" b="b"/>
              <a:pathLst>
                <a:path w="8" h="113" extrusionOk="0">
                  <a:moveTo>
                    <a:pt x="1" y="0"/>
                  </a:moveTo>
                  <a:cubicBezTo>
                    <a:pt x="4" y="35"/>
                    <a:pt x="8" y="74"/>
                    <a:pt x="8" y="113"/>
                  </a:cubicBezTo>
                  <a:cubicBezTo>
                    <a:pt x="8" y="70"/>
                    <a:pt x="4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7" name="Google Shape;4904;p64">
              <a:extLst>
                <a:ext uri="{FF2B5EF4-FFF2-40B4-BE49-F238E27FC236}">
                  <a16:creationId xmlns:a16="http://schemas.microsoft.com/office/drawing/2014/main" id="{151F5B4E-0180-E09E-7E4F-7480A0DD1779}"/>
                </a:ext>
              </a:extLst>
            </p:cNvPr>
            <p:cNvSpPr/>
            <p:nvPr/>
          </p:nvSpPr>
          <p:spPr>
            <a:xfrm>
              <a:off x="1964013" y="1950872"/>
              <a:ext cx="14" cy="543"/>
            </a:xfrm>
            <a:custGeom>
              <a:avLst/>
              <a:gdLst/>
              <a:ahLst/>
              <a:cxnLst/>
              <a:rect l="l" t="t" r="r" b="b"/>
              <a:pathLst>
                <a:path w="1" h="40" extrusionOk="0">
                  <a:moveTo>
                    <a:pt x="1" y="3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8" name="Google Shape;4905;p64">
              <a:extLst>
                <a:ext uri="{FF2B5EF4-FFF2-40B4-BE49-F238E27FC236}">
                  <a16:creationId xmlns:a16="http://schemas.microsoft.com/office/drawing/2014/main" id="{DFD323C7-BA43-B999-D2D6-E80F9896D486}"/>
                </a:ext>
              </a:extLst>
            </p:cNvPr>
            <p:cNvSpPr/>
            <p:nvPr/>
          </p:nvSpPr>
          <p:spPr>
            <a:xfrm>
              <a:off x="1957361" y="1933683"/>
              <a:ext cx="1629" cy="2702"/>
            </a:xfrm>
            <a:custGeom>
              <a:avLst/>
              <a:gdLst/>
              <a:ahLst/>
              <a:cxnLst/>
              <a:rect l="l" t="t" r="r" b="b"/>
              <a:pathLst>
                <a:path w="120" h="199" extrusionOk="0">
                  <a:moveTo>
                    <a:pt x="1" y="0"/>
                  </a:moveTo>
                  <a:cubicBezTo>
                    <a:pt x="4" y="17"/>
                    <a:pt x="11" y="31"/>
                    <a:pt x="11" y="38"/>
                  </a:cubicBezTo>
                  <a:lnTo>
                    <a:pt x="120" y="199"/>
                  </a:lnTo>
                  <a:lnTo>
                    <a:pt x="15" y="38"/>
                  </a:lnTo>
                  <a:cubicBezTo>
                    <a:pt x="11" y="31"/>
                    <a:pt x="4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9" name="Google Shape;4906;p64">
              <a:extLst>
                <a:ext uri="{FF2B5EF4-FFF2-40B4-BE49-F238E27FC236}">
                  <a16:creationId xmlns:a16="http://schemas.microsoft.com/office/drawing/2014/main" id="{B49E460E-B519-BAEC-2331-0AB3CE9D13C8}"/>
                </a:ext>
              </a:extLst>
            </p:cNvPr>
            <p:cNvSpPr/>
            <p:nvPr/>
          </p:nvSpPr>
          <p:spPr>
            <a:xfrm>
              <a:off x="1992866" y="1964748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0" name="Google Shape;4907;p64">
              <a:extLst>
                <a:ext uri="{FF2B5EF4-FFF2-40B4-BE49-F238E27FC236}">
                  <a16:creationId xmlns:a16="http://schemas.microsoft.com/office/drawing/2014/main" id="{9A6C468D-A36A-0AD5-7B52-9590CDABEA7D}"/>
                </a:ext>
              </a:extLst>
            </p:cNvPr>
            <p:cNvSpPr/>
            <p:nvPr/>
          </p:nvSpPr>
          <p:spPr>
            <a:xfrm>
              <a:off x="1994631" y="19662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1" name="Google Shape;4908;p64">
              <a:extLst>
                <a:ext uri="{FF2B5EF4-FFF2-40B4-BE49-F238E27FC236}">
                  <a16:creationId xmlns:a16="http://schemas.microsoft.com/office/drawing/2014/main" id="{93EFC126-A393-836F-129A-8D20127C86E4}"/>
                </a:ext>
              </a:extLst>
            </p:cNvPr>
            <p:cNvSpPr/>
            <p:nvPr/>
          </p:nvSpPr>
          <p:spPr>
            <a:xfrm>
              <a:off x="2004325" y="1964843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2" y="1"/>
                  </a:moveTo>
                  <a:cubicBezTo>
                    <a:pt x="22" y="4"/>
                    <a:pt x="11" y="11"/>
                    <a:pt x="1" y="18"/>
                  </a:cubicBezTo>
                  <a:cubicBezTo>
                    <a:pt x="11" y="11"/>
                    <a:pt x="22" y="4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2" name="Google Shape;4909;p64">
              <a:extLst>
                <a:ext uri="{FF2B5EF4-FFF2-40B4-BE49-F238E27FC236}">
                  <a16:creationId xmlns:a16="http://schemas.microsoft.com/office/drawing/2014/main" id="{A8B4D200-0D65-5547-5763-D78D5C033EB7}"/>
                </a:ext>
              </a:extLst>
            </p:cNvPr>
            <p:cNvSpPr/>
            <p:nvPr/>
          </p:nvSpPr>
          <p:spPr>
            <a:xfrm>
              <a:off x="1988589" y="1966133"/>
              <a:ext cx="733" cy="299"/>
            </a:xfrm>
            <a:custGeom>
              <a:avLst/>
              <a:gdLst/>
              <a:ahLst/>
              <a:cxnLst/>
              <a:rect l="l" t="t" r="r" b="b"/>
              <a:pathLst>
                <a:path w="54" h="22" extrusionOk="0">
                  <a:moveTo>
                    <a:pt x="1" y="0"/>
                  </a:moveTo>
                  <a:lnTo>
                    <a:pt x="11" y="11"/>
                  </a:lnTo>
                  <a:cubicBezTo>
                    <a:pt x="22" y="18"/>
                    <a:pt x="36" y="21"/>
                    <a:pt x="50" y="21"/>
                  </a:cubicBezTo>
                  <a:lnTo>
                    <a:pt x="53" y="21"/>
                  </a:lnTo>
                  <a:cubicBezTo>
                    <a:pt x="32" y="21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3" name="Google Shape;4910;p64">
              <a:extLst>
                <a:ext uri="{FF2B5EF4-FFF2-40B4-BE49-F238E27FC236}">
                  <a16:creationId xmlns:a16="http://schemas.microsoft.com/office/drawing/2014/main" id="{C0A7EB03-9A25-A6A7-3ABE-4F723309702B}"/>
                </a:ext>
              </a:extLst>
            </p:cNvPr>
            <p:cNvSpPr/>
            <p:nvPr/>
          </p:nvSpPr>
          <p:spPr>
            <a:xfrm>
              <a:off x="1989634" y="1964558"/>
              <a:ext cx="1494" cy="1534"/>
            </a:xfrm>
            <a:custGeom>
              <a:avLst/>
              <a:gdLst/>
              <a:ahLst/>
              <a:cxnLst/>
              <a:rect l="l" t="t" r="r" b="b"/>
              <a:pathLst>
                <a:path w="110" h="113" extrusionOk="0">
                  <a:moveTo>
                    <a:pt x="8" y="99"/>
                  </a:moveTo>
                  <a:cubicBezTo>
                    <a:pt x="8" y="102"/>
                    <a:pt x="4" y="106"/>
                    <a:pt x="1" y="113"/>
                  </a:cubicBezTo>
                  <a:cubicBezTo>
                    <a:pt x="4" y="106"/>
                    <a:pt x="8" y="102"/>
                    <a:pt x="8" y="99"/>
                  </a:cubicBezTo>
                  <a:cubicBezTo>
                    <a:pt x="25" y="53"/>
                    <a:pt x="64" y="15"/>
                    <a:pt x="109" y="1"/>
                  </a:cubicBezTo>
                  <a:cubicBezTo>
                    <a:pt x="64" y="15"/>
                    <a:pt x="25" y="53"/>
                    <a:pt x="8" y="9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4" name="Google Shape;4911;p64">
              <a:extLst>
                <a:ext uri="{FF2B5EF4-FFF2-40B4-BE49-F238E27FC236}">
                  <a16:creationId xmlns:a16="http://schemas.microsoft.com/office/drawing/2014/main" id="{1E02AC23-9FB2-1D89-023B-52242DB998DE}"/>
                </a:ext>
              </a:extLst>
            </p:cNvPr>
            <p:cNvSpPr/>
            <p:nvPr/>
          </p:nvSpPr>
          <p:spPr>
            <a:xfrm>
              <a:off x="1992390" y="196461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5" name="Google Shape;4912;p64">
              <a:extLst>
                <a:ext uri="{FF2B5EF4-FFF2-40B4-BE49-F238E27FC236}">
                  <a16:creationId xmlns:a16="http://schemas.microsoft.com/office/drawing/2014/main" id="{B3F5D9C2-39B1-8173-05C0-494DAA95C8F7}"/>
                </a:ext>
              </a:extLst>
            </p:cNvPr>
            <p:cNvSpPr/>
            <p:nvPr/>
          </p:nvSpPr>
          <p:spPr>
            <a:xfrm>
              <a:off x="1989539" y="196613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6" name="Google Shape;4913;p64">
              <a:extLst>
                <a:ext uri="{FF2B5EF4-FFF2-40B4-BE49-F238E27FC236}">
                  <a16:creationId xmlns:a16="http://schemas.microsoft.com/office/drawing/2014/main" id="{A466C56B-2838-B341-7476-E555687F8664}"/>
                </a:ext>
              </a:extLst>
            </p:cNvPr>
            <p:cNvSpPr/>
            <p:nvPr/>
          </p:nvSpPr>
          <p:spPr>
            <a:xfrm>
              <a:off x="1994196" y="196584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7" name="Google Shape;4914;p64">
              <a:extLst>
                <a:ext uri="{FF2B5EF4-FFF2-40B4-BE49-F238E27FC236}">
                  <a16:creationId xmlns:a16="http://schemas.microsoft.com/office/drawing/2014/main" id="{67998E9B-C7E9-038B-53F0-988E5AC07903}"/>
                </a:ext>
              </a:extLst>
            </p:cNvPr>
            <p:cNvSpPr/>
            <p:nvPr/>
          </p:nvSpPr>
          <p:spPr>
            <a:xfrm>
              <a:off x="1993816" y="196546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8" name="Google Shape;4915;p64">
              <a:extLst>
                <a:ext uri="{FF2B5EF4-FFF2-40B4-BE49-F238E27FC236}">
                  <a16:creationId xmlns:a16="http://schemas.microsoft.com/office/drawing/2014/main" id="{673A96DB-30B5-C47F-09F0-726FAF20445E}"/>
                </a:ext>
              </a:extLst>
            </p:cNvPr>
            <p:cNvSpPr/>
            <p:nvPr/>
          </p:nvSpPr>
          <p:spPr>
            <a:xfrm>
              <a:off x="1991875" y="196451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9" name="Google Shape;4916;p64">
              <a:extLst>
                <a:ext uri="{FF2B5EF4-FFF2-40B4-BE49-F238E27FC236}">
                  <a16:creationId xmlns:a16="http://schemas.microsoft.com/office/drawing/2014/main" id="{A2A18DF4-30E9-A8EE-5A93-D4C64E435BE0}"/>
                </a:ext>
              </a:extLst>
            </p:cNvPr>
            <p:cNvSpPr/>
            <p:nvPr/>
          </p:nvSpPr>
          <p:spPr>
            <a:xfrm>
              <a:off x="1989349" y="1966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0" name="Google Shape;4917;p64">
              <a:extLst>
                <a:ext uri="{FF2B5EF4-FFF2-40B4-BE49-F238E27FC236}">
                  <a16:creationId xmlns:a16="http://schemas.microsoft.com/office/drawing/2014/main" id="{53B10225-88E5-94C6-4E42-7586B1E25070}"/>
                </a:ext>
              </a:extLst>
            </p:cNvPr>
            <p:cNvSpPr/>
            <p:nvPr/>
          </p:nvSpPr>
          <p:spPr>
            <a:xfrm>
              <a:off x="2003035" y="1965087"/>
              <a:ext cx="1303" cy="720"/>
            </a:xfrm>
            <a:custGeom>
              <a:avLst/>
              <a:gdLst/>
              <a:ahLst/>
              <a:cxnLst/>
              <a:rect l="l" t="t" r="r" b="b"/>
              <a:pathLst>
                <a:path w="96" h="53" extrusionOk="0">
                  <a:moveTo>
                    <a:pt x="96" y="0"/>
                  </a:moveTo>
                  <a:cubicBezTo>
                    <a:pt x="68" y="21"/>
                    <a:pt x="36" y="39"/>
                    <a:pt x="1" y="53"/>
                  </a:cubicBezTo>
                  <a:cubicBezTo>
                    <a:pt x="36" y="39"/>
                    <a:pt x="68" y="21"/>
                    <a:pt x="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1" name="Google Shape;4918;p64">
              <a:extLst>
                <a:ext uri="{FF2B5EF4-FFF2-40B4-BE49-F238E27FC236}">
                  <a16:creationId xmlns:a16="http://schemas.microsoft.com/office/drawing/2014/main" id="{CD9FA75B-D019-D588-8C31-07F86A2A3B3B}"/>
                </a:ext>
              </a:extLst>
            </p:cNvPr>
            <p:cNvSpPr/>
            <p:nvPr/>
          </p:nvSpPr>
          <p:spPr>
            <a:xfrm>
              <a:off x="2004800" y="1964463"/>
              <a:ext cx="1494" cy="353"/>
            </a:xfrm>
            <a:custGeom>
              <a:avLst/>
              <a:gdLst/>
              <a:ahLst/>
              <a:cxnLst/>
              <a:rect l="l" t="t" r="r" b="b"/>
              <a:pathLst>
                <a:path w="110" h="26" extrusionOk="0">
                  <a:moveTo>
                    <a:pt x="109" y="1"/>
                  </a:moveTo>
                  <a:lnTo>
                    <a:pt x="109" y="1"/>
                  </a:lnTo>
                  <a:cubicBezTo>
                    <a:pt x="71" y="1"/>
                    <a:pt x="36" y="8"/>
                    <a:pt x="1" y="25"/>
                  </a:cubicBezTo>
                  <a:cubicBezTo>
                    <a:pt x="36" y="8"/>
                    <a:pt x="71" y="1"/>
                    <a:pt x="1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2" name="Google Shape;4919;p64">
              <a:extLst>
                <a:ext uri="{FF2B5EF4-FFF2-40B4-BE49-F238E27FC236}">
                  <a16:creationId xmlns:a16="http://schemas.microsoft.com/office/drawing/2014/main" id="{029019B4-4EAF-6995-2D13-DEB0A41B3C41}"/>
                </a:ext>
              </a:extLst>
            </p:cNvPr>
            <p:cNvSpPr/>
            <p:nvPr/>
          </p:nvSpPr>
          <p:spPr>
            <a:xfrm>
              <a:off x="1993341" y="1965087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3" name="Google Shape;4920;p64">
              <a:extLst>
                <a:ext uri="{FF2B5EF4-FFF2-40B4-BE49-F238E27FC236}">
                  <a16:creationId xmlns:a16="http://schemas.microsoft.com/office/drawing/2014/main" id="{D8F004EA-A4F4-343B-CC18-ECCF927B1A6E}"/>
                </a:ext>
              </a:extLst>
            </p:cNvPr>
            <p:cNvSpPr/>
            <p:nvPr/>
          </p:nvSpPr>
          <p:spPr>
            <a:xfrm>
              <a:off x="1964068" y="1949446"/>
              <a:ext cx="54" cy="1208"/>
            </a:xfrm>
            <a:custGeom>
              <a:avLst/>
              <a:gdLst/>
              <a:ahLst/>
              <a:cxnLst/>
              <a:rect l="l" t="t" r="r" b="b"/>
              <a:pathLst>
                <a:path w="4" h="89" extrusionOk="0">
                  <a:moveTo>
                    <a:pt x="4" y="1"/>
                  </a:moveTo>
                  <a:lnTo>
                    <a:pt x="0" y="88"/>
                  </a:lnTo>
                  <a:cubicBezTo>
                    <a:pt x="4" y="60"/>
                    <a:pt x="4" y="32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4" name="Google Shape;4921;p64">
              <a:extLst>
                <a:ext uri="{FF2B5EF4-FFF2-40B4-BE49-F238E27FC236}">
                  <a16:creationId xmlns:a16="http://schemas.microsoft.com/office/drawing/2014/main" id="{55E58A85-DE59-ADCB-F4A0-B125D2184967}"/>
                </a:ext>
              </a:extLst>
            </p:cNvPr>
            <p:cNvSpPr/>
            <p:nvPr/>
          </p:nvSpPr>
          <p:spPr>
            <a:xfrm>
              <a:off x="1987788" y="1965318"/>
              <a:ext cx="815" cy="828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18"/>
                    <a:pt x="28" y="36"/>
                    <a:pt x="46" y="50"/>
                  </a:cubicBezTo>
                  <a:lnTo>
                    <a:pt x="52" y="55"/>
                  </a:lnTo>
                  <a:lnTo>
                    <a:pt x="52" y="55"/>
                  </a:lnTo>
                  <a:cubicBezTo>
                    <a:pt x="32" y="38"/>
                    <a:pt x="16" y="20"/>
                    <a:pt x="0" y="1"/>
                  </a:cubicBezTo>
                  <a:close/>
                  <a:moveTo>
                    <a:pt x="52" y="55"/>
                  </a:moveTo>
                  <a:lnTo>
                    <a:pt x="52" y="55"/>
                  </a:lnTo>
                  <a:cubicBezTo>
                    <a:pt x="55" y="57"/>
                    <a:pt x="57" y="59"/>
                    <a:pt x="60" y="60"/>
                  </a:cubicBezTo>
                  <a:lnTo>
                    <a:pt x="52" y="5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5" name="Google Shape;4922;p64">
              <a:extLst>
                <a:ext uri="{FF2B5EF4-FFF2-40B4-BE49-F238E27FC236}">
                  <a16:creationId xmlns:a16="http://schemas.microsoft.com/office/drawing/2014/main" id="{0E55D68F-0D4E-7C05-916C-FF97571B800E}"/>
                </a:ext>
              </a:extLst>
            </p:cNvPr>
            <p:cNvSpPr/>
            <p:nvPr/>
          </p:nvSpPr>
          <p:spPr>
            <a:xfrm>
              <a:off x="1964013" y="1951876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1" y="0"/>
                  </a:moveTo>
                  <a:cubicBezTo>
                    <a:pt x="4" y="21"/>
                    <a:pt x="11" y="42"/>
                    <a:pt x="22" y="63"/>
                  </a:cubicBezTo>
                  <a:cubicBezTo>
                    <a:pt x="11" y="42"/>
                    <a:pt x="4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6" name="Google Shape;4923;p64">
              <a:extLst>
                <a:ext uri="{FF2B5EF4-FFF2-40B4-BE49-F238E27FC236}">
                  <a16:creationId xmlns:a16="http://schemas.microsoft.com/office/drawing/2014/main" id="{54A9DD95-6FE9-05E8-8BF9-96B49EFC2230}"/>
                </a:ext>
              </a:extLst>
            </p:cNvPr>
            <p:cNvSpPr/>
            <p:nvPr/>
          </p:nvSpPr>
          <p:spPr>
            <a:xfrm>
              <a:off x="1964299" y="1952732"/>
              <a:ext cx="353" cy="679"/>
            </a:xfrm>
            <a:custGeom>
              <a:avLst/>
              <a:gdLst/>
              <a:ahLst/>
              <a:cxnLst/>
              <a:rect l="l" t="t" r="r" b="b"/>
              <a:pathLst>
                <a:path w="26" h="50" extrusionOk="0">
                  <a:moveTo>
                    <a:pt x="25" y="49"/>
                  </a:moveTo>
                  <a:cubicBezTo>
                    <a:pt x="15" y="35"/>
                    <a:pt x="8" y="18"/>
                    <a:pt x="1" y="0"/>
                  </a:cubicBezTo>
                  <a:cubicBezTo>
                    <a:pt x="8" y="18"/>
                    <a:pt x="15" y="35"/>
                    <a:pt x="25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7" name="Google Shape;4924;p64">
              <a:extLst>
                <a:ext uri="{FF2B5EF4-FFF2-40B4-BE49-F238E27FC236}">
                  <a16:creationId xmlns:a16="http://schemas.microsoft.com/office/drawing/2014/main" id="{E81AE611-00B0-0880-AD9B-BAE972AE6828}"/>
                </a:ext>
              </a:extLst>
            </p:cNvPr>
            <p:cNvSpPr/>
            <p:nvPr/>
          </p:nvSpPr>
          <p:spPr>
            <a:xfrm>
              <a:off x="1988358" y="1965983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8"/>
                    <a:pt x="18" y="15"/>
                    <a:pt x="28" y="22"/>
                  </a:cubicBezTo>
                  <a:lnTo>
                    <a:pt x="18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8" name="Google Shape;4925;p64">
              <a:extLst>
                <a:ext uri="{FF2B5EF4-FFF2-40B4-BE49-F238E27FC236}">
                  <a16:creationId xmlns:a16="http://schemas.microsoft.com/office/drawing/2014/main" id="{4A7AE9B4-502A-2FE5-1578-D6067711F5B5}"/>
                </a:ext>
              </a:extLst>
            </p:cNvPr>
            <p:cNvSpPr/>
            <p:nvPr/>
          </p:nvSpPr>
          <p:spPr>
            <a:xfrm>
              <a:off x="1957415" y="1933479"/>
              <a:ext cx="720" cy="149"/>
            </a:xfrm>
            <a:custGeom>
              <a:avLst/>
              <a:gdLst/>
              <a:ahLst/>
              <a:cxnLst/>
              <a:rect l="l" t="t" r="r" b="b"/>
              <a:pathLst>
                <a:path w="53" h="11" extrusionOk="0">
                  <a:moveTo>
                    <a:pt x="53" y="0"/>
                  </a:moveTo>
                  <a:lnTo>
                    <a:pt x="53" y="0"/>
                  </a:lnTo>
                  <a:cubicBezTo>
                    <a:pt x="35" y="4"/>
                    <a:pt x="18" y="7"/>
                    <a:pt x="0" y="11"/>
                  </a:cubicBezTo>
                  <a:cubicBezTo>
                    <a:pt x="18" y="11"/>
                    <a:pt x="35" y="4"/>
                    <a:pt x="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9" name="Google Shape;4926;p64">
              <a:extLst>
                <a:ext uri="{FF2B5EF4-FFF2-40B4-BE49-F238E27FC236}">
                  <a16:creationId xmlns:a16="http://schemas.microsoft.com/office/drawing/2014/main" id="{70CDB3C4-EDF9-6D4C-3DFE-95C6F1A6DFE7}"/>
                </a:ext>
              </a:extLst>
            </p:cNvPr>
            <p:cNvSpPr/>
            <p:nvPr/>
          </p:nvSpPr>
          <p:spPr>
            <a:xfrm>
              <a:off x="1959506" y="1932569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8"/>
                    <a:pt x="21" y="11"/>
                    <a:pt x="32" y="1"/>
                  </a:cubicBezTo>
                  <a:cubicBezTo>
                    <a:pt x="21" y="11"/>
                    <a:pt x="11" y="18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0" name="Google Shape;4927;p64">
              <a:extLst>
                <a:ext uri="{FF2B5EF4-FFF2-40B4-BE49-F238E27FC236}">
                  <a16:creationId xmlns:a16="http://schemas.microsoft.com/office/drawing/2014/main" id="{AD41FE32-2C5E-8B83-C4B0-E64E0C174A1E}"/>
                </a:ext>
              </a:extLst>
            </p:cNvPr>
            <p:cNvSpPr/>
            <p:nvPr/>
          </p:nvSpPr>
          <p:spPr>
            <a:xfrm>
              <a:off x="1958175" y="1933289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4"/>
                  </a:moveTo>
                  <a:cubicBezTo>
                    <a:pt x="14" y="11"/>
                    <a:pt x="28" y="4"/>
                    <a:pt x="42" y="0"/>
                  </a:cubicBezTo>
                  <a:cubicBezTo>
                    <a:pt x="28" y="4"/>
                    <a:pt x="14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1" name="Google Shape;4928;p64">
              <a:extLst>
                <a:ext uri="{FF2B5EF4-FFF2-40B4-BE49-F238E27FC236}">
                  <a16:creationId xmlns:a16="http://schemas.microsoft.com/office/drawing/2014/main" id="{4F680BB2-BF14-E557-4ABF-913734D19CFF}"/>
                </a:ext>
              </a:extLst>
            </p:cNvPr>
            <p:cNvSpPr/>
            <p:nvPr/>
          </p:nvSpPr>
          <p:spPr>
            <a:xfrm>
              <a:off x="1958881" y="1932949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22"/>
                  </a:moveTo>
                  <a:cubicBezTo>
                    <a:pt x="11" y="15"/>
                    <a:pt x="25" y="8"/>
                    <a:pt x="39" y="1"/>
                  </a:cubicBezTo>
                  <a:cubicBezTo>
                    <a:pt x="25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2" name="Google Shape;4929;p64">
              <a:extLst>
                <a:ext uri="{FF2B5EF4-FFF2-40B4-BE49-F238E27FC236}">
                  <a16:creationId xmlns:a16="http://schemas.microsoft.com/office/drawing/2014/main" id="{BB5CCDF3-C481-A8B6-A4A8-132371B94610}"/>
                </a:ext>
              </a:extLst>
            </p:cNvPr>
            <p:cNvSpPr/>
            <p:nvPr/>
          </p:nvSpPr>
          <p:spPr>
            <a:xfrm>
              <a:off x="1959981" y="1932148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cubicBezTo>
                    <a:pt x="18" y="11"/>
                    <a:pt x="7" y="21"/>
                    <a:pt x="0" y="28"/>
                  </a:cubicBezTo>
                  <a:cubicBezTo>
                    <a:pt x="7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3" name="Google Shape;4930;p64">
              <a:extLst>
                <a:ext uri="{FF2B5EF4-FFF2-40B4-BE49-F238E27FC236}">
                  <a16:creationId xmlns:a16="http://schemas.microsoft.com/office/drawing/2014/main" id="{FA12CDAF-4028-4793-8BC4-9AE753012D4C}"/>
                </a:ext>
              </a:extLst>
            </p:cNvPr>
            <p:cNvSpPr/>
            <p:nvPr/>
          </p:nvSpPr>
          <p:spPr>
            <a:xfrm>
              <a:off x="1960646" y="1931103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4" name="Google Shape;4931;p64">
              <a:extLst>
                <a:ext uri="{FF2B5EF4-FFF2-40B4-BE49-F238E27FC236}">
                  <a16:creationId xmlns:a16="http://schemas.microsoft.com/office/drawing/2014/main" id="{0F7115C5-D3F4-F651-DA62-8A410D5E6D22}"/>
                </a:ext>
              </a:extLst>
            </p:cNvPr>
            <p:cNvSpPr/>
            <p:nvPr/>
          </p:nvSpPr>
          <p:spPr>
            <a:xfrm>
              <a:off x="1969051" y="1928673"/>
              <a:ext cx="1398" cy="204"/>
            </a:xfrm>
            <a:custGeom>
              <a:avLst/>
              <a:gdLst/>
              <a:ahLst/>
              <a:cxnLst/>
              <a:rect l="l" t="t" r="r" b="b"/>
              <a:pathLst>
                <a:path w="103" h="15" extrusionOk="0">
                  <a:moveTo>
                    <a:pt x="102" y="15"/>
                  </a:moveTo>
                  <a:cubicBezTo>
                    <a:pt x="71" y="4"/>
                    <a:pt x="36" y="1"/>
                    <a:pt x="1" y="1"/>
                  </a:cubicBezTo>
                  <a:cubicBezTo>
                    <a:pt x="36" y="1"/>
                    <a:pt x="71" y="4"/>
                    <a:pt x="10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5" name="Google Shape;4932;p64">
              <a:extLst>
                <a:ext uri="{FF2B5EF4-FFF2-40B4-BE49-F238E27FC236}">
                  <a16:creationId xmlns:a16="http://schemas.microsoft.com/office/drawing/2014/main" id="{4ECDA974-0AF5-55AB-F1FF-F1E306F1E4D6}"/>
                </a:ext>
              </a:extLst>
            </p:cNvPr>
            <p:cNvSpPr/>
            <p:nvPr/>
          </p:nvSpPr>
          <p:spPr>
            <a:xfrm>
              <a:off x="1960836" y="1930438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42"/>
                  </a:moveTo>
                  <a:cubicBezTo>
                    <a:pt x="4" y="28"/>
                    <a:pt x="4" y="14"/>
                    <a:pt x="4" y="0"/>
                  </a:cubicBezTo>
                  <a:cubicBezTo>
                    <a:pt x="4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6" name="Google Shape;4933;p64">
              <a:extLst>
                <a:ext uri="{FF2B5EF4-FFF2-40B4-BE49-F238E27FC236}">
                  <a16:creationId xmlns:a16="http://schemas.microsoft.com/office/drawing/2014/main" id="{88B0AF6E-C373-036F-6981-E7E6E84567C8}"/>
                </a:ext>
              </a:extLst>
            </p:cNvPr>
            <p:cNvSpPr/>
            <p:nvPr/>
          </p:nvSpPr>
          <p:spPr>
            <a:xfrm>
              <a:off x="1960361" y="193167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32"/>
                  </a:moveTo>
                  <a:cubicBezTo>
                    <a:pt x="7" y="21"/>
                    <a:pt x="14" y="11"/>
                    <a:pt x="21" y="0"/>
                  </a:cubicBezTo>
                  <a:cubicBezTo>
                    <a:pt x="14" y="11"/>
                    <a:pt x="7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7" name="Google Shape;4934;p64">
              <a:extLst>
                <a:ext uri="{FF2B5EF4-FFF2-40B4-BE49-F238E27FC236}">
                  <a16:creationId xmlns:a16="http://schemas.microsoft.com/office/drawing/2014/main" id="{E9ACC16D-8793-75DD-3CEB-2DADCB74A546}"/>
                </a:ext>
              </a:extLst>
            </p:cNvPr>
            <p:cNvSpPr/>
            <p:nvPr/>
          </p:nvSpPr>
          <p:spPr>
            <a:xfrm>
              <a:off x="2008222" y="1930981"/>
              <a:ext cx="58533" cy="39592"/>
            </a:xfrm>
            <a:custGeom>
              <a:avLst/>
              <a:gdLst/>
              <a:ahLst/>
              <a:cxnLst/>
              <a:rect l="l" t="t" r="r" b="b"/>
              <a:pathLst>
                <a:path w="4311" h="2916" extrusionOk="0">
                  <a:moveTo>
                    <a:pt x="2680" y="0"/>
                  </a:moveTo>
                  <a:cubicBezTo>
                    <a:pt x="2668" y="0"/>
                    <a:pt x="2654" y="7"/>
                    <a:pt x="2637" y="16"/>
                  </a:cubicBezTo>
                  <a:cubicBezTo>
                    <a:pt x="2584" y="48"/>
                    <a:pt x="2532" y="83"/>
                    <a:pt x="2486" y="118"/>
                  </a:cubicBezTo>
                  <a:cubicBezTo>
                    <a:pt x="2451" y="142"/>
                    <a:pt x="2416" y="170"/>
                    <a:pt x="2378" y="195"/>
                  </a:cubicBezTo>
                  <a:cubicBezTo>
                    <a:pt x="2273" y="261"/>
                    <a:pt x="2157" y="303"/>
                    <a:pt x="2035" y="321"/>
                  </a:cubicBezTo>
                  <a:cubicBezTo>
                    <a:pt x="2003" y="328"/>
                    <a:pt x="1968" y="335"/>
                    <a:pt x="1937" y="345"/>
                  </a:cubicBezTo>
                  <a:cubicBezTo>
                    <a:pt x="1937" y="401"/>
                    <a:pt x="1909" y="450"/>
                    <a:pt x="1867" y="482"/>
                  </a:cubicBezTo>
                  <a:cubicBezTo>
                    <a:pt x="1825" y="511"/>
                    <a:pt x="1777" y="525"/>
                    <a:pt x="1728" y="525"/>
                  </a:cubicBezTo>
                  <a:cubicBezTo>
                    <a:pt x="1700" y="525"/>
                    <a:pt x="1671" y="520"/>
                    <a:pt x="1642" y="510"/>
                  </a:cubicBezTo>
                  <a:cubicBezTo>
                    <a:pt x="1625" y="506"/>
                    <a:pt x="1607" y="503"/>
                    <a:pt x="1590" y="499"/>
                  </a:cubicBezTo>
                  <a:cubicBezTo>
                    <a:pt x="1579" y="496"/>
                    <a:pt x="1568" y="494"/>
                    <a:pt x="1556" y="494"/>
                  </a:cubicBezTo>
                  <a:cubicBezTo>
                    <a:pt x="1544" y="494"/>
                    <a:pt x="1532" y="496"/>
                    <a:pt x="1520" y="499"/>
                  </a:cubicBezTo>
                  <a:cubicBezTo>
                    <a:pt x="1492" y="527"/>
                    <a:pt x="1474" y="559"/>
                    <a:pt x="1467" y="594"/>
                  </a:cubicBezTo>
                  <a:cubicBezTo>
                    <a:pt x="1446" y="678"/>
                    <a:pt x="1383" y="741"/>
                    <a:pt x="1299" y="762"/>
                  </a:cubicBezTo>
                  <a:cubicBezTo>
                    <a:pt x="1247" y="779"/>
                    <a:pt x="1233" y="783"/>
                    <a:pt x="1226" y="842"/>
                  </a:cubicBezTo>
                  <a:cubicBezTo>
                    <a:pt x="1229" y="902"/>
                    <a:pt x="1198" y="958"/>
                    <a:pt x="1149" y="989"/>
                  </a:cubicBezTo>
                  <a:cubicBezTo>
                    <a:pt x="1129" y="999"/>
                    <a:pt x="1108" y="1003"/>
                    <a:pt x="1086" y="1003"/>
                  </a:cubicBezTo>
                  <a:cubicBezTo>
                    <a:pt x="1011" y="1003"/>
                    <a:pt x="925" y="954"/>
                    <a:pt x="841" y="905"/>
                  </a:cubicBezTo>
                  <a:lnTo>
                    <a:pt x="792" y="881"/>
                  </a:lnTo>
                  <a:cubicBezTo>
                    <a:pt x="760" y="912"/>
                    <a:pt x="722" y="1073"/>
                    <a:pt x="711" y="1231"/>
                  </a:cubicBezTo>
                  <a:lnTo>
                    <a:pt x="711" y="1252"/>
                  </a:lnTo>
                  <a:lnTo>
                    <a:pt x="697" y="1270"/>
                  </a:lnTo>
                  <a:cubicBezTo>
                    <a:pt x="624" y="1364"/>
                    <a:pt x="568" y="1473"/>
                    <a:pt x="529" y="1588"/>
                  </a:cubicBezTo>
                  <a:cubicBezTo>
                    <a:pt x="456" y="1795"/>
                    <a:pt x="253" y="1805"/>
                    <a:pt x="130" y="1812"/>
                  </a:cubicBezTo>
                  <a:cubicBezTo>
                    <a:pt x="113" y="1812"/>
                    <a:pt x="92" y="1812"/>
                    <a:pt x="74" y="1816"/>
                  </a:cubicBezTo>
                  <a:cubicBezTo>
                    <a:pt x="81" y="1844"/>
                    <a:pt x="92" y="1872"/>
                    <a:pt x="99" y="1900"/>
                  </a:cubicBezTo>
                  <a:cubicBezTo>
                    <a:pt x="127" y="1980"/>
                    <a:pt x="158" y="2075"/>
                    <a:pt x="123" y="2145"/>
                  </a:cubicBezTo>
                  <a:cubicBezTo>
                    <a:pt x="120" y="2152"/>
                    <a:pt x="116" y="2159"/>
                    <a:pt x="113" y="2166"/>
                  </a:cubicBezTo>
                  <a:lnTo>
                    <a:pt x="113" y="2169"/>
                  </a:lnTo>
                  <a:lnTo>
                    <a:pt x="102" y="2197"/>
                  </a:lnTo>
                  <a:lnTo>
                    <a:pt x="99" y="2204"/>
                  </a:lnTo>
                  <a:lnTo>
                    <a:pt x="88" y="2236"/>
                  </a:lnTo>
                  <a:lnTo>
                    <a:pt x="85" y="2239"/>
                  </a:lnTo>
                  <a:lnTo>
                    <a:pt x="71" y="2278"/>
                  </a:lnTo>
                  <a:lnTo>
                    <a:pt x="53" y="2323"/>
                  </a:lnTo>
                  <a:lnTo>
                    <a:pt x="53" y="2327"/>
                  </a:lnTo>
                  <a:lnTo>
                    <a:pt x="39" y="2376"/>
                  </a:lnTo>
                  <a:lnTo>
                    <a:pt x="36" y="2383"/>
                  </a:lnTo>
                  <a:lnTo>
                    <a:pt x="18" y="2428"/>
                  </a:lnTo>
                  <a:lnTo>
                    <a:pt x="15" y="2439"/>
                  </a:lnTo>
                  <a:lnTo>
                    <a:pt x="1" y="2488"/>
                  </a:lnTo>
                  <a:cubicBezTo>
                    <a:pt x="74" y="2519"/>
                    <a:pt x="137" y="2568"/>
                    <a:pt x="193" y="2628"/>
                  </a:cubicBezTo>
                  <a:cubicBezTo>
                    <a:pt x="200" y="2635"/>
                    <a:pt x="204" y="2642"/>
                    <a:pt x="211" y="2652"/>
                  </a:cubicBezTo>
                  <a:cubicBezTo>
                    <a:pt x="214" y="2659"/>
                    <a:pt x="221" y="2663"/>
                    <a:pt x="225" y="2670"/>
                  </a:cubicBezTo>
                  <a:lnTo>
                    <a:pt x="228" y="2673"/>
                  </a:lnTo>
                  <a:cubicBezTo>
                    <a:pt x="253" y="2708"/>
                    <a:pt x="281" y="2743"/>
                    <a:pt x="309" y="2771"/>
                  </a:cubicBezTo>
                  <a:cubicBezTo>
                    <a:pt x="351" y="2813"/>
                    <a:pt x="400" y="2848"/>
                    <a:pt x="449" y="2880"/>
                  </a:cubicBezTo>
                  <a:cubicBezTo>
                    <a:pt x="463" y="2890"/>
                    <a:pt x="480" y="2897"/>
                    <a:pt x="498" y="2904"/>
                  </a:cubicBezTo>
                  <a:cubicBezTo>
                    <a:pt x="512" y="2908"/>
                    <a:pt x="526" y="2911"/>
                    <a:pt x="540" y="2915"/>
                  </a:cubicBezTo>
                  <a:cubicBezTo>
                    <a:pt x="543" y="2915"/>
                    <a:pt x="546" y="2916"/>
                    <a:pt x="549" y="2916"/>
                  </a:cubicBezTo>
                  <a:cubicBezTo>
                    <a:pt x="570" y="2916"/>
                    <a:pt x="591" y="2906"/>
                    <a:pt x="606" y="2890"/>
                  </a:cubicBezTo>
                  <a:cubicBezTo>
                    <a:pt x="708" y="2778"/>
                    <a:pt x="900" y="2733"/>
                    <a:pt x="1047" y="2729"/>
                  </a:cubicBezTo>
                  <a:lnTo>
                    <a:pt x="1075" y="2729"/>
                  </a:lnTo>
                  <a:cubicBezTo>
                    <a:pt x="1149" y="2729"/>
                    <a:pt x="1278" y="2740"/>
                    <a:pt x="1345" y="2806"/>
                  </a:cubicBezTo>
                  <a:cubicBezTo>
                    <a:pt x="1359" y="2824"/>
                    <a:pt x="1376" y="2834"/>
                    <a:pt x="1397" y="2841"/>
                  </a:cubicBezTo>
                  <a:cubicBezTo>
                    <a:pt x="1404" y="2827"/>
                    <a:pt x="1411" y="2813"/>
                    <a:pt x="1415" y="2796"/>
                  </a:cubicBezTo>
                  <a:cubicBezTo>
                    <a:pt x="1408" y="2743"/>
                    <a:pt x="1394" y="2687"/>
                    <a:pt x="1376" y="2638"/>
                  </a:cubicBezTo>
                  <a:lnTo>
                    <a:pt x="1369" y="2614"/>
                  </a:lnTo>
                  <a:cubicBezTo>
                    <a:pt x="1310" y="2425"/>
                    <a:pt x="1275" y="2299"/>
                    <a:pt x="1327" y="2222"/>
                  </a:cubicBezTo>
                  <a:lnTo>
                    <a:pt x="1331" y="2218"/>
                  </a:lnTo>
                  <a:cubicBezTo>
                    <a:pt x="1350" y="2190"/>
                    <a:pt x="1402" y="2139"/>
                    <a:pt x="1843" y="2139"/>
                  </a:cubicBezTo>
                  <a:cubicBezTo>
                    <a:pt x="1894" y="2139"/>
                    <a:pt x="1949" y="2140"/>
                    <a:pt x="2010" y="2141"/>
                  </a:cubicBezTo>
                  <a:cubicBezTo>
                    <a:pt x="2224" y="2141"/>
                    <a:pt x="2437" y="2155"/>
                    <a:pt x="2651" y="2190"/>
                  </a:cubicBezTo>
                  <a:lnTo>
                    <a:pt x="2654" y="2190"/>
                  </a:lnTo>
                  <a:lnTo>
                    <a:pt x="2682" y="2194"/>
                  </a:lnTo>
                  <a:lnTo>
                    <a:pt x="2689" y="2194"/>
                  </a:lnTo>
                  <a:lnTo>
                    <a:pt x="2710" y="2201"/>
                  </a:lnTo>
                  <a:lnTo>
                    <a:pt x="2717" y="2201"/>
                  </a:lnTo>
                  <a:lnTo>
                    <a:pt x="2735" y="2204"/>
                  </a:lnTo>
                  <a:lnTo>
                    <a:pt x="2745" y="2208"/>
                  </a:lnTo>
                  <a:lnTo>
                    <a:pt x="2756" y="2215"/>
                  </a:lnTo>
                  <a:cubicBezTo>
                    <a:pt x="2773" y="2176"/>
                    <a:pt x="2798" y="2145"/>
                    <a:pt x="2829" y="2117"/>
                  </a:cubicBezTo>
                  <a:lnTo>
                    <a:pt x="2829" y="2113"/>
                  </a:lnTo>
                  <a:lnTo>
                    <a:pt x="2850" y="2103"/>
                  </a:lnTo>
                  <a:cubicBezTo>
                    <a:pt x="2864" y="2092"/>
                    <a:pt x="2878" y="2085"/>
                    <a:pt x="2896" y="2082"/>
                  </a:cubicBezTo>
                  <a:lnTo>
                    <a:pt x="2948" y="2057"/>
                  </a:lnTo>
                  <a:lnTo>
                    <a:pt x="2952" y="2075"/>
                  </a:lnTo>
                  <a:lnTo>
                    <a:pt x="2983" y="2075"/>
                  </a:lnTo>
                  <a:cubicBezTo>
                    <a:pt x="3043" y="2082"/>
                    <a:pt x="3109" y="2096"/>
                    <a:pt x="3176" y="2110"/>
                  </a:cubicBezTo>
                  <a:cubicBezTo>
                    <a:pt x="3246" y="2124"/>
                    <a:pt x="3312" y="2134"/>
                    <a:pt x="3382" y="2141"/>
                  </a:cubicBezTo>
                  <a:cubicBezTo>
                    <a:pt x="3391" y="2143"/>
                    <a:pt x="3399" y="2144"/>
                    <a:pt x="3407" y="2144"/>
                  </a:cubicBezTo>
                  <a:cubicBezTo>
                    <a:pt x="3415" y="2144"/>
                    <a:pt x="3423" y="2143"/>
                    <a:pt x="3431" y="2141"/>
                  </a:cubicBezTo>
                  <a:lnTo>
                    <a:pt x="3442" y="2141"/>
                  </a:lnTo>
                  <a:cubicBezTo>
                    <a:pt x="3480" y="2124"/>
                    <a:pt x="3512" y="2099"/>
                    <a:pt x="3540" y="2071"/>
                  </a:cubicBezTo>
                  <a:lnTo>
                    <a:pt x="3554" y="2057"/>
                  </a:lnTo>
                  <a:cubicBezTo>
                    <a:pt x="3624" y="1994"/>
                    <a:pt x="3690" y="1928"/>
                    <a:pt x="3771" y="1928"/>
                  </a:cubicBezTo>
                  <a:cubicBezTo>
                    <a:pt x="3950" y="1928"/>
                    <a:pt x="4142" y="1896"/>
                    <a:pt x="4174" y="1858"/>
                  </a:cubicBezTo>
                  <a:cubicBezTo>
                    <a:pt x="4198" y="1826"/>
                    <a:pt x="4226" y="1802"/>
                    <a:pt x="4261" y="1781"/>
                  </a:cubicBezTo>
                  <a:lnTo>
                    <a:pt x="4275" y="1770"/>
                  </a:lnTo>
                  <a:lnTo>
                    <a:pt x="4279" y="1767"/>
                  </a:lnTo>
                  <a:lnTo>
                    <a:pt x="4289" y="1763"/>
                  </a:lnTo>
                  <a:lnTo>
                    <a:pt x="4293" y="1760"/>
                  </a:lnTo>
                  <a:lnTo>
                    <a:pt x="4296" y="1753"/>
                  </a:lnTo>
                  <a:lnTo>
                    <a:pt x="4300" y="1753"/>
                  </a:lnTo>
                  <a:lnTo>
                    <a:pt x="4303" y="1746"/>
                  </a:lnTo>
                  <a:lnTo>
                    <a:pt x="4303" y="1742"/>
                  </a:lnTo>
                  <a:lnTo>
                    <a:pt x="4303" y="1739"/>
                  </a:lnTo>
                  <a:lnTo>
                    <a:pt x="4303" y="1735"/>
                  </a:lnTo>
                  <a:cubicBezTo>
                    <a:pt x="4303" y="1735"/>
                    <a:pt x="4303" y="1732"/>
                    <a:pt x="4303" y="1732"/>
                  </a:cubicBezTo>
                  <a:lnTo>
                    <a:pt x="4303" y="1728"/>
                  </a:lnTo>
                  <a:cubicBezTo>
                    <a:pt x="4303" y="1725"/>
                    <a:pt x="4303" y="1721"/>
                    <a:pt x="4303" y="1721"/>
                  </a:cubicBezTo>
                  <a:lnTo>
                    <a:pt x="4310" y="1718"/>
                  </a:lnTo>
                  <a:lnTo>
                    <a:pt x="4296" y="1711"/>
                  </a:lnTo>
                  <a:lnTo>
                    <a:pt x="4282" y="1700"/>
                  </a:lnTo>
                  <a:lnTo>
                    <a:pt x="4272" y="1693"/>
                  </a:lnTo>
                  <a:lnTo>
                    <a:pt x="4258" y="1686"/>
                  </a:lnTo>
                  <a:lnTo>
                    <a:pt x="4247" y="1679"/>
                  </a:lnTo>
                  <a:lnTo>
                    <a:pt x="4230" y="1672"/>
                  </a:lnTo>
                  <a:lnTo>
                    <a:pt x="4223" y="1669"/>
                  </a:lnTo>
                  <a:lnTo>
                    <a:pt x="4209" y="1665"/>
                  </a:lnTo>
                  <a:lnTo>
                    <a:pt x="4198" y="1662"/>
                  </a:lnTo>
                  <a:lnTo>
                    <a:pt x="4184" y="1658"/>
                  </a:lnTo>
                  <a:lnTo>
                    <a:pt x="4181" y="1658"/>
                  </a:lnTo>
                  <a:lnTo>
                    <a:pt x="4167" y="1655"/>
                  </a:lnTo>
                  <a:lnTo>
                    <a:pt x="4153" y="1655"/>
                  </a:lnTo>
                  <a:cubicBezTo>
                    <a:pt x="4132" y="1655"/>
                    <a:pt x="4111" y="1648"/>
                    <a:pt x="4097" y="1634"/>
                  </a:cubicBezTo>
                  <a:cubicBezTo>
                    <a:pt x="4062" y="1595"/>
                    <a:pt x="4058" y="1529"/>
                    <a:pt x="4062" y="1413"/>
                  </a:cubicBezTo>
                  <a:lnTo>
                    <a:pt x="4062" y="1354"/>
                  </a:lnTo>
                  <a:lnTo>
                    <a:pt x="4044" y="1361"/>
                  </a:lnTo>
                  <a:cubicBezTo>
                    <a:pt x="4000" y="1375"/>
                    <a:pt x="3942" y="1393"/>
                    <a:pt x="3886" y="1393"/>
                  </a:cubicBezTo>
                  <a:cubicBezTo>
                    <a:pt x="3862" y="1393"/>
                    <a:pt x="3839" y="1390"/>
                    <a:pt x="3817" y="1382"/>
                  </a:cubicBezTo>
                  <a:cubicBezTo>
                    <a:pt x="3757" y="1354"/>
                    <a:pt x="3708" y="1312"/>
                    <a:pt x="3676" y="1256"/>
                  </a:cubicBezTo>
                  <a:cubicBezTo>
                    <a:pt x="3662" y="1235"/>
                    <a:pt x="3631" y="1192"/>
                    <a:pt x="3620" y="1192"/>
                  </a:cubicBezTo>
                  <a:cubicBezTo>
                    <a:pt x="3456" y="1192"/>
                    <a:pt x="3456" y="996"/>
                    <a:pt x="3456" y="919"/>
                  </a:cubicBezTo>
                  <a:cubicBezTo>
                    <a:pt x="3456" y="846"/>
                    <a:pt x="3323" y="751"/>
                    <a:pt x="3249" y="699"/>
                  </a:cubicBezTo>
                  <a:lnTo>
                    <a:pt x="3228" y="681"/>
                  </a:lnTo>
                  <a:cubicBezTo>
                    <a:pt x="3162" y="632"/>
                    <a:pt x="3127" y="541"/>
                    <a:pt x="3095" y="464"/>
                  </a:cubicBezTo>
                  <a:cubicBezTo>
                    <a:pt x="3085" y="429"/>
                    <a:pt x="3071" y="398"/>
                    <a:pt x="3050" y="370"/>
                  </a:cubicBezTo>
                  <a:lnTo>
                    <a:pt x="3043" y="363"/>
                  </a:lnTo>
                  <a:lnTo>
                    <a:pt x="3039" y="363"/>
                  </a:lnTo>
                  <a:lnTo>
                    <a:pt x="3036" y="359"/>
                  </a:lnTo>
                  <a:lnTo>
                    <a:pt x="3032" y="356"/>
                  </a:lnTo>
                  <a:lnTo>
                    <a:pt x="3029" y="349"/>
                  </a:lnTo>
                  <a:lnTo>
                    <a:pt x="3025" y="345"/>
                  </a:lnTo>
                  <a:lnTo>
                    <a:pt x="3022" y="342"/>
                  </a:lnTo>
                  <a:lnTo>
                    <a:pt x="3018" y="335"/>
                  </a:lnTo>
                  <a:lnTo>
                    <a:pt x="3015" y="331"/>
                  </a:lnTo>
                  <a:lnTo>
                    <a:pt x="3011" y="324"/>
                  </a:lnTo>
                  <a:lnTo>
                    <a:pt x="3011" y="317"/>
                  </a:lnTo>
                  <a:lnTo>
                    <a:pt x="3011" y="310"/>
                  </a:lnTo>
                  <a:lnTo>
                    <a:pt x="3011" y="303"/>
                  </a:lnTo>
                  <a:lnTo>
                    <a:pt x="3011" y="296"/>
                  </a:lnTo>
                  <a:lnTo>
                    <a:pt x="3011" y="286"/>
                  </a:lnTo>
                  <a:lnTo>
                    <a:pt x="3011" y="279"/>
                  </a:lnTo>
                  <a:lnTo>
                    <a:pt x="3011" y="265"/>
                  </a:lnTo>
                  <a:lnTo>
                    <a:pt x="3011" y="247"/>
                  </a:lnTo>
                  <a:lnTo>
                    <a:pt x="3011" y="233"/>
                  </a:lnTo>
                  <a:lnTo>
                    <a:pt x="3011" y="223"/>
                  </a:lnTo>
                  <a:lnTo>
                    <a:pt x="3011" y="209"/>
                  </a:lnTo>
                  <a:lnTo>
                    <a:pt x="3011" y="195"/>
                  </a:lnTo>
                  <a:lnTo>
                    <a:pt x="3011" y="181"/>
                  </a:lnTo>
                  <a:lnTo>
                    <a:pt x="3011" y="163"/>
                  </a:lnTo>
                  <a:lnTo>
                    <a:pt x="3011" y="146"/>
                  </a:lnTo>
                  <a:lnTo>
                    <a:pt x="3011" y="128"/>
                  </a:lnTo>
                  <a:lnTo>
                    <a:pt x="3011" y="111"/>
                  </a:lnTo>
                  <a:lnTo>
                    <a:pt x="3011" y="93"/>
                  </a:lnTo>
                  <a:lnTo>
                    <a:pt x="3011" y="86"/>
                  </a:lnTo>
                  <a:cubicBezTo>
                    <a:pt x="2763" y="72"/>
                    <a:pt x="2714" y="27"/>
                    <a:pt x="2700" y="9"/>
                  </a:cubicBezTo>
                  <a:cubicBezTo>
                    <a:pt x="2693" y="3"/>
                    <a:pt x="2687" y="0"/>
                    <a:pt x="26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8" name="Google Shape;4935;p64">
              <a:extLst>
                <a:ext uri="{FF2B5EF4-FFF2-40B4-BE49-F238E27FC236}">
                  <a16:creationId xmlns:a16="http://schemas.microsoft.com/office/drawing/2014/main" id="{0F4BEAF5-7DEA-6FB5-7D3A-18DB6B2089A2}"/>
                </a:ext>
              </a:extLst>
            </p:cNvPr>
            <p:cNvSpPr/>
            <p:nvPr/>
          </p:nvSpPr>
          <p:spPr>
            <a:xfrm>
              <a:off x="2054236" y="1960186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0" y="1"/>
                  </a:moveTo>
                  <a:lnTo>
                    <a:pt x="21" y="1"/>
                  </a:lnTo>
                  <a:cubicBezTo>
                    <a:pt x="32" y="1"/>
                    <a:pt x="39" y="1"/>
                    <a:pt x="49" y="1"/>
                  </a:cubicBezTo>
                  <a:cubicBezTo>
                    <a:pt x="32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9" name="Google Shape;4936;p64">
              <a:extLst>
                <a:ext uri="{FF2B5EF4-FFF2-40B4-BE49-F238E27FC236}">
                  <a16:creationId xmlns:a16="http://schemas.microsoft.com/office/drawing/2014/main" id="{469512EF-87F4-A7F6-A2FF-7E337EA29BA5}"/>
                </a:ext>
              </a:extLst>
            </p:cNvPr>
            <p:cNvSpPr/>
            <p:nvPr/>
          </p:nvSpPr>
          <p:spPr>
            <a:xfrm>
              <a:off x="2066782" y="195438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cubicBezTo>
                    <a:pt x="4" y="1"/>
                    <a:pt x="4" y="4"/>
                    <a:pt x="1" y="8"/>
                  </a:cubicBez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0" name="Google Shape;4937;p64">
              <a:extLst>
                <a:ext uri="{FF2B5EF4-FFF2-40B4-BE49-F238E27FC236}">
                  <a16:creationId xmlns:a16="http://schemas.microsoft.com/office/drawing/2014/main" id="{7B23B39B-C0AC-2D06-41A1-ECDA5C6C36F2}"/>
                </a:ext>
              </a:extLst>
            </p:cNvPr>
            <p:cNvSpPr/>
            <p:nvPr/>
          </p:nvSpPr>
          <p:spPr>
            <a:xfrm>
              <a:off x="2066782" y="195467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1" name="Google Shape;4938;p64">
              <a:extLst>
                <a:ext uri="{FF2B5EF4-FFF2-40B4-BE49-F238E27FC236}">
                  <a16:creationId xmlns:a16="http://schemas.microsoft.com/office/drawing/2014/main" id="{BD1DAC73-B352-38B6-E086-1AAC6FDDFA3E}"/>
                </a:ext>
              </a:extLst>
            </p:cNvPr>
            <p:cNvSpPr/>
            <p:nvPr/>
          </p:nvSpPr>
          <p:spPr>
            <a:xfrm>
              <a:off x="2066836" y="19545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cubicBezTo>
                    <a:pt x="0" y="4"/>
                    <a:pt x="0" y="4"/>
                    <a:pt x="0" y="7"/>
                  </a:cubicBezTo>
                  <a:cubicBezTo>
                    <a:pt x="0" y="4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2" name="Google Shape;4939;p64">
              <a:extLst>
                <a:ext uri="{FF2B5EF4-FFF2-40B4-BE49-F238E27FC236}">
                  <a16:creationId xmlns:a16="http://schemas.microsoft.com/office/drawing/2014/main" id="{24E3D58E-1B69-6D01-F9F0-5D0F2154A779}"/>
                </a:ext>
              </a:extLst>
            </p:cNvPr>
            <p:cNvSpPr/>
            <p:nvPr/>
          </p:nvSpPr>
          <p:spPr>
            <a:xfrm>
              <a:off x="2066591" y="19548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3" name="Google Shape;4940;p64">
              <a:extLst>
                <a:ext uri="{FF2B5EF4-FFF2-40B4-BE49-F238E27FC236}">
                  <a16:creationId xmlns:a16="http://schemas.microsoft.com/office/drawing/2014/main" id="{ACD3F698-1563-930A-EA2D-65A53742B972}"/>
                </a:ext>
              </a:extLst>
            </p:cNvPr>
            <p:cNvSpPr/>
            <p:nvPr/>
          </p:nvSpPr>
          <p:spPr>
            <a:xfrm>
              <a:off x="2066401" y="195495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4" name="Google Shape;4941;p64">
              <a:extLst>
                <a:ext uri="{FF2B5EF4-FFF2-40B4-BE49-F238E27FC236}">
                  <a16:creationId xmlns:a16="http://schemas.microsoft.com/office/drawing/2014/main" id="{193E64CF-4299-D3A5-1C62-B3F12936BB4C}"/>
                </a:ext>
              </a:extLst>
            </p:cNvPr>
            <p:cNvSpPr/>
            <p:nvPr/>
          </p:nvSpPr>
          <p:spPr>
            <a:xfrm>
              <a:off x="2066687" y="195476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5" name="Google Shape;4942;p64">
              <a:extLst>
                <a:ext uri="{FF2B5EF4-FFF2-40B4-BE49-F238E27FC236}">
                  <a16:creationId xmlns:a16="http://schemas.microsoft.com/office/drawing/2014/main" id="{2079BDE5-BF8A-C55E-9656-02EBB7A21EDB}"/>
                </a:ext>
              </a:extLst>
            </p:cNvPr>
            <p:cNvSpPr/>
            <p:nvPr/>
          </p:nvSpPr>
          <p:spPr>
            <a:xfrm>
              <a:off x="2055037" y="1960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6" name="Google Shape;4943;p64">
              <a:extLst>
                <a:ext uri="{FF2B5EF4-FFF2-40B4-BE49-F238E27FC236}">
                  <a16:creationId xmlns:a16="http://schemas.microsoft.com/office/drawing/2014/main" id="{8DC44BC6-1DC4-1C62-8B09-4B14FBE7BE8C}"/>
                </a:ext>
              </a:extLst>
            </p:cNvPr>
            <p:cNvSpPr/>
            <p:nvPr/>
          </p:nvSpPr>
          <p:spPr>
            <a:xfrm>
              <a:off x="2066171" y="195510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7" name="Google Shape;4944;p64">
              <a:extLst>
                <a:ext uri="{FF2B5EF4-FFF2-40B4-BE49-F238E27FC236}">
                  <a16:creationId xmlns:a16="http://schemas.microsoft.com/office/drawing/2014/main" id="{F4AE5FFA-9077-6663-78BB-CC876FA29670}"/>
                </a:ext>
              </a:extLst>
            </p:cNvPr>
            <p:cNvSpPr/>
            <p:nvPr/>
          </p:nvSpPr>
          <p:spPr>
            <a:xfrm>
              <a:off x="2051439" y="1959711"/>
              <a:ext cx="2811" cy="489"/>
            </a:xfrm>
            <a:custGeom>
              <a:avLst/>
              <a:gdLst/>
              <a:ahLst/>
              <a:cxnLst/>
              <a:rect l="l" t="t" r="r" b="b"/>
              <a:pathLst>
                <a:path w="207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59" y="13"/>
                    <a:pt x="115" y="26"/>
                    <a:pt x="164" y="31"/>
                  </a:cubicBezTo>
                  <a:lnTo>
                    <a:pt x="164" y="31"/>
                  </a:lnTo>
                  <a:cubicBezTo>
                    <a:pt x="108" y="23"/>
                    <a:pt x="53" y="12"/>
                    <a:pt x="0" y="1"/>
                  </a:cubicBezTo>
                  <a:close/>
                  <a:moveTo>
                    <a:pt x="164" y="31"/>
                  </a:moveTo>
                  <a:cubicBezTo>
                    <a:pt x="178" y="33"/>
                    <a:pt x="192" y="34"/>
                    <a:pt x="206" y="36"/>
                  </a:cubicBezTo>
                  <a:lnTo>
                    <a:pt x="206" y="32"/>
                  </a:lnTo>
                  <a:lnTo>
                    <a:pt x="182" y="32"/>
                  </a:lnTo>
                  <a:cubicBezTo>
                    <a:pt x="176" y="32"/>
                    <a:pt x="170" y="31"/>
                    <a:pt x="16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8" name="Google Shape;4945;p64">
              <a:extLst>
                <a:ext uri="{FF2B5EF4-FFF2-40B4-BE49-F238E27FC236}">
                  <a16:creationId xmlns:a16="http://schemas.microsoft.com/office/drawing/2014/main" id="{CC17C5A4-176E-F00F-4BBB-F7164467EB68}"/>
                </a:ext>
              </a:extLst>
            </p:cNvPr>
            <p:cNvSpPr/>
            <p:nvPr/>
          </p:nvSpPr>
          <p:spPr>
            <a:xfrm>
              <a:off x="2046633" y="1959575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lnTo>
                    <a:pt x="0" y="11"/>
                  </a:lnTo>
                  <a:lnTo>
                    <a:pt x="0" y="18"/>
                  </a:lnTo>
                  <a:cubicBezTo>
                    <a:pt x="7" y="11"/>
                    <a:pt x="14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9" name="Google Shape;4946;p64">
              <a:extLst>
                <a:ext uri="{FF2B5EF4-FFF2-40B4-BE49-F238E27FC236}">
                  <a16:creationId xmlns:a16="http://schemas.microsoft.com/office/drawing/2014/main" id="{EF3BA978-B453-2E19-FCBA-CCE4D369E267}"/>
                </a:ext>
              </a:extLst>
            </p:cNvPr>
            <p:cNvSpPr/>
            <p:nvPr/>
          </p:nvSpPr>
          <p:spPr>
            <a:xfrm>
              <a:off x="204834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0" name="Google Shape;4947;p64">
              <a:extLst>
                <a:ext uri="{FF2B5EF4-FFF2-40B4-BE49-F238E27FC236}">
                  <a16:creationId xmlns:a16="http://schemas.microsoft.com/office/drawing/2014/main" id="{0EF5F7A5-E13E-E24D-CDA1-1782A6209958}"/>
                </a:ext>
              </a:extLst>
            </p:cNvPr>
            <p:cNvSpPr/>
            <p:nvPr/>
          </p:nvSpPr>
          <p:spPr>
            <a:xfrm>
              <a:off x="2053856" y="1960186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1"/>
                  </a:moveTo>
                  <a:lnTo>
                    <a:pt x="0" y="1"/>
                  </a:lnTo>
                  <a:cubicBezTo>
                    <a:pt x="14" y="1"/>
                    <a:pt x="32" y="1"/>
                    <a:pt x="46" y="1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1" name="Google Shape;4948;p64">
              <a:extLst>
                <a:ext uri="{FF2B5EF4-FFF2-40B4-BE49-F238E27FC236}">
                  <a16:creationId xmlns:a16="http://schemas.microsoft.com/office/drawing/2014/main" id="{C4B2994C-AE79-5243-D894-177C7E022E09}"/>
                </a:ext>
              </a:extLst>
            </p:cNvPr>
            <p:cNvSpPr/>
            <p:nvPr/>
          </p:nvSpPr>
          <p:spPr>
            <a:xfrm>
              <a:off x="2011263" y="1967273"/>
              <a:ext cx="1208" cy="1385"/>
            </a:xfrm>
            <a:custGeom>
              <a:avLst/>
              <a:gdLst/>
              <a:ahLst/>
              <a:cxnLst/>
              <a:rect l="l" t="t" r="r" b="b"/>
              <a:pathLst>
                <a:path w="89" h="102" extrusionOk="0">
                  <a:moveTo>
                    <a:pt x="88" y="102"/>
                  </a:moveTo>
                  <a:cubicBezTo>
                    <a:pt x="57" y="74"/>
                    <a:pt x="29" y="39"/>
                    <a:pt x="4" y="4"/>
                  </a:cubicBezTo>
                  <a:lnTo>
                    <a:pt x="1" y="0"/>
                  </a:lnTo>
                  <a:lnTo>
                    <a:pt x="4" y="4"/>
                  </a:lnTo>
                  <a:cubicBezTo>
                    <a:pt x="29" y="39"/>
                    <a:pt x="57" y="74"/>
                    <a:pt x="88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2" name="Google Shape;4949;p64">
              <a:extLst>
                <a:ext uri="{FF2B5EF4-FFF2-40B4-BE49-F238E27FC236}">
                  <a16:creationId xmlns:a16="http://schemas.microsoft.com/office/drawing/2014/main" id="{9E865FEF-28DF-5B81-B027-590151097A4F}"/>
                </a:ext>
              </a:extLst>
            </p:cNvPr>
            <p:cNvSpPr/>
            <p:nvPr/>
          </p:nvSpPr>
          <p:spPr>
            <a:xfrm>
              <a:off x="2008086" y="1964748"/>
              <a:ext cx="2770" cy="1914"/>
            </a:xfrm>
            <a:custGeom>
              <a:avLst/>
              <a:gdLst/>
              <a:ahLst/>
              <a:cxnLst/>
              <a:rect l="l" t="t" r="r" b="b"/>
              <a:pathLst>
                <a:path w="204" h="141" extrusionOk="0">
                  <a:moveTo>
                    <a:pt x="203" y="141"/>
                  </a:moveTo>
                  <a:cubicBezTo>
                    <a:pt x="147" y="78"/>
                    <a:pt x="77" y="29"/>
                    <a:pt x="0" y="1"/>
                  </a:cubicBezTo>
                  <a:lnTo>
                    <a:pt x="0" y="1"/>
                  </a:lnTo>
                  <a:cubicBezTo>
                    <a:pt x="77" y="29"/>
                    <a:pt x="147" y="78"/>
                    <a:pt x="203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3" name="Google Shape;4950;p64">
              <a:extLst>
                <a:ext uri="{FF2B5EF4-FFF2-40B4-BE49-F238E27FC236}">
                  <a16:creationId xmlns:a16="http://schemas.microsoft.com/office/drawing/2014/main" id="{8180E8E7-3353-7D00-1386-35FB231C3F00}"/>
                </a:ext>
              </a:extLst>
            </p:cNvPr>
            <p:cNvSpPr/>
            <p:nvPr/>
          </p:nvSpPr>
          <p:spPr>
            <a:xfrm>
              <a:off x="2022818" y="1968074"/>
              <a:ext cx="3720" cy="1059"/>
            </a:xfrm>
            <a:custGeom>
              <a:avLst/>
              <a:gdLst/>
              <a:ahLst/>
              <a:cxnLst/>
              <a:rect l="l" t="t" r="r" b="b"/>
              <a:pathLst>
                <a:path w="274" h="78" extrusionOk="0">
                  <a:moveTo>
                    <a:pt x="0" y="1"/>
                  </a:moveTo>
                  <a:cubicBezTo>
                    <a:pt x="77" y="1"/>
                    <a:pt x="207" y="11"/>
                    <a:pt x="273" y="78"/>
                  </a:cubicBezTo>
                  <a:cubicBezTo>
                    <a:pt x="207" y="11"/>
                    <a:pt x="8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4" name="Google Shape;4951;p64">
              <a:extLst>
                <a:ext uri="{FF2B5EF4-FFF2-40B4-BE49-F238E27FC236}">
                  <a16:creationId xmlns:a16="http://schemas.microsoft.com/office/drawing/2014/main" id="{2FDA7FD1-4E5B-D729-5EF2-03D9236221EC}"/>
                </a:ext>
              </a:extLst>
            </p:cNvPr>
            <p:cNvSpPr/>
            <p:nvPr/>
          </p:nvSpPr>
          <p:spPr>
            <a:xfrm>
              <a:off x="2026524" y="196912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cubicBezTo>
                    <a:pt x="14" y="18"/>
                    <a:pt x="32" y="29"/>
                    <a:pt x="49" y="36"/>
                  </a:cubicBezTo>
                  <a:cubicBezTo>
                    <a:pt x="32" y="29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5" name="Google Shape;4952;p64">
              <a:extLst>
                <a:ext uri="{FF2B5EF4-FFF2-40B4-BE49-F238E27FC236}">
                  <a16:creationId xmlns:a16="http://schemas.microsoft.com/office/drawing/2014/main" id="{01B71B62-E6D9-89EC-E2FB-C825F22B0BA1}"/>
                </a:ext>
              </a:extLst>
            </p:cNvPr>
            <p:cNvSpPr/>
            <p:nvPr/>
          </p:nvSpPr>
          <p:spPr>
            <a:xfrm>
              <a:off x="2010842" y="196670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7" y="7"/>
                    <a:pt x="11" y="14"/>
                    <a:pt x="18" y="21"/>
                  </a:cubicBezTo>
                  <a:cubicBezTo>
                    <a:pt x="14" y="14"/>
                    <a:pt x="7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6" name="Google Shape;4953;p64">
              <a:extLst>
                <a:ext uri="{FF2B5EF4-FFF2-40B4-BE49-F238E27FC236}">
                  <a16:creationId xmlns:a16="http://schemas.microsoft.com/office/drawing/2014/main" id="{7D2464FC-D8BB-3E4D-13C2-6DEEC76A7FED}"/>
                </a:ext>
              </a:extLst>
            </p:cNvPr>
            <p:cNvSpPr/>
            <p:nvPr/>
          </p:nvSpPr>
          <p:spPr>
            <a:xfrm>
              <a:off x="2045397" y="1961001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7" name="Google Shape;4954;p64">
              <a:extLst>
                <a:ext uri="{FF2B5EF4-FFF2-40B4-BE49-F238E27FC236}">
                  <a16:creationId xmlns:a16="http://schemas.microsoft.com/office/drawing/2014/main" id="{A0757A63-6B48-35F0-2966-96A717B73BBB}"/>
                </a:ext>
              </a:extLst>
            </p:cNvPr>
            <p:cNvSpPr/>
            <p:nvPr/>
          </p:nvSpPr>
          <p:spPr>
            <a:xfrm>
              <a:off x="2045058" y="19609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8" name="Google Shape;4955;p64">
              <a:extLst>
                <a:ext uri="{FF2B5EF4-FFF2-40B4-BE49-F238E27FC236}">
                  <a16:creationId xmlns:a16="http://schemas.microsoft.com/office/drawing/2014/main" id="{42A70396-792A-AF8D-479F-9D0A4E926176}"/>
                </a:ext>
              </a:extLst>
            </p:cNvPr>
            <p:cNvSpPr/>
            <p:nvPr/>
          </p:nvSpPr>
          <p:spPr>
            <a:xfrm>
              <a:off x="2044677" y="19608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9" name="Google Shape;4956;p64">
              <a:extLst>
                <a:ext uri="{FF2B5EF4-FFF2-40B4-BE49-F238E27FC236}">
                  <a16:creationId xmlns:a16="http://schemas.microsoft.com/office/drawing/2014/main" id="{0C491F49-5A8D-D382-0A1D-28A22F45D6BD}"/>
                </a:ext>
              </a:extLst>
            </p:cNvPr>
            <p:cNvSpPr/>
            <p:nvPr/>
          </p:nvSpPr>
          <p:spPr>
            <a:xfrm>
              <a:off x="2027190" y="1968984"/>
              <a:ext cx="244" cy="625"/>
            </a:xfrm>
            <a:custGeom>
              <a:avLst/>
              <a:gdLst/>
              <a:ahLst/>
              <a:cxnLst/>
              <a:rect l="l" t="t" r="r" b="b"/>
              <a:pathLst>
                <a:path w="18" h="46" extrusionOk="0">
                  <a:moveTo>
                    <a:pt x="18" y="0"/>
                  </a:moveTo>
                  <a:cubicBezTo>
                    <a:pt x="18" y="8"/>
                    <a:pt x="16" y="16"/>
                    <a:pt x="13" y="25"/>
                  </a:cubicBezTo>
                  <a:lnTo>
                    <a:pt x="13" y="25"/>
                  </a:lnTo>
                  <a:cubicBezTo>
                    <a:pt x="16" y="17"/>
                    <a:pt x="18" y="9"/>
                    <a:pt x="18" y="0"/>
                  </a:cubicBezTo>
                  <a:close/>
                  <a:moveTo>
                    <a:pt x="13" y="25"/>
                  </a:moveTo>
                  <a:cubicBezTo>
                    <a:pt x="10" y="32"/>
                    <a:pt x="6" y="39"/>
                    <a:pt x="0" y="46"/>
                  </a:cubicBezTo>
                  <a:lnTo>
                    <a:pt x="4" y="46"/>
                  </a:lnTo>
                  <a:cubicBezTo>
                    <a:pt x="7" y="39"/>
                    <a:pt x="11" y="32"/>
                    <a:pt x="13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0" name="Google Shape;4957;p64">
              <a:extLst>
                <a:ext uri="{FF2B5EF4-FFF2-40B4-BE49-F238E27FC236}">
                  <a16:creationId xmlns:a16="http://schemas.microsoft.com/office/drawing/2014/main" id="{5EA02DBE-48FE-64BC-4821-581C2297E8C1}"/>
                </a:ext>
              </a:extLst>
            </p:cNvPr>
            <p:cNvSpPr/>
            <p:nvPr/>
          </p:nvSpPr>
          <p:spPr>
            <a:xfrm>
              <a:off x="2026280" y="1960023"/>
              <a:ext cx="9287" cy="1086"/>
            </a:xfrm>
            <a:custGeom>
              <a:avLst/>
              <a:gdLst/>
              <a:ahLst/>
              <a:cxnLst/>
              <a:rect l="l" t="t" r="r" b="b"/>
              <a:pathLst>
                <a:path w="684" h="80" extrusionOk="0">
                  <a:moveTo>
                    <a:pt x="517" y="0"/>
                  </a:moveTo>
                  <a:cubicBezTo>
                    <a:pt x="517" y="0"/>
                    <a:pt x="517" y="0"/>
                    <a:pt x="516" y="0"/>
                  </a:cubicBezTo>
                  <a:lnTo>
                    <a:pt x="516" y="0"/>
                  </a:lnTo>
                  <a:cubicBezTo>
                    <a:pt x="567" y="0"/>
                    <a:pt x="622" y="1"/>
                    <a:pt x="684" y="2"/>
                  </a:cubicBezTo>
                  <a:cubicBezTo>
                    <a:pt x="623" y="1"/>
                    <a:pt x="567" y="0"/>
                    <a:pt x="517" y="0"/>
                  </a:cubicBezTo>
                  <a:close/>
                  <a:moveTo>
                    <a:pt x="516" y="0"/>
                  </a:moveTo>
                  <a:cubicBezTo>
                    <a:pt x="73" y="0"/>
                    <a:pt x="23" y="51"/>
                    <a:pt x="1" y="79"/>
                  </a:cubicBezTo>
                  <a:cubicBezTo>
                    <a:pt x="23" y="51"/>
                    <a:pt x="76" y="0"/>
                    <a:pt x="516" y="0"/>
                  </a:cubicBezTo>
                  <a:lnTo>
                    <a:pt x="516" y="0"/>
                  </a:lnTo>
                  <a:cubicBezTo>
                    <a:pt x="516" y="0"/>
                    <a:pt x="516" y="0"/>
                    <a:pt x="5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1" name="Google Shape;4958;p64">
              <a:extLst>
                <a:ext uri="{FF2B5EF4-FFF2-40B4-BE49-F238E27FC236}">
                  <a16:creationId xmlns:a16="http://schemas.microsoft.com/office/drawing/2014/main" id="{0C5A99B1-C95E-070C-A71A-AFECDD6A9147}"/>
                </a:ext>
              </a:extLst>
            </p:cNvPr>
            <p:cNvSpPr/>
            <p:nvPr/>
          </p:nvSpPr>
          <p:spPr>
            <a:xfrm>
              <a:off x="2047583" y="1958950"/>
              <a:ext cx="774" cy="353"/>
            </a:xfrm>
            <a:custGeom>
              <a:avLst/>
              <a:gdLst/>
              <a:ahLst/>
              <a:cxnLst/>
              <a:rect l="l" t="t" r="r" b="b"/>
              <a:pathLst>
                <a:path w="57" h="26" extrusionOk="0">
                  <a:moveTo>
                    <a:pt x="56" y="1"/>
                  </a:moveTo>
                  <a:lnTo>
                    <a:pt x="0" y="25"/>
                  </a:lnTo>
                  <a:cubicBezTo>
                    <a:pt x="14" y="22"/>
                    <a:pt x="28" y="22"/>
                    <a:pt x="39" y="18"/>
                  </a:cubicBezTo>
                  <a:lnTo>
                    <a:pt x="56" y="18"/>
                  </a:lnTo>
                  <a:lnTo>
                    <a:pt x="5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2" name="Google Shape;4959;p64">
              <a:extLst>
                <a:ext uri="{FF2B5EF4-FFF2-40B4-BE49-F238E27FC236}">
                  <a16:creationId xmlns:a16="http://schemas.microsoft.com/office/drawing/2014/main" id="{2CF59332-3CB7-A598-AF8C-2AF4C3FA4200}"/>
                </a:ext>
              </a:extLst>
            </p:cNvPr>
            <p:cNvSpPr/>
            <p:nvPr/>
          </p:nvSpPr>
          <p:spPr>
            <a:xfrm>
              <a:off x="2044257" y="19607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3" name="Google Shape;4960;p64">
              <a:extLst>
                <a:ext uri="{FF2B5EF4-FFF2-40B4-BE49-F238E27FC236}">
                  <a16:creationId xmlns:a16="http://schemas.microsoft.com/office/drawing/2014/main" id="{5F84E38B-E642-44C2-8ADC-EBF4897391A7}"/>
                </a:ext>
              </a:extLst>
            </p:cNvPr>
            <p:cNvSpPr/>
            <p:nvPr/>
          </p:nvSpPr>
          <p:spPr>
            <a:xfrm>
              <a:off x="2048153" y="19591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4" name="Google Shape;4961;p64">
              <a:extLst>
                <a:ext uri="{FF2B5EF4-FFF2-40B4-BE49-F238E27FC236}">
                  <a16:creationId xmlns:a16="http://schemas.microsoft.com/office/drawing/2014/main" id="{FB61EEB8-1EEF-64A5-27D4-C4F1A35BA0AA}"/>
                </a:ext>
              </a:extLst>
            </p:cNvPr>
            <p:cNvSpPr/>
            <p:nvPr/>
          </p:nvSpPr>
          <p:spPr>
            <a:xfrm>
              <a:off x="2027190" y="19695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5" name="Google Shape;4962;p64">
              <a:extLst>
                <a:ext uri="{FF2B5EF4-FFF2-40B4-BE49-F238E27FC236}">
                  <a16:creationId xmlns:a16="http://schemas.microsoft.com/office/drawing/2014/main" id="{59B03D55-02F9-B753-8551-BF56510C88F4}"/>
                </a:ext>
              </a:extLst>
            </p:cNvPr>
            <p:cNvSpPr/>
            <p:nvPr/>
          </p:nvSpPr>
          <p:spPr>
            <a:xfrm>
              <a:off x="2043971" y="1930954"/>
              <a:ext cx="869" cy="258"/>
            </a:xfrm>
            <a:custGeom>
              <a:avLst/>
              <a:gdLst/>
              <a:ahLst/>
              <a:cxnLst/>
              <a:rect l="l" t="t" r="r" b="b"/>
              <a:pathLst>
                <a:path w="64" h="19" extrusionOk="0">
                  <a:moveTo>
                    <a:pt x="0" y="18"/>
                  </a:moveTo>
                  <a:cubicBezTo>
                    <a:pt x="32" y="4"/>
                    <a:pt x="53" y="1"/>
                    <a:pt x="63" y="11"/>
                  </a:cubicBezTo>
                  <a:lnTo>
                    <a:pt x="63" y="11"/>
                  </a:lnTo>
                  <a:cubicBezTo>
                    <a:pt x="53" y="1"/>
                    <a:pt x="32" y="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6" name="Google Shape;4963;p64">
              <a:extLst>
                <a:ext uri="{FF2B5EF4-FFF2-40B4-BE49-F238E27FC236}">
                  <a16:creationId xmlns:a16="http://schemas.microsoft.com/office/drawing/2014/main" id="{0125E5F1-996F-8FCD-8E6D-8F140F964A45}"/>
                </a:ext>
              </a:extLst>
            </p:cNvPr>
            <p:cNvSpPr/>
            <p:nvPr/>
          </p:nvSpPr>
          <p:spPr>
            <a:xfrm>
              <a:off x="2009036" y="19618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7" name="Google Shape;4964;p64">
              <a:extLst>
                <a:ext uri="{FF2B5EF4-FFF2-40B4-BE49-F238E27FC236}">
                  <a16:creationId xmlns:a16="http://schemas.microsoft.com/office/drawing/2014/main" id="{6BDD65D6-E9D3-675C-0659-3D200F491304}"/>
                </a:ext>
              </a:extLst>
            </p:cNvPr>
            <p:cNvSpPr/>
            <p:nvPr/>
          </p:nvSpPr>
          <p:spPr>
            <a:xfrm>
              <a:off x="2008276" y="19639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8" name="Google Shape;4965;p64">
              <a:extLst>
                <a:ext uri="{FF2B5EF4-FFF2-40B4-BE49-F238E27FC236}">
                  <a16:creationId xmlns:a16="http://schemas.microsoft.com/office/drawing/2014/main" id="{0D43CFB0-3D9B-0E8A-5831-99268A199743}"/>
                </a:ext>
              </a:extLst>
            </p:cNvPr>
            <p:cNvSpPr/>
            <p:nvPr/>
          </p:nvSpPr>
          <p:spPr>
            <a:xfrm>
              <a:off x="2008561" y="196318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9" name="Google Shape;4966;p64">
              <a:extLst>
                <a:ext uri="{FF2B5EF4-FFF2-40B4-BE49-F238E27FC236}">
                  <a16:creationId xmlns:a16="http://schemas.microsoft.com/office/drawing/2014/main" id="{8EE1034C-A5F4-88E8-2228-D9B6BA881099}"/>
                </a:ext>
              </a:extLst>
            </p:cNvPr>
            <p:cNvSpPr/>
            <p:nvPr/>
          </p:nvSpPr>
          <p:spPr>
            <a:xfrm>
              <a:off x="2028805" y="1937607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0" y="11"/>
                  </a:moveTo>
                  <a:cubicBezTo>
                    <a:pt x="21" y="1"/>
                    <a:pt x="46" y="1"/>
                    <a:pt x="70" y="8"/>
                  </a:cubicBezTo>
                  <a:cubicBezTo>
                    <a:pt x="46" y="1"/>
                    <a:pt x="21" y="1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0" name="Google Shape;4967;p64">
              <a:extLst>
                <a:ext uri="{FF2B5EF4-FFF2-40B4-BE49-F238E27FC236}">
                  <a16:creationId xmlns:a16="http://schemas.microsoft.com/office/drawing/2014/main" id="{7065890E-D615-540B-E957-E5E78ACD9DDF}"/>
                </a:ext>
              </a:extLst>
            </p:cNvPr>
            <p:cNvSpPr/>
            <p:nvPr/>
          </p:nvSpPr>
          <p:spPr>
            <a:xfrm>
              <a:off x="2008846" y="196252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1" name="Google Shape;4968;p64">
              <a:extLst>
                <a:ext uri="{FF2B5EF4-FFF2-40B4-BE49-F238E27FC236}">
                  <a16:creationId xmlns:a16="http://schemas.microsoft.com/office/drawing/2014/main" id="{C847D13C-9DDE-E1FC-47B2-1E2D5DFD561C}"/>
                </a:ext>
              </a:extLst>
            </p:cNvPr>
            <p:cNvSpPr/>
            <p:nvPr/>
          </p:nvSpPr>
          <p:spPr>
            <a:xfrm>
              <a:off x="2009647" y="1960335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2" name="Google Shape;4969;p64">
              <a:extLst>
                <a:ext uri="{FF2B5EF4-FFF2-40B4-BE49-F238E27FC236}">
                  <a16:creationId xmlns:a16="http://schemas.microsoft.com/office/drawing/2014/main" id="{E3021A27-F24A-FD70-D917-99A8E55F650C}"/>
                </a:ext>
              </a:extLst>
            </p:cNvPr>
            <p:cNvSpPr/>
            <p:nvPr/>
          </p:nvSpPr>
          <p:spPr>
            <a:xfrm>
              <a:off x="2029796" y="1937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3" name="Google Shape;4970;p64">
              <a:extLst>
                <a:ext uri="{FF2B5EF4-FFF2-40B4-BE49-F238E27FC236}">
                  <a16:creationId xmlns:a16="http://schemas.microsoft.com/office/drawing/2014/main" id="{21756E31-3C01-3184-7A2F-6C41824932CE}"/>
                </a:ext>
              </a:extLst>
            </p:cNvPr>
            <p:cNvSpPr/>
            <p:nvPr/>
          </p:nvSpPr>
          <p:spPr>
            <a:xfrm>
              <a:off x="2009267" y="196128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4" name="Google Shape;4971;p64">
              <a:extLst>
                <a:ext uri="{FF2B5EF4-FFF2-40B4-BE49-F238E27FC236}">
                  <a16:creationId xmlns:a16="http://schemas.microsoft.com/office/drawing/2014/main" id="{4A76FEBD-297D-D8BC-3E76-49CDEC6BF340}"/>
                </a:ext>
              </a:extLst>
            </p:cNvPr>
            <p:cNvSpPr/>
            <p:nvPr/>
          </p:nvSpPr>
          <p:spPr>
            <a:xfrm>
              <a:off x="2009457" y="196075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5" name="Google Shape;4972;p64">
              <a:extLst>
                <a:ext uri="{FF2B5EF4-FFF2-40B4-BE49-F238E27FC236}">
                  <a16:creationId xmlns:a16="http://schemas.microsoft.com/office/drawing/2014/main" id="{99A7C91B-8121-D1D9-B76D-7CB51C82E535}"/>
                </a:ext>
              </a:extLst>
            </p:cNvPr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6" name="Google Shape;4973;p64">
              <a:extLst>
                <a:ext uri="{FF2B5EF4-FFF2-40B4-BE49-F238E27FC236}">
                  <a16:creationId xmlns:a16="http://schemas.microsoft.com/office/drawing/2014/main" id="{F401389D-E81E-80D7-B213-AC75F99D466D}"/>
                </a:ext>
              </a:extLst>
            </p:cNvPr>
            <p:cNvSpPr/>
            <p:nvPr/>
          </p:nvSpPr>
          <p:spPr>
            <a:xfrm>
              <a:off x="2008086" y="19647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7" name="Google Shape;4974;p64">
              <a:extLst>
                <a:ext uri="{FF2B5EF4-FFF2-40B4-BE49-F238E27FC236}">
                  <a16:creationId xmlns:a16="http://schemas.microsoft.com/office/drawing/2014/main" id="{4E62AC06-2456-2F02-F734-09DF5B328673}"/>
                </a:ext>
              </a:extLst>
            </p:cNvPr>
            <p:cNvSpPr/>
            <p:nvPr/>
          </p:nvSpPr>
          <p:spPr>
            <a:xfrm>
              <a:off x="2051520" y="1865551"/>
              <a:ext cx="112191" cy="87765"/>
            </a:xfrm>
            <a:custGeom>
              <a:avLst/>
              <a:gdLst/>
              <a:ahLst/>
              <a:cxnLst/>
              <a:rect l="l" t="t" r="r" b="b"/>
              <a:pathLst>
                <a:path w="8263" h="6464" extrusionOk="0">
                  <a:moveTo>
                    <a:pt x="6379" y="1"/>
                  </a:moveTo>
                  <a:lnTo>
                    <a:pt x="4055" y="1450"/>
                  </a:lnTo>
                  <a:lnTo>
                    <a:pt x="3047" y="2262"/>
                  </a:lnTo>
                  <a:lnTo>
                    <a:pt x="3036" y="2266"/>
                  </a:lnTo>
                  <a:cubicBezTo>
                    <a:pt x="3008" y="2276"/>
                    <a:pt x="2374" y="2500"/>
                    <a:pt x="2182" y="2539"/>
                  </a:cubicBezTo>
                  <a:lnTo>
                    <a:pt x="2161" y="2542"/>
                  </a:lnTo>
                  <a:lnTo>
                    <a:pt x="2161" y="2588"/>
                  </a:lnTo>
                  <a:lnTo>
                    <a:pt x="2161" y="2637"/>
                  </a:lnTo>
                  <a:lnTo>
                    <a:pt x="2161" y="2717"/>
                  </a:lnTo>
                  <a:lnTo>
                    <a:pt x="2161" y="2759"/>
                  </a:lnTo>
                  <a:lnTo>
                    <a:pt x="2161" y="2836"/>
                  </a:lnTo>
                  <a:lnTo>
                    <a:pt x="2161" y="2875"/>
                  </a:lnTo>
                  <a:lnTo>
                    <a:pt x="2161" y="2945"/>
                  </a:lnTo>
                  <a:lnTo>
                    <a:pt x="2161" y="2980"/>
                  </a:lnTo>
                  <a:lnTo>
                    <a:pt x="2161" y="3046"/>
                  </a:lnTo>
                  <a:lnTo>
                    <a:pt x="2161" y="3081"/>
                  </a:lnTo>
                  <a:lnTo>
                    <a:pt x="2161" y="3141"/>
                  </a:lnTo>
                  <a:lnTo>
                    <a:pt x="2161" y="3172"/>
                  </a:lnTo>
                  <a:lnTo>
                    <a:pt x="2161" y="3228"/>
                  </a:lnTo>
                  <a:lnTo>
                    <a:pt x="2161" y="3260"/>
                  </a:lnTo>
                  <a:lnTo>
                    <a:pt x="2161" y="3312"/>
                  </a:lnTo>
                  <a:lnTo>
                    <a:pt x="2161" y="3340"/>
                  </a:lnTo>
                  <a:lnTo>
                    <a:pt x="2161" y="3386"/>
                  </a:lnTo>
                  <a:lnTo>
                    <a:pt x="2161" y="3414"/>
                  </a:lnTo>
                  <a:lnTo>
                    <a:pt x="2161" y="3456"/>
                  </a:lnTo>
                  <a:lnTo>
                    <a:pt x="2161" y="3480"/>
                  </a:lnTo>
                  <a:lnTo>
                    <a:pt x="2161" y="3519"/>
                  </a:lnTo>
                  <a:lnTo>
                    <a:pt x="2161" y="3543"/>
                  </a:lnTo>
                  <a:lnTo>
                    <a:pt x="2161" y="3578"/>
                  </a:lnTo>
                  <a:lnTo>
                    <a:pt x="2161" y="3599"/>
                  </a:lnTo>
                  <a:lnTo>
                    <a:pt x="2161" y="3631"/>
                  </a:lnTo>
                  <a:lnTo>
                    <a:pt x="2161" y="3652"/>
                  </a:lnTo>
                  <a:lnTo>
                    <a:pt x="2161" y="3680"/>
                  </a:lnTo>
                  <a:lnTo>
                    <a:pt x="2161" y="3697"/>
                  </a:lnTo>
                  <a:lnTo>
                    <a:pt x="2161" y="3722"/>
                  </a:lnTo>
                  <a:lnTo>
                    <a:pt x="2161" y="3739"/>
                  </a:lnTo>
                  <a:lnTo>
                    <a:pt x="2161" y="3764"/>
                  </a:lnTo>
                  <a:lnTo>
                    <a:pt x="2161" y="3778"/>
                  </a:lnTo>
                  <a:lnTo>
                    <a:pt x="2161" y="3799"/>
                  </a:lnTo>
                  <a:lnTo>
                    <a:pt x="2161" y="3809"/>
                  </a:lnTo>
                  <a:lnTo>
                    <a:pt x="2161" y="3830"/>
                  </a:lnTo>
                  <a:lnTo>
                    <a:pt x="2161" y="3841"/>
                  </a:lnTo>
                  <a:lnTo>
                    <a:pt x="2161" y="3855"/>
                  </a:lnTo>
                  <a:lnTo>
                    <a:pt x="2161" y="3865"/>
                  </a:lnTo>
                  <a:lnTo>
                    <a:pt x="2161" y="3879"/>
                  </a:lnTo>
                  <a:lnTo>
                    <a:pt x="2161" y="3890"/>
                  </a:lnTo>
                  <a:lnTo>
                    <a:pt x="2161" y="3900"/>
                  </a:lnTo>
                  <a:lnTo>
                    <a:pt x="2161" y="3911"/>
                  </a:lnTo>
                  <a:lnTo>
                    <a:pt x="2161" y="3918"/>
                  </a:lnTo>
                  <a:lnTo>
                    <a:pt x="2161" y="3925"/>
                  </a:lnTo>
                  <a:lnTo>
                    <a:pt x="2161" y="3935"/>
                  </a:lnTo>
                  <a:lnTo>
                    <a:pt x="2161" y="3942"/>
                  </a:lnTo>
                  <a:lnTo>
                    <a:pt x="2161" y="3946"/>
                  </a:lnTo>
                  <a:lnTo>
                    <a:pt x="2161" y="3953"/>
                  </a:lnTo>
                  <a:lnTo>
                    <a:pt x="2161" y="3957"/>
                  </a:lnTo>
                  <a:lnTo>
                    <a:pt x="2161" y="3964"/>
                  </a:lnTo>
                  <a:lnTo>
                    <a:pt x="2161" y="3967"/>
                  </a:lnTo>
                  <a:lnTo>
                    <a:pt x="2161" y="3971"/>
                  </a:lnTo>
                  <a:lnTo>
                    <a:pt x="2161" y="3974"/>
                  </a:lnTo>
                  <a:lnTo>
                    <a:pt x="2161" y="3978"/>
                  </a:lnTo>
                  <a:lnTo>
                    <a:pt x="2161" y="3981"/>
                  </a:lnTo>
                  <a:lnTo>
                    <a:pt x="2161" y="3985"/>
                  </a:lnTo>
                  <a:lnTo>
                    <a:pt x="2157" y="3992"/>
                  </a:lnTo>
                  <a:cubicBezTo>
                    <a:pt x="2126" y="4044"/>
                    <a:pt x="2105" y="4100"/>
                    <a:pt x="2087" y="4160"/>
                  </a:cubicBezTo>
                  <a:cubicBezTo>
                    <a:pt x="2056" y="4261"/>
                    <a:pt x="2028" y="4345"/>
                    <a:pt x="1986" y="4387"/>
                  </a:cubicBezTo>
                  <a:cubicBezTo>
                    <a:pt x="1972" y="4405"/>
                    <a:pt x="1958" y="4419"/>
                    <a:pt x="1944" y="4436"/>
                  </a:cubicBezTo>
                  <a:cubicBezTo>
                    <a:pt x="1884" y="4517"/>
                    <a:pt x="1783" y="4650"/>
                    <a:pt x="1597" y="4650"/>
                  </a:cubicBezTo>
                  <a:cubicBezTo>
                    <a:pt x="1489" y="4657"/>
                    <a:pt x="1380" y="4667"/>
                    <a:pt x="1272" y="4688"/>
                  </a:cubicBezTo>
                  <a:cubicBezTo>
                    <a:pt x="1128" y="4713"/>
                    <a:pt x="985" y="4730"/>
                    <a:pt x="841" y="4737"/>
                  </a:cubicBezTo>
                  <a:cubicBezTo>
                    <a:pt x="803" y="4737"/>
                    <a:pt x="768" y="4737"/>
                    <a:pt x="733" y="4730"/>
                  </a:cubicBezTo>
                  <a:cubicBezTo>
                    <a:pt x="717" y="4728"/>
                    <a:pt x="701" y="4726"/>
                    <a:pt x="686" y="4726"/>
                  </a:cubicBezTo>
                  <a:cubicBezTo>
                    <a:pt x="579" y="4726"/>
                    <a:pt x="484" y="4785"/>
                    <a:pt x="410" y="4828"/>
                  </a:cubicBezTo>
                  <a:cubicBezTo>
                    <a:pt x="386" y="4842"/>
                    <a:pt x="358" y="4860"/>
                    <a:pt x="330" y="4870"/>
                  </a:cubicBezTo>
                  <a:lnTo>
                    <a:pt x="312" y="4877"/>
                  </a:lnTo>
                  <a:cubicBezTo>
                    <a:pt x="249" y="4891"/>
                    <a:pt x="186" y="4898"/>
                    <a:pt x="127" y="4898"/>
                  </a:cubicBezTo>
                  <a:cubicBezTo>
                    <a:pt x="88" y="4898"/>
                    <a:pt x="46" y="4902"/>
                    <a:pt x="8" y="4902"/>
                  </a:cubicBezTo>
                  <a:lnTo>
                    <a:pt x="8" y="4905"/>
                  </a:lnTo>
                  <a:cubicBezTo>
                    <a:pt x="8" y="4916"/>
                    <a:pt x="4" y="4930"/>
                    <a:pt x="4" y="4940"/>
                  </a:cubicBezTo>
                  <a:lnTo>
                    <a:pt x="4" y="4947"/>
                  </a:lnTo>
                  <a:cubicBezTo>
                    <a:pt x="4" y="4958"/>
                    <a:pt x="4" y="4968"/>
                    <a:pt x="1" y="4975"/>
                  </a:cubicBezTo>
                  <a:lnTo>
                    <a:pt x="1" y="4982"/>
                  </a:lnTo>
                  <a:lnTo>
                    <a:pt x="1" y="5007"/>
                  </a:lnTo>
                  <a:lnTo>
                    <a:pt x="1" y="5010"/>
                  </a:lnTo>
                  <a:lnTo>
                    <a:pt x="1" y="5031"/>
                  </a:lnTo>
                  <a:lnTo>
                    <a:pt x="1" y="5049"/>
                  </a:lnTo>
                  <a:lnTo>
                    <a:pt x="1" y="5052"/>
                  </a:lnTo>
                  <a:lnTo>
                    <a:pt x="1" y="5063"/>
                  </a:lnTo>
                  <a:lnTo>
                    <a:pt x="1" y="5066"/>
                  </a:lnTo>
                  <a:lnTo>
                    <a:pt x="1" y="5073"/>
                  </a:lnTo>
                  <a:lnTo>
                    <a:pt x="1" y="5080"/>
                  </a:lnTo>
                  <a:cubicBezTo>
                    <a:pt x="39" y="5122"/>
                    <a:pt x="67" y="5171"/>
                    <a:pt x="85" y="5227"/>
                  </a:cubicBezTo>
                  <a:cubicBezTo>
                    <a:pt x="109" y="5287"/>
                    <a:pt x="137" y="5360"/>
                    <a:pt x="176" y="5388"/>
                  </a:cubicBezTo>
                  <a:lnTo>
                    <a:pt x="197" y="5406"/>
                  </a:lnTo>
                  <a:cubicBezTo>
                    <a:pt x="305" y="5486"/>
                    <a:pt x="456" y="5598"/>
                    <a:pt x="456" y="5735"/>
                  </a:cubicBezTo>
                  <a:cubicBezTo>
                    <a:pt x="456" y="5798"/>
                    <a:pt x="459" y="5875"/>
                    <a:pt x="487" y="5875"/>
                  </a:cubicBezTo>
                  <a:cubicBezTo>
                    <a:pt x="564" y="5875"/>
                    <a:pt x="610" y="5938"/>
                    <a:pt x="649" y="5990"/>
                  </a:cubicBezTo>
                  <a:cubicBezTo>
                    <a:pt x="670" y="6025"/>
                    <a:pt x="694" y="6054"/>
                    <a:pt x="729" y="6071"/>
                  </a:cubicBezTo>
                  <a:cubicBezTo>
                    <a:pt x="736" y="6074"/>
                    <a:pt x="745" y="6076"/>
                    <a:pt x="755" y="6076"/>
                  </a:cubicBezTo>
                  <a:cubicBezTo>
                    <a:pt x="790" y="6076"/>
                    <a:pt x="837" y="6060"/>
                    <a:pt x="869" y="6047"/>
                  </a:cubicBezTo>
                  <a:cubicBezTo>
                    <a:pt x="900" y="6036"/>
                    <a:pt x="934" y="6025"/>
                    <a:pt x="965" y="6025"/>
                  </a:cubicBezTo>
                  <a:cubicBezTo>
                    <a:pt x="993" y="6025"/>
                    <a:pt x="1019" y="6034"/>
                    <a:pt x="1037" y="6061"/>
                  </a:cubicBezTo>
                  <a:cubicBezTo>
                    <a:pt x="1058" y="6092"/>
                    <a:pt x="1058" y="6138"/>
                    <a:pt x="1058" y="6225"/>
                  </a:cubicBezTo>
                  <a:cubicBezTo>
                    <a:pt x="1058" y="6260"/>
                    <a:pt x="1058" y="6309"/>
                    <a:pt x="1062" y="6341"/>
                  </a:cubicBezTo>
                  <a:lnTo>
                    <a:pt x="1086" y="6344"/>
                  </a:lnTo>
                  <a:lnTo>
                    <a:pt x="1093" y="6344"/>
                  </a:lnTo>
                  <a:lnTo>
                    <a:pt x="1111" y="6351"/>
                  </a:lnTo>
                  <a:lnTo>
                    <a:pt x="1121" y="6355"/>
                  </a:lnTo>
                  <a:lnTo>
                    <a:pt x="1142" y="6362"/>
                  </a:lnTo>
                  <a:lnTo>
                    <a:pt x="1153" y="6365"/>
                  </a:lnTo>
                  <a:lnTo>
                    <a:pt x="1170" y="6372"/>
                  </a:lnTo>
                  <a:lnTo>
                    <a:pt x="1174" y="6372"/>
                  </a:lnTo>
                  <a:lnTo>
                    <a:pt x="1174" y="6365"/>
                  </a:lnTo>
                  <a:cubicBezTo>
                    <a:pt x="1174" y="6362"/>
                    <a:pt x="1177" y="6351"/>
                    <a:pt x="1177" y="6344"/>
                  </a:cubicBezTo>
                  <a:cubicBezTo>
                    <a:pt x="1181" y="6341"/>
                    <a:pt x="1184" y="6330"/>
                    <a:pt x="1184" y="6323"/>
                  </a:cubicBezTo>
                  <a:cubicBezTo>
                    <a:pt x="1188" y="6316"/>
                    <a:pt x="1188" y="6313"/>
                    <a:pt x="1191" y="6309"/>
                  </a:cubicBezTo>
                  <a:cubicBezTo>
                    <a:pt x="1191" y="6306"/>
                    <a:pt x="1198" y="6292"/>
                    <a:pt x="1202" y="6285"/>
                  </a:cubicBezTo>
                  <a:cubicBezTo>
                    <a:pt x="1205" y="6278"/>
                    <a:pt x="1209" y="6274"/>
                    <a:pt x="1209" y="6271"/>
                  </a:cubicBezTo>
                  <a:cubicBezTo>
                    <a:pt x="1212" y="6264"/>
                    <a:pt x="1216" y="6257"/>
                    <a:pt x="1223" y="6253"/>
                  </a:cubicBezTo>
                  <a:cubicBezTo>
                    <a:pt x="1230" y="6243"/>
                    <a:pt x="1237" y="6232"/>
                    <a:pt x="1247" y="6225"/>
                  </a:cubicBezTo>
                  <a:cubicBezTo>
                    <a:pt x="1254" y="6218"/>
                    <a:pt x="1261" y="6211"/>
                    <a:pt x="1272" y="6204"/>
                  </a:cubicBezTo>
                  <a:lnTo>
                    <a:pt x="1279" y="6201"/>
                  </a:lnTo>
                  <a:cubicBezTo>
                    <a:pt x="1286" y="6194"/>
                    <a:pt x="1293" y="6190"/>
                    <a:pt x="1303" y="6187"/>
                  </a:cubicBezTo>
                  <a:lnTo>
                    <a:pt x="1307" y="6187"/>
                  </a:lnTo>
                  <a:cubicBezTo>
                    <a:pt x="1317" y="6180"/>
                    <a:pt x="1328" y="6180"/>
                    <a:pt x="1342" y="6176"/>
                  </a:cubicBezTo>
                  <a:lnTo>
                    <a:pt x="1345" y="6176"/>
                  </a:lnTo>
                  <a:cubicBezTo>
                    <a:pt x="1356" y="6176"/>
                    <a:pt x="1363" y="6173"/>
                    <a:pt x="1373" y="6173"/>
                  </a:cubicBezTo>
                  <a:lnTo>
                    <a:pt x="1415" y="6173"/>
                  </a:lnTo>
                  <a:cubicBezTo>
                    <a:pt x="1426" y="6176"/>
                    <a:pt x="1440" y="6176"/>
                    <a:pt x="1450" y="6180"/>
                  </a:cubicBezTo>
                  <a:cubicBezTo>
                    <a:pt x="1513" y="6194"/>
                    <a:pt x="1562" y="6243"/>
                    <a:pt x="1580" y="6306"/>
                  </a:cubicBezTo>
                  <a:cubicBezTo>
                    <a:pt x="1587" y="6323"/>
                    <a:pt x="1590" y="6344"/>
                    <a:pt x="1590" y="6365"/>
                  </a:cubicBezTo>
                  <a:cubicBezTo>
                    <a:pt x="1597" y="6414"/>
                    <a:pt x="1601" y="6428"/>
                    <a:pt x="1636" y="6442"/>
                  </a:cubicBezTo>
                  <a:cubicBezTo>
                    <a:pt x="1646" y="6449"/>
                    <a:pt x="1657" y="6453"/>
                    <a:pt x="1671" y="6456"/>
                  </a:cubicBezTo>
                  <a:cubicBezTo>
                    <a:pt x="1683" y="6461"/>
                    <a:pt x="1696" y="6464"/>
                    <a:pt x="1709" y="6464"/>
                  </a:cubicBezTo>
                  <a:cubicBezTo>
                    <a:pt x="1722" y="6464"/>
                    <a:pt x="1736" y="6461"/>
                    <a:pt x="1748" y="6456"/>
                  </a:cubicBezTo>
                  <a:cubicBezTo>
                    <a:pt x="1762" y="6449"/>
                    <a:pt x="1769" y="6435"/>
                    <a:pt x="1769" y="6421"/>
                  </a:cubicBezTo>
                  <a:cubicBezTo>
                    <a:pt x="1769" y="6418"/>
                    <a:pt x="1769" y="6411"/>
                    <a:pt x="1769" y="6404"/>
                  </a:cubicBezTo>
                  <a:cubicBezTo>
                    <a:pt x="1769" y="6253"/>
                    <a:pt x="2000" y="6004"/>
                    <a:pt x="2028" y="5973"/>
                  </a:cubicBezTo>
                  <a:cubicBezTo>
                    <a:pt x="2038" y="5934"/>
                    <a:pt x="2045" y="5892"/>
                    <a:pt x="2049" y="5850"/>
                  </a:cubicBezTo>
                  <a:cubicBezTo>
                    <a:pt x="2066" y="5731"/>
                    <a:pt x="2087" y="5595"/>
                    <a:pt x="2164" y="5532"/>
                  </a:cubicBezTo>
                  <a:cubicBezTo>
                    <a:pt x="2213" y="5490"/>
                    <a:pt x="2288" y="5475"/>
                    <a:pt x="2374" y="5475"/>
                  </a:cubicBezTo>
                  <a:cubicBezTo>
                    <a:pt x="2461" y="5475"/>
                    <a:pt x="2560" y="5490"/>
                    <a:pt x="2658" y="5507"/>
                  </a:cubicBezTo>
                  <a:lnTo>
                    <a:pt x="2718" y="5514"/>
                  </a:lnTo>
                  <a:cubicBezTo>
                    <a:pt x="2718" y="5515"/>
                    <a:pt x="2719" y="5515"/>
                    <a:pt x="2720" y="5515"/>
                  </a:cubicBezTo>
                  <a:cubicBezTo>
                    <a:pt x="2735" y="5515"/>
                    <a:pt x="2768" y="5485"/>
                    <a:pt x="2795" y="5462"/>
                  </a:cubicBezTo>
                  <a:cubicBezTo>
                    <a:pt x="2832" y="5427"/>
                    <a:pt x="2890" y="5372"/>
                    <a:pt x="2962" y="5372"/>
                  </a:cubicBezTo>
                  <a:cubicBezTo>
                    <a:pt x="2996" y="5372"/>
                    <a:pt x="3034" y="5385"/>
                    <a:pt x="3075" y="5420"/>
                  </a:cubicBezTo>
                  <a:cubicBezTo>
                    <a:pt x="3120" y="5458"/>
                    <a:pt x="3190" y="5462"/>
                    <a:pt x="3264" y="5465"/>
                  </a:cubicBezTo>
                  <a:lnTo>
                    <a:pt x="3295" y="5465"/>
                  </a:lnTo>
                  <a:cubicBezTo>
                    <a:pt x="3320" y="5469"/>
                    <a:pt x="3341" y="5469"/>
                    <a:pt x="3365" y="5472"/>
                  </a:cubicBezTo>
                  <a:cubicBezTo>
                    <a:pt x="3425" y="5479"/>
                    <a:pt x="3477" y="5507"/>
                    <a:pt x="3516" y="5553"/>
                  </a:cubicBezTo>
                  <a:cubicBezTo>
                    <a:pt x="3544" y="5584"/>
                    <a:pt x="3565" y="5619"/>
                    <a:pt x="3586" y="5658"/>
                  </a:cubicBezTo>
                  <a:lnTo>
                    <a:pt x="3603" y="5696"/>
                  </a:lnTo>
                  <a:cubicBezTo>
                    <a:pt x="3631" y="5752"/>
                    <a:pt x="3673" y="5829"/>
                    <a:pt x="3705" y="5840"/>
                  </a:cubicBezTo>
                  <a:cubicBezTo>
                    <a:pt x="3719" y="5840"/>
                    <a:pt x="3729" y="5836"/>
                    <a:pt x="3740" y="5829"/>
                  </a:cubicBezTo>
                  <a:cubicBezTo>
                    <a:pt x="3890" y="5742"/>
                    <a:pt x="4055" y="5696"/>
                    <a:pt x="4226" y="5689"/>
                  </a:cubicBezTo>
                  <a:cubicBezTo>
                    <a:pt x="4296" y="5689"/>
                    <a:pt x="4387" y="5745"/>
                    <a:pt x="4513" y="5829"/>
                  </a:cubicBezTo>
                  <a:cubicBezTo>
                    <a:pt x="4562" y="5864"/>
                    <a:pt x="4615" y="5896"/>
                    <a:pt x="4667" y="5920"/>
                  </a:cubicBezTo>
                  <a:cubicBezTo>
                    <a:pt x="4724" y="5939"/>
                    <a:pt x="4845" y="5953"/>
                    <a:pt x="4955" y="5953"/>
                  </a:cubicBezTo>
                  <a:cubicBezTo>
                    <a:pt x="5037" y="5953"/>
                    <a:pt x="5113" y="5945"/>
                    <a:pt x="5151" y="5924"/>
                  </a:cubicBezTo>
                  <a:cubicBezTo>
                    <a:pt x="5189" y="5899"/>
                    <a:pt x="5228" y="5868"/>
                    <a:pt x="5263" y="5833"/>
                  </a:cubicBezTo>
                  <a:cubicBezTo>
                    <a:pt x="5351" y="5751"/>
                    <a:pt x="5452" y="5657"/>
                    <a:pt x="5568" y="5657"/>
                  </a:cubicBezTo>
                  <a:cubicBezTo>
                    <a:pt x="5576" y="5657"/>
                    <a:pt x="5584" y="5657"/>
                    <a:pt x="5592" y="5658"/>
                  </a:cubicBezTo>
                  <a:cubicBezTo>
                    <a:pt x="5635" y="5660"/>
                    <a:pt x="5680" y="5661"/>
                    <a:pt x="5724" y="5661"/>
                  </a:cubicBezTo>
                  <a:cubicBezTo>
                    <a:pt x="5768" y="5661"/>
                    <a:pt x="5812" y="5660"/>
                    <a:pt x="5854" y="5658"/>
                  </a:cubicBezTo>
                  <a:cubicBezTo>
                    <a:pt x="5941" y="5655"/>
                    <a:pt x="6015" y="5653"/>
                    <a:pt x="6078" y="5653"/>
                  </a:cubicBezTo>
                  <a:cubicBezTo>
                    <a:pt x="6191" y="5653"/>
                    <a:pt x="6268" y="5660"/>
                    <a:pt x="6313" y="5682"/>
                  </a:cubicBezTo>
                  <a:lnTo>
                    <a:pt x="6334" y="5693"/>
                  </a:lnTo>
                  <a:cubicBezTo>
                    <a:pt x="6407" y="5728"/>
                    <a:pt x="6546" y="5800"/>
                    <a:pt x="6656" y="5800"/>
                  </a:cubicBezTo>
                  <a:cubicBezTo>
                    <a:pt x="6677" y="5800"/>
                    <a:pt x="6697" y="5797"/>
                    <a:pt x="6715" y="5791"/>
                  </a:cubicBezTo>
                  <a:cubicBezTo>
                    <a:pt x="6775" y="5773"/>
                    <a:pt x="6842" y="5689"/>
                    <a:pt x="6901" y="5616"/>
                  </a:cubicBezTo>
                  <a:cubicBezTo>
                    <a:pt x="6971" y="5528"/>
                    <a:pt x="7034" y="5455"/>
                    <a:pt x="7108" y="5434"/>
                  </a:cubicBezTo>
                  <a:cubicBezTo>
                    <a:pt x="7118" y="5430"/>
                    <a:pt x="7129" y="5430"/>
                    <a:pt x="7139" y="5427"/>
                  </a:cubicBezTo>
                  <a:lnTo>
                    <a:pt x="7139" y="5427"/>
                  </a:lnTo>
                  <a:lnTo>
                    <a:pt x="7087" y="5434"/>
                  </a:lnTo>
                  <a:lnTo>
                    <a:pt x="7087" y="5392"/>
                  </a:lnTo>
                  <a:lnTo>
                    <a:pt x="7087" y="5378"/>
                  </a:lnTo>
                  <a:lnTo>
                    <a:pt x="7087" y="5332"/>
                  </a:lnTo>
                  <a:cubicBezTo>
                    <a:pt x="7087" y="5168"/>
                    <a:pt x="7108" y="5115"/>
                    <a:pt x="7139" y="5052"/>
                  </a:cubicBezTo>
                  <a:cubicBezTo>
                    <a:pt x="7171" y="4989"/>
                    <a:pt x="7192" y="4923"/>
                    <a:pt x="7202" y="4853"/>
                  </a:cubicBezTo>
                  <a:cubicBezTo>
                    <a:pt x="7251" y="4541"/>
                    <a:pt x="7972" y="3820"/>
                    <a:pt x="8088" y="3718"/>
                  </a:cubicBezTo>
                  <a:cubicBezTo>
                    <a:pt x="8112" y="3648"/>
                    <a:pt x="8137" y="3267"/>
                    <a:pt x="8137" y="2406"/>
                  </a:cubicBezTo>
                  <a:cubicBezTo>
                    <a:pt x="8144" y="2199"/>
                    <a:pt x="8179" y="1996"/>
                    <a:pt x="8238" y="1800"/>
                  </a:cubicBezTo>
                  <a:cubicBezTo>
                    <a:pt x="8263" y="1744"/>
                    <a:pt x="8252" y="1674"/>
                    <a:pt x="8207" y="1625"/>
                  </a:cubicBezTo>
                  <a:cubicBezTo>
                    <a:pt x="8154" y="1562"/>
                    <a:pt x="8130" y="1478"/>
                    <a:pt x="8137" y="1390"/>
                  </a:cubicBezTo>
                  <a:cubicBezTo>
                    <a:pt x="8144" y="1296"/>
                    <a:pt x="8081" y="1205"/>
                    <a:pt x="8018" y="1121"/>
                  </a:cubicBezTo>
                  <a:cubicBezTo>
                    <a:pt x="7962" y="1044"/>
                    <a:pt x="7913" y="974"/>
                    <a:pt x="7913" y="897"/>
                  </a:cubicBezTo>
                  <a:lnTo>
                    <a:pt x="7913" y="876"/>
                  </a:lnTo>
                  <a:lnTo>
                    <a:pt x="7913" y="872"/>
                  </a:lnTo>
                  <a:lnTo>
                    <a:pt x="7913" y="855"/>
                  </a:lnTo>
                  <a:lnTo>
                    <a:pt x="7913" y="844"/>
                  </a:lnTo>
                  <a:lnTo>
                    <a:pt x="7913" y="823"/>
                  </a:lnTo>
                  <a:lnTo>
                    <a:pt x="7913" y="813"/>
                  </a:lnTo>
                  <a:lnTo>
                    <a:pt x="7913" y="785"/>
                  </a:lnTo>
                  <a:lnTo>
                    <a:pt x="7913" y="778"/>
                  </a:lnTo>
                  <a:cubicBezTo>
                    <a:pt x="7906" y="648"/>
                    <a:pt x="7895" y="452"/>
                    <a:pt x="7888" y="302"/>
                  </a:cubicBezTo>
                  <a:lnTo>
                    <a:pt x="7570" y="473"/>
                  </a:lnTo>
                  <a:lnTo>
                    <a:pt x="7489" y="519"/>
                  </a:lnTo>
                  <a:lnTo>
                    <a:pt x="7458" y="463"/>
                  </a:lnTo>
                  <a:cubicBezTo>
                    <a:pt x="7374" y="333"/>
                    <a:pt x="7262" y="225"/>
                    <a:pt x="7132" y="137"/>
                  </a:cubicBezTo>
                  <a:cubicBezTo>
                    <a:pt x="7122" y="130"/>
                    <a:pt x="7111" y="127"/>
                    <a:pt x="7101" y="120"/>
                  </a:cubicBezTo>
                  <a:lnTo>
                    <a:pt x="7083" y="113"/>
                  </a:lnTo>
                  <a:lnTo>
                    <a:pt x="7062" y="102"/>
                  </a:lnTo>
                  <a:lnTo>
                    <a:pt x="7041" y="95"/>
                  </a:lnTo>
                  <a:lnTo>
                    <a:pt x="7024" y="88"/>
                  </a:lnTo>
                  <a:lnTo>
                    <a:pt x="6999" y="78"/>
                  </a:lnTo>
                  <a:lnTo>
                    <a:pt x="6978" y="71"/>
                  </a:lnTo>
                  <a:lnTo>
                    <a:pt x="6954" y="64"/>
                  </a:lnTo>
                  <a:lnTo>
                    <a:pt x="6929" y="60"/>
                  </a:lnTo>
                  <a:lnTo>
                    <a:pt x="6905" y="53"/>
                  </a:lnTo>
                  <a:lnTo>
                    <a:pt x="6877" y="46"/>
                  </a:lnTo>
                  <a:lnTo>
                    <a:pt x="6856" y="43"/>
                  </a:lnTo>
                  <a:lnTo>
                    <a:pt x="6820" y="36"/>
                  </a:lnTo>
                  <a:lnTo>
                    <a:pt x="6803" y="32"/>
                  </a:lnTo>
                  <a:lnTo>
                    <a:pt x="6764" y="25"/>
                  </a:lnTo>
                  <a:lnTo>
                    <a:pt x="6754" y="25"/>
                  </a:lnTo>
                  <a:lnTo>
                    <a:pt x="6708" y="22"/>
                  </a:lnTo>
                  <a:lnTo>
                    <a:pt x="6698" y="22"/>
                  </a:lnTo>
                  <a:lnTo>
                    <a:pt x="6656" y="15"/>
                  </a:lnTo>
                  <a:lnTo>
                    <a:pt x="6642" y="15"/>
                  </a:lnTo>
                  <a:lnTo>
                    <a:pt x="6610" y="11"/>
                  </a:lnTo>
                  <a:lnTo>
                    <a:pt x="6565" y="11"/>
                  </a:lnTo>
                  <a:cubicBezTo>
                    <a:pt x="6502" y="4"/>
                    <a:pt x="6439" y="4"/>
                    <a:pt x="63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8" name="Google Shape;4975;p64">
              <a:extLst>
                <a:ext uri="{FF2B5EF4-FFF2-40B4-BE49-F238E27FC236}">
                  <a16:creationId xmlns:a16="http://schemas.microsoft.com/office/drawing/2014/main" id="{D52D27D1-7FD7-1FC0-E542-0572F36C0B12}"/>
                </a:ext>
              </a:extLst>
            </p:cNvPr>
            <p:cNvSpPr/>
            <p:nvPr/>
          </p:nvSpPr>
          <p:spPr>
            <a:xfrm>
              <a:off x="2080902" y="1899970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9" name="Google Shape;4976;p64">
              <a:extLst>
                <a:ext uri="{FF2B5EF4-FFF2-40B4-BE49-F238E27FC236}">
                  <a16:creationId xmlns:a16="http://schemas.microsoft.com/office/drawing/2014/main" id="{017BED8E-B222-76A7-01EE-1DE6E01A1747}"/>
                </a:ext>
              </a:extLst>
            </p:cNvPr>
            <p:cNvSpPr/>
            <p:nvPr/>
          </p:nvSpPr>
          <p:spPr>
            <a:xfrm>
              <a:off x="2147120" y="186684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0"/>
                  </a:moveTo>
                  <a:lnTo>
                    <a:pt x="2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0" name="Google Shape;4977;p64">
              <a:extLst>
                <a:ext uri="{FF2B5EF4-FFF2-40B4-BE49-F238E27FC236}">
                  <a16:creationId xmlns:a16="http://schemas.microsoft.com/office/drawing/2014/main" id="{1AE0FE30-60E1-5232-B9B6-86A2FA506223}"/>
                </a:ext>
              </a:extLst>
            </p:cNvPr>
            <p:cNvSpPr/>
            <p:nvPr/>
          </p:nvSpPr>
          <p:spPr>
            <a:xfrm>
              <a:off x="2138131" y="1865510"/>
              <a:ext cx="2525" cy="149"/>
            </a:xfrm>
            <a:custGeom>
              <a:avLst/>
              <a:gdLst/>
              <a:ahLst/>
              <a:cxnLst/>
              <a:rect l="l" t="t" r="r" b="b"/>
              <a:pathLst>
                <a:path w="186" h="11" extrusionOk="0">
                  <a:moveTo>
                    <a:pt x="0" y="0"/>
                  </a:moveTo>
                  <a:cubicBezTo>
                    <a:pt x="46" y="0"/>
                    <a:pt x="112" y="4"/>
                    <a:pt x="186" y="11"/>
                  </a:cubicBezTo>
                  <a:cubicBezTo>
                    <a:pt x="119" y="4"/>
                    <a:pt x="56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1" name="Google Shape;4978;p64">
              <a:extLst>
                <a:ext uri="{FF2B5EF4-FFF2-40B4-BE49-F238E27FC236}">
                  <a16:creationId xmlns:a16="http://schemas.microsoft.com/office/drawing/2014/main" id="{20E8CA0F-28BD-D83A-1E5C-95B610FCA041}"/>
                </a:ext>
              </a:extLst>
            </p:cNvPr>
            <p:cNvSpPr/>
            <p:nvPr/>
          </p:nvSpPr>
          <p:spPr>
            <a:xfrm>
              <a:off x="2140888" y="186564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2" name="Google Shape;4979;p64">
              <a:extLst>
                <a:ext uri="{FF2B5EF4-FFF2-40B4-BE49-F238E27FC236}">
                  <a16:creationId xmlns:a16="http://schemas.microsoft.com/office/drawing/2014/main" id="{3053B208-185A-AC2D-22C6-1EDF9D947560}"/>
                </a:ext>
              </a:extLst>
            </p:cNvPr>
            <p:cNvSpPr/>
            <p:nvPr/>
          </p:nvSpPr>
          <p:spPr>
            <a:xfrm>
              <a:off x="2145219" y="1866311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3" name="Google Shape;4980;p64">
              <a:extLst>
                <a:ext uri="{FF2B5EF4-FFF2-40B4-BE49-F238E27FC236}">
                  <a16:creationId xmlns:a16="http://schemas.microsoft.com/office/drawing/2014/main" id="{0A40BC8A-2C0A-B32D-2050-FA1E0FA9F998}"/>
                </a:ext>
              </a:extLst>
            </p:cNvPr>
            <p:cNvSpPr/>
            <p:nvPr/>
          </p:nvSpPr>
          <p:spPr>
            <a:xfrm>
              <a:off x="2147690" y="18670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4" name="Google Shape;4981;p64">
              <a:extLst>
                <a:ext uri="{FF2B5EF4-FFF2-40B4-BE49-F238E27FC236}">
                  <a16:creationId xmlns:a16="http://schemas.microsoft.com/office/drawing/2014/main" id="{AE686D43-8E17-6D88-BD77-030069DB0BFF}"/>
                </a:ext>
              </a:extLst>
            </p:cNvPr>
            <p:cNvSpPr/>
            <p:nvPr/>
          </p:nvSpPr>
          <p:spPr>
            <a:xfrm>
              <a:off x="2144554" y="1866175"/>
              <a:ext cx="285" cy="54"/>
            </a:xfrm>
            <a:custGeom>
              <a:avLst/>
              <a:gdLst/>
              <a:ahLst/>
              <a:cxnLst/>
              <a:rect l="l" t="t" r="r" b="b"/>
              <a:pathLst>
                <a:path w="21" h="4" extrusionOk="0">
                  <a:moveTo>
                    <a:pt x="0" y="0"/>
                  </a:moveTo>
                  <a:lnTo>
                    <a:pt x="2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5" name="Google Shape;4982;p64">
              <a:extLst>
                <a:ext uri="{FF2B5EF4-FFF2-40B4-BE49-F238E27FC236}">
                  <a16:creationId xmlns:a16="http://schemas.microsoft.com/office/drawing/2014/main" id="{3208074A-D4BC-B62F-BB59-9ABA8AE7986D}"/>
                </a:ext>
              </a:extLst>
            </p:cNvPr>
            <p:cNvSpPr/>
            <p:nvPr/>
          </p:nvSpPr>
          <p:spPr>
            <a:xfrm>
              <a:off x="2146495" y="1866650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6" name="Google Shape;4983;p64">
              <a:extLst>
                <a:ext uri="{FF2B5EF4-FFF2-40B4-BE49-F238E27FC236}">
                  <a16:creationId xmlns:a16="http://schemas.microsoft.com/office/drawing/2014/main" id="{6A296816-2901-0F6A-232F-C1BFC112CE84}"/>
                </a:ext>
              </a:extLst>
            </p:cNvPr>
            <p:cNvSpPr/>
            <p:nvPr/>
          </p:nvSpPr>
          <p:spPr>
            <a:xfrm>
              <a:off x="2145884" y="186646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0"/>
                  </a:moveTo>
                  <a:lnTo>
                    <a:pt x="2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7" name="Google Shape;4984;p64">
              <a:extLst>
                <a:ext uri="{FF2B5EF4-FFF2-40B4-BE49-F238E27FC236}">
                  <a16:creationId xmlns:a16="http://schemas.microsoft.com/office/drawing/2014/main" id="{CF555B33-E2DA-5CE8-D852-A4D0A74C1769}"/>
                </a:ext>
              </a:extLst>
            </p:cNvPr>
            <p:cNvSpPr/>
            <p:nvPr/>
          </p:nvSpPr>
          <p:spPr>
            <a:xfrm>
              <a:off x="2153202" y="1872014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77" y="1"/>
                  </a:move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8" name="Google Shape;4985;p64">
              <a:extLst>
                <a:ext uri="{FF2B5EF4-FFF2-40B4-BE49-F238E27FC236}">
                  <a16:creationId xmlns:a16="http://schemas.microsoft.com/office/drawing/2014/main" id="{7ADCC95A-AAE8-F312-7381-CFA07B0C74A1}"/>
                </a:ext>
              </a:extLst>
            </p:cNvPr>
            <p:cNvSpPr/>
            <p:nvPr/>
          </p:nvSpPr>
          <p:spPr>
            <a:xfrm>
              <a:off x="2143875" y="186602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9" name="Google Shape;4986;p64">
              <a:extLst>
                <a:ext uri="{FF2B5EF4-FFF2-40B4-BE49-F238E27FC236}">
                  <a16:creationId xmlns:a16="http://schemas.microsoft.com/office/drawing/2014/main" id="{902BA624-D786-7BC7-80A8-7567550065D8}"/>
                </a:ext>
              </a:extLst>
            </p:cNvPr>
            <p:cNvSpPr/>
            <p:nvPr/>
          </p:nvSpPr>
          <p:spPr>
            <a:xfrm>
              <a:off x="2143169" y="186593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0" name="Google Shape;4987;p64">
              <a:extLst>
                <a:ext uri="{FF2B5EF4-FFF2-40B4-BE49-F238E27FC236}">
                  <a16:creationId xmlns:a16="http://schemas.microsoft.com/office/drawing/2014/main" id="{CE15AC3C-6656-F194-0889-814311BC63A6}"/>
                </a:ext>
              </a:extLst>
            </p:cNvPr>
            <p:cNvSpPr/>
            <p:nvPr/>
          </p:nvSpPr>
          <p:spPr>
            <a:xfrm>
              <a:off x="2141648" y="186574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1" name="Google Shape;4988;p64">
              <a:extLst>
                <a:ext uri="{FF2B5EF4-FFF2-40B4-BE49-F238E27FC236}">
                  <a16:creationId xmlns:a16="http://schemas.microsoft.com/office/drawing/2014/main" id="{3B998C86-66AA-8D97-7B43-508FC163E086}"/>
                </a:ext>
              </a:extLst>
            </p:cNvPr>
            <p:cNvSpPr/>
            <p:nvPr/>
          </p:nvSpPr>
          <p:spPr>
            <a:xfrm>
              <a:off x="2142449" y="186583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2" name="Google Shape;4989;p64">
              <a:extLst>
                <a:ext uri="{FF2B5EF4-FFF2-40B4-BE49-F238E27FC236}">
                  <a16:creationId xmlns:a16="http://schemas.microsoft.com/office/drawing/2014/main" id="{CC6F36F8-F0E8-D57E-48B7-654E9B5CF597}"/>
                </a:ext>
              </a:extLst>
            </p:cNvPr>
            <p:cNvSpPr/>
            <p:nvPr/>
          </p:nvSpPr>
          <p:spPr>
            <a:xfrm>
              <a:off x="2122300" y="1942359"/>
              <a:ext cx="4481" cy="2539"/>
            </a:xfrm>
            <a:custGeom>
              <a:avLst/>
              <a:gdLst/>
              <a:ahLst/>
              <a:cxnLst/>
              <a:rect l="l" t="t" r="r" b="b"/>
              <a:pathLst>
                <a:path w="330" h="187" extrusionOk="0">
                  <a:moveTo>
                    <a:pt x="1" y="186"/>
                  </a:moveTo>
                  <a:cubicBezTo>
                    <a:pt x="95" y="99"/>
                    <a:pt x="204" y="1"/>
                    <a:pt x="330" y="11"/>
                  </a:cubicBezTo>
                  <a:cubicBezTo>
                    <a:pt x="204" y="1"/>
                    <a:pt x="95" y="99"/>
                    <a:pt x="1" y="18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3" name="Google Shape;4990;p64">
              <a:extLst>
                <a:ext uri="{FF2B5EF4-FFF2-40B4-BE49-F238E27FC236}">
                  <a16:creationId xmlns:a16="http://schemas.microsoft.com/office/drawing/2014/main" id="{296ACCB5-0480-5CFF-DABA-1169FC4E8BD4}"/>
                </a:ext>
              </a:extLst>
            </p:cNvPr>
            <p:cNvSpPr/>
            <p:nvPr/>
          </p:nvSpPr>
          <p:spPr>
            <a:xfrm>
              <a:off x="2074860" y="1952637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cubicBezTo>
                    <a:pt x="1" y="7"/>
                    <a:pt x="1" y="11"/>
                    <a:pt x="1" y="18"/>
                  </a:cubicBezTo>
                  <a:cubicBezTo>
                    <a:pt x="1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4" name="Google Shape;4991;p64">
              <a:extLst>
                <a:ext uri="{FF2B5EF4-FFF2-40B4-BE49-F238E27FC236}">
                  <a16:creationId xmlns:a16="http://schemas.microsoft.com/office/drawing/2014/main" id="{68A64F2E-112D-4BE2-DF43-992EF8C2BD92}"/>
                </a:ext>
              </a:extLst>
            </p:cNvPr>
            <p:cNvSpPr/>
            <p:nvPr/>
          </p:nvSpPr>
          <p:spPr>
            <a:xfrm>
              <a:off x="2074575" y="1952868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22" y="1"/>
                  </a:moveTo>
                  <a:lnTo>
                    <a:pt x="22" y="1"/>
                  </a:lnTo>
                  <a:cubicBezTo>
                    <a:pt x="20" y="5"/>
                    <a:pt x="19" y="9"/>
                    <a:pt x="17" y="13"/>
                  </a:cubicBezTo>
                  <a:lnTo>
                    <a:pt x="17" y="13"/>
                  </a:lnTo>
                  <a:cubicBezTo>
                    <a:pt x="19" y="9"/>
                    <a:pt x="21" y="5"/>
                    <a:pt x="22" y="1"/>
                  </a:cubicBezTo>
                  <a:close/>
                  <a:moveTo>
                    <a:pt x="17" y="13"/>
                  </a:moveTo>
                  <a:cubicBezTo>
                    <a:pt x="14" y="23"/>
                    <a:pt x="8" y="31"/>
                    <a:pt x="1" y="36"/>
                  </a:cubicBezTo>
                  <a:lnTo>
                    <a:pt x="11" y="32"/>
                  </a:lnTo>
                  <a:cubicBezTo>
                    <a:pt x="13" y="26"/>
                    <a:pt x="15" y="20"/>
                    <a:pt x="17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5" name="Google Shape;4992;p64">
              <a:extLst>
                <a:ext uri="{FF2B5EF4-FFF2-40B4-BE49-F238E27FC236}">
                  <a16:creationId xmlns:a16="http://schemas.microsoft.com/office/drawing/2014/main" id="{4EC6B3C5-213B-AA7F-BC38-DA27BC82F30D}"/>
                </a:ext>
              </a:extLst>
            </p:cNvPr>
            <p:cNvSpPr/>
            <p:nvPr/>
          </p:nvSpPr>
          <p:spPr>
            <a:xfrm>
              <a:off x="2066741" y="1951822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6" name="Google Shape;4993;p64">
              <a:extLst>
                <a:ext uri="{FF2B5EF4-FFF2-40B4-BE49-F238E27FC236}">
                  <a16:creationId xmlns:a16="http://schemas.microsoft.com/office/drawing/2014/main" id="{D4971AFB-30CA-F55D-27CF-9B6DC87F100C}"/>
                </a:ext>
              </a:extLst>
            </p:cNvPr>
            <p:cNvSpPr/>
            <p:nvPr/>
          </p:nvSpPr>
          <p:spPr>
            <a:xfrm>
              <a:off x="2067732" y="1949881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0"/>
                  </a:moveTo>
                  <a:cubicBezTo>
                    <a:pt x="18" y="7"/>
                    <a:pt x="11" y="11"/>
                    <a:pt x="1" y="21"/>
                  </a:cubicBezTo>
                  <a:cubicBezTo>
                    <a:pt x="11" y="11"/>
                    <a:pt x="18" y="7"/>
                    <a:pt x="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7" name="Google Shape;4994;p64">
              <a:extLst>
                <a:ext uri="{FF2B5EF4-FFF2-40B4-BE49-F238E27FC236}">
                  <a16:creationId xmlns:a16="http://schemas.microsoft.com/office/drawing/2014/main" id="{5DCE5D10-9A4E-592F-D80F-5F1C9B799443}"/>
                </a:ext>
              </a:extLst>
            </p:cNvPr>
            <p:cNvSpPr/>
            <p:nvPr/>
          </p:nvSpPr>
          <p:spPr>
            <a:xfrm>
              <a:off x="2067121" y="1950777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cubicBezTo>
                    <a:pt x="4" y="8"/>
                    <a:pt x="0" y="11"/>
                    <a:pt x="0" y="18"/>
                  </a:cubicBezTo>
                  <a:cubicBezTo>
                    <a:pt x="4" y="11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8" name="Google Shape;4995;p64">
              <a:extLst>
                <a:ext uri="{FF2B5EF4-FFF2-40B4-BE49-F238E27FC236}">
                  <a16:creationId xmlns:a16="http://schemas.microsoft.com/office/drawing/2014/main" id="{D52E2C91-05AC-8888-0AB6-08B8F7A94823}"/>
                </a:ext>
              </a:extLst>
            </p:cNvPr>
            <p:cNvSpPr/>
            <p:nvPr/>
          </p:nvSpPr>
          <p:spPr>
            <a:xfrm>
              <a:off x="2066877" y="19513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ubicBezTo>
                    <a:pt x="4" y="8"/>
                    <a:pt x="8" y="4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9" name="Google Shape;4996;p64">
              <a:extLst>
                <a:ext uri="{FF2B5EF4-FFF2-40B4-BE49-F238E27FC236}">
                  <a16:creationId xmlns:a16="http://schemas.microsoft.com/office/drawing/2014/main" id="{E5B55899-0D75-6EEF-F798-D22940D603C8}"/>
                </a:ext>
              </a:extLst>
            </p:cNvPr>
            <p:cNvSpPr/>
            <p:nvPr/>
          </p:nvSpPr>
          <p:spPr>
            <a:xfrm>
              <a:off x="2073530" y="1953343"/>
              <a:ext cx="1059" cy="122"/>
            </a:xfrm>
            <a:custGeom>
              <a:avLst/>
              <a:gdLst/>
              <a:ahLst/>
              <a:cxnLst/>
              <a:rect l="l" t="t" r="r" b="b"/>
              <a:pathLst>
                <a:path w="78" h="9" extrusionOk="0">
                  <a:moveTo>
                    <a:pt x="1" y="1"/>
                  </a:moveTo>
                  <a:cubicBezTo>
                    <a:pt x="13" y="6"/>
                    <a:pt x="25" y="8"/>
                    <a:pt x="38" y="8"/>
                  </a:cubicBezTo>
                  <a:lnTo>
                    <a:pt x="38" y="8"/>
                  </a:lnTo>
                  <a:cubicBezTo>
                    <a:pt x="26" y="7"/>
                    <a:pt x="13" y="5"/>
                    <a:pt x="1" y="1"/>
                  </a:cubicBezTo>
                  <a:close/>
                  <a:moveTo>
                    <a:pt x="78" y="1"/>
                  </a:moveTo>
                  <a:lnTo>
                    <a:pt x="78" y="1"/>
                  </a:lnTo>
                  <a:cubicBezTo>
                    <a:pt x="66" y="6"/>
                    <a:pt x="52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lnTo>
                    <a:pt x="38" y="8"/>
                  </a:lnTo>
                  <a:cubicBezTo>
                    <a:pt x="42" y="9"/>
                    <a:pt x="46" y="9"/>
                    <a:pt x="50" y="9"/>
                  </a:cubicBezTo>
                  <a:cubicBezTo>
                    <a:pt x="56" y="9"/>
                    <a:pt x="62" y="9"/>
                    <a:pt x="67" y="8"/>
                  </a:cubicBezTo>
                  <a:lnTo>
                    <a:pt x="7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0" name="Google Shape;4997;p64">
              <a:extLst>
                <a:ext uri="{FF2B5EF4-FFF2-40B4-BE49-F238E27FC236}">
                  <a16:creationId xmlns:a16="http://schemas.microsoft.com/office/drawing/2014/main" id="{4C3C356A-9D0A-786A-3E83-1411F63C3503}"/>
                </a:ext>
              </a:extLst>
            </p:cNvPr>
            <p:cNvSpPr/>
            <p:nvPr/>
          </p:nvSpPr>
          <p:spPr>
            <a:xfrm>
              <a:off x="2067352" y="1950166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1" y="28"/>
                  </a:moveTo>
                  <a:cubicBezTo>
                    <a:pt x="11" y="18"/>
                    <a:pt x="18" y="7"/>
                    <a:pt x="29" y="0"/>
                  </a:cubicBezTo>
                  <a:lnTo>
                    <a:pt x="29" y="0"/>
                  </a:lnTo>
                  <a:cubicBezTo>
                    <a:pt x="18" y="7"/>
                    <a:pt x="11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1" name="Google Shape;4998;p64">
              <a:extLst>
                <a:ext uri="{FF2B5EF4-FFF2-40B4-BE49-F238E27FC236}">
                  <a16:creationId xmlns:a16="http://schemas.microsoft.com/office/drawing/2014/main" id="{3AA03182-1DEB-5C1E-3B3F-7BCACAE55346}"/>
                </a:ext>
              </a:extLst>
            </p:cNvPr>
            <p:cNvSpPr/>
            <p:nvPr/>
          </p:nvSpPr>
          <p:spPr>
            <a:xfrm>
              <a:off x="2073054" y="1953153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36" y="15"/>
                  </a:moveTo>
                  <a:cubicBezTo>
                    <a:pt x="22" y="8"/>
                    <a:pt x="11" y="4"/>
                    <a:pt x="1" y="1"/>
                  </a:cubicBezTo>
                  <a:cubicBezTo>
                    <a:pt x="11" y="4"/>
                    <a:pt x="22" y="8"/>
                    <a:pt x="3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2" name="Google Shape;4999;p64">
              <a:extLst>
                <a:ext uri="{FF2B5EF4-FFF2-40B4-BE49-F238E27FC236}">
                  <a16:creationId xmlns:a16="http://schemas.microsoft.com/office/drawing/2014/main" id="{1B04496E-1B22-6922-06FA-5361205682AE}"/>
                </a:ext>
              </a:extLst>
            </p:cNvPr>
            <p:cNvSpPr/>
            <p:nvPr/>
          </p:nvSpPr>
          <p:spPr>
            <a:xfrm>
              <a:off x="2069633" y="1949446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3" name="Google Shape;5000;p64">
              <a:extLst>
                <a:ext uri="{FF2B5EF4-FFF2-40B4-BE49-F238E27FC236}">
                  <a16:creationId xmlns:a16="http://schemas.microsoft.com/office/drawing/2014/main" id="{CBAD2EAB-938A-C191-024E-9EFFED488336}"/>
                </a:ext>
              </a:extLst>
            </p:cNvPr>
            <p:cNvSpPr/>
            <p:nvPr/>
          </p:nvSpPr>
          <p:spPr>
            <a:xfrm>
              <a:off x="2069117" y="1949446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cubicBezTo>
                    <a:pt x="18" y="1"/>
                    <a:pt x="11" y="1"/>
                    <a:pt x="0" y="1"/>
                  </a:cubicBezTo>
                  <a:cubicBezTo>
                    <a:pt x="11" y="1"/>
                    <a:pt x="18" y="1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4" name="Google Shape;5001;p64">
              <a:extLst>
                <a:ext uri="{FF2B5EF4-FFF2-40B4-BE49-F238E27FC236}">
                  <a16:creationId xmlns:a16="http://schemas.microsoft.com/office/drawing/2014/main" id="{6098B97F-A7B4-66FD-10C7-58F2390CFFCA}"/>
                </a:ext>
              </a:extLst>
            </p:cNvPr>
            <p:cNvSpPr/>
            <p:nvPr/>
          </p:nvSpPr>
          <p:spPr>
            <a:xfrm>
              <a:off x="2070067" y="1949500"/>
              <a:ext cx="2240" cy="1765"/>
            </a:xfrm>
            <a:custGeom>
              <a:avLst/>
              <a:gdLst/>
              <a:ahLst/>
              <a:cxnLst/>
              <a:rect l="l" t="t" r="r" b="b"/>
              <a:pathLst>
                <a:path w="165" h="130" extrusionOk="0">
                  <a:moveTo>
                    <a:pt x="35" y="7"/>
                  </a:moveTo>
                  <a:cubicBezTo>
                    <a:pt x="25" y="4"/>
                    <a:pt x="11" y="0"/>
                    <a:pt x="0" y="0"/>
                  </a:cubicBezTo>
                  <a:cubicBezTo>
                    <a:pt x="11" y="0"/>
                    <a:pt x="25" y="4"/>
                    <a:pt x="35" y="7"/>
                  </a:cubicBezTo>
                  <a:cubicBezTo>
                    <a:pt x="98" y="21"/>
                    <a:pt x="147" y="67"/>
                    <a:pt x="165" y="130"/>
                  </a:cubicBezTo>
                  <a:cubicBezTo>
                    <a:pt x="147" y="67"/>
                    <a:pt x="98" y="21"/>
                    <a:pt x="3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5" name="Google Shape;5002;p64">
              <a:extLst>
                <a:ext uri="{FF2B5EF4-FFF2-40B4-BE49-F238E27FC236}">
                  <a16:creationId xmlns:a16="http://schemas.microsoft.com/office/drawing/2014/main" id="{0F2F21CA-61CE-12C4-DDFB-D6200713C67D}"/>
                </a:ext>
              </a:extLst>
            </p:cNvPr>
            <p:cNvSpPr/>
            <p:nvPr/>
          </p:nvSpPr>
          <p:spPr>
            <a:xfrm>
              <a:off x="2068207" y="1949636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cubicBezTo>
                    <a:pt x="15" y="4"/>
                    <a:pt x="8" y="8"/>
                    <a:pt x="1" y="15"/>
                  </a:cubicBezTo>
                  <a:cubicBezTo>
                    <a:pt x="8" y="8"/>
                    <a:pt x="15" y="4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6" name="Google Shape;5003;p64">
              <a:extLst>
                <a:ext uri="{FF2B5EF4-FFF2-40B4-BE49-F238E27FC236}">
                  <a16:creationId xmlns:a16="http://schemas.microsoft.com/office/drawing/2014/main" id="{7959C03F-FBA4-1944-B463-F16D17EC2468}"/>
                </a:ext>
              </a:extLst>
            </p:cNvPr>
            <p:cNvSpPr/>
            <p:nvPr/>
          </p:nvSpPr>
          <p:spPr>
            <a:xfrm>
              <a:off x="2068587" y="1949500"/>
              <a:ext cx="489" cy="149"/>
            </a:xfrm>
            <a:custGeom>
              <a:avLst/>
              <a:gdLst/>
              <a:ahLst/>
              <a:cxnLst/>
              <a:rect l="l" t="t" r="r" b="b"/>
              <a:pathLst>
                <a:path w="36" h="11" extrusionOk="0">
                  <a:moveTo>
                    <a:pt x="36" y="0"/>
                  </a:moveTo>
                  <a:cubicBezTo>
                    <a:pt x="22" y="0"/>
                    <a:pt x="11" y="4"/>
                    <a:pt x="1" y="11"/>
                  </a:cubicBezTo>
                  <a:cubicBezTo>
                    <a:pt x="11" y="4"/>
                    <a:pt x="22" y="0"/>
                    <a:pt x="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7" name="Google Shape;5004;p64">
              <a:extLst>
                <a:ext uri="{FF2B5EF4-FFF2-40B4-BE49-F238E27FC236}">
                  <a16:creationId xmlns:a16="http://schemas.microsoft.com/office/drawing/2014/main" id="{5A9ABDC6-EFB9-9860-1B62-979B821FE3CF}"/>
                </a:ext>
              </a:extLst>
            </p:cNvPr>
            <p:cNvSpPr/>
            <p:nvPr/>
          </p:nvSpPr>
          <p:spPr>
            <a:xfrm>
              <a:off x="2074439" y="1953302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20" y="0"/>
                    <a:pt x="20" y="0"/>
                    <a:pt x="19" y="1"/>
                  </a:cubicBezTo>
                  <a:lnTo>
                    <a:pt x="19" y="1"/>
                  </a:lnTo>
                  <a:lnTo>
                    <a:pt x="21" y="0"/>
                  </a:lnTo>
                  <a:close/>
                  <a:moveTo>
                    <a:pt x="19" y="1"/>
                  </a:moveTo>
                  <a:lnTo>
                    <a:pt x="11" y="4"/>
                  </a:lnTo>
                  <a:lnTo>
                    <a:pt x="0" y="11"/>
                  </a:lnTo>
                  <a:cubicBezTo>
                    <a:pt x="7" y="11"/>
                    <a:pt x="11" y="7"/>
                    <a:pt x="14" y="7"/>
                  </a:cubicBezTo>
                  <a:cubicBezTo>
                    <a:pt x="17" y="5"/>
                    <a:pt x="17" y="2"/>
                    <a:pt x="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8" name="Google Shape;5005;p64">
              <a:extLst>
                <a:ext uri="{FF2B5EF4-FFF2-40B4-BE49-F238E27FC236}">
                  <a16:creationId xmlns:a16="http://schemas.microsoft.com/office/drawing/2014/main" id="{DD72CEDB-5ABF-B255-E8C6-1866D29C44C7}"/>
                </a:ext>
              </a:extLst>
            </p:cNvPr>
            <p:cNvSpPr/>
            <p:nvPr/>
          </p:nvSpPr>
          <p:spPr>
            <a:xfrm>
              <a:off x="2080902" y="1902386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9" name="Google Shape;5006;p64">
              <a:extLst>
                <a:ext uri="{FF2B5EF4-FFF2-40B4-BE49-F238E27FC236}">
                  <a16:creationId xmlns:a16="http://schemas.microsoft.com/office/drawing/2014/main" id="{39046692-57FC-BC0C-70D0-07323061FB39}"/>
                </a:ext>
              </a:extLst>
            </p:cNvPr>
            <p:cNvSpPr/>
            <p:nvPr/>
          </p:nvSpPr>
          <p:spPr>
            <a:xfrm>
              <a:off x="2080848" y="1900635"/>
              <a:ext cx="68" cy="679"/>
            </a:xfrm>
            <a:custGeom>
              <a:avLst/>
              <a:gdLst/>
              <a:ahLst/>
              <a:cxnLst/>
              <a:rect l="l" t="t" r="r" b="b"/>
              <a:pathLst>
                <a:path w="5" h="50" extrusionOk="0">
                  <a:moveTo>
                    <a:pt x="1" y="0"/>
                  </a:moveTo>
                  <a:lnTo>
                    <a:pt x="1" y="49"/>
                  </a:lnTo>
                  <a:cubicBezTo>
                    <a:pt x="4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0" name="Google Shape;5007;p64">
              <a:extLst>
                <a:ext uri="{FF2B5EF4-FFF2-40B4-BE49-F238E27FC236}">
                  <a16:creationId xmlns:a16="http://schemas.microsoft.com/office/drawing/2014/main" id="{2A936BA9-FB3E-E128-07D6-606CC2F0BF8C}"/>
                </a:ext>
              </a:extLst>
            </p:cNvPr>
            <p:cNvSpPr/>
            <p:nvPr/>
          </p:nvSpPr>
          <p:spPr>
            <a:xfrm>
              <a:off x="2080943" y="1903961"/>
              <a:ext cx="14" cy="530"/>
            </a:xfrm>
            <a:custGeom>
              <a:avLst/>
              <a:gdLst/>
              <a:ahLst/>
              <a:cxnLst/>
              <a:rect l="l" t="t" r="r" b="b"/>
              <a:pathLst>
                <a:path w="1" h="39" extrusionOk="0">
                  <a:moveTo>
                    <a:pt x="1" y="0"/>
                  </a:moveTo>
                  <a:lnTo>
                    <a:pt x="1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1" name="Google Shape;5008;p64">
              <a:extLst>
                <a:ext uri="{FF2B5EF4-FFF2-40B4-BE49-F238E27FC236}">
                  <a16:creationId xmlns:a16="http://schemas.microsoft.com/office/drawing/2014/main" id="{B130F072-AF22-BE6E-90A8-009ED58721D6}"/>
                </a:ext>
              </a:extLst>
            </p:cNvPr>
            <p:cNvSpPr/>
            <p:nvPr/>
          </p:nvSpPr>
          <p:spPr>
            <a:xfrm>
              <a:off x="2080753" y="191603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7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2" name="Google Shape;5009;p64">
              <a:extLst>
                <a:ext uri="{FF2B5EF4-FFF2-40B4-BE49-F238E27FC236}">
                  <a16:creationId xmlns:a16="http://schemas.microsoft.com/office/drawing/2014/main" id="{4F839154-49B8-CBAF-1BEE-E97AAC8F6D7E}"/>
                </a:ext>
              </a:extLst>
            </p:cNvPr>
            <p:cNvSpPr/>
            <p:nvPr/>
          </p:nvSpPr>
          <p:spPr>
            <a:xfrm>
              <a:off x="2080848" y="1914077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3" name="Google Shape;5010;p64">
              <a:extLst>
                <a:ext uri="{FF2B5EF4-FFF2-40B4-BE49-F238E27FC236}">
                  <a16:creationId xmlns:a16="http://schemas.microsoft.com/office/drawing/2014/main" id="{9A9960EA-BC05-11F6-B075-95B07B88D013}"/>
                </a:ext>
              </a:extLst>
            </p:cNvPr>
            <p:cNvSpPr/>
            <p:nvPr/>
          </p:nvSpPr>
          <p:spPr>
            <a:xfrm>
              <a:off x="2080563" y="191844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4" name="Google Shape;5011;p64">
              <a:extLst>
                <a:ext uri="{FF2B5EF4-FFF2-40B4-BE49-F238E27FC236}">
                  <a16:creationId xmlns:a16="http://schemas.microsoft.com/office/drawing/2014/main" id="{B96D74C4-02E1-3053-3454-53905EE3F1A2}"/>
                </a:ext>
              </a:extLst>
            </p:cNvPr>
            <p:cNvSpPr/>
            <p:nvPr/>
          </p:nvSpPr>
          <p:spPr>
            <a:xfrm>
              <a:off x="2080617" y="191816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5" name="Google Shape;5012;p64">
              <a:extLst>
                <a:ext uri="{FF2B5EF4-FFF2-40B4-BE49-F238E27FC236}">
                  <a16:creationId xmlns:a16="http://schemas.microsoft.com/office/drawing/2014/main" id="{71E1C58D-3B07-6FFF-62E2-55F889ABFEBC}"/>
                </a:ext>
              </a:extLst>
            </p:cNvPr>
            <p:cNvSpPr/>
            <p:nvPr/>
          </p:nvSpPr>
          <p:spPr>
            <a:xfrm>
              <a:off x="2080902" y="191327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6" name="Google Shape;5013;p64">
              <a:extLst>
                <a:ext uri="{FF2B5EF4-FFF2-40B4-BE49-F238E27FC236}">
                  <a16:creationId xmlns:a16="http://schemas.microsoft.com/office/drawing/2014/main" id="{C5F3D0F7-9808-E8EA-B0BF-451D797846AC}"/>
                </a:ext>
              </a:extLst>
            </p:cNvPr>
            <p:cNvSpPr/>
            <p:nvPr/>
          </p:nvSpPr>
          <p:spPr>
            <a:xfrm>
              <a:off x="2080658" y="191783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7" name="Google Shape;5014;p64">
              <a:extLst>
                <a:ext uri="{FF2B5EF4-FFF2-40B4-BE49-F238E27FC236}">
                  <a16:creationId xmlns:a16="http://schemas.microsoft.com/office/drawing/2014/main" id="{AED1F500-CD37-E808-8B30-04565D945340}"/>
                </a:ext>
              </a:extLst>
            </p:cNvPr>
            <p:cNvSpPr/>
            <p:nvPr/>
          </p:nvSpPr>
          <p:spPr>
            <a:xfrm>
              <a:off x="2080522" y="191869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8" name="Google Shape;5015;p64">
              <a:extLst>
                <a:ext uri="{FF2B5EF4-FFF2-40B4-BE49-F238E27FC236}">
                  <a16:creationId xmlns:a16="http://schemas.microsoft.com/office/drawing/2014/main" id="{B1B48D3F-54DF-519C-FDAB-684EC5B5A4E9}"/>
                </a:ext>
              </a:extLst>
            </p:cNvPr>
            <p:cNvSpPr/>
            <p:nvPr/>
          </p:nvSpPr>
          <p:spPr>
            <a:xfrm>
              <a:off x="2080373" y="191920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9" name="Google Shape;5016;p64">
              <a:extLst>
                <a:ext uri="{FF2B5EF4-FFF2-40B4-BE49-F238E27FC236}">
                  <a16:creationId xmlns:a16="http://schemas.microsoft.com/office/drawing/2014/main" id="{9CFDA2B2-155C-A5B8-77A7-00E104C2C9C1}"/>
                </a:ext>
              </a:extLst>
            </p:cNvPr>
            <p:cNvSpPr/>
            <p:nvPr/>
          </p:nvSpPr>
          <p:spPr>
            <a:xfrm>
              <a:off x="2080468" y="191892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0" name="Google Shape;5017;p64">
              <a:extLst>
                <a:ext uri="{FF2B5EF4-FFF2-40B4-BE49-F238E27FC236}">
                  <a16:creationId xmlns:a16="http://schemas.microsoft.com/office/drawing/2014/main" id="{CC787312-B2E5-6765-FD3E-34E3BCFF5923}"/>
                </a:ext>
              </a:extLst>
            </p:cNvPr>
            <p:cNvSpPr/>
            <p:nvPr/>
          </p:nvSpPr>
          <p:spPr>
            <a:xfrm>
              <a:off x="2080427" y="191907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1" name="Google Shape;5018;p64">
              <a:extLst>
                <a:ext uri="{FF2B5EF4-FFF2-40B4-BE49-F238E27FC236}">
                  <a16:creationId xmlns:a16="http://schemas.microsoft.com/office/drawing/2014/main" id="{63A000ED-A347-A3B1-42AA-BC4CEF6FE02C}"/>
                </a:ext>
              </a:extLst>
            </p:cNvPr>
            <p:cNvSpPr/>
            <p:nvPr/>
          </p:nvSpPr>
          <p:spPr>
            <a:xfrm>
              <a:off x="2080943" y="19104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2" name="Google Shape;5019;p64">
              <a:extLst>
                <a:ext uri="{FF2B5EF4-FFF2-40B4-BE49-F238E27FC236}">
                  <a16:creationId xmlns:a16="http://schemas.microsoft.com/office/drawing/2014/main" id="{36B90310-1A3E-E06B-DAEA-36AE1910605F}"/>
                </a:ext>
              </a:extLst>
            </p:cNvPr>
            <p:cNvSpPr/>
            <p:nvPr/>
          </p:nvSpPr>
          <p:spPr>
            <a:xfrm>
              <a:off x="2080943" y="19114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3" name="Google Shape;5020;p64">
              <a:extLst>
                <a:ext uri="{FF2B5EF4-FFF2-40B4-BE49-F238E27FC236}">
                  <a16:creationId xmlns:a16="http://schemas.microsoft.com/office/drawing/2014/main" id="{38C210C3-0F3F-28F6-E552-231BF63961A0}"/>
                </a:ext>
              </a:extLst>
            </p:cNvPr>
            <p:cNvSpPr/>
            <p:nvPr/>
          </p:nvSpPr>
          <p:spPr>
            <a:xfrm>
              <a:off x="2080902" y="1912420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0"/>
                  </a:moveTo>
                  <a:cubicBezTo>
                    <a:pt x="4" y="7"/>
                    <a:pt x="0" y="14"/>
                    <a:pt x="4" y="25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4" name="Google Shape;5021;p64">
              <a:extLst>
                <a:ext uri="{FF2B5EF4-FFF2-40B4-BE49-F238E27FC236}">
                  <a16:creationId xmlns:a16="http://schemas.microsoft.com/office/drawing/2014/main" id="{43A6CB3D-83DB-B7FC-3AA3-A906378B4680}"/>
                </a:ext>
              </a:extLst>
            </p:cNvPr>
            <p:cNvSpPr/>
            <p:nvPr/>
          </p:nvSpPr>
          <p:spPr>
            <a:xfrm>
              <a:off x="2080848" y="191479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5" name="Google Shape;5022;p64">
              <a:extLst>
                <a:ext uri="{FF2B5EF4-FFF2-40B4-BE49-F238E27FC236}">
                  <a16:creationId xmlns:a16="http://schemas.microsoft.com/office/drawing/2014/main" id="{D8A6AF1C-9277-650C-0ED6-392E90A2D1E5}"/>
                </a:ext>
              </a:extLst>
            </p:cNvPr>
            <p:cNvSpPr/>
            <p:nvPr/>
          </p:nvSpPr>
          <p:spPr>
            <a:xfrm>
              <a:off x="2080753" y="1916548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6" name="Google Shape;5023;p64">
              <a:extLst>
                <a:ext uri="{FF2B5EF4-FFF2-40B4-BE49-F238E27FC236}">
                  <a16:creationId xmlns:a16="http://schemas.microsoft.com/office/drawing/2014/main" id="{9AF3EBBE-2C3D-7292-48DF-3D829FDAB314}"/>
                </a:ext>
              </a:extLst>
            </p:cNvPr>
            <p:cNvSpPr/>
            <p:nvPr/>
          </p:nvSpPr>
          <p:spPr>
            <a:xfrm>
              <a:off x="2080712" y="191707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7" name="Google Shape;5024;p64">
              <a:extLst>
                <a:ext uri="{FF2B5EF4-FFF2-40B4-BE49-F238E27FC236}">
                  <a16:creationId xmlns:a16="http://schemas.microsoft.com/office/drawing/2014/main" id="{AC95F00F-4264-0733-CCA1-6A13F13415D4}"/>
                </a:ext>
              </a:extLst>
            </p:cNvPr>
            <p:cNvSpPr/>
            <p:nvPr/>
          </p:nvSpPr>
          <p:spPr>
            <a:xfrm>
              <a:off x="2080807" y="191546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8" name="Google Shape;5025;p64">
              <a:extLst>
                <a:ext uri="{FF2B5EF4-FFF2-40B4-BE49-F238E27FC236}">
                  <a16:creationId xmlns:a16="http://schemas.microsoft.com/office/drawing/2014/main" id="{0A8D84EC-A2A5-5143-1151-5E7BF23D54DC}"/>
                </a:ext>
              </a:extLst>
            </p:cNvPr>
            <p:cNvSpPr/>
            <p:nvPr/>
          </p:nvSpPr>
          <p:spPr>
            <a:xfrm>
              <a:off x="2080658" y="191745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9" name="Google Shape;5026;p64">
              <a:extLst>
                <a:ext uri="{FF2B5EF4-FFF2-40B4-BE49-F238E27FC236}">
                  <a16:creationId xmlns:a16="http://schemas.microsoft.com/office/drawing/2014/main" id="{ADC4CE62-3EF4-A18D-9A78-7F00E04E00D1}"/>
                </a:ext>
              </a:extLst>
            </p:cNvPr>
            <p:cNvSpPr/>
            <p:nvPr/>
          </p:nvSpPr>
          <p:spPr>
            <a:xfrm>
              <a:off x="2050855" y="1932094"/>
              <a:ext cx="1629" cy="68"/>
            </a:xfrm>
            <a:custGeom>
              <a:avLst/>
              <a:gdLst/>
              <a:ahLst/>
              <a:cxnLst/>
              <a:rect l="l" t="t" r="r" b="b"/>
              <a:pathLst>
                <a:path w="120" h="5" extrusionOk="0">
                  <a:moveTo>
                    <a:pt x="120" y="1"/>
                  </a:moveTo>
                  <a:cubicBezTo>
                    <a:pt x="78" y="1"/>
                    <a:pt x="39" y="4"/>
                    <a:pt x="1" y="4"/>
                  </a:cubicBezTo>
                  <a:cubicBezTo>
                    <a:pt x="39" y="4"/>
                    <a:pt x="81" y="4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0" name="Google Shape;5027;p64">
              <a:extLst>
                <a:ext uri="{FF2B5EF4-FFF2-40B4-BE49-F238E27FC236}">
                  <a16:creationId xmlns:a16="http://schemas.microsoft.com/office/drawing/2014/main" id="{3376D6AD-B952-988E-EC72-9B9D41FFBD2B}"/>
                </a:ext>
              </a:extLst>
            </p:cNvPr>
            <p:cNvSpPr/>
            <p:nvPr/>
          </p:nvSpPr>
          <p:spPr>
            <a:xfrm>
              <a:off x="2080943" y="1905482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1" name="Google Shape;5028;p64">
              <a:extLst>
                <a:ext uri="{FF2B5EF4-FFF2-40B4-BE49-F238E27FC236}">
                  <a16:creationId xmlns:a16="http://schemas.microsoft.com/office/drawing/2014/main" id="{8D4569C3-4775-5A8F-67C5-806F1F72A930}"/>
                </a:ext>
              </a:extLst>
            </p:cNvPr>
            <p:cNvSpPr/>
            <p:nvPr/>
          </p:nvSpPr>
          <p:spPr>
            <a:xfrm>
              <a:off x="2080943" y="190681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2" name="Google Shape;5029;p64">
              <a:extLst>
                <a:ext uri="{FF2B5EF4-FFF2-40B4-BE49-F238E27FC236}">
                  <a16:creationId xmlns:a16="http://schemas.microsoft.com/office/drawing/2014/main" id="{BDE3021D-40B7-0C75-6B99-A50F003E4E13}"/>
                </a:ext>
              </a:extLst>
            </p:cNvPr>
            <p:cNvSpPr/>
            <p:nvPr/>
          </p:nvSpPr>
          <p:spPr>
            <a:xfrm>
              <a:off x="2054996" y="193171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3" name="Google Shape;5030;p64">
              <a:extLst>
                <a:ext uri="{FF2B5EF4-FFF2-40B4-BE49-F238E27FC236}">
                  <a16:creationId xmlns:a16="http://schemas.microsoft.com/office/drawing/2014/main" id="{787D6496-F3FC-0AF8-101C-90BEA846E697}"/>
                </a:ext>
              </a:extLst>
            </p:cNvPr>
            <p:cNvSpPr/>
            <p:nvPr/>
          </p:nvSpPr>
          <p:spPr>
            <a:xfrm>
              <a:off x="2080943" y="1909325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4" name="Google Shape;5031;p64">
              <a:extLst>
                <a:ext uri="{FF2B5EF4-FFF2-40B4-BE49-F238E27FC236}">
                  <a16:creationId xmlns:a16="http://schemas.microsoft.com/office/drawing/2014/main" id="{53653331-28AB-6EA4-CCFB-09F90DDC508A}"/>
                </a:ext>
              </a:extLst>
            </p:cNvPr>
            <p:cNvSpPr/>
            <p:nvPr/>
          </p:nvSpPr>
          <p:spPr>
            <a:xfrm>
              <a:off x="2080943" y="19080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5" name="Google Shape;5032;p64">
              <a:extLst>
                <a:ext uri="{FF2B5EF4-FFF2-40B4-BE49-F238E27FC236}">
                  <a16:creationId xmlns:a16="http://schemas.microsoft.com/office/drawing/2014/main" id="{EA2DF365-40D5-1D87-7D2A-4E883F24A880}"/>
                </a:ext>
              </a:extLst>
            </p:cNvPr>
            <p:cNvSpPr/>
            <p:nvPr/>
          </p:nvSpPr>
          <p:spPr>
            <a:xfrm>
              <a:off x="2062124" y="1929243"/>
              <a:ext cx="5906" cy="638"/>
            </a:xfrm>
            <a:custGeom>
              <a:avLst/>
              <a:gdLst/>
              <a:ahLst/>
              <a:cxnLst/>
              <a:rect l="l" t="t" r="r" b="b"/>
              <a:pathLst>
                <a:path w="435" h="47" extrusionOk="0">
                  <a:moveTo>
                    <a:pt x="435" y="1"/>
                  </a:moveTo>
                  <a:cubicBezTo>
                    <a:pt x="291" y="25"/>
                    <a:pt x="148" y="39"/>
                    <a:pt x="1" y="46"/>
                  </a:cubicBezTo>
                  <a:cubicBezTo>
                    <a:pt x="148" y="39"/>
                    <a:pt x="291" y="25"/>
                    <a:pt x="4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6" name="Google Shape;5033;p64">
              <a:extLst>
                <a:ext uri="{FF2B5EF4-FFF2-40B4-BE49-F238E27FC236}">
                  <a16:creationId xmlns:a16="http://schemas.microsoft.com/office/drawing/2014/main" id="{FE2D96CF-2CAB-3F53-3BF9-E5143528E71F}"/>
                </a:ext>
              </a:extLst>
            </p:cNvPr>
            <p:cNvSpPr/>
            <p:nvPr/>
          </p:nvSpPr>
          <p:spPr>
            <a:xfrm>
              <a:off x="2080237" y="191954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7" name="Google Shape;5034;p64">
              <a:extLst>
                <a:ext uri="{FF2B5EF4-FFF2-40B4-BE49-F238E27FC236}">
                  <a16:creationId xmlns:a16="http://schemas.microsoft.com/office/drawing/2014/main" id="{06E5B350-B2C1-312B-C7FC-383A74693F6E}"/>
                </a:ext>
              </a:extLst>
            </p:cNvPr>
            <p:cNvSpPr/>
            <p:nvPr/>
          </p:nvSpPr>
          <p:spPr>
            <a:xfrm>
              <a:off x="2080332" y="1919358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8" name="Google Shape;5035;p64">
              <a:extLst>
                <a:ext uri="{FF2B5EF4-FFF2-40B4-BE49-F238E27FC236}">
                  <a16:creationId xmlns:a16="http://schemas.microsoft.com/office/drawing/2014/main" id="{730F8DA0-7F85-D7CE-D5D3-8FA7151521AF}"/>
                </a:ext>
              </a:extLst>
            </p:cNvPr>
            <p:cNvSpPr/>
            <p:nvPr/>
          </p:nvSpPr>
          <p:spPr>
            <a:xfrm>
              <a:off x="2080278" y="19194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9" name="Google Shape;5036;p64">
              <a:extLst>
                <a:ext uri="{FF2B5EF4-FFF2-40B4-BE49-F238E27FC236}">
                  <a16:creationId xmlns:a16="http://schemas.microsoft.com/office/drawing/2014/main" id="{5C87A803-5129-A191-FBD8-BE6146B946F5}"/>
                </a:ext>
              </a:extLst>
            </p:cNvPr>
            <p:cNvSpPr/>
            <p:nvPr/>
          </p:nvSpPr>
          <p:spPr>
            <a:xfrm>
              <a:off x="2080183" y="191960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0" name="Google Shape;5037;p64">
              <a:extLst>
                <a:ext uri="{FF2B5EF4-FFF2-40B4-BE49-F238E27FC236}">
                  <a16:creationId xmlns:a16="http://schemas.microsoft.com/office/drawing/2014/main" id="{E04E18B5-5F33-BB23-337D-874BF1290973}"/>
                </a:ext>
              </a:extLst>
            </p:cNvPr>
            <p:cNvSpPr/>
            <p:nvPr/>
          </p:nvSpPr>
          <p:spPr>
            <a:xfrm>
              <a:off x="2080142" y="191964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1" name="Google Shape;5038;p64">
              <a:extLst>
                <a:ext uri="{FF2B5EF4-FFF2-40B4-BE49-F238E27FC236}">
                  <a16:creationId xmlns:a16="http://schemas.microsoft.com/office/drawing/2014/main" id="{EFCFD8F5-6D90-C16C-6300-B670415CAAD8}"/>
                </a:ext>
              </a:extLst>
            </p:cNvPr>
            <p:cNvSpPr/>
            <p:nvPr/>
          </p:nvSpPr>
          <p:spPr>
            <a:xfrm>
              <a:off x="2079992" y="19197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2" name="Google Shape;5039;p64">
              <a:extLst>
                <a:ext uri="{FF2B5EF4-FFF2-40B4-BE49-F238E27FC236}">
                  <a16:creationId xmlns:a16="http://schemas.microsoft.com/office/drawing/2014/main" id="{19348A1C-D9F1-92E1-2C3E-F4EAF5855C49}"/>
                </a:ext>
              </a:extLst>
            </p:cNvPr>
            <p:cNvSpPr/>
            <p:nvPr/>
          </p:nvSpPr>
          <p:spPr>
            <a:xfrm>
              <a:off x="2060658" y="1947735"/>
              <a:ext cx="1914" cy="407"/>
            </a:xfrm>
            <a:custGeom>
              <a:avLst/>
              <a:gdLst/>
              <a:ahLst/>
              <a:cxnLst/>
              <a:rect l="l" t="t" r="r" b="b"/>
              <a:pathLst>
                <a:path w="141" h="30" extrusionOk="0">
                  <a:moveTo>
                    <a:pt x="140" y="1"/>
                  </a:moveTo>
                  <a:cubicBezTo>
                    <a:pt x="130" y="4"/>
                    <a:pt x="118" y="8"/>
                    <a:pt x="106" y="11"/>
                  </a:cubicBezTo>
                  <a:lnTo>
                    <a:pt x="106" y="11"/>
                  </a:lnTo>
                  <a:cubicBezTo>
                    <a:pt x="118" y="8"/>
                    <a:pt x="130" y="4"/>
                    <a:pt x="140" y="1"/>
                  </a:cubicBezTo>
                  <a:close/>
                  <a:moveTo>
                    <a:pt x="106" y="11"/>
                  </a:moveTo>
                  <a:cubicBezTo>
                    <a:pt x="77" y="20"/>
                    <a:pt x="45" y="28"/>
                    <a:pt x="21" y="28"/>
                  </a:cubicBezTo>
                  <a:cubicBezTo>
                    <a:pt x="13" y="28"/>
                    <a:pt x="6" y="27"/>
                    <a:pt x="0" y="25"/>
                  </a:cubicBezTo>
                  <a:lnTo>
                    <a:pt x="0" y="25"/>
                  </a:lnTo>
                  <a:cubicBezTo>
                    <a:pt x="7" y="28"/>
                    <a:pt x="15" y="29"/>
                    <a:pt x="24" y="29"/>
                  </a:cubicBezTo>
                  <a:cubicBezTo>
                    <a:pt x="47" y="29"/>
                    <a:pt x="78" y="20"/>
                    <a:pt x="106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3" name="Google Shape;5040;p64">
              <a:extLst>
                <a:ext uri="{FF2B5EF4-FFF2-40B4-BE49-F238E27FC236}">
                  <a16:creationId xmlns:a16="http://schemas.microsoft.com/office/drawing/2014/main" id="{AE09E55A-E101-1B9E-A99F-21C41E717B47}"/>
                </a:ext>
              </a:extLst>
            </p:cNvPr>
            <p:cNvSpPr/>
            <p:nvPr/>
          </p:nvSpPr>
          <p:spPr>
            <a:xfrm>
              <a:off x="2050855" y="193214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4" name="Google Shape;5041;p64">
              <a:extLst>
                <a:ext uri="{FF2B5EF4-FFF2-40B4-BE49-F238E27FC236}">
                  <a16:creationId xmlns:a16="http://schemas.microsoft.com/office/drawing/2014/main" id="{1A464E32-EC98-A2C6-8447-37466B557E73}"/>
                </a:ext>
              </a:extLst>
            </p:cNvPr>
            <p:cNvSpPr/>
            <p:nvPr/>
          </p:nvSpPr>
          <p:spPr>
            <a:xfrm>
              <a:off x="2050719" y="193390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5" name="Google Shape;5042;p64">
              <a:extLst>
                <a:ext uri="{FF2B5EF4-FFF2-40B4-BE49-F238E27FC236}">
                  <a16:creationId xmlns:a16="http://schemas.microsoft.com/office/drawing/2014/main" id="{38CF0945-DA1A-2F0D-EE37-A96E4F21955D}"/>
                </a:ext>
              </a:extLst>
            </p:cNvPr>
            <p:cNvSpPr/>
            <p:nvPr/>
          </p:nvSpPr>
          <p:spPr>
            <a:xfrm>
              <a:off x="2066401" y="195206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6" name="Google Shape;5043;p64">
              <a:extLst>
                <a:ext uri="{FF2B5EF4-FFF2-40B4-BE49-F238E27FC236}">
                  <a16:creationId xmlns:a16="http://schemas.microsoft.com/office/drawing/2014/main" id="{72A5F3F1-6146-779F-577A-26AA165225FA}"/>
                </a:ext>
              </a:extLst>
            </p:cNvPr>
            <p:cNvSpPr/>
            <p:nvPr/>
          </p:nvSpPr>
          <p:spPr>
            <a:xfrm>
              <a:off x="2050760" y="19327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7" name="Google Shape;5044;p64">
              <a:extLst>
                <a:ext uri="{FF2B5EF4-FFF2-40B4-BE49-F238E27FC236}">
                  <a16:creationId xmlns:a16="http://schemas.microsoft.com/office/drawing/2014/main" id="{64B2FD62-7893-AEA0-BFBF-AF8D851FCC28}"/>
                </a:ext>
              </a:extLst>
            </p:cNvPr>
            <p:cNvSpPr/>
            <p:nvPr/>
          </p:nvSpPr>
          <p:spPr>
            <a:xfrm>
              <a:off x="2065981" y="195191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8" name="Google Shape;5045;p64">
              <a:extLst>
                <a:ext uri="{FF2B5EF4-FFF2-40B4-BE49-F238E27FC236}">
                  <a16:creationId xmlns:a16="http://schemas.microsoft.com/office/drawing/2014/main" id="{83856616-AC66-BCF0-C6A6-C9680A3CDB85}"/>
                </a:ext>
              </a:extLst>
            </p:cNvPr>
            <p:cNvSpPr/>
            <p:nvPr/>
          </p:nvSpPr>
          <p:spPr>
            <a:xfrm>
              <a:off x="2050719" y="1934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9" name="Google Shape;5046;p64">
              <a:extLst>
                <a:ext uri="{FF2B5EF4-FFF2-40B4-BE49-F238E27FC236}">
                  <a16:creationId xmlns:a16="http://schemas.microsoft.com/office/drawing/2014/main" id="{FF14AA21-4D9E-2157-EB4C-530A2F589DD5}"/>
                </a:ext>
              </a:extLst>
            </p:cNvPr>
            <p:cNvSpPr/>
            <p:nvPr/>
          </p:nvSpPr>
          <p:spPr>
            <a:xfrm>
              <a:off x="2050719" y="19343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0" name="Google Shape;5047;p64">
              <a:extLst>
                <a:ext uri="{FF2B5EF4-FFF2-40B4-BE49-F238E27FC236}">
                  <a16:creationId xmlns:a16="http://schemas.microsoft.com/office/drawing/2014/main" id="{9BC63868-694B-2E2D-8C52-B6F6E8353EAA}"/>
                </a:ext>
              </a:extLst>
            </p:cNvPr>
            <p:cNvSpPr/>
            <p:nvPr/>
          </p:nvSpPr>
          <p:spPr>
            <a:xfrm>
              <a:off x="2050719" y="19345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1" name="Google Shape;5048;p64">
              <a:extLst>
                <a:ext uri="{FF2B5EF4-FFF2-40B4-BE49-F238E27FC236}">
                  <a16:creationId xmlns:a16="http://schemas.microsoft.com/office/drawing/2014/main" id="{A656C917-E624-8603-F9DE-0596E6FA1A68}"/>
                </a:ext>
              </a:extLst>
            </p:cNvPr>
            <p:cNvSpPr/>
            <p:nvPr/>
          </p:nvSpPr>
          <p:spPr>
            <a:xfrm>
              <a:off x="2065166" y="19516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2" name="Google Shape;5049;p64">
              <a:extLst>
                <a:ext uri="{FF2B5EF4-FFF2-40B4-BE49-F238E27FC236}">
                  <a16:creationId xmlns:a16="http://schemas.microsoft.com/office/drawing/2014/main" id="{C0954325-FE0E-A8E5-1DB6-7B8BC5EC1228}"/>
                </a:ext>
              </a:extLst>
            </p:cNvPr>
            <p:cNvSpPr/>
            <p:nvPr/>
          </p:nvSpPr>
          <p:spPr>
            <a:xfrm>
              <a:off x="2050719" y="1933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3" name="Google Shape;5050;p64">
              <a:extLst>
                <a:ext uri="{FF2B5EF4-FFF2-40B4-BE49-F238E27FC236}">
                  <a16:creationId xmlns:a16="http://schemas.microsoft.com/office/drawing/2014/main" id="{0BFEB4AB-ACCF-EFCF-7C95-00DFE7015084}"/>
                </a:ext>
              </a:extLst>
            </p:cNvPr>
            <p:cNvSpPr/>
            <p:nvPr/>
          </p:nvSpPr>
          <p:spPr>
            <a:xfrm>
              <a:off x="2065600" y="195182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4" name="Google Shape;5051;p64">
              <a:extLst>
                <a:ext uri="{FF2B5EF4-FFF2-40B4-BE49-F238E27FC236}">
                  <a16:creationId xmlns:a16="http://schemas.microsoft.com/office/drawing/2014/main" id="{6F12800E-1864-0A70-290E-1448965ED334}"/>
                </a:ext>
              </a:extLst>
            </p:cNvPr>
            <p:cNvSpPr/>
            <p:nvPr/>
          </p:nvSpPr>
          <p:spPr>
            <a:xfrm>
              <a:off x="2050719" y="19332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5" name="Google Shape;5052;p64">
              <a:extLst>
                <a:ext uri="{FF2B5EF4-FFF2-40B4-BE49-F238E27FC236}">
                  <a16:creationId xmlns:a16="http://schemas.microsoft.com/office/drawing/2014/main" id="{90C7E0E9-A8AC-ED54-2DB4-4DD568AA5669}"/>
                </a:ext>
              </a:extLst>
            </p:cNvPr>
            <p:cNvSpPr/>
            <p:nvPr/>
          </p:nvSpPr>
          <p:spPr>
            <a:xfrm>
              <a:off x="2149346" y="1865605"/>
              <a:ext cx="72640" cy="121356"/>
            </a:xfrm>
            <a:custGeom>
              <a:avLst/>
              <a:gdLst/>
              <a:ahLst/>
              <a:cxnLst/>
              <a:rect l="l" t="t" r="r" b="b"/>
              <a:pathLst>
                <a:path w="5350" h="8938" extrusionOk="0">
                  <a:moveTo>
                    <a:pt x="1229" y="0"/>
                  </a:moveTo>
                  <a:lnTo>
                    <a:pt x="806" y="228"/>
                  </a:lnTo>
                  <a:cubicBezTo>
                    <a:pt x="816" y="382"/>
                    <a:pt x="823" y="529"/>
                    <a:pt x="827" y="648"/>
                  </a:cubicBezTo>
                  <a:lnTo>
                    <a:pt x="827" y="690"/>
                  </a:lnTo>
                  <a:lnTo>
                    <a:pt x="827" y="697"/>
                  </a:lnTo>
                  <a:lnTo>
                    <a:pt x="827" y="728"/>
                  </a:lnTo>
                  <a:lnTo>
                    <a:pt x="827" y="739"/>
                  </a:lnTo>
                  <a:lnTo>
                    <a:pt x="827" y="767"/>
                  </a:lnTo>
                  <a:lnTo>
                    <a:pt x="827" y="777"/>
                  </a:lnTo>
                  <a:lnTo>
                    <a:pt x="827" y="798"/>
                  </a:lnTo>
                  <a:lnTo>
                    <a:pt x="827" y="812"/>
                  </a:lnTo>
                  <a:lnTo>
                    <a:pt x="827" y="830"/>
                  </a:lnTo>
                  <a:lnTo>
                    <a:pt x="827" y="844"/>
                  </a:lnTo>
                  <a:lnTo>
                    <a:pt x="827" y="854"/>
                  </a:lnTo>
                  <a:lnTo>
                    <a:pt x="827" y="868"/>
                  </a:lnTo>
                  <a:lnTo>
                    <a:pt x="827" y="875"/>
                  </a:lnTo>
                  <a:lnTo>
                    <a:pt x="827" y="893"/>
                  </a:lnTo>
                  <a:cubicBezTo>
                    <a:pt x="827" y="928"/>
                    <a:pt x="869" y="984"/>
                    <a:pt x="911" y="1040"/>
                  </a:cubicBezTo>
                  <a:cubicBezTo>
                    <a:pt x="977" y="1134"/>
                    <a:pt x="1065" y="1257"/>
                    <a:pt x="1054" y="1400"/>
                  </a:cubicBezTo>
                  <a:cubicBezTo>
                    <a:pt x="1047" y="1453"/>
                    <a:pt x="1065" y="1509"/>
                    <a:pt x="1100" y="1547"/>
                  </a:cubicBezTo>
                  <a:cubicBezTo>
                    <a:pt x="1166" y="1628"/>
                    <a:pt x="1184" y="1736"/>
                    <a:pt x="1149" y="1831"/>
                  </a:cubicBezTo>
                  <a:cubicBezTo>
                    <a:pt x="1093" y="2017"/>
                    <a:pt x="1061" y="2206"/>
                    <a:pt x="1054" y="2398"/>
                  </a:cubicBezTo>
                  <a:cubicBezTo>
                    <a:pt x="1054" y="3739"/>
                    <a:pt x="998" y="3781"/>
                    <a:pt x="963" y="3809"/>
                  </a:cubicBezTo>
                  <a:cubicBezTo>
                    <a:pt x="883" y="3868"/>
                    <a:pt x="158" y="4611"/>
                    <a:pt x="116" y="4866"/>
                  </a:cubicBezTo>
                  <a:cubicBezTo>
                    <a:pt x="113" y="4884"/>
                    <a:pt x="109" y="4901"/>
                    <a:pt x="106" y="4915"/>
                  </a:cubicBezTo>
                  <a:cubicBezTo>
                    <a:pt x="95" y="4982"/>
                    <a:pt x="74" y="5045"/>
                    <a:pt x="43" y="5104"/>
                  </a:cubicBezTo>
                  <a:cubicBezTo>
                    <a:pt x="25" y="5136"/>
                    <a:pt x="15" y="5167"/>
                    <a:pt x="8" y="5202"/>
                  </a:cubicBezTo>
                  <a:cubicBezTo>
                    <a:pt x="4" y="5244"/>
                    <a:pt x="1" y="5283"/>
                    <a:pt x="4" y="5321"/>
                  </a:cubicBezTo>
                  <a:lnTo>
                    <a:pt x="4" y="5384"/>
                  </a:lnTo>
                  <a:lnTo>
                    <a:pt x="4" y="5395"/>
                  </a:lnTo>
                  <a:lnTo>
                    <a:pt x="4" y="5458"/>
                  </a:lnTo>
                  <a:cubicBezTo>
                    <a:pt x="22" y="5475"/>
                    <a:pt x="39" y="5493"/>
                    <a:pt x="53" y="5514"/>
                  </a:cubicBezTo>
                  <a:cubicBezTo>
                    <a:pt x="67" y="5531"/>
                    <a:pt x="81" y="5552"/>
                    <a:pt x="99" y="5566"/>
                  </a:cubicBezTo>
                  <a:cubicBezTo>
                    <a:pt x="127" y="5598"/>
                    <a:pt x="151" y="5636"/>
                    <a:pt x="172" y="5675"/>
                  </a:cubicBezTo>
                  <a:cubicBezTo>
                    <a:pt x="204" y="5734"/>
                    <a:pt x="221" y="5766"/>
                    <a:pt x="274" y="5773"/>
                  </a:cubicBezTo>
                  <a:lnTo>
                    <a:pt x="295" y="5773"/>
                  </a:lnTo>
                  <a:cubicBezTo>
                    <a:pt x="309" y="5776"/>
                    <a:pt x="326" y="5776"/>
                    <a:pt x="344" y="5780"/>
                  </a:cubicBezTo>
                  <a:cubicBezTo>
                    <a:pt x="403" y="5801"/>
                    <a:pt x="456" y="5839"/>
                    <a:pt x="498" y="5888"/>
                  </a:cubicBezTo>
                  <a:cubicBezTo>
                    <a:pt x="617" y="6025"/>
                    <a:pt x="711" y="6246"/>
                    <a:pt x="697" y="6365"/>
                  </a:cubicBezTo>
                  <a:cubicBezTo>
                    <a:pt x="694" y="6417"/>
                    <a:pt x="704" y="6466"/>
                    <a:pt x="722" y="6515"/>
                  </a:cubicBezTo>
                  <a:cubicBezTo>
                    <a:pt x="757" y="6624"/>
                    <a:pt x="771" y="6736"/>
                    <a:pt x="764" y="6848"/>
                  </a:cubicBezTo>
                  <a:cubicBezTo>
                    <a:pt x="750" y="7096"/>
                    <a:pt x="907" y="7432"/>
                    <a:pt x="960" y="7467"/>
                  </a:cubicBezTo>
                  <a:cubicBezTo>
                    <a:pt x="1005" y="7485"/>
                    <a:pt x="1026" y="7534"/>
                    <a:pt x="1012" y="7579"/>
                  </a:cubicBezTo>
                  <a:cubicBezTo>
                    <a:pt x="1012" y="7586"/>
                    <a:pt x="1009" y="7593"/>
                    <a:pt x="1005" y="7597"/>
                  </a:cubicBezTo>
                  <a:cubicBezTo>
                    <a:pt x="970" y="7660"/>
                    <a:pt x="862" y="7670"/>
                    <a:pt x="774" y="7670"/>
                  </a:cubicBezTo>
                  <a:cubicBezTo>
                    <a:pt x="743" y="7670"/>
                    <a:pt x="715" y="7670"/>
                    <a:pt x="694" y="7667"/>
                  </a:cubicBezTo>
                  <a:cubicBezTo>
                    <a:pt x="624" y="7661"/>
                    <a:pt x="562" y="7659"/>
                    <a:pt x="509" y="7659"/>
                  </a:cubicBezTo>
                  <a:cubicBezTo>
                    <a:pt x="395" y="7659"/>
                    <a:pt x="321" y="7670"/>
                    <a:pt x="295" y="7684"/>
                  </a:cubicBezTo>
                  <a:cubicBezTo>
                    <a:pt x="295" y="7698"/>
                    <a:pt x="291" y="7716"/>
                    <a:pt x="288" y="7730"/>
                  </a:cubicBezTo>
                  <a:cubicBezTo>
                    <a:pt x="277" y="7800"/>
                    <a:pt x="263" y="7877"/>
                    <a:pt x="403" y="8006"/>
                  </a:cubicBezTo>
                  <a:cubicBezTo>
                    <a:pt x="466" y="8066"/>
                    <a:pt x="526" y="8112"/>
                    <a:pt x="582" y="8154"/>
                  </a:cubicBezTo>
                  <a:cubicBezTo>
                    <a:pt x="715" y="8255"/>
                    <a:pt x="823" y="8339"/>
                    <a:pt x="876" y="8504"/>
                  </a:cubicBezTo>
                  <a:cubicBezTo>
                    <a:pt x="911" y="8637"/>
                    <a:pt x="963" y="8763"/>
                    <a:pt x="1030" y="8885"/>
                  </a:cubicBezTo>
                  <a:lnTo>
                    <a:pt x="1040" y="8889"/>
                  </a:lnTo>
                  <a:cubicBezTo>
                    <a:pt x="1047" y="8899"/>
                    <a:pt x="1054" y="8913"/>
                    <a:pt x="1065" y="8924"/>
                  </a:cubicBezTo>
                  <a:lnTo>
                    <a:pt x="1072" y="8927"/>
                  </a:lnTo>
                  <a:cubicBezTo>
                    <a:pt x="1079" y="8934"/>
                    <a:pt x="1089" y="8938"/>
                    <a:pt x="1100" y="8938"/>
                  </a:cubicBezTo>
                  <a:lnTo>
                    <a:pt x="1124" y="8938"/>
                  </a:lnTo>
                  <a:cubicBezTo>
                    <a:pt x="1194" y="8917"/>
                    <a:pt x="1250" y="8875"/>
                    <a:pt x="1285" y="8812"/>
                  </a:cubicBezTo>
                  <a:cubicBezTo>
                    <a:pt x="1326" y="8755"/>
                    <a:pt x="1370" y="8737"/>
                    <a:pt x="1413" y="8737"/>
                  </a:cubicBezTo>
                  <a:cubicBezTo>
                    <a:pt x="1470" y="8737"/>
                    <a:pt x="1523" y="8771"/>
                    <a:pt x="1555" y="8791"/>
                  </a:cubicBezTo>
                  <a:cubicBezTo>
                    <a:pt x="1594" y="8816"/>
                    <a:pt x="1612" y="8825"/>
                    <a:pt x="1623" y="8825"/>
                  </a:cubicBezTo>
                  <a:cubicBezTo>
                    <a:pt x="1632" y="8825"/>
                    <a:pt x="1636" y="8819"/>
                    <a:pt x="1642" y="8812"/>
                  </a:cubicBezTo>
                  <a:cubicBezTo>
                    <a:pt x="1734" y="8693"/>
                    <a:pt x="1940" y="8665"/>
                    <a:pt x="2105" y="8644"/>
                  </a:cubicBezTo>
                  <a:cubicBezTo>
                    <a:pt x="2161" y="8640"/>
                    <a:pt x="2213" y="8630"/>
                    <a:pt x="2266" y="8616"/>
                  </a:cubicBezTo>
                  <a:lnTo>
                    <a:pt x="2350" y="8574"/>
                  </a:lnTo>
                  <a:cubicBezTo>
                    <a:pt x="2469" y="8518"/>
                    <a:pt x="2668" y="8423"/>
                    <a:pt x="2738" y="8364"/>
                  </a:cubicBezTo>
                  <a:cubicBezTo>
                    <a:pt x="2738" y="8364"/>
                    <a:pt x="2738" y="8360"/>
                    <a:pt x="2742" y="8360"/>
                  </a:cubicBezTo>
                  <a:cubicBezTo>
                    <a:pt x="2735" y="8343"/>
                    <a:pt x="2731" y="8322"/>
                    <a:pt x="2721" y="8308"/>
                  </a:cubicBezTo>
                  <a:cubicBezTo>
                    <a:pt x="2700" y="8252"/>
                    <a:pt x="2647" y="8136"/>
                    <a:pt x="2780" y="8066"/>
                  </a:cubicBezTo>
                  <a:cubicBezTo>
                    <a:pt x="2834" y="8036"/>
                    <a:pt x="2909" y="8030"/>
                    <a:pt x="2994" y="8030"/>
                  </a:cubicBezTo>
                  <a:cubicBezTo>
                    <a:pt x="3020" y="8030"/>
                    <a:pt x="3047" y="8030"/>
                    <a:pt x="3074" y="8031"/>
                  </a:cubicBezTo>
                  <a:cubicBezTo>
                    <a:pt x="3100" y="8032"/>
                    <a:pt x="3127" y="8032"/>
                    <a:pt x="3153" y="8032"/>
                  </a:cubicBezTo>
                  <a:cubicBezTo>
                    <a:pt x="3305" y="8032"/>
                    <a:pt x="3459" y="8017"/>
                    <a:pt x="3536" y="7919"/>
                  </a:cubicBezTo>
                  <a:cubicBezTo>
                    <a:pt x="3680" y="7747"/>
                    <a:pt x="3834" y="7586"/>
                    <a:pt x="3999" y="7436"/>
                  </a:cubicBezTo>
                  <a:cubicBezTo>
                    <a:pt x="4030" y="7408"/>
                    <a:pt x="4058" y="7383"/>
                    <a:pt x="4076" y="7366"/>
                  </a:cubicBezTo>
                  <a:cubicBezTo>
                    <a:pt x="4093" y="7348"/>
                    <a:pt x="4100" y="7324"/>
                    <a:pt x="4100" y="7299"/>
                  </a:cubicBezTo>
                  <a:cubicBezTo>
                    <a:pt x="4100" y="7226"/>
                    <a:pt x="4132" y="7156"/>
                    <a:pt x="4188" y="7107"/>
                  </a:cubicBezTo>
                  <a:cubicBezTo>
                    <a:pt x="4261" y="7030"/>
                    <a:pt x="4426" y="6911"/>
                    <a:pt x="4573" y="6893"/>
                  </a:cubicBezTo>
                  <a:lnTo>
                    <a:pt x="4646" y="6893"/>
                  </a:lnTo>
                  <a:cubicBezTo>
                    <a:pt x="4653" y="6893"/>
                    <a:pt x="4660" y="6897"/>
                    <a:pt x="4667" y="6900"/>
                  </a:cubicBezTo>
                  <a:lnTo>
                    <a:pt x="4681" y="6904"/>
                  </a:lnTo>
                  <a:cubicBezTo>
                    <a:pt x="4688" y="6904"/>
                    <a:pt x="4692" y="6907"/>
                    <a:pt x="4699" y="6911"/>
                  </a:cubicBezTo>
                  <a:cubicBezTo>
                    <a:pt x="4706" y="6911"/>
                    <a:pt x="4706" y="6911"/>
                    <a:pt x="4713" y="6914"/>
                  </a:cubicBezTo>
                  <a:lnTo>
                    <a:pt x="4751" y="6771"/>
                  </a:lnTo>
                  <a:cubicBezTo>
                    <a:pt x="4664" y="6715"/>
                    <a:pt x="4496" y="6585"/>
                    <a:pt x="4496" y="6403"/>
                  </a:cubicBezTo>
                  <a:cubicBezTo>
                    <a:pt x="4496" y="6351"/>
                    <a:pt x="4499" y="6305"/>
                    <a:pt x="4503" y="6256"/>
                  </a:cubicBezTo>
                  <a:cubicBezTo>
                    <a:pt x="4506" y="6186"/>
                    <a:pt x="4513" y="6095"/>
                    <a:pt x="4492" y="6071"/>
                  </a:cubicBezTo>
                  <a:cubicBezTo>
                    <a:pt x="4482" y="6064"/>
                    <a:pt x="4471" y="6064"/>
                    <a:pt x="4457" y="6064"/>
                  </a:cubicBezTo>
                  <a:cubicBezTo>
                    <a:pt x="4452" y="6064"/>
                    <a:pt x="4447" y="6064"/>
                    <a:pt x="4441" y="6064"/>
                  </a:cubicBezTo>
                  <a:cubicBezTo>
                    <a:pt x="4363" y="6064"/>
                    <a:pt x="4290" y="6017"/>
                    <a:pt x="4258" y="5944"/>
                  </a:cubicBezTo>
                  <a:cubicBezTo>
                    <a:pt x="4219" y="5853"/>
                    <a:pt x="4254" y="5738"/>
                    <a:pt x="4345" y="5647"/>
                  </a:cubicBezTo>
                  <a:cubicBezTo>
                    <a:pt x="4373" y="5619"/>
                    <a:pt x="4352" y="5559"/>
                    <a:pt x="4314" y="5479"/>
                  </a:cubicBezTo>
                  <a:cubicBezTo>
                    <a:pt x="4286" y="5409"/>
                    <a:pt x="4251" y="5339"/>
                    <a:pt x="4289" y="5279"/>
                  </a:cubicBezTo>
                  <a:cubicBezTo>
                    <a:pt x="4322" y="5244"/>
                    <a:pt x="4366" y="5223"/>
                    <a:pt x="4414" y="5223"/>
                  </a:cubicBezTo>
                  <a:cubicBezTo>
                    <a:pt x="4418" y="5223"/>
                    <a:pt x="4422" y="5223"/>
                    <a:pt x="4426" y="5223"/>
                  </a:cubicBezTo>
                  <a:cubicBezTo>
                    <a:pt x="4478" y="5223"/>
                    <a:pt x="4492" y="5206"/>
                    <a:pt x="4506" y="5069"/>
                  </a:cubicBezTo>
                  <a:cubicBezTo>
                    <a:pt x="4513" y="4975"/>
                    <a:pt x="4524" y="4845"/>
                    <a:pt x="4646" y="4821"/>
                  </a:cubicBezTo>
                  <a:cubicBezTo>
                    <a:pt x="4758" y="4796"/>
                    <a:pt x="4797" y="4723"/>
                    <a:pt x="4797" y="4548"/>
                  </a:cubicBezTo>
                  <a:cubicBezTo>
                    <a:pt x="4797" y="4345"/>
                    <a:pt x="5126" y="4240"/>
                    <a:pt x="5283" y="4191"/>
                  </a:cubicBezTo>
                  <a:lnTo>
                    <a:pt x="5308" y="4184"/>
                  </a:lnTo>
                  <a:cubicBezTo>
                    <a:pt x="5336" y="4135"/>
                    <a:pt x="5350" y="3903"/>
                    <a:pt x="5336" y="3672"/>
                  </a:cubicBezTo>
                  <a:lnTo>
                    <a:pt x="5336" y="2209"/>
                  </a:lnTo>
                  <a:lnTo>
                    <a:pt x="12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6" name="Google Shape;5053;p64">
              <a:extLst>
                <a:ext uri="{FF2B5EF4-FFF2-40B4-BE49-F238E27FC236}">
                  <a16:creationId xmlns:a16="http://schemas.microsoft.com/office/drawing/2014/main" id="{EFB89E89-E09D-8E8C-F06C-7EE0E2C76DB9}"/>
                </a:ext>
              </a:extLst>
            </p:cNvPr>
            <p:cNvSpPr/>
            <p:nvPr/>
          </p:nvSpPr>
          <p:spPr>
            <a:xfrm>
              <a:off x="2163888" y="19868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9" y="11"/>
                  </a:moveTo>
                  <a:cubicBezTo>
                    <a:pt x="18" y="11"/>
                    <a:pt x="8" y="7"/>
                    <a:pt x="1" y="0"/>
                  </a:cubicBezTo>
                  <a:lnTo>
                    <a:pt x="1" y="0"/>
                  </a:lnTo>
                  <a:cubicBezTo>
                    <a:pt x="8" y="7"/>
                    <a:pt x="18" y="11"/>
                    <a:pt x="29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7" name="Google Shape;5054;p64">
              <a:extLst>
                <a:ext uri="{FF2B5EF4-FFF2-40B4-BE49-F238E27FC236}">
                  <a16:creationId xmlns:a16="http://schemas.microsoft.com/office/drawing/2014/main" id="{BE838E1F-506E-16F1-1509-15C8CF4AEE28}"/>
                </a:ext>
              </a:extLst>
            </p:cNvPr>
            <p:cNvSpPr/>
            <p:nvPr/>
          </p:nvSpPr>
          <p:spPr>
            <a:xfrm>
              <a:off x="2163467" y="1986282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1"/>
                  </a:moveTo>
                  <a:cubicBezTo>
                    <a:pt x="4" y="9"/>
                    <a:pt x="8" y="16"/>
                    <a:pt x="13" y="22"/>
                  </a:cubicBezTo>
                  <a:lnTo>
                    <a:pt x="13" y="22"/>
                  </a:lnTo>
                  <a:cubicBezTo>
                    <a:pt x="12" y="21"/>
                    <a:pt x="11" y="20"/>
                    <a:pt x="11" y="18"/>
                  </a:cubicBezTo>
                  <a:lnTo>
                    <a:pt x="0" y="1"/>
                  </a:lnTo>
                  <a:close/>
                  <a:moveTo>
                    <a:pt x="13" y="22"/>
                  </a:moveTo>
                  <a:lnTo>
                    <a:pt x="13" y="22"/>
                  </a:lnTo>
                  <a:cubicBezTo>
                    <a:pt x="17" y="28"/>
                    <a:pt x="22" y="33"/>
                    <a:pt x="25" y="36"/>
                  </a:cubicBezTo>
                  <a:cubicBezTo>
                    <a:pt x="20" y="31"/>
                    <a:pt x="17" y="27"/>
                    <a:pt x="1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8" name="Google Shape;5055;p64">
              <a:extLst>
                <a:ext uri="{FF2B5EF4-FFF2-40B4-BE49-F238E27FC236}">
                  <a16:creationId xmlns:a16="http://schemas.microsoft.com/office/drawing/2014/main" id="{784F7B60-914F-AAA8-95F8-E7037536BC62}"/>
                </a:ext>
              </a:extLst>
            </p:cNvPr>
            <p:cNvSpPr/>
            <p:nvPr/>
          </p:nvSpPr>
          <p:spPr>
            <a:xfrm>
              <a:off x="2212943" y="195933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1"/>
                  </a:moveTo>
                  <a:cubicBezTo>
                    <a:pt x="4" y="4"/>
                    <a:pt x="11" y="4"/>
                    <a:pt x="18" y="8"/>
                  </a:cubicBezTo>
                  <a:cubicBezTo>
                    <a:pt x="11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9" name="Google Shape;5056;p64">
              <a:extLst>
                <a:ext uri="{FF2B5EF4-FFF2-40B4-BE49-F238E27FC236}">
                  <a16:creationId xmlns:a16="http://schemas.microsoft.com/office/drawing/2014/main" id="{89FFC214-6F3B-BFF7-6B32-B4964CDA617A}"/>
                </a:ext>
              </a:extLst>
            </p:cNvPr>
            <p:cNvSpPr/>
            <p:nvPr/>
          </p:nvSpPr>
          <p:spPr>
            <a:xfrm>
              <a:off x="2212468" y="195923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cubicBezTo>
                    <a:pt x="8" y="1"/>
                    <a:pt x="15" y="4"/>
                    <a:pt x="22" y="4"/>
                  </a:cubicBezTo>
                  <a:cubicBezTo>
                    <a:pt x="15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0" name="Google Shape;5057;p64">
              <a:extLst>
                <a:ext uri="{FF2B5EF4-FFF2-40B4-BE49-F238E27FC236}">
                  <a16:creationId xmlns:a16="http://schemas.microsoft.com/office/drawing/2014/main" id="{1C64042C-343D-83C7-4110-C9AB8631F724}"/>
                </a:ext>
              </a:extLst>
            </p:cNvPr>
            <p:cNvSpPr/>
            <p:nvPr/>
          </p:nvSpPr>
          <p:spPr>
            <a:xfrm>
              <a:off x="2206195" y="1959235"/>
              <a:ext cx="5295" cy="2865"/>
            </a:xfrm>
            <a:custGeom>
              <a:avLst/>
              <a:gdLst/>
              <a:ahLst/>
              <a:cxnLst/>
              <a:rect l="l" t="t" r="r" b="b"/>
              <a:pathLst>
                <a:path w="390" h="211" extrusionOk="0">
                  <a:moveTo>
                    <a:pt x="1" y="211"/>
                  </a:moveTo>
                  <a:cubicBezTo>
                    <a:pt x="78" y="137"/>
                    <a:pt x="242" y="18"/>
                    <a:pt x="389" y="1"/>
                  </a:cubicBezTo>
                  <a:cubicBezTo>
                    <a:pt x="242" y="18"/>
                    <a:pt x="78" y="137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1" name="Google Shape;5058;p64">
              <a:extLst>
                <a:ext uri="{FF2B5EF4-FFF2-40B4-BE49-F238E27FC236}">
                  <a16:creationId xmlns:a16="http://schemas.microsoft.com/office/drawing/2014/main" id="{4B3A62CA-9BA6-B769-A3F7-26CF777F4FFB}"/>
                </a:ext>
              </a:extLst>
            </p:cNvPr>
            <p:cNvSpPr/>
            <p:nvPr/>
          </p:nvSpPr>
          <p:spPr>
            <a:xfrm>
              <a:off x="2211993" y="1959195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0"/>
                  </a:moveTo>
                  <a:cubicBezTo>
                    <a:pt x="8" y="0"/>
                    <a:pt x="15" y="0"/>
                    <a:pt x="25" y="0"/>
                  </a:cubicBezTo>
                  <a:cubicBezTo>
                    <a:pt x="15" y="0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2" name="Google Shape;5059;p64">
              <a:extLst>
                <a:ext uri="{FF2B5EF4-FFF2-40B4-BE49-F238E27FC236}">
                  <a16:creationId xmlns:a16="http://schemas.microsoft.com/office/drawing/2014/main" id="{4F1795E3-70C1-5602-599A-94CB706E4F74}"/>
                </a:ext>
              </a:extLst>
            </p:cNvPr>
            <p:cNvSpPr/>
            <p:nvPr/>
          </p:nvSpPr>
          <p:spPr>
            <a:xfrm>
              <a:off x="2211477" y="1959195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4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3" name="Google Shape;5060;p64">
              <a:extLst>
                <a:ext uri="{FF2B5EF4-FFF2-40B4-BE49-F238E27FC236}">
                  <a16:creationId xmlns:a16="http://schemas.microsoft.com/office/drawing/2014/main" id="{6DE4B852-B399-4D62-969A-63E0A1A61775}"/>
                </a:ext>
              </a:extLst>
            </p:cNvPr>
            <p:cNvSpPr/>
            <p:nvPr/>
          </p:nvSpPr>
          <p:spPr>
            <a:xfrm>
              <a:off x="2154153" y="19441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4" name="Google Shape;5061;p64">
              <a:extLst>
                <a:ext uri="{FF2B5EF4-FFF2-40B4-BE49-F238E27FC236}">
                  <a16:creationId xmlns:a16="http://schemas.microsoft.com/office/drawing/2014/main" id="{BF452518-163F-A5F1-634F-BC2F29388E26}"/>
                </a:ext>
              </a:extLst>
            </p:cNvPr>
            <p:cNvSpPr/>
            <p:nvPr/>
          </p:nvSpPr>
          <p:spPr>
            <a:xfrm>
              <a:off x="2149536" y="1939752"/>
              <a:ext cx="1303" cy="1480"/>
            </a:xfrm>
            <a:custGeom>
              <a:avLst/>
              <a:gdLst/>
              <a:ahLst/>
              <a:cxnLst/>
              <a:rect l="l" t="t" r="r" b="b"/>
              <a:pathLst>
                <a:path w="96" h="109" extrusionOk="0">
                  <a:moveTo>
                    <a:pt x="1" y="0"/>
                  </a:moveTo>
                  <a:lnTo>
                    <a:pt x="1" y="4"/>
                  </a:lnTo>
                  <a:cubicBezTo>
                    <a:pt x="18" y="21"/>
                    <a:pt x="36" y="39"/>
                    <a:pt x="50" y="60"/>
                  </a:cubicBezTo>
                  <a:cubicBezTo>
                    <a:pt x="64" y="77"/>
                    <a:pt x="78" y="95"/>
                    <a:pt x="95" y="109"/>
                  </a:cubicBezTo>
                  <a:cubicBezTo>
                    <a:pt x="78" y="95"/>
                    <a:pt x="64" y="74"/>
                    <a:pt x="50" y="56"/>
                  </a:cubicBezTo>
                  <a:cubicBezTo>
                    <a:pt x="36" y="35"/>
                    <a:pt x="18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5" name="Google Shape;5062;p64">
              <a:extLst>
                <a:ext uri="{FF2B5EF4-FFF2-40B4-BE49-F238E27FC236}">
                  <a16:creationId xmlns:a16="http://schemas.microsoft.com/office/drawing/2014/main" id="{285FF818-FABE-A432-F68C-C4D34801B481}"/>
                </a:ext>
              </a:extLst>
            </p:cNvPr>
            <p:cNvSpPr/>
            <p:nvPr/>
          </p:nvSpPr>
          <p:spPr>
            <a:xfrm>
              <a:off x="2150826" y="1941218"/>
              <a:ext cx="2675" cy="2824"/>
            </a:xfrm>
            <a:custGeom>
              <a:avLst/>
              <a:gdLst/>
              <a:ahLst/>
              <a:cxnLst/>
              <a:rect l="l" t="t" r="r" b="b"/>
              <a:pathLst>
                <a:path w="197" h="208" extrusionOk="0">
                  <a:moveTo>
                    <a:pt x="0" y="1"/>
                  </a:moveTo>
                  <a:cubicBezTo>
                    <a:pt x="28" y="36"/>
                    <a:pt x="53" y="71"/>
                    <a:pt x="74" y="109"/>
                  </a:cubicBezTo>
                  <a:cubicBezTo>
                    <a:pt x="53" y="71"/>
                    <a:pt x="28" y="32"/>
                    <a:pt x="0" y="1"/>
                  </a:cubicBezTo>
                  <a:close/>
                  <a:moveTo>
                    <a:pt x="74" y="109"/>
                  </a:moveTo>
                  <a:cubicBezTo>
                    <a:pt x="76" y="114"/>
                    <a:pt x="78" y="118"/>
                    <a:pt x="80" y="121"/>
                  </a:cubicBezTo>
                  <a:lnTo>
                    <a:pt x="80" y="121"/>
                  </a:lnTo>
                  <a:cubicBezTo>
                    <a:pt x="78" y="118"/>
                    <a:pt x="76" y="114"/>
                    <a:pt x="74" y="109"/>
                  </a:cubicBezTo>
                  <a:close/>
                  <a:moveTo>
                    <a:pt x="80" y="121"/>
                  </a:moveTo>
                  <a:lnTo>
                    <a:pt x="80" y="121"/>
                  </a:lnTo>
                  <a:cubicBezTo>
                    <a:pt x="105" y="167"/>
                    <a:pt x="122" y="194"/>
                    <a:pt x="158" y="204"/>
                  </a:cubicBezTo>
                  <a:lnTo>
                    <a:pt x="186" y="207"/>
                  </a:lnTo>
                  <a:lnTo>
                    <a:pt x="196" y="207"/>
                  </a:lnTo>
                  <a:lnTo>
                    <a:pt x="175" y="204"/>
                  </a:lnTo>
                  <a:cubicBezTo>
                    <a:pt x="130" y="201"/>
                    <a:pt x="108" y="173"/>
                    <a:pt x="80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6" name="Google Shape;5063;p64">
              <a:extLst>
                <a:ext uri="{FF2B5EF4-FFF2-40B4-BE49-F238E27FC236}">
                  <a16:creationId xmlns:a16="http://schemas.microsoft.com/office/drawing/2014/main" id="{48198C79-734D-1D86-0139-EBC3B42A73F3}"/>
                </a:ext>
              </a:extLst>
            </p:cNvPr>
            <p:cNvSpPr/>
            <p:nvPr/>
          </p:nvSpPr>
          <p:spPr>
            <a:xfrm>
              <a:off x="2158905" y="1969785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0" y="1"/>
                  </a:moveTo>
                  <a:cubicBezTo>
                    <a:pt x="21" y="4"/>
                    <a:pt x="49" y="4"/>
                    <a:pt x="81" y="4"/>
                  </a:cubicBezTo>
                  <a:cubicBezTo>
                    <a:pt x="49" y="4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7" name="Google Shape;5064;p64">
              <a:extLst>
                <a:ext uri="{FF2B5EF4-FFF2-40B4-BE49-F238E27FC236}">
                  <a16:creationId xmlns:a16="http://schemas.microsoft.com/office/drawing/2014/main" id="{0EC36207-CED3-3FCE-4BF4-DA092566C735}"/>
                </a:ext>
              </a:extLst>
            </p:cNvPr>
            <p:cNvSpPr/>
            <p:nvPr/>
          </p:nvSpPr>
          <p:spPr>
            <a:xfrm>
              <a:off x="2161376" y="1981150"/>
              <a:ext cx="2105" cy="5146"/>
            </a:xfrm>
            <a:custGeom>
              <a:avLst/>
              <a:gdLst/>
              <a:ahLst/>
              <a:cxnLst/>
              <a:rect l="l" t="t" r="r" b="b"/>
              <a:pathLst>
                <a:path w="155" h="379" extrusionOk="0">
                  <a:moveTo>
                    <a:pt x="0" y="1"/>
                  </a:moveTo>
                  <a:cubicBezTo>
                    <a:pt x="15" y="54"/>
                    <a:pt x="32" y="108"/>
                    <a:pt x="53" y="161"/>
                  </a:cubicBezTo>
                  <a:lnTo>
                    <a:pt x="53" y="161"/>
                  </a:lnTo>
                  <a:cubicBezTo>
                    <a:pt x="33" y="108"/>
                    <a:pt x="16" y="54"/>
                    <a:pt x="0" y="1"/>
                  </a:cubicBezTo>
                  <a:close/>
                  <a:moveTo>
                    <a:pt x="53" y="161"/>
                  </a:moveTo>
                  <a:lnTo>
                    <a:pt x="53" y="161"/>
                  </a:lnTo>
                  <a:cubicBezTo>
                    <a:pt x="78" y="229"/>
                    <a:pt x="107" y="296"/>
                    <a:pt x="140" y="361"/>
                  </a:cubicBezTo>
                  <a:lnTo>
                    <a:pt x="154" y="379"/>
                  </a:lnTo>
                  <a:cubicBezTo>
                    <a:pt x="115" y="309"/>
                    <a:pt x="81" y="236"/>
                    <a:pt x="53" y="1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8" name="Google Shape;5065;p64">
              <a:extLst>
                <a:ext uri="{FF2B5EF4-FFF2-40B4-BE49-F238E27FC236}">
                  <a16:creationId xmlns:a16="http://schemas.microsoft.com/office/drawing/2014/main" id="{7996C8E6-09B2-8AE2-E9C2-F9B57E1E089C}"/>
                </a:ext>
              </a:extLst>
            </p:cNvPr>
            <p:cNvSpPr/>
            <p:nvPr/>
          </p:nvSpPr>
          <p:spPr>
            <a:xfrm>
              <a:off x="2163277" y="1985997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1"/>
                  </a:moveTo>
                  <a:cubicBezTo>
                    <a:pt x="5" y="10"/>
                    <a:pt x="12" y="18"/>
                    <a:pt x="17" y="27"/>
                  </a:cubicBezTo>
                  <a:lnTo>
                    <a:pt x="17" y="27"/>
                  </a:lnTo>
                  <a:lnTo>
                    <a:pt x="14" y="22"/>
                  </a:lnTo>
                  <a:lnTo>
                    <a:pt x="0" y="1"/>
                  </a:lnTo>
                  <a:close/>
                  <a:moveTo>
                    <a:pt x="17" y="27"/>
                  </a:moveTo>
                  <a:lnTo>
                    <a:pt x="25" y="39"/>
                  </a:lnTo>
                  <a:cubicBezTo>
                    <a:pt x="23" y="35"/>
                    <a:pt x="20" y="31"/>
                    <a:pt x="17" y="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9" name="Google Shape;5066;p64">
              <a:extLst>
                <a:ext uri="{FF2B5EF4-FFF2-40B4-BE49-F238E27FC236}">
                  <a16:creationId xmlns:a16="http://schemas.microsoft.com/office/drawing/2014/main" id="{3C07327D-2C53-9715-683D-4DCDA1A5A7D4}"/>
                </a:ext>
              </a:extLst>
            </p:cNvPr>
            <p:cNvSpPr/>
            <p:nvPr/>
          </p:nvSpPr>
          <p:spPr>
            <a:xfrm>
              <a:off x="2152917" y="1943974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1"/>
                  </a:moveTo>
                  <a:lnTo>
                    <a:pt x="0" y="1"/>
                  </a:lnTo>
                  <a:cubicBezTo>
                    <a:pt x="8" y="3"/>
                    <a:pt x="16" y="5"/>
                    <a:pt x="24" y="6"/>
                  </a:cubicBezTo>
                  <a:lnTo>
                    <a:pt x="24" y="6"/>
                  </a:lnTo>
                  <a:lnTo>
                    <a:pt x="0" y="1"/>
                  </a:lnTo>
                  <a:close/>
                  <a:moveTo>
                    <a:pt x="24" y="6"/>
                  </a:moveTo>
                  <a:lnTo>
                    <a:pt x="32" y="8"/>
                  </a:lnTo>
                  <a:lnTo>
                    <a:pt x="42" y="8"/>
                  </a:lnTo>
                  <a:cubicBezTo>
                    <a:pt x="36" y="8"/>
                    <a:pt x="30" y="7"/>
                    <a:pt x="24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0" name="Google Shape;5067;p64">
              <a:extLst>
                <a:ext uri="{FF2B5EF4-FFF2-40B4-BE49-F238E27FC236}">
                  <a16:creationId xmlns:a16="http://schemas.microsoft.com/office/drawing/2014/main" id="{142A53B8-0D3D-C5AD-91C8-8A6A5C83DF13}"/>
                </a:ext>
              </a:extLst>
            </p:cNvPr>
            <p:cNvSpPr/>
            <p:nvPr/>
          </p:nvSpPr>
          <p:spPr>
            <a:xfrm>
              <a:off x="2160711" y="1877105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1" name="Google Shape;5068;p64">
              <a:extLst>
                <a:ext uri="{FF2B5EF4-FFF2-40B4-BE49-F238E27FC236}">
                  <a16:creationId xmlns:a16="http://schemas.microsoft.com/office/drawing/2014/main" id="{8464DE49-F529-9D27-38DE-8B32DA5BE633}"/>
                </a:ext>
              </a:extLst>
            </p:cNvPr>
            <p:cNvSpPr/>
            <p:nvPr/>
          </p:nvSpPr>
          <p:spPr>
            <a:xfrm>
              <a:off x="2160656" y="1875680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lnTo>
                    <a:pt x="1" y="28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2" name="Google Shape;5069;p64">
              <a:extLst>
                <a:ext uri="{FF2B5EF4-FFF2-40B4-BE49-F238E27FC236}">
                  <a16:creationId xmlns:a16="http://schemas.microsoft.com/office/drawing/2014/main" id="{821545E6-8835-55C7-14BC-C2F90C2BC251}"/>
                </a:ext>
              </a:extLst>
            </p:cNvPr>
            <p:cNvSpPr/>
            <p:nvPr/>
          </p:nvSpPr>
          <p:spPr>
            <a:xfrm>
              <a:off x="2160751" y="18774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3" name="Google Shape;5070;p64">
              <a:extLst>
                <a:ext uri="{FF2B5EF4-FFF2-40B4-BE49-F238E27FC236}">
                  <a16:creationId xmlns:a16="http://schemas.microsoft.com/office/drawing/2014/main" id="{18C357EE-77BC-D1C3-3894-C5032A76FD7D}"/>
                </a:ext>
              </a:extLst>
            </p:cNvPr>
            <p:cNvSpPr/>
            <p:nvPr/>
          </p:nvSpPr>
          <p:spPr>
            <a:xfrm>
              <a:off x="2160656" y="1875055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1"/>
                  </a:moveTo>
                  <a:lnTo>
                    <a:pt x="1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4" name="Google Shape;5071;p64">
              <a:extLst>
                <a:ext uri="{FF2B5EF4-FFF2-40B4-BE49-F238E27FC236}">
                  <a16:creationId xmlns:a16="http://schemas.microsoft.com/office/drawing/2014/main" id="{C4CB174A-5EF1-B2C8-AA7A-24813B98C02F}"/>
                </a:ext>
              </a:extLst>
            </p:cNvPr>
            <p:cNvSpPr/>
            <p:nvPr/>
          </p:nvSpPr>
          <p:spPr>
            <a:xfrm>
              <a:off x="2160711" y="187667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5" name="Google Shape;5072;p64">
              <a:extLst>
                <a:ext uri="{FF2B5EF4-FFF2-40B4-BE49-F238E27FC236}">
                  <a16:creationId xmlns:a16="http://schemas.microsoft.com/office/drawing/2014/main" id="{B56EA6C1-5472-BAF6-4A41-EF337CA14B89}"/>
                </a:ext>
              </a:extLst>
            </p:cNvPr>
            <p:cNvSpPr/>
            <p:nvPr/>
          </p:nvSpPr>
          <p:spPr>
            <a:xfrm>
              <a:off x="2149536" y="1937946"/>
              <a:ext cx="14" cy="815"/>
            </a:xfrm>
            <a:custGeom>
              <a:avLst/>
              <a:gdLst/>
              <a:ahLst/>
              <a:cxnLst/>
              <a:rect l="l" t="t" r="r" b="b"/>
              <a:pathLst>
                <a:path w="1" h="60" extrusionOk="0">
                  <a:moveTo>
                    <a:pt x="1" y="0"/>
                  </a:moveTo>
                  <a:lnTo>
                    <a:pt x="1" y="60"/>
                  </a:lnTo>
                  <a:cubicBezTo>
                    <a:pt x="1" y="39"/>
                    <a:pt x="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6" name="Google Shape;5073;p64">
              <a:extLst>
                <a:ext uri="{FF2B5EF4-FFF2-40B4-BE49-F238E27FC236}">
                  <a16:creationId xmlns:a16="http://schemas.microsoft.com/office/drawing/2014/main" id="{C2528E38-0DE2-01A9-47E7-124613F979C1}"/>
                </a:ext>
              </a:extLst>
            </p:cNvPr>
            <p:cNvSpPr/>
            <p:nvPr/>
          </p:nvSpPr>
          <p:spPr>
            <a:xfrm>
              <a:off x="2149536" y="1938896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1" y="6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7" name="Google Shape;5074;p64">
              <a:extLst>
                <a:ext uri="{FF2B5EF4-FFF2-40B4-BE49-F238E27FC236}">
                  <a16:creationId xmlns:a16="http://schemas.microsoft.com/office/drawing/2014/main" id="{04FA1B0D-96F3-0ABA-0F2E-25AE31F1F8FA}"/>
                </a:ext>
              </a:extLst>
            </p:cNvPr>
            <p:cNvSpPr/>
            <p:nvPr/>
          </p:nvSpPr>
          <p:spPr>
            <a:xfrm>
              <a:off x="2160616" y="1874444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0"/>
                  </a:moveTo>
                  <a:lnTo>
                    <a:pt x="0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8" name="Google Shape;5075;p64">
              <a:extLst>
                <a:ext uri="{FF2B5EF4-FFF2-40B4-BE49-F238E27FC236}">
                  <a16:creationId xmlns:a16="http://schemas.microsoft.com/office/drawing/2014/main" id="{828CC648-CF04-C467-6F8A-D1C27957F886}"/>
                </a:ext>
              </a:extLst>
            </p:cNvPr>
            <p:cNvSpPr/>
            <p:nvPr/>
          </p:nvSpPr>
          <p:spPr>
            <a:xfrm>
              <a:off x="2160711" y="187619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9" name="Google Shape;5076;p64">
              <a:extLst>
                <a:ext uri="{FF2B5EF4-FFF2-40B4-BE49-F238E27FC236}">
                  <a16:creationId xmlns:a16="http://schemas.microsoft.com/office/drawing/2014/main" id="{799BFADB-7971-CE9C-EE06-DBEE404B40D3}"/>
                </a:ext>
              </a:extLst>
            </p:cNvPr>
            <p:cNvSpPr/>
            <p:nvPr/>
          </p:nvSpPr>
          <p:spPr>
            <a:xfrm>
              <a:off x="2160331" y="1868741"/>
              <a:ext cx="299" cy="5716"/>
            </a:xfrm>
            <a:custGeom>
              <a:avLst/>
              <a:gdLst/>
              <a:ahLst/>
              <a:cxnLst/>
              <a:rect l="l" t="t" r="r" b="b"/>
              <a:pathLst>
                <a:path w="22" h="421" extrusionOk="0">
                  <a:moveTo>
                    <a:pt x="0" y="1"/>
                  </a:moveTo>
                  <a:cubicBezTo>
                    <a:pt x="7" y="154"/>
                    <a:pt x="14" y="301"/>
                    <a:pt x="21" y="420"/>
                  </a:cubicBezTo>
                  <a:cubicBezTo>
                    <a:pt x="18" y="301"/>
                    <a:pt x="7" y="15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0" name="Google Shape;5077;p64">
              <a:extLst>
                <a:ext uri="{FF2B5EF4-FFF2-40B4-BE49-F238E27FC236}">
                  <a16:creationId xmlns:a16="http://schemas.microsoft.com/office/drawing/2014/main" id="{4F741A66-3D55-14EF-0064-6E55CB68BDDB}"/>
                </a:ext>
              </a:extLst>
            </p:cNvPr>
            <p:cNvSpPr/>
            <p:nvPr/>
          </p:nvSpPr>
          <p:spPr>
            <a:xfrm>
              <a:off x="2149631" y="1932379"/>
              <a:ext cx="1344" cy="3910"/>
            </a:xfrm>
            <a:custGeom>
              <a:avLst/>
              <a:gdLst/>
              <a:ahLst/>
              <a:cxnLst/>
              <a:rect l="l" t="t" r="r" b="b"/>
              <a:pathLst>
                <a:path w="99" h="288" extrusionOk="0">
                  <a:moveTo>
                    <a:pt x="1" y="288"/>
                  </a:moveTo>
                  <a:cubicBezTo>
                    <a:pt x="4" y="253"/>
                    <a:pt x="15" y="221"/>
                    <a:pt x="32" y="190"/>
                  </a:cubicBezTo>
                  <a:cubicBezTo>
                    <a:pt x="64" y="130"/>
                    <a:pt x="85" y="67"/>
                    <a:pt x="99" y="1"/>
                  </a:cubicBezTo>
                  <a:cubicBezTo>
                    <a:pt x="85" y="67"/>
                    <a:pt x="64" y="130"/>
                    <a:pt x="32" y="190"/>
                  </a:cubicBezTo>
                  <a:cubicBezTo>
                    <a:pt x="15" y="221"/>
                    <a:pt x="4" y="253"/>
                    <a:pt x="1" y="2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1" name="Google Shape;5078;p64">
              <a:extLst>
                <a:ext uri="{FF2B5EF4-FFF2-40B4-BE49-F238E27FC236}">
                  <a16:creationId xmlns:a16="http://schemas.microsoft.com/office/drawing/2014/main" id="{54719BED-3FCD-5B3F-7A4D-D8F219F1806A}"/>
                </a:ext>
              </a:extLst>
            </p:cNvPr>
            <p:cNvSpPr/>
            <p:nvPr/>
          </p:nvSpPr>
          <p:spPr>
            <a:xfrm>
              <a:off x="2149536" y="19397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2" name="Google Shape;5079;p64">
              <a:extLst>
                <a:ext uri="{FF2B5EF4-FFF2-40B4-BE49-F238E27FC236}">
                  <a16:creationId xmlns:a16="http://schemas.microsoft.com/office/drawing/2014/main" id="{D6630960-C206-2AB1-549E-0003EBCF7CF5}"/>
                </a:ext>
              </a:extLst>
            </p:cNvPr>
            <p:cNvSpPr/>
            <p:nvPr/>
          </p:nvSpPr>
          <p:spPr>
            <a:xfrm>
              <a:off x="2229209" y="1797813"/>
              <a:ext cx="78193" cy="78641"/>
            </a:xfrm>
            <a:custGeom>
              <a:avLst/>
              <a:gdLst/>
              <a:ahLst/>
              <a:cxnLst/>
              <a:rect l="l" t="t" r="r" b="b"/>
              <a:pathLst>
                <a:path w="5759" h="5792" extrusionOk="0">
                  <a:moveTo>
                    <a:pt x="179" y="1"/>
                  </a:moveTo>
                  <a:lnTo>
                    <a:pt x="172" y="18"/>
                  </a:lnTo>
                  <a:lnTo>
                    <a:pt x="161" y="50"/>
                  </a:lnTo>
                  <a:cubicBezTo>
                    <a:pt x="112" y="169"/>
                    <a:pt x="109" y="295"/>
                    <a:pt x="140" y="417"/>
                  </a:cubicBezTo>
                  <a:cubicBezTo>
                    <a:pt x="165" y="515"/>
                    <a:pt x="186" y="620"/>
                    <a:pt x="81" y="747"/>
                  </a:cubicBezTo>
                  <a:cubicBezTo>
                    <a:pt x="0" y="845"/>
                    <a:pt x="14" y="946"/>
                    <a:pt x="53" y="1139"/>
                  </a:cubicBezTo>
                  <a:cubicBezTo>
                    <a:pt x="77" y="1261"/>
                    <a:pt x="91" y="1387"/>
                    <a:pt x="95" y="1513"/>
                  </a:cubicBezTo>
                  <a:lnTo>
                    <a:pt x="95" y="5662"/>
                  </a:lnTo>
                  <a:lnTo>
                    <a:pt x="3347" y="5662"/>
                  </a:lnTo>
                  <a:lnTo>
                    <a:pt x="3522" y="5543"/>
                  </a:lnTo>
                  <a:cubicBezTo>
                    <a:pt x="3551" y="5524"/>
                    <a:pt x="3581" y="5516"/>
                    <a:pt x="3612" y="5516"/>
                  </a:cubicBezTo>
                  <a:cubicBezTo>
                    <a:pt x="3707" y="5516"/>
                    <a:pt x="3801" y="5590"/>
                    <a:pt x="3844" y="5630"/>
                  </a:cubicBezTo>
                  <a:lnTo>
                    <a:pt x="4562" y="5630"/>
                  </a:lnTo>
                  <a:lnTo>
                    <a:pt x="4579" y="5655"/>
                  </a:lnTo>
                  <a:cubicBezTo>
                    <a:pt x="4579" y="5655"/>
                    <a:pt x="4695" y="5791"/>
                    <a:pt x="4821" y="5791"/>
                  </a:cubicBezTo>
                  <a:cubicBezTo>
                    <a:pt x="4842" y="5791"/>
                    <a:pt x="4849" y="5788"/>
                    <a:pt x="4877" y="5725"/>
                  </a:cubicBezTo>
                  <a:cubicBezTo>
                    <a:pt x="4901" y="5662"/>
                    <a:pt x="4943" y="5564"/>
                    <a:pt x="5080" y="5539"/>
                  </a:cubicBezTo>
                  <a:cubicBezTo>
                    <a:pt x="5101" y="5536"/>
                    <a:pt x="5122" y="5532"/>
                    <a:pt x="5143" y="5532"/>
                  </a:cubicBezTo>
                  <a:cubicBezTo>
                    <a:pt x="5230" y="5532"/>
                    <a:pt x="5265" y="5473"/>
                    <a:pt x="5307" y="5347"/>
                  </a:cubicBezTo>
                  <a:cubicBezTo>
                    <a:pt x="5342" y="5259"/>
                    <a:pt x="5381" y="5144"/>
                    <a:pt x="5500" y="5144"/>
                  </a:cubicBezTo>
                  <a:lnTo>
                    <a:pt x="5556" y="5144"/>
                  </a:lnTo>
                  <a:cubicBezTo>
                    <a:pt x="5563" y="5144"/>
                    <a:pt x="5569" y="5144"/>
                    <a:pt x="5575" y="5144"/>
                  </a:cubicBezTo>
                  <a:cubicBezTo>
                    <a:pt x="5617" y="5144"/>
                    <a:pt x="5627" y="5127"/>
                    <a:pt x="5713" y="5011"/>
                  </a:cubicBezTo>
                  <a:lnTo>
                    <a:pt x="5738" y="4976"/>
                  </a:lnTo>
                  <a:cubicBezTo>
                    <a:pt x="5731" y="4902"/>
                    <a:pt x="5731" y="4832"/>
                    <a:pt x="5741" y="4762"/>
                  </a:cubicBezTo>
                  <a:cubicBezTo>
                    <a:pt x="5759" y="4646"/>
                    <a:pt x="5731" y="4608"/>
                    <a:pt x="5668" y="4524"/>
                  </a:cubicBezTo>
                  <a:cubicBezTo>
                    <a:pt x="5591" y="4422"/>
                    <a:pt x="5531" y="4310"/>
                    <a:pt x="5493" y="4184"/>
                  </a:cubicBezTo>
                  <a:cubicBezTo>
                    <a:pt x="5440" y="4009"/>
                    <a:pt x="5300" y="3785"/>
                    <a:pt x="5174" y="3589"/>
                  </a:cubicBezTo>
                  <a:cubicBezTo>
                    <a:pt x="5038" y="3369"/>
                    <a:pt x="4919" y="3176"/>
                    <a:pt x="4908" y="3054"/>
                  </a:cubicBezTo>
                  <a:cubicBezTo>
                    <a:pt x="4905" y="2977"/>
                    <a:pt x="4852" y="2907"/>
                    <a:pt x="4796" y="2833"/>
                  </a:cubicBezTo>
                  <a:cubicBezTo>
                    <a:pt x="4726" y="2739"/>
                    <a:pt x="4646" y="2633"/>
                    <a:pt x="4649" y="2490"/>
                  </a:cubicBezTo>
                  <a:cubicBezTo>
                    <a:pt x="4656" y="2367"/>
                    <a:pt x="4614" y="2322"/>
                    <a:pt x="4513" y="2203"/>
                  </a:cubicBezTo>
                  <a:cubicBezTo>
                    <a:pt x="4432" y="2112"/>
                    <a:pt x="4359" y="2021"/>
                    <a:pt x="4292" y="1923"/>
                  </a:cubicBezTo>
                  <a:cubicBezTo>
                    <a:pt x="4061" y="1597"/>
                    <a:pt x="3966" y="1034"/>
                    <a:pt x="4015" y="887"/>
                  </a:cubicBezTo>
                  <a:cubicBezTo>
                    <a:pt x="4022" y="855"/>
                    <a:pt x="4043" y="831"/>
                    <a:pt x="4075" y="820"/>
                  </a:cubicBezTo>
                  <a:cubicBezTo>
                    <a:pt x="4084" y="817"/>
                    <a:pt x="4093" y="816"/>
                    <a:pt x="4102" y="816"/>
                  </a:cubicBezTo>
                  <a:cubicBezTo>
                    <a:pt x="4191" y="816"/>
                    <a:pt x="4266" y="964"/>
                    <a:pt x="4453" y="1412"/>
                  </a:cubicBezTo>
                  <a:cubicBezTo>
                    <a:pt x="4481" y="1471"/>
                    <a:pt x="4502" y="1524"/>
                    <a:pt x="4520" y="1559"/>
                  </a:cubicBezTo>
                  <a:cubicBezTo>
                    <a:pt x="4670" y="1895"/>
                    <a:pt x="4898" y="2241"/>
                    <a:pt x="5010" y="2241"/>
                  </a:cubicBezTo>
                  <a:cubicBezTo>
                    <a:pt x="5052" y="2241"/>
                    <a:pt x="5118" y="2077"/>
                    <a:pt x="5192" y="1751"/>
                  </a:cubicBezTo>
                  <a:cubicBezTo>
                    <a:pt x="5237" y="1559"/>
                    <a:pt x="5255" y="1496"/>
                    <a:pt x="5300" y="1471"/>
                  </a:cubicBezTo>
                  <a:lnTo>
                    <a:pt x="5314" y="1387"/>
                  </a:lnTo>
                  <a:lnTo>
                    <a:pt x="5314" y="1384"/>
                  </a:lnTo>
                  <a:lnTo>
                    <a:pt x="5349" y="1279"/>
                  </a:lnTo>
                  <a:lnTo>
                    <a:pt x="5367" y="1230"/>
                  </a:lnTo>
                  <a:lnTo>
                    <a:pt x="5384" y="1188"/>
                  </a:lnTo>
                  <a:lnTo>
                    <a:pt x="5045" y="354"/>
                  </a:lnTo>
                  <a:cubicBezTo>
                    <a:pt x="5018" y="381"/>
                    <a:pt x="4986" y="390"/>
                    <a:pt x="4948" y="390"/>
                  </a:cubicBezTo>
                  <a:cubicBezTo>
                    <a:pt x="4905" y="390"/>
                    <a:pt x="4854" y="378"/>
                    <a:pt x="4796" y="365"/>
                  </a:cubicBezTo>
                  <a:cubicBezTo>
                    <a:pt x="4722" y="346"/>
                    <a:pt x="4636" y="327"/>
                    <a:pt x="4550" y="327"/>
                  </a:cubicBezTo>
                  <a:cubicBezTo>
                    <a:pt x="4510" y="327"/>
                    <a:pt x="4471" y="331"/>
                    <a:pt x="4432" y="340"/>
                  </a:cubicBezTo>
                  <a:cubicBezTo>
                    <a:pt x="4370" y="357"/>
                    <a:pt x="4310" y="364"/>
                    <a:pt x="4253" y="364"/>
                  </a:cubicBezTo>
                  <a:cubicBezTo>
                    <a:pt x="4049" y="364"/>
                    <a:pt x="3873" y="275"/>
                    <a:pt x="3700" y="190"/>
                  </a:cubicBezTo>
                  <a:cubicBezTo>
                    <a:pt x="3648" y="164"/>
                    <a:pt x="3567" y="152"/>
                    <a:pt x="3471" y="152"/>
                  </a:cubicBezTo>
                  <a:cubicBezTo>
                    <a:pt x="3160" y="152"/>
                    <a:pt x="2702" y="269"/>
                    <a:pt x="2643" y="354"/>
                  </a:cubicBezTo>
                  <a:cubicBezTo>
                    <a:pt x="2571" y="462"/>
                    <a:pt x="2440" y="505"/>
                    <a:pt x="2296" y="505"/>
                  </a:cubicBezTo>
                  <a:cubicBezTo>
                    <a:pt x="2182" y="505"/>
                    <a:pt x="2060" y="478"/>
                    <a:pt x="1950" y="435"/>
                  </a:cubicBezTo>
                  <a:lnTo>
                    <a:pt x="1873" y="403"/>
                  </a:lnTo>
                  <a:cubicBezTo>
                    <a:pt x="1642" y="309"/>
                    <a:pt x="1355" y="190"/>
                    <a:pt x="966" y="155"/>
                  </a:cubicBezTo>
                  <a:cubicBezTo>
                    <a:pt x="494" y="113"/>
                    <a:pt x="280" y="53"/>
                    <a:pt x="1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3" name="Google Shape;5080;p64">
              <a:extLst>
                <a:ext uri="{FF2B5EF4-FFF2-40B4-BE49-F238E27FC236}">
                  <a16:creationId xmlns:a16="http://schemas.microsoft.com/office/drawing/2014/main" id="{0F4B5A05-4B0D-B7AB-233C-361F572FE888}"/>
                </a:ext>
              </a:extLst>
            </p:cNvPr>
            <p:cNvSpPr/>
            <p:nvPr/>
          </p:nvSpPr>
          <p:spPr>
            <a:xfrm>
              <a:off x="2231531" y="1797813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4" name="Google Shape;5081;p64">
              <a:extLst>
                <a:ext uri="{FF2B5EF4-FFF2-40B4-BE49-F238E27FC236}">
                  <a16:creationId xmlns:a16="http://schemas.microsoft.com/office/drawing/2014/main" id="{F14FEA77-0FA9-9034-631B-CA0B556E8E10}"/>
                </a:ext>
              </a:extLst>
            </p:cNvPr>
            <p:cNvSpPr/>
            <p:nvPr/>
          </p:nvSpPr>
          <p:spPr>
            <a:xfrm>
              <a:off x="2115742" y="2027164"/>
              <a:ext cx="39035" cy="44263"/>
            </a:xfrm>
            <a:custGeom>
              <a:avLst/>
              <a:gdLst/>
              <a:ahLst/>
              <a:cxnLst/>
              <a:rect l="l" t="t" r="r" b="b"/>
              <a:pathLst>
                <a:path w="2875" h="3260" extrusionOk="0">
                  <a:moveTo>
                    <a:pt x="1446" y="0"/>
                  </a:moveTo>
                  <a:lnTo>
                    <a:pt x="1404" y="11"/>
                  </a:lnTo>
                  <a:lnTo>
                    <a:pt x="1404" y="25"/>
                  </a:lnTo>
                  <a:lnTo>
                    <a:pt x="1404" y="56"/>
                  </a:lnTo>
                  <a:lnTo>
                    <a:pt x="1404" y="95"/>
                  </a:lnTo>
                  <a:lnTo>
                    <a:pt x="1404" y="123"/>
                  </a:lnTo>
                  <a:lnTo>
                    <a:pt x="1404" y="161"/>
                  </a:lnTo>
                  <a:lnTo>
                    <a:pt x="1404" y="189"/>
                  </a:lnTo>
                  <a:lnTo>
                    <a:pt x="1404" y="228"/>
                  </a:lnTo>
                  <a:lnTo>
                    <a:pt x="1404" y="252"/>
                  </a:lnTo>
                  <a:lnTo>
                    <a:pt x="1404" y="287"/>
                  </a:lnTo>
                  <a:lnTo>
                    <a:pt x="1404" y="312"/>
                  </a:lnTo>
                  <a:lnTo>
                    <a:pt x="1404" y="347"/>
                  </a:lnTo>
                  <a:lnTo>
                    <a:pt x="1404" y="368"/>
                  </a:lnTo>
                  <a:lnTo>
                    <a:pt x="1404" y="403"/>
                  </a:lnTo>
                  <a:lnTo>
                    <a:pt x="1404" y="424"/>
                  </a:lnTo>
                  <a:lnTo>
                    <a:pt x="1404" y="452"/>
                  </a:lnTo>
                  <a:lnTo>
                    <a:pt x="1404" y="470"/>
                  </a:lnTo>
                  <a:lnTo>
                    <a:pt x="1404" y="498"/>
                  </a:lnTo>
                  <a:lnTo>
                    <a:pt x="1404" y="515"/>
                  </a:lnTo>
                  <a:lnTo>
                    <a:pt x="1404" y="540"/>
                  </a:lnTo>
                  <a:lnTo>
                    <a:pt x="1404" y="554"/>
                  </a:lnTo>
                  <a:lnTo>
                    <a:pt x="1404" y="578"/>
                  </a:lnTo>
                  <a:lnTo>
                    <a:pt x="1404" y="589"/>
                  </a:lnTo>
                  <a:lnTo>
                    <a:pt x="1404" y="610"/>
                  </a:lnTo>
                  <a:lnTo>
                    <a:pt x="1404" y="620"/>
                  </a:lnTo>
                  <a:lnTo>
                    <a:pt x="1404" y="638"/>
                  </a:lnTo>
                  <a:lnTo>
                    <a:pt x="1404" y="645"/>
                  </a:lnTo>
                  <a:lnTo>
                    <a:pt x="1404" y="655"/>
                  </a:lnTo>
                  <a:lnTo>
                    <a:pt x="1404" y="662"/>
                  </a:lnTo>
                  <a:lnTo>
                    <a:pt x="1404" y="669"/>
                  </a:lnTo>
                  <a:lnTo>
                    <a:pt x="1404" y="673"/>
                  </a:lnTo>
                  <a:lnTo>
                    <a:pt x="1404" y="680"/>
                  </a:lnTo>
                  <a:lnTo>
                    <a:pt x="1397" y="732"/>
                  </a:lnTo>
                  <a:lnTo>
                    <a:pt x="1345" y="736"/>
                  </a:lnTo>
                  <a:cubicBezTo>
                    <a:pt x="1320" y="736"/>
                    <a:pt x="732" y="771"/>
                    <a:pt x="596" y="771"/>
                  </a:cubicBezTo>
                  <a:lnTo>
                    <a:pt x="561" y="771"/>
                  </a:lnTo>
                  <a:cubicBezTo>
                    <a:pt x="543" y="771"/>
                    <a:pt x="512" y="774"/>
                    <a:pt x="470" y="781"/>
                  </a:cubicBezTo>
                  <a:lnTo>
                    <a:pt x="445" y="785"/>
                  </a:lnTo>
                  <a:lnTo>
                    <a:pt x="424" y="788"/>
                  </a:lnTo>
                  <a:lnTo>
                    <a:pt x="421" y="788"/>
                  </a:lnTo>
                  <a:lnTo>
                    <a:pt x="400" y="792"/>
                  </a:lnTo>
                  <a:lnTo>
                    <a:pt x="389" y="792"/>
                  </a:lnTo>
                  <a:cubicBezTo>
                    <a:pt x="365" y="823"/>
                    <a:pt x="340" y="851"/>
                    <a:pt x="316" y="879"/>
                  </a:cubicBezTo>
                  <a:cubicBezTo>
                    <a:pt x="337" y="900"/>
                    <a:pt x="361" y="921"/>
                    <a:pt x="386" y="939"/>
                  </a:cubicBezTo>
                  <a:cubicBezTo>
                    <a:pt x="445" y="988"/>
                    <a:pt x="505" y="1033"/>
                    <a:pt x="529" y="1096"/>
                  </a:cubicBezTo>
                  <a:cubicBezTo>
                    <a:pt x="540" y="1124"/>
                    <a:pt x="540" y="1152"/>
                    <a:pt x="526" y="1180"/>
                  </a:cubicBezTo>
                  <a:cubicBezTo>
                    <a:pt x="498" y="1233"/>
                    <a:pt x="435" y="1254"/>
                    <a:pt x="365" y="1271"/>
                  </a:cubicBezTo>
                  <a:cubicBezTo>
                    <a:pt x="309" y="1289"/>
                    <a:pt x="232" y="1313"/>
                    <a:pt x="235" y="1345"/>
                  </a:cubicBezTo>
                  <a:cubicBezTo>
                    <a:pt x="242" y="1481"/>
                    <a:pt x="162" y="1614"/>
                    <a:pt x="0" y="1737"/>
                  </a:cubicBezTo>
                  <a:cubicBezTo>
                    <a:pt x="11" y="1782"/>
                    <a:pt x="92" y="1880"/>
                    <a:pt x="137" y="1936"/>
                  </a:cubicBezTo>
                  <a:cubicBezTo>
                    <a:pt x="225" y="2041"/>
                    <a:pt x="277" y="2111"/>
                    <a:pt x="281" y="2174"/>
                  </a:cubicBezTo>
                  <a:cubicBezTo>
                    <a:pt x="288" y="2255"/>
                    <a:pt x="361" y="2342"/>
                    <a:pt x="659" y="2633"/>
                  </a:cubicBezTo>
                  <a:cubicBezTo>
                    <a:pt x="753" y="2721"/>
                    <a:pt x="834" y="2826"/>
                    <a:pt x="890" y="2945"/>
                  </a:cubicBezTo>
                  <a:cubicBezTo>
                    <a:pt x="949" y="3067"/>
                    <a:pt x="1037" y="3172"/>
                    <a:pt x="1142" y="3260"/>
                  </a:cubicBezTo>
                  <a:lnTo>
                    <a:pt x="1156" y="3246"/>
                  </a:lnTo>
                  <a:lnTo>
                    <a:pt x="1166" y="3235"/>
                  </a:lnTo>
                  <a:cubicBezTo>
                    <a:pt x="1177" y="3225"/>
                    <a:pt x="1184" y="3218"/>
                    <a:pt x="1194" y="3211"/>
                  </a:cubicBezTo>
                  <a:lnTo>
                    <a:pt x="1201" y="3204"/>
                  </a:lnTo>
                  <a:cubicBezTo>
                    <a:pt x="1212" y="3197"/>
                    <a:pt x="1222" y="3186"/>
                    <a:pt x="1236" y="3179"/>
                  </a:cubicBezTo>
                  <a:lnTo>
                    <a:pt x="1247" y="3176"/>
                  </a:lnTo>
                  <a:cubicBezTo>
                    <a:pt x="1254" y="3169"/>
                    <a:pt x="1264" y="3165"/>
                    <a:pt x="1275" y="3162"/>
                  </a:cubicBezTo>
                  <a:lnTo>
                    <a:pt x="1289" y="3155"/>
                  </a:lnTo>
                  <a:lnTo>
                    <a:pt x="1313" y="3144"/>
                  </a:lnTo>
                  <a:lnTo>
                    <a:pt x="1327" y="3141"/>
                  </a:lnTo>
                  <a:cubicBezTo>
                    <a:pt x="1338" y="3141"/>
                    <a:pt x="1348" y="3137"/>
                    <a:pt x="1359" y="3137"/>
                  </a:cubicBezTo>
                  <a:lnTo>
                    <a:pt x="1373" y="3137"/>
                  </a:lnTo>
                  <a:cubicBezTo>
                    <a:pt x="1387" y="3134"/>
                    <a:pt x="1401" y="3134"/>
                    <a:pt x="1415" y="3134"/>
                  </a:cubicBezTo>
                  <a:cubicBezTo>
                    <a:pt x="1502" y="3134"/>
                    <a:pt x="1516" y="3113"/>
                    <a:pt x="1520" y="3113"/>
                  </a:cubicBezTo>
                  <a:cubicBezTo>
                    <a:pt x="1537" y="3081"/>
                    <a:pt x="1492" y="2966"/>
                    <a:pt x="1457" y="2871"/>
                  </a:cubicBezTo>
                  <a:cubicBezTo>
                    <a:pt x="1443" y="2843"/>
                    <a:pt x="1432" y="2812"/>
                    <a:pt x="1422" y="2784"/>
                  </a:cubicBezTo>
                  <a:cubicBezTo>
                    <a:pt x="1383" y="2686"/>
                    <a:pt x="1387" y="2609"/>
                    <a:pt x="1425" y="2549"/>
                  </a:cubicBezTo>
                  <a:cubicBezTo>
                    <a:pt x="1484" y="2470"/>
                    <a:pt x="1602" y="2457"/>
                    <a:pt x="1711" y="2457"/>
                  </a:cubicBezTo>
                  <a:cubicBezTo>
                    <a:pt x="1732" y="2457"/>
                    <a:pt x="1752" y="2457"/>
                    <a:pt x="1772" y="2458"/>
                  </a:cubicBezTo>
                  <a:lnTo>
                    <a:pt x="1821" y="2458"/>
                  </a:lnTo>
                  <a:cubicBezTo>
                    <a:pt x="1852" y="2458"/>
                    <a:pt x="1863" y="2434"/>
                    <a:pt x="1891" y="2342"/>
                  </a:cubicBezTo>
                  <a:cubicBezTo>
                    <a:pt x="1912" y="2265"/>
                    <a:pt x="1943" y="2153"/>
                    <a:pt x="2059" y="2153"/>
                  </a:cubicBezTo>
                  <a:cubicBezTo>
                    <a:pt x="2164" y="2153"/>
                    <a:pt x="2217" y="2265"/>
                    <a:pt x="2266" y="2363"/>
                  </a:cubicBezTo>
                  <a:cubicBezTo>
                    <a:pt x="2283" y="2405"/>
                    <a:pt x="2325" y="2490"/>
                    <a:pt x="2346" y="2493"/>
                  </a:cubicBezTo>
                  <a:cubicBezTo>
                    <a:pt x="2365" y="2489"/>
                    <a:pt x="2385" y="2488"/>
                    <a:pt x="2404" y="2488"/>
                  </a:cubicBezTo>
                  <a:cubicBezTo>
                    <a:pt x="2460" y="2488"/>
                    <a:pt x="2518" y="2502"/>
                    <a:pt x="2570" y="2528"/>
                  </a:cubicBezTo>
                  <a:cubicBezTo>
                    <a:pt x="2614" y="2550"/>
                    <a:pt x="2661" y="2563"/>
                    <a:pt x="2711" y="2563"/>
                  </a:cubicBezTo>
                  <a:cubicBezTo>
                    <a:pt x="2726" y="2563"/>
                    <a:pt x="2741" y="2562"/>
                    <a:pt x="2756" y="2560"/>
                  </a:cubicBezTo>
                  <a:cubicBezTo>
                    <a:pt x="2871" y="2539"/>
                    <a:pt x="2871" y="2188"/>
                    <a:pt x="2871" y="1982"/>
                  </a:cubicBezTo>
                  <a:lnTo>
                    <a:pt x="2871" y="1866"/>
                  </a:lnTo>
                  <a:cubicBezTo>
                    <a:pt x="2875" y="1646"/>
                    <a:pt x="2871" y="1527"/>
                    <a:pt x="2766" y="1464"/>
                  </a:cubicBezTo>
                  <a:cubicBezTo>
                    <a:pt x="2647" y="1394"/>
                    <a:pt x="2525" y="1250"/>
                    <a:pt x="2532" y="1107"/>
                  </a:cubicBezTo>
                  <a:cubicBezTo>
                    <a:pt x="2535" y="1019"/>
                    <a:pt x="2588" y="942"/>
                    <a:pt x="2668" y="911"/>
                  </a:cubicBezTo>
                  <a:cubicBezTo>
                    <a:pt x="2749" y="869"/>
                    <a:pt x="2801" y="809"/>
                    <a:pt x="2808" y="743"/>
                  </a:cubicBezTo>
                  <a:cubicBezTo>
                    <a:pt x="2812" y="680"/>
                    <a:pt x="2780" y="617"/>
                    <a:pt x="2724" y="582"/>
                  </a:cubicBezTo>
                  <a:cubicBezTo>
                    <a:pt x="2702" y="563"/>
                    <a:pt x="2672" y="556"/>
                    <a:pt x="2637" y="556"/>
                  </a:cubicBezTo>
                  <a:cubicBezTo>
                    <a:pt x="2571" y="556"/>
                    <a:pt x="2489" y="581"/>
                    <a:pt x="2423" y="599"/>
                  </a:cubicBezTo>
                  <a:cubicBezTo>
                    <a:pt x="2363" y="618"/>
                    <a:pt x="2312" y="634"/>
                    <a:pt x="2269" y="634"/>
                  </a:cubicBezTo>
                  <a:cubicBezTo>
                    <a:pt x="2242" y="634"/>
                    <a:pt x="2219" y="628"/>
                    <a:pt x="2199" y="613"/>
                  </a:cubicBezTo>
                  <a:cubicBezTo>
                    <a:pt x="2171" y="592"/>
                    <a:pt x="2157" y="561"/>
                    <a:pt x="2161" y="529"/>
                  </a:cubicBezTo>
                  <a:lnTo>
                    <a:pt x="2161" y="512"/>
                  </a:lnTo>
                  <a:lnTo>
                    <a:pt x="2161" y="505"/>
                  </a:lnTo>
                  <a:lnTo>
                    <a:pt x="2161" y="491"/>
                  </a:lnTo>
                  <a:lnTo>
                    <a:pt x="2161" y="484"/>
                  </a:lnTo>
                  <a:lnTo>
                    <a:pt x="2161" y="470"/>
                  </a:lnTo>
                  <a:lnTo>
                    <a:pt x="2161" y="459"/>
                  </a:lnTo>
                  <a:lnTo>
                    <a:pt x="2161" y="442"/>
                  </a:lnTo>
                  <a:lnTo>
                    <a:pt x="2161" y="431"/>
                  </a:lnTo>
                  <a:lnTo>
                    <a:pt x="2161" y="410"/>
                  </a:lnTo>
                  <a:lnTo>
                    <a:pt x="2161" y="400"/>
                  </a:lnTo>
                  <a:lnTo>
                    <a:pt x="2161" y="375"/>
                  </a:lnTo>
                  <a:lnTo>
                    <a:pt x="2161" y="365"/>
                  </a:lnTo>
                  <a:lnTo>
                    <a:pt x="2161" y="340"/>
                  </a:lnTo>
                  <a:lnTo>
                    <a:pt x="2161" y="333"/>
                  </a:lnTo>
                  <a:cubicBezTo>
                    <a:pt x="2168" y="280"/>
                    <a:pt x="2171" y="228"/>
                    <a:pt x="2178" y="172"/>
                  </a:cubicBezTo>
                  <a:lnTo>
                    <a:pt x="2178" y="165"/>
                  </a:lnTo>
                  <a:lnTo>
                    <a:pt x="2185" y="130"/>
                  </a:lnTo>
                  <a:lnTo>
                    <a:pt x="2185" y="123"/>
                  </a:lnTo>
                  <a:lnTo>
                    <a:pt x="2189" y="88"/>
                  </a:lnTo>
                  <a:lnTo>
                    <a:pt x="2189" y="77"/>
                  </a:lnTo>
                  <a:lnTo>
                    <a:pt x="2192" y="46"/>
                  </a:lnTo>
                  <a:lnTo>
                    <a:pt x="2192" y="35"/>
                  </a:lnTo>
                  <a:lnTo>
                    <a:pt x="2192" y="28"/>
                  </a:lnTo>
                  <a:cubicBezTo>
                    <a:pt x="1856" y="21"/>
                    <a:pt x="1534" y="4"/>
                    <a:pt x="1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5" name="Google Shape;5082;p64">
              <a:extLst>
                <a:ext uri="{FF2B5EF4-FFF2-40B4-BE49-F238E27FC236}">
                  <a16:creationId xmlns:a16="http://schemas.microsoft.com/office/drawing/2014/main" id="{CB3E54F0-02EC-2F2A-10F9-B35737FA0D02}"/>
                </a:ext>
              </a:extLst>
            </p:cNvPr>
            <p:cNvSpPr/>
            <p:nvPr/>
          </p:nvSpPr>
          <p:spPr>
            <a:xfrm>
              <a:off x="2135375" y="2027164"/>
              <a:ext cx="9952" cy="434"/>
            </a:xfrm>
            <a:custGeom>
              <a:avLst/>
              <a:gdLst/>
              <a:ahLst/>
              <a:cxnLst/>
              <a:rect l="l" t="t" r="r" b="b"/>
              <a:pathLst>
                <a:path w="733" h="32" extrusionOk="0">
                  <a:moveTo>
                    <a:pt x="0" y="0"/>
                  </a:moveTo>
                  <a:cubicBezTo>
                    <a:pt x="63" y="4"/>
                    <a:pt x="399" y="21"/>
                    <a:pt x="732" y="32"/>
                  </a:cubicBezTo>
                  <a:cubicBezTo>
                    <a:pt x="410" y="21"/>
                    <a:pt x="8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6" name="Google Shape;5083;p64">
              <a:extLst>
                <a:ext uri="{FF2B5EF4-FFF2-40B4-BE49-F238E27FC236}">
                  <a16:creationId xmlns:a16="http://schemas.microsoft.com/office/drawing/2014/main" id="{946F5ED8-1723-EB04-82D1-7BFEFEE5BC5C}"/>
                </a:ext>
              </a:extLst>
            </p:cNvPr>
            <p:cNvSpPr/>
            <p:nvPr/>
          </p:nvSpPr>
          <p:spPr>
            <a:xfrm>
              <a:off x="2119218" y="2027924"/>
              <a:ext cx="13605" cy="8147"/>
            </a:xfrm>
            <a:custGeom>
              <a:avLst/>
              <a:gdLst/>
              <a:ahLst/>
              <a:cxnLst/>
              <a:rect l="l" t="t" r="r" b="b"/>
              <a:pathLst>
                <a:path w="1002" h="600" extrusionOk="0">
                  <a:moveTo>
                    <a:pt x="1001" y="0"/>
                  </a:moveTo>
                  <a:lnTo>
                    <a:pt x="945" y="18"/>
                  </a:lnTo>
                  <a:lnTo>
                    <a:pt x="945" y="18"/>
                  </a:lnTo>
                  <a:lnTo>
                    <a:pt x="956" y="11"/>
                  </a:lnTo>
                  <a:lnTo>
                    <a:pt x="287" y="11"/>
                  </a:lnTo>
                  <a:cubicBezTo>
                    <a:pt x="305" y="70"/>
                    <a:pt x="301" y="133"/>
                    <a:pt x="284" y="189"/>
                  </a:cubicBezTo>
                  <a:cubicBezTo>
                    <a:pt x="252" y="280"/>
                    <a:pt x="175" y="351"/>
                    <a:pt x="84" y="379"/>
                  </a:cubicBezTo>
                  <a:cubicBezTo>
                    <a:pt x="18" y="403"/>
                    <a:pt x="0" y="438"/>
                    <a:pt x="4" y="452"/>
                  </a:cubicBezTo>
                  <a:cubicBezTo>
                    <a:pt x="4" y="466"/>
                    <a:pt x="21" y="470"/>
                    <a:pt x="42" y="470"/>
                  </a:cubicBezTo>
                  <a:cubicBezTo>
                    <a:pt x="88" y="470"/>
                    <a:pt x="130" y="494"/>
                    <a:pt x="151" y="533"/>
                  </a:cubicBezTo>
                  <a:cubicBezTo>
                    <a:pt x="161" y="554"/>
                    <a:pt x="165" y="575"/>
                    <a:pt x="161" y="599"/>
                  </a:cubicBezTo>
                  <a:lnTo>
                    <a:pt x="168" y="599"/>
                  </a:lnTo>
                  <a:lnTo>
                    <a:pt x="196" y="592"/>
                  </a:lnTo>
                  <a:lnTo>
                    <a:pt x="200" y="592"/>
                  </a:lnTo>
                  <a:lnTo>
                    <a:pt x="224" y="589"/>
                  </a:lnTo>
                  <a:lnTo>
                    <a:pt x="312" y="589"/>
                  </a:lnTo>
                  <a:cubicBezTo>
                    <a:pt x="417" y="589"/>
                    <a:pt x="844" y="564"/>
                    <a:pt x="994" y="557"/>
                  </a:cubicBezTo>
                  <a:lnTo>
                    <a:pt x="998" y="536"/>
                  </a:lnTo>
                  <a:lnTo>
                    <a:pt x="1001" y="515"/>
                  </a:lnTo>
                  <a:lnTo>
                    <a:pt x="1001" y="512"/>
                  </a:lnTo>
                  <a:lnTo>
                    <a:pt x="1001" y="487"/>
                  </a:lnTo>
                  <a:lnTo>
                    <a:pt x="1001" y="480"/>
                  </a:lnTo>
                  <a:lnTo>
                    <a:pt x="1001" y="459"/>
                  </a:lnTo>
                  <a:lnTo>
                    <a:pt x="1001" y="452"/>
                  </a:lnTo>
                  <a:lnTo>
                    <a:pt x="1001" y="428"/>
                  </a:lnTo>
                  <a:lnTo>
                    <a:pt x="1001" y="417"/>
                  </a:lnTo>
                  <a:lnTo>
                    <a:pt x="1001" y="396"/>
                  </a:lnTo>
                  <a:lnTo>
                    <a:pt x="1001" y="382"/>
                  </a:lnTo>
                  <a:lnTo>
                    <a:pt x="1001" y="358"/>
                  </a:lnTo>
                  <a:lnTo>
                    <a:pt x="1001" y="344"/>
                  </a:lnTo>
                  <a:lnTo>
                    <a:pt x="1001" y="319"/>
                  </a:lnTo>
                  <a:lnTo>
                    <a:pt x="1001" y="305"/>
                  </a:lnTo>
                  <a:lnTo>
                    <a:pt x="1001" y="280"/>
                  </a:lnTo>
                  <a:lnTo>
                    <a:pt x="1001" y="263"/>
                  </a:lnTo>
                  <a:lnTo>
                    <a:pt x="1001" y="224"/>
                  </a:lnTo>
                  <a:lnTo>
                    <a:pt x="1001" y="203"/>
                  </a:lnTo>
                  <a:lnTo>
                    <a:pt x="1001" y="179"/>
                  </a:lnTo>
                  <a:lnTo>
                    <a:pt x="1001" y="154"/>
                  </a:lnTo>
                  <a:lnTo>
                    <a:pt x="1001" y="133"/>
                  </a:lnTo>
                  <a:lnTo>
                    <a:pt x="1001" y="109"/>
                  </a:lnTo>
                  <a:lnTo>
                    <a:pt x="1001" y="88"/>
                  </a:lnTo>
                  <a:lnTo>
                    <a:pt x="1001" y="60"/>
                  </a:lnTo>
                  <a:lnTo>
                    <a:pt x="1001" y="39"/>
                  </a:lnTo>
                  <a:lnTo>
                    <a:pt x="1001" y="11"/>
                  </a:lnTo>
                  <a:lnTo>
                    <a:pt x="100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7" name="Google Shape;5084;p64">
              <a:extLst>
                <a:ext uri="{FF2B5EF4-FFF2-40B4-BE49-F238E27FC236}">
                  <a16:creationId xmlns:a16="http://schemas.microsoft.com/office/drawing/2014/main" id="{F9441E73-6330-CB0B-640E-194DC069CCA1}"/>
                </a:ext>
              </a:extLst>
            </p:cNvPr>
            <p:cNvSpPr/>
            <p:nvPr/>
          </p:nvSpPr>
          <p:spPr>
            <a:xfrm>
              <a:off x="2132184" y="2028019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8" name="Google Shape;5085;p64">
              <a:extLst>
                <a:ext uri="{FF2B5EF4-FFF2-40B4-BE49-F238E27FC236}">
                  <a16:creationId xmlns:a16="http://schemas.microsoft.com/office/drawing/2014/main" id="{786C1024-56B7-8231-6800-454DCF8152C2}"/>
                </a:ext>
              </a:extLst>
            </p:cNvPr>
            <p:cNvSpPr/>
            <p:nvPr/>
          </p:nvSpPr>
          <p:spPr>
            <a:xfrm>
              <a:off x="2133040" y="2031576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1"/>
                  </a:moveTo>
                  <a:lnTo>
                    <a:pt x="1" y="29"/>
                  </a:ln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9" name="Google Shape;5086;p64">
              <a:extLst>
                <a:ext uri="{FF2B5EF4-FFF2-40B4-BE49-F238E27FC236}">
                  <a16:creationId xmlns:a16="http://schemas.microsoft.com/office/drawing/2014/main" id="{B42CCAE9-5A3E-CBCB-62E2-BB6E40CFF8ED}"/>
                </a:ext>
              </a:extLst>
            </p:cNvPr>
            <p:cNvSpPr/>
            <p:nvPr/>
          </p:nvSpPr>
          <p:spPr>
            <a:xfrm>
              <a:off x="2133040" y="202787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"/>
                  </a:ln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0" name="Google Shape;5087;p64">
              <a:extLst>
                <a:ext uri="{FF2B5EF4-FFF2-40B4-BE49-F238E27FC236}">
                  <a16:creationId xmlns:a16="http://schemas.microsoft.com/office/drawing/2014/main" id="{6CD7560A-115F-DF1F-806E-E0AE5340B2C0}"/>
                </a:ext>
              </a:extLst>
            </p:cNvPr>
            <p:cNvSpPr/>
            <p:nvPr/>
          </p:nvSpPr>
          <p:spPr>
            <a:xfrm>
              <a:off x="2133094" y="20302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1" name="Google Shape;5088;p64">
              <a:extLst>
                <a:ext uri="{FF2B5EF4-FFF2-40B4-BE49-F238E27FC236}">
                  <a16:creationId xmlns:a16="http://schemas.microsoft.com/office/drawing/2014/main" id="{1939B32F-3162-74F9-E5A8-C4B128173D8C}"/>
                </a:ext>
              </a:extLst>
            </p:cNvPr>
            <p:cNvSpPr/>
            <p:nvPr/>
          </p:nvSpPr>
          <p:spPr>
            <a:xfrm>
              <a:off x="2133094" y="202834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2" name="Google Shape;5089;p64">
              <a:extLst>
                <a:ext uri="{FF2B5EF4-FFF2-40B4-BE49-F238E27FC236}">
                  <a16:creationId xmlns:a16="http://schemas.microsoft.com/office/drawing/2014/main" id="{FE77ABFE-157E-951B-1C2D-DE069089E21C}"/>
                </a:ext>
              </a:extLst>
            </p:cNvPr>
            <p:cNvSpPr/>
            <p:nvPr/>
          </p:nvSpPr>
          <p:spPr>
            <a:xfrm>
              <a:off x="2133094" y="20290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3" name="Google Shape;5090;p64">
              <a:extLst>
                <a:ext uri="{FF2B5EF4-FFF2-40B4-BE49-F238E27FC236}">
                  <a16:creationId xmlns:a16="http://schemas.microsoft.com/office/drawing/2014/main" id="{F58BB818-3817-8095-7542-2E0530358869}"/>
                </a:ext>
              </a:extLst>
            </p:cNvPr>
            <p:cNvSpPr/>
            <p:nvPr/>
          </p:nvSpPr>
          <p:spPr>
            <a:xfrm>
              <a:off x="2133094" y="2030816"/>
              <a:ext cx="14" cy="584"/>
            </a:xfrm>
            <a:custGeom>
              <a:avLst/>
              <a:gdLst/>
              <a:ahLst/>
              <a:cxnLst/>
              <a:rect l="l" t="t" r="r" b="b"/>
              <a:pathLst>
                <a:path w="1" h="43" extrusionOk="0">
                  <a:moveTo>
                    <a:pt x="0" y="1"/>
                  </a:moveTo>
                  <a:lnTo>
                    <a:pt x="0" y="43"/>
                  </a:lnTo>
                  <a:cubicBezTo>
                    <a:pt x="0" y="29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4" name="Google Shape;5091;p64">
              <a:extLst>
                <a:ext uri="{FF2B5EF4-FFF2-40B4-BE49-F238E27FC236}">
                  <a16:creationId xmlns:a16="http://schemas.microsoft.com/office/drawing/2014/main" id="{49E06B17-1C4D-07A2-C8B8-198521487362}"/>
                </a:ext>
              </a:extLst>
            </p:cNvPr>
            <p:cNvSpPr/>
            <p:nvPr/>
          </p:nvSpPr>
          <p:spPr>
            <a:xfrm>
              <a:off x="2133094" y="20296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5" name="Google Shape;5092;p64">
              <a:extLst>
                <a:ext uri="{FF2B5EF4-FFF2-40B4-BE49-F238E27FC236}">
                  <a16:creationId xmlns:a16="http://schemas.microsoft.com/office/drawing/2014/main" id="{2B7B2D4B-BE42-FCBE-1DA3-CD168C0A9977}"/>
                </a:ext>
              </a:extLst>
            </p:cNvPr>
            <p:cNvSpPr/>
            <p:nvPr/>
          </p:nvSpPr>
          <p:spPr>
            <a:xfrm>
              <a:off x="2133040" y="203216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6" name="Google Shape;5093;p64">
              <a:extLst>
                <a:ext uri="{FF2B5EF4-FFF2-40B4-BE49-F238E27FC236}">
                  <a16:creationId xmlns:a16="http://schemas.microsoft.com/office/drawing/2014/main" id="{9BC1B17A-8D49-E74C-C68C-1AA9CB52BB7C}"/>
                </a:ext>
              </a:extLst>
            </p:cNvPr>
            <p:cNvSpPr/>
            <p:nvPr/>
          </p:nvSpPr>
          <p:spPr>
            <a:xfrm>
              <a:off x="2132809" y="203476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7" name="Google Shape;5094;p64">
              <a:extLst>
                <a:ext uri="{FF2B5EF4-FFF2-40B4-BE49-F238E27FC236}">
                  <a16:creationId xmlns:a16="http://schemas.microsoft.com/office/drawing/2014/main" id="{DD2C4B47-7439-4D09-4B8E-B234D5173DDF}"/>
                </a:ext>
              </a:extLst>
            </p:cNvPr>
            <p:cNvSpPr/>
            <p:nvPr/>
          </p:nvSpPr>
          <p:spPr>
            <a:xfrm>
              <a:off x="2132809" y="203510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8" name="Google Shape;5095;p64">
              <a:extLst>
                <a:ext uri="{FF2B5EF4-FFF2-40B4-BE49-F238E27FC236}">
                  <a16:creationId xmlns:a16="http://schemas.microsoft.com/office/drawing/2014/main" id="{CB7BED68-EB2D-DE0F-29DD-7EDB97CE7713}"/>
                </a:ext>
              </a:extLst>
            </p:cNvPr>
            <p:cNvSpPr/>
            <p:nvPr/>
          </p:nvSpPr>
          <p:spPr>
            <a:xfrm>
              <a:off x="2122680" y="20358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9" name="Google Shape;5096;p64">
              <a:extLst>
                <a:ext uri="{FF2B5EF4-FFF2-40B4-BE49-F238E27FC236}">
                  <a16:creationId xmlns:a16="http://schemas.microsoft.com/office/drawing/2014/main" id="{D2F1E16C-ADC6-802D-B5C6-D2DAA418097B}"/>
                </a:ext>
              </a:extLst>
            </p:cNvPr>
            <p:cNvSpPr/>
            <p:nvPr/>
          </p:nvSpPr>
          <p:spPr>
            <a:xfrm>
              <a:off x="2132904" y="203444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0" name="Google Shape;5097;p64">
              <a:extLst>
                <a:ext uri="{FF2B5EF4-FFF2-40B4-BE49-F238E27FC236}">
                  <a16:creationId xmlns:a16="http://schemas.microsoft.com/office/drawing/2014/main" id="{F567E512-99DD-4208-1F83-2D75F7C9F882}"/>
                </a:ext>
              </a:extLst>
            </p:cNvPr>
            <p:cNvSpPr/>
            <p:nvPr/>
          </p:nvSpPr>
          <p:spPr>
            <a:xfrm>
              <a:off x="2132904" y="20340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1" name="Google Shape;5098;p64">
              <a:extLst>
                <a:ext uri="{FF2B5EF4-FFF2-40B4-BE49-F238E27FC236}">
                  <a16:creationId xmlns:a16="http://schemas.microsoft.com/office/drawing/2014/main" id="{B26515CB-8C0B-4C83-B9B0-ADC23F5FA2EF}"/>
                </a:ext>
              </a:extLst>
            </p:cNvPr>
            <p:cNvSpPr/>
            <p:nvPr/>
          </p:nvSpPr>
          <p:spPr>
            <a:xfrm>
              <a:off x="2123400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2" name="Google Shape;5099;p64">
              <a:extLst>
                <a:ext uri="{FF2B5EF4-FFF2-40B4-BE49-F238E27FC236}">
                  <a16:creationId xmlns:a16="http://schemas.microsoft.com/office/drawing/2014/main" id="{6BE5FA90-0CB2-C5E4-B708-15C786ADDA07}"/>
                </a:ext>
              </a:extLst>
            </p:cNvPr>
            <p:cNvSpPr/>
            <p:nvPr/>
          </p:nvSpPr>
          <p:spPr>
            <a:xfrm>
              <a:off x="2123495" y="20358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3" name="Google Shape;5100;p64">
              <a:extLst>
                <a:ext uri="{FF2B5EF4-FFF2-40B4-BE49-F238E27FC236}">
                  <a16:creationId xmlns:a16="http://schemas.microsoft.com/office/drawing/2014/main" id="{60F27598-25DE-3E52-03E5-7BF77A4A3927}"/>
                </a:ext>
              </a:extLst>
            </p:cNvPr>
            <p:cNvSpPr/>
            <p:nvPr/>
          </p:nvSpPr>
          <p:spPr>
            <a:xfrm>
              <a:off x="2122925" y="203581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4" name="Google Shape;5101;p64">
              <a:extLst>
                <a:ext uri="{FF2B5EF4-FFF2-40B4-BE49-F238E27FC236}">
                  <a16:creationId xmlns:a16="http://schemas.microsoft.com/office/drawing/2014/main" id="{5179B381-4418-A44D-5EFD-2FF7C513B276}"/>
                </a:ext>
              </a:extLst>
            </p:cNvPr>
            <p:cNvSpPr/>
            <p:nvPr/>
          </p:nvSpPr>
          <p:spPr>
            <a:xfrm>
              <a:off x="2123115" y="203581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5" name="Google Shape;5102;p64">
              <a:extLst>
                <a:ext uri="{FF2B5EF4-FFF2-40B4-BE49-F238E27FC236}">
                  <a16:creationId xmlns:a16="http://schemas.microsoft.com/office/drawing/2014/main" id="{B57E870C-7EF3-6703-4F77-7BC936D4DF74}"/>
                </a:ext>
              </a:extLst>
            </p:cNvPr>
            <p:cNvSpPr/>
            <p:nvPr/>
          </p:nvSpPr>
          <p:spPr>
            <a:xfrm>
              <a:off x="2132999" y="203267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6" name="Google Shape;5103;p64">
              <a:extLst>
                <a:ext uri="{FF2B5EF4-FFF2-40B4-BE49-F238E27FC236}">
                  <a16:creationId xmlns:a16="http://schemas.microsoft.com/office/drawing/2014/main" id="{5AA794D2-EF11-3029-6DF2-BF66A4FB90C1}"/>
                </a:ext>
              </a:extLst>
            </p:cNvPr>
            <p:cNvSpPr/>
            <p:nvPr/>
          </p:nvSpPr>
          <p:spPr>
            <a:xfrm>
              <a:off x="2121974" y="203590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7" name="Google Shape;5104;p64">
              <a:extLst>
                <a:ext uri="{FF2B5EF4-FFF2-40B4-BE49-F238E27FC236}">
                  <a16:creationId xmlns:a16="http://schemas.microsoft.com/office/drawing/2014/main" id="{F8CC4699-381C-3444-FA64-2141B9823899}"/>
                </a:ext>
              </a:extLst>
            </p:cNvPr>
            <p:cNvSpPr/>
            <p:nvPr/>
          </p:nvSpPr>
          <p:spPr>
            <a:xfrm>
              <a:off x="2132945" y="203362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8" name="Google Shape;5105;p64">
              <a:extLst>
                <a:ext uri="{FF2B5EF4-FFF2-40B4-BE49-F238E27FC236}">
                  <a16:creationId xmlns:a16="http://schemas.microsoft.com/office/drawing/2014/main" id="{E6EEFFC2-6BBA-1159-32A8-4E277937223B}"/>
                </a:ext>
              </a:extLst>
            </p:cNvPr>
            <p:cNvSpPr/>
            <p:nvPr/>
          </p:nvSpPr>
          <p:spPr>
            <a:xfrm>
              <a:off x="2121499" y="2035962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9" name="Google Shape;5106;p64">
              <a:extLst>
                <a:ext uri="{FF2B5EF4-FFF2-40B4-BE49-F238E27FC236}">
                  <a16:creationId xmlns:a16="http://schemas.microsoft.com/office/drawing/2014/main" id="{7BB7916F-2734-75F3-99D4-2D10E2F6EA89}"/>
                </a:ext>
              </a:extLst>
            </p:cNvPr>
            <p:cNvSpPr/>
            <p:nvPr/>
          </p:nvSpPr>
          <p:spPr>
            <a:xfrm>
              <a:off x="2132945" y="2033151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8"/>
                    <a:pt x="4" y="25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0" name="Google Shape;5107;p64">
              <a:extLst>
                <a:ext uri="{FF2B5EF4-FFF2-40B4-BE49-F238E27FC236}">
                  <a16:creationId xmlns:a16="http://schemas.microsoft.com/office/drawing/2014/main" id="{54A04231-C729-BD9A-84B4-D73195DC81E1}"/>
                </a:ext>
              </a:extLst>
            </p:cNvPr>
            <p:cNvSpPr/>
            <p:nvPr/>
          </p:nvSpPr>
          <p:spPr>
            <a:xfrm>
              <a:off x="2122354" y="203586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1" name="Google Shape;5108;p64">
              <a:extLst>
                <a:ext uri="{FF2B5EF4-FFF2-40B4-BE49-F238E27FC236}">
                  <a16:creationId xmlns:a16="http://schemas.microsoft.com/office/drawing/2014/main" id="{D36A5855-E415-CA0A-C635-3FEFC9C3F2FF}"/>
                </a:ext>
              </a:extLst>
            </p:cNvPr>
            <p:cNvSpPr/>
            <p:nvPr/>
          </p:nvSpPr>
          <p:spPr>
            <a:xfrm>
              <a:off x="2132279" y="2016560"/>
              <a:ext cx="49884" cy="63380"/>
            </a:xfrm>
            <a:custGeom>
              <a:avLst/>
              <a:gdLst/>
              <a:ahLst/>
              <a:cxnLst/>
              <a:rect l="l" t="t" r="r" b="b"/>
              <a:pathLst>
                <a:path w="3674" h="4668" extrusionOk="0">
                  <a:moveTo>
                    <a:pt x="3260" y="1"/>
                  </a:moveTo>
                  <a:lnTo>
                    <a:pt x="3036" y="71"/>
                  </a:lnTo>
                  <a:lnTo>
                    <a:pt x="2784" y="127"/>
                  </a:lnTo>
                  <a:cubicBezTo>
                    <a:pt x="2791" y="267"/>
                    <a:pt x="2749" y="407"/>
                    <a:pt x="2665" y="519"/>
                  </a:cubicBezTo>
                  <a:cubicBezTo>
                    <a:pt x="2658" y="533"/>
                    <a:pt x="2651" y="543"/>
                    <a:pt x="2644" y="554"/>
                  </a:cubicBezTo>
                  <a:lnTo>
                    <a:pt x="2637" y="564"/>
                  </a:lnTo>
                  <a:cubicBezTo>
                    <a:pt x="2546" y="722"/>
                    <a:pt x="2514" y="981"/>
                    <a:pt x="2511" y="1019"/>
                  </a:cubicBezTo>
                  <a:lnTo>
                    <a:pt x="2511" y="1026"/>
                  </a:lnTo>
                  <a:lnTo>
                    <a:pt x="2504" y="1121"/>
                  </a:lnTo>
                  <a:lnTo>
                    <a:pt x="2416" y="1075"/>
                  </a:lnTo>
                  <a:cubicBezTo>
                    <a:pt x="2186" y="963"/>
                    <a:pt x="1828" y="811"/>
                    <a:pt x="1702" y="811"/>
                  </a:cubicBezTo>
                  <a:cubicBezTo>
                    <a:pt x="1694" y="811"/>
                    <a:pt x="1687" y="812"/>
                    <a:pt x="1681" y="813"/>
                  </a:cubicBezTo>
                  <a:cubicBezTo>
                    <a:pt x="1665" y="818"/>
                    <a:pt x="1628" y="826"/>
                    <a:pt x="1454" y="826"/>
                  </a:cubicBezTo>
                  <a:cubicBezTo>
                    <a:pt x="1401" y="826"/>
                    <a:pt x="1335" y="825"/>
                    <a:pt x="1254" y="823"/>
                  </a:cubicBezTo>
                  <a:lnTo>
                    <a:pt x="1219" y="823"/>
                  </a:lnTo>
                  <a:lnTo>
                    <a:pt x="1090" y="820"/>
                  </a:lnTo>
                  <a:cubicBezTo>
                    <a:pt x="1086" y="858"/>
                    <a:pt x="1079" y="897"/>
                    <a:pt x="1076" y="935"/>
                  </a:cubicBezTo>
                  <a:lnTo>
                    <a:pt x="1076" y="946"/>
                  </a:lnTo>
                  <a:lnTo>
                    <a:pt x="1069" y="1012"/>
                  </a:lnTo>
                  <a:lnTo>
                    <a:pt x="1069" y="1023"/>
                  </a:lnTo>
                  <a:lnTo>
                    <a:pt x="1062" y="1079"/>
                  </a:lnTo>
                  <a:lnTo>
                    <a:pt x="1062" y="1093"/>
                  </a:lnTo>
                  <a:lnTo>
                    <a:pt x="1058" y="1142"/>
                  </a:lnTo>
                  <a:lnTo>
                    <a:pt x="1058" y="1156"/>
                  </a:lnTo>
                  <a:cubicBezTo>
                    <a:pt x="1058" y="1170"/>
                    <a:pt x="1055" y="1184"/>
                    <a:pt x="1055" y="1195"/>
                  </a:cubicBezTo>
                  <a:lnTo>
                    <a:pt x="1055" y="1209"/>
                  </a:lnTo>
                  <a:cubicBezTo>
                    <a:pt x="1055" y="1219"/>
                    <a:pt x="1055" y="1233"/>
                    <a:pt x="1051" y="1244"/>
                  </a:cubicBezTo>
                  <a:lnTo>
                    <a:pt x="1051" y="1251"/>
                  </a:lnTo>
                  <a:cubicBezTo>
                    <a:pt x="1051" y="1265"/>
                    <a:pt x="1051" y="1275"/>
                    <a:pt x="1048" y="1286"/>
                  </a:cubicBezTo>
                  <a:cubicBezTo>
                    <a:pt x="1076" y="1282"/>
                    <a:pt x="1114" y="1268"/>
                    <a:pt x="1142" y="1261"/>
                  </a:cubicBezTo>
                  <a:cubicBezTo>
                    <a:pt x="1218" y="1239"/>
                    <a:pt x="1309" y="1211"/>
                    <a:pt x="1395" y="1211"/>
                  </a:cubicBezTo>
                  <a:cubicBezTo>
                    <a:pt x="1457" y="1211"/>
                    <a:pt x="1516" y="1225"/>
                    <a:pt x="1566" y="1265"/>
                  </a:cubicBezTo>
                  <a:cubicBezTo>
                    <a:pt x="1653" y="1328"/>
                    <a:pt x="1702" y="1433"/>
                    <a:pt x="1695" y="1545"/>
                  </a:cubicBezTo>
                  <a:cubicBezTo>
                    <a:pt x="1685" y="1653"/>
                    <a:pt x="1608" y="1751"/>
                    <a:pt x="1485" y="1814"/>
                  </a:cubicBezTo>
                  <a:cubicBezTo>
                    <a:pt x="1429" y="1842"/>
                    <a:pt x="1419" y="1877"/>
                    <a:pt x="1419" y="1902"/>
                  </a:cubicBezTo>
                  <a:cubicBezTo>
                    <a:pt x="1415" y="1975"/>
                    <a:pt x="1492" y="2080"/>
                    <a:pt x="1590" y="2140"/>
                  </a:cubicBezTo>
                  <a:cubicBezTo>
                    <a:pt x="1765" y="2245"/>
                    <a:pt x="1762" y="2437"/>
                    <a:pt x="1758" y="2658"/>
                  </a:cubicBezTo>
                  <a:lnTo>
                    <a:pt x="1758" y="2770"/>
                  </a:lnTo>
                  <a:cubicBezTo>
                    <a:pt x="1758" y="3081"/>
                    <a:pt x="1758" y="3432"/>
                    <a:pt x="1538" y="3477"/>
                  </a:cubicBezTo>
                  <a:cubicBezTo>
                    <a:pt x="1515" y="3481"/>
                    <a:pt x="1493" y="3482"/>
                    <a:pt x="1471" y="3482"/>
                  </a:cubicBezTo>
                  <a:cubicBezTo>
                    <a:pt x="1405" y="3482"/>
                    <a:pt x="1339" y="3467"/>
                    <a:pt x="1279" y="3439"/>
                  </a:cubicBezTo>
                  <a:cubicBezTo>
                    <a:pt x="1242" y="3419"/>
                    <a:pt x="1204" y="3408"/>
                    <a:pt x="1165" y="3408"/>
                  </a:cubicBezTo>
                  <a:cubicBezTo>
                    <a:pt x="1155" y="3408"/>
                    <a:pt x="1145" y="3409"/>
                    <a:pt x="1135" y="3411"/>
                  </a:cubicBezTo>
                  <a:cubicBezTo>
                    <a:pt x="1123" y="3413"/>
                    <a:pt x="1112" y="3415"/>
                    <a:pt x="1101" y="3415"/>
                  </a:cubicBezTo>
                  <a:cubicBezTo>
                    <a:pt x="1001" y="3415"/>
                    <a:pt x="948" y="3303"/>
                    <a:pt x="904" y="3211"/>
                  </a:cubicBezTo>
                  <a:cubicBezTo>
                    <a:pt x="883" y="3162"/>
                    <a:pt x="858" y="3116"/>
                    <a:pt x="823" y="3078"/>
                  </a:cubicBezTo>
                  <a:cubicBezTo>
                    <a:pt x="820" y="3074"/>
                    <a:pt x="816" y="3074"/>
                    <a:pt x="813" y="3074"/>
                  </a:cubicBezTo>
                  <a:cubicBezTo>
                    <a:pt x="799" y="3081"/>
                    <a:pt x="781" y="3137"/>
                    <a:pt x="774" y="3165"/>
                  </a:cubicBezTo>
                  <a:cubicBezTo>
                    <a:pt x="753" y="3250"/>
                    <a:pt x="718" y="3379"/>
                    <a:pt x="578" y="3379"/>
                  </a:cubicBezTo>
                  <a:lnTo>
                    <a:pt x="526" y="3379"/>
                  </a:lnTo>
                  <a:cubicBezTo>
                    <a:pt x="514" y="3379"/>
                    <a:pt x="501" y="3379"/>
                    <a:pt x="488" y="3379"/>
                  </a:cubicBezTo>
                  <a:cubicBezTo>
                    <a:pt x="409" y="3379"/>
                    <a:pt x="315" y="3382"/>
                    <a:pt x="291" y="3418"/>
                  </a:cubicBezTo>
                  <a:cubicBezTo>
                    <a:pt x="277" y="3435"/>
                    <a:pt x="281" y="3474"/>
                    <a:pt x="302" y="3526"/>
                  </a:cubicBezTo>
                  <a:cubicBezTo>
                    <a:pt x="312" y="3558"/>
                    <a:pt x="323" y="3586"/>
                    <a:pt x="333" y="3614"/>
                  </a:cubicBezTo>
                  <a:cubicBezTo>
                    <a:pt x="396" y="3775"/>
                    <a:pt x="442" y="3890"/>
                    <a:pt x="382" y="3978"/>
                  </a:cubicBezTo>
                  <a:cubicBezTo>
                    <a:pt x="337" y="4048"/>
                    <a:pt x="239" y="4055"/>
                    <a:pt x="172" y="4055"/>
                  </a:cubicBezTo>
                  <a:lnTo>
                    <a:pt x="134" y="4055"/>
                  </a:lnTo>
                  <a:lnTo>
                    <a:pt x="116" y="4058"/>
                  </a:lnTo>
                  <a:lnTo>
                    <a:pt x="109" y="4062"/>
                  </a:lnTo>
                  <a:lnTo>
                    <a:pt x="88" y="4069"/>
                  </a:lnTo>
                  <a:lnTo>
                    <a:pt x="81" y="4072"/>
                  </a:lnTo>
                  <a:cubicBezTo>
                    <a:pt x="74" y="4076"/>
                    <a:pt x="67" y="4079"/>
                    <a:pt x="57" y="4083"/>
                  </a:cubicBezTo>
                  <a:cubicBezTo>
                    <a:pt x="50" y="4086"/>
                    <a:pt x="43" y="4093"/>
                    <a:pt x="36" y="4097"/>
                  </a:cubicBezTo>
                  <a:lnTo>
                    <a:pt x="29" y="4104"/>
                  </a:lnTo>
                  <a:lnTo>
                    <a:pt x="15" y="4118"/>
                  </a:lnTo>
                  <a:lnTo>
                    <a:pt x="8" y="4125"/>
                  </a:lnTo>
                  <a:lnTo>
                    <a:pt x="1" y="4128"/>
                  </a:lnTo>
                  <a:lnTo>
                    <a:pt x="8" y="4135"/>
                  </a:lnTo>
                  <a:cubicBezTo>
                    <a:pt x="197" y="4279"/>
                    <a:pt x="351" y="4461"/>
                    <a:pt x="463" y="4667"/>
                  </a:cubicBezTo>
                  <a:lnTo>
                    <a:pt x="473" y="4660"/>
                  </a:lnTo>
                  <a:lnTo>
                    <a:pt x="505" y="4639"/>
                  </a:lnTo>
                  <a:lnTo>
                    <a:pt x="543" y="4615"/>
                  </a:lnTo>
                  <a:lnTo>
                    <a:pt x="575" y="4594"/>
                  </a:lnTo>
                  <a:lnTo>
                    <a:pt x="610" y="4573"/>
                  </a:lnTo>
                  <a:lnTo>
                    <a:pt x="638" y="4555"/>
                  </a:lnTo>
                  <a:lnTo>
                    <a:pt x="666" y="4538"/>
                  </a:lnTo>
                  <a:lnTo>
                    <a:pt x="694" y="4524"/>
                  </a:lnTo>
                  <a:lnTo>
                    <a:pt x="718" y="4510"/>
                  </a:lnTo>
                  <a:lnTo>
                    <a:pt x="743" y="4496"/>
                  </a:lnTo>
                  <a:lnTo>
                    <a:pt x="764" y="4485"/>
                  </a:lnTo>
                  <a:lnTo>
                    <a:pt x="785" y="4475"/>
                  </a:lnTo>
                  <a:lnTo>
                    <a:pt x="802" y="4464"/>
                  </a:lnTo>
                  <a:lnTo>
                    <a:pt x="820" y="4457"/>
                  </a:lnTo>
                  <a:lnTo>
                    <a:pt x="837" y="4450"/>
                  </a:lnTo>
                  <a:lnTo>
                    <a:pt x="851" y="4443"/>
                  </a:lnTo>
                  <a:lnTo>
                    <a:pt x="865" y="4440"/>
                  </a:lnTo>
                  <a:lnTo>
                    <a:pt x="880" y="4436"/>
                  </a:lnTo>
                  <a:lnTo>
                    <a:pt x="890" y="4433"/>
                  </a:lnTo>
                  <a:lnTo>
                    <a:pt x="901" y="4429"/>
                  </a:lnTo>
                  <a:lnTo>
                    <a:pt x="911" y="4426"/>
                  </a:lnTo>
                  <a:lnTo>
                    <a:pt x="971" y="4426"/>
                  </a:lnTo>
                  <a:cubicBezTo>
                    <a:pt x="1006" y="4440"/>
                    <a:pt x="1037" y="4461"/>
                    <a:pt x="1065" y="4485"/>
                  </a:cubicBezTo>
                  <a:cubicBezTo>
                    <a:pt x="1100" y="4511"/>
                    <a:pt x="1127" y="4531"/>
                    <a:pt x="1161" y="4531"/>
                  </a:cubicBezTo>
                  <a:cubicBezTo>
                    <a:pt x="1191" y="4531"/>
                    <a:pt x="1227" y="4515"/>
                    <a:pt x="1279" y="4471"/>
                  </a:cubicBezTo>
                  <a:cubicBezTo>
                    <a:pt x="1377" y="4390"/>
                    <a:pt x="1491" y="4345"/>
                    <a:pt x="1592" y="4345"/>
                  </a:cubicBezTo>
                  <a:cubicBezTo>
                    <a:pt x="1634" y="4345"/>
                    <a:pt x="1674" y="4353"/>
                    <a:pt x="1709" y="4370"/>
                  </a:cubicBezTo>
                  <a:cubicBezTo>
                    <a:pt x="1779" y="4405"/>
                    <a:pt x="1828" y="4478"/>
                    <a:pt x="1825" y="4555"/>
                  </a:cubicBezTo>
                  <a:lnTo>
                    <a:pt x="1825" y="4587"/>
                  </a:lnTo>
                  <a:cubicBezTo>
                    <a:pt x="1870" y="4555"/>
                    <a:pt x="1909" y="4517"/>
                    <a:pt x="1947" y="4475"/>
                  </a:cubicBezTo>
                  <a:cubicBezTo>
                    <a:pt x="2010" y="4415"/>
                    <a:pt x="2091" y="4380"/>
                    <a:pt x="2178" y="4373"/>
                  </a:cubicBezTo>
                  <a:cubicBezTo>
                    <a:pt x="2248" y="4366"/>
                    <a:pt x="2266" y="4363"/>
                    <a:pt x="2266" y="4219"/>
                  </a:cubicBezTo>
                  <a:cubicBezTo>
                    <a:pt x="2266" y="4037"/>
                    <a:pt x="2322" y="3988"/>
                    <a:pt x="2413" y="3964"/>
                  </a:cubicBezTo>
                  <a:cubicBezTo>
                    <a:pt x="2444" y="3957"/>
                    <a:pt x="2469" y="3953"/>
                    <a:pt x="2469" y="3813"/>
                  </a:cubicBezTo>
                  <a:cubicBezTo>
                    <a:pt x="2469" y="3589"/>
                    <a:pt x="2479" y="3365"/>
                    <a:pt x="2490" y="3186"/>
                  </a:cubicBezTo>
                  <a:lnTo>
                    <a:pt x="2493" y="3141"/>
                  </a:lnTo>
                  <a:cubicBezTo>
                    <a:pt x="2497" y="3043"/>
                    <a:pt x="2500" y="2955"/>
                    <a:pt x="2500" y="2899"/>
                  </a:cubicBezTo>
                  <a:cubicBezTo>
                    <a:pt x="2500" y="2794"/>
                    <a:pt x="2605" y="2710"/>
                    <a:pt x="2721" y="2616"/>
                  </a:cubicBezTo>
                  <a:cubicBezTo>
                    <a:pt x="2836" y="2521"/>
                    <a:pt x="2973" y="2409"/>
                    <a:pt x="2973" y="2290"/>
                  </a:cubicBezTo>
                  <a:cubicBezTo>
                    <a:pt x="2973" y="2147"/>
                    <a:pt x="3068" y="1954"/>
                    <a:pt x="3166" y="1748"/>
                  </a:cubicBezTo>
                  <a:cubicBezTo>
                    <a:pt x="3271" y="1531"/>
                    <a:pt x="3379" y="1303"/>
                    <a:pt x="3379" y="1142"/>
                  </a:cubicBezTo>
                  <a:cubicBezTo>
                    <a:pt x="3379" y="848"/>
                    <a:pt x="3456" y="736"/>
                    <a:pt x="3537" y="620"/>
                  </a:cubicBezTo>
                  <a:cubicBezTo>
                    <a:pt x="3554" y="592"/>
                    <a:pt x="3575" y="564"/>
                    <a:pt x="3593" y="533"/>
                  </a:cubicBezTo>
                  <a:cubicBezTo>
                    <a:pt x="3600" y="519"/>
                    <a:pt x="3607" y="505"/>
                    <a:pt x="3614" y="494"/>
                  </a:cubicBezTo>
                  <a:lnTo>
                    <a:pt x="3614" y="491"/>
                  </a:lnTo>
                  <a:cubicBezTo>
                    <a:pt x="3617" y="477"/>
                    <a:pt x="3624" y="463"/>
                    <a:pt x="3631" y="445"/>
                  </a:cubicBezTo>
                  <a:lnTo>
                    <a:pt x="3631" y="438"/>
                  </a:lnTo>
                  <a:cubicBezTo>
                    <a:pt x="3638" y="424"/>
                    <a:pt x="3642" y="407"/>
                    <a:pt x="3645" y="393"/>
                  </a:cubicBezTo>
                  <a:lnTo>
                    <a:pt x="3649" y="382"/>
                  </a:lnTo>
                  <a:cubicBezTo>
                    <a:pt x="3652" y="365"/>
                    <a:pt x="3659" y="347"/>
                    <a:pt x="3659" y="330"/>
                  </a:cubicBezTo>
                  <a:lnTo>
                    <a:pt x="3659" y="323"/>
                  </a:lnTo>
                  <a:cubicBezTo>
                    <a:pt x="3663" y="302"/>
                    <a:pt x="3666" y="284"/>
                    <a:pt x="3670" y="267"/>
                  </a:cubicBezTo>
                  <a:lnTo>
                    <a:pt x="3670" y="260"/>
                  </a:lnTo>
                  <a:cubicBezTo>
                    <a:pt x="3670" y="239"/>
                    <a:pt x="3673" y="218"/>
                    <a:pt x="3673" y="197"/>
                  </a:cubicBezTo>
                  <a:lnTo>
                    <a:pt x="3673" y="134"/>
                  </a:lnTo>
                  <a:lnTo>
                    <a:pt x="3673" y="127"/>
                  </a:lnTo>
                  <a:cubicBezTo>
                    <a:pt x="3673" y="106"/>
                    <a:pt x="3673" y="88"/>
                    <a:pt x="3670" y="67"/>
                  </a:cubicBezTo>
                  <a:lnTo>
                    <a:pt x="3670" y="60"/>
                  </a:lnTo>
                  <a:lnTo>
                    <a:pt x="32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2" name="Google Shape;5109;p64">
              <a:extLst>
                <a:ext uri="{FF2B5EF4-FFF2-40B4-BE49-F238E27FC236}">
                  <a16:creationId xmlns:a16="http://schemas.microsoft.com/office/drawing/2014/main" id="{DE18B059-3D63-C021-4732-DD0578277257}"/>
                </a:ext>
              </a:extLst>
            </p:cNvPr>
            <p:cNvSpPr/>
            <p:nvPr/>
          </p:nvSpPr>
          <p:spPr>
            <a:xfrm>
              <a:off x="2168070" y="2023593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29" y="1"/>
                  </a:moveTo>
                  <a:lnTo>
                    <a:pt x="29" y="1"/>
                  </a:lnTo>
                  <a:cubicBezTo>
                    <a:pt x="27" y="6"/>
                    <a:pt x="24" y="10"/>
                    <a:pt x="22" y="14"/>
                  </a:cubicBezTo>
                  <a:lnTo>
                    <a:pt x="22" y="14"/>
                  </a:lnTo>
                  <a:cubicBezTo>
                    <a:pt x="24" y="10"/>
                    <a:pt x="27" y="6"/>
                    <a:pt x="29" y="1"/>
                  </a:cubicBezTo>
                  <a:close/>
                  <a:moveTo>
                    <a:pt x="22" y="14"/>
                  </a:moveTo>
                  <a:lnTo>
                    <a:pt x="22" y="14"/>
                  </a:lnTo>
                  <a:cubicBezTo>
                    <a:pt x="21" y="16"/>
                    <a:pt x="20" y="17"/>
                    <a:pt x="18" y="18"/>
                  </a:cubicBezTo>
                  <a:lnTo>
                    <a:pt x="1" y="46"/>
                  </a:lnTo>
                  <a:lnTo>
                    <a:pt x="8" y="36"/>
                  </a:lnTo>
                  <a:cubicBezTo>
                    <a:pt x="13" y="29"/>
                    <a:pt x="17" y="22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3" name="Google Shape;5110;p64">
              <a:extLst>
                <a:ext uri="{FF2B5EF4-FFF2-40B4-BE49-F238E27FC236}">
                  <a16:creationId xmlns:a16="http://schemas.microsoft.com/office/drawing/2014/main" id="{75094951-0242-09E9-2904-E9C5DDC21523}"/>
                </a:ext>
              </a:extLst>
            </p:cNvPr>
            <p:cNvSpPr/>
            <p:nvPr/>
          </p:nvSpPr>
          <p:spPr>
            <a:xfrm>
              <a:off x="2166359" y="2024217"/>
              <a:ext cx="1724" cy="6191"/>
            </a:xfrm>
            <a:custGeom>
              <a:avLst/>
              <a:gdLst/>
              <a:ahLst/>
              <a:cxnLst/>
              <a:rect l="l" t="t" r="r" b="b"/>
              <a:pathLst>
                <a:path w="127" h="456" extrusionOk="0">
                  <a:moveTo>
                    <a:pt x="127" y="0"/>
                  </a:moveTo>
                  <a:cubicBezTo>
                    <a:pt x="92" y="59"/>
                    <a:pt x="67" y="133"/>
                    <a:pt x="48" y="205"/>
                  </a:cubicBezTo>
                  <a:lnTo>
                    <a:pt x="48" y="205"/>
                  </a:lnTo>
                  <a:cubicBezTo>
                    <a:pt x="66" y="142"/>
                    <a:pt x="89" y="81"/>
                    <a:pt x="116" y="21"/>
                  </a:cubicBezTo>
                  <a:lnTo>
                    <a:pt x="127" y="0"/>
                  </a:lnTo>
                  <a:close/>
                  <a:moveTo>
                    <a:pt x="48" y="205"/>
                  </a:moveTo>
                  <a:cubicBezTo>
                    <a:pt x="25" y="286"/>
                    <a:pt x="9" y="370"/>
                    <a:pt x="1" y="455"/>
                  </a:cubicBezTo>
                  <a:cubicBezTo>
                    <a:pt x="5" y="432"/>
                    <a:pt x="18" y="322"/>
                    <a:pt x="48" y="20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4" name="Google Shape;5111;p64">
              <a:extLst>
                <a:ext uri="{FF2B5EF4-FFF2-40B4-BE49-F238E27FC236}">
                  <a16:creationId xmlns:a16="http://schemas.microsoft.com/office/drawing/2014/main" id="{B301CB40-069F-9AED-3F3C-D27670D96E79}"/>
                </a:ext>
              </a:extLst>
            </p:cNvPr>
            <p:cNvSpPr/>
            <p:nvPr/>
          </p:nvSpPr>
          <p:spPr>
            <a:xfrm>
              <a:off x="2147065" y="2027639"/>
              <a:ext cx="1779" cy="54"/>
            </a:xfrm>
            <a:custGeom>
              <a:avLst/>
              <a:gdLst/>
              <a:ahLst/>
              <a:cxnLst/>
              <a:rect l="l" t="t" r="r" b="b"/>
              <a:pathLst>
                <a:path w="131" h="4" extrusionOk="0">
                  <a:moveTo>
                    <a:pt x="1" y="0"/>
                  </a:moveTo>
                  <a:lnTo>
                    <a:pt x="13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5" name="Google Shape;5112;p64">
              <a:extLst>
                <a:ext uri="{FF2B5EF4-FFF2-40B4-BE49-F238E27FC236}">
                  <a16:creationId xmlns:a16="http://schemas.microsoft.com/office/drawing/2014/main" id="{A413D856-FAEC-42DA-6BC5-EEB1AEAC4424}"/>
                </a:ext>
              </a:extLst>
            </p:cNvPr>
            <p:cNvSpPr/>
            <p:nvPr/>
          </p:nvSpPr>
          <p:spPr>
            <a:xfrm>
              <a:off x="2149306" y="2027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6" name="Google Shape;5113;p64">
              <a:extLst>
                <a:ext uri="{FF2B5EF4-FFF2-40B4-BE49-F238E27FC236}">
                  <a16:creationId xmlns:a16="http://schemas.microsoft.com/office/drawing/2014/main" id="{4CD3E595-3643-FA77-2BC4-7DE45EFF88C4}"/>
                </a:ext>
              </a:extLst>
            </p:cNvPr>
            <p:cNvSpPr/>
            <p:nvPr/>
          </p:nvSpPr>
          <p:spPr>
            <a:xfrm>
              <a:off x="2167934" y="2023837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0"/>
                  </a:moveTo>
                  <a:lnTo>
                    <a:pt x="18" y="17"/>
                  </a:lnTo>
                  <a:lnTo>
                    <a:pt x="18" y="17"/>
                  </a:lnTo>
                  <a:cubicBezTo>
                    <a:pt x="21" y="12"/>
                    <a:pt x="25" y="6"/>
                    <a:pt x="28" y="0"/>
                  </a:cubicBezTo>
                  <a:close/>
                  <a:moveTo>
                    <a:pt x="18" y="17"/>
                  </a:moveTo>
                  <a:cubicBezTo>
                    <a:pt x="16" y="20"/>
                    <a:pt x="15" y="22"/>
                    <a:pt x="13" y="25"/>
                  </a:cubicBezTo>
                  <a:lnTo>
                    <a:pt x="13" y="25"/>
                  </a:lnTo>
                  <a:lnTo>
                    <a:pt x="18" y="17"/>
                  </a:lnTo>
                  <a:close/>
                  <a:moveTo>
                    <a:pt x="13" y="25"/>
                  </a:move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cubicBezTo>
                    <a:pt x="11" y="28"/>
                    <a:pt x="12" y="26"/>
                    <a:pt x="13" y="25"/>
                  </a:cubicBezTo>
                  <a:close/>
                  <a:moveTo>
                    <a:pt x="10" y="29"/>
                  </a:moveTo>
                  <a:cubicBezTo>
                    <a:pt x="7" y="36"/>
                    <a:pt x="3" y="42"/>
                    <a:pt x="0" y="49"/>
                  </a:cubicBezTo>
                  <a:lnTo>
                    <a:pt x="1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7" name="Google Shape;5114;p64">
              <a:extLst>
                <a:ext uri="{FF2B5EF4-FFF2-40B4-BE49-F238E27FC236}">
                  <a16:creationId xmlns:a16="http://schemas.microsoft.com/office/drawing/2014/main" id="{F4A64646-0518-26CF-DC09-6EDF853F0253}"/>
                </a:ext>
              </a:extLst>
            </p:cNvPr>
            <p:cNvSpPr/>
            <p:nvPr/>
          </p:nvSpPr>
          <p:spPr>
            <a:xfrm>
              <a:off x="2132184" y="2072553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8" name="Google Shape;5115;p64">
              <a:extLst>
                <a:ext uri="{FF2B5EF4-FFF2-40B4-BE49-F238E27FC236}">
                  <a16:creationId xmlns:a16="http://schemas.microsoft.com/office/drawing/2014/main" id="{9F63DC2B-34F1-B53D-C28F-2AA1C438A859}"/>
                </a:ext>
              </a:extLst>
            </p:cNvPr>
            <p:cNvSpPr/>
            <p:nvPr/>
          </p:nvSpPr>
          <p:spPr>
            <a:xfrm>
              <a:off x="2146400" y="2033532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4" y="1"/>
                  </a:moveTo>
                  <a:lnTo>
                    <a:pt x="4" y="1"/>
                  </a:lnTo>
                  <a:cubicBezTo>
                    <a:pt x="1" y="15"/>
                    <a:pt x="1" y="25"/>
                    <a:pt x="1" y="36"/>
                  </a:cubicBezTo>
                  <a:cubicBezTo>
                    <a:pt x="4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9" name="Google Shape;5116;p64">
              <a:extLst>
                <a:ext uri="{FF2B5EF4-FFF2-40B4-BE49-F238E27FC236}">
                  <a16:creationId xmlns:a16="http://schemas.microsoft.com/office/drawing/2014/main" id="{A7BC50D9-A871-AEF5-C879-AEA06DDD15B3}"/>
                </a:ext>
              </a:extLst>
            </p:cNvPr>
            <p:cNvSpPr/>
            <p:nvPr/>
          </p:nvSpPr>
          <p:spPr>
            <a:xfrm>
              <a:off x="2132660" y="207198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cubicBezTo>
                    <a:pt x="8" y="11"/>
                    <a:pt x="15" y="4"/>
                    <a:pt x="22" y="1"/>
                  </a:cubicBezTo>
                  <a:cubicBezTo>
                    <a:pt x="15" y="4"/>
                    <a:pt x="8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0" name="Google Shape;5117;p64">
              <a:extLst>
                <a:ext uri="{FF2B5EF4-FFF2-40B4-BE49-F238E27FC236}">
                  <a16:creationId xmlns:a16="http://schemas.microsoft.com/office/drawing/2014/main" id="{704D1379-C664-536D-5B15-5598841B453D}"/>
                </a:ext>
              </a:extLst>
            </p:cNvPr>
            <p:cNvSpPr/>
            <p:nvPr/>
          </p:nvSpPr>
          <p:spPr>
            <a:xfrm>
              <a:off x="2133759" y="2071603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1" name="Google Shape;5118;p64">
              <a:extLst>
                <a:ext uri="{FF2B5EF4-FFF2-40B4-BE49-F238E27FC236}">
                  <a16:creationId xmlns:a16="http://schemas.microsoft.com/office/drawing/2014/main" id="{5F0CB2F1-A4F4-1B27-34EE-02C34CF28E19}"/>
                </a:ext>
              </a:extLst>
            </p:cNvPr>
            <p:cNvSpPr/>
            <p:nvPr/>
          </p:nvSpPr>
          <p:spPr>
            <a:xfrm>
              <a:off x="2132334" y="2072268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2" name="Google Shape;5119;p64">
              <a:extLst>
                <a:ext uri="{FF2B5EF4-FFF2-40B4-BE49-F238E27FC236}">
                  <a16:creationId xmlns:a16="http://schemas.microsoft.com/office/drawing/2014/main" id="{FA1D6CDD-74DF-D9F4-1DCE-F8B0380DEC9A}"/>
                </a:ext>
              </a:extLst>
            </p:cNvPr>
            <p:cNvSpPr/>
            <p:nvPr/>
          </p:nvSpPr>
          <p:spPr>
            <a:xfrm>
              <a:off x="2133379" y="20716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3" name="Google Shape;5120;p64">
              <a:extLst>
                <a:ext uri="{FF2B5EF4-FFF2-40B4-BE49-F238E27FC236}">
                  <a16:creationId xmlns:a16="http://schemas.microsoft.com/office/drawing/2014/main" id="{ED14BD09-B458-2D5A-3EF9-21D9B3183DC9}"/>
                </a:ext>
              </a:extLst>
            </p:cNvPr>
            <p:cNvSpPr/>
            <p:nvPr/>
          </p:nvSpPr>
          <p:spPr>
            <a:xfrm>
              <a:off x="2134140" y="207156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cubicBezTo>
                    <a:pt x="7" y="0"/>
                    <a:pt x="18" y="0"/>
                    <a:pt x="28" y="0"/>
                  </a:cubicBezTo>
                  <a:cubicBezTo>
                    <a:pt x="18" y="0"/>
                    <a:pt x="7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4" name="Google Shape;5121;p64">
              <a:extLst>
                <a:ext uri="{FF2B5EF4-FFF2-40B4-BE49-F238E27FC236}">
                  <a16:creationId xmlns:a16="http://schemas.microsoft.com/office/drawing/2014/main" id="{AA4C756A-C44C-D903-671A-B232AECE6FC4}"/>
                </a:ext>
              </a:extLst>
            </p:cNvPr>
            <p:cNvSpPr/>
            <p:nvPr/>
          </p:nvSpPr>
          <p:spPr>
            <a:xfrm>
              <a:off x="2143359" y="2058297"/>
              <a:ext cx="1100" cy="1819"/>
            </a:xfrm>
            <a:custGeom>
              <a:avLst/>
              <a:gdLst/>
              <a:ahLst/>
              <a:cxnLst/>
              <a:rect l="l" t="t" r="r" b="b"/>
              <a:pathLst>
                <a:path w="81" h="134" extrusionOk="0">
                  <a:moveTo>
                    <a:pt x="81" y="134"/>
                  </a:moveTo>
                  <a:cubicBezTo>
                    <a:pt x="60" y="84"/>
                    <a:pt x="32" y="39"/>
                    <a:pt x="0" y="0"/>
                  </a:cubicBezTo>
                  <a:cubicBezTo>
                    <a:pt x="32" y="39"/>
                    <a:pt x="60" y="84"/>
                    <a:pt x="81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5" name="Google Shape;5122;p64">
              <a:extLst>
                <a:ext uri="{FF2B5EF4-FFF2-40B4-BE49-F238E27FC236}">
                  <a16:creationId xmlns:a16="http://schemas.microsoft.com/office/drawing/2014/main" id="{909936E8-C58C-58F7-1F65-6AF105F758D1}"/>
                </a:ext>
              </a:extLst>
            </p:cNvPr>
            <p:cNvSpPr/>
            <p:nvPr/>
          </p:nvSpPr>
          <p:spPr>
            <a:xfrm>
              <a:off x="2146685" y="2030436"/>
              <a:ext cx="109" cy="774"/>
            </a:xfrm>
            <a:custGeom>
              <a:avLst/>
              <a:gdLst/>
              <a:ahLst/>
              <a:cxnLst/>
              <a:rect l="l" t="t" r="r" b="b"/>
              <a:pathLst>
                <a:path w="8" h="57" extrusionOk="0">
                  <a:moveTo>
                    <a:pt x="8" y="1"/>
                  </a:moveTo>
                  <a:cubicBezTo>
                    <a:pt x="4" y="18"/>
                    <a:pt x="1" y="39"/>
                    <a:pt x="1" y="57"/>
                  </a:cubicBez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6" name="Google Shape;5123;p64">
              <a:extLst>
                <a:ext uri="{FF2B5EF4-FFF2-40B4-BE49-F238E27FC236}">
                  <a16:creationId xmlns:a16="http://schemas.microsoft.com/office/drawing/2014/main" id="{DD297D92-D623-FC39-2821-23AB9921ABFE}"/>
                </a:ext>
              </a:extLst>
            </p:cNvPr>
            <p:cNvSpPr/>
            <p:nvPr/>
          </p:nvSpPr>
          <p:spPr>
            <a:xfrm>
              <a:off x="2146780" y="2029350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6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7" name="Google Shape;5124;p64">
              <a:extLst>
                <a:ext uri="{FF2B5EF4-FFF2-40B4-BE49-F238E27FC236}">
                  <a16:creationId xmlns:a16="http://schemas.microsoft.com/office/drawing/2014/main" id="{6DD2A738-3AC6-3CD8-5D99-D6F493777E13}"/>
                </a:ext>
              </a:extLst>
            </p:cNvPr>
            <p:cNvSpPr/>
            <p:nvPr/>
          </p:nvSpPr>
          <p:spPr>
            <a:xfrm>
              <a:off x="2132945" y="2071793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5"/>
                  </a:moveTo>
                  <a:cubicBezTo>
                    <a:pt x="8" y="8"/>
                    <a:pt x="18" y="4"/>
                    <a:pt x="25" y="1"/>
                  </a:cubicBezTo>
                  <a:cubicBezTo>
                    <a:pt x="18" y="4"/>
                    <a:pt x="8" y="8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8" name="Google Shape;5125;p64">
              <a:extLst>
                <a:ext uri="{FF2B5EF4-FFF2-40B4-BE49-F238E27FC236}">
                  <a16:creationId xmlns:a16="http://schemas.microsoft.com/office/drawing/2014/main" id="{AFCFABD3-851C-76D1-A4E5-00ED223D7ED8}"/>
                </a:ext>
              </a:extLst>
            </p:cNvPr>
            <p:cNvSpPr/>
            <p:nvPr/>
          </p:nvSpPr>
          <p:spPr>
            <a:xfrm>
              <a:off x="2146590" y="2031386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1" y="47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9" name="Google Shape;5126;p64">
              <a:extLst>
                <a:ext uri="{FF2B5EF4-FFF2-40B4-BE49-F238E27FC236}">
                  <a16:creationId xmlns:a16="http://schemas.microsoft.com/office/drawing/2014/main" id="{270AC950-9B8D-92A9-2E7A-577C75D59C30}"/>
                </a:ext>
              </a:extLst>
            </p:cNvPr>
            <p:cNvSpPr/>
            <p:nvPr/>
          </p:nvSpPr>
          <p:spPr>
            <a:xfrm>
              <a:off x="2146930" y="2027639"/>
              <a:ext cx="149" cy="1575"/>
            </a:xfrm>
            <a:custGeom>
              <a:avLst/>
              <a:gdLst/>
              <a:ahLst/>
              <a:cxnLst/>
              <a:rect l="l" t="t" r="r" b="b"/>
              <a:pathLst>
                <a:path w="11" h="116" extrusionOk="0">
                  <a:moveTo>
                    <a:pt x="11" y="0"/>
                  </a:moveTo>
                  <a:cubicBezTo>
                    <a:pt x="7" y="42"/>
                    <a:pt x="4" y="81"/>
                    <a:pt x="0" y="116"/>
                  </a:cubicBezTo>
                  <a:cubicBezTo>
                    <a:pt x="4" y="81"/>
                    <a:pt x="7" y="42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0" name="Google Shape;5127;p64">
              <a:extLst>
                <a:ext uri="{FF2B5EF4-FFF2-40B4-BE49-F238E27FC236}">
                  <a16:creationId xmlns:a16="http://schemas.microsoft.com/office/drawing/2014/main" id="{E4BAA460-4520-C1F1-75CF-4701B24AF62F}"/>
                </a:ext>
              </a:extLst>
            </p:cNvPr>
            <p:cNvSpPr/>
            <p:nvPr/>
          </p:nvSpPr>
          <p:spPr>
            <a:xfrm>
              <a:off x="2146549" y="2032201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1"/>
                  </a:moveTo>
                  <a:cubicBezTo>
                    <a:pt x="0" y="18"/>
                    <a:pt x="0" y="29"/>
                    <a:pt x="0" y="43"/>
                  </a:cubicBezTo>
                  <a:cubicBezTo>
                    <a:pt x="0" y="32"/>
                    <a:pt x="0" y="1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1" name="Google Shape;5128;p64">
              <a:extLst>
                <a:ext uri="{FF2B5EF4-FFF2-40B4-BE49-F238E27FC236}">
                  <a16:creationId xmlns:a16="http://schemas.microsoft.com/office/drawing/2014/main" id="{A2D220A2-619C-D12B-959F-D6FAF6ADF355}"/>
                </a:ext>
              </a:extLst>
            </p:cNvPr>
            <p:cNvSpPr/>
            <p:nvPr/>
          </p:nvSpPr>
          <p:spPr>
            <a:xfrm>
              <a:off x="2136135" y="2062329"/>
              <a:ext cx="3150" cy="543"/>
            </a:xfrm>
            <a:custGeom>
              <a:avLst/>
              <a:gdLst/>
              <a:ahLst/>
              <a:cxnLst/>
              <a:rect l="l" t="t" r="r" b="b"/>
              <a:pathLst>
                <a:path w="232" h="40" extrusionOk="0">
                  <a:moveTo>
                    <a:pt x="195" y="1"/>
                  </a:moveTo>
                  <a:cubicBezTo>
                    <a:pt x="118" y="1"/>
                    <a:pt x="24" y="4"/>
                    <a:pt x="0" y="40"/>
                  </a:cubicBezTo>
                  <a:cubicBezTo>
                    <a:pt x="28" y="1"/>
                    <a:pt x="151" y="1"/>
                    <a:pt x="231" y="1"/>
                  </a:cubicBezTo>
                  <a:cubicBezTo>
                    <a:pt x="220" y="1"/>
                    <a:pt x="208" y="1"/>
                    <a:pt x="1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2" name="Google Shape;5129;p64">
              <a:extLst>
                <a:ext uri="{FF2B5EF4-FFF2-40B4-BE49-F238E27FC236}">
                  <a16:creationId xmlns:a16="http://schemas.microsoft.com/office/drawing/2014/main" id="{5F39C178-9134-6714-D03D-04105BDA43D7}"/>
                </a:ext>
              </a:extLst>
            </p:cNvPr>
            <p:cNvSpPr/>
            <p:nvPr/>
          </p:nvSpPr>
          <p:spPr>
            <a:xfrm>
              <a:off x="2146454" y="2032921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14"/>
                    <a:pt x="0" y="25"/>
                    <a:pt x="0" y="35"/>
                  </a:cubicBezTo>
                  <a:cubicBezTo>
                    <a:pt x="4" y="25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3" name="Google Shape;5130;p64">
              <a:extLst>
                <a:ext uri="{FF2B5EF4-FFF2-40B4-BE49-F238E27FC236}">
                  <a16:creationId xmlns:a16="http://schemas.microsoft.com/office/drawing/2014/main" id="{7C5BEFEF-C7BA-D13F-D953-A81D15147EA4}"/>
                </a:ext>
              </a:extLst>
            </p:cNvPr>
            <p:cNvSpPr/>
            <p:nvPr/>
          </p:nvSpPr>
          <p:spPr>
            <a:xfrm>
              <a:off x="2208721" y="1867452"/>
              <a:ext cx="119645" cy="148131"/>
            </a:xfrm>
            <a:custGeom>
              <a:avLst/>
              <a:gdLst/>
              <a:ahLst/>
              <a:cxnLst/>
              <a:rect l="l" t="t" r="r" b="b"/>
              <a:pathLst>
                <a:path w="8812" h="10910" extrusionOk="0">
                  <a:moveTo>
                    <a:pt x="7299" y="1"/>
                  </a:moveTo>
                  <a:lnTo>
                    <a:pt x="7271" y="36"/>
                  </a:lnTo>
                  <a:lnTo>
                    <a:pt x="7268" y="43"/>
                  </a:lnTo>
                  <a:cubicBezTo>
                    <a:pt x="7261" y="53"/>
                    <a:pt x="7254" y="60"/>
                    <a:pt x="7247" y="71"/>
                  </a:cubicBezTo>
                  <a:lnTo>
                    <a:pt x="7240" y="74"/>
                  </a:lnTo>
                  <a:cubicBezTo>
                    <a:pt x="7233" y="81"/>
                    <a:pt x="7226" y="88"/>
                    <a:pt x="7219" y="95"/>
                  </a:cubicBezTo>
                  <a:cubicBezTo>
                    <a:pt x="7212" y="102"/>
                    <a:pt x="7205" y="106"/>
                    <a:pt x="7198" y="113"/>
                  </a:cubicBezTo>
                  <a:cubicBezTo>
                    <a:pt x="7187" y="116"/>
                    <a:pt x="7180" y="120"/>
                    <a:pt x="7173" y="123"/>
                  </a:cubicBezTo>
                  <a:lnTo>
                    <a:pt x="7170" y="123"/>
                  </a:lnTo>
                  <a:cubicBezTo>
                    <a:pt x="7163" y="123"/>
                    <a:pt x="7152" y="127"/>
                    <a:pt x="7145" y="127"/>
                  </a:cubicBezTo>
                  <a:lnTo>
                    <a:pt x="7138" y="127"/>
                  </a:lnTo>
                  <a:cubicBezTo>
                    <a:pt x="7131" y="130"/>
                    <a:pt x="7121" y="130"/>
                    <a:pt x="7110" y="130"/>
                  </a:cubicBezTo>
                  <a:lnTo>
                    <a:pt x="7019" y="130"/>
                  </a:lnTo>
                  <a:cubicBezTo>
                    <a:pt x="6995" y="130"/>
                    <a:pt x="6974" y="179"/>
                    <a:pt x="6949" y="246"/>
                  </a:cubicBezTo>
                  <a:cubicBezTo>
                    <a:pt x="6911" y="354"/>
                    <a:pt x="6855" y="519"/>
                    <a:pt x="6662" y="519"/>
                  </a:cubicBezTo>
                  <a:cubicBezTo>
                    <a:pt x="6561" y="519"/>
                    <a:pt x="6543" y="561"/>
                    <a:pt x="6515" y="631"/>
                  </a:cubicBezTo>
                  <a:cubicBezTo>
                    <a:pt x="6491" y="690"/>
                    <a:pt x="6456" y="778"/>
                    <a:pt x="6340" y="778"/>
                  </a:cubicBezTo>
                  <a:cubicBezTo>
                    <a:pt x="6190" y="778"/>
                    <a:pt x="6067" y="666"/>
                    <a:pt x="6018" y="617"/>
                  </a:cubicBezTo>
                  <a:lnTo>
                    <a:pt x="5311" y="617"/>
                  </a:lnTo>
                  <a:lnTo>
                    <a:pt x="5290" y="596"/>
                  </a:lnTo>
                  <a:cubicBezTo>
                    <a:pt x="5248" y="554"/>
                    <a:pt x="5172" y="504"/>
                    <a:pt x="5132" y="504"/>
                  </a:cubicBezTo>
                  <a:cubicBezTo>
                    <a:pt x="5125" y="504"/>
                    <a:pt x="5119" y="505"/>
                    <a:pt x="5115" y="508"/>
                  </a:cubicBezTo>
                  <a:lnTo>
                    <a:pt x="4905" y="648"/>
                  </a:lnTo>
                  <a:lnTo>
                    <a:pt x="1614" y="648"/>
                  </a:lnTo>
                  <a:lnTo>
                    <a:pt x="1614" y="1800"/>
                  </a:lnTo>
                  <a:lnTo>
                    <a:pt x="1099" y="1814"/>
                  </a:lnTo>
                  <a:lnTo>
                    <a:pt x="1099" y="3536"/>
                  </a:lnTo>
                  <a:cubicBezTo>
                    <a:pt x="1120" y="3922"/>
                    <a:pt x="1085" y="4139"/>
                    <a:pt x="984" y="4170"/>
                  </a:cubicBezTo>
                  <a:lnTo>
                    <a:pt x="952" y="4181"/>
                  </a:lnTo>
                  <a:cubicBezTo>
                    <a:pt x="627" y="4286"/>
                    <a:pt x="557" y="4366"/>
                    <a:pt x="557" y="4412"/>
                  </a:cubicBezTo>
                  <a:cubicBezTo>
                    <a:pt x="557" y="4576"/>
                    <a:pt x="529" y="4769"/>
                    <a:pt x="301" y="4814"/>
                  </a:cubicBezTo>
                  <a:cubicBezTo>
                    <a:pt x="277" y="4818"/>
                    <a:pt x="270" y="4856"/>
                    <a:pt x="266" y="4944"/>
                  </a:cubicBezTo>
                  <a:cubicBezTo>
                    <a:pt x="256" y="5049"/>
                    <a:pt x="242" y="5220"/>
                    <a:pt x="53" y="5220"/>
                  </a:cubicBezTo>
                  <a:lnTo>
                    <a:pt x="35" y="5220"/>
                  </a:lnTo>
                  <a:cubicBezTo>
                    <a:pt x="42" y="5245"/>
                    <a:pt x="53" y="5269"/>
                    <a:pt x="63" y="5290"/>
                  </a:cubicBezTo>
                  <a:cubicBezTo>
                    <a:pt x="102" y="5378"/>
                    <a:pt x="161" y="5511"/>
                    <a:pt x="63" y="5605"/>
                  </a:cubicBezTo>
                  <a:cubicBezTo>
                    <a:pt x="28" y="5637"/>
                    <a:pt x="4" y="5682"/>
                    <a:pt x="0" y="5728"/>
                  </a:cubicBezTo>
                  <a:cubicBezTo>
                    <a:pt x="0" y="5735"/>
                    <a:pt x="0" y="5742"/>
                    <a:pt x="0" y="5745"/>
                  </a:cubicBezTo>
                  <a:cubicBezTo>
                    <a:pt x="0" y="5749"/>
                    <a:pt x="0" y="5756"/>
                    <a:pt x="4" y="5759"/>
                  </a:cubicBezTo>
                  <a:cubicBezTo>
                    <a:pt x="19" y="5785"/>
                    <a:pt x="46" y="5799"/>
                    <a:pt x="75" y="5799"/>
                  </a:cubicBezTo>
                  <a:cubicBezTo>
                    <a:pt x="78" y="5799"/>
                    <a:pt x="81" y="5798"/>
                    <a:pt x="84" y="5798"/>
                  </a:cubicBezTo>
                  <a:cubicBezTo>
                    <a:pt x="88" y="5798"/>
                    <a:pt x="92" y="5798"/>
                    <a:pt x="96" y="5798"/>
                  </a:cubicBezTo>
                  <a:cubicBezTo>
                    <a:pt x="141" y="5798"/>
                    <a:pt x="185" y="5815"/>
                    <a:pt x="214" y="5847"/>
                  </a:cubicBezTo>
                  <a:cubicBezTo>
                    <a:pt x="277" y="5914"/>
                    <a:pt x="266" y="6015"/>
                    <a:pt x="259" y="6134"/>
                  </a:cubicBezTo>
                  <a:cubicBezTo>
                    <a:pt x="256" y="6176"/>
                    <a:pt x="252" y="6222"/>
                    <a:pt x="252" y="6267"/>
                  </a:cubicBezTo>
                  <a:cubicBezTo>
                    <a:pt x="252" y="6278"/>
                    <a:pt x="252" y="6285"/>
                    <a:pt x="256" y="6295"/>
                  </a:cubicBezTo>
                  <a:cubicBezTo>
                    <a:pt x="256" y="6299"/>
                    <a:pt x="256" y="6302"/>
                    <a:pt x="256" y="6309"/>
                  </a:cubicBezTo>
                  <a:cubicBezTo>
                    <a:pt x="259" y="6313"/>
                    <a:pt x="256" y="6316"/>
                    <a:pt x="259" y="6320"/>
                  </a:cubicBezTo>
                  <a:cubicBezTo>
                    <a:pt x="263" y="6323"/>
                    <a:pt x="263" y="6330"/>
                    <a:pt x="266" y="6337"/>
                  </a:cubicBezTo>
                  <a:lnTo>
                    <a:pt x="270" y="6344"/>
                  </a:lnTo>
                  <a:cubicBezTo>
                    <a:pt x="273" y="6348"/>
                    <a:pt x="277" y="6355"/>
                    <a:pt x="280" y="6362"/>
                  </a:cubicBezTo>
                  <a:cubicBezTo>
                    <a:pt x="298" y="6393"/>
                    <a:pt x="322" y="6425"/>
                    <a:pt x="350" y="6449"/>
                  </a:cubicBezTo>
                  <a:cubicBezTo>
                    <a:pt x="392" y="6484"/>
                    <a:pt x="434" y="6516"/>
                    <a:pt x="483" y="6544"/>
                  </a:cubicBezTo>
                  <a:lnTo>
                    <a:pt x="487" y="6544"/>
                  </a:lnTo>
                  <a:lnTo>
                    <a:pt x="536" y="6568"/>
                  </a:lnTo>
                  <a:lnTo>
                    <a:pt x="476" y="6768"/>
                  </a:lnTo>
                  <a:lnTo>
                    <a:pt x="462" y="6820"/>
                  </a:lnTo>
                  <a:lnTo>
                    <a:pt x="469" y="6827"/>
                  </a:lnTo>
                  <a:cubicBezTo>
                    <a:pt x="581" y="6964"/>
                    <a:pt x="826" y="7261"/>
                    <a:pt x="858" y="7356"/>
                  </a:cubicBezTo>
                  <a:cubicBezTo>
                    <a:pt x="861" y="7366"/>
                    <a:pt x="865" y="7380"/>
                    <a:pt x="872" y="7391"/>
                  </a:cubicBezTo>
                  <a:lnTo>
                    <a:pt x="889" y="7429"/>
                  </a:lnTo>
                  <a:cubicBezTo>
                    <a:pt x="942" y="7527"/>
                    <a:pt x="1008" y="7667"/>
                    <a:pt x="970" y="7783"/>
                  </a:cubicBezTo>
                  <a:cubicBezTo>
                    <a:pt x="952" y="7839"/>
                    <a:pt x="910" y="7884"/>
                    <a:pt x="858" y="7909"/>
                  </a:cubicBezTo>
                  <a:cubicBezTo>
                    <a:pt x="798" y="7937"/>
                    <a:pt x="784" y="7961"/>
                    <a:pt x="781" y="7972"/>
                  </a:cubicBezTo>
                  <a:cubicBezTo>
                    <a:pt x="781" y="7979"/>
                    <a:pt x="784" y="7983"/>
                    <a:pt x="791" y="7990"/>
                  </a:cubicBezTo>
                  <a:lnTo>
                    <a:pt x="1043" y="8025"/>
                  </a:lnTo>
                  <a:lnTo>
                    <a:pt x="1110" y="8193"/>
                  </a:lnTo>
                  <a:cubicBezTo>
                    <a:pt x="1253" y="8203"/>
                    <a:pt x="1386" y="8263"/>
                    <a:pt x="1495" y="8354"/>
                  </a:cubicBezTo>
                  <a:cubicBezTo>
                    <a:pt x="1516" y="8375"/>
                    <a:pt x="1534" y="8392"/>
                    <a:pt x="1555" y="8413"/>
                  </a:cubicBezTo>
                  <a:cubicBezTo>
                    <a:pt x="1600" y="8473"/>
                    <a:pt x="1642" y="8515"/>
                    <a:pt x="1670" y="8550"/>
                  </a:cubicBezTo>
                  <a:cubicBezTo>
                    <a:pt x="1758" y="8644"/>
                    <a:pt x="1803" y="8697"/>
                    <a:pt x="1803" y="8795"/>
                  </a:cubicBezTo>
                  <a:cubicBezTo>
                    <a:pt x="1803" y="8823"/>
                    <a:pt x="1842" y="8847"/>
                    <a:pt x="1922" y="8903"/>
                  </a:cubicBezTo>
                  <a:cubicBezTo>
                    <a:pt x="1989" y="8949"/>
                    <a:pt x="2055" y="8994"/>
                    <a:pt x="2118" y="9047"/>
                  </a:cubicBezTo>
                  <a:cubicBezTo>
                    <a:pt x="2342" y="9232"/>
                    <a:pt x="2342" y="9355"/>
                    <a:pt x="2342" y="9463"/>
                  </a:cubicBezTo>
                  <a:cubicBezTo>
                    <a:pt x="2360" y="9505"/>
                    <a:pt x="2514" y="9603"/>
                    <a:pt x="2675" y="9677"/>
                  </a:cubicBezTo>
                  <a:lnTo>
                    <a:pt x="2685" y="9684"/>
                  </a:lnTo>
                  <a:lnTo>
                    <a:pt x="2699" y="9687"/>
                  </a:lnTo>
                  <a:lnTo>
                    <a:pt x="2713" y="9729"/>
                  </a:lnTo>
                  <a:lnTo>
                    <a:pt x="2825" y="10006"/>
                  </a:lnTo>
                  <a:lnTo>
                    <a:pt x="2829" y="10009"/>
                  </a:lnTo>
                  <a:lnTo>
                    <a:pt x="2846" y="10020"/>
                  </a:lnTo>
                  <a:lnTo>
                    <a:pt x="2853" y="10023"/>
                  </a:lnTo>
                  <a:lnTo>
                    <a:pt x="2871" y="10037"/>
                  </a:lnTo>
                  <a:lnTo>
                    <a:pt x="2878" y="10041"/>
                  </a:lnTo>
                  <a:lnTo>
                    <a:pt x="2892" y="10055"/>
                  </a:lnTo>
                  <a:lnTo>
                    <a:pt x="2902" y="10062"/>
                  </a:lnTo>
                  <a:lnTo>
                    <a:pt x="2916" y="10076"/>
                  </a:lnTo>
                  <a:lnTo>
                    <a:pt x="2923" y="10083"/>
                  </a:lnTo>
                  <a:lnTo>
                    <a:pt x="2934" y="10101"/>
                  </a:lnTo>
                  <a:lnTo>
                    <a:pt x="2944" y="10111"/>
                  </a:lnTo>
                  <a:cubicBezTo>
                    <a:pt x="2948" y="10115"/>
                    <a:pt x="2951" y="10122"/>
                    <a:pt x="2955" y="10129"/>
                  </a:cubicBezTo>
                  <a:lnTo>
                    <a:pt x="2962" y="10139"/>
                  </a:lnTo>
                  <a:cubicBezTo>
                    <a:pt x="2965" y="10150"/>
                    <a:pt x="2972" y="10160"/>
                    <a:pt x="2976" y="10171"/>
                  </a:cubicBezTo>
                  <a:cubicBezTo>
                    <a:pt x="2979" y="10178"/>
                    <a:pt x="2983" y="10188"/>
                    <a:pt x="2986" y="10199"/>
                  </a:cubicBezTo>
                  <a:cubicBezTo>
                    <a:pt x="3035" y="10286"/>
                    <a:pt x="3105" y="10360"/>
                    <a:pt x="3193" y="10416"/>
                  </a:cubicBezTo>
                  <a:cubicBezTo>
                    <a:pt x="3198" y="10418"/>
                    <a:pt x="3270" y="10465"/>
                    <a:pt x="3345" y="10465"/>
                  </a:cubicBezTo>
                  <a:cubicBezTo>
                    <a:pt x="3381" y="10465"/>
                    <a:pt x="3418" y="10454"/>
                    <a:pt x="3448" y="10423"/>
                  </a:cubicBezTo>
                  <a:cubicBezTo>
                    <a:pt x="3490" y="10377"/>
                    <a:pt x="3553" y="10353"/>
                    <a:pt x="3613" y="10353"/>
                  </a:cubicBezTo>
                  <a:cubicBezTo>
                    <a:pt x="3669" y="10353"/>
                    <a:pt x="3722" y="10367"/>
                    <a:pt x="3767" y="10395"/>
                  </a:cubicBezTo>
                  <a:cubicBezTo>
                    <a:pt x="3778" y="10402"/>
                    <a:pt x="3792" y="10412"/>
                    <a:pt x="3802" y="10419"/>
                  </a:cubicBezTo>
                  <a:cubicBezTo>
                    <a:pt x="3850" y="10390"/>
                    <a:pt x="3928" y="10350"/>
                    <a:pt x="4004" y="10350"/>
                  </a:cubicBezTo>
                  <a:cubicBezTo>
                    <a:pt x="4040" y="10350"/>
                    <a:pt x="4075" y="10359"/>
                    <a:pt x="4107" y="10381"/>
                  </a:cubicBezTo>
                  <a:lnTo>
                    <a:pt x="4124" y="10391"/>
                  </a:lnTo>
                  <a:lnTo>
                    <a:pt x="4131" y="10398"/>
                  </a:lnTo>
                  <a:lnTo>
                    <a:pt x="4142" y="10405"/>
                  </a:lnTo>
                  <a:lnTo>
                    <a:pt x="4156" y="10416"/>
                  </a:lnTo>
                  <a:lnTo>
                    <a:pt x="4170" y="10426"/>
                  </a:lnTo>
                  <a:lnTo>
                    <a:pt x="4184" y="10440"/>
                  </a:lnTo>
                  <a:lnTo>
                    <a:pt x="4198" y="10447"/>
                  </a:lnTo>
                  <a:lnTo>
                    <a:pt x="4219" y="10465"/>
                  </a:lnTo>
                  <a:lnTo>
                    <a:pt x="4229" y="10475"/>
                  </a:lnTo>
                  <a:lnTo>
                    <a:pt x="4254" y="10493"/>
                  </a:lnTo>
                  <a:lnTo>
                    <a:pt x="4268" y="10503"/>
                  </a:lnTo>
                  <a:lnTo>
                    <a:pt x="4289" y="10524"/>
                  </a:lnTo>
                  <a:lnTo>
                    <a:pt x="4306" y="10535"/>
                  </a:lnTo>
                  <a:lnTo>
                    <a:pt x="4327" y="10556"/>
                  </a:lnTo>
                  <a:lnTo>
                    <a:pt x="4348" y="10570"/>
                  </a:lnTo>
                  <a:lnTo>
                    <a:pt x="4369" y="10591"/>
                  </a:lnTo>
                  <a:lnTo>
                    <a:pt x="4394" y="10608"/>
                  </a:lnTo>
                  <a:lnTo>
                    <a:pt x="4415" y="10626"/>
                  </a:lnTo>
                  <a:lnTo>
                    <a:pt x="4439" y="10647"/>
                  </a:lnTo>
                  <a:lnTo>
                    <a:pt x="4460" y="10664"/>
                  </a:lnTo>
                  <a:lnTo>
                    <a:pt x="4488" y="10689"/>
                  </a:lnTo>
                  <a:lnTo>
                    <a:pt x="4506" y="10706"/>
                  </a:lnTo>
                  <a:lnTo>
                    <a:pt x="4537" y="10731"/>
                  </a:lnTo>
                  <a:lnTo>
                    <a:pt x="4555" y="10748"/>
                  </a:lnTo>
                  <a:lnTo>
                    <a:pt x="4586" y="10776"/>
                  </a:lnTo>
                  <a:lnTo>
                    <a:pt x="4604" y="10790"/>
                  </a:lnTo>
                  <a:lnTo>
                    <a:pt x="4635" y="10818"/>
                  </a:lnTo>
                  <a:lnTo>
                    <a:pt x="4653" y="10836"/>
                  </a:lnTo>
                  <a:lnTo>
                    <a:pt x="4688" y="10864"/>
                  </a:lnTo>
                  <a:lnTo>
                    <a:pt x="4702" y="10878"/>
                  </a:lnTo>
                  <a:lnTo>
                    <a:pt x="4716" y="10892"/>
                  </a:lnTo>
                  <a:cubicBezTo>
                    <a:pt x="4761" y="10874"/>
                    <a:pt x="4831" y="10850"/>
                    <a:pt x="4905" y="10829"/>
                  </a:cubicBezTo>
                  <a:lnTo>
                    <a:pt x="4954" y="10815"/>
                  </a:lnTo>
                  <a:lnTo>
                    <a:pt x="4964" y="10811"/>
                  </a:lnTo>
                  <a:lnTo>
                    <a:pt x="5010" y="10801"/>
                  </a:lnTo>
                  <a:lnTo>
                    <a:pt x="5013" y="10801"/>
                  </a:lnTo>
                  <a:lnTo>
                    <a:pt x="5059" y="10790"/>
                  </a:lnTo>
                  <a:lnTo>
                    <a:pt x="5066" y="10790"/>
                  </a:lnTo>
                  <a:cubicBezTo>
                    <a:pt x="5080" y="10787"/>
                    <a:pt x="5090" y="10787"/>
                    <a:pt x="5104" y="10787"/>
                  </a:cubicBezTo>
                  <a:lnTo>
                    <a:pt x="5167" y="10787"/>
                  </a:lnTo>
                  <a:lnTo>
                    <a:pt x="5188" y="10794"/>
                  </a:lnTo>
                  <a:lnTo>
                    <a:pt x="5195" y="10794"/>
                  </a:lnTo>
                  <a:lnTo>
                    <a:pt x="5220" y="10804"/>
                  </a:lnTo>
                  <a:lnTo>
                    <a:pt x="5223" y="10804"/>
                  </a:lnTo>
                  <a:lnTo>
                    <a:pt x="5251" y="10815"/>
                  </a:lnTo>
                  <a:lnTo>
                    <a:pt x="5279" y="10832"/>
                  </a:lnTo>
                  <a:lnTo>
                    <a:pt x="5304" y="10846"/>
                  </a:lnTo>
                  <a:lnTo>
                    <a:pt x="5311" y="10846"/>
                  </a:lnTo>
                  <a:lnTo>
                    <a:pt x="5318" y="10853"/>
                  </a:lnTo>
                  <a:lnTo>
                    <a:pt x="5335" y="10864"/>
                  </a:lnTo>
                  <a:cubicBezTo>
                    <a:pt x="5360" y="10881"/>
                    <a:pt x="5384" y="10895"/>
                    <a:pt x="5409" y="10909"/>
                  </a:cubicBezTo>
                  <a:cubicBezTo>
                    <a:pt x="5479" y="10834"/>
                    <a:pt x="5660" y="10752"/>
                    <a:pt x="5791" y="10752"/>
                  </a:cubicBezTo>
                  <a:cubicBezTo>
                    <a:pt x="5824" y="10752"/>
                    <a:pt x="5854" y="10757"/>
                    <a:pt x="5878" y="10769"/>
                  </a:cubicBezTo>
                  <a:cubicBezTo>
                    <a:pt x="5920" y="10791"/>
                    <a:pt x="5985" y="10801"/>
                    <a:pt x="6038" y="10801"/>
                  </a:cubicBezTo>
                  <a:cubicBezTo>
                    <a:pt x="6078" y="10801"/>
                    <a:pt x="6112" y="10796"/>
                    <a:pt x="6127" y="10787"/>
                  </a:cubicBezTo>
                  <a:cubicBezTo>
                    <a:pt x="6137" y="10724"/>
                    <a:pt x="6204" y="10675"/>
                    <a:pt x="6270" y="10622"/>
                  </a:cubicBezTo>
                  <a:cubicBezTo>
                    <a:pt x="6291" y="10608"/>
                    <a:pt x="6312" y="10594"/>
                    <a:pt x="6333" y="10577"/>
                  </a:cubicBezTo>
                  <a:cubicBezTo>
                    <a:pt x="6351" y="10563"/>
                    <a:pt x="6365" y="10549"/>
                    <a:pt x="6379" y="10528"/>
                  </a:cubicBezTo>
                  <a:cubicBezTo>
                    <a:pt x="6379" y="10528"/>
                    <a:pt x="6379" y="10524"/>
                    <a:pt x="6379" y="10524"/>
                  </a:cubicBezTo>
                  <a:cubicBezTo>
                    <a:pt x="6414" y="10381"/>
                    <a:pt x="6746" y="10206"/>
                    <a:pt x="6869" y="10181"/>
                  </a:cubicBezTo>
                  <a:cubicBezTo>
                    <a:pt x="6933" y="10168"/>
                    <a:pt x="6989" y="10162"/>
                    <a:pt x="7039" y="10162"/>
                  </a:cubicBezTo>
                  <a:cubicBezTo>
                    <a:pt x="7141" y="10162"/>
                    <a:pt x="7213" y="10189"/>
                    <a:pt x="7257" y="10241"/>
                  </a:cubicBezTo>
                  <a:cubicBezTo>
                    <a:pt x="7261" y="10248"/>
                    <a:pt x="7268" y="10251"/>
                    <a:pt x="7271" y="10255"/>
                  </a:cubicBezTo>
                  <a:cubicBezTo>
                    <a:pt x="7278" y="10258"/>
                    <a:pt x="7285" y="10262"/>
                    <a:pt x="7292" y="10265"/>
                  </a:cubicBezTo>
                  <a:lnTo>
                    <a:pt x="7292" y="10251"/>
                  </a:lnTo>
                  <a:lnTo>
                    <a:pt x="7299" y="10209"/>
                  </a:lnTo>
                  <a:lnTo>
                    <a:pt x="7306" y="10185"/>
                  </a:lnTo>
                  <a:lnTo>
                    <a:pt x="7313" y="10129"/>
                  </a:lnTo>
                  <a:cubicBezTo>
                    <a:pt x="7327" y="10073"/>
                    <a:pt x="7334" y="10009"/>
                    <a:pt x="7338" y="9950"/>
                  </a:cubicBezTo>
                  <a:cubicBezTo>
                    <a:pt x="7166" y="9939"/>
                    <a:pt x="6890" y="9785"/>
                    <a:pt x="6785" y="9502"/>
                  </a:cubicBezTo>
                  <a:cubicBezTo>
                    <a:pt x="6732" y="9362"/>
                    <a:pt x="6613" y="9246"/>
                    <a:pt x="6512" y="9148"/>
                  </a:cubicBezTo>
                  <a:lnTo>
                    <a:pt x="6480" y="9113"/>
                  </a:lnTo>
                  <a:cubicBezTo>
                    <a:pt x="6449" y="9082"/>
                    <a:pt x="6417" y="9050"/>
                    <a:pt x="6393" y="9022"/>
                  </a:cubicBezTo>
                  <a:lnTo>
                    <a:pt x="6393" y="9019"/>
                  </a:lnTo>
                  <a:lnTo>
                    <a:pt x="6372" y="8994"/>
                  </a:lnTo>
                  <a:lnTo>
                    <a:pt x="6368" y="8987"/>
                  </a:lnTo>
                  <a:cubicBezTo>
                    <a:pt x="6361" y="8980"/>
                    <a:pt x="6354" y="8970"/>
                    <a:pt x="6347" y="8963"/>
                  </a:cubicBezTo>
                  <a:lnTo>
                    <a:pt x="6347" y="8956"/>
                  </a:lnTo>
                  <a:cubicBezTo>
                    <a:pt x="6333" y="8938"/>
                    <a:pt x="6319" y="8917"/>
                    <a:pt x="6312" y="8893"/>
                  </a:cubicBezTo>
                  <a:cubicBezTo>
                    <a:pt x="6295" y="8847"/>
                    <a:pt x="6225" y="8819"/>
                    <a:pt x="6148" y="8798"/>
                  </a:cubicBezTo>
                  <a:lnTo>
                    <a:pt x="6081" y="8781"/>
                  </a:lnTo>
                  <a:cubicBezTo>
                    <a:pt x="5969" y="8749"/>
                    <a:pt x="5850" y="8718"/>
                    <a:pt x="5808" y="8627"/>
                  </a:cubicBezTo>
                  <a:cubicBezTo>
                    <a:pt x="5752" y="8518"/>
                    <a:pt x="5808" y="8452"/>
                    <a:pt x="5847" y="8410"/>
                  </a:cubicBezTo>
                  <a:cubicBezTo>
                    <a:pt x="5882" y="8382"/>
                    <a:pt x="5899" y="8340"/>
                    <a:pt x="5903" y="8294"/>
                  </a:cubicBezTo>
                  <a:cubicBezTo>
                    <a:pt x="5899" y="8256"/>
                    <a:pt x="5917" y="8217"/>
                    <a:pt x="5945" y="8189"/>
                  </a:cubicBezTo>
                  <a:cubicBezTo>
                    <a:pt x="5966" y="8172"/>
                    <a:pt x="5990" y="8158"/>
                    <a:pt x="6015" y="8147"/>
                  </a:cubicBezTo>
                  <a:cubicBezTo>
                    <a:pt x="6064" y="8132"/>
                    <a:pt x="6114" y="8125"/>
                    <a:pt x="6165" y="8125"/>
                  </a:cubicBezTo>
                  <a:cubicBezTo>
                    <a:pt x="6176" y="8125"/>
                    <a:pt x="6186" y="8125"/>
                    <a:pt x="6197" y="8126"/>
                  </a:cubicBezTo>
                  <a:cubicBezTo>
                    <a:pt x="6228" y="8126"/>
                    <a:pt x="6260" y="8130"/>
                    <a:pt x="6291" y="8133"/>
                  </a:cubicBezTo>
                  <a:lnTo>
                    <a:pt x="6358" y="8133"/>
                  </a:lnTo>
                  <a:cubicBezTo>
                    <a:pt x="6389" y="7954"/>
                    <a:pt x="6407" y="7769"/>
                    <a:pt x="6407" y="7583"/>
                  </a:cubicBezTo>
                  <a:cubicBezTo>
                    <a:pt x="6407" y="7471"/>
                    <a:pt x="6473" y="7366"/>
                    <a:pt x="6529" y="7279"/>
                  </a:cubicBezTo>
                  <a:cubicBezTo>
                    <a:pt x="6564" y="7223"/>
                    <a:pt x="6613" y="7142"/>
                    <a:pt x="6596" y="7125"/>
                  </a:cubicBezTo>
                  <a:cubicBezTo>
                    <a:pt x="6564" y="7097"/>
                    <a:pt x="6547" y="7055"/>
                    <a:pt x="6554" y="7013"/>
                  </a:cubicBezTo>
                  <a:cubicBezTo>
                    <a:pt x="6564" y="6943"/>
                    <a:pt x="6634" y="6904"/>
                    <a:pt x="6715" y="6866"/>
                  </a:cubicBezTo>
                  <a:cubicBezTo>
                    <a:pt x="6760" y="6841"/>
                    <a:pt x="6802" y="6817"/>
                    <a:pt x="6841" y="6789"/>
                  </a:cubicBezTo>
                  <a:cubicBezTo>
                    <a:pt x="6886" y="6757"/>
                    <a:pt x="6893" y="6670"/>
                    <a:pt x="6900" y="6579"/>
                  </a:cubicBezTo>
                  <a:cubicBezTo>
                    <a:pt x="6907" y="6467"/>
                    <a:pt x="6918" y="6341"/>
                    <a:pt x="7002" y="6257"/>
                  </a:cubicBezTo>
                  <a:cubicBezTo>
                    <a:pt x="7058" y="6194"/>
                    <a:pt x="7103" y="6131"/>
                    <a:pt x="7145" y="6061"/>
                  </a:cubicBezTo>
                  <a:cubicBezTo>
                    <a:pt x="7226" y="5938"/>
                    <a:pt x="7292" y="5829"/>
                    <a:pt x="7387" y="5829"/>
                  </a:cubicBezTo>
                  <a:cubicBezTo>
                    <a:pt x="7450" y="5829"/>
                    <a:pt x="7558" y="5728"/>
                    <a:pt x="7558" y="5626"/>
                  </a:cubicBezTo>
                  <a:cubicBezTo>
                    <a:pt x="7558" y="5556"/>
                    <a:pt x="7597" y="5476"/>
                    <a:pt x="7646" y="5381"/>
                  </a:cubicBezTo>
                  <a:lnTo>
                    <a:pt x="7670" y="5332"/>
                  </a:lnTo>
                  <a:lnTo>
                    <a:pt x="7677" y="5318"/>
                  </a:lnTo>
                  <a:lnTo>
                    <a:pt x="7691" y="5287"/>
                  </a:lnTo>
                  <a:lnTo>
                    <a:pt x="7702" y="5266"/>
                  </a:lnTo>
                  <a:cubicBezTo>
                    <a:pt x="7705" y="5255"/>
                    <a:pt x="7709" y="5245"/>
                    <a:pt x="7713" y="5238"/>
                  </a:cubicBezTo>
                  <a:cubicBezTo>
                    <a:pt x="7720" y="5227"/>
                    <a:pt x="7720" y="5220"/>
                    <a:pt x="7723" y="5217"/>
                  </a:cubicBezTo>
                  <a:cubicBezTo>
                    <a:pt x="7727" y="5210"/>
                    <a:pt x="7730" y="5196"/>
                    <a:pt x="7734" y="5189"/>
                  </a:cubicBezTo>
                  <a:cubicBezTo>
                    <a:pt x="7737" y="5178"/>
                    <a:pt x="7737" y="5171"/>
                    <a:pt x="7741" y="5164"/>
                  </a:cubicBezTo>
                  <a:cubicBezTo>
                    <a:pt x="7741" y="5157"/>
                    <a:pt x="7748" y="5147"/>
                    <a:pt x="7748" y="5140"/>
                  </a:cubicBezTo>
                  <a:cubicBezTo>
                    <a:pt x="7751" y="5129"/>
                    <a:pt x="7751" y="5122"/>
                    <a:pt x="7755" y="5115"/>
                  </a:cubicBezTo>
                  <a:cubicBezTo>
                    <a:pt x="7755" y="5108"/>
                    <a:pt x="7758" y="5098"/>
                    <a:pt x="7758" y="5091"/>
                  </a:cubicBezTo>
                  <a:cubicBezTo>
                    <a:pt x="7762" y="5080"/>
                    <a:pt x="7758" y="5077"/>
                    <a:pt x="7762" y="5070"/>
                  </a:cubicBezTo>
                  <a:cubicBezTo>
                    <a:pt x="7765" y="5059"/>
                    <a:pt x="7762" y="5052"/>
                    <a:pt x="7765" y="5042"/>
                  </a:cubicBezTo>
                  <a:cubicBezTo>
                    <a:pt x="7765" y="5035"/>
                    <a:pt x="7765" y="5028"/>
                    <a:pt x="7765" y="5021"/>
                  </a:cubicBezTo>
                  <a:lnTo>
                    <a:pt x="7765" y="4996"/>
                  </a:lnTo>
                  <a:lnTo>
                    <a:pt x="7765" y="4986"/>
                  </a:lnTo>
                  <a:cubicBezTo>
                    <a:pt x="7762" y="4958"/>
                    <a:pt x="7755" y="4930"/>
                    <a:pt x="7751" y="4898"/>
                  </a:cubicBezTo>
                  <a:lnTo>
                    <a:pt x="7744" y="4863"/>
                  </a:lnTo>
                  <a:cubicBezTo>
                    <a:pt x="7716" y="4748"/>
                    <a:pt x="7705" y="4632"/>
                    <a:pt x="7702" y="4517"/>
                  </a:cubicBezTo>
                  <a:lnTo>
                    <a:pt x="7702" y="4499"/>
                  </a:lnTo>
                  <a:lnTo>
                    <a:pt x="7702" y="4475"/>
                  </a:lnTo>
                  <a:cubicBezTo>
                    <a:pt x="7702" y="4468"/>
                    <a:pt x="7705" y="4447"/>
                    <a:pt x="7709" y="4433"/>
                  </a:cubicBezTo>
                  <a:cubicBezTo>
                    <a:pt x="7720" y="4349"/>
                    <a:pt x="7755" y="4268"/>
                    <a:pt x="7807" y="4202"/>
                  </a:cubicBezTo>
                  <a:lnTo>
                    <a:pt x="7811" y="4195"/>
                  </a:lnTo>
                  <a:cubicBezTo>
                    <a:pt x="7891" y="4107"/>
                    <a:pt x="7954" y="4002"/>
                    <a:pt x="7993" y="3890"/>
                  </a:cubicBezTo>
                  <a:cubicBezTo>
                    <a:pt x="8003" y="3848"/>
                    <a:pt x="8007" y="3806"/>
                    <a:pt x="8007" y="3767"/>
                  </a:cubicBezTo>
                  <a:cubicBezTo>
                    <a:pt x="8007" y="3746"/>
                    <a:pt x="8003" y="3729"/>
                    <a:pt x="8000" y="3711"/>
                  </a:cubicBezTo>
                  <a:cubicBezTo>
                    <a:pt x="7968" y="3550"/>
                    <a:pt x="8105" y="3477"/>
                    <a:pt x="8206" y="3421"/>
                  </a:cubicBezTo>
                  <a:cubicBezTo>
                    <a:pt x="8248" y="3403"/>
                    <a:pt x="8287" y="3379"/>
                    <a:pt x="8322" y="3347"/>
                  </a:cubicBezTo>
                  <a:cubicBezTo>
                    <a:pt x="8329" y="3344"/>
                    <a:pt x="8332" y="3337"/>
                    <a:pt x="8339" y="3333"/>
                  </a:cubicBezTo>
                  <a:lnTo>
                    <a:pt x="8343" y="3330"/>
                  </a:lnTo>
                  <a:lnTo>
                    <a:pt x="8350" y="3326"/>
                  </a:lnTo>
                  <a:lnTo>
                    <a:pt x="8367" y="3312"/>
                  </a:lnTo>
                  <a:lnTo>
                    <a:pt x="8395" y="3291"/>
                  </a:lnTo>
                  <a:lnTo>
                    <a:pt x="8427" y="3270"/>
                  </a:lnTo>
                  <a:lnTo>
                    <a:pt x="8469" y="3242"/>
                  </a:lnTo>
                  <a:lnTo>
                    <a:pt x="8483" y="3232"/>
                  </a:lnTo>
                  <a:lnTo>
                    <a:pt x="8514" y="3211"/>
                  </a:lnTo>
                  <a:lnTo>
                    <a:pt x="8532" y="3197"/>
                  </a:lnTo>
                  <a:lnTo>
                    <a:pt x="8567" y="3172"/>
                  </a:lnTo>
                  <a:lnTo>
                    <a:pt x="8584" y="3155"/>
                  </a:lnTo>
                  <a:lnTo>
                    <a:pt x="8616" y="3130"/>
                  </a:lnTo>
                  <a:lnTo>
                    <a:pt x="8637" y="3109"/>
                  </a:lnTo>
                  <a:lnTo>
                    <a:pt x="8668" y="3081"/>
                  </a:lnTo>
                  <a:lnTo>
                    <a:pt x="8693" y="3057"/>
                  </a:lnTo>
                  <a:cubicBezTo>
                    <a:pt x="8703" y="3046"/>
                    <a:pt x="8710" y="3036"/>
                    <a:pt x="8721" y="3025"/>
                  </a:cubicBezTo>
                  <a:lnTo>
                    <a:pt x="8745" y="2997"/>
                  </a:lnTo>
                  <a:cubicBezTo>
                    <a:pt x="8756" y="2987"/>
                    <a:pt x="8763" y="2973"/>
                    <a:pt x="8773" y="2962"/>
                  </a:cubicBezTo>
                  <a:lnTo>
                    <a:pt x="8798" y="2931"/>
                  </a:lnTo>
                  <a:lnTo>
                    <a:pt x="8812" y="2910"/>
                  </a:lnTo>
                  <a:cubicBezTo>
                    <a:pt x="8703" y="2784"/>
                    <a:pt x="8591" y="2682"/>
                    <a:pt x="8525" y="2654"/>
                  </a:cubicBezTo>
                  <a:cubicBezTo>
                    <a:pt x="8308" y="2553"/>
                    <a:pt x="8164" y="2192"/>
                    <a:pt x="8164" y="1737"/>
                  </a:cubicBezTo>
                  <a:cubicBezTo>
                    <a:pt x="8161" y="1488"/>
                    <a:pt x="8129" y="1240"/>
                    <a:pt x="8073" y="998"/>
                  </a:cubicBezTo>
                  <a:cubicBezTo>
                    <a:pt x="8059" y="932"/>
                    <a:pt x="8049" y="879"/>
                    <a:pt x="8042" y="837"/>
                  </a:cubicBezTo>
                  <a:cubicBezTo>
                    <a:pt x="8028" y="725"/>
                    <a:pt x="7832" y="449"/>
                    <a:pt x="7600" y="323"/>
                  </a:cubicBezTo>
                  <a:cubicBezTo>
                    <a:pt x="7464" y="253"/>
                    <a:pt x="7359" y="137"/>
                    <a:pt x="72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4" name="Google Shape;5131;p64">
              <a:extLst>
                <a:ext uri="{FF2B5EF4-FFF2-40B4-BE49-F238E27FC236}">
                  <a16:creationId xmlns:a16="http://schemas.microsoft.com/office/drawing/2014/main" id="{A9303500-3B6C-34D4-9A12-C8C07264124F}"/>
                </a:ext>
              </a:extLst>
            </p:cNvPr>
            <p:cNvSpPr/>
            <p:nvPr/>
          </p:nvSpPr>
          <p:spPr>
            <a:xfrm>
              <a:off x="2215129" y="1960186"/>
              <a:ext cx="5295" cy="7196"/>
            </a:xfrm>
            <a:custGeom>
              <a:avLst/>
              <a:gdLst/>
              <a:ahLst/>
              <a:cxnLst/>
              <a:rect l="l" t="t" r="r" b="b"/>
              <a:pathLst>
                <a:path w="390" h="530" extrusionOk="0">
                  <a:moveTo>
                    <a:pt x="1" y="1"/>
                  </a:moveTo>
                  <a:lnTo>
                    <a:pt x="1" y="1"/>
                  </a:lnTo>
                  <a:cubicBezTo>
                    <a:pt x="22" y="27"/>
                    <a:pt x="49" y="59"/>
                    <a:pt x="77" y="94"/>
                  </a:cubicBezTo>
                  <a:lnTo>
                    <a:pt x="77" y="94"/>
                  </a:lnTo>
                  <a:lnTo>
                    <a:pt x="74" y="88"/>
                  </a:lnTo>
                  <a:lnTo>
                    <a:pt x="1" y="1"/>
                  </a:lnTo>
                  <a:close/>
                  <a:moveTo>
                    <a:pt x="77" y="94"/>
                  </a:moveTo>
                  <a:lnTo>
                    <a:pt x="81" y="102"/>
                  </a:lnTo>
                  <a:cubicBezTo>
                    <a:pt x="200" y="246"/>
                    <a:pt x="361" y="452"/>
                    <a:pt x="389" y="529"/>
                  </a:cubicBezTo>
                  <a:cubicBezTo>
                    <a:pt x="364" y="453"/>
                    <a:pt x="199" y="244"/>
                    <a:pt x="77" y="9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5" name="Google Shape;5132;p64">
              <a:extLst>
                <a:ext uri="{FF2B5EF4-FFF2-40B4-BE49-F238E27FC236}">
                  <a16:creationId xmlns:a16="http://schemas.microsoft.com/office/drawing/2014/main" id="{FA15725E-D0B2-B79A-D15F-0DDF277C9976}"/>
                </a:ext>
              </a:extLst>
            </p:cNvPr>
            <p:cNvSpPr/>
            <p:nvPr/>
          </p:nvSpPr>
          <p:spPr>
            <a:xfrm>
              <a:off x="2245217" y="1998977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29" y="46"/>
                  </a:moveTo>
                  <a:lnTo>
                    <a:pt x="15" y="4"/>
                  </a:lnTo>
                  <a:lnTo>
                    <a:pt x="1" y="0"/>
                  </a:ln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6" name="Google Shape;5133;p64">
              <a:extLst>
                <a:ext uri="{FF2B5EF4-FFF2-40B4-BE49-F238E27FC236}">
                  <a16:creationId xmlns:a16="http://schemas.microsoft.com/office/drawing/2014/main" id="{A17185E3-07EF-F3EB-8A67-3DFA0BF88A76}"/>
                </a:ext>
              </a:extLst>
            </p:cNvPr>
            <p:cNvSpPr/>
            <p:nvPr/>
          </p:nvSpPr>
          <p:spPr>
            <a:xfrm>
              <a:off x="2212183" y="19529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cubicBezTo>
                    <a:pt x="1" y="4"/>
                    <a:pt x="1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7" name="Google Shape;5134;p64">
              <a:extLst>
                <a:ext uri="{FF2B5EF4-FFF2-40B4-BE49-F238E27FC236}">
                  <a16:creationId xmlns:a16="http://schemas.microsoft.com/office/drawing/2014/main" id="{8E4D6415-243D-1F2E-733E-DE4806F0D34A}"/>
                </a:ext>
              </a:extLst>
            </p:cNvPr>
            <p:cNvSpPr/>
            <p:nvPr/>
          </p:nvSpPr>
          <p:spPr>
            <a:xfrm>
              <a:off x="2214994" y="1959385"/>
              <a:ext cx="244" cy="720"/>
            </a:xfrm>
            <a:custGeom>
              <a:avLst/>
              <a:gdLst/>
              <a:ahLst/>
              <a:cxnLst/>
              <a:rect l="l" t="t" r="r" b="b"/>
              <a:pathLst>
                <a:path w="18" h="53" extrusionOk="0">
                  <a:moveTo>
                    <a:pt x="0" y="53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8" name="Google Shape;5135;p64">
              <a:extLst>
                <a:ext uri="{FF2B5EF4-FFF2-40B4-BE49-F238E27FC236}">
                  <a16:creationId xmlns:a16="http://schemas.microsoft.com/office/drawing/2014/main" id="{72629B29-A32A-D1D5-152D-119CBF7AF64D}"/>
                </a:ext>
              </a:extLst>
            </p:cNvPr>
            <p:cNvSpPr/>
            <p:nvPr/>
          </p:nvSpPr>
          <p:spPr>
            <a:xfrm>
              <a:off x="2208761" y="194521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cubicBezTo>
                    <a:pt x="1" y="11"/>
                    <a:pt x="1" y="8"/>
                    <a:pt x="1" y="1"/>
                  </a:cubicBezTo>
                  <a:cubicBezTo>
                    <a:pt x="1" y="8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9" name="Google Shape;5136;p64">
              <a:extLst>
                <a:ext uri="{FF2B5EF4-FFF2-40B4-BE49-F238E27FC236}">
                  <a16:creationId xmlns:a16="http://schemas.microsoft.com/office/drawing/2014/main" id="{547A65C1-323E-F352-1401-C7E3A2098CA2}"/>
                </a:ext>
              </a:extLst>
            </p:cNvPr>
            <p:cNvSpPr/>
            <p:nvPr/>
          </p:nvSpPr>
          <p:spPr>
            <a:xfrm>
              <a:off x="2212563" y="1953872"/>
              <a:ext cx="964" cy="1195"/>
            </a:xfrm>
            <a:custGeom>
              <a:avLst/>
              <a:gdLst/>
              <a:ahLst/>
              <a:cxnLst/>
              <a:rect l="l" t="t" r="r" b="b"/>
              <a:pathLst>
                <a:path w="71" h="88" extrusionOk="0">
                  <a:moveTo>
                    <a:pt x="71" y="88"/>
                  </a:moveTo>
                  <a:cubicBezTo>
                    <a:pt x="43" y="60"/>
                    <a:pt x="18" y="32"/>
                    <a:pt x="1" y="0"/>
                  </a:cubicBezTo>
                  <a:cubicBezTo>
                    <a:pt x="18" y="32"/>
                    <a:pt x="43" y="60"/>
                    <a:pt x="71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0" name="Google Shape;5137;p64">
              <a:extLst>
                <a:ext uri="{FF2B5EF4-FFF2-40B4-BE49-F238E27FC236}">
                  <a16:creationId xmlns:a16="http://schemas.microsoft.com/office/drawing/2014/main" id="{BBA57F98-2227-D1CA-C0DF-ED79A6EA3D86}"/>
                </a:ext>
              </a:extLst>
            </p:cNvPr>
            <p:cNvSpPr/>
            <p:nvPr/>
          </p:nvSpPr>
          <p:spPr>
            <a:xfrm>
              <a:off x="2215279" y="19563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1" name="Google Shape;5138;p64">
              <a:extLst>
                <a:ext uri="{FF2B5EF4-FFF2-40B4-BE49-F238E27FC236}">
                  <a16:creationId xmlns:a16="http://schemas.microsoft.com/office/drawing/2014/main" id="{9C073C76-B330-744C-4123-5A9F986615FD}"/>
                </a:ext>
              </a:extLst>
            </p:cNvPr>
            <p:cNvSpPr/>
            <p:nvPr/>
          </p:nvSpPr>
          <p:spPr>
            <a:xfrm>
              <a:off x="2212427" y="195353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4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2" name="Google Shape;5139;p64">
              <a:extLst>
                <a:ext uri="{FF2B5EF4-FFF2-40B4-BE49-F238E27FC236}">
                  <a16:creationId xmlns:a16="http://schemas.microsoft.com/office/drawing/2014/main" id="{7E6037BF-701E-B8A4-3FE1-AE6C0B6CF757}"/>
                </a:ext>
              </a:extLst>
            </p:cNvPr>
            <p:cNvSpPr/>
            <p:nvPr/>
          </p:nvSpPr>
          <p:spPr>
            <a:xfrm>
              <a:off x="2212278" y="195324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cubicBezTo>
                    <a:pt x="1" y="4"/>
                    <a:pt x="4" y="11"/>
                    <a:pt x="8" y="18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3" name="Google Shape;5140;p64">
              <a:extLst>
                <a:ext uri="{FF2B5EF4-FFF2-40B4-BE49-F238E27FC236}">
                  <a16:creationId xmlns:a16="http://schemas.microsoft.com/office/drawing/2014/main" id="{1E74BCD2-79D1-FDD3-CFE6-406A2B62FCE9}"/>
                </a:ext>
              </a:extLst>
            </p:cNvPr>
            <p:cNvSpPr/>
            <p:nvPr/>
          </p:nvSpPr>
          <p:spPr>
            <a:xfrm>
              <a:off x="2216080" y="1961421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4" name="Google Shape;5141;p64">
              <a:extLst>
                <a:ext uri="{FF2B5EF4-FFF2-40B4-BE49-F238E27FC236}">
                  <a16:creationId xmlns:a16="http://schemas.microsoft.com/office/drawing/2014/main" id="{6599FC36-E306-518F-81BD-D321367A2276}"/>
                </a:ext>
              </a:extLst>
            </p:cNvPr>
            <p:cNvSpPr/>
            <p:nvPr/>
          </p:nvSpPr>
          <p:spPr>
            <a:xfrm>
              <a:off x="2307348" y="186760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0" y="3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5" name="Google Shape;5142;p64">
              <a:extLst>
                <a:ext uri="{FF2B5EF4-FFF2-40B4-BE49-F238E27FC236}">
                  <a16:creationId xmlns:a16="http://schemas.microsoft.com/office/drawing/2014/main" id="{013541C3-AB58-D26F-0CF2-FB2B437CE4C8}"/>
                </a:ext>
              </a:extLst>
            </p:cNvPr>
            <p:cNvSpPr/>
            <p:nvPr/>
          </p:nvSpPr>
          <p:spPr>
            <a:xfrm>
              <a:off x="2305583" y="1869312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7"/>
                  </a:moveTo>
                  <a:cubicBezTo>
                    <a:pt x="11" y="4"/>
                    <a:pt x="18" y="4"/>
                    <a:pt x="25" y="0"/>
                  </a:cubicBezTo>
                  <a:cubicBezTo>
                    <a:pt x="18" y="4"/>
                    <a:pt x="1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6" name="Google Shape;5143;p64">
              <a:extLst>
                <a:ext uri="{FF2B5EF4-FFF2-40B4-BE49-F238E27FC236}">
                  <a16:creationId xmlns:a16="http://schemas.microsoft.com/office/drawing/2014/main" id="{342F482D-A2A9-B21D-3FEB-7EA67C160857}"/>
                </a:ext>
              </a:extLst>
            </p:cNvPr>
            <p:cNvSpPr/>
            <p:nvPr/>
          </p:nvSpPr>
          <p:spPr>
            <a:xfrm>
              <a:off x="2306302" y="186893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cubicBezTo>
                    <a:pt x="7" y="11"/>
                    <a:pt x="14" y="4"/>
                    <a:pt x="21" y="0"/>
                  </a:cubicBezTo>
                  <a:cubicBezTo>
                    <a:pt x="14" y="4"/>
                    <a:pt x="7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7" name="Google Shape;5144;p64">
              <a:extLst>
                <a:ext uri="{FF2B5EF4-FFF2-40B4-BE49-F238E27FC236}">
                  <a16:creationId xmlns:a16="http://schemas.microsoft.com/office/drawing/2014/main" id="{11168A26-4D61-7B25-7896-2B44A3EBA447}"/>
                </a:ext>
              </a:extLst>
            </p:cNvPr>
            <p:cNvSpPr/>
            <p:nvPr/>
          </p:nvSpPr>
          <p:spPr>
            <a:xfrm>
              <a:off x="2305963" y="1869162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cubicBezTo>
                    <a:pt x="11" y="8"/>
                    <a:pt x="18" y="4"/>
                    <a:pt x="25" y="1"/>
                  </a:cubicBezTo>
                  <a:cubicBezTo>
                    <a:pt x="18" y="4"/>
                    <a:pt x="1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8" name="Google Shape;5145;p64">
              <a:extLst>
                <a:ext uri="{FF2B5EF4-FFF2-40B4-BE49-F238E27FC236}">
                  <a16:creationId xmlns:a16="http://schemas.microsoft.com/office/drawing/2014/main" id="{B1CBC12D-9909-B342-7389-1AD9C75B13C7}"/>
                </a:ext>
              </a:extLst>
            </p:cNvPr>
            <p:cNvSpPr/>
            <p:nvPr/>
          </p:nvSpPr>
          <p:spPr>
            <a:xfrm>
              <a:off x="2306628" y="1868646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5" y="7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9" name="Google Shape;5146;p64">
              <a:extLst>
                <a:ext uri="{FF2B5EF4-FFF2-40B4-BE49-F238E27FC236}">
                  <a16:creationId xmlns:a16="http://schemas.microsoft.com/office/drawing/2014/main" id="{341B6665-D000-8116-4B18-D630DABEFF8C}"/>
                </a:ext>
              </a:extLst>
            </p:cNvPr>
            <p:cNvSpPr/>
            <p:nvPr/>
          </p:nvSpPr>
          <p:spPr>
            <a:xfrm>
              <a:off x="2306968" y="1868171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0"/>
                  </a:moveTo>
                  <a:lnTo>
                    <a:pt x="25" y="0"/>
                  </a:lnTo>
                  <a:cubicBezTo>
                    <a:pt x="18" y="11"/>
                    <a:pt x="7" y="18"/>
                    <a:pt x="0" y="28"/>
                  </a:cubicBezTo>
                  <a:cubicBezTo>
                    <a:pt x="11" y="21"/>
                    <a:pt x="18" y="1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0" name="Google Shape;5147;p64">
              <a:extLst>
                <a:ext uri="{FF2B5EF4-FFF2-40B4-BE49-F238E27FC236}">
                  <a16:creationId xmlns:a16="http://schemas.microsoft.com/office/drawing/2014/main" id="{94AAF2BE-B9A9-554C-612A-BF3C4FFCD5D5}"/>
                </a:ext>
              </a:extLst>
            </p:cNvPr>
            <p:cNvSpPr/>
            <p:nvPr/>
          </p:nvSpPr>
          <p:spPr>
            <a:xfrm>
              <a:off x="2305162" y="186940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0" y="4"/>
                  </a:moveTo>
                  <a:cubicBezTo>
                    <a:pt x="7" y="4"/>
                    <a:pt x="18" y="0"/>
                    <a:pt x="28" y="0"/>
                  </a:cubicBezTo>
                  <a:cubicBezTo>
                    <a:pt x="18" y="0"/>
                    <a:pt x="7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1" name="Google Shape;5148;p64">
              <a:extLst>
                <a:ext uri="{FF2B5EF4-FFF2-40B4-BE49-F238E27FC236}">
                  <a16:creationId xmlns:a16="http://schemas.microsoft.com/office/drawing/2014/main" id="{F3553C37-75C6-6082-8048-F4C301567A61}"/>
                </a:ext>
              </a:extLst>
            </p:cNvPr>
            <p:cNvSpPr/>
            <p:nvPr/>
          </p:nvSpPr>
          <p:spPr>
            <a:xfrm>
              <a:off x="2305067" y="18694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2" name="Google Shape;5149;p64">
              <a:extLst>
                <a:ext uri="{FF2B5EF4-FFF2-40B4-BE49-F238E27FC236}">
                  <a16:creationId xmlns:a16="http://schemas.microsoft.com/office/drawing/2014/main" id="{9FE2538C-118C-A665-C4B1-FFF7E235E0B3}"/>
                </a:ext>
              </a:extLst>
            </p:cNvPr>
            <p:cNvSpPr/>
            <p:nvPr/>
          </p:nvSpPr>
          <p:spPr>
            <a:xfrm>
              <a:off x="2353593" y="1948930"/>
              <a:ext cx="11799" cy="11704"/>
            </a:xfrm>
            <a:custGeom>
              <a:avLst/>
              <a:gdLst/>
              <a:ahLst/>
              <a:cxnLst/>
              <a:rect l="l" t="t" r="r" b="b"/>
              <a:pathLst>
                <a:path w="869" h="862" extrusionOk="0">
                  <a:moveTo>
                    <a:pt x="711" y="0"/>
                  </a:moveTo>
                  <a:lnTo>
                    <a:pt x="669" y="25"/>
                  </a:lnTo>
                  <a:lnTo>
                    <a:pt x="662" y="28"/>
                  </a:lnTo>
                  <a:lnTo>
                    <a:pt x="652" y="35"/>
                  </a:lnTo>
                  <a:lnTo>
                    <a:pt x="648" y="39"/>
                  </a:lnTo>
                  <a:lnTo>
                    <a:pt x="641" y="46"/>
                  </a:lnTo>
                  <a:lnTo>
                    <a:pt x="638" y="49"/>
                  </a:lnTo>
                  <a:lnTo>
                    <a:pt x="631" y="53"/>
                  </a:lnTo>
                  <a:lnTo>
                    <a:pt x="627" y="53"/>
                  </a:lnTo>
                  <a:lnTo>
                    <a:pt x="624" y="56"/>
                  </a:lnTo>
                  <a:cubicBezTo>
                    <a:pt x="617" y="63"/>
                    <a:pt x="610" y="70"/>
                    <a:pt x="603" y="77"/>
                  </a:cubicBezTo>
                  <a:lnTo>
                    <a:pt x="599" y="81"/>
                  </a:lnTo>
                  <a:cubicBezTo>
                    <a:pt x="592" y="88"/>
                    <a:pt x="585" y="95"/>
                    <a:pt x="575" y="98"/>
                  </a:cubicBezTo>
                  <a:lnTo>
                    <a:pt x="571" y="98"/>
                  </a:lnTo>
                  <a:cubicBezTo>
                    <a:pt x="561" y="102"/>
                    <a:pt x="554" y="105"/>
                    <a:pt x="547" y="105"/>
                  </a:cubicBezTo>
                  <a:lnTo>
                    <a:pt x="543" y="105"/>
                  </a:lnTo>
                  <a:cubicBezTo>
                    <a:pt x="533" y="109"/>
                    <a:pt x="522" y="112"/>
                    <a:pt x="512" y="112"/>
                  </a:cubicBezTo>
                  <a:lnTo>
                    <a:pt x="477" y="112"/>
                  </a:lnTo>
                  <a:cubicBezTo>
                    <a:pt x="459" y="112"/>
                    <a:pt x="442" y="112"/>
                    <a:pt x="421" y="109"/>
                  </a:cubicBezTo>
                  <a:lnTo>
                    <a:pt x="407" y="109"/>
                  </a:lnTo>
                  <a:lnTo>
                    <a:pt x="354" y="102"/>
                  </a:lnTo>
                  <a:lnTo>
                    <a:pt x="347" y="102"/>
                  </a:lnTo>
                  <a:cubicBezTo>
                    <a:pt x="326" y="147"/>
                    <a:pt x="302" y="189"/>
                    <a:pt x="270" y="235"/>
                  </a:cubicBezTo>
                  <a:cubicBezTo>
                    <a:pt x="249" y="266"/>
                    <a:pt x="225" y="298"/>
                    <a:pt x="207" y="329"/>
                  </a:cubicBezTo>
                  <a:lnTo>
                    <a:pt x="200" y="333"/>
                  </a:lnTo>
                  <a:cubicBezTo>
                    <a:pt x="179" y="364"/>
                    <a:pt x="158" y="392"/>
                    <a:pt x="137" y="420"/>
                  </a:cubicBezTo>
                  <a:lnTo>
                    <a:pt x="130" y="431"/>
                  </a:lnTo>
                  <a:cubicBezTo>
                    <a:pt x="120" y="445"/>
                    <a:pt x="109" y="455"/>
                    <a:pt x="99" y="469"/>
                  </a:cubicBezTo>
                  <a:cubicBezTo>
                    <a:pt x="1" y="578"/>
                    <a:pt x="64" y="805"/>
                    <a:pt x="88" y="854"/>
                  </a:cubicBezTo>
                  <a:cubicBezTo>
                    <a:pt x="94" y="859"/>
                    <a:pt x="110" y="862"/>
                    <a:pt x="133" y="862"/>
                  </a:cubicBezTo>
                  <a:cubicBezTo>
                    <a:pt x="177" y="862"/>
                    <a:pt x="246" y="850"/>
                    <a:pt x="302" y="812"/>
                  </a:cubicBezTo>
                  <a:cubicBezTo>
                    <a:pt x="309" y="805"/>
                    <a:pt x="316" y="802"/>
                    <a:pt x="323" y="798"/>
                  </a:cubicBezTo>
                  <a:lnTo>
                    <a:pt x="330" y="795"/>
                  </a:lnTo>
                  <a:lnTo>
                    <a:pt x="344" y="788"/>
                  </a:lnTo>
                  <a:lnTo>
                    <a:pt x="354" y="784"/>
                  </a:lnTo>
                  <a:lnTo>
                    <a:pt x="365" y="781"/>
                  </a:lnTo>
                  <a:lnTo>
                    <a:pt x="375" y="781"/>
                  </a:lnTo>
                  <a:lnTo>
                    <a:pt x="389" y="777"/>
                  </a:lnTo>
                  <a:lnTo>
                    <a:pt x="438" y="777"/>
                  </a:lnTo>
                  <a:lnTo>
                    <a:pt x="452" y="781"/>
                  </a:lnTo>
                  <a:lnTo>
                    <a:pt x="459" y="781"/>
                  </a:lnTo>
                  <a:lnTo>
                    <a:pt x="473" y="788"/>
                  </a:lnTo>
                  <a:lnTo>
                    <a:pt x="480" y="788"/>
                  </a:lnTo>
                  <a:lnTo>
                    <a:pt x="494" y="795"/>
                  </a:lnTo>
                  <a:lnTo>
                    <a:pt x="498" y="798"/>
                  </a:lnTo>
                  <a:cubicBezTo>
                    <a:pt x="512" y="805"/>
                    <a:pt x="522" y="812"/>
                    <a:pt x="536" y="819"/>
                  </a:cubicBezTo>
                  <a:lnTo>
                    <a:pt x="540" y="823"/>
                  </a:lnTo>
                  <a:lnTo>
                    <a:pt x="554" y="833"/>
                  </a:lnTo>
                  <a:lnTo>
                    <a:pt x="561" y="837"/>
                  </a:lnTo>
                  <a:lnTo>
                    <a:pt x="575" y="851"/>
                  </a:lnTo>
                  <a:lnTo>
                    <a:pt x="582" y="854"/>
                  </a:lnTo>
                  <a:cubicBezTo>
                    <a:pt x="627" y="802"/>
                    <a:pt x="669" y="749"/>
                    <a:pt x="711" y="704"/>
                  </a:cubicBezTo>
                  <a:cubicBezTo>
                    <a:pt x="669" y="686"/>
                    <a:pt x="631" y="676"/>
                    <a:pt x="596" y="662"/>
                  </a:cubicBezTo>
                  <a:cubicBezTo>
                    <a:pt x="554" y="651"/>
                    <a:pt x="515" y="634"/>
                    <a:pt x="480" y="606"/>
                  </a:cubicBezTo>
                  <a:cubicBezTo>
                    <a:pt x="452" y="578"/>
                    <a:pt x="445" y="539"/>
                    <a:pt x="456" y="504"/>
                  </a:cubicBezTo>
                  <a:cubicBezTo>
                    <a:pt x="487" y="399"/>
                    <a:pt x="687" y="273"/>
                    <a:pt x="827" y="242"/>
                  </a:cubicBezTo>
                  <a:cubicBezTo>
                    <a:pt x="858" y="235"/>
                    <a:pt x="858" y="224"/>
                    <a:pt x="862" y="221"/>
                  </a:cubicBezTo>
                  <a:cubicBezTo>
                    <a:pt x="869" y="193"/>
                    <a:pt x="834" y="109"/>
                    <a:pt x="750" y="32"/>
                  </a:cubicBezTo>
                  <a:lnTo>
                    <a:pt x="7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3" name="Google Shape;5150;p64">
              <a:extLst>
                <a:ext uri="{FF2B5EF4-FFF2-40B4-BE49-F238E27FC236}">
                  <a16:creationId xmlns:a16="http://schemas.microsoft.com/office/drawing/2014/main" id="{2150058B-63CF-D7C9-76B4-A5E2772692F3}"/>
                </a:ext>
              </a:extLst>
            </p:cNvPr>
            <p:cNvSpPr/>
            <p:nvPr/>
          </p:nvSpPr>
          <p:spPr>
            <a:xfrm>
              <a:off x="2361481" y="1958570"/>
              <a:ext cx="1779" cy="2064"/>
            </a:xfrm>
            <a:custGeom>
              <a:avLst/>
              <a:gdLst/>
              <a:ahLst/>
              <a:cxnLst/>
              <a:rect l="l" t="t" r="r" b="b"/>
              <a:pathLst>
                <a:path w="131" h="152" extrusionOk="0">
                  <a:moveTo>
                    <a:pt x="130" y="1"/>
                  </a:moveTo>
                  <a:lnTo>
                    <a:pt x="130" y="1"/>
                  </a:lnTo>
                  <a:cubicBezTo>
                    <a:pt x="88" y="43"/>
                    <a:pt x="43" y="95"/>
                    <a:pt x="1" y="151"/>
                  </a:cubicBezTo>
                  <a:lnTo>
                    <a:pt x="4" y="151"/>
                  </a:lnTo>
                  <a:cubicBezTo>
                    <a:pt x="39" y="102"/>
                    <a:pt x="85" y="50"/>
                    <a:pt x="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4" name="Google Shape;5151;p64">
              <a:extLst>
                <a:ext uri="{FF2B5EF4-FFF2-40B4-BE49-F238E27FC236}">
                  <a16:creationId xmlns:a16="http://schemas.microsoft.com/office/drawing/2014/main" id="{38D52B36-FA37-6865-BFF2-88A3919A089C}"/>
                </a:ext>
              </a:extLst>
            </p:cNvPr>
            <p:cNvSpPr/>
            <p:nvPr/>
          </p:nvSpPr>
          <p:spPr>
            <a:xfrm>
              <a:off x="2314910" y="1908374"/>
              <a:ext cx="47019" cy="40325"/>
            </a:xfrm>
            <a:custGeom>
              <a:avLst/>
              <a:gdLst/>
              <a:ahLst/>
              <a:cxnLst/>
              <a:rect l="l" t="t" r="r" b="b"/>
              <a:pathLst>
                <a:path w="3463" h="2970" extrusionOk="0">
                  <a:moveTo>
                    <a:pt x="1068" y="1"/>
                  </a:moveTo>
                  <a:lnTo>
                    <a:pt x="1068" y="4"/>
                  </a:lnTo>
                  <a:cubicBezTo>
                    <a:pt x="1054" y="25"/>
                    <a:pt x="1036" y="43"/>
                    <a:pt x="1022" y="64"/>
                  </a:cubicBezTo>
                  <a:lnTo>
                    <a:pt x="1012" y="71"/>
                  </a:lnTo>
                  <a:cubicBezTo>
                    <a:pt x="998" y="92"/>
                    <a:pt x="984" y="106"/>
                    <a:pt x="966" y="123"/>
                  </a:cubicBezTo>
                  <a:lnTo>
                    <a:pt x="959" y="130"/>
                  </a:lnTo>
                  <a:cubicBezTo>
                    <a:pt x="942" y="148"/>
                    <a:pt x="928" y="165"/>
                    <a:pt x="910" y="179"/>
                  </a:cubicBezTo>
                  <a:lnTo>
                    <a:pt x="907" y="183"/>
                  </a:lnTo>
                  <a:cubicBezTo>
                    <a:pt x="889" y="197"/>
                    <a:pt x="875" y="214"/>
                    <a:pt x="858" y="228"/>
                  </a:cubicBezTo>
                  <a:cubicBezTo>
                    <a:pt x="840" y="239"/>
                    <a:pt x="826" y="253"/>
                    <a:pt x="809" y="263"/>
                  </a:cubicBezTo>
                  <a:lnTo>
                    <a:pt x="802" y="270"/>
                  </a:lnTo>
                  <a:lnTo>
                    <a:pt x="760" y="302"/>
                  </a:lnTo>
                  <a:lnTo>
                    <a:pt x="753" y="305"/>
                  </a:lnTo>
                  <a:lnTo>
                    <a:pt x="714" y="333"/>
                  </a:lnTo>
                  <a:lnTo>
                    <a:pt x="707" y="337"/>
                  </a:lnTo>
                  <a:lnTo>
                    <a:pt x="672" y="361"/>
                  </a:lnTo>
                  <a:cubicBezTo>
                    <a:pt x="644" y="379"/>
                    <a:pt x="616" y="400"/>
                    <a:pt x="588" y="421"/>
                  </a:cubicBezTo>
                  <a:cubicBezTo>
                    <a:pt x="546" y="463"/>
                    <a:pt x="494" y="494"/>
                    <a:pt x="441" y="519"/>
                  </a:cubicBezTo>
                  <a:cubicBezTo>
                    <a:pt x="329" y="582"/>
                    <a:pt x="291" y="610"/>
                    <a:pt x="301" y="666"/>
                  </a:cubicBezTo>
                  <a:cubicBezTo>
                    <a:pt x="340" y="855"/>
                    <a:pt x="273" y="1037"/>
                    <a:pt x="84" y="1261"/>
                  </a:cubicBezTo>
                  <a:cubicBezTo>
                    <a:pt x="56" y="1296"/>
                    <a:pt x="32" y="1338"/>
                    <a:pt x="21" y="1380"/>
                  </a:cubicBezTo>
                  <a:lnTo>
                    <a:pt x="21" y="1387"/>
                  </a:lnTo>
                  <a:cubicBezTo>
                    <a:pt x="18" y="1394"/>
                    <a:pt x="18" y="1405"/>
                    <a:pt x="14" y="1415"/>
                  </a:cubicBezTo>
                  <a:cubicBezTo>
                    <a:pt x="11" y="1426"/>
                    <a:pt x="14" y="1429"/>
                    <a:pt x="11" y="1433"/>
                  </a:cubicBezTo>
                  <a:cubicBezTo>
                    <a:pt x="7" y="1440"/>
                    <a:pt x="11" y="1443"/>
                    <a:pt x="11" y="1447"/>
                  </a:cubicBezTo>
                  <a:cubicBezTo>
                    <a:pt x="0" y="1573"/>
                    <a:pt x="14" y="1699"/>
                    <a:pt x="42" y="1818"/>
                  </a:cubicBezTo>
                  <a:lnTo>
                    <a:pt x="42" y="1828"/>
                  </a:lnTo>
                  <a:cubicBezTo>
                    <a:pt x="46" y="1849"/>
                    <a:pt x="49" y="1870"/>
                    <a:pt x="53" y="1891"/>
                  </a:cubicBezTo>
                  <a:lnTo>
                    <a:pt x="60" y="1891"/>
                  </a:lnTo>
                  <a:lnTo>
                    <a:pt x="88" y="1905"/>
                  </a:lnTo>
                  <a:lnTo>
                    <a:pt x="431" y="1905"/>
                  </a:lnTo>
                  <a:lnTo>
                    <a:pt x="441" y="1909"/>
                  </a:lnTo>
                  <a:lnTo>
                    <a:pt x="448" y="1912"/>
                  </a:lnTo>
                  <a:lnTo>
                    <a:pt x="455" y="1912"/>
                  </a:lnTo>
                  <a:lnTo>
                    <a:pt x="462" y="1916"/>
                  </a:lnTo>
                  <a:lnTo>
                    <a:pt x="469" y="1919"/>
                  </a:lnTo>
                  <a:lnTo>
                    <a:pt x="476" y="1923"/>
                  </a:lnTo>
                  <a:lnTo>
                    <a:pt x="483" y="1926"/>
                  </a:lnTo>
                  <a:lnTo>
                    <a:pt x="487" y="1926"/>
                  </a:lnTo>
                  <a:lnTo>
                    <a:pt x="494" y="1930"/>
                  </a:lnTo>
                  <a:lnTo>
                    <a:pt x="497" y="1930"/>
                  </a:lnTo>
                  <a:lnTo>
                    <a:pt x="504" y="1937"/>
                  </a:lnTo>
                  <a:lnTo>
                    <a:pt x="511" y="1944"/>
                  </a:lnTo>
                  <a:cubicBezTo>
                    <a:pt x="532" y="1895"/>
                    <a:pt x="550" y="1846"/>
                    <a:pt x="564" y="1797"/>
                  </a:cubicBezTo>
                  <a:cubicBezTo>
                    <a:pt x="595" y="1702"/>
                    <a:pt x="641" y="1643"/>
                    <a:pt x="704" y="1625"/>
                  </a:cubicBezTo>
                  <a:cubicBezTo>
                    <a:pt x="718" y="1620"/>
                    <a:pt x="734" y="1618"/>
                    <a:pt x="750" y="1618"/>
                  </a:cubicBezTo>
                  <a:cubicBezTo>
                    <a:pt x="803" y="1618"/>
                    <a:pt x="862" y="1644"/>
                    <a:pt x="924" y="1695"/>
                  </a:cubicBezTo>
                  <a:cubicBezTo>
                    <a:pt x="949" y="1716"/>
                    <a:pt x="970" y="1737"/>
                    <a:pt x="991" y="1758"/>
                  </a:cubicBezTo>
                  <a:cubicBezTo>
                    <a:pt x="1044" y="1812"/>
                    <a:pt x="1079" y="1843"/>
                    <a:pt x="1125" y="1843"/>
                  </a:cubicBezTo>
                  <a:cubicBezTo>
                    <a:pt x="1145" y="1843"/>
                    <a:pt x="1167" y="1837"/>
                    <a:pt x="1194" y="1825"/>
                  </a:cubicBezTo>
                  <a:cubicBezTo>
                    <a:pt x="1270" y="1786"/>
                    <a:pt x="1320" y="1770"/>
                    <a:pt x="1360" y="1770"/>
                  </a:cubicBezTo>
                  <a:cubicBezTo>
                    <a:pt x="1393" y="1770"/>
                    <a:pt x="1419" y="1781"/>
                    <a:pt x="1449" y="1800"/>
                  </a:cubicBezTo>
                  <a:cubicBezTo>
                    <a:pt x="1463" y="1811"/>
                    <a:pt x="1474" y="1818"/>
                    <a:pt x="1488" y="1821"/>
                  </a:cubicBezTo>
                  <a:cubicBezTo>
                    <a:pt x="1516" y="1826"/>
                    <a:pt x="1544" y="1830"/>
                    <a:pt x="1572" y="1830"/>
                  </a:cubicBezTo>
                  <a:cubicBezTo>
                    <a:pt x="1583" y="1830"/>
                    <a:pt x="1593" y="1829"/>
                    <a:pt x="1603" y="1828"/>
                  </a:cubicBezTo>
                  <a:cubicBezTo>
                    <a:pt x="1656" y="1828"/>
                    <a:pt x="1712" y="1825"/>
                    <a:pt x="1757" y="1821"/>
                  </a:cubicBezTo>
                  <a:cubicBezTo>
                    <a:pt x="1812" y="1817"/>
                    <a:pt x="1866" y="1814"/>
                    <a:pt x="1919" y="1814"/>
                  </a:cubicBezTo>
                  <a:cubicBezTo>
                    <a:pt x="1952" y="1814"/>
                    <a:pt x="1984" y="1815"/>
                    <a:pt x="2017" y="1818"/>
                  </a:cubicBezTo>
                  <a:cubicBezTo>
                    <a:pt x="2024" y="1818"/>
                    <a:pt x="2027" y="1821"/>
                    <a:pt x="2031" y="1821"/>
                  </a:cubicBezTo>
                  <a:lnTo>
                    <a:pt x="2038" y="1825"/>
                  </a:lnTo>
                  <a:lnTo>
                    <a:pt x="2048" y="1828"/>
                  </a:lnTo>
                  <a:lnTo>
                    <a:pt x="2059" y="1835"/>
                  </a:lnTo>
                  <a:lnTo>
                    <a:pt x="2066" y="1839"/>
                  </a:lnTo>
                  <a:lnTo>
                    <a:pt x="2080" y="1849"/>
                  </a:lnTo>
                  <a:lnTo>
                    <a:pt x="2087" y="1856"/>
                  </a:lnTo>
                  <a:lnTo>
                    <a:pt x="2104" y="1867"/>
                  </a:lnTo>
                  <a:lnTo>
                    <a:pt x="2111" y="1874"/>
                  </a:lnTo>
                  <a:lnTo>
                    <a:pt x="2132" y="1888"/>
                  </a:lnTo>
                  <a:lnTo>
                    <a:pt x="2139" y="1895"/>
                  </a:lnTo>
                  <a:lnTo>
                    <a:pt x="2160" y="1909"/>
                  </a:lnTo>
                  <a:lnTo>
                    <a:pt x="2171" y="1919"/>
                  </a:lnTo>
                  <a:lnTo>
                    <a:pt x="2192" y="1937"/>
                  </a:lnTo>
                  <a:lnTo>
                    <a:pt x="2202" y="1944"/>
                  </a:lnTo>
                  <a:lnTo>
                    <a:pt x="2223" y="1965"/>
                  </a:lnTo>
                  <a:lnTo>
                    <a:pt x="2234" y="1975"/>
                  </a:lnTo>
                  <a:lnTo>
                    <a:pt x="2255" y="1993"/>
                  </a:lnTo>
                  <a:lnTo>
                    <a:pt x="2269" y="2007"/>
                  </a:lnTo>
                  <a:lnTo>
                    <a:pt x="2293" y="2028"/>
                  </a:lnTo>
                  <a:lnTo>
                    <a:pt x="2307" y="2042"/>
                  </a:lnTo>
                  <a:lnTo>
                    <a:pt x="2332" y="2059"/>
                  </a:lnTo>
                  <a:lnTo>
                    <a:pt x="2346" y="2077"/>
                  </a:lnTo>
                  <a:lnTo>
                    <a:pt x="2367" y="2094"/>
                  </a:lnTo>
                  <a:lnTo>
                    <a:pt x="2388" y="2115"/>
                  </a:lnTo>
                  <a:lnTo>
                    <a:pt x="2405" y="2133"/>
                  </a:lnTo>
                  <a:lnTo>
                    <a:pt x="2430" y="2154"/>
                  </a:lnTo>
                  <a:lnTo>
                    <a:pt x="2440" y="2168"/>
                  </a:lnTo>
                  <a:lnTo>
                    <a:pt x="2472" y="2196"/>
                  </a:lnTo>
                  <a:lnTo>
                    <a:pt x="2479" y="2206"/>
                  </a:lnTo>
                  <a:lnTo>
                    <a:pt x="2514" y="2238"/>
                  </a:lnTo>
                  <a:lnTo>
                    <a:pt x="2524" y="2248"/>
                  </a:lnTo>
                  <a:cubicBezTo>
                    <a:pt x="2755" y="2476"/>
                    <a:pt x="3018" y="2752"/>
                    <a:pt x="3214" y="2959"/>
                  </a:cubicBezTo>
                  <a:lnTo>
                    <a:pt x="3217" y="2959"/>
                  </a:lnTo>
                  <a:cubicBezTo>
                    <a:pt x="3253" y="2965"/>
                    <a:pt x="3292" y="2970"/>
                    <a:pt x="3322" y="2970"/>
                  </a:cubicBezTo>
                  <a:cubicBezTo>
                    <a:pt x="3346" y="2970"/>
                    <a:pt x="3363" y="2967"/>
                    <a:pt x="3368" y="2959"/>
                  </a:cubicBezTo>
                  <a:lnTo>
                    <a:pt x="3375" y="2952"/>
                  </a:lnTo>
                  <a:lnTo>
                    <a:pt x="3378" y="2949"/>
                  </a:lnTo>
                  <a:lnTo>
                    <a:pt x="3382" y="2945"/>
                  </a:lnTo>
                  <a:lnTo>
                    <a:pt x="3385" y="2942"/>
                  </a:lnTo>
                  <a:lnTo>
                    <a:pt x="3396" y="2931"/>
                  </a:lnTo>
                  <a:lnTo>
                    <a:pt x="3410" y="2921"/>
                  </a:lnTo>
                  <a:lnTo>
                    <a:pt x="3417" y="2917"/>
                  </a:lnTo>
                  <a:lnTo>
                    <a:pt x="3427" y="2907"/>
                  </a:lnTo>
                  <a:lnTo>
                    <a:pt x="3438" y="2903"/>
                  </a:lnTo>
                  <a:lnTo>
                    <a:pt x="3452" y="2893"/>
                  </a:lnTo>
                  <a:lnTo>
                    <a:pt x="3462" y="2886"/>
                  </a:lnTo>
                  <a:cubicBezTo>
                    <a:pt x="3273" y="2696"/>
                    <a:pt x="3098" y="2493"/>
                    <a:pt x="2937" y="2283"/>
                  </a:cubicBezTo>
                  <a:cubicBezTo>
                    <a:pt x="2643" y="1912"/>
                    <a:pt x="2297" y="1713"/>
                    <a:pt x="2122" y="1713"/>
                  </a:cubicBezTo>
                  <a:cubicBezTo>
                    <a:pt x="1975" y="1713"/>
                    <a:pt x="1897" y="1573"/>
                    <a:pt x="1845" y="1475"/>
                  </a:cubicBezTo>
                  <a:cubicBezTo>
                    <a:pt x="1824" y="1436"/>
                    <a:pt x="1785" y="1366"/>
                    <a:pt x="1768" y="1363"/>
                  </a:cubicBezTo>
                  <a:cubicBezTo>
                    <a:pt x="1593" y="1342"/>
                    <a:pt x="1313" y="817"/>
                    <a:pt x="1306" y="498"/>
                  </a:cubicBezTo>
                  <a:cubicBezTo>
                    <a:pt x="1302" y="379"/>
                    <a:pt x="1211" y="193"/>
                    <a:pt x="1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5" name="Google Shape;5152;p64">
              <a:extLst>
                <a:ext uri="{FF2B5EF4-FFF2-40B4-BE49-F238E27FC236}">
                  <a16:creationId xmlns:a16="http://schemas.microsoft.com/office/drawing/2014/main" id="{E1F8D44C-2926-4D01-8B5E-96479F1889E5}"/>
                </a:ext>
              </a:extLst>
            </p:cNvPr>
            <p:cNvSpPr/>
            <p:nvPr/>
          </p:nvSpPr>
          <p:spPr>
            <a:xfrm>
              <a:off x="2327266" y="1910329"/>
              <a:ext cx="625" cy="679"/>
            </a:xfrm>
            <a:custGeom>
              <a:avLst/>
              <a:gdLst/>
              <a:ahLst/>
              <a:cxnLst/>
              <a:rect l="l" t="t" r="r" b="b"/>
              <a:pathLst>
                <a:path w="46" h="50" extrusionOk="0">
                  <a:moveTo>
                    <a:pt x="46" y="0"/>
                  </a:moveTo>
                  <a:cubicBezTo>
                    <a:pt x="32" y="18"/>
                    <a:pt x="14" y="32"/>
                    <a:pt x="0" y="49"/>
                  </a:cubicBezTo>
                  <a:cubicBezTo>
                    <a:pt x="14" y="35"/>
                    <a:pt x="32" y="18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6" name="Google Shape;5153;p64">
              <a:extLst>
                <a:ext uri="{FF2B5EF4-FFF2-40B4-BE49-F238E27FC236}">
                  <a16:creationId xmlns:a16="http://schemas.microsoft.com/office/drawing/2014/main" id="{0BCADD78-47D1-BBA5-E845-5483683C3147}"/>
                </a:ext>
              </a:extLst>
            </p:cNvPr>
            <p:cNvSpPr/>
            <p:nvPr/>
          </p:nvSpPr>
          <p:spPr>
            <a:xfrm>
              <a:off x="2324034" y="1913126"/>
              <a:ext cx="489" cy="353"/>
            </a:xfrm>
            <a:custGeom>
              <a:avLst/>
              <a:gdLst/>
              <a:ahLst/>
              <a:cxnLst/>
              <a:rect l="l" t="t" r="r" b="b"/>
              <a:pathLst>
                <a:path w="36" h="26" extrusionOk="0">
                  <a:moveTo>
                    <a:pt x="0" y="25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7" name="Google Shape;5154;p64">
              <a:extLst>
                <a:ext uri="{FF2B5EF4-FFF2-40B4-BE49-F238E27FC236}">
                  <a16:creationId xmlns:a16="http://schemas.microsoft.com/office/drawing/2014/main" id="{136C0685-A6B5-F841-6996-F91CA3DAA127}"/>
                </a:ext>
              </a:extLst>
            </p:cNvPr>
            <p:cNvSpPr/>
            <p:nvPr/>
          </p:nvSpPr>
          <p:spPr>
            <a:xfrm>
              <a:off x="2325881" y="1911660"/>
              <a:ext cx="638" cy="489"/>
            </a:xfrm>
            <a:custGeom>
              <a:avLst/>
              <a:gdLst/>
              <a:ahLst/>
              <a:cxnLst/>
              <a:rect l="l" t="t" r="r" b="b"/>
              <a:pathLst>
                <a:path w="47" h="36" extrusionOk="0">
                  <a:moveTo>
                    <a:pt x="1" y="35"/>
                  </a:moveTo>
                  <a:cubicBezTo>
                    <a:pt x="15" y="25"/>
                    <a:pt x="32" y="11"/>
                    <a:pt x="46" y="0"/>
                  </a:cubicBezTo>
                  <a:cubicBezTo>
                    <a:pt x="32" y="11"/>
                    <a:pt x="15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8" name="Google Shape;5155;p64">
              <a:extLst>
                <a:ext uri="{FF2B5EF4-FFF2-40B4-BE49-F238E27FC236}">
                  <a16:creationId xmlns:a16="http://schemas.microsoft.com/office/drawing/2014/main" id="{D41BACEB-D0A9-698C-1E32-8484C72FEF4D}"/>
                </a:ext>
              </a:extLst>
            </p:cNvPr>
            <p:cNvSpPr/>
            <p:nvPr/>
          </p:nvSpPr>
          <p:spPr>
            <a:xfrm>
              <a:off x="2324605" y="1912705"/>
              <a:ext cx="530" cy="394"/>
            </a:xfrm>
            <a:custGeom>
              <a:avLst/>
              <a:gdLst/>
              <a:ahLst/>
              <a:cxnLst/>
              <a:rect l="l" t="t" r="r" b="b"/>
              <a:pathLst>
                <a:path w="39" h="29" extrusionOk="0">
                  <a:moveTo>
                    <a:pt x="0" y="28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9" name="Google Shape;5156;p64">
              <a:extLst>
                <a:ext uri="{FF2B5EF4-FFF2-40B4-BE49-F238E27FC236}">
                  <a16:creationId xmlns:a16="http://schemas.microsoft.com/office/drawing/2014/main" id="{0CCF2953-50D1-0554-D762-E740EC9C3DE6}"/>
                </a:ext>
              </a:extLst>
            </p:cNvPr>
            <p:cNvSpPr/>
            <p:nvPr/>
          </p:nvSpPr>
          <p:spPr>
            <a:xfrm>
              <a:off x="2325216" y="1912230"/>
              <a:ext cx="584" cy="434"/>
            </a:xfrm>
            <a:custGeom>
              <a:avLst/>
              <a:gdLst/>
              <a:ahLst/>
              <a:cxnLst/>
              <a:rect l="l" t="t" r="r" b="b"/>
              <a:pathLst>
                <a:path w="43" h="32" extrusionOk="0">
                  <a:moveTo>
                    <a:pt x="1" y="32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0" name="Google Shape;5157;p64">
              <a:extLst>
                <a:ext uri="{FF2B5EF4-FFF2-40B4-BE49-F238E27FC236}">
                  <a16:creationId xmlns:a16="http://schemas.microsoft.com/office/drawing/2014/main" id="{184E2BE8-40C7-337D-ACCD-30B961306FFD}"/>
                </a:ext>
              </a:extLst>
            </p:cNvPr>
            <p:cNvSpPr/>
            <p:nvPr/>
          </p:nvSpPr>
          <p:spPr>
            <a:xfrm>
              <a:off x="2328026" y="1909515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53"/>
                  </a:moveTo>
                  <a:cubicBezTo>
                    <a:pt x="14" y="36"/>
                    <a:pt x="32" y="18"/>
                    <a:pt x="46" y="1"/>
                  </a:cubicBezTo>
                  <a:cubicBezTo>
                    <a:pt x="32" y="18"/>
                    <a:pt x="14" y="36"/>
                    <a:pt x="0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1" name="Google Shape;5158;p64">
              <a:extLst>
                <a:ext uri="{FF2B5EF4-FFF2-40B4-BE49-F238E27FC236}">
                  <a16:creationId xmlns:a16="http://schemas.microsoft.com/office/drawing/2014/main" id="{642B6C7E-6E3C-8B46-68B1-2936027E2CBF}"/>
                </a:ext>
              </a:extLst>
            </p:cNvPr>
            <p:cNvSpPr/>
            <p:nvPr/>
          </p:nvSpPr>
          <p:spPr>
            <a:xfrm>
              <a:off x="2326546" y="1911035"/>
              <a:ext cx="679" cy="584"/>
            </a:xfrm>
            <a:custGeom>
              <a:avLst/>
              <a:gdLst/>
              <a:ahLst/>
              <a:cxnLst/>
              <a:rect l="l" t="t" r="r" b="b"/>
              <a:pathLst>
                <a:path w="50" h="43" extrusionOk="0">
                  <a:moveTo>
                    <a:pt x="1" y="43"/>
                  </a:moveTo>
                  <a:cubicBezTo>
                    <a:pt x="15" y="29"/>
                    <a:pt x="32" y="15"/>
                    <a:pt x="50" y="1"/>
                  </a:cubicBezTo>
                  <a:cubicBezTo>
                    <a:pt x="32" y="15"/>
                    <a:pt x="15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2" name="Google Shape;5159;p64">
              <a:extLst>
                <a:ext uri="{FF2B5EF4-FFF2-40B4-BE49-F238E27FC236}">
                  <a16:creationId xmlns:a16="http://schemas.microsoft.com/office/drawing/2014/main" id="{2EDD371A-B62D-8BE3-14E3-61A68B617049}"/>
                </a:ext>
              </a:extLst>
            </p:cNvPr>
            <p:cNvSpPr/>
            <p:nvPr/>
          </p:nvSpPr>
          <p:spPr>
            <a:xfrm>
              <a:off x="2328732" y="1908619"/>
              <a:ext cx="679" cy="774"/>
            </a:xfrm>
            <a:custGeom>
              <a:avLst/>
              <a:gdLst/>
              <a:ahLst/>
              <a:cxnLst/>
              <a:rect l="l" t="t" r="r" b="b"/>
              <a:pathLst>
                <a:path w="50" h="57" extrusionOk="0">
                  <a:moveTo>
                    <a:pt x="50" y="0"/>
                  </a:moveTo>
                  <a:cubicBezTo>
                    <a:pt x="32" y="18"/>
                    <a:pt x="18" y="39"/>
                    <a:pt x="1" y="56"/>
                  </a:cubicBezTo>
                  <a:cubicBezTo>
                    <a:pt x="18" y="39"/>
                    <a:pt x="32" y="21"/>
                    <a:pt x="5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3" name="Google Shape;5160;p64">
              <a:extLst>
                <a:ext uri="{FF2B5EF4-FFF2-40B4-BE49-F238E27FC236}">
                  <a16:creationId xmlns:a16="http://schemas.microsoft.com/office/drawing/2014/main" id="{3A7DB66D-8816-0229-62BD-A8C0506276C0}"/>
                </a:ext>
              </a:extLst>
            </p:cNvPr>
            <p:cNvSpPr/>
            <p:nvPr/>
          </p:nvSpPr>
          <p:spPr>
            <a:xfrm>
              <a:off x="2315196" y="1925726"/>
              <a:ext cx="869" cy="1629"/>
            </a:xfrm>
            <a:custGeom>
              <a:avLst/>
              <a:gdLst/>
              <a:ahLst/>
              <a:cxnLst/>
              <a:rect l="l" t="t" r="r" b="b"/>
              <a:pathLst>
                <a:path w="64" h="120" extrusionOk="0">
                  <a:moveTo>
                    <a:pt x="0" y="120"/>
                  </a:moveTo>
                  <a:cubicBezTo>
                    <a:pt x="14" y="74"/>
                    <a:pt x="35" y="32"/>
                    <a:pt x="63" y="1"/>
                  </a:cubicBezTo>
                  <a:cubicBezTo>
                    <a:pt x="35" y="32"/>
                    <a:pt x="14" y="74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4" name="Google Shape;5161;p64">
              <a:extLst>
                <a:ext uri="{FF2B5EF4-FFF2-40B4-BE49-F238E27FC236}">
                  <a16:creationId xmlns:a16="http://schemas.microsoft.com/office/drawing/2014/main" id="{A8BA8CE2-DA8C-E075-6A48-218A100A6F08}"/>
                </a:ext>
              </a:extLst>
            </p:cNvPr>
            <p:cNvSpPr/>
            <p:nvPr/>
          </p:nvSpPr>
          <p:spPr>
            <a:xfrm>
              <a:off x="2315481" y="1933384"/>
              <a:ext cx="204" cy="869"/>
            </a:xfrm>
            <a:custGeom>
              <a:avLst/>
              <a:gdLst/>
              <a:ahLst/>
              <a:cxnLst/>
              <a:rect l="l" t="t" r="r" b="b"/>
              <a:pathLst>
                <a:path w="15" h="64" extrusionOk="0">
                  <a:moveTo>
                    <a:pt x="0" y="0"/>
                  </a:moveTo>
                  <a:cubicBezTo>
                    <a:pt x="7" y="21"/>
                    <a:pt x="11" y="46"/>
                    <a:pt x="14" y="63"/>
                  </a:cubicBezTo>
                  <a:cubicBezTo>
                    <a:pt x="11" y="42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5" name="Google Shape;5162;p64">
              <a:extLst>
                <a:ext uri="{FF2B5EF4-FFF2-40B4-BE49-F238E27FC236}">
                  <a16:creationId xmlns:a16="http://schemas.microsoft.com/office/drawing/2014/main" id="{513C9B52-74C1-F243-A6FE-B4EDD3B8EA1D}"/>
                </a:ext>
              </a:extLst>
            </p:cNvPr>
            <p:cNvSpPr/>
            <p:nvPr/>
          </p:nvSpPr>
          <p:spPr>
            <a:xfrm>
              <a:off x="2315046" y="1928062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7"/>
                    <a:pt x="1" y="4"/>
                    <a:pt x="1" y="0"/>
                  </a:cubicBezTo>
                  <a:cubicBezTo>
                    <a:pt x="1" y="4"/>
                    <a:pt x="1" y="7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6" name="Google Shape;5163;p64">
              <a:extLst>
                <a:ext uri="{FF2B5EF4-FFF2-40B4-BE49-F238E27FC236}">
                  <a16:creationId xmlns:a16="http://schemas.microsoft.com/office/drawing/2014/main" id="{47DED38F-784B-2AE2-CE4C-CDB535609F0F}"/>
                </a:ext>
              </a:extLst>
            </p:cNvPr>
            <p:cNvSpPr/>
            <p:nvPr/>
          </p:nvSpPr>
          <p:spPr>
            <a:xfrm>
              <a:off x="2315100" y="1927396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7"/>
                    <a:pt x="0" y="18"/>
                    <a:pt x="0" y="28"/>
                  </a:cubicBezTo>
                  <a:cubicBezTo>
                    <a:pt x="4" y="18"/>
                    <a:pt x="4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7" name="Google Shape;5164;p64">
              <a:extLst>
                <a:ext uri="{FF2B5EF4-FFF2-40B4-BE49-F238E27FC236}">
                  <a16:creationId xmlns:a16="http://schemas.microsoft.com/office/drawing/2014/main" id="{9A65F098-E839-8267-9895-4E8E2601E202}"/>
                </a:ext>
              </a:extLst>
            </p:cNvPr>
            <p:cNvSpPr/>
            <p:nvPr/>
          </p:nvSpPr>
          <p:spPr>
            <a:xfrm>
              <a:off x="2361250" y="194817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8" name="Google Shape;5165;p64">
              <a:extLst>
                <a:ext uri="{FF2B5EF4-FFF2-40B4-BE49-F238E27FC236}">
                  <a16:creationId xmlns:a16="http://schemas.microsoft.com/office/drawing/2014/main" id="{1CD7A96E-FA37-A3C3-49B1-CF7E74915171}"/>
                </a:ext>
              </a:extLst>
            </p:cNvPr>
            <p:cNvSpPr/>
            <p:nvPr/>
          </p:nvSpPr>
          <p:spPr>
            <a:xfrm>
              <a:off x="2361861" y="194773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8" y="1"/>
                  </a:ln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9" name="Google Shape;5166;p64">
              <a:extLst>
                <a:ext uri="{FF2B5EF4-FFF2-40B4-BE49-F238E27FC236}">
                  <a16:creationId xmlns:a16="http://schemas.microsoft.com/office/drawing/2014/main" id="{174BF384-388E-74C5-85E0-41A02FE61C28}"/>
                </a:ext>
              </a:extLst>
            </p:cNvPr>
            <p:cNvSpPr/>
            <p:nvPr/>
          </p:nvSpPr>
          <p:spPr>
            <a:xfrm>
              <a:off x="2360870" y="194849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0" name="Google Shape;5167;p64">
              <a:extLst>
                <a:ext uri="{FF2B5EF4-FFF2-40B4-BE49-F238E27FC236}">
                  <a16:creationId xmlns:a16="http://schemas.microsoft.com/office/drawing/2014/main" id="{DF3F2857-8FA7-85DD-41A8-1FD1451184DE}"/>
                </a:ext>
              </a:extLst>
            </p:cNvPr>
            <p:cNvSpPr/>
            <p:nvPr/>
          </p:nvSpPr>
          <p:spPr>
            <a:xfrm>
              <a:off x="2361481" y="19479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1" name="Google Shape;5168;p64">
              <a:extLst>
                <a:ext uri="{FF2B5EF4-FFF2-40B4-BE49-F238E27FC236}">
                  <a16:creationId xmlns:a16="http://schemas.microsoft.com/office/drawing/2014/main" id="{F6CA44B0-528F-8AB1-FFCC-233A893C65AA}"/>
                </a:ext>
              </a:extLst>
            </p:cNvPr>
            <p:cNvSpPr/>
            <p:nvPr/>
          </p:nvSpPr>
          <p:spPr>
            <a:xfrm>
              <a:off x="2361060" y="19483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2" name="Google Shape;5169;p64">
              <a:extLst>
                <a:ext uri="{FF2B5EF4-FFF2-40B4-BE49-F238E27FC236}">
                  <a16:creationId xmlns:a16="http://schemas.microsoft.com/office/drawing/2014/main" id="{672E40E5-EC76-9D0C-DBB7-36CC64A5CFD7}"/>
                </a:ext>
              </a:extLst>
            </p:cNvPr>
            <p:cNvSpPr/>
            <p:nvPr/>
          </p:nvSpPr>
          <p:spPr>
            <a:xfrm>
              <a:off x="2360721" y="19486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3" name="Google Shape;5170;p64">
              <a:extLst>
                <a:ext uri="{FF2B5EF4-FFF2-40B4-BE49-F238E27FC236}">
                  <a16:creationId xmlns:a16="http://schemas.microsoft.com/office/drawing/2014/main" id="{F2AE82A5-2722-909B-FB80-E3DAB66261FF}"/>
                </a:ext>
              </a:extLst>
            </p:cNvPr>
            <p:cNvSpPr/>
            <p:nvPr/>
          </p:nvSpPr>
          <p:spPr>
            <a:xfrm>
              <a:off x="2289045" y="1932474"/>
              <a:ext cx="108104" cy="83909"/>
            </a:xfrm>
            <a:custGeom>
              <a:avLst/>
              <a:gdLst/>
              <a:ahLst/>
              <a:cxnLst/>
              <a:rect l="l" t="t" r="r" b="b"/>
              <a:pathLst>
                <a:path w="7962" h="6180" extrusionOk="0">
                  <a:moveTo>
                    <a:pt x="2651" y="1"/>
                  </a:moveTo>
                  <a:cubicBezTo>
                    <a:pt x="2637" y="4"/>
                    <a:pt x="2623" y="22"/>
                    <a:pt x="2612" y="50"/>
                  </a:cubicBezTo>
                  <a:cubicBezTo>
                    <a:pt x="2609" y="60"/>
                    <a:pt x="2605" y="71"/>
                    <a:pt x="2602" y="81"/>
                  </a:cubicBezTo>
                  <a:cubicBezTo>
                    <a:pt x="2556" y="225"/>
                    <a:pt x="2528" y="312"/>
                    <a:pt x="2451" y="330"/>
                  </a:cubicBezTo>
                  <a:cubicBezTo>
                    <a:pt x="2443" y="332"/>
                    <a:pt x="2434" y="333"/>
                    <a:pt x="2425" y="333"/>
                  </a:cubicBezTo>
                  <a:cubicBezTo>
                    <a:pt x="2386" y="333"/>
                    <a:pt x="2348" y="313"/>
                    <a:pt x="2322" y="284"/>
                  </a:cubicBezTo>
                  <a:lnTo>
                    <a:pt x="2119" y="284"/>
                  </a:lnTo>
                  <a:cubicBezTo>
                    <a:pt x="2080" y="284"/>
                    <a:pt x="2035" y="284"/>
                    <a:pt x="1982" y="288"/>
                  </a:cubicBezTo>
                  <a:lnTo>
                    <a:pt x="1982" y="291"/>
                  </a:lnTo>
                  <a:cubicBezTo>
                    <a:pt x="1982" y="309"/>
                    <a:pt x="1982" y="323"/>
                    <a:pt x="1979" y="337"/>
                  </a:cubicBezTo>
                  <a:lnTo>
                    <a:pt x="1979" y="340"/>
                  </a:lnTo>
                  <a:cubicBezTo>
                    <a:pt x="1979" y="358"/>
                    <a:pt x="1975" y="372"/>
                    <a:pt x="1972" y="389"/>
                  </a:cubicBezTo>
                  <a:lnTo>
                    <a:pt x="1972" y="396"/>
                  </a:lnTo>
                  <a:cubicBezTo>
                    <a:pt x="1968" y="410"/>
                    <a:pt x="1965" y="428"/>
                    <a:pt x="1958" y="442"/>
                  </a:cubicBezTo>
                  <a:lnTo>
                    <a:pt x="1954" y="449"/>
                  </a:lnTo>
                  <a:cubicBezTo>
                    <a:pt x="1951" y="466"/>
                    <a:pt x="1947" y="480"/>
                    <a:pt x="1940" y="494"/>
                  </a:cubicBezTo>
                  <a:lnTo>
                    <a:pt x="1940" y="498"/>
                  </a:lnTo>
                  <a:cubicBezTo>
                    <a:pt x="1937" y="512"/>
                    <a:pt x="1930" y="526"/>
                    <a:pt x="1923" y="540"/>
                  </a:cubicBezTo>
                  <a:lnTo>
                    <a:pt x="1919" y="547"/>
                  </a:lnTo>
                  <a:cubicBezTo>
                    <a:pt x="1916" y="561"/>
                    <a:pt x="1909" y="575"/>
                    <a:pt x="1902" y="589"/>
                  </a:cubicBezTo>
                  <a:lnTo>
                    <a:pt x="1898" y="599"/>
                  </a:lnTo>
                  <a:lnTo>
                    <a:pt x="1881" y="638"/>
                  </a:lnTo>
                  <a:lnTo>
                    <a:pt x="1874" y="648"/>
                  </a:lnTo>
                  <a:lnTo>
                    <a:pt x="1856" y="683"/>
                  </a:lnTo>
                  <a:cubicBezTo>
                    <a:pt x="1818" y="757"/>
                    <a:pt x="1782" y="834"/>
                    <a:pt x="1782" y="872"/>
                  </a:cubicBezTo>
                  <a:cubicBezTo>
                    <a:pt x="1782" y="1033"/>
                    <a:pt x="1625" y="1209"/>
                    <a:pt x="1478" y="1209"/>
                  </a:cubicBezTo>
                  <a:cubicBezTo>
                    <a:pt x="1450" y="1216"/>
                    <a:pt x="1387" y="1317"/>
                    <a:pt x="1348" y="1377"/>
                  </a:cubicBezTo>
                  <a:lnTo>
                    <a:pt x="1310" y="1433"/>
                  </a:lnTo>
                  <a:cubicBezTo>
                    <a:pt x="1275" y="1492"/>
                    <a:pt x="1233" y="1545"/>
                    <a:pt x="1187" y="1594"/>
                  </a:cubicBezTo>
                  <a:cubicBezTo>
                    <a:pt x="1142" y="1639"/>
                    <a:pt x="1131" y="1716"/>
                    <a:pt x="1124" y="1800"/>
                  </a:cubicBezTo>
                  <a:cubicBezTo>
                    <a:pt x="1124" y="1811"/>
                    <a:pt x="1124" y="1825"/>
                    <a:pt x="1121" y="1835"/>
                  </a:cubicBezTo>
                  <a:cubicBezTo>
                    <a:pt x="1110" y="1951"/>
                    <a:pt x="1103" y="2073"/>
                    <a:pt x="1012" y="2140"/>
                  </a:cubicBezTo>
                  <a:cubicBezTo>
                    <a:pt x="963" y="2175"/>
                    <a:pt x="918" y="2203"/>
                    <a:pt x="865" y="2227"/>
                  </a:cubicBezTo>
                  <a:cubicBezTo>
                    <a:pt x="834" y="2241"/>
                    <a:pt x="806" y="2259"/>
                    <a:pt x="778" y="2276"/>
                  </a:cubicBezTo>
                  <a:lnTo>
                    <a:pt x="781" y="2280"/>
                  </a:lnTo>
                  <a:cubicBezTo>
                    <a:pt x="806" y="2304"/>
                    <a:pt x="823" y="2336"/>
                    <a:pt x="823" y="2371"/>
                  </a:cubicBezTo>
                  <a:cubicBezTo>
                    <a:pt x="827" y="2444"/>
                    <a:pt x="781" y="2521"/>
                    <a:pt x="732" y="2595"/>
                  </a:cubicBezTo>
                  <a:cubicBezTo>
                    <a:pt x="694" y="2651"/>
                    <a:pt x="662" y="2710"/>
                    <a:pt x="641" y="2773"/>
                  </a:cubicBezTo>
                  <a:cubicBezTo>
                    <a:pt x="634" y="2794"/>
                    <a:pt x="631" y="2812"/>
                    <a:pt x="631" y="2833"/>
                  </a:cubicBezTo>
                  <a:cubicBezTo>
                    <a:pt x="631" y="2840"/>
                    <a:pt x="620" y="3411"/>
                    <a:pt x="543" y="3491"/>
                  </a:cubicBezTo>
                  <a:cubicBezTo>
                    <a:pt x="523" y="3511"/>
                    <a:pt x="498" y="3517"/>
                    <a:pt x="460" y="3517"/>
                  </a:cubicBezTo>
                  <a:cubicBezTo>
                    <a:pt x="437" y="3517"/>
                    <a:pt x="409" y="3515"/>
                    <a:pt x="375" y="3512"/>
                  </a:cubicBezTo>
                  <a:cubicBezTo>
                    <a:pt x="348" y="3511"/>
                    <a:pt x="311" y="3509"/>
                    <a:pt x="272" y="3509"/>
                  </a:cubicBezTo>
                  <a:cubicBezTo>
                    <a:pt x="211" y="3509"/>
                    <a:pt x="148" y="3514"/>
                    <a:pt x="127" y="3533"/>
                  </a:cubicBezTo>
                  <a:cubicBezTo>
                    <a:pt x="127" y="3533"/>
                    <a:pt x="123" y="3537"/>
                    <a:pt x="123" y="3544"/>
                  </a:cubicBezTo>
                  <a:cubicBezTo>
                    <a:pt x="123" y="3621"/>
                    <a:pt x="92" y="3694"/>
                    <a:pt x="36" y="3747"/>
                  </a:cubicBezTo>
                  <a:cubicBezTo>
                    <a:pt x="1" y="3785"/>
                    <a:pt x="1" y="3789"/>
                    <a:pt x="15" y="3820"/>
                  </a:cubicBezTo>
                  <a:cubicBezTo>
                    <a:pt x="32" y="3852"/>
                    <a:pt x="130" y="3883"/>
                    <a:pt x="207" y="3904"/>
                  </a:cubicBezTo>
                  <a:cubicBezTo>
                    <a:pt x="333" y="3936"/>
                    <a:pt x="477" y="3974"/>
                    <a:pt x="526" y="4097"/>
                  </a:cubicBezTo>
                  <a:cubicBezTo>
                    <a:pt x="561" y="4163"/>
                    <a:pt x="610" y="4223"/>
                    <a:pt x="669" y="4275"/>
                  </a:cubicBezTo>
                  <a:lnTo>
                    <a:pt x="697" y="4303"/>
                  </a:lnTo>
                  <a:cubicBezTo>
                    <a:pt x="809" y="4415"/>
                    <a:pt x="935" y="4541"/>
                    <a:pt x="998" y="4706"/>
                  </a:cubicBezTo>
                  <a:cubicBezTo>
                    <a:pt x="1089" y="4947"/>
                    <a:pt x="1331" y="5070"/>
                    <a:pt x="1443" y="5070"/>
                  </a:cubicBezTo>
                  <a:cubicBezTo>
                    <a:pt x="1446" y="5069"/>
                    <a:pt x="1449" y="5069"/>
                    <a:pt x="1452" y="5069"/>
                  </a:cubicBezTo>
                  <a:cubicBezTo>
                    <a:pt x="1460" y="5069"/>
                    <a:pt x="1467" y="5071"/>
                    <a:pt x="1474" y="5073"/>
                  </a:cubicBezTo>
                  <a:cubicBezTo>
                    <a:pt x="1499" y="5077"/>
                    <a:pt x="1516" y="5087"/>
                    <a:pt x="1534" y="5108"/>
                  </a:cubicBezTo>
                  <a:cubicBezTo>
                    <a:pt x="1572" y="5154"/>
                    <a:pt x="1565" y="5227"/>
                    <a:pt x="1544" y="5347"/>
                  </a:cubicBezTo>
                  <a:cubicBezTo>
                    <a:pt x="1544" y="5364"/>
                    <a:pt x="1541" y="5385"/>
                    <a:pt x="1537" y="5403"/>
                  </a:cubicBezTo>
                  <a:cubicBezTo>
                    <a:pt x="1530" y="5424"/>
                    <a:pt x="1527" y="5448"/>
                    <a:pt x="1523" y="5473"/>
                  </a:cubicBezTo>
                  <a:lnTo>
                    <a:pt x="1520" y="5490"/>
                  </a:lnTo>
                  <a:cubicBezTo>
                    <a:pt x="1516" y="5515"/>
                    <a:pt x="1513" y="5543"/>
                    <a:pt x="1509" y="5571"/>
                  </a:cubicBezTo>
                  <a:lnTo>
                    <a:pt x="1516" y="5574"/>
                  </a:lnTo>
                  <a:cubicBezTo>
                    <a:pt x="1521" y="5567"/>
                    <a:pt x="1527" y="5565"/>
                    <a:pt x="1534" y="5565"/>
                  </a:cubicBezTo>
                  <a:cubicBezTo>
                    <a:pt x="1546" y="5565"/>
                    <a:pt x="1561" y="5571"/>
                    <a:pt x="1576" y="5578"/>
                  </a:cubicBezTo>
                  <a:lnTo>
                    <a:pt x="1590" y="5581"/>
                  </a:lnTo>
                  <a:lnTo>
                    <a:pt x="1604" y="5588"/>
                  </a:lnTo>
                  <a:cubicBezTo>
                    <a:pt x="1614" y="5595"/>
                    <a:pt x="1625" y="5599"/>
                    <a:pt x="1635" y="5606"/>
                  </a:cubicBezTo>
                  <a:cubicBezTo>
                    <a:pt x="1639" y="5606"/>
                    <a:pt x="1642" y="5606"/>
                    <a:pt x="1646" y="5609"/>
                  </a:cubicBezTo>
                  <a:cubicBezTo>
                    <a:pt x="1688" y="5616"/>
                    <a:pt x="1730" y="5620"/>
                    <a:pt x="1775" y="5623"/>
                  </a:cubicBezTo>
                  <a:lnTo>
                    <a:pt x="1800" y="5623"/>
                  </a:lnTo>
                  <a:cubicBezTo>
                    <a:pt x="1947" y="5630"/>
                    <a:pt x="2112" y="5637"/>
                    <a:pt x="2203" y="5721"/>
                  </a:cubicBezTo>
                  <a:cubicBezTo>
                    <a:pt x="2332" y="5833"/>
                    <a:pt x="2700" y="6068"/>
                    <a:pt x="2791" y="6068"/>
                  </a:cubicBezTo>
                  <a:cubicBezTo>
                    <a:pt x="2896" y="6068"/>
                    <a:pt x="3323" y="6120"/>
                    <a:pt x="3442" y="6180"/>
                  </a:cubicBezTo>
                  <a:cubicBezTo>
                    <a:pt x="3470" y="6155"/>
                    <a:pt x="3494" y="6131"/>
                    <a:pt x="3515" y="6103"/>
                  </a:cubicBezTo>
                  <a:cubicBezTo>
                    <a:pt x="3582" y="6022"/>
                    <a:pt x="3662" y="5949"/>
                    <a:pt x="3753" y="5893"/>
                  </a:cubicBezTo>
                  <a:cubicBezTo>
                    <a:pt x="3876" y="5821"/>
                    <a:pt x="4046" y="5752"/>
                    <a:pt x="4169" y="5752"/>
                  </a:cubicBezTo>
                  <a:cubicBezTo>
                    <a:pt x="4197" y="5752"/>
                    <a:pt x="4222" y="5755"/>
                    <a:pt x="4244" y="5763"/>
                  </a:cubicBezTo>
                  <a:cubicBezTo>
                    <a:pt x="4275" y="5774"/>
                    <a:pt x="4303" y="5798"/>
                    <a:pt x="4317" y="5830"/>
                  </a:cubicBezTo>
                  <a:cubicBezTo>
                    <a:pt x="4338" y="5865"/>
                    <a:pt x="4370" y="5893"/>
                    <a:pt x="4405" y="5907"/>
                  </a:cubicBezTo>
                  <a:cubicBezTo>
                    <a:pt x="4419" y="5912"/>
                    <a:pt x="4434" y="5915"/>
                    <a:pt x="4448" y="5915"/>
                  </a:cubicBezTo>
                  <a:cubicBezTo>
                    <a:pt x="4463" y="5915"/>
                    <a:pt x="4478" y="5912"/>
                    <a:pt x="4492" y="5907"/>
                  </a:cubicBezTo>
                  <a:cubicBezTo>
                    <a:pt x="4580" y="5872"/>
                    <a:pt x="4667" y="5847"/>
                    <a:pt x="4755" y="5830"/>
                  </a:cubicBezTo>
                  <a:lnTo>
                    <a:pt x="4776" y="5823"/>
                  </a:lnTo>
                  <a:lnTo>
                    <a:pt x="4793" y="5823"/>
                  </a:lnTo>
                  <a:lnTo>
                    <a:pt x="4944" y="5791"/>
                  </a:lnTo>
                  <a:lnTo>
                    <a:pt x="4944" y="5795"/>
                  </a:lnTo>
                  <a:cubicBezTo>
                    <a:pt x="5035" y="5774"/>
                    <a:pt x="5129" y="5760"/>
                    <a:pt x="5224" y="5756"/>
                  </a:cubicBezTo>
                  <a:lnTo>
                    <a:pt x="5245" y="5756"/>
                  </a:lnTo>
                  <a:cubicBezTo>
                    <a:pt x="5287" y="5732"/>
                    <a:pt x="5329" y="5700"/>
                    <a:pt x="5367" y="5665"/>
                  </a:cubicBezTo>
                  <a:cubicBezTo>
                    <a:pt x="5500" y="5553"/>
                    <a:pt x="5707" y="5378"/>
                    <a:pt x="5956" y="5378"/>
                  </a:cubicBezTo>
                  <a:cubicBezTo>
                    <a:pt x="6043" y="5378"/>
                    <a:pt x="6113" y="5382"/>
                    <a:pt x="6173" y="5385"/>
                  </a:cubicBezTo>
                  <a:cubicBezTo>
                    <a:pt x="6220" y="5388"/>
                    <a:pt x="6259" y="5390"/>
                    <a:pt x="6293" y="5390"/>
                  </a:cubicBezTo>
                  <a:cubicBezTo>
                    <a:pt x="6391" y="5390"/>
                    <a:pt x="6443" y="5371"/>
                    <a:pt x="6516" y="5291"/>
                  </a:cubicBezTo>
                  <a:cubicBezTo>
                    <a:pt x="6645" y="5147"/>
                    <a:pt x="7779" y="4002"/>
                    <a:pt x="7961" y="3841"/>
                  </a:cubicBezTo>
                  <a:cubicBezTo>
                    <a:pt x="7916" y="3831"/>
                    <a:pt x="7870" y="3824"/>
                    <a:pt x="7825" y="3824"/>
                  </a:cubicBezTo>
                  <a:cubicBezTo>
                    <a:pt x="7737" y="3824"/>
                    <a:pt x="7478" y="3824"/>
                    <a:pt x="7048" y="3649"/>
                  </a:cubicBezTo>
                  <a:cubicBezTo>
                    <a:pt x="6649" y="3488"/>
                    <a:pt x="6054" y="3288"/>
                    <a:pt x="5956" y="3267"/>
                  </a:cubicBezTo>
                  <a:cubicBezTo>
                    <a:pt x="5871" y="3246"/>
                    <a:pt x="5794" y="3158"/>
                    <a:pt x="5710" y="3064"/>
                  </a:cubicBezTo>
                  <a:cubicBezTo>
                    <a:pt x="5668" y="3015"/>
                    <a:pt x="5623" y="2969"/>
                    <a:pt x="5574" y="2931"/>
                  </a:cubicBezTo>
                  <a:cubicBezTo>
                    <a:pt x="5490" y="2889"/>
                    <a:pt x="5374" y="2714"/>
                    <a:pt x="5297" y="2577"/>
                  </a:cubicBezTo>
                  <a:cubicBezTo>
                    <a:pt x="5248" y="2493"/>
                    <a:pt x="5213" y="2423"/>
                    <a:pt x="5203" y="2402"/>
                  </a:cubicBezTo>
                  <a:cubicBezTo>
                    <a:pt x="5199" y="2395"/>
                    <a:pt x="5199" y="2385"/>
                    <a:pt x="5196" y="2378"/>
                  </a:cubicBezTo>
                  <a:cubicBezTo>
                    <a:pt x="5192" y="2332"/>
                    <a:pt x="5206" y="2287"/>
                    <a:pt x="5227" y="2245"/>
                  </a:cubicBezTo>
                  <a:lnTo>
                    <a:pt x="5238" y="2231"/>
                  </a:lnTo>
                  <a:lnTo>
                    <a:pt x="5241" y="2220"/>
                  </a:lnTo>
                  <a:cubicBezTo>
                    <a:pt x="5248" y="2210"/>
                    <a:pt x="5255" y="2199"/>
                    <a:pt x="5262" y="2185"/>
                  </a:cubicBezTo>
                  <a:lnTo>
                    <a:pt x="5234" y="2164"/>
                  </a:lnTo>
                  <a:lnTo>
                    <a:pt x="5231" y="2161"/>
                  </a:lnTo>
                  <a:cubicBezTo>
                    <a:pt x="5224" y="2154"/>
                    <a:pt x="5213" y="2150"/>
                    <a:pt x="5210" y="2147"/>
                  </a:cubicBezTo>
                  <a:lnTo>
                    <a:pt x="5206" y="2147"/>
                  </a:lnTo>
                  <a:cubicBezTo>
                    <a:pt x="5199" y="2143"/>
                    <a:pt x="5192" y="2140"/>
                    <a:pt x="5189" y="2136"/>
                  </a:cubicBezTo>
                  <a:cubicBezTo>
                    <a:pt x="5178" y="2133"/>
                    <a:pt x="5171" y="2129"/>
                    <a:pt x="5161" y="2129"/>
                  </a:cubicBezTo>
                  <a:cubicBezTo>
                    <a:pt x="5157" y="2129"/>
                    <a:pt x="5154" y="2129"/>
                    <a:pt x="5150" y="2133"/>
                  </a:cubicBezTo>
                  <a:lnTo>
                    <a:pt x="5140" y="2136"/>
                  </a:lnTo>
                  <a:lnTo>
                    <a:pt x="5133" y="2143"/>
                  </a:lnTo>
                  <a:cubicBezTo>
                    <a:pt x="5062" y="2189"/>
                    <a:pt x="4982" y="2212"/>
                    <a:pt x="4899" y="2212"/>
                  </a:cubicBezTo>
                  <a:cubicBezTo>
                    <a:pt x="4874" y="2212"/>
                    <a:pt x="4849" y="2210"/>
                    <a:pt x="4825" y="2206"/>
                  </a:cubicBezTo>
                  <a:cubicBezTo>
                    <a:pt x="4783" y="2196"/>
                    <a:pt x="4751" y="2171"/>
                    <a:pt x="4730" y="2136"/>
                  </a:cubicBezTo>
                  <a:cubicBezTo>
                    <a:pt x="4685" y="2049"/>
                    <a:pt x="4615" y="1765"/>
                    <a:pt x="4758" y="1601"/>
                  </a:cubicBezTo>
                  <a:cubicBezTo>
                    <a:pt x="4765" y="1590"/>
                    <a:pt x="4776" y="1580"/>
                    <a:pt x="4786" y="1566"/>
                  </a:cubicBezTo>
                  <a:lnTo>
                    <a:pt x="4793" y="1559"/>
                  </a:lnTo>
                  <a:lnTo>
                    <a:pt x="4821" y="1520"/>
                  </a:lnTo>
                  <a:lnTo>
                    <a:pt x="4828" y="1510"/>
                  </a:lnTo>
                  <a:lnTo>
                    <a:pt x="4853" y="1478"/>
                  </a:lnTo>
                  <a:lnTo>
                    <a:pt x="4860" y="1468"/>
                  </a:lnTo>
                  <a:lnTo>
                    <a:pt x="4884" y="1429"/>
                  </a:lnTo>
                  <a:lnTo>
                    <a:pt x="4895" y="1415"/>
                  </a:lnTo>
                  <a:lnTo>
                    <a:pt x="4919" y="1380"/>
                  </a:lnTo>
                  <a:lnTo>
                    <a:pt x="4926" y="1370"/>
                  </a:lnTo>
                  <a:lnTo>
                    <a:pt x="4947" y="1338"/>
                  </a:lnTo>
                  <a:lnTo>
                    <a:pt x="4951" y="1331"/>
                  </a:lnTo>
                  <a:lnTo>
                    <a:pt x="4975" y="1296"/>
                  </a:lnTo>
                  <a:lnTo>
                    <a:pt x="4996" y="1261"/>
                  </a:lnTo>
                  <a:lnTo>
                    <a:pt x="4870" y="1132"/>
                  </a:lnTo>
                  <a:lnTo>
                    <a:pt x="4863" y="1121"/>
                  </a:lnTo>
                  <a:cubicBezTo>
                    <a:pt x="4429" y="666"/>
                    <a:pt x="3988" y="232"/>
                    <a:pt x="3904" y="193"/>
                  </a:cubicBezTo>
                  <a:lnTo>
                    <a:pt x="3862" y="193"/>
                  </a:lnTo>
                  <a:cubicBezTo>
                    <a:pt x="3813" y="193"/>
                    <a:pt x="3743" y="197"/>
                    <a:pt x="3676" y="204"/>
                  </a:cubicBezTo>
                  <a:cubicBezTo>
                    <a:pt x="3603" y="208"/>
                    <a:pt x="3541" y="212"/>
                    <a:pt x="3490" y="212"/>
                  </a:cubicBezTo>
                  <a:cubicBezTo>
                    <a:pt x="3427" y="212"/>
                    <a:pt x="3380" y="207"/>
                    <a:pt x="3347" y="193"/>
                  </a:cubicBezTo>
                  <a:cubicBezTo>
                    <a:pt x="3330" y="186"/>
                    <a:pt x="3309" y="176"/>
                    <a:pt x="3291" y="162"/>
                  </a:cubicBezTo>
                  <a:cubicBezTo>
                    <a:pt x="3282" y="156"/>
                    <a:pt x="3275" y="152"/>
                    <a:pt x="3265" y="152"/>
                  </a:cubicBezTo>
                  <a:cubicBezTo>
                    <a:pt x="3248" y="152"/>
                    <a:pt x="3223" y="162"/>
                    <a:pt x="3165" y="190"/>
                  </a:cubicBezTo>
                  <a:cubicBezTo>
                    <a:pt x="3116" y="214"/>
                    <a:pt x="3073" y="224"/>
                    <a:pt x="3034" y="224"/>
                  </a:cubicBezTo>
                  <a:cubicBezTo>
                    <a:pt x="2932" y="224"/>
                    <a:pt x="2862" y="155"/>
                    <a:pt x="2808" y="99"/>
                  </a:cubicBezTo>
                  <a:cubicBezTo>
                    <a:pt x="2787" y="81"/>
                    <a:pt x="2770" y="64"/>
                    <a:pt x="2752" y="46"/>
                  </a:cubicBezTo>
                  <a:lnTo>
                    <a:pt x="2731" y="29"/>
                  </a:lnTo>
                  <a:cubicBezTo>
                    <a:pt x="2710" y="15"/>
                    <a:pt x="2686" y="4"/>
                    <a:pt x="266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4" name="Google Shape;5171;p64">
              <a:extLst>
                <a:ext uri="{FF2B5EF4-FFF2-40B4-BE49-F238E27FC236}">
                  <a16:creationId xmlns:a16="http://schemas.microsoft.com/office/drawing/2014/main" id="{9040A5EF-F72A-509B-3854-6C8124F08DE6}"/>
                </a:ext>
              </a:extLst>
            </p:cNvPr>
            <p:cNvSpPr/>
            <p:nvPr/>
          </p:nvSpPr>
          <p:spPr>
            <a:xfrm>
              <a:off x="2360015" y="196271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5" name="Google Shape;5172;p64">
              <a:extLst>
                <a:ext uri="{FF2B5EF4-FFF2-40B4-BE49-F238E27FC236}">
                  <a16:creationId xmlns:a16="http://schemas.microsoft.com/office/drawing/2014/main" id="{DE8BBD2B-A9E5-67C5-A065-4CC60285646D}"/>
                </a:ext>
              </a:extLst>
            </p:cNvPr>
            <p:cNvSpPr/>
            <p:nvPr/>
          </p:nvSpPr>
          <p:spPr>
            <a:xfrm>
              <a:off x="2360965" y="1967409"/>
              <a:ext cx="3761" cy="4861"/>
            </a:xfrm>
            <a:custGeom>
              <a:avLst/>
              <a:gdLst/>
              <a:ahLst/>
              <a:cxnLst/>
              <a:rect l="l" t="t" r="r" b="b"/>
              <a:pathLst>
                <a:path w="277" h="358" extrusionOk="0">
                  <a:moveTo>
                    <a:pt x="0" y="1"/>
                  </a:moveTo>
                  <a:cubicBezTo>
                    <a:pt x="81" y="141"/>
                    <a:pt x="193" y="316"/>
                    <a:pt x="277" y="358"/>
                  </a:cubicBezTo>
                  <a:cubicBezTo>
                    <a:pt x="193" y="312"/>
                    <a:pt x="81" y="13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6" name="Google Shape;5173;p64">
              <a:extLst>
                <a:ext uri="{FF2B5EF4-FFF2-40B4-BE49-F238E27FC236}">
                  <a16:creationId xmlns:a16="http://schemas.microsoft.com/office/drawing/2014/main" id="{3795C4DA-A0C5-4269-96D9-217C46B0AC4E}"/>
                </a:ext>
              </a:extLst>
            </p:cNvPr>
            <p:cNvSpPr/>
            <p:nvPr/>
          </p:nvSpPr>
          <p:spPr>
            <a:xfrm>
              <a:off x="2359580" y="196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7" name="Google Shape;5174;p64">
              <a:extLst>
                <a:ext uri="{FF2B5EF4-FFF2-40B4-BE49-F238E27FC236}">
                  <a16:creationId xmlns:a16="http://schemas.microsoft.com/office/drawing/2014/main" id="{6F660469-6103-B098-AF2A-2F98AF357FDD}"/>
                </a:ext>
              </a:extLst>
            </p:cNvPr>
            <p:cNvSpPr/>
            <p:nvPr/>
          </p:nvSpPr>
          <p:spPr>
            <a:xfrm>
              <a:off x="2360205" y="1962087"/>
              <a:ext cx="299" cy="489"/>
            </a:xfrm>
            <a:custGeom>
              <a:avLst/>
              <a:gdLst/>
              <a:ahLst/>
              <a:cxnLst/>
              <a:rect l="l" t="t" r="r" b="b"/>
              <a:pathLst>
                <a:path w="22" h="36" extrusionOk="0">
                  <a:moveTo>
                    <a:pt x="0" y="36"/>
                  </a:moveTo>
                  <a:cubicBezTo>
                    <a:pt x="7" y="25"/>
                    <a:pt x="14" y="11"/>
                    <a:pt x="21" y="1"/>
                  </a:cubicBezTo>
                  <a:lnTo>
                    <a:pt x="21" y="1"/>
                  </a:lnTo>
                  <a:cubicBezTo>
                    <a:pt x="14" y="11"/>
                    <a:pt x="7" y="25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8" name="Google Shape;5175;p64">
              <a:extLst>
                <a:ext uri="{FF2B5EF4-FFF2-40B4-BE49-F238E27FC236}">
                  <a16:creationId xmlns:a16="http://schemas.microsoft.com/office/drawing/2014/main" id="{C8CA997C-533C-9391-3E74-ADBAFE8FF3A8}"/>
                </a:ext>
              </a:extLst>
            </p:cNvPr>
            <p:cNvSpPr/>
            <p:nvPr/>
          </p:nvSpPr>
          <p:spPr>
            <a:xfrm>
              <a:off x="2354027" y="2011522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7" y="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9" name="Google Shape;5176;p64">
              <a:extLst>
                <a:ext uri="{FF2B5EF4-FFF2-40B4-BE49-F238E27FC236}">
                  <a16:creationId xmlns:a16="http://schemas.microsoft.com/office/drawing/2014/main" id="{DAA24C39-E485-B6DE-FB03-58949960A8C2}"/>
                </a:ext>
              </a:extLst>
            </p:cNvPr>
            <p:cNvSpPr/>
            <p:nvPr/>
          </p:nvSpPr>
          <p:spPr>
            <a:xfrm>
              <a:off x="2353647" y="2011577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0" name="Google Shape;5177;p64">
              <a:extLst>
                <a:ext uri="{FF2B5EF4-FFF2-40B4-BE49-F238E27FC236}">
                  <a16:creationId xmlns:a16="http://schemas.microsoft.com/office/drawing/2014/main" id="{53D37B1F-32D7-5D2E-8ACD-97E50E12C6E8}"/>
                </a:ext>
              </a:extLst>
            </p:cNvPr>
            <p:cNvSpPr/>
            <p:nvPr/>
          </p:nvSpPr>
          <p:spPr>
            <a:xfrm>
              <a:off x="2356159" y="2010572"/>
              <a:ext cx="3815" cy="543"/>
            </a:xfrm>
            <a:custGeom>
              <a:avLst/>
              <a:gdLst/>
              <a:ahLst/>
              <a:cxnLst/>
              <a:rect l="l" t="t" r="r" b="b"/>
              <a:pathLst>
                <a:path w="281" h="40" extrusionOk="0">
                  <a:moveTo>
                    <a:pt x="1" y="39"/>
                  </a:moveTo>
                  <a:lnTo>
                    <a:pt x="1" y="39"/>
                  </a:lnTo>
                  <a:cubicBezTo>
                    <a:pt x="92" y="18"/>
                    <a:pt x="186" y="8"/>
                    <a:pt x="281" y="1"/>
                  </a:cubicBezTo>
                  <a:cubicBezTo>
                    <a:pt x="186" y="8"/>
                    <a:pt x="92" y="18"/>
                    <a:pt x="1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1" name="Google Shape;5178;p64">
              <a:extLst>
                <a:ext uri="{FF2B5EF4-FFF2-40B4-BE49-F238E27FC236}">
                  <a16:creationId xmlns:a16="http://schemas.microsoft.com/office/drawing/2014/main" id="{5D0FFB9F-DF3F-77CB-2961-9E14DD8BF0F8}"/>
                </a:ext>
              </a:extLst>
            </p:cNvPr>
            <p:cNvSpPr/>
            <p:nvPr/>
          </p:nvSpPr>
          <p:spPr>
            <a:xfrm>
              <a:off x="2314720" y="1939562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2" name="Google Shape;5179;p64">
              <a:extLst>
                <a:ext uri="{FF2B5EF4-FFF2-40B4-BE49-F238E27FC236}">
                  <a16:creationId xmlns:a16="http://schemas.microsoft.com/office/drawing/2014/main" id="{E72E653D-D03A-2CDD-5D6C-FD4BC3BCB22E}"/>
                </a:ext>
              </a:extLst>
            </p:cNvPr>
            <p:cNvSpPr/>
            <p:nvPr/>
          </p:nvSpPr>
          <p:spPr>
            <a:xfrm>
              <a:off x="2314381" y="1940268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" y="39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3" name="Google Shape;5180;p64">
              <a:extLst>
                <a:ext uri="{FF2B5EF4-FFF2-40B4-BE49-F238E27FC236}">
                  <a16:creationId xmlns:a16="http://schemas.microsoft.com/office/drawing/2014/main" id="{39C963B0-53F3-4401-CCC6-23B4EB813319}"/>
                </a:ext>
              </a:extLst>
            </p:cNvPr>
            <p:cNvSpPr/>
            <p:nvPr/>
          </p:nvSpPr>
          <p:spPr>
            <a:xfrm>
              <a:off x="2315005" y="1938896"/>
              <a:ext cx="244" cy="584"/>
            </a:xfrm>
            <a:custGeom>
              <a:avLst/>
              <a:gdLst/>
              <a:ahLst/>
              <a:cxnLst/>
              <a:rect l="l" t="t" r="r" b="b"/>
              <a:pathLst>
                <a:path w="18" h="43" extrusionOk="0">
                  <a:moveTo>
                    <a:pt x="0" y="42"/>
                  </a:moveTo>
                  <a:cubicBezTo>
                    <a:pt x="4" y="28"/>
                    <a:pt x="11" y="14"/>
                    <a:pt x="18" y="0"/>
                  </a:cubicBezTo>
                  <a:cubicBezTo>
                    <a:pt x="11" y="14"/>
                    <a:pt x="4" y="28"/>
                    <a:pt x="0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4" name="Google Shape;5181;p64">
              <a:extLst>
                <a:ext uri="{FF2B5EF4-FFF2-40B4-BE49-F238E27FC236}">
                  <a16:creationId xmlns:a16="http://schemas.microsoft.com/office/drawing/2014/main" id="{7D434AFD-EA58-FBE9-1407-8480636813E6}"/>
                </a:ext>
              </a:extLst>
            </p:cNvPr>
            <p:cNvSpPr/>
            <p:nvPr/>
          </p:nvSpPr>
          <p:spPr>
            <a:xfrm>
              <a:off x="2315236" y="1938231"/>
              <a:ext cx="204" cy="625"/>
            </a:xfrm>
            <a:custGeom>
              <a:avLst/>
              <a:gdLst/>
              <a:ahLst/>
              <a:cxnLst/>
              <a:rect l="l" t="t" r="r" b="b"/>
              <a:pathLst>
                <a:path w="15" h="46" extrusionOk="0">
                  <a:moveTo>
                    <a:pt x="1" y="46"/>
                  </a:moveTo>
                  <a:cubicBezTo>
                    <a:pt x="8" y="28"/>
                    <a:pt x="11" y="14"/>
                    <a:pt x="15" y="0"/>
                  </a:cubicBezTo>
                  <a:cubicBezTo>
                    <a:pt x="11" y="14"/>
                    <a:pt x="8" y="28"/>
                    <a:pt x="1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5" name="Google Shape;5182;p64">
              <a:extLst>
                <a:ext uri="{FF2B5EF4-FFF2-40B4-BE49-F238E27FC236}">
                  <a16:creationId xmlns:a16="http://schemas.microsoft.com/office/drawing/2014/main" id="{4A47E511-77AD-204C-8A17-D818CD9CA6CE}"/>
                </a:ext>
              </a:extLst>
            </p:cNvPr>
            <p:cNvSpPr/>
            <p:nvPr/>
          </p:nvSpPr>
          <p:spPr>
            <a:xfrm>
              <a:off x="2314055" y="1940933"/>
              <a:ext cx="244" cy="489"/>
            </a:xfrm>
            <a:custGeom>
              <a:avLst/>
              <a:gdLst/>
              <a:ahLst/>
              <a:cxnLst/>
              <a:rect l="l" t="t" r="r" b="b"/>
              <a:pathLst>
                <a:path w="18" h="36" extrusionOk="0">
                  <a:moveTo>
                    <a:pt x="0" y="36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6" name="Google Shape;5183;p64">
              <a:extLst>
                <a:ext uri="{FF2B5EF4-FFF2-40B4-BE49-F238E27FC236}">
                  <a16:creationId xmlns:a16="http://schemas.microsoft.com/office/drawing/2014/main" id="{DEAC815C-E430-E2C1-497D-7EA2CDD5B36A}"/>
                </a:ext>
              </a:extLst>
            </p:cNvPr>
            <p:cNvSpPr/>
            <p:nvPr/>
          </p:nvSpPr>
          <p:spPr>
            <a:xfrm>
              <a:off x="2315481" y="19375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43"/>
                  </a:moveTo>
                  <a:cubicBezTo>
                    <a:pt x="4" y="29"/>
                    <a:pt x="11" y="15"/>
                    <a:pt x="14" y="1"/>
                  </a:cubicBezTo>
                  <a:cubicBezTo>
                    <a:pt x="11" y="15"/>
                    <a:pt x="4" y="29"/>
                    <a:pt x="0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7" name="Google Shape;5184;p64">
              <a:extLst>
                <a:ext uri="{FF2B5EF4-FFF2-40B4-BE49-F238E27FC236}">
                  <a16:creationId xmlns:a16="http://schemas.microsoft.com/office/drawing/2014/main" id="{3EF7AEC9-E4E2-A0E2-9581-9A7802B0B87D}"/>
                </a:ext>
              </a:extLst>
            </p:cNvPr>
            <p:cNvSpPr/>
            <p:nvPr/>
          </p:nvSpPr>
          <p:spPr>
            <a:xfrm>
              <a:off x="2296038" y="1987707"/>
              <a:ext cx="1955" cy="2444"/>
            </a:xfrm>
            <a:custGeom>
              <a:avLst/>
              <a:gdLst/>
              <a:ahLst/>
              <a:cxnLst/>
              <a:rect l="l" t="t" r="r" b="b"/>
              <a:pathLst>
                <a:path w="144" h="180" extrusionOk="0">
                  <a:moveTo>
                    <a:pt x="0" y="1"/>
                  </a:moveTo>
                  <a:cubicBezTo>
                    <a:pt x="35" y="67"/>
                    <a:pt x="84" y="130"/>
                    <a:pt x="144" y="179"/>
                  </a:cubicBezTo>
                  <a:cubicBezTo>
                    <a:pt x="84" y="130"/>
                    <a:pt x="35" y="67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8" name="Google Shape;5185;p64">
              <a:extLst>
                <a:ext uri="{FF2B5EF4-FFF2-40B4-BE49-F238E27FC236}">
                  <a16:creationId xmlns:a16="http://schemas.microsoft.com/office/drawing/2014/main" id="{BCFD093E-8D3E-8122-A5E3-C60BB1BCAEEC}"/>
                </a:ext>
              </a:extLst>
            </p:cNvPr>
            <p:cNvSpPr/>
            <p:nvPr/>
          </p:nvSpPr>
          <p:spPr>
            <a:xfrm>
              <a:off x="2315807" y="1936086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1" y="43"/>
                  </a:moveTo>
                  <a:cubicBezTo>
                    <a:pt x="1" y="29"/>
                    <a:pt x="4" y="15"/>
                    <a:pt x="4" y="1"/>
                  </a:cubicBezTo>
                  <a:cubicBezTo>
                    <a:pt x="4" y="15"/>
                    <a:pt x="1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9" name="Google Shape;5186;p64">
              <a:extLst>
                <a:ext uri="{FF2B5EF4-FFF2-40B4-BE49-F238E27FC236}">
                  <a16:creationId xmlns:a16="http://schemas.microsoft.com/office/drawing/2014/main" id="{9BF6A12D-440C-FE34-7E5A-11C5A1206322}"/>
                </a:ext>
              </a:extLst>
            </p:cNvPr>
            <p:cNvSpPr/>
            <p:nvPr/>
          </p:nvSpPr>
          <p:spPr>
            <a:xfrm>
              <a:off x="2315671" y="1936751"/>
              <a:ext cx="149" cy="638"/>
            </a:xfrm>
            <a:custGeom>
              <a:avLst/>
              <a:gdLst/>
              <a:ahLst/>
              <a:cxnLst/>
              <a:rect l="l" t="t" r="r" b="b"/>
              <a:pathLst>
                <a:path w="11" h="47" extrusionOk="0">
                  <a:moveTo>
                    <a:pt x="0" y="46"/>
                  </a:moveTo>
                  <a:cubicBezTo>
                    <a:pt x="4" y="32"/>
                    <a:pt x="7" y="15"/>
                    <a:pt x="11" y="1"/>
                  </a:cubicBezTo>
                  <a:cubicBezTo>
                    <a:pt x="7" y="15"/>
                    <a:pt x="4" y="32"/>
                    <a:pt x="0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0" name="Google Shape;5187;p64">
              <a:extLst>
                <a:ext uri="{FF2B5EF4-FFF2-40B4-BE49-F238E27FC236}">
                  <a16:creationId xmlns:a16="http://schemas.microsoft.com/office/drawing/2014/main" id="{FF62B0AD-91D9-53F7-BF97-EC901D6D7DEB}"/>
                </a:ext>
              </a:extLst>
            </p:cNvPr>
            <p:cNvSpPr/>
            <p:nvPr/>
          </p:nvSpPr>
          <p:spPr>
            <a:xfrm>
              <a:off x="2309534" y="200639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1" name="Google Shape;5188;p64">
              <a:extLst>
                <a:ext uri="{FF2B5EF4-FFF2-40B4-BE49-F238E27FC236}">
                  <a16:creationId xmlns:a16="http://schemas.microsoft.com/office/drawing/2014/main" id="{2DB3F04C-DE12-5EA3-514D-179D4E2EBA15}"/>
                </a:ext>
              </a:extLst>
            </p:cNvPr>
            <p:cNvSpPr/>
            <p:nvPr/>
          </p:nvSpPr>
          <p:spPr>
            <a:xfrm>
              <a:off x="2308909" y="2000973"/>
              <a:ext cx="1344" cy="3775"/>
            </a:xfrm>
            <a:custGeom>
              <a:avLst/>
              <a:gdLst/>
              <a:ahLst/>
              <a:cxnLst/>
              <a:rect l="l" t="t" r="r" b="b"/>
              <a:pathLst>
                <a:path w="99" h="278" extrusionOk="0">
                  <a:moveTo>
                    <a:pt x="57" y="35"/>
                  </a:moveTo>
                  <a:cubicBezTo>
                    <a:pt x="43" y="18"/>
                    <a:pt x="22" y="4"/>
                    <a:pt x="1" y="0"/>
                  </a:cubicBezTo>
                  <a:cubicBezTo>
                    <a:pt x="22" y="4"/>
                    <a:pt x="43" y="18"/>
                    <a:pt x="57" y="35"/>
                  </a:cubicBezTo>
                  <a:cubicBezTo>
                    <a:pt x="99" y="84"/>
                    <a:pt x="92" y="154"/>
                    <a:pt x="71" y="277"/>
                  </a:cubicBezTo>
                  <a:cubicBezTo>
                    <a:pt x="92" y="154"/>
                    <a:pt x="99" y="84"/>
                    <a:pt x="57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2" name="Google Shape;5189;p64">
              <a:extLst>
                <a:ext uri="{FF2B5EF4-FFF2-40B4-BE49-F238E27FC236}">
                  <a16:creationId xmlns:a16="http://schemas.microsoft.com/office/drawing/2014/main" id="{BD9827E9-2DFC-8971-B094-863E33A13CAF}"/>
                </a:ext>
              </a:extLst>
            </p:cNvPr>
            <p:cNvSpPr/>
            <p:nvPr/>
          </p:nvSpPr>
          <p:spPr>
            <a:xfrm>
              <a:off x="2309344" y="20077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3" name="Google Shape;5190;p64">
              <a:extLst>
                <a:ext uri="{FF2B5EF4-FFF2-40B4-BE49-F238E27FC236}">
                  <a16:creationId xmlns:a16="http://schemas.microsoft.com/office/drawing/2014/main" id="{C1CD4CB2-5644-5149-2512-AC86FF3CAAEA}"/>
                </a:ext>
              </a:extLst>
            </p:cNvPr>
            <p:cNvSpPr/>
            <p:nvPr/>
          </p:nvSpPr>
          <p:spPr>
            <a:xfrm>
              <a:off x="2300029" y="196404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4" name="Google Shape;5191;p64">
              <a:extLst>
                <a:ext uri="{FF2B5EF4-FFF2-40B4-BE49-F238E27FC236}">
                  <a16:creationId xmlns:a16="http://schemas.microsoft.com/office/drawing/2014/main" id="{24492DC7-9663-A7EC-5D6F-46CF362136F1}"/>
                </a:ext>
              </a:extLst>
            </p:cNvPr>
            <p:cNvSpPr/>
            <p:nvPr/>
          </p:nvSpPr>
          <p:spPr>
            <a:xfrm>
              <a:off x="2359064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5" name="Google Shape;5192;p64">
              <a:extLst>
                <a:ext uri="{FF2B5EF4-FFF2-40B4-BE49-F238E27FC236}">
                  <a16:creationId xmlns:a16="http://schemas.microsoft.com/office/drawing/2014/main" id="{54992FAB-43BE-473B-A9DA-78FB6E3B4B5D}"/>
                </a:ext>
              </a:extLst>
            </p:cNvPr>
            <p:cNvSpPr/>
            <p:nvPr/>
          </p:nvSpPr>
          <p:spPr>
            <a:xfrm>
              <a:off x="2354407" y="19528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6" name="Google Shape;5193;p64">
              <a:extLst>
                <a:ext uri="{FF2B5EF4-FFF2-40B4-BE49-F238E27FC236}">
                  <a16:creationId xmlns:a16="http://schemas.microsoft.com/office/drawing/2014/main" id="{1FB0530B-528E-93E0-D546-CE4DD9BBF0D3}"/>
                </a:ext>
              </a:extLst>
            </p:cNvPr>
            <p:cNvSpPr/>
            <p:nvPr/>
          </p:nvSpPr>
          <p:spPr>
            <a:xfrm>
              <a:off x="2355779" y="195096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7" name="Google Shape;5194;p64">
              <a:extLst>
                <a:ext uri="{FF2B5EF4-FFF2-40B4-BE49-F238E27FC236}">
                  <a16:creationId xmlns:a16="http://schemas.microsoft.com/office/drawing/2014/main" id="{B889A41D-E007-7E60-F014-EB5E755074C0}"/>
                </a:ext>
              </a:extLst>
            </p:cNvPr>
            <p:cNvSpPr/>
            <p:nvPr/>
          </p:nvSpPr>
          <p:spPr>
            <a:xfrm>
              <a:off x="2353932" y="1953533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8" name="Google Shape;5195;p64">
              <a:extLst>
                <a:ext uri="{FF2B5EF4-FFF2-40B4-BE49-F238E27FC236}">
                  <a16:creationId xmlns:a16="http://schemas.microsoft.com/office/drawing/2014/main" id="{1E48B303-F0C9-EA7E-0716-D396B9658309}"/>
                </a:ext>
              </a:extLst>
            </p:cNvPr>
            <p:cNvSpPr/>
            <p:nvPr/>
          </p:nvSpPr>
          <p:spPr>
            <a:xfrm>
              <a:off x="2358915" y="196132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9" name="Google Shape;5196;p64">
              <a:extLst>
                <a:ext uri="{FF2B5EF4-FFF2-40B4-BE49-F238E27FC236}">
                  <a16:creationId xmlns:a16="http://schemas.microsoft.com/office/drawing/2014/main" id="{7C62D5F7-AC86-3825-0C06-D0D4E9BF61D7}"/>
                </a:ext>
              </a:extLst>
            </p:cNvPr>
            <p:cNvSpPr/>
            <p:nvPr/>
          </p:nvSpPr>
          <p:spPr>
            <a:xfrm>
              <a:off x="2354828" y="19522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0" name="Google Shape;5197;p64">
              <a:extLst>
                <a:ext uri="{FF2B5EF4-FFF2-40B4-BE49-F238E27FC236}">
                  <a16:creationId xmlns:a16="http://schemas.microsoft.com/office/drawing/2014/main" id="{BD462BAB-126B-3A31-D001-2E73C3F2D24D}"/>
                </a:ext>
              </a:extLst>
            </p:cNvPr>
            <p:cNvSpPr/>
            <p:nvPr/>
          </p:nvSpPr>
          <p:spPr>
            <a:xfrm>
              <a:off x="2358779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1" name="Google Shape;5198;p64">
              <a:extLst>
                <a:ext uri="{FF2B5EF4-FFF2-40B4-BE49-F238E27FC236}">
                  <a16:creationId xmlns:a16="http://schemas.microsoft.com/office/drawing/2014/main" id="{2FDBD59D-EB2C-3EA7-A504-7DB3F3025DF1}"/>
                </a:ext>
              </a:extLst>
            </p:cNvPr>
            <p:cNvSpPr/>
            <p:nvPr/>
          </p:nvSpPr>
          <p:spPr>
            <a:xfrm>
              <a:off x="2359445" y="19613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2" name="Google Shape;5199;p64">
              <a:extLst>
                <a:ext uri="{FF2B5EF4-FFF2-40B4-BE49-F238E27FC236}">
                  <a16:creationId xmlns:a16="http://schemas.microsoft.com/office/drawing/2014/main" id="{6F20621B-7731-3D87-549A-2803BD305680}"/>
                </a:ext>
              </a:extLst>
            </p:cNvPr>
            <p:cNvSpPr/>
            <p:nvPr/>
          </p:nvSpPr>
          <p:spPr>
            <a:xfrm>
              <a:off x="2356118" y="195045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3" name="Google Shape;5200;p64">
              <a:extLst>
                <a:ext uri="{FF2B5EF4-FFF2-40B4-BE49-F238E27FC236}">
                  <a16:creationId xmlns:a16="http://schemas.microsoft.com/office/drawing/2014/main" id="{15978866-628F-DDF5-F123-86727AEB6FB1}"/>
                </a:ext>
              </a:extLst>
            </p:cNvPr>
            <p:cNvSpPr/>
            <p:nvPr/>
          </p:nvSpPr>
          <p:spPr>
            <a:xfrm>
              <a:off x="2360056" y="1961761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4" name="Google Shape;5201;p64">
              <a:extLst>
                <a:ext uri="{FF2B5EF4-FFF2-40B4-BE49-F238E27FC236}">
                  <a16:creationId xmlns:a16="http://schemas.microsoft.com/office/drawing/2014/main" id="{89E29C9D-4FF1-56F8-9449-0DA54F797197}"/>
                </a:ext>
              </a:extLst>
            </p:cNvPr>
            <p:cNvSpPr/>
            <p:nvPr/>
          </p:nvSpPr>
          <p:spPr>
            <a:xfrm>
              <a:off x="2359730" y="196151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5" name="Google Shape;5202;p64">
              <a:extLst>
                <a:ext uri="{FF2B5EF4-FFF2-40B4-BE49-F238E27FC236}">
                  <a16:creationId xmlns:a16="http://schemas.microsoft.com/office/drawing/2014/main" id="{9FD76DAD-37B9-793A-5BA5-C7F1140636F1}"/>
                </a:ext>
              </a:extLst>
            </p:cNvPr>
            <p:cNvSpPr/>
            <p:nvPr/>
          </p:nvSpPr>
          <p:spPr>
            <a:xfrm>
              <a:off x="2355263" y="195159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4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6" name="Google Shape;5203;p64">
              <a:extLst>
                <a:ext uri="{FF2B5EF4-FFF2-40B4-BE49-F238E27FC236}">
                  <a16:creationId xmlns:a16="http://schemas.microsoft.com/office/drawing/2014/main" id="{1C9A9930-545B-48F4-CF87-D2AF7E538D3F}"/>
                </a:ext>
              </a:extLst>
            </p:cNvPr>
            <p:cNvSpPr/>
            <p:nvPr/>
          </p:nvSpPr>
          <p:spPr>
            <a:xfrm>
              <a:off x="2356539" y="194992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7" name="Google Shape;5204;p64">
              <a:extLst>
                <a:ext uri="{FF2B5EF4-FFF2-40B4-BE49-F238E27FC236}">
                  <a16:creationId xmlns:a16="http://schemas.microsoft.com/office/drawing/2014/main" id="{F356E324-C2B1-2332-BD28-721A0CDE1A62}"/>
                </a:ext>
              </a:extLst>
            </p:cNvPr>
            <p:cNvSpPr/>
            <p:nvPr/>
          </p:nvSpPr>
          <p:spPr>
            <a:xfrm>
              <a:off x="2360490" y="19620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8" name="Google Shape;5205;p64">
              <a:extLst>
                <a:ext uri="{FF2B5EF4-FFF2-40B4-BE49-F238E27FC236}">
                  <a16:creationId xmlns:a16="http://schemas.microsoft.com/office/drawing/2014/main" id="{DC8CD199-3F7C-4589-5C9A-3D29BC288019}"/>
                </a:ext>
              </a:extLst>
            </p:cNvPr>
            <p:cNvSpPr/>
            <p:nvPr/>
          </p:nvSpPr>
          <p:spPr>
            <a:xfrm>
              <a:off x="2319703" y="19359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9" name="Google Shape;5206;p64">
              <a:extLst>
                <a:ext uri="{FF2B5EF4-FFF2-40B4-BE49-F238E27FC236}">
                  <a16:creationId xmlns:a16="http://schemas.microsoft.com/office/drawing/2014/main" id="{06DEE002-31CF-BCA6-59D2-AC1B818E43B3}"/>
                </a:ext>
              </a:extLst>
            </p:cNvPr>
            <p:cNvSpPr/>
            <p:nvPr/>
          </p:nvSpPr>
          <p:spPr>
            <a:xfrm>
              <a:off x="2355113" y="1947735"/>
              <a:ext cx="1724" cy="1779"/>
            </a:xfrm>
            <a:custGeom>
              <a:avLst/>
              <a:gdLst/>
              <a:ahLst/>
              <a:cxnLst/>
              <a:rect l="l" t="t" r="r" b="b"/>
              <a:pathLst>
                <a:path w="127" h="131" extrusionOk="0">
                  <a:moveTo>
                    <a:pt x="127" y="13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0" name="Google Shape;5207;p64">
              <a:extLst>
                <a:ext uri="{FF2B5EF4-FFF2-40B4-BE49-F238E27FC236}">
                  <a16:creationId xmlns:a16="http://schemas.microsoft.com/office/drawing/2014/main" id="{F954695E-5C24-1E7B-33CC-66CD7FC86E50}"/>
                </a:ext>
              </a:extLst>
            </p:cNvPr>
            <p:cNvSpPr/>
            <p:nvPr/>
          </p:nvSpPr>
          <p:spPr>
            <a:xfrm>
              <a:off x="2320464" y="193614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1" name="Google Shape;5208;p64">
              <a:extLst>
                <a:ext uri="{FF2B5EF4-FFF2-40B4-BE49-F238E27FC236}">
                  <a16:creationId xmlns:a16="http://schemas.microsoft.com/office/drawing/2014/main" id="{53FFD31B-7D04-1123-B741-31E6E0701D95}"/>
                </a:ext>
              </a:extLst>
            </p:cNvPr>
            <p:cNvSpPr/>
            <p:nvPr/>
          </p:nvSpPr>
          <p:spPr>
            <a:xfrm>
              <a:off x="2320423" y="193614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2" name="Google Shape;5209;p64">
              <a:extLst>
                <a:ext uri="{FF2B5EF4-FFF2-40B4-BE49-F238E27FC236}">
                  <a16:creationId xmlns:a16="http://schemas.microsoft.com/office/drawing/2014/main" id="{9A4FB028-1F70-BE9E-BAC5-A0C5CF45D102}"/>
                </a:ext>
              </a:extLst>
            </p:cNvPr>
            <p:cNvSpPr/>
            <p:nvPr/>
          </p:nvSpPr>
          <p:spPr>
            <a:xfrm>
              <a:off x="2320233" y="193608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3" name="Google Shape;5210;p64">
              <a:extLst>
                <a:ext uri="{FF2B5EF4-FFF2-40B4-BE49-F238E27FC236}">
                  <a16:creationId xmlns:a16="http://schemas.microsoft.com/office/drawing/2014/main" id="{8DE459D5-2857-F750-C51A-FD4DA5868B2A}"/>
                </a:ext>
              </a:extLst>
            </p:cNvPr>
            <p:cNvSpPr/>
            <p:nvPr/>
          </p:nvSpPr>
          <p:spPr>
            <a:xfrm>
              <a:off x="2315861" y="1935950"/>
              <a:ext cx="1860" cy="54"/>
            </a:xfrm>
            <a:custGeom>
              <a:avLst/>
              <a:gdLst/>
              <a:ahLst/>
              <a:cxnLst/>
              <a:rect l="l" t="t" r="r" b="b"/>
              <a:pathLst>
                <a:path w="137" h="4" extrusionOk="0">
                  <a:moveTo>
                    <a:pt x="0" y="4"/>
                  </a:moveTo>
                  <a:lnTo>
                    <a:pt x="0" y="4"/>
                  </a:lnTo>
                  <a:cubicBezTo>
                    <a:pt x="53" y="0"/>
                    <a:pt x="98" y="0"/>
                    <a:pt x="137" y="0"/>
                  </a:cubicBezTo>
                  <a:cubicBezTo>
                    <a:pt x="98" y="0"/>
                    <a:pt x="53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4" name="Google Shape;5211;p64">
              <a:extLst>
                <a:ext uri="{FF2B5EF4-FFF2-40B4-BE49-F238E27FC236}">
                  <a16:creationId xmlns:a16="http://schemas.microsoft.com/office/drawing/2014/main" id="{DDD6C690-6BE2-9862-A597-62EBF75F0750}"/>
                </a:ext>
              </a:extLst>
            </p:cNvPr>
            <p:cNvSpPr/>
            <p:nvPr/>
          </p:nvSpPr>
          <p:spPr>
            <a:xfrm>
              <a:off x="2319893" y="193604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5" name="Google Shape;5212;p64">
              <a:extLst>
                <a:ext uri="{FF2B5EF4-FFF2-40B4-BE49-F238E27FC236}">
                  <a16:creationId xmlns:a16="http://schemas.microsoft.com/office/drawing/2014/main" id="{7BF19AA7-B2EF-437E-5685-08B34B8A5FCC}"/>
                </a:ext>
              </a:extLst>
            </p:cNvPr>
            <p:cNvSpPr/>
            <p:nvPr/>
          </p:nvSpPr>
          <p:spPr>
            <a:xfrm>
              <a:off x="2320369" y="193608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6" name="Google Shape;5213;p64">
              <a:extLst>
                <a:ext uri="{FF2B5EF4-FFF2-40B4-BE49-F238E27FC236}">
                  <a16:creationId xmlns:a16="http://schemas.microsoft.com/office/drawing/2014/main" id="{ADDCC279-22BB-2044-3949-F8493F2A3AF6}"/>
                </a:ext>
              </a:extLst>
            </p:cNvPr>
            <p:cNvSpPr/>
            <p:nvPr/>
          </p:nvSpPr>
          <p:spPr>
            <a:xfrm>
              <a:off x="2320083" y="193604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7" name="Google Shape;5214;p64">
              <a:extLst>
                <a:ext uri="{FF2B5EF4-FFF2-40B4-BE49-F238E27FC236}">
                  <a16:creationId xmlns:a16="http://schemas.microsoft.com/office/drawing/2014/main" id="{E9AF2203-E5C1-F7A5-2562-E53347EB13A8}"/>
                </a:ext>
              </a:extLst>
            </p:cNvPr>
            <p:cNvSpPr/>
            <p:nvPr/>
          </p:nvSpPr>
          <p:spPr>
            <a:xfrm>
              <a:off x="2341998" y="1935000"/>
              <a:ext cx="12994" cy="12600"/>
            </a:xfrm>
            <a:custGeom>
              <a:avLst/>
              <a:gdLst/>
              <a:ahLst/>
              <a:cxnLst/>
              <a:rect l="l" t="t" r="r" b="b"/>
              <a:pathLst>
                <a:path w="957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41" y="20"/>
                    <a:pt x="172" y="138"/>
                    <a:pt x="347" y="308"/>
                  </a:cubicBezTo>
                  <a:lnTo>
                    <a:pt x="347" y="308"/>
                  </a:lnTo>
                  <a:cubicBezTo>
                    <a:pt x="173" y="138"/>
                    <a:pt x="43" y="20"/>
                    <a:pt x="1" y="0"/>
                  </a:cubicBezTo>
                  <a:close/>
                  <a:moveTo>
                    <a:pt x="347" y="308"/>
                  </a:moveTo>
                  <a:lnTo>
                    <a:pt x="347" y="308"/>
                  </a:lnTo>
                  <a:cubicBezTo>
                    <a:pt x="521" y="478"/>
                    <a:pt x="739" y="700"/>
                    <a:pt x="956" y="928"/>
                  </a:cubicBezTo>
                  <a:cubicBezTo>
                    <a:pt x="741" y="700"/>
                    <a:pt x="522" y="478"/>
                    <a:pt x="347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8" name="Google Shape;5215;p64">
              <a:extLst>
                <a:ext uri="{FF2B5EF4-FFF2-40B4-BE49-F238E27FC236}">
                  <a16:creationId xmlns:a16="http://schemas.microsoft.com/office/drawing/2014/main" id="{35EE442D-7AAD-F30C-BB9B-EA9B1D3D8A60}"/>
                </a:ext>
              </a:extLst>
            </p:cNvPr>
            <p:cNvSpPr/>
            <p:nvPr/>
          </p:nvSpPr>
          <p:spPr>
            <a:xfrm>
              <a:off x="2325121" y="1932284"/>
              <a:ext cx="923" cy="448"/>
            </a:xfrm>
            <a:custGeom>
              <a:avLst/>
              <a:gdLst/>
              <a:ahLst/>
              <a:cxnLst/>
              <a:rect l="l" t="t" r="r" b="b"/>
              <a:pathLst>
                <a:path w="68" h="33" extrusionOk="0">
                  <a:moveTo>
                    <a:pt x="1" y="1"/>
                  </a:moveTo>
                  <a:cubicBezTo>
                    <a:pt x="25" y="4"/>
                    <a:pt x="50" y="15"/>
                    <a:pt x="67" y="32"/>
                  </a:cubicBezTo>
                  <a:cubicBezTo>
                    <a:pt x="50" y="15"/>
                    <a:pt x="2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9" name="Google Shape;5216;p64">
              <a:extLst>
                <a:ext uri="{FF2B5EF4-FFF2-40B4-BE49-F238E27FC236}">
                  <a16:creationId xmlns:a16="http://schemas.microsoft.com/office/drawing/2014/main" id="{1D7B9046-8A6F-0F73-F3BC-2AFAFE9F3A3E}"/>
                </a:ext>
              </a:extLst>
            </p:cNvPr>
            <p:cNvSpPr/>
            <p:nvPr/>
          </p:nvSpPr>
          <p:spPr>
            <a:xfrm>
              <a:off x="2318753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0" name="Google Shape;5217;p64">
              <a:extLst>
                <a:ext uri="{FF2B5EF4-FFF2-40B4-BE49-F238E27FC236}">
                  <a16:creationId xmlns:a16="http://schemas.microsoft.com/office/drawing/2014/main" id="{43D56D7B-296F-3A03-2C6F-336355F4334C}"/>
                </a:ext>
              </a:extLst>
            </p:cNvPr>
            <p:cNvSpPr/>
            <p:nvPr/>
          </p:nvSpPr>
          <p:spPr>
            <a:xfrm>
              <a:off x="2319133" y="193595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1" name="Google Shape;5218;p64">
              <a:extLst>
                <a:ext uri="{FF2B5EF4-FFF2-40B4-BE49-F238E27FC236}">
                  <a16:creationId xmlns:a16="http://schemas.microsoft.com/office/drawing/2014/main" id="{3FD50D49-E1D2-E68C-BD3E-0AE58B8CF9FD}"/>
                </a:ext>
              </a:extLst>
            </p:cNvPr>
            <p:cNvSpPr/>
            <p:nvPr/>
          </p:nvSpPr>
          <p:spPr>
            <a:xfrm>
              <a:off x="231833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2" name="Google Shape;5219;p64">
              <a:extLst>
                <a:ext uri="{FF2B5EF4-FFF2-40B4-BE49-F238E27FC236}">
                  <a16:creationId xmlns:a16="http://schemas.microsoft.com/office/drawing/2014/main" id="{D8D4F0C4-F6E6-3F0E-2C64-15BED3E58C3A}"/>
                </a:ext>
              </a:extLst>
            </p:cNvPr>
            <p:cNvSpPr/>
            <p:nvPr/>
          </p:nvSpPr>
          <p:spPr>
            <a:xfrm>
              <a:off x="2317762" y="19359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3" name="Google Shape;5220;p64">
              <a:extLst>
                <a:ext uri="{FF2B5EF4-FFF2-40B4-BE49-F238E27FC236}">
                  <a16:creationId xmlns:a16="http://schemas.microsoft.com/office/drawing/2014/main" id="{0DB347CC-B2CC-1119-9D5E-0948A57D7847}"/>
                </a:ext>
              </a:extLst>
            </p:cNvPr>
            <p:cNvSpPr/>
            <p:nvPr/>
          </p:nvSpPr>
          <p:spPr>
            <a:xfrm>
              <a:off x="2338902" y="1934945"/>
              <a:ext cx="2539" cy="109"/>
            </a:xfrm>
            <a:custGeom>
              <a:avLst/>
              <a:gdLst/>
              <a:ahLst/>
              <a:cxnLst/>
              <a:rect l="l" t="t" r="r" b="b"/>
              <a:pathLst>
                <a:path w="187" h="8" extrusionOk="0">
                  <a:moveTo>
                    <a:pt x="1" y="8"/>
                  </a:moveTo>
                  <a:cubicBezTo>
                    <a:pt x="67" y="4"/>
                    <a:pt x="134" y="1"/>
                    <a:pt x="186" y="1"/>
                  </a:cubicBezTo>
                  <a:cubicBezTo>
                    <a:pt x="134" y="1"/>
                    <a:pt x="67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4" name="Google Shape;5221;p64">
              <a:extLst>
                <a:ext uri="{FF2B5EF4-FFF2-40B4-BE49-F238E27FC236}">
                  <a16:creationId xmlns:a16="http://schemas.microsoft.com/office/drawing/2014/main" id="{FF0D042B-6D3F-FF7E-5DBA-3E30E441E083}"/>
                </a:ext>
              </a:extLst>
            </p:cNvPr>
            <p:cNvSpPr/>
            <p:nvPr/>
          </p:nvSpPr>
          <p:spPr>
            <a:xfrm>
              <a:off x="2319418" y="19359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5" name="Google Shape;5222;p64">
              <a:extLst>
                <a:ext uri="{FF2B5EF4-FFF2-40B4-BE49-F238E27FC236}">
                  <a16:creationId xmlns:a16="http://schemas.microsoft.com/office/drawing/2014/main" id="{9A0DE346-A028-6A46-48BE-8D7F53B3143E}"/>
                </a:ext>
              </a:extLst>
            </p:cNvPr>
            <p:cNvSpPr/>
            <p:nvPr/>
          </p:nvSpPr>
          <p:spPr>
            <a:xfrm>
              <a:off x="2306153" y="1772952"/>
              <a:ext cx="8296" cy="11568"/>
            </a:xfrm>
            <a:custGeom>
              <a:avLst/>
              <a:gdLst/>
              <a:ahLst/>
              <a:cxnLst/>
              <a:rect l="l" t="t" r="r" b="b"/>
              <a:pathLst>
                <a:path w="611" h="852" extrusionOk="0">
                  <a:moveTo>
                    <a:pt x="386" y="1"/>
                  </a:moveTo>
                  <a:lnTo>
                    <a:pt x="386" y="8"/>
                  </a:lnTo>
                  <a:cubicBezTo>
                    <a:pt x="386" y="123"/>
                    <a:pt x="284" y="295"/>
                    <a:pt x="169" y="495"/>
                  </a:cubicBezTo>
                  <a:cubicBezTo>
                    <a:pt x="109" y="593"/>
                    <a:pt x="50" y="694"/>
                    <a:pt x="1" y="792"/>
                  </a:cubicBezTo>
                  <a:lnTo>
                    <a:pt x="144" y="852"/>
                  </a:lnTo>
                  <a:lnTo>
                    <a:pt x="155" y="834"/>
                  </a:lnTo>
                  <a:lnTo>
                    <a:pt x="169" y="813"/>
                  </a:lnTo>
                  <a:lnTo>
                    <a:pt x="186" y="782"/>
                  </a:lnTo>
                  <a:lnTo>
                    <a:pt x="204" y="754"/>
                  </a:lnTo>
                  <a:lnTo>
                    <a:pt x="221" y="722"/>
                  </a:lnTo>
                  <a:lnTo>
                    <a:pt x="235" y="705"/>
                  </a:lnTo>
                  <a:lnTo>
                    <a:pt x="253" y="680"/>
                  </a:lnTo>
                  <a:lnTo>
                    <a:pt x="263" y="663"/>
                  </a:lnTo>
                  <a:lnTo>
                    <a:pt x="281" y="638"/>
                  </a:lnTo>
                  <a:lnTo>
                    <a:pt x="295" y="617"/>
                  </a:lnTo>
                  <a:lnTo>
                    <a:pt x="309" y="596"/>
                  </a:lnTo>
                  <a:lnTo>
                    <a:pt x="323" y="579"/>
                  </a:lnTo>
                  <a:lnTo>
                    <a:pt x="340" y="554"/>
                  </a:lnTo>
                  <a:lnTo>
                    <a:pt x="351" y="537"/>
                  </a:lnTo>
                  <a:lnTo>
                    <a:pt x="368" y="516"/>
                  </a:lnTo>
                  <a:lnTo>
                    <a:pt x="382" y="498"/>
                  </a:lnTo>
                  <a:lnTo>
                    <a:pt x="396" y="477"/>
                  </a:lnTo>
                  <a:lnTo>
                    <a:pt x="410" y="463"/>
                  </a:lnTo>
                  <a:lnTo>
                    <a:pt x="424" y="446"/>
                  </a:lnTo>
                  <a:lnTo>
                    <a:pt x="435" y="432"/>
                  </a:lnTo>
                  <a:lnTo>
                    <a:pt x="449" y="414"/>
                  </a:lnTo>
                  <a:lnTo>
                    <a:pt x="463" y="400"/>
                  </a:lnTo>
                  <a:lnTo>
                    <a:pt x="477" y="382"/>
                  </a:lnTo>
                  <a:lnTo>
                    <a:pt x="484" y="372"/>
                  </a:lnTo>
                  <a:lnTo>
                    <a:pt x="498" y="358"/>
                  </a:lnTo>
                  <a:lnTo>
                    <a:pt x="508" y="347"/>
                  </a:lnTo>
                  <a:lnTo>
                    <a:pt x="522" y="333"/>
                  </a:lnTo>
                  <a:lnTo>
                    <a:pt x="526" y="326"/>
                  </a:lnTo>
                  <a:lnTo>
                    <a:pt x="547" y="309"/>
                  </a:lnTo>
                  <a:cubicBezTo>
                    <a:pt x="596" y="253"/>
                    <a:pt x="610" y="176"/>
                    <a:pt x="586" y="106"/>
                  </a:cubicBezTo>
                  <a:cubicBezTo>
                    <a:pt x="582" y="95"/>
                    <a:pt x="575" y="85"/>
                    <a:pt x="568" y="74"/>
                  </a:cubicBezTo>
                  <a:lnTo>
                    <a:pt x="561" y="67"/>
                  </a:lnTo>
                  <a:cubicBezTo>
                    <a:pt x="558" y="60"/>
                    <a:pt x="551" y="57"/>
                    <a:pt x="547" y="50"/>
                  </a:cubicBezTo>
                  <a:lnTo>
                    <a:pt x="537" y="43"/>
                  </a:lnTo>
                  <a:cubicBezTo>
                    <a:pt x="533" y="39"/>
                    <a:pt x="526" y="36"/>
                    <a:pt x="519" y="32"/>
                  </a:cubicBezTo>
                  <a:lnTo>
                    <a:pt x="508" y="25"/>
                  </a:lnTo>
                  <a:cubicBezTo>
                    <a:pt x="501" y="22"/>
                    <a:pt x="494" y="22"/>
                    <a:pt x="484" y="18"/>
                  </a:cubicBezTo>
                  <a:lnTo>
                    <a:pt x="477" y="15"/>
                  </a:lnTo>
                  <a:cubicBezTo>
                    <a:pt x="466" y="11"/>
                    <a:pt x="456" y="8"/>
                    <a:pt x="445" y="8"/>
                  </a:cubicBezTo>
                  <a:lnTo>
                    <a:pt x="428" y="4"/>
                  </a:lnTo>
                  <a:lnTo>
                    <a:pt x="41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6" name="Google Shape;5223;p64">
              <a:extLst>
                <a:ext uri="{FF2B5EF4-FFF2-40B4-BE49-F238E27FC236}">
                  <a16:creationId xmlns:a16="http://schemas.microsoft.com/office/drawing/2014/main" id="{9931775B-54E0-170D-F804-25FCDA27174F}"/>
                </a:ext>
              </a:extLst>
            </p:cNvPr>
            <p:cNvSpPr/>
            <p:nvPr/>
          </p:nvSpPr>
          <p:spPr>
            <a:xfrm>
              <a:off x="2309669" y="1752192"/>
              <a:ext cx="47929" cy="38750"/>
            </a:xfrm>
            <a:custGeom>
              <a:avLst/>
              <a:gdLst/>
              <a:ahLst/>
              <a:cxnLst/>
              <a:rect l="l" t="t" r="r" b="b"/>
              <a:pathLst>
                <a:path w="3530" h="2854" extrusionOk="0">
                  <a:moveTo>
                    <a:pt x="3460" y="0"/>
                  </a:moveTo>
                  <a:cubicBezTo>
                    <a:pt x="3297" y="55"/>
                    <a:pt x="3126" y="84"/>
                    <a:pt x="2953" y="84"/>
                  </a:cubicBezTo>
                  <a:cubicBezTo>
                    <a:pt x="2918" y="84"/>
                    <a:pt x="2882" y="83"/>
                    <a:pt x="2847" y="81"/>
                  </a:cubicBezTo>
                  <a:cubicBezTo>
                    <a:pt x="2837" y="80"/>
                    <a:pt x="2828" y="80"/>
                    <a:pt x="2818" y="80"/>
                  </a:cubicBezTo>
                  <a:cubicBezTo>
                    <a:pt x="2692" y="80"/>
                    <a:pt x="2613" y="123"/>
                    <a:pt x="2522" y="175"/>
                  </a:cubicBezTo>
                  <a:cubicBezTo>
                    <a:pt x="2403" y="256"/>
                    <a:pt x="2262" y="298"/>
                    <a:pt x="2119" y="298"/>
                  </a:cubicBezTo>
                  <a:cubicBezTo>
                    <a:pt x="2014" y="298"/>
                    <a:pt x="1912" y="305"/>
                    <a:pt x="1811" y="319"/>
                  </a:cubicBezTo>
                  <a:cubicBezTo>
                    <a:pt x="1747" y="325"/>
                    <a:pt x="1691" y="331"/>
                    <a:pt x="1641" y="331"/>
                  </a:cubicBezTo>
                  <a:cubicBezTo>
                    <a:pt x="1556" y="331"/>
                    <a:pt x="1490" y="314"/>
                    <a:pt x="1440" y="252"/>
                  </a:cubicBezTo>
                  <a:cubicBezTo>
                    <a:pt x="1419" y="224"/>
                    <a:pt x="1412" y="221"/>
                    <a:pt x="1408" y="221"/>
                  </a:cubicBezTo>
                  <a:cubicBezTo>
                    <a:pt x="1380" y="231"/>
                    <a:pt x="1349" y="245"/>
                    <a:pt x="1321" y="263"/>
                  </a:cubicBezTo>
                  <a:cubicBezTo>
                    <a:pt x="1286" y="280"/>
                    <a:pt x="1233" y="305"/>
                    <a:pt x="1174" y="336"/>
                  </a:cubicBezTo>
                  <a:cubicBezTo>
                    <a:pt x="1146" y="350"/>
                    <a:pt x="1114" y="361"/>
                    <a:pt x="1086" y="371"/>
                  </a:cubicBezTo>
                  <a:cubicBezTo>
                    <a:pt x="1013" y="399"/>
                    <a:pt x="932" y="413"/>
                    <a:pt x="855" y="413"/>
                  </a:cubicBezTo>
                  <a:cubicBezTo>
                    <a:pt x="810" y="413"/>
                    <a:pt x="764" y="406"/>
                    <a:pt x="722" y="392"/>
                  </a:cubicBezTo>
                  <a:cubicBezTo>
                    <a:pt x="680" y="378"/>
                    <a:pt x="642" y="354"/>
                    <a:pt x="610" y="326"/>
                  </a:cubicBezTo>
                  <a:lnTo>
                    <a:pt x="600" y="319"/>
                  </a:lnTo>
                  <a:cubicBezTo>
                    <a:pt x="589" y="315"/>
                    <a:pt x="582" y="312"/>
                    <a:pt x="572" y="312"/>
                  </a:cubicBezTo>
                  <a:cubicBezTo>
                    <a:pt x="570" y="310"/>
                    <a:pt x="568" y="309"/>
                    <a:pt x="567" y="309"/>
                  </a:cubicBezTo>
                  <a:cubicBezTo>
                    <a:pt x="565" y="309"/>
                    <a:pt x="565" y="310"/>
                    <a:pt x="565" y="312"/>
                  </a:cubicBezTo>
                  <a:cubicBezTo>
                    <a:pt x="526" y="336"/>
                    <a:pt x="505" y="375"/>
                    <a:pt x="498" y="417"/>
                  </a:cubicBezTo>
                  <a:cubicBezTo>
                    <a:pt x="495" y="431"/>
                    <a:pt x="495" y="445"/>
                    <a:pt x="491" y="462"/>
                  </a:cubicBezTo>
                  <a:cubicBezTo>
                    <a:pt x="491" y="469"/>
                    <a:pt x="491" y="476"/>
                    <a:pt x="491" y="483"/>
                  </a:cubicBezTo>
                  <a:lnTo>
                    <a:pt x="491" y="494"/>
                  </a:lnTo>
                  <a:lnTo>
                    <a:pt x="491" y="508"/>
                  </a:lnTo>
                  <a:lnTo>
                    <a:pt x="491" y="518"/>
                  </a:lnTo>
                  <a:cubicBezTo>
                    <a:pt x="491" y="525"/>
                    <a:pt x="491" y="529"/>
                    <a:pt x="488" y="536"/>
                  </a:cubicBezTo>
                  <a:cubicBezTo>
                    <a:pt x="484" y="539"/>
                    <a:pt x="488" y="543"/>
                    <a:pt x="484" y="546"/>
                  </a:cubicBezTo>
                  <a:cubicBezTo>
                    <a:pt x="484" y="550"/>
                    <a:pt x="484" y="557"/>
                    <a:pt x="481" y="560"/>
                  </a:cubicBezTo>
                  <a:lnTo>
                    <a:pt x="477" y="574"/>
                  </a:lnTo>
                  <a:cubicBezTo>
                    <a:pt x="477" y="578"/>
                    <a:pt x="477" y="585"/>
                    <a:pt x="474" y="588"/>
                  </a:cubicBezTo>
                  <a:lnTo>
                    <a:pt x="470" y="602"/>
                  </a:lnTo>
                  <a:cubicBezTo>
                    <a:pt x="470" y="609"/>
                    <a:pt x="467" y="613"/>
                    <a:pt x="463" y="620"/>
                  </a:cubicBezTo>
                  <a:lnTo>
                    <a:pt x="460" y="630"/>
                  </a:lnTo>
                  <a:lnTo>
                    <a:pt x="453" y="648"/>
                  </a:lnTo>
                  <a:lnTo>
                    <a:pt x="446" y="662"/>
                  </a:lnTo>
                  <a:lnTo>
                    <a:pt x="435" y="676"/>
                  </a:lnTo>
                  <a:lnTo>
                    <a:pt x="428" y="690"/>
                  </a:lnTo>
                  <a:lnTo>
                    <a:pt x="418" y="704"/>
                  </a:lnTo>
                  <a:lnTo>
                    <a:pt x="407" y="714"/>
                  </a:lnTo>
                  <a:lnTo>
                    <a:pt x="393" y="732"/>
                  </a:lnTo>
                  <a:lnTo>
                    <a:pt x="379" y="742"/>
                  </a:lnTo>
                  <a:lnTo>
                    <a:pt x="365" y="756"/>
                  </a:lnTo>
                  <a:lnTo>
                    <a:pt x="351" y="767"/>
                  </a:lnTo>
                  <a:lnTo>
                    <a:pt x="334" y="777"/>
                  </a:lnTo>
                  <a:lnTo>
                    <a:pt x="316" y="788"/>
                  </a:lnTo>
                  <a:lnTo>
                    <a:pt x="295" y="798"/>
                  </a:lnTo>
                  <a:lnTo>
                    <a:pt x="274" y="809"/>
                  </a:lnTo>
                  <a:lnTo>
                    <a:pt x="249" y="816"/>
                  </a:lnTo>
                  <a:lnTo>
                    <a:pt x="228" y="826"/>
                  </a:lnTo>
                  <a:lnTo>
                    <a:pt x="200" y="833"/>
                  </a:lnTo>
                  <a:lnTo>
                    <a:pt x="176" y="837"/>
                  </a:lnTo>
                  <a:lnTo>
                    <a:pt x="169" y="837"/>
                  </a:lnTo>
                  <a:lnTo>
                    <a:pt x="169" y="840"/>
                  </a:lnTo>
                  <a:cubicBezTo>
                    <a:pt x="151" y="914"/>
                    <a:pt x="134" y="980"/>
                    <a:pt x="162" y="1015"/>
                  </a:cubicBezTo>
                  <a:cubicBezTo>
                    <a:pt x="242" y="1113"/>
                    <a:pt x="204" y="1222"/>
                    <a:pt x="172" y="1323"/>
                  </a:cubicBezTo>
                  <a:cubicBezTo>
                    <a:pt x="165" y="1348"/>
                    <a:pt x="155" y="1372"/>
                    <a:pt x="148" y="1397"/>
                  </a:cubicBezTo>
                  <a:lnTo>
                    <a:pt x="176" y="1400"/>
                  </a:lnTo>
                  <a:lnTo>
                    <a:pt x="186" y="1400"/>
                  </a:lnTo>
                  <a:lnTo>
                    <a:pt x="211" y="1404"/>
                  </a:lnTo>
                  <a:lnTo>
                    <a:pt x="221" y="1404"/>
                  </a:lnTo>
                  <a:lnTo>
                    <a:pt x="242" y="1411"/>
                  </a:lnTo>
                  <a:lnTo>
                    <a:pt x="253" y="1411"/>
                  </a:lnTo>
                  <a:lnTo>
                    <a:pt x="274" y="1418"/>
                  </a:lnTo>
                  <a:lnTo>
                    <a:pt x="281" y="1421"/>
                  </a:lnTo>
                  <a:lnTo>
                    <a:pt x="299" y="1428"/>
                  </a:lnTo>
                  <a:lnTo>
                    <a:pt x="306" y="1432"/>
                  </a:lnTo>
                  <a:lnTo>
                    <a:pt x="323" y="1439"/>
                  </a:lnTo>
                  <a:lnTo>
                    <a:pt x="327" y="1439"/>
                  </a:lnTo>
                  <a:cubicBezTo>
                    <a:pt x="341" y="1446"/>
                    <a:pt x="351" y="1453"/>
                    <a:pt x="362" y="1460"/>
                  </a:cubicBezTo>
                  <a:lnTo>
                    <a:pt x="365" y="1463"/>
                  </a:lnTo>
                  <a:lnTo>
                    <a:pt x="372" y="1474"/>
                  </a:lnTo>
                  <a:lnTo>
                    <a:pt x="383" y="1481"/>
                  </a:lnTo>
                  <a:lnTo>
                    <a:pt x="390" y="1488"/>
                  </a:lnTo>
                  <a:lnTo>
                    <a:pt x="397" y="1495"/>
                  </a:lnTo>
                  <a:lnTo>
                    <a:pt x="404" y="1502"/>
                  </a:lnTo>
                  <a:lnTo>
                    <a:pt x="411" y="1512"/>
                  </a:lnTo>
                  <a:lnTo>
                    <a:pt x="418" y="1519"/>
                  </a:lnTo>
                  <a:lnTo>
                    <a:pt x="425" y="1526"/>
                  </a:lnTo>
                  <a:lnTo>
                    <a:pt x="428" y="1533"/>
                  </a:lnTo>
                  <a:lnTo>
                    <a:pt x="432" y="1544"/>
                  </a:lnTo>
                  <a:lnTo>
                    <a:pt x="435" y="1547"/>
                  </a:lnTo>
                  <a:lnTo>
                    <a:pt x="442" y="1558"/>
                  </a:lnTo>
                  <a:lnTo>
                    <a:pt x="446" y="1565"/>
                  </a:lnTo>
                  <a:lnTo>
                    <a:pt x="449" y="1575"/>
                  </a:lnTo>
                  <a:cubicBezTo>
                    <a:pt x="495" y="1698"/>
                    <a:pt x="467" y="1838"/>
                    <a:pt x="376" y="1929"/>
                  </a:cubicBezTo>
                  <a:lnTo>
                    <a:pt x="358" y="1943"/>
                  </a:lnTo>
                  <a:lnTo>
                    <a:pt x="355" y="1950"/>
                  </a:lnTo>
                  <a:lnTo>
                    <a:pt x="344" y="1961"/>
                  </a:lnTo>
                  <a:lnTo>
                    <a:pt x="337" y="1968"/>
                  </a:lnTo>
                  <a:lnTo>
                    <a:pt x="323" y="1982"/>
                  </a:lnTo>
                  <a:lnTo>
                    <a:pt x="316" y="1992"/>
                  </a:lnTo>
                  <a:lnTo>
                    <a:pt x="302" y="2006"/>
                  </a:lnTo>
                  <a:lnTo>
                    <a:pt x="295" y="2017"/>
                  </a:lnTo>
                  <a:lnTo>
                    <a:pt x="278" y="2034"/>
                  </a:lnTo>
                  <a:lnTo>
                    <a:pt x="270" y="2045"/>
                  </a:lnTo>
                  <a:lnTo>
                    <a:pt x="253" y="2066"/>
                  </a:lnTo>
                  <a:lnTo>
                    <a:pt x="246" y="2076"/>
                  </a:lnTo>
                  <a:lnTo>
                    <a:pt x="228" y="2097"/>
                  </a:lnTo>
                  <a:lnTo>
                    <a:pt x="218" y="2111"/>
                  </a:lnTo>
                  <a:lnTo>
                    <a:pt x="200" y="2132"/>
                  </a:lnTo>
                  <a:lnTo>
                    <a:pt x="190" y="2146"/>
                  </a:lnTo>
                  <a:lnTo>
                    <a:pt x="172" y="2171"/>
                  </a:lnTo>
                  <a:lnTo>
                    <a:pt x="162" y="2185"/>
                  </a:lnTo>
                  <a:lnTo>
                    <a:pt x="144" y="2213"/>
                  </a:lnTo>
                  <a:lnTo>
                    <a:pt x="134" y="2227"/>
                  </a:lnTo>
                  <a:lnTo>
                    <a:pt x="116" y="2255"/>
                  </a:lnTo>
                  <a:lnTo>
                    <a:pt x="106" y="2265"/>
                  </a:lnTo>
                  <a:lnTo>
                    <a:pt x="81" y="2304"/>
                  </a:lnTo>
                  <a:lnTo>
                    <a:pt x="78" y="2307"/>
                  </a:lnTo>
                  <a:lnTo>
                    <a:pt x="50" y="2353"/>
                  </a:lnTo>
                  <a:lnTo>
                    <a:pt x="25" y="2395"/>
                  </a:lnTo>
                  <a:lnTo>
                    <a:pt x="18" y="2409"/>
                  </a:lnTo>
                  <a:lnTo>
                    <a:pt x="1" y="2437"/>
                  </a:lnTo>
                  <a:lnTo>
                    <a:pt x="43" y="2619"/>
                  </a:lnTo>
                  <a:lnTo>
                    <a:pt x="474" y="2853"/>
                  </a:lnTo>
                  <a:cubicBezTo>
                    <a:pt x="572" y="2787"/>
                    <a:pt x="848" y="2605"/>
                    <a:pt x="988" y="2584"/>
                  </a:cubicBezTo>
                  <a:lnTo>
                    <a:pt x="995" y="2584"/>
                  </a:lnTo>
                  <a:cubicBezTo>
                    <a:pt x="1030" y="2573"/>
                    <a:pt x="1163" y="2521"/>
                    <a:pt x="1667" y="2262"/>
                  </a:cubicBezTo>
                  <a:lnTo>
                    <a:pt x="1727" y="2234"/>
                  </a:lnTo>
                  <a:cubicBezTo>
                    <a:pt x="2196" y="1989"/>
                    <a:pt x="2732" y="1701"/>
                    <a:pt x="2830" y="1652"/>
                  </a:cubicBezTo>
                  <a:cubicBezTo>
                    <a:pt x="2896" y="1544"/>
                    <a:pt x="2949" y="1425"/>
                    <a:pt x="2942" y="1393"/>
                  </a:cubicBezTo>
                  <a:cubicBezTo>
                    <a:pt x="2924" y="1327"/>
                    <a:pt x="2886" y="1043"/>
                    <a:pt x="2998" y="903"/>
                  </a:cubicBezTo>
                  <a:cubicBezTo>
                    <a:pt x="3015" y="882"/>
                    <a:pt x="3001" y="837"/>
                    <a:pt x="2973" y="767"/>
                  </a:cubicBezTo>
                  <a:cubicBezTo>
                    <a:pt x="2942" y="683"/>
                    <a:pt x="2903" y="578"/>
                    <a:pt x="2945" y="469"/>
                  </a:cubicBezTo>
                  <a:cubicBezTo>
                    <a:pt x="3012" y="287"/>
                    <a:pt x="3264" y="193"/>
                    <a:pt x="3320" y="172"/>
                  </a:cubicBezTo>
                  <a:lnTo>
                    <a:pt x="3530" y="21"/>
                  </a:lnTo>
                  <a:lnTo>
                    <a:pt x="34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7" name="Google Shape;5224;p64">
              <a:extLst>
                <a:ext uri="{FF2B5EF4-FFF2-40B4-BE49-F238E27FC236}">
                  <a16:creationId xmlns:a16="http://schemas.microsoft.com/office/drawing/2014/main" id="{20385DE6-037C-D031-378B-87CED85ACE20}"/>
                </a:ext>
              </a:extLst>
            </p:cNvPr>
            <p:cNvSpPr/>
            <p:nvPr/>
          </p:nvSpPr>
          <p:spPr>
            <a:xfrm>
              <a:off x="2314625" y="1772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8" name="Google Shape;5225;p64">
              <a:extLst>
                <a:ext uri="{FF2B5EF4-FFF2-40B4-BE49-F238E27FC236}">
                  <a16:creationId xmlns:a16="http://schemas.microsoft.com/office/drawing/2014/main" id="{4FE447BA-970B-F1DE-C801-FBFA5A6FCC88}"/>
                </a:ext>
              </a:extLst>
            </p:cNvPr>
            <p:cNvSpPr/>
            <p:nvPr/>
          </p:nvSpPr>
          <p:spPr>
            <a:xfrm>
              <a:off x="2313770" y="1779334"/>
              <a:ext cx="190" cy="204"/>
            </a:xfrm>
            <a:custGeom>
              <a:avLst/>
              <a:gdLst/>
              <a:ahLst/>
              <a:cxnLst/>
              <a:rect l="l" t="t" r="r" b="b"/>
              <a:pathLst>
                <a:path w="14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9" name="Google Shape;5226;p64">
              <a:extLst>
                <a:ext uri="{FF2B5EF4-FFF2-40B4-BE49-F238E27FC236}">
                  <a16:creationId xmlns:a16="http://schemas.microsoft.com/office/drawing/2014/main" id="{C85C5B57-77C5-55F6-4902-E74DC3D06879}"/>
                </a:ext>
              </a:extLst>
            </p:cNvPr>
            <p:cNvSpPr/>
            <p:nvPr/>
          </p:nvSpPr>
          <p:spPr>
            <a:xfrm>
              <a:off x="2315671" y="177342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0" name="Google Shape;5227;p64">
              <a:extLst>
                <a:ext uri="{FF2B5EF4-FFF2-40B4-BE49-F238E27FC236}">
                  <a16:creationId xmlns:a16="http://schemas.microsoft.com/office/drawing/2014/main" id="{A59E8191-9D7A-0D44-1AF8-E4A7D1BE7D27}"/>
                </a:ext>
              </a:extLst>
            </p:cNvPr>
            <p:cNvSpPr/>
            <p:nvPr/>
          </p:nvSpPr>
          <p:spPr>
            <a:xfrm>
              <a:off x="2315521" y="177323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1" name="Google Shape;5228;p64">
              <a:extLst>
                <a:ext uri="{FF2B5EF4-FFF2-40B4-BE49-F238E27FC236}">
                  <a16:creationId xmlns:a16="http://schemas.microsoft.com/office/drawing/2014/main" id="{DB079EA4-6B1C-903F-1559-00B7115E9E38}"/>
                </a:ext>
              </a:extLst>
            </p:cNvPr>
            <p:cNvSpPr/>
            <p:nvPr/>
          </p:nvSpPr>
          <p:spPr>
            <a:xfrm>
              <a:off x="2313485" y="177152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2" name="Google Shape;5229;p64">
              <a:extLst>
                <a:ext uri="{FF2B5EF4-FFF2-40B4-BE49-F238E27FC236}">
                  <a16:creationId xmlns:a16="http://schemas.microsoft.com/office/drawing/2014/main" id="{AA1CE665-8DFE-EE3C-5ED7-D2744B1A0319}"/>
                </a:ext>
              </a:extLst>
            </p:cNvPr>
            <p:cNvSpPr/>
            <p:nvPr/>
          </p:nvSpPr>
          <p:spPr>
            <a:xfrm>
              <a:off x="2314055" y="177904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3" name="Google Shape;5230;p64">
              <a:extLst>
                <a:ext uri="{FF2B5EF4-FFF2-40B4-BE49-F238E27FC236}">
                  <a16:creationId xmlns:a16="http://schemas.microsoft.com/office/drawing/2014/main" id="{C66CED78-157C-DF89-C1E0-1C858E7C6C0F}"/>
                </a:ext>
              </a:extLst>
            </p:cNvPr>
            <p:cNvSpPr/>
            <p:nvPr/>
          </p:nvSpPr>
          <p:spPr>
            <a:xfrm>
              <a:off x="2314530" y="1778519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4" name="Google Shape;5231;p64">
              <a:extLst>
                <a:ext uri="{FF2B5EF4-FFF2-40B4-BE49-F238E27FC236}">
                  <a16:creationId xmlns:a16="http://schemas.microsoft.com/office/drawing/2014/main" id="{0EC261F9-8E87-307B-5816-3824BD4E0545}"/>
                </a:ext>
              </a:extLst>
            </p:cNvPr>
            <p:cNvSpPr/>
            <p:nvPr/>
          </p:nvSpPr>
          <p:spPr>
            <a:xfrm>
              <a:off x="2313811" y="1771676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5" name="Google Shape;5232;p64">
              <a:extLst>
                <a:ext uri="{FF2B5EF4-FFF2-40B4-BE49-F238E27FC236}">
                  <a16:creationId xmlns:a16="http://schemas.microsoft.com/office/drawing/2014/main" id="{3C081BBD-BDDF-40C6-9415-54F895F1B828}"/>
                </a:ext>
              </a:extLst>
            </p:cNvPr>
            <p:cNvSpPr/>
            <p:nvPr/>
          </p:nvSpPr>
          <p:spPr>
            <a:xfrm>
              <a:off x="2314096" y="177186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1"/>
                    <a:pt x="11" y="4"/>
                    <a:pt x="1" y="0"/>
                  </a:cubicBezTo>
                  <a:cubicBezTo>
                    <a:pt x="11" y="4"/>
                    <a:pt x="22" y="11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6" name="Google Shape;5233;p64">
              <a:extLst>
                <a:ext uri="{FF2B5EF4-FFF2-40B4-BE49-F238E27FC236}">
                  <a16:creationId xmlns:a16="http://schemas.microsoft.com/office/drawing/2014/main" id="{B89487AE-9DB3-F208-1801-CD627C4CE89C}"/>
                </a:ext>
              </a:extLst>
            </p:cNvPr>
            <p:cNvSpPr/>
            <p:nvPr/>
          </p:nvSpPr>
          <p:spPr>
            <a:xfrm>
              <a:off x="2315386" y="177300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7" name="Google Shape;5234;p64">
              <a:extLst>
                <a:ext uri="{FF2B5EF4-FFF2-40B4-BE49-F238E27FC236}">
                  <a16:creationId xmlns:a16="http://schemas.microsoft.com/office/drawing/2014/main" id="{68FA2DC5-14EF-78B0-A0E4-93FE0AED9270}"/>
                </a:ext>
              </a:extLst>
            </p:cNvPr>
            <p:cNvSpPr/>
            <p:nvPr/>
          </p:nvSpPr>
          <p:spPr>
            <a:xfrm>
              <a:off x="2315236" y="177281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8" name="Google Shape;5235;p64">
              <a:extLst>
                <a:ext uri="{FF2B5EF4-FFF2-40B4-BE49-F238E27FC236}">
                  <a16:creationId xmlns:a16="http://schemas.microsoft.com/office/drawing/2014/main" id="{30BC2D69-951F-1A16-1F7F-C6864226094D}"/>
                </a:ext>
              </a:extLst>
            </p:cNvPr>
            <p:cNvSpPr/>
            <p:nvPr/>
          </p:nvSpPr>
          <p:spPr>
            <a:xfrm>
              <a:off x="2315046" y="177257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9" name="Google Shape;5236;p64">
              <a:extLst>
                <a:ext uri="{FF2B5EF4-FFF2-40B4-BE49-F238E27FC236}">
                  <a16:creationId xmlns:a16="http://schemas.microsoft.com/office/drawing/2014/main" id="{D9E734C7-E8E6-10A1-E425-D51CE8E3B0D5}"/>
                </a:ext>
              </a:extLst>
            </p:cNvPr>
            <p:cNvSpPr/>
            <p:nvPr/>
          </p:nvSpPr>
          <p:spPr>
            <a:xfrm>
              <a:off x="2314286" y="177870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0" name="Google Shape;5237;p64">
              <a:extLst>
                <a:ext uri="{FF2B5EF4-FFF2-40B4-BE49-F238E27FC236}">
                  <a16:creationId xmlns:a16="http://schemas.microsoft.com/office/drawing/2014/main" id="{A39772CE-AAA6-6C9A-D2EC-546B79FFF9FF}"/>
                </a:ext>
              </a:extLst>
            </p:cNvPr>
            <p:cNvSpPr/>
            <p:nvPr/>
          </p:nvSpPr>
          <p:spPr>
            <a:xfrm>
              <a:off x="2310769" y="1783081"/>
              <a:ext cx="339" cy="543"/>
            </a:xfrm>
            <a:custGeom>
              <a:avLst/>
              <a:gdLst/>
              <a:ahLst/>
              <a:cxnLst/>
              <a:rect l="l" t="t" r="r" b="b"/>
              <a:pathLst>
                <a:path w="25" h="40" extrusionOk="0">
                  <a:moveTo>
                    <a:pt x="0" y="39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1" name="Google Shape;5238;p64">
              <a:extLst>
                <a:ext uri="{FF2B5EF4-FFF2-40B4-BE49-F238E27FC236}">
                  <a16:creationId xmlns:a16="http://schemas.microsoft.com/office/drawing/2014/main" id="{B72AC573-D6A7-E82E-C145-AC43518999F0}"/>
                </a:ext>
              </a:extLst>
            </p:cNvPr>
            <p:cNvSpPr/>
            <p:nvPr/>
          </p:nvSpPr>
          <p:spPr>
            <a:xfrm>
              <a:off x="2310335" y="1783651"/>
              <a:ext cx="394" cy="638"/>
            </a:xfrm>
            <a:custGeom>
              <a:avLst/>
              <a:gdLst/>
              <a:ahLst/>
              <a:cxnLst/>
              <a:rect l="l" t="t" r="r" b="b"/>
              <a:pathLst>
                <a:path w="29" h="47" extrusionOk="0">
                  <a:moveTo>
                    <a:pt x="1" y="46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2" name="Google Shape;5239;p64">
              <a:extLst>
                <a:ext uri="{FF2B5EF4-FFF2-40B4-BE49-F238E27FC236}">
                  <a16:creationId xmlns:a16="http://schemas.microsoft.com/office/drawing/2014/main" id="{8B5EEBA4-323F-A58A-F2B1-3A34EFA5BF0C}"/>
                </a:ext>
              </a:extLst>
            </p:cNvPr>
            <p:cNvSpPr/>
            <p:nvPr/>
          </p:nvSpPr>
          <p:spPr>
            <a:xfrm>
              <a:off x="2309669" y="1784982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29"/>
                  </a:moveTo>
                  <a:lnTo>
                    <a:pt x="1" y="29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3" name="Google Shape;5240;p64">
              <a:extLst>
                <a:ext uri="{FF2B5EF4-FFF2-40B4-BE49-F238E27FC236}">
                  <a16:creationId xmlns:a16="http://schemas.microsoft.com/office/drawing/2014/main" id="{21AB9ACA-7806-33CD-8DC7-F0A1959BE30A}"/>
                </a:ext>
              </a:extLst>
            </p:cNvPr>
            <p:cNvSpPr/>
            <p:nvPr/>
          </p:nvSpPr>
          <p:spPr>
            <a:xfrm>
              <a:off x="2313430" y="1779659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4" name="Google Shape;5241;p64">
              <a:extLst>
                <a:ext uri="{FF2B5EF4-FFF2-40B4-BE49-F238E27FC236}">
                  <a16:creationId xmlns:a16="http://schemas.microsoft.com/office/drawing/2014/main" id="{EA5D80A4-892E-BFE9-E583-2BCAF18F845B}"/>
                </a:ext>
              </a:extLst>
            </p:cNvPr>
            <p:cNvSpPr/>
            <p:nvPr/>
          </p:nvSpPr>
          <p:spPr>
            <a:xfrm>
              <a:off x="2311190" y="178251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9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5" name="Google Shape;5242;p64">
              <a:extLst>
                <a:ext uri="{FF2B5EF4-FFF2-40B4-BE49-F238E27FC236}">
                  <a16:creationId xmlns:a16="http://schemas.microsoft.com/office/drawing/2014/main" id="{C7E4064F-E88E-C6A3-D27D-9E22E197E71A}"/>
                </a:ext>
              </a:extLst>
            </p:cNvPr>
            <p:cNvSpPr/>
            <p:nvPr/>
          </p:nvSpPr>
          <p:spPr>
            <a:xfrm>
              <a:off x="2314856" y="17723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6" name="Google Shape;5243;p64">
              <a:extLst>
                <a:ext uri="{FF2B5EF4-FFF2-40B4-BE49-F238E27FC236}">
                  <a16:creationId xmlns:a16="http://schemas.microsoft.com/office/drawing/2014/main" id="{6522F81F-C0C1-4962-01C2-12E702A7296E}"/>
                </a:ext>
              </a:extLst>
            </p:cNvPr>
            <p:cNvSpPr/>
            <p:nvPr/>
          </p:nvSpPr>
          <p:spPr>
            <a:xfrm>
              <a:off x="2313091" y="1780094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7" name="Google Shape;5244;p64">
              <a:extLst>
                <a:ext uri="{FF2B5EF4-FFF2-40B4-BE49-F238E27FC236}">
                  <a16:creationId xmlns:a16="http://schemas.microsoft.com/office/drawing/2014/main" id="{12FD9445-4CE9-3075-9C2E-21FC875B391B}"/>
                </a:ext>
              </a:extLst>
            </p:cNvPr>
            <p:cNvSpPr/>
            <p:nvPr/>
          </p:nvSpPr>
          <p:spPr>
            <a:xfrm>
              <a:off x="2312765" y="1780515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8" name="Google Shape;5245;p64">
              <a:extLst>
                <a:ext uri="{FF2B5EF4-FFF2-40B4-BE49-F238E27FC236}">
                  <a16:creationId xmlns:a16="http://schemas.microsoft.com/office/drawing/2014/main" id="{9C64FB39-9A02-3995-1281-C34C41520E7B}"/>
                </a:ext>
              </a:extLst>
            </p:cNvPr>
            <p:cNvSpPr/>
            <p:nvPr/>
          </p:nvSpPr>
          <p:spPr>
            <a:xfrm>
              <a:off x="2312385" y="178099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2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9" name="Google Shape;5246;p64">
              <a:extLst>
                <a:ext uri="{FF2B5EF4-FFF2-40B4-BE49-F238E27FC236}">
                  <a16:creationId xmlns:a16="http://schemas.microsoft.com/office/drawing/2014/main" id="{4F5EBD8E-3628-F8B4-71DD-9895C17C10A4}"/>
                </a:ext>
              </a:extLst>
            </p:cNvPr>
            <p:cNvSpPr/>
            <p:nvPr/>
          </p:nvSpPr>
          <p:spPr>
            <a:xfrm>
              <a:off x="2312005" y="178146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0" y="2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0" name="Google Shape;5247;p64">
              <a:extLst>
                <a:ext uri="{FF2B5EF4-FFF2-40B4-BE49-F238E27FC236}">
                  <a16:creationId xmlns:a16="http://schemas.microsoft.com/office/drawing/2014/main" id="{1B99AE36-8F12-C7FB-2DA2-952B051896A0}"/>
                </a:ext>
              </a:extLst>
            </p:cNvPr>
            <p:cNvSpPr/>
            <p:nvPr/>
          </p:nvSpPr>
          <p:spPr>
            <a:xfrm>
              <a:off x="2311625" y="178199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1" name="Google Shape;5248;p64">
              <a:extLst>
                <a:ext uri="{FF2B5EF4-FFF2-40B4-BE49-F238E27FC236}">
                  <a16:creationId xmlns:a16="http://schemas.microsoft.com/office/drawing/2014/main" id="{9D6C6DD0-E044-C145-699A-D6F7BDF179DE}"/>
                </a:ext>
              </a:extLst>
            </p:cNvPr>
            <p:cNvSpPr/>
            <p:nvPr/>
          </p:nvSpPr>
          <p:spPr>
            <a:xfrm>
              <a:off x="2309955" y="1784276"/>
              <a:ext cx="394" cy="584"/>
            </a:xfrm>
            <a:custGeom>
              <a:avLst/>
              <a:gdLst/>
              <a:ahLst/>
              <a:cxnLst/>
              <a:rect l="l" t="t" r="r" b="b"/>
              <a:pathLst>
                <a:path w="29" h="43" extrusionOk="0">
                  <a:moveTo>
                    <a:pt x="1" y="42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2" name="Google Shape;5249;p64">
              <a:extLst>
                <a:ext uri="{FF2B5EF4-FFF2-40B4-BE49-F238E27FC236}">
                  <a16:creationId xmlns:a16="http://schemas.microsoft.com/office/drawing/2014/main" id="{2D9E3C08-0FA5-B933-CC36-E997513B4B30}"/>
                </a:ext>
              </a:extLst>
            </p:cNvPr>
            <p:cNvSpPr/>
            <p:nvPr/>
          </p:nvSpPr>
          <p:spPr>
            <a:xfrm>
              <a:off x="2312141" y="177124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3" name="Google Shape;5250;p64">
              <a:extLst>
                <a:ext uri="{FF2B5EF4-FFF2-40B4-BE49-F238E27FC236}">
                  <a16:creationId xmlns:a16="http://schemas.microsoft.com/office/drawing/2014/main" id="{24DCFF64-0244-2267-F0C7-09BB0B321D3F}"/>
                </a:ext>
              </a:extLst>
            </p:cNvPr>
            <p:cNvSpPr/>
            <p:nvPr/>
          </p:nvSpPr>
          <p:spPr>
            <a:xfrm>
              <a:off x="2312616" y="177129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4" name="Google Shape;5251;p64">
              <a:extLst>
                <a:ext uri="{FF2B5EF4-FFF2-40B4-BE49-F238E27FC236}">
                  <a16:creationId xmlns:a16="http://schemas.microsoft.com/office/drawing/2014/main" id="{F1146683-B76C-123A-1237-470834A5F334}"/>
                </a:ext>
              </a:extLst>
            </p:cNvPr>
            <p:cNvSpPr/>
            <p:nvPr/>
          </p:nvSpPr>
          <p:spPr>
            <a:xfrm>
              <a:off x="2311665" y="17711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5" name="Google Shape;5252;p64">
              <a:extLst>
                <a:ext uri="{FF2B5EF4-FFF2-40B4-BE49-F238E27FC236}">
                  <a16:creationId xmlns:a16="http://schemas.microsoft.com/office/drawing/2014/main" id="{4A478103-38CB-62C7-8406-1F40E2171016}"/>
                </a:ext>
              </a:extLst>
            </p:cNvPr>
            <p:cNvSpPr/>
            <p:nvPr/>
          </p:nvSpPr>
          <p:spPr>
            <a:xfrm>
              <a:off x="2313050" y="1771431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6" name="Google Shape;5253;p64">
              <a:extLst>
                <a:ext uri="{FF2B5EF4-FFF2-40B4-BE49-F238E27FC236}">
                  <a16:creationId xmlns:a16="http://schemas.microsoft.com/office/drawing/2014/main" id="{F4E52FA1-1B08-D8DA-B975-D3D7246AD5BB}"/>
                </a:ext>
              </a:extLst>
            </p:cNvPr>
            <p:cNvSpPr/>
            <p:nvPr/>
          </p:nvSpPr>
          <p:spPr>
            <a:xfrm>
              <a:off x="2978891" y="1743340"/>
              <a:ext cx="24684" cy="32355"/>
            </a:xfrm>
            <a:custGeom>
              <a:avLst/>
              <a:gdLst/>
              <a:ahLst/>
              <a:cxnLst/>
              <a:rect l="l" t="t" r="r" b="b"/>
              <a:pathLst>
                <a:path w="1818" h="2383" extrusionOk="0">
                  <a:moveTo>
                    <a:pt x="1135" y="1"/>
                  </a:moveTo>
                  <a:lnTo>
                    <a:pt x="1114" y="15"/>
                  </a:lnTo>
                  <a:lnTo>
                    <a:pt x="1103" y="22"/>
                  </a:lnTo>
                  <a:cubicBezTo>
                    <a:pt x="1089" y="29"/>
                    <a:pt x="1079" y="32"/>
                    <a:pt x="1065" y="39"/>
                  </a:cubicBezTo>
                  <a:lnTo>
                    <a:pt x="1058" y="43"/>
                  </a:lnTo>
                  <a:lnTo>
                    <a:pt x="1030" y="57"/>
                  </a:lnTo>
                  <a:lnTo>
                    <a:pt x="1016" y="60"/>
                  </a:lnTo>
                  <a:lnTo>
                    <a:pt x="991" y="67"/>
                  </a:lnTo>
                  <a:lnTo>
                    <a:pt x="977" y="71"/>
                  </a:lnTo>
                  <a:lnTo>
                    <a:pt x="953" y="78"/>
                  </a:lnTo>
                  <a:lnTo>
                    <a:pt x="935" y="81"/>
                  </a:lnTo>
                  <a:lnTo>
                    <a:pt x="911" y="85"/>
                  </a:lnTo>
                  <a:lnTo>
                    <a:pt x="851" y="85"/>
                  </a:lnTo>
                  <a:cubicBezTo>
                    <a:pt x="536" y="85"/>
                    <a:pt x="434" y="141"/>
                    <a:pt x="403" y="172"/>
                  </a:cubicBezTo>
                  <a:cubicBezTo>
                    <a:pt x="354" y="211"/>
                    <a:pt x="305" y="249"/>
                    <a:pt x="256" y="284"/>
                  </a:cubicBezTo>
                  <a:lnTo>
                    <a:pt x="196" y="330"/>
                  </a:lnTo>
                  <a:lnTo>
                    <a:pt x="182" y="340"/>
                  </a:lnTo>
                  <a:cubicBezTo>
                    <a:pt x="161" y="354"/>
                    <a:pt x="137" y="372"/>
                    <a:pt x="116" y="386"/>
                  </a:cubicBezTo>
                  <a:cubicBezTo>
                    <a:pt x="130" y="414"/>
                    <a:pt x="137" y="445"/>
                    <a:pt x="144" y="473"/>
                  </a:cubicBezTo>
                  <a:cubicBezTo>
                    <a:pt x="168" y="561"/>
                    <a:pt x="182" y="593"/>
                    <a:pt x="210" y="593"/>
                  </a:cubicBezTo>
                  <a:cubicBezTo>
                    <a:pt x="364" y="603"/>
                    <a:pt x="445" y="782"/>
                    <a:pt x="347" y="904"/>
                  </a:cubicBezTo>
                  <a:cubicBezTo>
                    <a:pt x="313" y="943"/>
                    <a:pt x="264" y="965"/>
                    <a:pt x="212" y="965"/>
                  </a:cubicBezTo>
                  <a:cubicBezTo>
                    <a:pt x="194" y="965"/>
                    <a:pt x="176" y="962"/>
                    <a:pt x="158" y="957"/>
                  </a:cubicBezTo>
                  <a:cubicBezTo>
                    <a:pt x="152" y="955"/>
                    <a:pt x="146" y="955"/>
                    <a:pt x="142" y="955"/>
                  </a:cubicBezTo>
                  <a:cubicBezTo>
                    <a:pt x="122" y="955"/>
                    <a:pt x="115" y="964"/>
                    <a:pt x="112" y="967"/>
                  </a:cubicBezTo>
                  <a:cubicBezTo>
                    <a:pt x="77" y="1020"/>
                    <a:pt x="91" y="1188"/>
                    <a:pt x="203" y="1359"/>
                  </a:cubicBezTo>
                  <a:cubicBezTo>
                    <a:pt x="315" y="1531"/>
                    <a:pt x="193" y="1716"/>
                    <a:pt x="102" y="1846"/>
                  </a:cubicBezTo>
                  <a:cubicBezTo>
                    <a:pt x="60" y="1905"/>
                    <a:pt x="0" y="1993"/>
                    <a:pt x="18" y="2010"/>
                  </a:cubicBezTo>
                  <a:cubicBezTo>
                    <a:pt x="116" y="2108"/>
                    <a:pt x="109" y="2220"/>
                    <a:pt x="102" y="2301"/>
                  </a:cubicBezTo>
                  <a:cubicBezTo>
                    <a:pt x="98" y="2325"/>
                    <a:pt x="98" y="2350"/>
                    <a:pt x="102" y="2378"/>
                  </a:cubicBezTo>
                  <a:cubicBezTo>
                    <a:pt x="113" y="2381"/>
                    <a:pt x="130" y="2383"/>
                    <a:pt x="151" y="2383"/>
                  </a:cubicBezTo>
                  <a:cubicBezTo>
                    <a:pt x="325" y="2383"/>
                    <a:pt x="810" y="2278"/>
                    <a:pt x="1047" y="2035"/>
                  </a:cubicBezTo>
                  <a:cubicBezTo>
                    <a:pt x="1256" y="1821"/>
                    <a:pt x="1372" y="1762"/>
                    <a:pt x="1482" y="1762"/>
                  </a:cubicBezTo>
                  <a:cubicBezTo>
                    <a:pt x="1528" y="1762"/>
                    <a:pt x="1574" y="1773"/>
                    <a:pt x="1625" y="1786"/>
                  </a:cubicBezTo>
                  <a:lnTo>
                    <a:pt x="1646" y="1793"/>
                  </a:lnTo>
                  <a:cubicBezTo>
                    <a:pt x="1657" y="1796"/>
                    <a:pt x="1669" y="1798"/>
                    <a:pt x="1680" y="1798"/>
                  </a:cubicBezTo>
                  <a:cubicBezTo>
                    <a:pt x="1724" y="1798"/>
                    <a:pt x="1765" y="1776"/>
                    <a:pt x="1793" y="1737"/>
                  </a:cubicBezTo>
                  <a:cubicBezTo>
                    <a:pt x="1814" y="1716"/>
                    <a:pt x="1817" y="1681"/>
                    <a:pt x="1800" y="1657"/>
                  </a:cubicBezTo>
                  <a:cubicBezTo>
                    <a:pt x="1709" y="1520"/>
                    <a:pt x="1618" y="1198"/>
                    <a:pt x="1642" y="827"/>
                  </a:cubicBezTo>
                  <a:cubicBezTo>
                    <a:pt x="1653" y="673"/>
                    <a:pt x="1464" y="368"/>
                    <a:pt x="11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7" name="Google Shape;5254;p64">
              <a:extLst>
                <a:ext uri="{FF2B5EF4-FFF2-40B4-BE49-F238E27FC236}">
                  <a16:creationId xmlns:a16="http://schemas.microsoft.com/office/drawing/2014/main" id="{444F6450-8CB9-81CF-2A5D-466846057993}"/>
                </a:ext>
              </a:extLst>
            </p:cNvPr>
            <p:cNvSpPr/>
            <p:nvPr/>
          </p:nvSpPr>
          <p:spPr>
            <a:xfrm>
              <a:off x="2700253" y="1844234"/>
              <a:ext cx="29287" cy="39198"/>
            </a:xfrm>
            <a:custGeom>
              <a:avLst/>
              <a:gdLst/>
              <a:ahLst/>
              <a:cxnLst/>
              <a:rect l="l" t="t" r="r" b="b"/>
              <a:pathLst>
                <a:path w="2157" h="2887" extrusionOk="0">
                  <a:moveTo>
                    <a:pt x="121" y="0"/>
                  </a:moveTo>
                  <a:cubicBezTo>
                    <a:pt x="98" y="0"/>
                    <a:pt x="76" y="25"/>
                    <a:pt x="28" y="90"/>
                  </a:cubicBezTo>
                  <a:cubicBezTo>
                    <a:pt x="18" y="104"/>
                    <a:pt x="0" y="132"/>
                    <a:pt x="4" y="149"/>
                  </a:cubicBezTo>
                  <a:cubicBezTo>
                    <a:pt x="14" y="188"/>
                    <a:pt x="105" y="233"/>
                    <a:pt x="175" y="261"/>
                  </a:cubicBezTo>
                  <a:cubicBezTo>
                    <a:pt x="291" y="314"/>
                    <a:pt x="445" y="387"/>
                    <a:pt x="399" y="531"/>
                  </a:cubicBezTo>
                  <a:cubicBezTo>
                    <a:pt x="350" y="674"/>
                    <a:pt x="249" y="688"/>
                    <a:pt x="182" y="702"/>
                  </a:cubicBezTo>
                  <a:cubicBezTo>
                    <a:pt x="116" y="713"/>
                    <a:pt x="112" y="720"/>
                    <a:pt x="105" y="751"/>
                  </a:cubicBezTo>
                  <a:cubicBezTo>
                    <a:pt x="81" y="881"/>
                    <a:pt x="130" y="1252"/>
                    <a:pt x="214" y="1487"/>
                  </a:cubicBezTo>
                  <a:cubicBezTo>
                    <a:pt x="221" y="1501"/>
                    <a:pt x="228" y="1518"/>
                    <a:pt x="235" y="1529"/>
                  </a:cubicBezTo>
                  <a:lnTo>
                    <a:pt x="242" y="1550"/>
                  </a:lnTo>
                  <a:lnTo>
                    <a:pt x="249" y="1564"/>
                  </a:lnTo>
                  <a:lnTo>
                    <a:pt x="256" y="1585"/>
                  </a:lnTo>
                  <a:lnTo>
                    <a:pt x="263" y="1606"/>
                  </a:lnTo>
                  <a:lnTo>
                    <a:pt x="270" y="1630"/>
                  </a:lnTo>
                  <a:lnTo>
                    <a:pt x="277" y="1651"/>
                  </a:lnTo>
                  <a:lnTo>
                    <a:pt x="287" y="1676"/>
                  </a:lnTo>
                  <a:lnTo>
                    <a:pt x="294" y="1704"/>
                  </a:lnTo>
                  <a:lnTo>
                    <a:pt x="301" y="1728"/>
                  </a:lnTo>
                  <a:lnTo>
                    <a:pt x="308" y="1760"/>
                  </a:lnTo>
                  <a:lnTo>
                    <a:pt x="319" y="1788"/>
                  </a:lnTo>
                  <a:lnTo>
                    <a:pt x="326" y="1816"/>
                  </a:lnTo>
                  <a:lnTo>
                    <a:pt x="333" y="1847"/>
                  </a:lnTo>
                  <a:lnTo>
                    <a:pt x="340" y="1879"/>
                  </a:lnTo>
                  <a:lnTo>
                    <a:pt x="347" y="1910"/>
                  </a:lnTo>
                  <a:lnTo>
                    <a:pt x="354" y="1945"/>
                  </a:lnTo>
                  <a:lnTo>
                    <a:pt x="361" y="1977"/>
                  </a:lnTo>
                  <a:lnTo>
                    <a:pt x="368" y="2012"/>
                  </a:lnTo>
                  <a:lnTo>
                    <a:pt x="375" y="2043"/>
                  </a:lnTo>
                  <a:lnTo>
                    <a:pt x="382" y="2082"/>
                  </a:lnTo>
                  <a:cubicBezTo>
                    <a:pt x="385" y="2092"/>
                    <a:pt x="385" y="2103"/>
                    <a:pt x="389" y="2113"/>
                  </a:cubicBezTo>
                  <a:cubicBezTo>
                    <a:pt x="389" y="2127"/>
                    <a:pt x="392" y="2141"/>
                    <a:pt x="392" y="2152"/>
                  </a:cubicBezTo>
                  <a:cubicBezTo>
                    <a:pt x="396" y="2166"/>
                    <a:pt x="396" y="2176"/>
                    <a:pt x="399" y="2187"/>
                  </a:cubicBezTo>
                  <a:cubicBezTo>
                    <a:pt x="399" y="2197"/>
                    <a:pt x="403" y="2215"/>
                    <a:pt x="406" y="2225"/>
                  </a:cubicBezTo>
                  <a:cubicBezTo>
                    <a:pt x="406" y="2239"/>
                    <a:pt x="410" y="2250"/>
                    <a:pt x="410" y="2260"/>
                  </a:cubicBezTo>
                  <a:cubicBezTo>
                    <a:pt x="410" y="2271"/>
                    <a:pt x="413" y="2288"/>
                    <a:pt x="413" y="2306"/>
                  </a:cubicBezTo>
                  <a:lnTo>
                    <a:pt x="417" y="2341"/>
                  </a:lnTo>
                  <a:cubicBezTo>
                    <a:pt x="417" y="2362"/>
                    <a:pt x="424" y="2383"/>
                    <a:pt x="424" y="2404"/>
                  </a:cubicBezTo>
                  <a:lnTo>
                    <a:pt x="424" y="2435"/>
                  </a:lnTo>
                  <a:cubicBezTo>
                    <a:pt x="424" y="2446"/>
                    <a:pt x="424" y="2460"/>
                    <a:pt x="427" y="2470"/>
                  </a:cubicBezTo>
                  <a:cubicBezTo>
                    <a:pt x="452" y="2463"/>
                    <a:pt x="480" y="2453"/>
                    <a:pt x="501" y="2442"/>
                  </a:cubicBezTo>
                  <a:cubicBezTo>
                    <a:pt x="574" y="2411"/>
                    <a:pt x="652" y="2393"/>
                    <a:pt x="729" y="2390"/>
                  </a:cubicBezTo>
                  <a:cubicBezTo>
                    <a:pt x="1086" y="2390"/>
                    <a:pt x="1096" y="2278"/>
                    <a:pt x="1100" y="2239"/>
                  </a:cubicBezTo>
                  <a:cubicBezTo>
                    <a:pt x="1114" y="2113"/>
                    <a:pt x="1187" y="2001"/>
                    <a:pt x="1299" y="1938"/>
                  </a:cubicBezTo>
                  <a:cubicBezTo>
                    <a:pt x="1341" y="1914"/>
                    <a:pt x="1390" y="1900"/>
                    <a:pt x="1439" y="1900"/>
                  </a:cubicBezTo>
                  <a:cubicBezTo>
                    <a:pt x="1471" y="1900"/>
                    <a:pt x="1499" y="1907"/>
                    <a:pt x="1527" y="1921"/>
                  </a:cubicBezTo>
                  <a:cubicBezTo>
                    <a:pt x="1677" y="1994"/>
                    <a:pt x="1845" y="2488"/>
                    <a:pt x="1856" y="2719"/>
                  </a:cubicBezTo>
                  <a:cubicBezTo>
                    <a:pt x="1859" y="2778"/>
                    <a:pt x="1873" y="2834"/>
                    <a:pt x="1898" y="2887"/>
                  </a:cubicBezTo>
                  <a:lnTo>
                    <a:pt x="1901" y="2883"/>
                  </a:lnTo>
                  <a:lnTo>
                    <a:pt x="1929" y="2862"/>
                  </a:lnTo>
                  <a:lnTo>
                    <a:pt x="1933" y="2859"/>
                  </a:lnTo>
                  <a:lnTo>
                    <a:pt x="1961" y="2838"/>
                  </a:lnTo>
                  <a:lnTo>
                    <a:pt x="1971" y="2827"/>
                  </a:lnTo>
                  <a:lnTo>
                    <a:pt x="1985" y="2817"/>
                  </a:lnTo>
                  <a:lnTo>
                    <a:pt x="1996" y="2810"/>
                  </a:lnTo>
                  <a:lnTo>
                    <a:pt x="2003" y="2806"/>
                  </a:lnTo>
                  <a:lnTo>
                    <a:pt x="2013" y="2799"/>
                  </a:lnTo>
                  <a:cubicBezTo>
                    <a:pt x="2041" y="2677"/>
                    <a:pt x="2090" y="2565"/>
                    <a:pt x="2157" y="2460"/>
                  </a:cubicBezTo>
                  <a:lnTo>
                    <a:pt x="2150" y="2425"/>
                  </a:lnTo>
                  <a:cubicBezTo>
                    <a:pt x="2150" y="2411"/>
                    <a:pt x="2146" y="2390"/>
                    <a:pt x="2143" y="2365"/>
                  </a:cubicBezTo>
                  <a:lnTo>
                    <a:pt x="2132" y="2313"/>
                  </a:lnTo>
                  <a:lnTo>
                    <a:pt x="2125" y="2257"/>
                  </a:lnTo>
                  <a:lnTo>
                    <a:pt x="2115" y="2194"/>
                  </a:lnTo>
                  <a:lnTo>
                    <a:pt x="2108" y="2148"/>
                  </a:lnTo>
                  <a:lnTo>
                    <a:pt x="2090" y="2047"/>
                  </a:lnTo>
                  <a:cubicBezTo>
                    <a:pt x="2059" y="1844"/>
                    <a:pt x="2024" y="1620"/>
                    <a:pt x="1992" y="1522"/>
                  </a:cubicBezTo>
                  <a:cubicBezTo>
                    <a:pt x="1971" y="1553"/>
                    <a:pt x="1943" y="1602"/>
                    <a:pt x="1922" y="1637"/>
                  </a:cubicBezTo>
                  <a:cubicBezTo>
                    <a:pt x="1845" y="1770"/>
                    <a:pt x="1758" y="1924"/>
                    <a:pt x="1634" y="1924"/>
                  </a:cubicBezTo>
                  <a:cubicBezTo>
                    <a:pt x="1624" y="1924"/>
                    <a:pt x="1614" y="1923"/>
                    <a:pt x="1604" y="1921"/>
                  </a:cubicBezTo>
                  <a:cubicBezTo>
                    <a:pt x="1453" y="1889"/>
                    <a:pt x="1418" y="1651"/>
                    <a:pt x="1436" y="1497"/>
                  </a:cubicBezTo>
                  <a:cubicBezTo>
                    <a:pt x="1453" y="1311"/>
                    <a:pt x="1534" y="1199"/>
                    <a:pt x="1649" y="1199"/>
                  </a:cubicBezTo>
                  <a:cubicBezTo>
                    <a:pt x="1789" y="1199"/>
                    <a:pt x="2010" y="821"/>
                    <a:pt x="2010" y="709"/>
                  </a:cubicBezTo>
                  <a:cubicBezTo>
                    <a:pt x="2010" y="643"/>
                    <a:pt x="1821" y="643"/>
                    <a:pt x="1681" y="643"/>
                  </a:cubicBezTo>
                  <a:cubicBezTo>
                    <a:pt x="1488" y="643"/>
                    <a:pt x="1068" y="674"/>
                    <a:pt x="1065" y="674"/>
                  </a:cubicBezTo>
                  <a:lnTo>
                    <a:pt x="1051" y="674"/>
                  </a:lnTo>
                  <a:lnTo>
                    <a:pt x="1037" y="671"/>
                  </a:lnTo>
                  <a:cubicBezTo>
                    <a:pt x="1005" y="657"/>
                    <a:pt x="729" y="548"/>
                    <a:pt x="729" y="345"/>
                  </a:cubicBezTo>
                  <a:cubicBezTo>
                    <a:pt x="729" y="195"/>
                    <a:pt x="631" y="118"/>
                    <a:pt x="434" y="118"/>
                  </a:cubicBezTo>
                  <a:cubicBezTo>
                    <a:pt x="343" y="114"/>
                    <a:pt x="252" y="86"/>
                    <a:pt x="179" y="30"/>
                  </a:cubicBezTo>
                  <a:cubicBezTo>
                    <a:pt x="153" y="12"/>
                    <a:pt x="137" y="0"/>
                    <a:pt x="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8" name="Google Shape;5255;p64">
              <a:extLst>
                <a:ext uri="{FF2B5EF4-FFF2-40B4-BE49-F238E27FC236}">
                  <a16:creationId xmlns:a16="http://schemas.microsoft.com/office/drawing/2014/main" id="{CE65917A-D769-C00E-4193-A2D55A018E30}"/>
                </a:ext>
              </a:extLst>
            </p:cNvPr>
            <p:cNvSpPr/>
            <p:nvPr/>
          </p:nvSpPr>
          <p:spPr>
            <a:xfrm>
              <a:off x="2556128" y="1768064"/>
              <a:ext cx="203975" cy="215624"/>
            </a:xfrm>
            <a:custGeom>
              <a:avLst/>
              <a:gdLst/>
              <a:ahLst/>
              <a:cxnLst/>
              <a:rect l="l" t="t" r="r" b="b"/>
              <a:pathLst>
                <a:path w="15023" h="15881" extrusionOk="0">
                  <a:moveTo>
                    <a:pt x="5109" y="0"/>
                  </a:moveTo>
                  <a:lnTo>
                    <a:pt x="4958" y="14"/>
                  </a:lnTo>
                  <a:cubicBezTo>
                    <a:pt x="4951" y="35"/>
                    <a:pt x="4940" y="60"/>
                    <a:pt x="4933" y="81"/>
                  </a:cubicBezTo>
                  <a:lnTo>
                    <a:pt x="4923" y="105"/>
                  </a:lnTo>
                  <a:cubicBezTo>
                    <a:pt x="4891" y="175"/>
                    <a:pt x="4860" y="238"/>
                    <a:pt x="4818" y="301"/>
                  </a:cubicBezTo>
                  <a:cubicBezTo>
                    <a:pt x="4769" y="378"/>
                    <a:pt x="4741" y="396"/>
                    <a:pt x="4727" y="403"/>
                  </a:cubicBezTo>
                  <a:cubicBezTo>
                    <a:pt x="4674" y="424"/>
                    <a:pt x="4622" y="441"/>
                    <a:pt x="4569" y="459"/>
                  </a:cubicBezTo>
                  <a:cubicBezTo>
                    <a:pt x="4450" y="497"/>
                    <a:pt x="4286" y="546"/>
                    <a:pt x="4195" y="613"/>
                  </a:cubicBezTo>
                  <a:cubicBezTo>
                    <a:pt x="4163" y="634"/>
                    <a:pt x="4128" y="644"/>
                    <a:pt x="4093" y="648"/>
                  </a:cubicBezTo>
                  <a:lnTo>
                    <a:pt x="4065" y="648"/>
                  </a:lnTo>
                  <a:cubicBezTo>
                    <a:pt x="4061" y="648"/>
                    <a:pt x="4057" y="648"/>
                    <a:pt x="4053" y="648"/>
                  </a:cubicBezTo>
                  <a:cubicBezTo>
                    <a:pt x="3947" y="648"/>
                    <a:pt x="3815" y="604"/>
                    <a:pt x="3677" y="557"/>
                  </a:cubicBezTo>
                  <a:cubicBezTo>
                    <a:pt x="3600" y="532"/>
                    <a:pt x="3519" y="504"/>
                    <a:pt x="3449" y="487"/>
                  </a:cubicBezTo>
                  <a:cubicBezTo>
                    <a:pt x="3411" y="480"/>
                    <a:pt x="3376" y="473"/>
                    <a:pt x="3337" y="473"/>
                  </a:cubicBezTo>
                  <a:cubicBezTo>
                    <a:pt x="3204" y="473"/>
                    <a:pt x="3106" y="564"/>
                    <a:pt x="3089" y="627"/>
                  </a:cubicBezTo>
                  <a:cubicBezTo>
                    <a:pt x="3089" y="634"/>
                    <a:pt x="3082" y="648"/>
                    <a:pt x="3089" y="651"/>
                  </a:cubicBezTo>
                  <a:cubicBezTo>
                    <a:pt x="3215" y="728"/>
                    <a:pt x="3215" y="1068"/>
                    <a:pt x="3208" y="1222"/>
                  </a:cubicBezTo>
                  <a:cubicBezTo>
                    <a:pt x="3258" y="1445"/>
                    <a:pt x="3368" y="1682"/>
                    <a:pt x="3442" y="1682"/>
                  </a:cubicBezTo>
                  <a:cubicBezTo>
                    <a:pt x="3444" y="1682"/>
                    <a:pt x="3447" y="1681"/>
                    <a:pt x="3449" y="1681"/>
                  </a:cubicBezTo>
                  <a:cubicBezTo>
                    <a:pt x="3468" y="1677"/>
                    <a:pt x="3488" y="1675"/>
                    <a:pt x="3507" y="1675"/>
                  </a:cubicBezTo>
                  <a:cubicBezTo>
                    <a:pt x="3658" y="1675"/>
                    <a:pt x="3820" y="1786"/>
                    <a:pt x="3845" y="1891"/>
                  </a:cubicBezTo>
                  <a:cubicBezTo>
                    <a:pt x="3862" y="1964"/>
                    <a:pt x="3813" y="2038"/>
                    <a:pt x="3736" y="2045"/>
                  </a:cubicBezTo>
                  <a:cubicBezTo>
                    <a:pt x="3596" y="2083"/>
                    <a:pt x="3526" y="2255"/>
                    <a:pt x="3505" y="2402"/>
                  </a:cubicBezTo>
                  <a:cubicBezTo>
                    <a:pt x="3502" y="2447"/>
                    <a:pt x="3498" y="2493"/>
                    <a:pt x="3498" y="2538"/>
                  </a:cubicBezTo>
                  <a:cubicBezTo>
                    <a:pt x="3495" y="2682"/>
                    <a:pt x="3491" y="2843"/>
                    <a:pt x="3344" y="2868"/>
                  </a:cubicBezTo>
                  <a:cubicBezTo>
                    <a:pt x="3225" y="2889"/>
                    <a:pt x="3141" y="2917"/>
                    <a:pt x="3141" y="3106"/>
                  </a:cubicBezTo>
                  <a:cubicBezTo>
                    <a:pt x="3141" y="3309"/>
                    <a:pt x="2977" y="3347"/>
                    <a:pt x="2882" y="3372"/>
                  </a:cubicBezTo>
                  <a:cubicBezTo>
                    <a:pt x="2854" y="3379"/>
                    <a:pt x="2829" y="3386"/>
                    <a:pt x="2808" y="3396"/>
                  </a:cubicBezTo>
                  <a:cubicBezTo>
                    <a:pt x="2794" y="3421"/>
                    <a:pt x="2770" y="3508"/>
                    <a:pt x="2742" y="3592"/>
                  </a:cubicBezTo>
                  <a:cubicBezTo>
                    <a:pt x="2675" y="3802"/>
                    <a:pt x="2630" y="3946"/>
                    <a:pt x="2581" y="3995"/>
                  </a:cubicBezTo>
                  <a:cubicBezTo>
                    <a:pt x="2549" y="4026"/>
                    <a:pt x="2493" y="4044"/>
                    <a:pt x="2416" y="4068"/>
                  </a:cubicBezTo>
                  <a:cubicBezTo>
                    <a:pt x="2308" y="4103"/>
                    <a:pt x="2157" y="4149"/>
                    <a:pt x="2147" y="4236"/>
                  </a:cubicBezTo>
                  <a:cubicBezTo>
                    <a:pt x="2122" y="4401"/>
                    <a:pt x="2038" y="4551"/>
                    <a:pt x="1912" y="4660"/>
                  </a:cubicBezTo>
                  <a:cubicBezTo>
                    <a:pt x="1877" y="4689"/>
                    <a:pt x="1835" y="4704"/>
                    <a:pt x="1791" y="4704"/>
                  </a:cubicBezTo>
                  <a:cubicBezTo>
                    <a:pt x="1783" y="4704"/>
                    <a:pt x="1774" y="4703"/>
                    <a:pt x="1765" y="4702"/>
                  </a:cubicBezTo>
                  <a:cubicBezTo>
                    <a:pt x="1744" y="4698"/>
                    <a:pt x="1720" y="4691"/>
                    <a:pt x="1695" y="4684"/>
                  </a:cubicBezTo>
                  <a:cubicBezTo>
                    <a:pt x="1630" y="4667"/>
                    <a:pt x="1581" y="4656"/>
                    <a:pt x="1544" y="4656"/>
                  </a:cubicBezTo>
                  <a:cubicBezTo>
                    <a:pt x="1507" y="4656"/>
                    <a:pt x="1483" y="4667"/>
                    <a:pt x="1471" y="4691"/>
                  </a:cubicBezTo>
                  <a:cubicBezTo>
                    <a:pt x="1442" y="4747"/>
                    <a:pt x="1396" y="4766"/>
                    <a:pt x="1345" y="4766"/>
                  </a:cubicBezTo>
                  <a:cubicBezTo>
                    <a:pt x="1279" y="4766"/>
                    <a:pt x="1205" y="4735"/>
                    <a:pt x="1146" y="4709"/>
                  </a:cubicBezTo>
                  <a:cubicBezTo>
                    <a:pt x="1114" y="4695"/>
                    <a:pt x="1076" y="4681"/>
                    <a:pt x="1041" y="4670"/>
                  </a:cubicBezTo>
                  <a:lnTo>
                    <a:pt x="995" y="4712"/>
                  </a:lnTo>
                  <a:cubicBezTo>
                    <a:pt x="911" y="4786"/>
                    <a:pt x="655" y="5017"/>
                    <a:pt x="655" y="5136"/>
                  </a:cubicBezTo>
                  <a:cubicBezTo>
                    <a:pt x="655" y="5175"/>
                    <a:pt x="708" y="5203"/>
                    <a:pt x="785" y="5245"/>
                  </a:cubicBezTo>
                  <a:cubicBezTo>
                    <a:pt x="883" y="5297"/>
                    <a:pt x="1020" y="5371"/>
                    <a:pt x="1002" y="5532"/>
                  </a:cubicBezTo>
                  <a:cubicBezTo>
                    <a:pt x="985" y="5721"/>
                    <a:pt x="1128" y="5945"/>
                    <a:pt x="1223" y="6039"/>
                  </a:cubicBezTo>
                  <a:cubicBezTo>
                    <a:pt x="1317" y="6134"/>
                    <a:pt x="1548" y="6431"/>
                    <a:pt x="1426" y="6617"/>
                  </a:cubicBezTo>
                  <a:cubicBezTo>
                    <a:pt x="1343" y="6740"/>
                    <a:pt x="1231" y="6776"/>
                    <a:pt x="1120" y="6776"/>
                  </a:cubicBezTo>
                  <a:cubicBezTo>
                    <a:pt x="1060" y="6776"/>
                    <a:pt x="1001" y="6766"/>
                    <a:pt x="946" y="6753"/>
                  </a:cubicBezTo>
                  <a:cubicBezTo>
                    <a:pt x="926" y="6748"/>
                    <a:pt x="906" y="6745"/>
                    <a:pt x="886" y="6745"/>
                  </a:cubicBezTo>
                  <a:cubicBezTo>
                    <a:pt x="856" y="6745"/>
                    <a:pt x="826" y="6751"/>
                    <a:pt x="799" y="6764"/>
                  </a:cubicBezTo>
                  <a:cubicBezTo>
                    <a:pt x="755" y="6779"/>
                    <a:pt x="704" y="6796"/>
                    <a:pt x="620" y="6796"/>
                  </a:cubicBezTo>
                  <a:cubicBezTo>
                    <a:pt x="570" y="6796"/>
                    <a:pt x="508" y="6790"/>
                    <a:pt x="428" y="6774"/>
                  </a:cubicBezTo>
                  <a:cubicBezTo>
                    <a:pt x="396" y="6769"/>
                    <a:pt x="367" y="6766"/>
                    <a:pt x="342" y="6766"/>
                  </a:cubicBezTo>
                  <a:cubicBezTo>
                    <a:pt x="200" y="6766"/>
                    <a:pt x="150" y="6851"/>
                    <a:pt x="85" y="6963"/>
                  </a:cubicBezTo>
                  <a:lnTo>
                    <a:pt x="67" y="6995"/>
                  </a:lnTo>
                  <a:lnTo>
                    <a:pt x="60" y="7006"/>
                  </a:lnTo>
                  <a:lnTo>
                    <a:pt x="46" y="7030"/>
                  </a:lnTo>
                  <a:lnTo>
                    <a:pt x="36" y="7041"/>
                  </a:lnTo>
                  <a:lnTo>
                    <a:pt x="22" y="7062"/>
                  </a:lnTo>
                  <a:lnTo>
                    <a:pt x="11" y="7076"/>
                  </a:lnTo>
                  <a:lnTo>
                    <a:pt x="1" y="7090"/>
                  </a:lnTo>
                  <a:cubicBezTo>
                    <a:pt x="43" y="7135"/>
                    <a:pt x="81" y="7181"/>
                    <a:pt x="116" y="7226"/>
                  </a:cubicBezTo>
                  <a:cubicBezTo>
                    <a:pt x="197" y="7331"/>
                    <a:pt x="281" y="7440"/>
                    <a:pt x="435" y="7499"/>
                  </a:cubicBezTo>
                  <a:cubicBezTo>
                    <a:pt x="480" y="7516"/>
                    <a:pt x="523" y="7523"/>
                    <a:pt x="566" y="7523"/>
                  </a:cubicBezTo>
                  <a:cubicBezTo>
                    <a:pt x="654" y="7523"/>
                    <a:pt x="735" y="7495"/>
                    <a:pt x="806" y="7471"/>
                  </a:cubicBezTo>
                  <a:cubicBezTo>
                    <a:pt x="860" y="7454"/>
                    <a:pt x="908" y="7438"/>
                    <a:pt x="951" y="7438"/>
                  </a:cubicBezTo>
                  <a:cubicBezTo>
                    <a:pt x="978" y="7438"/>
                    <a:pt x="1004" y="7444"/>
                    <a:pt x="1027" y="7461"/>
                  </a:cubicBezTo>
                  <a:cubicBezTo>
                    <a:pt x="1062" y="7496"/>
                    <a:pt x="1083" y="7541"/>
                    <a:pt x="1079" y="7594"/>
                  </a:cubicBezTo>
                  <a:cubicBezTo>
                    <a:pt x="1079" y="7804"/>
                    <a:pt x="750" y="7839"/>
                    <a:pt x="487" y="7867"/>
                  </a:cubicBezTo>
                  <a:cubicBezTo>
                    <a:pt x="435" y="7874"/>
                    <a:pt x="379" y="7877"/>
                    <a:pt x="337" y="7884"/>
                  </a:cubicBezTo>
                  <a:cubicBezTo>
                    <a:pt x="461" y="8082"/>
                    <a:pt x="1046" y="8735"/>
                    <a:pt x="1366" y="8735"/>
                  </a:cubicBezTo>
                  <a:cubicBezTo>
                    <a:pt x="1379" y="8735"/>
                    <a:pt x="1392" y="8734"/>
                    <a:pt x="1405" y="8731"/>
                  </a:cubicBezTo>
                  <a:cubicBezTo>
                    <a:pt x="1608" y="8686"/>
                    <a:pt x="1786" y="8567"/>
                    <a:pt x="1902" y="8395"/>
                  </a:cubicBezTo>
                  <a:cubicBezTo>
                    <a:pt x="1926" y="8360"/>
                    <a:pt x="1944" y="8322"/>
                    <a:pt x="1951" y="8283"/>
                  </a:cubicBezTo>
                  <a:cubicBezTo>
                    <a:pt x="1881" y="8238"/>
                    <a:pt x="1870" y="8143"/>
                    <a:pt x="1923" y="8042"/>
                  </a:cubicBezTo>
                  <a:cubicBezTo>
                    <a:pt x="1965" y="7954"/>
                    <a:pt x="2052" y="7877"/>
                    <a:pt x="2133" y="7877"/>
                  </a:cubicBezTo>
                  <a:cubicBezTo>
                    <a:pt x="2154" y="7877"/>
                    <a:pt x="2171" y="7881"/>
                    <a:pt x="2189" y="7888"/>
                  </a:cubicBezTo>
                  <a:cubicBezTo>
                    <a:pt x="2276" y="7930"/>
                    <a:pt x="2280" y="8052"/>
                    <a:pt x="2287" y="8199"/>
                  </a:cubicBezTo>
                  <a:cubicBezTo>
                    <a:pt x="2294" y="8290"/>
                    <a:pt x="2301" y="8430"/>
                    <a:pt x="2339" y="8462"/>
                  </a:cubicBezTo>
                  <a:cubicBezTo>
                    <a:pt x="2500" y="8595"/>
                    <a:pt x="2437" y="8819"/>
                    <a:pt x="2360" y="9036"/>
                  </a:cubicBezTo>
                  <a:cubicBezTo>
                    <a:pt x="2311" y="9173"/>
                    <a:pt x="2364" y="9414"/>
                    <a:pt x="2413" y="9628"/>
                  </a:cubicBezTo>
                  <a:cubicBezTo>
                    <a:pt x="2437" y="9726"/>
                    <a:pt x="2455" y="9827"/>
                    <a:pt x="2469" y="9932"/>
                  </a:cubicBezTo>
                  <a:cubicBezTo>
                    <a:pt x="2490" y="10076"/>
                    <a:pt x="2525" y="10216"/>
                    <a:pt x="2574" y="10352"/>
                  </a:cubicBezTo>
                  <a:cubicBezTo>
                    <a:pt x="2637" y="10534"/>
                    <a:pt x="2686" y="10723"/>
                    <a:pt x="2717" y="10912"/>
                  </a:cubicBezTo>
                  <a:cubicBezTo>
                    <a:pt x="2773" y="11284"/>
                    <a:pt x="3008" y="11956"/>
                    <a:pt x="3222" y="12358"/>
                  </a:cubicBezTo>
                  <a:cubicBezTo>
                    <a:pt x="3334" y="12572"/>
                    <a:pt x="3435" y="12887"/>
                    <a:pt x="3523" y="13167"/>
                  </a:cubicBezTo>
                  <a:cubicBezTo>
                    <a:pt x="3607" y="13430"/>
                    <a:pt x="3684" y="13678"/>
                    <a:pt x="3750" y="13762"/>
                  </a:cubicBezTo>
                  <a:cubicBezTo>
                    <a:pt x="3887" y="13948"/>
                    <a:pt x="4279" y="14560"/>
                    <a:pt x="4279" y="14952"/>
                  </a:cubicBezTo>
                  <a:cubicBezTo>
                    <a:pt x="4279" y="15285"/>
                    <a:pt x="4660" y="15779"/>
                    <a:pt x="4786" y="15870"/>
                  </a:cubicBezTo>
                  <a:cubicBezTo>
                    <a:pt x="4802" y="15877"/>
                    <a:pt x="4821" y="15880"/>
                    <a:pt x="4839" y="15880"/>
                  </a:cubicBezTo>
                  <a:cubicBezTo>
                    <a:pt x="4857" y="15880"/>
                    <a:pt x="4876" y="15877"/>
                    <a:pt x="4891" y="15870"/>
                  </a:cubicBezTo>
                  <a:cubicBezTo>
                    <a:pt x="5032" y="15814"/>
                    <a:pt x="5140" y="15702"/>
                    <a:pt x="5196" y="15565"/>
                  </a:cubicBezTo>
                  <a:cubicBezTo>
                    <a:pt x="5238" y="15429"/>
                    <a:pt x="5375" y="15341"/>
                    <a:pt x="5494" y="15260"/>
                  </a:cubicBezTo>
                  <a:cubicBezTo>
                    <a:pt x="5592" y="15197"/>
                    <a:pt x="5693" y="15134"/>
                    <a:pt x="5700" y="15068"/>
                  </a:cubicBezTo>
                  <a:cubicBezTo>
                    <a:pt x="5725" y="14875"/>
                    <a:pt x="5767" y="14672"/>
                    <a:pt x="5963" y="14637"/>
                  </a:cubicBezTo>
                  <a:cubicBezTo>
                    <a:pt x="6047" y="14623"/>
                    <a:pt x="6054" y="14539"/>
                    <a:pt x="6054" y="14315"/>
                  </a:cubicBezTo>
                  <a:cubicBezTo>
                    <a:pt x="6054" y="14091"/>
                    <a:pt x="6075" y="13780"/>
                    <a:pt x="6229" y="13580"/>
                  </a:cubicBezTo>
                  <a:cubicBezTo>
                    <a:pt x="6358" y="13416"/>
                    <a:pt x="6383" y="12939"/>
                    <a:pt x="6302" y="12757"/>
                  </a:cubicBezTo>
                  <a:cubicBezTo>
                    <a:pt x="6204" y="12533"/>
                    <a:pt x="6260" y="12229"/>
                    <a:pt x="6341" y="12019"/>
                  </a:cubicBezTo>
                  <a:cubicBezTo>
                    <a:pt x="6365" y="11952"/>
                    <a:pt x="6383" y="11889"/>
                    <a:pt x="6393" y="11819"/>
                  </a:cubicBezTo>
                  <a:cubicBezTo>
                    <a:pt x="6418" y="11690"/>
                    <a:pt x="6449" y="11539"/>
                    <a:pt x="6596" y="11525"/>
                  </a:cubicBezTo>
                  <a:cubicBezTo>
                    <a:pt x="6726" y="11511"/>
                    <a:pt x="6939" y="11389"/>
                    <a:pt x="7094" y="11179"/>
                  </a:cubicBezTo>
                  <a:cubicBezTo>
                    <a:pt x="7213" y="11017"/>
                    <a:pt x="7486" y="10828"/>
                    <a:pt x="7706" y="10671"/>
                  </a:cubicBezTo>
                  <a:cubicBezTo>
                    <a:pt x="7801" y="10604"/>
                    <a:pt x="7885" y="10548"/>
                    <a:pt x="7937" y="10503"/>
                  </a:cubicBezTo>
                  <a:cubicBezTo>
                    <a:pt x="8158" y="10324"/>
                    <a:pt x="8658" y="9876"/>
                    <a:pt x="8805" y="9631"/>
                  </a:cubicBezTo>
                  <a:cubicBezTo>
                    <a:pt x="8907" y="9463"/>
                    <a:pt x="9103" y="9365"/>
                    <a:pt x="9292" y="9271"/>
                  </a:cubicBezTo>
                  <a:cubicBezTo>
                    <a:pt x="9432" y="9201"/>
                    <a:pt x="9562" y="9134"/>
                    <a:pt x="9646" y="9046"/>
                  </a:cubicBezTo>
                  <a:cubicBezTo>
                    <a:pt x="9779" y="8910"/>
                    <a:pt x="9782" y="8826"/>
                    <a:pt x="9782" y="8703"/>
                  </a:cubicBezTo>
                  <a:cubicBezTo>
                    <a:pt x="9782" y="8640"/>
                    <a:pt x="9789" y="8577"/>
                    <a:pt x="9800" y="8514"/>
                  </a:cubicBezTo>
                  <a:cubicBezTo>
                    <a:pt x="9856" y="8196"/>
                    <a:pt x="10682" y="8129"/>
                    <a:pt x="10843" y="8129"/>
                  </a:cubicBezTo>
                  <a:cubicBezTo>
                    <a:pt x="10864" y="8129"/>
                    <a:pt x="10888" y="8126"/>
                    <a:pt x="10909" y="8126"/>
                  </a:cubicBezTo>
                  <a:lnTo>
                    <a:pt x="10909" y="8119"/>
                  </a:lnTo>
                  <a:lnTo>
                    <a:pt x="10909" y="8091"/>
                  </a:lnTo>
                  <a:cubicBezTo>
                    <a:pt x="10909" y="8080"/>
                    <a:pt x="10909" y="8063"/>
                    <a:pt x="10909" y="8052"/>
                  </a:cubicBezTo>
                  <a:cubicBezTo>
                    <a:pt x="10906" y="8038"/>
                    <a:pt x="10909" y="8031"/>
                    <a:pt x="10906" y="8021"/>
                  </a:cubicBezTo>
                  <a:cubicBezTo>
                    <a:pt x="10902" y="8010"/>
                    <a:pt x="10906" y="7996"/>
                    <a:pt x="10902" y="7982"/>
                  </a:cubicBezTo>
                  <a:cubicBezTo>
                    <a:pt x="10899" y="7972"/>
                    <a:pt x="10899" y="7961"/>
                    <a:pt x="10899" y="7951"/>
                  </a:cubicBezTo>
                  <a:cubicBezTo>
                    <a:pt x="10899" y="7940"/>
                    <a:pt x="10895" y="7926"/>
                    <a:pt x="10895" y="7916"/>
                  </a:cubicBezTo>
                  <a:cubicBezTo>
                    <a:pt x="10895" y="7902"/>
                    <a:pt x="10892" y="7891"/>
                    <a:pt x="10892" y="7881"/>
                  </a:cubicBezTo>
                  <a:cubicBezTo>
                    <a:pt x="10888" y="7870"/>
                    <a:pt x="10888" y="7856"/>
                    <a:pt x="10885" y="7846"/>
                  </a:cubicBezTo>
                  <a:lnTo>
                    <a:pt x="10881" y="7811"/>
                  </a:lnTo>
                  <a:cubicBezTo>
                    <a:pt x="10878" y="7800"/>
                    <a:pt x="10878" y="7790"/>
                    <a:pt x="10874" y="7779"/>
                  </a:cubicBezTo>
                  <a:lnTo>
                    <a:pt x="10871" y="7744"/>
                  </a:lnTo>
                  <a:lnTo>
                    <a:pt x="10864" y="7709"/>
                  </a:lnTo>
                  <a:lnTo>
                    <a:pt x="10857" y="7678"/>
                  </a:lnTo>
                  <a:lnTo>
                    <a:pt x="10850" y="7646"/>
                  </a:lnTo>
                  <a:lnTo>
                    <a:pt x="10843" y="7611"/>
                  </a:lnTo>
                  <a:lnTo>
                    <a:pt x="10839" y="7580"/>
                  </a:lnTo>
                  <a:lnTo>
                    <a:pt x="10829" y="7548"/>
                  </a:lnTo>
                  <a:lnTo>
                    <a:pt x="10822" y="7520"/>
                  </a:lnTo>
                  <a:lnTo>
                    <a:pt x="10815" y="7489"/>
                  </a:lnTo>
                  <a:lnTo>
                    <a:pt x="10808" y="7461"/>
                  </a:lnTo>
                  <a:lnTo>
                    <a:pt x="10801" y="7429"/>
                  </a:lnTo>
                  <a:lnTo>
                    <a:pt x="10794" y="7405"/>
                  </a:lnTo>
                  <a:lnTo>
                    <a:pt x="10787" y="7377"/>
                  </a:lnTo>
                  <a:lnTo>
                    <a:pt x="10776" y="7352"/>
                  </a:lnTo>
                  <a:lnTo>
                    <a:pt x="10769" y="7328"/>
                  </a:lnTo>
                  <a:lnTo>
                    <a:pt x="10762" y="7303"/>
                  </a:lnTo>
                  <a:lnTo>
                    <a:pt x="10755" y="7282"/>
                  </a:lnTo>
                  <a:lnTo>
                    <a:pt x="10745" y="7258"/>
                  </a:lnTo>
                  <a:lnTo>
                    <a:pt x="10741" y="7240"/>
                  </a:lnTo>
                  <a:cubicBezTo>
                    <a:pt x="10734" y="7230"/>
                    <a:pt x="10731" y="7216"/>
                    <a:pt x="10727" y="7205"/>
                  </a:cubicBezTo>
                  <a:cubicBezTo>
                    <a:pt x="10636" y="6970"/>
                    <a:pt x="10587" y="6722"/>
                    <a:pt x="10580" y="6473"/>
                  </a:cubicBezTo>
                  <a:cubicBezTo>
                    <a:pt x="10580" y="6431"/>
                    <a:pt x="10584" y="6389"/>
                    <a:pt x="10591" y="6347"/>
                  </a:cubicBezTo>
                  <a:cubicBezTo>
                    <a:pt x="10615" y="6225"/>
                    <a:pt x="10710" y="6207"/>
                    <a:pt x="10769" y="6197"/>
                  </a:cubicBezTo>
                  <a:cubicBezTo>
                    <a:pt x="10832" y="6183"/>
                    <a:pt x="10867" y="6176"/>
                    <a:pt x="10888" y="6109"/>
                  </a:cubicBezTo>
                  <a:cubicBezTo>
                    <a:pt x="10899" y="6078"/>
                    <a:pt x="10804" y="6036"/>
                    <a:pt x="10734" y="6004"/>
                  </a:cubicBezTo>
                  <a:cubicBezTo>
                    <a:pt x="10706" y="5994"/>
                    <a:pt x="10682" y="5980"/>
                    <a:pt x="10654" y="5966"/>
                  </a:cubicBezTo>
                  <a:cubicBezTo>
                    <a:pt x="10577" y="5927"/>
                    <a:pt x="10510" y="5878"/>
                    <a:pt x="10489" y="5805"/>
                  </a:cubicBezTo>
                  <a:cubicBezTo>
                    <a:pt x="10486" y="5791"/>
                    <a:pt x="10486" y="5777"/>
                    <a:pt x="10486" y="5763"/>
                  </a:cubicBezTo>
                  <a:cubicBezTo>
                    <a:pt x="10486" y="5731"/>
                    <a:pt x="10493" y="5700"/>
                    <a:pt x="10510" y="5675"/>
                  </a:cubicBezTo>
                  <a:cubicBezTo>
                    <a:pt x="10517" y="5658"/>
                    <a:pt x="10528" y="5644"/>
                    <a:pt x="10538" y="5630"/>
                  </a:cubicBezTo>
                  <a:cubicBezTo>
                    <a:pt x="10614" y="5527"/>
                    <a:pt x="10675" y="5487"/>
                    <a:pt x="10735" y="5487"/>
                  </a:cubicBezTo>
                  <a:cubicBezTo>
                    <a:pt x="10777" y="5487"/>
                    <a:pt x="10820" y="5507"/>
                    <a:pt x="10867" y="5539"/>
                  </a:cubicBezTo>
                  <a:cubicBezTo>
                    <a:pt x="10920" y="5581"/>
                    <a:pt x="10983" y="5605"/>
                    <a:pt x="11049" y="5605"/>
                  </a:cubicBezTo>
                  <a:cubicBezTo>
                    <a:pt x="11316" y="5605"/>
                    <a:pt x="11473" y="5738"/>
                    <a:pt x="11473" y="5966"/>
                  </a:cubicBezTo>
                  <a:cubicBezTo>
                    <a:pt x="11473" y="6057"/>
                    <a:pt x="11617" y="6134"/>
                    <a:pt x="11683" y="6162"/>
                  </a:cubicBezTo>
                  <a:cubicBezTo>
                    <a:pt x="11760" y="6155"/>
                    <a:pt x="12117" y="6130"/>
                    <a:pt x="12296" y="6130"/>
                  </a:cubicBezTo>
                  <a:cubicBezTo>
                    <a:pt x="12509" y="6130"/>
                    <a:pt x="12754" y="6130"/>
                    <a:pt x="12754" y="6326"/>
                  </a:cubicBezTo>
                  <a:cubicBezTo>
                    <a:pt x="12754" y="6484"/>
                    <a:pt x="12502" y="6949"/>
                    <a:pt x="12261" y="6949"/>
                  </a:cubicBezTo>
                  <a:cubicBezTo>
                    <a:pt x="12222" y="6949"/>
                    <a:pt x="12187" y="7023"/>
                    <a:pt x="12177" y="7125"/>
                  </a:cubicBezTo>
                  <a:cubicBezTo>
                    <a:pt x="12163" y="7282"/>
                    <a:pt x="12212" y="7401"/>
                    <a:pt x="12243" y="7408"/>
                  </a:cubicBezTo>
                  <a:cubicBezTo>
                    <a:pt x="12244" y="7408"/>
                    <a:pt x="12245" y="7408"/>
                    <a:pt x="12246" y="7408"/>
                  </a:cubicBezTo>
                  <a:cubicBezTo>
                    <a:pt x="12293" y="7408"/>
                    <a:pt x="12377" y="7266"/>
                    <a:pt x="12422" y="7188"/>
                  </a:cubicBezTo>
                  <a:cubicBezTo>
                    <a:pt x="12492" y="7069"/>
                    <a:pt x="12541" y="6981"/>
                    <a:pt x="12621" y="6981"/>
                  </a:cubicBezTo>
                  <a:cubicBezTo>
                    <a:pt x="12709" y="6981"/>
                    <a:pt x="12740" y="7079"/>
                    <a:pt x="12803" y="7464"/>
                  </a:cubicBezTo>
                  <a:cubicBezTo>
                    <a:pt x="12814" y="7517"/>
                    <a:pt x="12824" y="7580"/>
                    <a:pt x="12835" y="7646"/>
                  </a:cubicBezTo>
                  <a:lnTo>
                    <a:pt x="12849" y="7737"/>
                  </a:lnTo>
                  <a:lnTo>
                    <a:pt x="12852" y="7769"/>
                  </a:lnTo>
                  <a:lnTo>
                    <a:pt x="12863" y="7839"/>
                  </a:lnTo>
                  <a:lnTo>
                    <a:pt x="12870" y="7877"/>
                  </a:lnTo>
                  <a:lnTo>
                    <a:pt x="12884" y="7947"/>
                  </a:lnTo>
                  <a:lnTo>
                    <a:pt x="12887" y="7982"/>
                  </a:lnTo>
                  <a:lnTo>
                    <a:pt x="12887" y="7989"/>
                  </a:lnTo>
                  <a:cubicBezTo>
                    <a:pt x="12898" y="7986"/>
                    <a:pt x="12905" y="7986"/>
                    <a:pt x="12915" y="7986"/>
                  </a:cubicBezTo>
                  <a:cubicBezTo>
                    <a:pt x="12940" y="7947"/>
                    <a:pt x="12950" y="7821"/>
                    <a:pt x="12954" y="7744"/>
                  </a:cubicBezTo>
                  <a:cubicBezTo>
                    <a:pt x="12964" y="7618"/>
                    <a:pt x="12975" y="7496"/>
                    <a:pt x="13020" y="7426"/>
                  </a:cubicBezTo>
                  <a:cubicBezTo>
                    <a:pt x="13055" y="7373"/>
                    <a:pt x="13066" y="7230"/>
                    <a:pt x="13073" y="7121"/>
                  </a:cubicBezTo>
                  <a:cubicBezTo>
                    <a:pt x="13083" y="6963"/>
                    <a:pt x="13090" y="6855"/>
                    <a:pt x="13185" y="6855"/>
                  </a:cubicBezTo>
                  <a:cubicBezTo>
                    <a:pt x="13227" y="6858"/>
                    <a:pt x="13269" y="6869"/>
                    <a:pt x="13311" y="6879"/>
                  </a:cubicBezTo>
                  <a:cubicBezTo>
                    <a:pt x="13388" y="6900"/>
                    <a:pt x="13469" y="6914"/>
                    <a:pt x="13549" y="6921"/>
                  </a:cubicBezTo>
                  <a:cubicBezTo>
                    <a:pt x="13549" y="6862"/>
                    <a:pt x="13584" y="6788"/>
                    <a:pt x="13637" y="6673"/>
                  </a:cubicBezTo>
                  <a:cubicBezTo>
                    <a:pt x="13693" y="6540"/>
                    <a:pt x="13766" y="6379"/>
                    <a:pt x="13745" y="6288"/>
                  </a:cubicBezTo>
                  <a:cubicBezTo>
                    <a:pt x="13721" y="6165"/>
                    <a:pt x="13770" y="6036"/>
                    <a:pt x="13815" y="5910"/>
                  </a:cubicBezTo>
                  <a:cubicBezTo>
                    <a:pt x="13861" y="5812"/>
                    <a:pt x="13889" y="5710"/>
                    <a:pt x="13896" y="5605"/>
                  </a:cubicBezTo>
                  <a:cubicBezTo>
                    <a:pt x="13896" y="5392"/>
                    <a:pt x="14039" y="5294"/>
                    <a:pt x="14169" y="5206"/>
                  </a:cubicBezTo>
                  <a:cubicBezTo>
                    <a:pt x="14211" y="5182"/>
                    <a:pt x="14249" y="5150"/>
                    <a:pt x="14284" y="5119"/>
                  </a:cubicBezTo>
                  <a:cubicBezTo>
                    <a:pt x="14355" y="5060"/>
                    <a:pt x="14582" y="4877"/>
                    <a:pt x="14726" y="4877"/>
                  </a:cubicBezTo>
                  <a:cubicBezTo>
                    <a:pt x="14738" y="4877"/>
                    <a:pt x="14750" y="4878"/>
                    <a:pt x="14760" y="4880"/>
                  </a:cubicBezTo>
                  <a:cubicBezTo>
                    <a:pt x="14799" y="4887"/>
                    <a:pt x="14830" y="4916"/>
                    <a:pt x="14844" y="4951"/>
                  </a:cubicBezTo>
                  <a:cubicBezTo>
                    <a:pt x="14855" y="4982"/>
                    <a:pt x="14928" y="5017"/>
                    <a:pt x="14974" y="5024"/>
                  </a:cubicBezTo>
                  <a:lnTo>
                    <a:pt x="14967" y="5010"/>
                  </a:lnTo>
                  <a:cubicBezTo>
                    <a:pt x="14872" y="4870"/>
                    <a:pt x="14834" y="4747"/>
                    <a:pt x="14858" y="4660"/>
                  </a:cubicBezTo>
                  <a:cubicBezTo>
                    <a:pt x="14869" y="4614"/>
                    <a:pt x="14900" y="4572"/>
                    <a:pt x="14946" y="4551"/>
                  </a:cubicBezTo>
                  <a:cubicBezTo>
                    <a:pt x="14949" y="4548"/>
                    <a:pt x="14953" y="4544"/>
                    <a:pt x="14956" y="4544"/>
                  </a:cubicBezTo>
                  <a:lnTo>
                    <a:pt x="14960" y="4537"/>
                  </a:lnTo>
                  <a:lnTo>
                    <a:pt x="14967" y="4530"/>
                  </a:lnTo>
                  <a:lnTo>
                    <a:pt x="14974" y="4523"/>
                  </a:lnTo>
                  <a:lnTo>
                    <a:pt x="14977" y="4516"/>
                  </a:lnTo>
                  <a:lnTo>
                    <a:pt x="14984" y="4506"/>
                  </a:lnTo>
                  <a:lnTo>
                    <a:pt x="14988" y="4495"/>
                  </a:lnTo>
                  <a:lnTo>
                    <a:pt x="14991" y="4485"/>
                  </a:lnTo>
                  <a:lnTo>
                    <a:pt x="14998" y="4474"/>
                  </a:lnTo>
                  <a:lnTo>
                    <a:pt x="15002" y="4460"/>
                  </a:lnTo>
                  <a:lnTo>
                    <a:pt x="15005" y="4450"/>
                  </a:lnTo>
                  <a:lnTo>
                    <a:pt x="15012" y="4439"/>
                  </a:lnTo>
                  <a:lnTo>
                    <a:pt x="15016" y="4425"/>
                  </a:lnTo>
                  <a:lnTo>
                    <a:pt x="15019" y="4415"/>
                  </a:lnTo>
                  <a:lnTo>
                    <a:pt x="15023" y="4401"/>
                  </a:lnTo>
                  <a:lnTo>
                    <a:pt x="14981" y="4390"/>
                  </a:lnTo>
                  <a:lnTo>
                    <a:pt x="14967" y="4383"/>
                  </a:lnTo>
                  <a:lnTo>
                    <a:pt x="14960" y="4383"/>
                  </a:lnTo>
                  <a:lnTo>
                    <a:pt x="14949" y="4380"/>
                  </a:lnTo>
                  <a:lnTo>
                    <a:pt x="14911" y="4369"/>
                  </a:lnTo>
                  <a:lnTo>
                    <a:pt x="14918" y="4366"/>
                  </a:lnTo>
                  <a:cubicBezTo>
                    <a:pt x="14862" y="4348"/>
                    <a:pt x="14813" y="4320"/>
                    <a:pt x="14771" y="4278"/>
                  </a:cubicBezTo>
                  <a:lnTo>
                    <a:pt x="14760" y="4268"/>
                  </a:lnTo>
                  <a:lnTo>
                    <a:pt x="14753" y="4257"/>
                  </a:lnTo>
                  <a:lnTo>
                    <a:pt x="14743" y="4247"/>
                  </a:lnTo>
                  <a:lnTo>
                    <a:pt x="14736" y="4236"/>
                  </a:lnTo>
                  <a:lnTo>
                    <a:pt x="14732" y="4226"/>
                  </a:lnTo>
                  <a:cubicBezTo>
                    <a:pt x="14725" y="4219"/>
                    <a:pt x="14722" y="4208"/>
                    <a:pt x="14722" y="4201"/>
                  </a:cubicBezTo>
                  <a:cubicBezTo>
                    <a:pt x="14704" y="4159"/>
                    <a:pt x="14680" y="4121"/>
                    <a:pt x="14652" y="4086"/>
                  </a:cubicBezTo>
                  <a:lnTo>
                    <a:pt x="14620" y="4047"/>
                  </a:lnTo>
                  <a:cubicBezTo>
                    <a:pt x="14561" y="3970"/>
                    <a:pt x="14501" y="3897"/>
                    <a:pt x="14501" y="3816"/>
                  </a:cubicBezTo>
                  <a:cubicBezTo>
                    <a:pt x="14435" y="3830"/>
                    <a:pt x="14375" y="3862"/>
                    <a:pt x="14330" y="3907"/>
                  </a:cubicBezTo>
                  <a:cubicBezTo>
                    <a:pt x="14290" y="3940"/>
                    <a:pt x="14246" y="3952"/>
                    <a:pt x="14199" y="3952"/>
                  </a:cubicBezTo>
                  <a:cubicBezTo>
                    <a:pt x="14147" y="3952"/>
                    <a:pt x="14093" y="3938"/>
                    <a:pt x="14039" y="3925"/>
                  </a:cubicBezTo>
                  <a:cubicBezTo>
                    <a:pt x="13977" y="3908"/>
                    <a:pt x="13913" y="3892"/>
                    <a:pt x="13846" y="3892"/>
                  </a:cubicBezTo>
                  <a:cubicBezTo>
                    <a:pt x="13790" y="3892"/>
                    <a:pt x="13731" y="3903"/>
                    <a:pt x="13668" y="3935"/>
                  </a:cubicBezTo>
                  <a:cubicBezTo>
                    <a:pt x="13574" y="3988"/>
                    <a:pt x="13486" y="4054"/>
                    <a:pt x="13406" y="4128"/>
                  </a:cubicBezTo>
                  <a:cubicBezTo>
                    <a:pt x="13334" y="4190"/>
                    <a:pt x="13271" y="4246"/>
                    <a:pt x="13187" y="4246"/>
                  </a:cubicBezTo>
                  <a:cubicBezTo>
                    <a:pt x="13176" y="4246"/>
                    <a:pt x="13165" y="4245"/>
                    <a:pt x="13153" y="4243"/>
                  </a:cubicBezTo>
                  <a:cubicBezTo>
                    <a:pt x="13147" y="4243"/>
                    <a:pt x="13143" y="4242"/>
                    <a:pt x="13138" y="4242"/>
                  </a:cubicBezTo>
                  <a:cubicBezTo>
                    <a:pt x="13121" y="4242"/>
                    <a:pt x="13116" y="4252"/>
                    <a:pt x="13090" y="4303"/>
                  </a:cubicBezTo>
                  <a:cubicBezTo>
                    <a:pt x="13066" y="4355"/>
                    <a:pt x="13034" y="4401"/>
                    <a:pt x="12996" y="4443"/>
                  </a:cubicBezTo>
                  <a:cubicBezTo>
                    <a:pt x="12964" y="4474"/>
                    <a:pt x="12933" y="4506"/>
                    <a:pt x="12908" y="4541"/>
                  </a:cubicBezTo>
                  <a:cubicBezTo>
                    <a:pt x="12828" y="4628"/>
                    <a:pt x="12765" y="4698"/>
                    <a:pt x="12691" y="4698"/>
                  </a:cubicBezTo>
                  <a:lnTo>
                    <a:pt x="12681" y="4698"/>
                  </a:lnTo>
                  <a:cubicBezTo>
                    <a:pt x="12656" y="4705"/>
                    <a:pt x="12632" y="4716"/>
                    <a:pt x="12607" y="4723"/>
                  </a:cubicBezTo>
                  <a:lnTo>
                    <a:pt x="12600" y="4723"/>
                  </a:lnTo>
                  <a:lnTo>
                    <a:pt x="12572" y="4737"/>
                  </a:lnTo>
                  <a:lnTo>
                    <a:pt x="12569" y="4737"/>
                  </a:lnTo>
                  <a:lnTo>
                    <a:pt x="12527" y="4754"/>
                  </a:lnTo>
                  <a:lnTo>
                    <a:pt x="12495" y="4768"/>
                  </a:lnTo>
                  <a:cubicBezTo>
                    <a:pt x="12516" y="4824"/>
                    <a:pt x="12534" y="4880"/>
                    <a:pt x="12548" y="4940"/>
                  </a:cubicBezTo>
                  <a:cubicBezTo>
                    <a:pt x="12572" y="5042"/>
                    <a:pt x="12579" y="5161"/>
                    <a:pt x="12534" y="5245"/>
                  </a:cubicBezTo>
                  <a:cubicBezTo>
                    <a:pt x="12527" y="5252"/>
                    <a:pt x="12523" y="5259"/>
                    <a:pt x="12520" y="5266"/>
                  </a:cubicBezTo>
                  <a:cubicBezTo>
                    <a:pt x="12473" y="5330"/>
                    <a:pt x="12407" y="5346"/>
                    <a:pt x="12338" y="5346"/>
                  </a:cubicBezTo>
                  <a:cubicBezTo>
                    <a:pt x="12297" y="5346"/>
                    <a:pt x="12255" y="5341"/>
                    <a:pt x="12215" y="5336"/>
                  </a:cubicBezTo>
                  <a:cubicBezTo>
                    <a:pt x="12174" y="5329"/>
                    <a:pt x="12133" y="5326"/>
                    <a:pt x="12091" y="5326"/>
                  </a:cubicBezTo>
                  <a:cubicBezTo>
                    <a:pt x="12045" y="5326"/>
                    <a:pt x="11999" y="5330"/>
                    <a:pt x="11953" y="5339"/>
                  </a:cubicBezTo>
                  <a:cubicBezTo>
                    <a:pt x="11935" y="5346"/>
                    <a:pt x="11921" y="5350"/>
                    <a:pt x="11904" y="5350"/>
                  </a:cubicBezTo>
                  <a:lnTo>
                    <a:pt x="11893" y="5350"/>
                  </a:lnTo>
                  <a:cubicBezTo>
                    <a:pt x="11879" y="5353"/>
                    <a:pt x="11865" y="5353"/>
                    <a:pt x="11851" y="5357"/>
                  </a:cubicBezTo>
                  <a:lnTo>
                    <a:pt x="11813" y="5357"/>
                  </a:lnTo>
                  <a:cubicBezTo>
                    <a:pt x="11778" y="5357"/>
                    <a:pt x="11743" y="5353"/>
                    <a:pt x="11711" y="5343"/>
                  </a:cubicBezTo>
                  <a:lnTo>
                    <a:pt x="11697" y="5343"/>
                  </a:lnTo>
                  <a:lnTo>
                    <a:pt x="11662" y="5332"/>
                  </a:lnTo>
                  <a:lnTo>
                    <a:pt x="11652" y="5329"/>
                  </a:lnTo>
                  <a:lnTo>
                    <a:pt x="11613" y="5318"/>
                  </a:lnTo>
                  <a:cubicBezTo>
                    <a:pt x="11568" y="5300"/>
                    <a:pt x="11523" y="5291"/>
                    <a:pt x="11478" y="5291"/>
                  </a:cubicBezTo>
                  <a:cubicBezTo>
                    <a:pt x="11463" y="5291"/>
                    <a:pt x="11449" y="5292"/>
                    <a:pt x="11435" y="5294"/>
                  </a:cubicBezTo>
                  <a:cubicBezTo>
                    <a:pt x="11406" y="5301"/>
                    <a:pt x="11379" y="5304"/>
                    <a:pt x="11354" y="5304"/>
                  </a:cubicBezTo>
                  <a:cubicBezTo>
                    <a:pt x="11266" y="5304"/>
                    <a:pt x="11195" y="5267"/>
                    <a:pt x="11140" y="5238"/>
                  </a:cubicBezTo>
                  <a:cubicBezTo>
                    <a:pt x="11119" y="5224"/>
                    <a:pt x="11091" y="5213"/>
                    <a:pt x="11067" y="5210"/>
                  </a:cubicBezTo>
                  <a:cubicBezTo>
                    <a:pt x="11056" y="5210"/>
                    <a:pt x="11049" y="5213"/>
                    <a:pt x="11039" y="5213"/>
                  </a:cubicBezTo>
                  <a:lnTo>
                    <a:pt x="11014" y="5213"/>
                  </a:lnTo>
                  <a:cubicBezTo>
                    <a:pt x="11007" y="5210"/>
                    <a:pt x="11004" y="5210"/>
                    <a:pt x="10997" y="5206"/>
                  </a:cubicBezTo>
                  <a:lnTo>
                    <a:pt x="10983" y="5203"/>
                  </a:lnTo>
                  <a:lnTo>
                    <a:pt x="10972" y="5196"/>
                  </a:lnTo>
                  <a:lnTo>
                    <a:pt x="10958" y="5189"/>
                  </a:lnTo>
                  <a:lnTo>
                    <a:pt x="10944" y="5178"/>
                  </a:lnTo>
                  <a:cubicBezTo>
                    <a:pt x="10937" y="5175"/>
                    <a:pt x="10930" y="5168"/>
                    <a:pt x="10923" y="5161"/>
                  </a:cubicBezTo>
                  <a:cubicBezTo>
                    <a:pt x="10916" y="5154"/>
                    <a:pt x="10909" y="5147"/>
                    <a:pt x="10906" y="5140"/>
                  </a:cubicBezTo>
                  <a:lnTo>
                    <a:pt x="10895" y="5154"/>
                  </a:lnTo>
                  <a:lnTo>
                    <a:pt x="10857" y="5066"/>
                  </a:lnTo>
                  <a:cubicBezTo>
                    <a:pt x="10850" y="5052"/>
                    <a:pt x="10843" y="5042"/>
                    <a:pt x="10839" y="5028"/>
                  </a:cubicBezTo>
                  <a:lnTo>
                    <a:pt x="10832" y="5014"/>
                  </a:lnTo>
                  <a:cubicBezTo>
                    <a:pt x="10818" y="4982"/>
                    <a:pt x="10811" y="4947"/>
                    <a:pt x="10808" y="4908"/>
                  </a:cubicBezTo>
                  <a:lnTo>
                    <a:pt x="10808" y="4901"/>
                  </a:lnTo>
                  <a:cubicBezTo>
                    <a:pt x="10808" y="4891"/>
                    <a:pt x="10808" y="4880"/>
                    <a:pt x="10804" y="4870"/>
                  </a:cubicBezTo>
                  <a:cubicBezTo>
                    <a:pt x="10804" y="4856"/>
                    <a:pt x="10804" y="4842"/>
                    <a:pt x="10804" y="4828"/>
                  </a:cubicBezTo>
                  <a:lnTo>
                    <a:pt x="10804" y="4814"/>
                  </a:lnTo>
                  <a:cubicBezTo>
                    <a:pt x="10804" y="4800"/>
                    <a:pt x="10808" y="4782"/>
                    <a:pt x="10811" y="4768"/>
                  </a:cubicBezTo>
                  <a:cubicBezTo>
                    <a:pt x="10829" y="4691"/>
                    <a:pt x="10811" y="4614"/>
                    <a:pt x="10773" y="4548"/>
                  </a:cubicBezTo>
                  <a:cubicBezTo>
                    <a:pt x="10769" y="4544"/>
                    <a:pt x="10766" y="4541"/>
                    <a:pt x="10759" y="4534"/>
                  </a:cubicBezTo>
                  <a:lnTo>
                    <a:pt x="10759" y="4541"/>
                  </a:lnTo>
                  <a:cubicBezTo>
                    <a:pt x="10724" y="4590"/>
                    <a:pt x="10675" y="4628"/>
                    <a:pt x="10619" y="4653"/>
                  </a:cubicBezTo>
                  <a:cubicBezTo>
                    <a:pt x="10601" y="4660"/>
                    <a:pt x="10587" y="4670"/>
                    <a:pt x="10573" y="4684"/>
                  </a:cubicBezTo>
                  <a:cubicBezTo>
                    <a:pt x="10566" y="4691"/>
                    <a:pt x="10552" y="4705"/>
                    <a:pt x="10552" y="4761"/>
                  </a:cubicBezTo>
                  <a:cubicBezTo>
                    <a:pt x="10556" y="4824"/>
                    <a:pt x="10563" y="4884"/>
                    <a:pt x="10573" y="4944"/>
                  </a:cubicBezTo>
                  <a:cubicBezTo>
                    <a:pt x="10598" y="5091"/>
                    <a:pt x="10626" y="5259"/>
                    <a:pt x="10510" y="5371"/>
                  </a:cubicBezTo>
                  <a:cubicBezTo>
                    <a:pt x="10507" y="5378"/>
                    <a:pt x="10500" y="5381"/>
                    <a:pt x="10493" y="5388"/>
                  </a:cubicBezTo>
                  <a:lnTo>
                    <a:pt x="10486" y="5392"/>
                  </a:lnTo>
                  <a:lnTo>
                    <a:pt x="10468" y="5402"/>
                  </a:lnTo>
                  <a:lnTo>
                    <a:pt x="10461" y="5409"/>
                  </a:lnTo>
                  <a:lnTo>
                    <a:pt x="10440" y="5420"/>
                  </a:lnTo>
                  <a:lnTo>
                    <a:pt x="10433" y="5423"/>
                  </a:lnTo>
                  <a:lnTo>
                    <a:pt x="10402" y="5437"/>
                  </a:lnTo>
                  <a:lnTo>
                    <a:pt x="10398" y="5437"/>
                  </a:lnTo>
                  <a:lnTo>
                    <a:pt x="10367" y="5448"/>
                  </a:lnTo>
                  <a:lnTo>
                    <a:pt x="10353" y="5451"/>
                  </a:lnTo>
                  <a:lnTo>
                    <a:pt x="10328" y="5462"/>
                  </a:lnTo>
                  <a:lnTo>
                    <a:pt x="10314" y="5465"/>
                  </a:lnTo>
                  <a:lnTo>
                    <a:pt x="10286" y="5472"/>
                  </a:lnTo>
                  <a:lnTo>
                    <a:pt x="10276" y="5476"/>
                  </a:lnTo>
                  <a:lnTo>
                    <a:pt x="10230" y="5486"/>
                  </a:lnTo>
                  <a:lnTo>
                    <a:pt x="10223" y="5486"/>
                  </a:lnTo>
                  <a:lnTo>
                    <a:pt x="10185" y="5493"/>
                  </a:lnTo>
                  <a:lnTo>
                    <a:pt x="10171" y="5497"/>
                  </a:lnTo>
                  <a:lnTo>
                    <a:pt x="10139" y="5500"/>
                  </a:lnTo>
                  <a:lnTo>
                    <a:pt x="10125" y="5504"/>
                  </a:lnTo>
                  <a:lnTo>
                    <a:pt x="10090" y="5511"/>
                  </a:lnTo>
                  <a:lnTo>
                    <a:pt x="10076" y="5511"/>
                  </a:lnTo>
                  <a:lnTo>
                    <a:pt x="10031" y="5514"/>
                  </a:lnTo>
                  <a:lnTo>
                    <a:pt x="10020" y="5514"/>
                  </a:lnTo>
                  <a:lnTo>
                    <a:pt x="9982" y="5518"/>
                  </a:lnTo>
                  <a:lnTo>
                    <a:pt x="9705" y="5518"/>
                  </a:lnTo>
                  <a:lnTo>
                    <a:pt x="9663" y="5511"/>
                  </a:lnTo>
                  <a:lnTo>
                    <a:pt x="9653" y="5511"/>
                  </a:lnTo>
                  <a:lnTo>
                    <a:pt x="9611" y="5507"/>
                  </a:lnTo>
                  <a:lnTo>
                    <a:pt x="9607" y="5507"/>
                  </a:lnTo>
                  <a:lnTo>
                    <a:pt x="9569" y="5497"/>
                  </a:lnTo>
                  <a:lnTo>
                    <a:pt x="9562" y="5497"/>
                  </a:lnTo>
                  <a:cubicBezTo>
                    <a:pt x="9548" y="5493"/>
                    <a:pt x="9537" y="5490"/>
                    <a:pt x="9527" y="5486"/>
                  </a:cubicBezTo>
                  <a:cubicBezTo>
                    <a:pt x="9516" y="5483"/>
                    <a:pt x="9509" y="5479"/>
                    <a:pt x="9499" y="5472"/>
                  </a:cubicBezTo>
                  <a:lnTo>
                    <a:pt x="9495" y="5469"/>
                  </a:lnTo>
                  <a:cubicBezTo>
                    <a:pt x="9485" y="5465"/>
                    <a:pt x="9478" y="5462"/>
                    <a:pt x="9471" y="5455"/>
                  </a:cubicBezTo>
                  <a:cubicBezTo>
                    <a:pt x="9422" y="5413"/>
                    <a:pt x="9268" y="5371"/>
                    <a:pt x="9138" y="5339"/>
                  </a:cubicBezTo>
                  <a:cubicBezTo>
                    <a:pt x="8886" y="5269"/>
                    <a:pt x="8756" y="5231"/>
                    <a:pt x="8735" y="5136"/>
                  </a:cubicBezTo>
                  <a:cubicBezTo>
                    <a:pt x="8718" y="5042"/>
                    <a:pt x="8564" y="4887"/>
                    <a:pt x="8497" y="4887"/>
                  </a:cubicBezTo>
                  <a:cubicBezTo>
                    <a:pt x="8441" y="4894"/>
                    <a:pt x="8385" y="4908"/>
                    <a:pt x="8329" y="4926"/>
                  </a:cubicBezTo>
                  <a:cubicBezTo>
                    <a:pt x="8212" y="4961"/>
                    <a:pt x="8117" y="4987"/>
                    <a:pt x="8045" y="4987"/>
                  </a:cubicBezTo>
                  <a:cubicBezTo>
                    <a:pt x="8003" y="4987"/>
                    <a:pt x="7968" y="4978"/>
                    <a:pt x="7941" y="4958"/>
                  </a:cubicBezTo>
                  <a:lnTo>
                    <a:pt x="7913" y="4940"/>
                  </a:lnTo>
                  <a:cubicBezTo>
                    <a:pt x="7825" y="4870"/>
                    <a:pt x="7636" y="4730"/>
                    <a:pt x="7517" y="4712"/>
                  </a:cubicBezTo>
                  <a:cubicBezTo>
                    <a:pt x="7475" y="4705"/>
                    <a:pt x="7433" y="4695"/>
                    <a:pt x="7391" y="4681"/>
                  </a:cubicBezTo>
                  <a:cubicBezTo>
                    <a:pt x="7251" y="4639"/>
                    <a:pt x="7083" y="4551"/>
                    <a:pt x="7055" y="4453"/>
                  </a:cubicBezTo>
                  <a:cubicBezTo>
                    <a:pt x="7034" y="4439"/>
                    <a:pt x="7013" y="4425"/>
                    <a:pt x="6988" y="4418"/>
                  </a:cubicBezTo>
                  <a:cubicBezTo>
                    <a:pt x="6960" y="4408"/>
                    <a:pt x="6932" y="4397"/>
                    <a:pt x="6904" y="4387"/>
                  </a:cubicBezTo>
                  <a:lnTo>
                    <a:pt x="6880" y="4380"/>
                  </a:lnTo>
                  <a:cubicBezTo>
                    <a:pt x="6771" y="4345"/>
                    <a:pt x="6673" y="4313"/>
                    <a:pt x="6631" y="4254"/>
                  </a:cubicBezTo>
                  <a:cubicBezTo>
                    <a:pt x="6600" y="4226"/>
                    <a:pt x="6561" y="4205"/>
                    <a:pt x="6523" y="4187"/>
                  </a:cubicBezTo>
                  <a:cubicBezTo>
                    <a:pt x="6439" y="4152"/>
                    <a:pt x="6337" y="4103"/>
                    <a:pt x="6337" y="3998"/>
                  </a:cubicBezTo>
                  <a:cubicBezTo>
                    <a:pt x="6344" y="3928"/>
                    <a:pt x="6358" y="3862"/>
                    <a:pt x="6383" y="3795"/>
                  </a:cubicBezTo>
                  <a:cubicBezTo>
                    <a:pt x="6404" y="3729"/>
                    <a:pt x="6421" y="3659"/>
                    <a:pt x="6425" y="3589"/>
                  </a:cubicBezTo>
                  <a:cubicBezTo>
                    <a:pt x="6425" y="3578"/>
                    <a:pt x="6425" y="3564"/>
                    <a:pt x="6428" y="3554"/>
                  </a:cubicBezTo>
                  <a:lnTo>
                    <a:pt x="6428" y="3547"/>
                  </a:lnTo>
                  <a:cubicBezTo>
                    <a:pt x="6449" y="3466"/>
                    <a:pt x="6526" y="3396"/>
                    <a:pt x="6593" y="3333"/>
                  </a:cubicBezTo>
                  <a:cubicBezTo>
                    <a:pt x="6628" y="3309"/>
                    <a:pt x="6656" y="3277"/>
                    <a:pt x="6680" y="3246"/>
                  </a:cubicBezTo>
                  <a:cubicBezTo>
                    <a:pt x="6670" y="3218"/>
                    <a:pt x="6596" y="3148"/>
                    <a:pt x="6512" y="3088"/>
                  </a:cubicBezTo>
                  <a:lnTo>
                    <a:pt x="6477" y="3064"/>
                  </a:lnTo>
                  <a:lnTo>
                    <a:pt x="6460" y="3057"/>
                  </a:lnTo>
                  <a:lnTo>
                    <a:pt x="6453" y="3043"/>
                  </a:lnTo>
                  <a:cubicBezTo>
                    <a:pt x="6411" y="2966"/>
                    <a:pt x="6355" y="2896"/>
                    <a:pt x="6288" y="2840"/>
                  </a:cubicBezTo>
                  <a:cubicBezTo>
                    <a:pt x="6260" y="2811"/>
                    <a:pt x="6225" y="2797"/>
                    <a:pt x="6187" y="2794"/>
                  </a:cubicBezTo>
                  <a:cubicBezTo>
                    <a:pt x="6064" y="2794"/>
                    <a:pt x="5970" y="2692"/>
                    <a:pt x="5889" y="2605"/>
                  </a:cubicBezTo>
                  <a:cubicBezTo>
                    <a:pt x="5830" y="2542"/>
                    <a:pt x="5770" y="2479"/>
                    <a:pt x="5725" y="2472"/>
                  </a:cubicBezTo>
                  <a:cubicBezTo>
                    <a:pt x="5588" y="2454"/>
                    <a:pt x="5560" y="2304"/>
                    <a:pt x="5536" y="2181"/>
                  </a:cubicBezTo>
                  <a:cubicBezTo>
                    <a:pt x="5529" y="2122"/>
                    <a:pt x="5515" y="2066"/>
                    <a:pt x="5487" y="2017"/>
                  </a:cubicBezTo>
                  <a:cubicBezTo>
                    <a:pt x="5413" y="1922"/>
                    <a:pt x="5417" y="1754"/>
                    <a:pt x="5497" y="1674"/>
                  </a:cubicBezTo>
                  <a:cubicBezTo>
                    <a:pt x="5519" y="1652"/>
                    <a:pt x="5551" y="1636"/>
                    <a:pt x="5590" y="1636"/>
                  </a:cubicBezTo>
                  <a:cubicBezTo>
                    <a:pt x="5627" y="1636"/>
                    <a:pt x="5668" y="1650"/>
                    <a:pt x="5711" y="1688"/>
                  </a:cubicBezTo>
                  <a:cubicBezTo>
                    <a:pt x="5725" y="1702"/>
                    <a:pt x="5742" y="1709"/>
                    <a:pt x="5760" y="1716"/>
                  </a:cubicBezTo>
                  <a:cubicBezTo>
                    <a:pt x="5777" y="1721"/>
                    <a:pt x="5795" y="1724"/>
                    <a:pt x="5813" y="1724"/>
                  </a:cubicBezTo>
                  <a:cubicBezTo>
                    <a:pt x="5849" y="1724"/>
                    <a:pt x="5887" y="1712"/>
                    <a:pt x="5917" y="1691"/>
                  </a:cubicBezTo>
                  <a:cubicBezTo>
                    <a:pt x="5945" y="1670"/>
                    <a:pt x="5956" y="1639"/>
                    <a:pt x="5949" y="1607"/>
                  </a:cubicBezTo>
                  <a:cubicBezTo>
                    <a:pt x="5945" y="1597"/>
                    <a:pt x="5942" y="1586"/>
                    <a:pt x="5935" y="1576"/>
                  </a:cubicBezTo>
                  <a:cubicBezTo>
                    <a:pt x="5889" y="1499"/>
                    <a:pt x="5837" y="1425"/>
                    <a:pt x="5781" y="1355"/>
                  </a:cubicBezTo>
                  <a:cubicBezTo>
                    <a:pt x="5693" y="1243"/>
                    <a:pt x="5623" y="1156"/>
                    <a:pt x="5623" y="1072"/>
                  </a:cubicBezTo>
                  <a:cubicBezTo>
                    <a:pt x="5623" y="1061"/>
                    <a:pt x="5623" y="1051"/>
                    <a:pt x="5623" y="1040"/>
                  </a:cubicBezTo>
                  <a:cubicBezTo>
                    <a:pt x="5627" y="1012"/>
                    <a:pt x="5634" y="977"/>
                    <a:pt x="5644" y="935"/>
                  </a:cubicBezTo>
                  <a:cubicBezTo>
                    <a:pt x="5648" y="914"/>
                    <a:pt x="5651" y="890"/>
                    <a:pt x="5658" y="865"/>
                  </a:cubicBezTo>
                  <a:cubicBezTo>
                    <a:pt x="5669" y="809"/>
                    <a:pt x="5672" y="753"/>
                    <a:pt x="5672" y="697"/>
                  </a:cubicBezTo>
                  <a:lnTo>
                    <a:pt x="5672" y="690"/>
                  </a:lnTo>
                  <a:cubicBezTo>
                    <a:pt x="5672" y="683"/>
                    <a:pt x="5669" y="676"/>
                    <a:pt x="5669" y="665"/>
                  </a:cubicBezTo>
                  <a:cubicBezTo>
                    <a:pt x="5665" y="658"/>
                    <a:pt x="5665" y="651"/>
                    <a:pt x="5662" y="644"/>
                  </a:cubicBezTo>
                  <a:lnTo>
                    <a:pt x="5658" y="641"/>
                  </a:lnTo>
                  <a:cubicBezTo>
                    <a:pt x="5655" y="637"/>
                    <a:pt x="5655" y="634"/>
                    <a:pt x="5651" y="627"/>
                  </a:cubicBezTo>
                  <a:lnTo>
                    <a:pt x="5648" y="623"/>
                  </a:lnTo>
                  <a:cubicBezTo>
                    <a:pt x="5644" y="620"/>
                    <a:pt x="5637" y="616"/>
                    <a:pt x="5634" y="613"/>
                  </a:cubicBezTo>
                  <a:cubicBezTo>
                    <a:pt x="5567" y="578"/>
                    <a:pt x="5508" y="532"/>
                    <a:pt x="5455" y="483"/>
                  </a:cubicBezTo>
                  <a:cubicBezTo>
                    <a:pt x="5403" y="434"/>
                    <a:pt x="5361" y="382"/>
                    <a:pt x="5329" y="322"/>
                  </a:cubicBezTo>
                  <a:cubicBezTo>
                    <a:pt x="5308" y="287"/>
                    <a:pt x="5291" y="249"/>
                    <a:pt x="5280" y="210"/>
                  </a:cubicBezTo>
                  <a:cubicBezTo>
                    <a:pt x="5277" y="200"/>
                    <a:pt x="5273" y="186"/>
                    <a:pt x="5266" y="179"/>
                  </a:cubicBezTo>
                  <a:cubicBezTo>
                    <a:pt x="5266" y="172"/>
                    <a:pt x="5259" y="165"/>
                    <a:pt x="5259" y="158"/>
                  </a:cubicBezTo>
                  <a:cubicBezTo>
                    <a:pt x="5256" y="154"/>
                    <a:pt x="5252" y="151"/>
                    <a:pt x="5249" y="144"/>
                  </a:cubicBezTo>
                  <a:cubicBezTo>
                    <a:pt x="5249" y="140"/>
                    <a:pt x="5238" y="130"/>
                    <a:pt x="5231" y="119"/>
                  </a:cubicBezTo>
                  <a:lnTo>
                    <a:pt x="5228" y="112"/>
                  </a:lnTo>
                  <a:cubicBezTo>
                    <a:pt x="5221" y="102"/>
                    <a:pt x="5210" y="91"/>
                    <a:pt x="5203" y="81"/>
                  </a:cubicBezTo>
                  <a:cubicBezTo>
                    <a:pt x="5175" y="53"/>
                    <a:pt x="5144" y="25"/>
                    <a:pt x="51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9" name="Google Shape;5256;p64">
              <a:extLst>
                <a:ext uri="{FF2B5EF4-FFF2-40B4-BE49-F238E27FC236}">
                  <a16:creationId xmlns:a16="http://schemas.microsoft.com/office/drawing/2014/main" id="{A632D05D-7CEE-1640-A20A-6577D41BF7AB}"/>
                </a:ext>
              </a:extLst>
            </p:cNvPr>
            <p:cNvSpPr/>
            <p:nvPr/>
          </p:nvSpPr>
          <p:spPr>
            <a:xfrm>
              <a:off x="2702915" y="186921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0"/>
                  </a:moveTo>
                  <a:lnTo>
                    <a:pt x="7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0" name="Google Shape;5257;p64">
              <a:extLst>
                <a:ext uri="{FF2B5EF4-FFF2-40B4-BE49-F238E27FC236}">
                  <a16:creationId xmlns:a16="http://schemas.microsoft.com/office/drawing/2014/main" id="{3082C195-C74A-B1C2-8D83-A2D06494911C}"/>
                </a:ext>
              </a:extLst>
            </p:cNvPr>
            <p:cNvSpPr/>
            <p:nvPr/>
          </p:nvSpPr>
          <p:spPr>
            <a:xfrm>
              <a:off x="2730382" y="1871783"/>
              <a:ext cx="204" cy="1290"/>
            </a:xfrm>
            <a:custGeom>
              <a:avLst/>
              <a:gdLst/>
              <a:ahLst/>
              <a:cxnLst/>
              <a:rect l="l" t="t" r="r" b="b"/>
              <a:pathLst>
                <a:path w="15" h="95" extrusionOk="0">
                  <a:moveTo>
                    <a:pt x="15" y="9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1" name="Google Shape;5258;p64">
              <a:extLst>
                <a:ext uri="{FF2B5EF4-FFF2-40B4-BE49-F238E27FC236}">
                  <a16:creationId xmlns:a16="http://schemas.microsoft.com/office/drawing/2014/main" id="{36602661-31CD-81DE-8AD9-41D10CC7683C}"/>
                </a:ext>
              </a:extLst>
            </p:cNvPr>
            <p:cNvSpPr/>
            <p:nvPr/>
          </p:nvSpPr>
          <p:spPr>
            <a:xfrm>
              <a:off x="2703105" y="187001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2" name="Google Shape;5259;p64">
              <a:extLst>
                <a:ext uri="{FF2B5EF4-FFF2-40B4-BE49-F238E27FC236}">
                  <a16:creationId xmlns:a16="http://schemas.microsoft.com/office/drawing/2014/main" id="{F268158D-B8DF-26D5-6904-17761DA8A9F7}"/>
                </a:ext>
              </a:extLst>
            </p:cNvPr>
            <p:cNvSpPr/>
            <p:nvPr/>
          </p:nvSpPr>
          <p:spPr>
            <a:xfrm>
              <a:off x="2702480" y="186773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lnTo>
                    <a:pt x="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3" name="Google Shape;5260;p64">
              <a:extLst>
                <a:ext uri="{FF2B5EF4-FFF2-40B4-BE49-F238E27FC236}">
                  <a16:creationId xmlns:a16="http://schemas.microsoft.com/office/drawing/2014/main" id="{677A79F4-ED5C-50E8-62CC-59150EACE0C3}"/>
                </a:ext>
              </a:extLst>
            </p:cNvPr>
            <p:cNvSpPr/>
            <p:nvPr/>
          </p:nvSpPr>
          <p:spPr>
            <a:xfrm>
              <a:off x="2701774" y="1865795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0" y="0"/>
                  </a:moveTo>
                  <a:cubicBezTo>
                    <a:pt x="4" y="11"/>
                    <a:pt x="11" y="21"/>
                    <a:pt x="14" y="35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4" name="Google Shape;5261;p64">
              <a:extLst>
                <a:ext uri="{FF2B5EF4-FFF2-40B4-BE49-F238E27FC236}">
                  <a16:creationId xmlns:a16="http://schemas.microsoft.com/office/drawing/2014/main" id="{B34C68A6-32C5-B207-F35F-79A5B328EE46}"/>
                </a:ext>
              </a:extLst>
            </p:cNvPr>
            <p:cNvSpPr/>
            <p:nvPr/>
          </p:nvSpPr>
          <p:spPr>
            <a:xfrm>
              <a:off x="2730667" y="1873439"/>
              <a:ext cx="163" cy="964"/>
            </a:xfrm>
            <a:custGeom>
              <a:avLst/>
              <a:gdLst/>
              <a:ahLst/>
              <a:cxnLst/>
              <a:rect l="l" t="t" r="r" b="b"/>
              <a:pathLst>
                <a:path w="12" h="71" extrusionOk="0">
                  <a:moveTo>
                    <a:pt x="11" y="7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5" name="Google Shape;5262;p64">
              <a:extLst>
                <a:ext uri="{FF2B5EF4-FFF2-40B4-BE49-F238E27FC236}">
                  <a16:creationId xmlns:a16="http://schemas.microsoft.com/office/drawing/2014/main" id="{635A5161-22B9-5A9D-CA85-3354DC519775}"/>
                </a:ext>
              </a:extLst>
            </p:cNvPr>
            <p:cNvSpPr/>
            <p:nvPr/>
          </p:nvSpPr>
          <p:spPr>
            <a:xfrm>
              <a:off x="2730911" y="1874919"/>
              <a:ext cx="149" cy="1005"/>
            </a:xfrm>
            <a:custGeom>
              <a:avLst/>
              <a:gdLst/>
              <a:ahLst/>
              <a:cxnLst/>
              <a:rect l="l" t="t" r="r" b="b"/>
              <a:pathLst>
                <a:path w="11" h="74" extrusionOk="0">
                  <a:moveTo>
                    <a:pt x="11" y="7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6" name="Google Shape;5263;p64">
              <a:extLst>
                <a:ext uri="{FF2B5EF4-FFF2-40B4-BE49-F238E27FC236}">
                  <a16:creationId xmlns:a16="http://schemas.microsoft.com/office/drawing/2014/main" id="{4221FDE6-66F7-52DF-148E-7DC0BC983D6B}"/>
                </a:ext>
              </a:extLst>
            </p:cNvPr>
            <p:cNvSpPr/>
            <p:nvPr/>
          </p:nvSpPr>
          <p:spPr>
            <a:xfrm>
              <a:off x="2702290" y="1867071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7" name="Google Shape;5264;p64">
              <a:extLst>
                <a:ext uri="{FF2B5EF4-FFF2-40B4-BE49-F238E27FC236}">
                  <a16:creationId xmlns:a16="http://schemas.microsoft.com/office/drawing/2014/main" id="{0FA8C1BD-283C-922A-9973-C8B50F53DC99}"/>
                </a:ext>
              </a:extLst>
            </p:cNvPr>
            <p:cNvSpPr/>
            <p:nvPr/>
          </p:nvSpPr>
          <p:spPr>
            <a:xfrm>
              <a:off x="2703675" y="187263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lnTo>
                    <a:pt x="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8" name="Google Shape;5265;p64">
              <a:extLst>
                <a:ext uri="{FF2B5EF4-FFF2-40B4-BE49-F238E27FC236}">
                  <a16:creationId xmlns:a16="http://schemas.microsoft.com/office/drawing/2014/main" id="{C4B5CB5C-83F3-7649-2409-97E437E706EE}"/>
                </a:ext>
              </a:extLst>
            </p:cNvPr>
            <p:cNvSpPr/>
            <p:nvPr/>
          </p:nvSpPr>
          <p:spPr>
            <a:xfrm>
              <a:off x="2703485" y="1871728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9" name="Google Shape;5266;p64">
              <a:extLst>
                <a:ext uri="{FF2B5EF4-FFF2-40B4-BE49-F238E27FC236}">
                  <a16:creationId xmlns:a16="http://schemas.microsoft.com/office/drawing/2014/main" id="{D713F120-06E5-2907-370B-4E4B6BB7255A}"/>
                </a:ext>
              </a:extLst>
            </p:cNvPr>
            <p:cNvSpPr/>
            <p:nvPr/>
          </p:nvSpPr>
          <p:spPr>
            <a:xfrm>
              <a:off x="2702670" y="1868497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0" name="Google Shape;5267;p64">
              <a:extLst>
                <a:ext uri="{FF2B5EF4-FFF2-40B4-BE49-F238E27FC236}">
                  <a16:creationId xmlns:a16="http://schemas.microsoft.com/office/drawing/2014/main" id="{3D3C3F6A-774F-B57E-004D-49A1ED9E7A37}"/>
                </a:ext>
              </a:extLst>
            </p:cNvPr>
            <p:cNvSpPr/>
            <p:nvPr/>
          </p:nvSpPr>
          <p:spPr>
            <a:xfrm>
              <a:off x="2731142" y="187634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1" name="Google Shape;5268;p64">
              <a:extLst>
                <a:ext uri="{FF2B5EF4-FFF2-40B4-BE49-F238E27FC236}">
                  <a16:creationId xmlns:a16="http://schemas.microsoft.com/office/drawing/2014/main" id="{E02F1487-8C15-1340-0D58-5DC0E0FEB958}"/>
                </a:ext>
              </a:extLst>
            </p:cNvPr>
            <p:cNvSpPr/>
            <p:nvPr/>
          </p:nvSpPr>
          <p:spPr>
            <a:xfrm>
              <a:off x="2699819" y="1855802"/>
              <a:ext cx="1969" cy="10007"/>
            </a:xfrm>
            <a:custGeom>
              <a:avLst/>
              <a:gdLst/>
              <a:ahLst/>
              <a:cxnLst/>
              <a:rect l="l" t="t" r="r" b="b"/>
              <a:pathLst>
                <a:path w="145" h="737" extrusionOk="0">
                  <a:moveTo>
                    <a:pt x="144" y="736"/>
                  </a:moveTo>
                  <a:cubicBezTo>
                    <a:pt x="57" y="501"/>
                    <a:pt x="8" y="253"/>
                    <a:pt x="1" y="1"/>
                  </a:cubicBezTo>
                  <a:cubicBezTo>
                    <a:pt x="8" y="253"/>
                    <a:pt x="57" y="501"/>
                    <a:pt x="144" y="7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2" name="Google Shape;5269;p64">
              <a:extLst>
                <a:ext uri="{FF2B5EF4-FFF2-40B4-BE49-F238E27FC236}">
                  <a16:creationId xmlns:a16="http://schemas.microsoft.com/office/drawing/2014/main" id="{D26A2264-E40E-350B-818B-43AEAB399C54}"/>
                </a:ext>
              </a:extLst>
            </p:cNvPr>
            <p:cNvSpPr/>
            <p:nvPr/>
          </p:nvSpPr>
          <p:spPr>
            <a:xfrm>
              <a:off x="2704191" y="1876345"/>
              <a:ext cx="68" cy="530"/>
            </a:xfrm>
            <a:custGeom>
              <a:avLst/>
              <a:gdLst/>
              <a:ahLst/>
              <a:cxnLst/>
              <a:rect l="l" t="t" r="r" b="b"/>
              <a:pathLst>
                <a:path w="5" h="39" extrusionOk="0">
                  <a:moveTo>
                    <a:pt x="1" y="0"/>
                  </a:moveTo>
                  <a:cubicBezTo>
                    <a:pt x="1" y="11"/>
                    <a:pt x="1" y="25"/>
                    <a:pt x="4" y="39"/>
                  </a:cubicBezTo>
                  <a:cubicBezTo>
                    <a:pt x="4" y="25"/>
                    <a:pt x="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3" name="Google Shape;5270;p64">
              <a:extLst>
                <a:ext uri="{FF2B5EF4-FFF2-40B4-BE49-F238E27FC236}">
                  <a16:creationId xmlns:a16="http://schemas.microsoft.com/office/drawing/2014/main" id="{2DB891F0-AAC3-14F6-D83C-BD47C4FCE4E2}"/>
                </a:ext>
              </a:extLst>
            </p:cNvPr>
            <p:cNvSpPr/>
            <p:nvPr/>
          </p:nvSpPr>
          <p:spPr>
            <a:xfrm>
              <a:off x="2698543" y="1845022"/>
              <a:ext cx="299" cy="1195"/>
            </a:xfrm>
            <a:custGeom>
              <a:avLst/>
              <a:gdLst/>
              <a:ahLst/>
              <a:cxnLst/>
              <a:rect l="l" t="t" r="r" b="b"/>
              <a:pathLst>
                <a:path w="22" h="88" extrusionOk="0">
                  <a:moveTo>
                    <a:pt x="0" y="88"/>
                  </a:moveTo>
                  <a:cubicBezTo>
                    <a:pt x="0" y="56"/>
                    <a:pt x="7" y="28"/>
                    <a:pt x="21" y="0"/>
                  </a:cubicBezTo>
                  <a:cubicBezTo>
                    <a:pt x="7" y="28"/>
                    <a:pt x="0" y="56"/>
                    <a:pt x="0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4" name="Google Shape;5271;p64">
              <a:extLst>
                <a:ext uri="{FF2B5EF4-FFF2-40B4-BE49-F238E27FC236}">
                  <a16:creationId xmlns:a16="http://schemas.microsoft.com/office/drawing/2014/main" id="{1F47BA79-E339-437D-7A2E-90A5FFE01F11}"/>
                </a:ext>
              </a:extLst>
            </p:cNvPr>
            <p:cNvSpPr/>
            <p:nvPr/>
          </p:nvSpPr>
          <p:spPr>
            <a:xfrm>
              <a:off x="2703295" y="1870873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0" y="1"/>
                  </a:moveTo>
                  <a:lnTo>
                    <a:pt x="7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5" name="Google Shape;5272;p64">
              <a:extLst>
                <a:ext uri="{FF2B5EF4-FFF2-40B4-BE49-F238E27FC236}">
                  <a16:creationId xmlns:a16="http://schemas.microsoft.com/office/drawing/2014/main" id="{D64DF073-31E5-D8DC-6C54-047CCD925443}"/>
                </a:ext>
              </a:extLst>
            </p:cNvPr>
            <p:cNvSpPr/>
            <p:nvPr/>
          </p:nvSpPr>
          <p:spPr>
            <a:xfrm>
              <a:off x="2703960" y="1874485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0" y="1"/>
                  </a:moveTo>
                  <a:cubicBezTo>
                    <a:pt x="0" y="11"/>
                    <a:pt x="4" y="22"/>
                    <a:pt x="4" y="36"/>
                  </a:cubicBezTo>
                  <a:cubicBezTo>
                    <a:pt x="4" y="22"/>
                    <a:pt x="0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6" name="Google Shape;5273;p64">
              <a:extLst>
                <a:ext uri="{FF2B5EF4-FFF2-40B4-BE49-F238E27FC236}">
                  <a16:creationId xmlns:a16="http://schemas.microsoft.com/office/drawing/2014/main" id="{EB7CC451-1CD2-8FEC-B1C4-5EFC0676947B}"/>
                </a:ext>
              </a:extLst>
            </p:cNvPr>
            <p:cNvSpPr/>
            <p:nvPr/>
          </p:nvSpPr>
          <p:spPr>
            <a:xfrm>
              <a:off x="2704245" y="1877241"/>
              <a:ext cx="54" cy="543"/>
            </a:xfrm>
            <a:custGeom>
              <a:avLst/>
              <a:gdLst/>
              <a:ahLst/>
              <a:cxnLst/>
              <a:rect l="l" t="t" r="r" b="b"/>
              <a:pathLst>
                <a:path w="4" h="40" extrusionOk="0">
                  <a:moveTo>
                    <a:pt x="0" y="1"/>
                  </a:moveTo>
                  <a:cubicBezTo>
                    <a:pt x="0" y="15"/>
                    <a:pt x="0" y="29"/>
                    <a:pt x="4" y="39"/>
                  </a:cubicBezTo>
                  <a:cubicBezTo>
                    <a:pt x="4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7" name="Google Shape;5274;p64">
              <a:extLst>
                <a:ext uri="{FF2B5EF4-FFF2-40B4-BE49-F238E27FC236}">
                  <a16:creationId xmlns:a16="http://schemas.microsoft.com/office/drawing/2014/main" id="{412E6B8F-E152-AA95-9C52-CD6BF8B54B3D}"/>
                </a:ext>
              </a:extLst>
            </p:cNvPr>
            <p:cNvSpPr/>
            <p:nvPr/>
          </p:nvSpPr>
          <p:spPr>
            <a:xfrm>
              <a:off x="2704055" y="1875394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0"/>
                  </a:moveTo>
                  <a:cubicBezTo>
                    <a:pt x="0" y="12"/>
                    <a:pt x="3" y="21"/>
                    <a:pt x="5" y="29"/>
                  </a:cubicBezTo>
                  <a:lnTo>
                    <a:pt x="5" y="29"/>
                  </a:lnTo>
                  <a:cubicBezTo>
                    <a:pt x="4" y="22"/>
                    <a:pt x="3" y="11"/>
                    <a:pt x="0" y="0"/>
                  </a:cubicBezTo>
                  <a:close/>
                  <a:moveTo>
                    <a:pt x="5" y="29"/>
                  </a:moveTo>
                  <a:lnTo>
                    <a:pt x="5" y="29"/>
                  </a:lnTo>
                  <a:cubicBezTo>
                    <a:pt x="6" y="31"/>
                    <a:pt x="7" y="34"/>
                    <a:pt x="7" y="35"/>
                  </a:cubicBezTo>
                  <a:cubicBezTo>
                    <a:pt x="7" y="33"/>
                    <a:pt x="6" y="31"/>
                    <a:pt x="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8" name="Google Shape;5275;p64">
              <a:extLst>
                <a:ext uri="{FF2B5EF4-FFF2-40B4-BE49-F238E27FC236}">
                  <a16:creationId xmlns:a16="http://schemas.microsoft.com/office/drawing/2014/main" id="{C2706E27-167F-4085-A023-737F35B3E6C0}"/>
                </a:ext>
              </a:extLst>
            </p:cNvPr>
            <p:cNvSpPr/>
            <p:nvPr/>
          </p:nvSpPr>
          <p:spPr>
            <a:xfrm>
              <a:off x="2704286" y="1878151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9" name="Google Shape;5276;p64">
              <a:extLst>
                <a:ext uri="{FF2B5EF4-FFF2-40B4-BE49-F238E27FC236}">
                  <a16:creationId xmlns:a16="http://schemas.microsoft.com/office/drawing/2014/main" id="{74A20323-0744-866C-12F2-E41C995C1C29}"/>
                </a:ext>
              </a:extLst>
            </p:cNvPr>
            <p:cNvSpPr/>
            <p:nvPr/>
          </p:nvSpPr>
          <p:spPr>
            <a:xfrm>
              <a:off x="2703811" y="1873534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5"/>
                    <a:pt x="4" y="36"/>
                  </a:cubicBezTo>
                  <a:cubicBezTo>
                    <a:pt x="4" y="25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0" name="Google Shape;5277;p64">
              <a:extLst>
                <a:ext uri="{FF2B5EF4-FFF2-40B4-BE49-F238E27FC236}">
                  <a16:creationId xmlns:a16="http://schemas.microsoft.com/office/drawing/2014/main" id="{624A31A6-69E4-E331-4FBC-2EE0F82B395F}"/>
                </a:ext>
              </a:extLst>
            </p:cNvPr>
            <p:cNvSpPr/>
            <p:nvPr/>
          </p:nvSpPr>
          <p:spPr>
            <a:xfrm>
              <a:off x="2702059" y="1866460"/>
              <a:ext cx="149" cy="339"/>
            </a:xfrm>
            <a:custGeom>
              <a:avLst/>
              <a:gdLst/>
              <a:ahLst/>
              <a:cxnLst/>
              <a:rect l="l" t="t" r="r" b="b"/>
              <a:pathLst>
                <a:path w="11" h="25" extrusionOk="0">
                  <a:moveTo>
                    <a:pt x="0" y="0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1" name="Google Shape;5278;p64">
              <a:extLst>
                <a:ext uri="{FF2B5EF4-FFF2-40B4-BE49-F238E27FC236}">
                  <a16:creationId xmlns:a16="http://schemas.microsoft.com/office/drawing/2014/main" id="{2A896E18-35DC-F42B-ABB9-737D1F963E51}"/>
                </a:ext>
              </a:extLst>
            </p:cNvPr>
            <p:cNvSpPr/>
            <p:nvPr/>
          </p:nvSpPr>
          <p:spPr>
            <a:xfrm>
              <a:off x="2698923" y="1616037"/>
              <a:ext cx="231211" cy="97731"/>
            </a:xfrm>
            <a:custGeom>
              <a:avLst/>
              <a:gdLst/>
              <a:ahLst/>
              <a:cxnLst/>
              <a:rect l="l" t="t" r="r" b="b"/>
              <a:pathLst>
                <a:path w="17029" h="7198" extrusionOk="0">
                  <a:moveTo>
                    <a:pt x="5595" y="0"/>
                  </a:moveTo>
                  <a:cubicBezTo>
                    <a:pt x="5581" y="0"/>
                    <a:pt x="5570" y="11"/>
                    <a:pt x="5539" y="72"/>
                  </a:cubicBezTo>
                  <a:cubicBezTo>
                    <a:pt x="5521" y="103"/>
                    <a:pt x="5500" y="135"/>
                    <a:pt x="5476" y="166"/>
                  </a:cubicBezTo>
                  <a:cubicBezTo>
                    <a:pt x="5434" y="198"/>
                    <a:pt x="5388" y="226"/>
                    <a:pt x="5339" y="240"/>
                  </a:cubicBezTo>
                  <a:cubicBezTo>
                    <a:pt x="5280" y="264"/>
                    <a:pt x="5210" y="292"/>
                    <a:pt x="5199" y="331"/>
                  </a:cubicBezTo>
                  <a:cubicBezTo>
                    <a:pt x="5178" y="404"/>
                    <a:pt x="5112" y="446"/>
                    <a:pt x="5056" y="485"/>
                  </a:cubicBezTo>
                  <a:cubicBezTo>
                    <a:pt x="4989" y="527"/>
                    <a:pt x="4968" y="548"/>
                    <a:pt x="4975" y="572"/>
                  </a:cubicBezTo>
                  <a:cubicBezTo>
                    <a:pt x="5024" y="768"/>
                    <a:pt x="5101" y="950"/>
                    <a:pt x="5147" y="989"/>
                  </a:cubicBezTo>
                  <a:cubicBezTo>
                    <a:pt x="5269" y="1087"/>
                    <a:pt x="5199" y="1325"/>
                    <a:pt x="5143" y="1402"/>
                  </a:cubicBezTo>
                  <a:cubicBezTo>
                    <a:pt x="5112" y="1444"/>
                    <a:pt x="5045" y="1465"/>
                    <a:pt x="4937" y="1503"/>
                  </a:cubicBezTo>
                  <a:cubicBezTo>
                    <a:pt x="4849" y="1531"/>
                    <a:pt x="4719" y="1577"/>
                    <a:pt x="4691" y="1623"/>
                  </a:cubicBezTo>
                  <a:cubicBezTo>
                    <a:pt x="4674" y="1658"/>
                    <a:pt x="4639" y="1686"/>
                    <a:pt x="4600" y="1696"/>
                  </a:cubicBezTo>
                  <a:cubicBezTo>
                    <a:pt x="4589" y="1699"/>
                    <a:pt x="4577" y="1700"/>
                    <a:pt x="4565" y="1700"/>
                  </a:cubicBezTo>
                  <a:cubicBezTo>
                    <a:pt x="4482" y="1700"/>
                    <a:pt x="4389" y="1641"/>
                    <a:pt x="4285" y="1577"/>
                  </a:cubicBezTo>
                  <a:cubicBezTo>
                    <a:pt x="4261" y="1563"/>
                    <a:pt x="4240" y="1545"/>
                    <a:pt x="4215" y="1531"/>
                  </a:cubicBezTo>
                  <a:cubicBezTo>
                    <a:pt x="4205" y="1528"/>
                    <a:pt x="4194" y="1524"/>
                    <a:pt x="4187" y="1517"/>
                  </a:cubicBezTo>
                  <a:cubicBezTo>
                    <a:pt x="4151" y="1502"/>
                    <a:pt x="4112" y="1492"/>
                    <a:pt x="4070" y="1492"/>
                  </a:cubicBezTo>
                  <a:cubicBezTo>
                    <a:pt x="4063" y="1492"/>
                    <a:pt x="4057" y="1493"/>
                    <a:pt x="4051" y="1493"/>
                  </a:cubicBezTo>
                  <a:cubicBezTo>
                    <a:pt x="3991" y="1496"/>
                    <a:pt x="3935" y="1510"/>
                    <a:pt x="3883" y="1542"/>
                  </a:cubicBezTo>
                  <a:cubicBezTo>
                    <a:pt x="3872" y="1545"/>
                    <a:pt x="3862" y="1552"/>
                    <a:pt x="3851" y="1559"/>
                  </a:cubicBezTo>
                  <a:lnTo>
                    <a:pt x="3844" y="1566"/>
                  </a:lnTo>
                  <a:cubicBezTo>
                    <a:pt x="3824" y="1580"/>
                    <a:pt x="3800" y="1587"/>
                    <a:pt x="3774" y="1587"/>
                  </a:cubicBezTo>
                  <a:cubicBezTo>
                    <a:pt x="3688" y="1587"/>
                    <a:pt x="3576" y="1522"/>
                    <a:pt x="3466" y="1458"/>
                  </a:cubicBezTo>
                  <a:cubicBezTo>
                    <a:pt x="3428" y="1433"/>
                    <a:pt x="3386" y="1412"/>
                    <a:pt x="3344" y="1395"/>
                  </a:cubicBezTo>
                  <a:cubicBezTo>
                    <a:pt x="3267" y="1381"/>
                    <a:pt x="3239" y="1290"/>
                    <a:pt x="3211" y="1192"/>
                  </a:cubicBezTo>
                  <a:cubicBezTo>
                    <a:pt x="3200" y="1157"/>
                    <a:pt x="3186" y="1125"/>
                    <a:pt x="3172" y="1090"/>
                  </a:cubicBezTo>
                  <a:lnTo>
                    <a:pt x="3162" y="1090"/>
                  </a:lnTo>
                  <a:cubicBezTo>
                    <a:pt x="3001" y="1090"/>
                    <a:pt x="2479" y="978"/>
                    <a:pt x="2402" y="961"/>
                  </a:cubicBezTo>
                  <a:cubicBezTo>
                    <a:pt x="2369" y="951"/>
                    <a:pt x="2329" y="947"/>
                    <a:pt x="2289" y="947"/>
                  </a:cubicBezTo>
                  <a:cubicBezTo>
                    <a:pt x="2200" y="947"/>
                    <a:pt x="2108" y="967"/>
                    <a:pt x="2094" y="989"/>
                  </a:cubicBezTo>
                  <a:cubicBezTo>
                    <a:pt x="2066" y="1055"/>
                    <a:pt x="1975" y="1076"/>
                    <a:pt x="1873" y="1097"/>
                  </a:cubicBezTo>
                  <a:cubicBezTo>
                    <a:pt x="1828" y="1108"/>
                    <a:pt x="1730" y="1129"/>
                    <a:pt x="1716" y="1153"/>
                  </a:cubicBezTo>
                  <a:cubicBezTo>
                    <a:pt x="1681" y="1223"/>
                    <a:pt x="1597" y="1265"/>
                    <a:pt x="1509" y="1311"/>
                  </a:cubicBezTo>
                  <a:cubicBezTo>
                    <a:pt x="1450" y="1332"/>
                    <a:pt x="1401" y="1367"/>
                    <a:pt x="1355" y="1409"/>
                  </a:cubicBezTo>
                  <a:cubicBezTo>
                    <a:pt x="1306" y="1465"/>
                    <a:pt x="1229" y="1489"/>
                    <a:pt x="1145" y="1517"/>
                  </a:cubicBezTo>
                  <a:cubicBezTo>
                    <a:pt x="1061" y="1545"/>
                    <a:pt x="970" y="1577"/>
                    <a:pt x="942" y="1633"/>
                  </a:cubicBezTo>
                  <a:cubicBezTo>
                    <a:pt x="876" y="1787"/>
                    <a:pt x="606" y="1864"/>
                    <a:pt x="392" y="1896"/>
                  </a:cubicBezTo>
                  <a:cubicBezTo>
                    <a:pt x="294" y="1910"/>
                    <a:pt x="200" y="1934"/>
                    <a:pt x="109" y="1973"/>
                  </a:cubicBezTo>
                  <a:lnTo>
                    <a:pt x="105" y="1976"/>
                  </a:lnTo>
                  <a:lnTo>
                    <a:pt x="98" y="1976"/>
                  </a:lnTo>
                  <a:lnTo>
                    <a:pt x="95" y="1980"/>
                  </a:lnTo>
                  <a:lnTo>
                    <a:pt x="91" y="1980"/>
                  </a:lnTo>
                  <a:lnTo>
                    <a:pt x="84" y="1983"/>
                  </a:lnTo>
                  <a:lnTo>
                    <a:pt x="77" y="1987"/>
                  </a:lnTo>
                  <a:lnTo>
                    <a:pt x="74" y="1990"/>
                  </a:lnTo>
                  <a:cubicBezTo>
                    <a:pt x="74" y="1997"/>
                    <a:pt x="70" y="2004"/>
                    <a:pt x="70" y="2008"/>
                  </a:cubicBezTo>
                  <a:cubicBezTo>
                    <a:pt x="67" y="2015"/>
                    <a:pt x="63" y="2022"/>
                    <a:pt x="60" y="2025"/>
                  </a:cubicBezTo>
                  <a:cubicBezTo>
                    <a:pt x="56" y="2029"/>
                    <a:pt x="53" y="2032"/>
                    <a:pt x="49" y="2036"/>
                  </a:cubicBezTo>
                  <a:lnTo>
                    <a:pt x="46" y="2039"/>
                  </a:lnTo>
                  <a:lnTo>
                    <a:pt x="39" y="2046"/>
                  </a:lnTo>
                  <a:lnTo>
                    <a:pt x="32" y="2050"/>
                  </a:lnTo>
                  <a:cubicBezTo>
                    <a:pt x="21" y="2060"/>
                    <a:pt x="11" y="2064"/>
                    <a:pt x="0" y="2067"/>
                  </a:cubicBezTo>
                  <a:lnTo>
                    <a:pt x="4" y="2085"/>
                  </a:lnTo>
                  <a:cubicBezTo>
                    <a:pt x="4" y="2092"/>
                    <a:pt x="7" y="2102"/>
                    <a:pt x="7" y="2109"/>
                  </a:cubicBezTo>
                  <a:cubicBezTo>
                    <a:pt x="11" y="2116"/>
                    <a:pt x="11" y="2120"/>
                    <a:pt x="11" y="2127"/>
                  </a:cubicBezTo>
                  <a:cubicBezTo>
                    <a:pt x="14" y="2134"/>
                    <a:pt x="14" y="2141"/>
                    <a:pt x="18" y="2148"/>
                  </a:cubicBezTo>
                  <a:lnTo>
                    <a:pt x="21" y="2165"/>
                  </a:lnTo>
                  <a:cubicBezTo>
                    <a:pt x="21" y="2172"/>
                    <a:pt x="25" y="2176"/>
                    <a:pt x="28" y="2183"/>
                  </a:cubicBezTo>
                  <a:lnTo>
                    <a:pt x="32" y="2197"/>
                  </a:lnTo>
                  <a:lnTo>
                    <a:pt x="39" y="2214"/>
                  </a:lnTo>
                  <a:lnTo>
                    <a:pt x="46" y="2228"/>
                  </a:lnTo>
                  <a:lnTo>
                    <a:pt x="49" y="2242"/>
                  </a:lnTo>
                  <a:lnTo>
                    <a:pt x="56" y="2256"/>
                  </a:lnTo>
                  <a:lnTo>
                    <a:pt x="63" y="2270"/>
                  </a:lnTo>
                  <a:lnTo>
                    <a:pt x="70" y="2281"/>
                  </a:lnTo>
                  <a:lnTo>
                    <a:pt x="77" y="2291"/>
                  </a:lnTo>
                  <a:lnTo>
                    <a:pt x="84" y="2302"/>
                  </a:lnTo>
                  <a:lnTo>
                    <a:pt x="91" y="2312"/>
                  </a:lnTo>
                  <a:lnTo>
                    <a:pt x="98" y="2323"/>
                  </a:lnTo>
                  <a:lnTo>
                    <a:pt x="109" y="2330"/>
                  </a:lnTo>
                  <a:lnTo>
                    <a:pt x="116" y="2340"/>
                  </a:lnTo>
                  <a:lnTo>
                    <a:pt x="123" y="2347"/>
                  </a:lnTo>
                  <a:lnTo>
                    <a:pt x="133" y="2358"/>
                  </a:lnTo>
                  <a:lnTo>
                    <a:pt x="140" y="2365"/>
                  </a:lnTo>
                  <a:lnTo>
                    <a:pt x="151" y="2372"/>
                  </a:lnTo>
                  <a:lnTo>
                    <a:pt x="158" y="2379"/>
                  </a:lnTo>
                  <a:lnTo>
                    <a:pt x="168" y="2386"/>
                  </a:lnTo>
                  <a:lnTo>
                    <a:pt x="175" y="2393"/>
                  </a:lnTo>
                  <a:lnTo>
                    <a:pt x="193" y="2403"/>
                  </a:lnTo>
                  <a:lnTo>
                    <a:pt x="196" y="2407"/>
                  </a:lnTo>
                  <a:lnTo>
                    <a:pt x="214" y="2417"/>
                  </a:lnTo>
                  <a:lnTo>
                    <a:pt x="235" y="2431"/>
                  </a:lnTo>
                  <a:cubicBezTo>
                    <a:pt x="256" y="2445"/>
                    <a:pt x="284" y="2463"/>
                    <a:pt x="308" y="2480"/>
                  </a:cubicBezTo>
                  <a:cubicBezTo>
                    <a:pt x="326" y="2494"/>
                    <a:pt x="347" y="2508"/>
                    <a:pt x="364" y="2526"/>
                  </a:cubicBezTo>
                  <a:cubicBezTo>
                    <a:pt x="504" y="2645"/>
                    <a:pt x="623" y="2739"/>
                    <a:pt x="760" y="2771"/>
                  </a:cubicBezTo>
                  <a:cubicBezTo>
                    <a:pt x="778" y="2774"/>
                    <a:pt x="799" y="2774"/>
                    <a:pt x="820" y="2778"/>
                  </a:cubicBezTo>
                  <a:cubicBezTo>
                    <a:pt x="1016" y="2792"/>
                    <a:pt x="1320" y="3012"/>
                    <a:pt x="1348" y="3215"/>
                  </a:cubicBezTo>
                  <a:cubicBezTo>
                    <a:pt x="1352" y="3222"/>
                    <a:pt x="1352" y="3233"/>
                    <a:pt x="1355" y="3240"/>
                  </a:cubicBezTo>
                  <a:cubicBezTo>
                    <a:pt x="1387" y="3362"/>
                    <a:pt x="1523" y="3513"/>
                    <a:pt x="1618" y="3586"/>
                  </a:cubicBezTo>
                  <a:cubicBezTo>
                    <a:pt x="1628" y="3597"/>
                    <a:pt x="1639" y="3607"/>
                    <a:pt x="1646" y="3618"/>
                  </a:cubicBezTo>
                  <a:cubicBezTo>
                    <a:pt x="1670" y="3653"/>
                    <a:pt x="1681" y="3699"/>
                    <a:pt x="1681" y="3741"/>
                  </a:cubicBezTo>
                  <a:cubicBezTo>
                    <a:pt x="1674" y="3814"/>
                    <a:pt x="1663" y="3884"/>
                    <a:pt x="1646" y="3954"/>
                  </a:cubicBezTo>
                  <a:cubicBezTo>
                    <a:pt x="1625" y="4031"/>
                    <a:pt x="1614" y="4108"/>
                    <a:pt x="1607" y="4189"/>
                  </a:cubicBezTo>
                  <a:cubicBezTo>
                    <a:pt x="1604" y="4276"/>
                    <a:pt x="1569" y="4360"/>
                    <a:pt x="1506" y="4427"/>
                  </a:cubicBezTo>
                  <a:cubicBezTo>
                    <a:pt x="1453" y="4493"/>
                    <a:pt x="1429" y="4525"/>
                    <a:pt x="1474" y="4602"/>
                  </a:cubicBezTo>
                  <a:cubicBezTo>
                    <a:pt x="1572" y="4756"/>
                    <a:pt x="2349" y="4871"/>
                    <a:pt x="2650" y="4871"/>
                  </a:cubicBezTo>
                  <a:cubicBezTo>
                    <a:pt x="2843" y="4871"/>
                    <a:pt x="2952" y="4990"/>
                    <a:pt x="3025" y="5067"/>
                  </a:cubicBezTo>
                  <a:cubicBezTo>
                    <a:pt x="3039" y="5088"/>
                    <a:pt x="3057" y="5102"/>
                    <a:pt x="3074" y="5120"/>
                  </a:cubicBezTo>
                  <a:cubicBezTo>
                    <a:pt x="3148" y="5134"/>
                    <a:pt x="3214" y="5176"/>
                    <a:pt x="3256" y="5235"/>
                  </a:cubicBezTo>
                  <a:lnTo>
                    <a:pt x="3277" y="5256"/>
                  </a:lnTo>
                  <a:cubicBezTo>
                    <a:pt x="3319" y="5309"/>
                    <a:pt x="3358" y="5351"/>
                    <a:pt x="3428" y="5365"/>
                  </a:cubicBezTo>
                  <a:cubicBezTo>
                    <a:pt x="3501" y="5379"/>
                    <a:pt x="3571" y="5407"/>
                    <a:pt x="3638" y="5449"/>
                  </a:cubicBezTo>
                  <a:cubicBezTo>
                    <a:pt x="3767" y="5533"/>
                    <a:pt x="3855" y="5673"/>
                    <a:pt x="3900" y="5876"/>
                  </a:cubicBezTo>
                  <a:cubicBezTo>
                    <a:pt x="3925" y="5985"/>
                    <a:pt x="3970" y="6086"/>
                    <a:pt x="4040" y="6174"/>
                  </a:cubicBezTo>
                  <a:cubicBezTo>
                    <a:pt x="4061" y="6198"/>
                    <a:pt x="4079" y="6223"/>
                    <a:pt x="4096" y="6244"/>
                  </a:cubicBezTo>
                  <a:cubicBezTo>
                    <a:pt x="4152" y="6300"/>
                    <a:pt x="4191" y="6366"/>
                    <a:pt x="4215" y="6436"/>
                  </a:cubicBezTo>
                  <a:cubicBezTo>
                    <a:pt x="4221" y="6456"/>
                    <a:pt x="4289" y="6461"/>
                    <a:pt x="4363" y="6461"/>
                  </a:cubicBezTo>
                  <a:cubicBezTo>
                    <a:pt x="4418" y="6461"/>
                    <a:pt x="4476" y="6459"/>
                    <a:pt x="4516" y="6457"/>
                  </a:cubicBezTo>
                  <a:cubicBezTo>
                    <a:pt x="4574" y="6452"/>
                    <a:pt x="4633" y="6449"/>
                    <a:pt x="4691" y="6449"/>
                  </a:cubicBezTo>
                  <a:cubicBezTo>
                    <a:pt x="4750" y="6449"/>
                    <a:pt x="4809" y="6452"/>
                    <a:pt x="4867" y="6457"/>
                  </a:cubicBezTo>
                  <a:cubicBezTo>
                    <a:pt x="5003" y="6475"/>
                    <a:pt x="5273" y="6475"/>
                    <a:pt x="5535" y="6475"/>
                  </a:cubicBezTo>
                  <a:cubicBezTo>
                    <a:pt x="5805" y="6475"/>
                    <a:pt x="6060" y="6475"/>
                    <a:pt x="6172" y="6492"/>
                  </a:cubicBezTo>
                  <a:cubicBezTo>
                    <a:pt x="6221" y="6499"/>
                    <a:pt x="6291" y="6506"/>
                    <a:pt x="6372" y="6510"/>
                  </a:cubicBezTo>
                  <a:lnTo>
                    <a:pt x="6466" y="6517"/>
                  </a:lnTo>
                  <a:cubicBezTo>
                    <a:pt x="6701" y="6534"/>
                    <a:pt x="6988" y="6566"/>
                    <a:pt x="7188" y="6716"/>
                  </a:cubicBezTo>
                  <a:cubicBezTo>
                    <a:pt x="7266" y="6780"/>
                    <a:pt x="7364" y="6815"/>
                    <a:pt x="7465" y="6815"/>
                  </a:cubicBezTo>
                  <a:cubicBezTo>
                    <a:pt x="7486" y="6815"/>
                    <a:pt x="7506" y="6814"/>
                    <a:pt x="7527" y="6811"/>
                  </a:cubicBezTo>
                  <a:cubicBezTo>
                    <a:pt x="7549" y="6807"/>
                    <a:pt x="7571" y="6806"/>
                    <a:pt x="7593" y="6806"/>
                  </a:cubicBezTo>
                  <a:cubicBezTo>
                    <a:pt x="7658" y="6806"/>
                    <a:pt x="7721" y="6821"/>
                    <a:pt x="7779" y="6853"/>
                  </a:cubicBezTo>
                  <a:cubicBezTo>
                    <a:pt x="7923" y="6939"/>
                    <a:pt x="8028" y="6994"/>
                    <a:pt x="8187" y="6994"/>
                  </a:cubicBezTo>
                  <a:cubicBezTo>
                    <a:pt x="8222" y="6994"/>
                    <a:pt x="8260" y="6992"/>
                    <a:pt x="8301" y="6986"/>
                  </a:cubicBezTo>
                  <a:cubicBezTo>
                    <a:pt x="8322" y="6982"/>
                    <a:pt x="8343" y="6979"/>
                    <a:pt x="8360" y="6979"/>
                  </a:cubicBezTo>
                  <a:cubicBezTo>
                    <a:pt x="8374" y="6979"/>
                    <a:pt x="8388" y="6982"/>
                    <a:pt x="8402" y="6982"/>
                  </a:cubicBezTo>
                  <a:lnTo>
                    <a:pt x="8413" y="6982"/>
                  </a:lnTo>
                  <a:cubicBezTo>
                    <a:pt x="8423" y="6986"/>
                    <a:pt x="8434" y="6986"/>
                    <a:pt x="8444" y="6989"/>
                  </a:cubicBezTo>
                  <a:lnTo>
                    <a:pt x="8455" y="6993"/>
                  </a:lnTo>
                  <a:cubicBezTo>
                    <a:pt x="8465" y="6996"/>
                    <a:pt x="8476" y="7000"/>
                    <a:pt x="8483" y="7003"/>
                  </a:cubicBezTo>
                  <a:lnTo>
                    <a:pt x="8493" y="7007"/>
                  </a:lnTo>
                  <a:cubicBezTo>
                    <a:pt x="8500" y="7010"/>
                    <a:pt x="8507" y="7017"/>
                    <a:pt x="8518" y="7021"/>
                  </a:cubicBezTo>
                  <a:lnTo>
                    <a:pt x="8525" y="7024"/>
                  </a:lnTo>
                  <a:lnTo>
                    <a:pt x="8546" y="7038"/>
                  </a:lnTo>
                  <a:lnTo>
                    <a:pt x="8549" y="7045"/>
                  </a:lnTo>
                  <a:lnTo>
                    <a:pt x="8570" y="7063"/>
                  </a:lnTo>
                  <a:lnTo>
                    <a:pt x="8577" y="7066"/>
                  </a:lnTo>
                  <a:lnTo>
                    <a:pt x="8598" y="7087"/>
                  </a:lnTo>
                  <a:lnTo>
                    <a:pt x="8602" y="7091"/>
                  </a:lnTo>
                  <a:lnTo>
                    <a:pt x="8619" y="7108"/>
                  </a:lnTo>
                  <a:cubicBezTo>
                    <a:pt x="8651" y="7150"/>
                    <a:pt x="8693" y="7182"/>
                    <a:pt x="8742" y="7196"/>
                  </a:cubicBezTo>
                  <a:cubicBezTo>
                    <a:pt x="8748" y="7197"/>
                    <a:pt x="8754" y="7198"/>
                    <a:pt x="8761" y="7198"/>
                  </a:cubicBezTo>
                  <a:cubicBezTo>
                    <a:pt x="8843" y="7198"/>
                    <a:pt x="8985" y="7104"/>
                    <a:pt x="9134" y="7007"/>
                  </a:cubicBezTo>
                  <a:cubicBezTo>
                    <a:pt x="9299" y="6895"/>
                    <a:pt x="9474" y="6797"/>
                    <a:pt x="9656" y="6709"/>
                  </a:cubicBezTo>
                  <a:cubicBezTo>
                    <a:pt x="9705" y="6685"/>
                    <a:pt x="9757" y="6664"/>
                    <a:pt x="9810" y="6650"/>
                  </a:cubicBezTo>
                  <a:cubicBezTo>
                    <a:pt x="9944" y="6610"/>
                    <a:pt x="10082" y="6589"/>
                    <a:pt x="10222" y="6589"/>
                  </a:cubicBezTo>
                  <a:cubicBezTo>
                    <a:pt x="10242" y="6589"/>
                    <a:pt x="10262" y="6589"/>
                    <a:pt x="10282" y="6590"/>
                  </a:cubicBezTo>
                  <a:cubicBezTo>
                    <a:pt x="10377" y="6590"/>
                    <a:pt x="10471" y="6597"/>
                    <a:pt x="10566" y="6611"/>
                  </a:cubicBezTo>
                  <a:cubicBezTo>
                    <a:pt x="10653" y="6622"/>
                    <a:pt x="10737" y="6636"/>
                    <a:pt x="10804" y="6646"/>
                  </a:cubicBezTo>
                  <a:lnTo>
                    <a:pt x="10856" y="6657"/>
                  </a:lnTo>
                  <a:lnTo>
                    <a:pt x="10923" y="6667"/>
                  </a:lnTo>
                  <a:cubicBezTo>
                    <a:pt x="10945" y="6670"/>
                    <a:pt x="10968" y="6672"/>
                    <a:pt x="10994" y="6672"/>
                  </a:cubicBezTo>
                  <a:cubicBezTo>
                    <a:pt x="11224" y="6672"/>
                    <a:pt x="11605" y="6545"/>
                    <a:pt x="11851" y="6265"/>
                  </a:cubicBezTo>
                  <a:cubicBezTo>
                    <a:pt x="11970" y="6142"/>
                    <a:pt x="12113" y="6048"/>
                    <a:pt x="12271" y="5985"/>
                  </a:cubicBezTo>
                  <a:cubicBezTo>
                    <a:pt x="12418" y="5922"/>
                    <a:pt x="12491" y="5883"/>
                    <a:pt x="12505" y="5771"/>
                  </a:cubicBezTo>
                  <a:cubicBezTo>
                    <a:pt x="12519" y="5662"/>
                    <a:pt x="12470" y="5589"/>
                    <a:pt x="12418" y="5508"/>
                  </a:cubicBezTo>
                  <a:cubicBezTo>
                    <a:pt x="12351" y="5403"/>
                    <a:pt x="12278" y="5284"/>
                    <a:pt x="12372" y="5116"/>
                  </a:cubicBezTo>
                  <a:cubicBezTo>
                    <a:pt x="12463" y="4954"/>
                    <a:pt x="12605" y="4889"/>
                    <a:pt x="12747" y="4889"/>
                  </a:cubicBezTo>
                  <a:cubicBezTo>
                    <a:pt x="12829" y="4889"/>
                    <a:pt x="12912" y="4911"/>
                    <a:pt x="12985" y="4948"/>
                  </a:cubicBezTo>
                  <a:cubicBezTo>
                    <a:pt x="13098" y="5000"/>
                    <a:pt x="13218" y="5026"/>
                    <a:pt x="13337" y="5026"/>
                  </a:cubicBezTo>
                  <a:cubicBezTo>
                    <a:pt x="13500" y="5026"/>
                    <a:pt x="13661" y="4978"/>
                    <a:pt x="13801" y="4885"/>
                  </a:cubicBezTo>
                  <a:cubicBezTo>
                    <a:pt x="14105" y="4672"/>
                    <a:pt x="14266" y="4658"/>
                    <a:pt x="14490" y="4640"/>
                  </a:cubicBezTo>
                  <a:cubicBezTo>
                    <a:pt x="14536" y="4637"/>
                    <a:pt x="14585" y="4633"/>
                    <a:pt x="14641" y="4626"/>
                  </a:cubicBezTo>
                  <a:cubicBezTo>
                    <a:pt x="14816" y="4605"/>
                    <a:pt x="14858" y="4535"/>
                    <a:pt x="14928" y="4413"/>
                  </a:cubicBezTo>
                  <a:cubicBezTo>
                    <a:pt x="14973" y="4332"/>
                    <a:pt x="15029" y="4255"/>
                    <a:pt x="15096" y="4185"/>
                  </a:cubicBezTo>
                  <a:cubicBezTo>
                    <a:pt x="15282" y="3993"/>
                    <a:pt x="15541" y="3884"/>
                    <a:pt x="15810" y="3884"/>
                  </a:cubicBezTo>
                  <a:cubicBezTo>
                    <a:pt x="15905" y="3877"/>
                    <a:pt x="15996" y="3853"/>
                    <a:pt x="16080" y="3814"/>
                  </a:cubicBezTo>
                  <a:cubicBezTo>
                    <a:pt x="16194" y="3773"/>
                    <a:pt x="16309" y="3729"/>
                    <a:pt x="16420" y="3729"/>
                  </a:cubicBezTo>
                  <a:cubicBezTo>
                    <a:pt x="16459" y="3729"/>
                    <a:pt x="16497" y="3735"/>
                    <a:pt x="16535" y="3748"/>
                  </a:cubicBezTo>
                  <a:cubicBezTo>
                    <a:pt x="16633" y="3780"/>
                    <a:pt x="16747" y="3802"/>
                    <a:pt x="16841" y="3802"/>
                  </a:cubicBezTo>
                  <a:cubicBezTo>
                    <a:pt x="16897" y="3802"/>
                    <a:pt x="16946" y="3794"/>
                    <a:pt x="16979" y="3776"/>
                  </a:cubicBezTo>
                  <a:cubicBezTo>
                    <a:pt x="16997" y="3765"/>
                    <a:pt x="17011" y="3748"/>
                    <a:pt x="17014" y="3727"/>
                  </a:cubicBezTo>
                  <a:cubicBezTo>
                    <a:pt x="17028" y="3653"/>
                    <a:pt x="16769" y="3436"/>
                    <a:pt x="16629" y="3317"/>
                  </a:cubicBezTo>
                  <a:cubicBezTo>
                    <a:pt x="16517" y="3233"/>
                    <a:pt x="16416" y="3142"/>
                    <a:pt x="16325" y="3040"/>
                  </a:cubicBezTo>
                  <a:cubicBezTo>
                    <a:pt x="16304" y="3019"/>
                    <a:pt x="16283" y="2998"/>
                    <a:pt x="16258" y="2984"/>
                  </a:cubicBezTo>
                  <a:lnTo>
                    <a:pt x="16248" y="2977"/>
                  </a:lnTo>
                  <a:lnTo>
                    <a:pt x="16241" y="2974"/>
                  </a:lnTo>
                  <a:cubicBezTo>
                    <a:pt x="16234" y="2970"/>
                    <a:pt x="16227" y="2967"/>
                    <a:pt x="16220" y="2963"/>
                  </a:cubicBezTo>
                  <a:cubicBezTo>
                    <a:pt x="16213" y="2960"/>
                    <a:pt x="16202" y="2956"/>
                    <a:pt x="16192" y="2956"/>
                  </a:cubicBezTo>
                  <a:cubicBezTo>
                    <a:pt x="16185" y="2953"/>
                    <a:pt x="16174" y="2949"/>
                    <a:pt x="16164" y="2949"/>
                  </a:cubicBezTo>
                  <a:cubicBezTo>
                    <a:pt x="16153" y="2948"/>
                    <a:pt x="16143" y="2947"/>
                    <a:pt x="16132" y="2947"/>
                  </a:cubicBezTo>
                  <a:cubicBezTo>
                    <a:pt x="16122" y="2947"/>
                    <a:pt x="16111" y="2948"/>
                    <a:pt x="16101" y="2949"/>
                  </a:cubicBezTo>
                  <a:cubicBezTo>
                    <a:pt x="16017" y="2963"/>
                    <a:pt x="15947" y="3016"/>
                    <a:pt x="15908" y="3093"/>
                  </a:cubicBezTo>
                  <a:cubicBezTo>
                    <a:pt x="15894" y="3135"/>
                    <a:pt x="15863" y="3170"/>
                    <a:pt x="15821" y="3187"/>
                  </a:cubicBezTo>
                  <a:cubicBezTo>
                    <a:pt x="15805" y="3194"/>
                    <a:pt x="15789" y="3197"/>
                    <a:pt x="15773" y="3197"/>
                  </a:cubicBezTo>
                  <a:cubicBezTo>
                    <a:pt x="15727" y="3197"/>
                    <a:pt x="15679" y="3175"/>
                    <a:pt x="15625" y="3149"/>
                  </a:cubicBezTo>
                  <a:cubicBezTo>
                    <a:pt x="15534" y="3096"/>
                    <a:pt x="15429" y="3068"/>
                    <a:pt x="15320" y="3065"/>
                  </a:cubicBezTo>
                  <a:cubicBezTo>
                    <a:pt x="15236" y="3065"/>
                    <a:pt x="15155" y="3079"/>
                    <a:pt x="15078" y="3103"/>
                  </a:cubicBezTo>
                  <a:cubicBezTo>
                    <a:pt x="15027" y="3120"/>
                    <a:pt x="14982" y="3132"/>
                    <a:pt x="14939" y="3132"/>
                  </a:cubicBezTo>
                  <a:cubicBezTo>
                    <a:pt x="14869" y="3132"/>
                    <a:pt x="14801" y="3101"/>
                    <a:pt x="14711" y="3009"/>
                  </a:cubicBezTo>
                  <a:cubicBezTo>
                    <a:pt x="14627" y="2928"/>
                    <a:pt x="14599" y="2848"/>
                    <a:pt x="14616" y="2774"/>
                  </a:cubicBezTo>
                  <a:cubicBezTo>
                    <a:pt x="14641" y="2708"/>
                    <a:pt x="14697" y="2655"/>
                    <a:pt x="14767" y="2631"/>
                  </a:cubicBezTo>
                  <a:lnTo>
                    <a:pt x="14798" y="2379"/>
                  </a:lnTo>
                  <a:lnTo>
                    <a:pt x="15204" y="1563"/>
                  </a:lnTo>
                  <a:cubicBezTo>
                    <a:pt x="15138" y="1544"/>
                    <a:pt x="15068" y="1535"/>
                    <a:pt x="15012" y="1535"/>
                  </a:cubicBezTo>
                  <a:cubicBezTo>
                    <a:pt x="14976" y="1535"/>
                    <a:pt x="14945" y="1539"/>
                    <a:pt x="14924" y="1545"/>
                  </a:cubicBezTo>
                  <a:cubicBezTo>
                    <a:pt x="14914" y="1552"/>
                    <a:pt x="14903" y="1552"/>
                    <a:pt x="14893" y="1556"/>
                  </a:cubicBezTo>
                  <a:cubicBezTo>
                    <a:pt x="14845" y="1568"/>
                    <a:pt x="14797" y="1573"/>
                    <a:pt x="14750" y="1573"/>
                  </a:cubicBezTo>
                  <a:cubicBezTo>
                    <a:pt x="14729" y="1573"/>
                    <a:pt x="14707" y="1572"/>
                    <a:pt x="14686" y="1570"/>
                  </a:cubicBezTo>
                  <a:cubicBezTo>
                    <a:pt x="14613" y="1566"/>
                    <a:pt x="14539" y="1549"/>
                    <a:pt x="14473" y="1517"/>
                  </a:cubicBezTo>
                  <a:cubicBezTo>
                    <a:pt x="14438" y="1500"/>
                    <a:pt x="14406" y="1475"/>
                    <a:pt x="14385" y="1440"/>
                  </a:cubicBezTo>
                  <a:cubicBezTo>
                    <a:pt x="14382" y="1433"/>
                    <a:pt x="14375" y="1423"/>
                    <a:pt x="14371" y="1409"/>
                  </a:cubicBezTo>
                  <a:cubicBezTo>
                    <a:pt x="14342" y="1376"/>
                    <a:pt x="14212" y="1356"/>
                    <a:pt x="14081" y="1356"/>
                  </a:cubicBezTo>
                  <a:cubicBezTo>
                    <a:pt x="13962" y="1356"/>
                    <a:pt x="13842" y="1372"/>
                    <a:pt x="13794" y="1409"/>
                  </a:cubicBezTo>
                  <a:cubicBezTo>
                    <a:pt x="13734" y="1451"/>
                    <a:pt x="13668" y="1489"/>
                    <a:pt x="13598" y="1517"/>
                  </a:cubicBezTo>
                  <a:cubicBezTo>
                    <a:pt x="13524" y="1556"/>
                    <a:pt x="13388" y="1623"/>
                    <a:pt x="13384" y="1658"/>
                  </a:cubicBezTo>
                  <a:cubicBezTo>
                    <a:pt x="13374" y="1710"/>
                    <a:pt x="13339" y="1756"/>
                    <a:pt x="13286" y="1770"/>
                  </a:cubicBezTo>
                  <a:cubicBezTo>
                    <a:pt x="13227" y="1794"/>
                    <a:pt x="13167" y="1808"/>
                    <a:pt x="13107" y="1815"/>
                  </a:cubicBezTo>
                  <a:cubicBezTo>
                    <a:pt x="13041" y="1819"/>
                    <a:pt x="12978" y="1836"/>
                    <a:pt x="12918" y="1864"/>
                  </a:cubicBezTo>
                  <a:cubicBezTo>
                    <a:pt x="12855" y="1910"/>
                    <a:pt x="12712" y="1938"/>
                    <a:pt x="12498" y="1973"/>
                  </a:cubicBezTo>
                  <a:cubicBezTo>
                    <a:pt x="12407" y="1983"/>
                    <a:pt x="12313" y="2001"/>
                    <a:pt x="12225" y="2029"/>
                  </a:cubicBezTo>
                  <a:cubicBezTo>
                    <a:pt x="12208" y="2050"/>
                    <a:pt x="12183" y="2067"/>
                    <a:pt x="12155" y="2074"/>
                  </a:cubicBezTo>
                  <a:cubicBezTo>
                    <a:pt x="12095" y="2095"/>
                    <a:pt x="11951" y="2111"/>
                    <a:pt x="11803" y="2111"/>
                  </a:cubicBezTo>
                  <a:cubicBezTo>
                    <a:pt x="11635" y="2111"/>
                    <a:pt x="11462" y="2091"/>
                    <a:pt x="11399" y="2039"/>
                  </a:cubicBezTo>
                  <a:cubicBezTo>
                    <a:pt x="11371" y="2018"/>
                    <a:pt x="11231" y="2015"/>
                    <a:pt x="11137" y="2011"/>
                  </a:cubicBezTo>
                  <a:cubicBezTo>
                    <a:pt x="10933" y="2004"/>
                    <a:pt x="10744" y="1997"/>
                    <a:pt x="10688" y="1889"/>
                  </a:cubicBezTo>
                  <a:cubicBezTo>
                    <a:pt x="10653" y="1840"/>
                    <a:pt x="10608" y="1798"/>
                    <a:pt x="10555" y="1766"/>
                  </a:cubicBezTo>
                  <a:cubicBezTo>
                    <a:pt x="10475" y="1710"/>
                    <a:pt x="10394" y="1651"/>
                    <a:pt x="10391" y="1559"/>
                  </a:cubicBezTo>
                  <a:cubicBezTo>
                    <a:pt x="10338" y="1535"/>
                    <a:pt x="10282" y="1514"/>
                    <a:pt x="10226" y="1503"/>
                  </a:cubicBezTo>
                  <a:lnTo>
                    <a:pt x="10209" y="1500"/>
                  </a:lnTo>
                  <a:cubicBezTo>
                    <a:pt x="10086" y="1468"/>
                    <a:pt x="9981" y="1444"/>
                    <a:pt x="9946" y="1370"/>
                  </a:cubicBezTo>
                  <a:cubicBezTo>
                    <a:pt x="9928" y="1334"/>
                    <a:pt x="9737" y="1283"/>
                    <a:pt x="9648" y="1283"/>
                  </a:cubicBezTo>
                  <a:cubicBezTo>
                    <a:pt x="9635" y="1283"/>
                    <a:pt x="9625" y="1284"/>
                    <a:pt x="9617" y="1286"/>
                  </a:cubicBezTo>
                  <a:lnTo>
                    <a:pt x="9610" y="1290"/>
                  </a:lnTo>
                  <a:cubicBezTo>
                    <a:pt x="9597" y="1296"/>
                    <a:pt x="9581" y="1299"/>
                    <a:pt x="9561" y="1299"/>
                  </a:cubicBezTo>
                  <a:cubicBezTo>
                    <a:pt x="9507" y="1299"/>
                    <a:pt x="9423" y="1278"/>
                    <a:pt x="9278" y="1237"/>
                  </a:cubicBezTo>
                  <a:lnTo>
                    <a:pt x="9236" y="1223"/>
                  </a:lnTo>
                  <a:cubicBezTo>
                    <a:pt x="9190" y="1209"/>
                    <a:pt x="9148" y="1199"/>
                    <a:pt x="9117" y="1188"/>
                  </a:cubicBezTo>
                  <a:cubicBezTo>
                    <a:pt x="9099" y="1185"/>
                    <a:pt x="9085" y="1181"/>
                    <a:pt x="9075" y="1181"/>
                  </a:cubicBezTo>
                  <a:lnTo>
                    <a:pt x="9068" y="1181"/>
                  </a:lnTo>
                  <a:cubicBezTo>
                    <a:pt x="8976" y="1185"/>
                    <a:pt x="8885" y="1195"/>
                    <a:pt x="8798" y="1216"/>
                  </a:cubicBezTo>
                  <a:cubicBezTo>
                    <a:pt x="8731" y="1227"/>
                    <a:pt x="8668" y="1237"/>
                    <a:pt x="8623" y="1244"/>
                  </a:cubicBezTo>
                  <a:lnTo>
                    <a:pt x="8581" y="1244"/>
                  </a:lnTo>
                  <a:cubicBezTo>
                    <a:pt x="8553" y="1244"/>
                    <a:pt x="8479" y="1293"/>
                    <a:pt x="8423" y="1328"/>
                  </a:cubicBezTo>
                  <a:cubicBezTo>
                    <a:pt x="8350" y="1377"/>
                    <a:pt x="8273" y="1430"/>
                    <a:pt x="8203" y="1440"/>
                  </a:cubicBezTo>
                  <a:cubicBezTo>
                    <a:pt x="8198" y="1441"/>
                    <a:pt x="8193" y="1441"/>
                    <a:pt x="8188" y="1441"/>
                  </a:cubicBezTo>
                  <a:cubicBezTo>
                    <a:pt x="8118" y="1441"/>
                    <a:pt x="8020" y="1399"/>
                    <a:pt x="7916" y="1353"/>
                  </a:cubicBezTo>
                  <a:lnTo>
                    <a:pt x="7870" y="1332"/>
                  </a:lnTo>
                  <a:lnTo>
                    <a:pt x="7853" y="1325"/>
                  </a:lnTo>
                  <a:lnTo>
                    <a:pt x="7842" y="1321"/>
                  </a:lnTo>
                  <a:lnTo>
                    <a:pt x="7821" y="1311"/>
                  </a:lnTo>
                  <a:lnTo>
                    <a:pt x="7818" y="1311"/>
                  </a:lnTo>
                  <a:lnTo>
                    <a:pt x="7800" y="1307"/>
                  </a:lnTo>
                  <a:lnTo>
                    <a:pt x="7793" y="1304"/>
                  </a:lnTo>
                  <a:lnTo>
                    <a:pt x="7783" y="1300"/>
                  </a:lnTo>
                  <a:lnTo>
                    <a:pt x="7772" y="1297"/>
                  </a:lnTo>
                  <a:lnTo>
                    <a:pt x="7765" y="1297"/>
                  </a:lnTo>
                  <a:lnTo>
                    <a:pt x="7755" y="1293"/>
                  </a:lnTo>
                  <a:lnTo>
                    <a:pt x="7741" y="1293"/>
                  </a:lnTo>
                  <a:cubicBezTo>
                    <a:pt x="7729" y="1300"/>
                    <a:pt x="7713" y="1308"/>
                    <a:pt x="7689" y="1308"/>
                  </a:cubicBezTo>
                  <a:cubicBezTo>
                    <a:pt x="7663" y="1308"/>
                    <a:pt x="7628" y="1298"/>
                    <a:pt x="7580" y="1269"/>
                  </a:cubicBezTo>
                  <a:cubicBezTo>
                    <a:pt x="7475" y="1206"/>
                    <a:pt x="7366" y="1073"/>
                    <a:pt x="7317" y="1017"/>
                  </a:cubicBezTo>
                  <a:cubicBezTo>
                    <a:pt x="7258" y="947"/>
                    <a:pt x="7261" y="835"/>
                    <a:pt x="7265" y="723"/>
                  </a:cubicBezTo>
                  <a:cubicBezTo>
                    <a:pt x="7265" y="656"/>
                    <a:pt x="7268" y="572"/>
                    <a:pt x="7251" y="544"/>
                  </a:cubicBezTo>
                  <a:cubicBezTo>
                    <a:pt x="7230" y="513"/>
                    <a:pt x="7076" y="481"/>
                    <a:pt x="6992" y="467"/>
                  </a:cubicBezTo>
                  <a:lnTo>
                    <a:pt x="6953" y="460"/>
                  </a:lnTo>
                  <a:cubicBezTo>
                    <a:pt x="6879" y="453"/>
                    <a:pt x="6806" y="432"/>
                    <a:pt x="6736" y="401"/>
                  </a:cubicBezTo>
                  <a:cubicBezTo>
                    <a:pt x="6673" y="362"/>
                    <a:pt x="6470" y="250"/>
                    <a:pt x="6365" y="250"/>
                  </a:cubicBezTo>
                  <a:cubicBezTo>
                    <a:pt x="6277" y="250"/>
                    <a:pt x="6053" y="222"/>
                    <a:pt x="5980" y="149"/>
                  </a:cubicBezTo>
                  <a:cubicBezTo>
                    <a:pt x="5952" y="121"/>
                    <a:pt x="5770" y="51"/>
                    <a:pt x="5605" y="2"/>
                  </a:cubicBezTo>
                  <a:cubicBezTo>
                    <a:pt x="5601" y="1"/>
                    <a:pt x="5598" y="0"/>
                    <a:pt x="55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2" name="Google Shape;5279;p64">
              <a:extLst>
                <a:ext uri="{FF2B5EF4-FFF2-40B4-BE49-F238E27FC236}">
                  <a16:creationId xmlns:a16="http://schemas.microsoft.com/office/drawing/2014/main" id="{CA8C5AD4-C476-1BAC-B5A5-C4AAC5EFC117}"/>
                </a:ext>
              </a:extLst>
            </p:cNvPr>
            <p:cNvSpPr/>
            <p:nvPr/>
          </p:nvSpPr>
          <p:spPr>
            <a:xfrm>
              <a:off x="2305162" y="1791540"/>
              <a:ext cx="1914" cy="7047"/>
            </a:xfrm>
            <a:custGeom>
              <a:avLst/>
              <a:gdLst/>
              <a:ahLst/>
              <a:cxnLst/>
              <a:rect l="l" t="t" r="r" b="b"/>
              <a:pathLst>
                <a:path w="141" h="519" extrusionOk="0">
                  <a:moveTo>
                    <a:pt x="77" y="1"/>
                  </a:moveTo>
                  <a:cubicBezTo>
                    <a:pt x="39" y="39"/>
                    <a:pt x="0" y="263"/>
                    <a:pt x="0" y="333"/>
                  </a:cubicBezTo>
                  <a:cubicBezTo>
                    <a:pt x="0" y="337"/>
                    <a:pt x="0" y="340"/>
                    <a:pt x="0" y="340"/>
                  </a:cubicBezTo>
                  <a:lnTo>
                    <a:pt x="0" y="344"/>
                  </a:lnTo>
                  <a:lnTo>
                    <a:pt x="4" y="354"/>
                  </a:lnTo>
                  <a:lnTo>
                    <a:pt x="7" y="372"/>
                  </a:lnTo>
                  <a:lnTo>
                    <a:pt x="7" y="375"/>
                  </a:lnTo>
                  <a:lnTo>
                    <a:pt x="14" y="393"/>
                  </a:lnTo>
                  <a:lnTo>
                    <a:pt x="14" y="396"/>
                  </a:lnTo>
                  <a:cubicBezTo>
                    <a:pt x="18" y="403"/>
                    <a:pt x="21" y="410"/>
                    <a:pt x="25" y="421"/>
                  </a:cubicBezTo>
                  <a:lnTo>
                    <a:pt x="28" y="424"/>
                  </a:lnTo>
                  <a:lnTo>
                    <a:pt x="39" y="445"/>
                  </a:lnTo>
                  <a:lnTo>
                    <a:pt x="42" y="452"/>
                  </a:lnTo>
                  <a:cubicBezTo>
                    <a:pt x="49" y="463"/>
                    <a:pt x="53" y="473"/>
                    <a:pt x="60" y="484"/>
                  </a:cubicBezTo>
                  <a:lnTo>
                    <a:pt x="63" y="487"/>
                  </a:lnTo>
                  <a:lnTo>
                    <a:pt x="81" y="512"/>
                  </a:lnTo>
                  <a:lnTo>
                    <a:pt x="84" y="519"/>
                  </a:lnTo>
                  <a:lnTo>
                    <a:pt x="84" y="515"/>
                  </a:lnTo>
                  <a:cubicBezTo>
                    <a:pt x="88" y="480"/>
                    <a:pt x="88" y="445"/>
                    <a:pt x="91" y="410"/>
                  </a:cubicBezTo>
                  <a:cubicBezTo>
                    <a:pt x="95" y="375"/>
                    <a:pt x="95" y="344"/>
                    <a:pt x="98" y="312"/>
                  </a:cubicBezTo>
                  <a:lnTo>
                    <a:pt x="98" y="309"/>
                  </a:lnTo>
                  <a:cubicBezTo>
                    <a:pt x="102" y="214"/>
                    <a:pt x="112" y="120"/>
                    <a:pt x="126" y="29"/>
                  </a:cubicBezTo>
                  <a:lnTo>
                    <a:pt x="126" y="25"/>
                  </a:lnTo>
                  <a:cubicBezTo>
                    <a:pt x="133" y="22"/>
                    <a:pt x="137" y="11"/>
                    <a:pt x="1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3" name="Google Shape;5280;p64">
              <a:extLst>
                <a:ext uri="{FF2B5EF4-FFF2-40B4-BE49-F238E27FC236}">
                  <a16:creationId xmlns:a16="http://schemas.microsoft.com/office/drawing/2014/main" id="{3515E5C2-9372-A7CA-5260-0B9B6BF0DD33}"/>
                </a:ext>
              </a:extLst>
            </p:cNvPr>
            <p:cNvSpPr/>
            <p:nvPr/>
          </p:nvSpPr>
          <p:spPr>
            <a:xfrm>
              <a:off x="2298930" y="1785457"/>
              <a:ext cx="8853" cy="26449"/>
            </a:xfrm>
            <a:custGeom>
              <a:avLst/>
              <a:gdLst/>
              <a:ahLst/>
              <a:cxnLst/>
              <a:rect l="l" t="t" r="r" b="b"/>
              <a:pathLst>
                <a:path w="652" h="1948" extrusionOk="0">
                  <a:moveTo>
                    <a:pt x="480" y="1"/>
                  </a:moveTo>
                  <a:cubicBezTo>
                    <a:pt x="456" y="60"/>
                    <a:pt x="435" y="120"/>
                    <a:pt x="424" y="183"/>
                  </a:cubicBezTo>
                  <a:cubicBezTo>
                    <a:pt x="379" y="473"/>
                    <a:pt x="130" y="942"/>
                    <a:pt x="1" y="1152"/>
                  </a:cubicBezTo>
                  <a:lnTo>
                    <a:pt x="326" y="1947"/>
                  </a:lnTo>
                  <a:cubicBezTo>
                    <a:pt x="330" y="1916"/>
                    <a:pt x="337" y="1881"/>
                    <a:pt x="344" y="1846"/>
                  </a:cubicBezTo>
                  <a:lnTo>
                    <a:pt x="340" y="1828"/>
                  </a:lnTo>
                  <a:cubicBezTo>
                    <a:pt x="344" y="1811"/>
                    <a:pt x="347" y="1793"/>
                    <a:pt x="351" y="1779"/>
                  </a:cubicBezTo>
                  <a:lnTo>
                    <a:pt x="351" y="1769"/>
                  </a:lnTo>
                  <a:cubicBezTo>
                    <a:pt x="358" y="1730"/>
                    <a:pt x="365" y="1692"/>
                    <a:pt x="375" y="1657"/>
                  </a:cubicBezTo>
                  <a:lnTo>
                    <a:pt x="379" y="1643"/>
                  </a:lnTo>
                  <a:cubicBezTo>
                    <a:pt x="379" y="1629"/>
                    <a:pt x="382" y="1615"/>
                    <a:pt x="386" y="1604"/>
                  </a:cubicBezTo>
                  <a:lnTo>
                    <a:pt x="389" y="1590"/>
                  </a:lnTo>
                  <a:cubicBezTo>
                    <a:pt x="393" y="1576"/>
                    <a:pt x="396" y="1559"/>
                    <a:pt x="400" y="1544"/>
                  </a:cubicBezTo>
                  <a:lnTo>
                    <a:pt x="403" y="1534"/>
                  </a:lnTo>
                  <a:cubicBezTo>
                    <a:pt x="407" y="1523"/>
                    <a:pt x="410" y="1509"/>
                    <a:pt x="414" y="1499"/>
                  </a:cubicBezTo>
                  <a:lnTo>
                    <a:pt x="417" y="1488"/>
                  </a:lnTo>
                  <a:cubicBezTo>
                    <a:pt x="421" y="1478"/>
                    <a:pt x="424" y="1467"/>
                    <a:pt x="428" y="1457"/>
                  </a:cubicBezTo>
                  <a:lnTo>
                    <a:pt x="428" y="1450"/>
                  </a:lnTo>
                  <a:cubicBezTo>
                    <a:pt x="435" y="1436"/>
                    <a:pt x="438" y="1425"/>
                    <a:pt x="442" y="1415"/>
                  </a:cubicBezTo>
                  <a:lnTo>
                    <a:pt x="445" y="1408"/>
                  </a:lnTo>
                  <a:cubicBezTo>
                    <a:pt x="449" y="1401"/>
                    <a:pt x="452" y="1394"/>
                    <a:pt x="456" y="1387"/>
                  </a:cubicBezTo>
                  <a:lnTo>
                    <a:pt x="459" y="1380"/>
                  </a:lnTo>
                  <a:cubicBezTo>
                    <a:pt x="463" y="1373"/>
                    <a:pt x="466" y="1366"/>
                    <a:pt x="473" y="1359"/>
                  </a:cubicBezTo>
                  <a:cubicBezTo>
                    <a:pt x="473" y="1355"/>
                    <a:pt x="477" y="1352"/>
                    <a:pt x="480" y="1348"/>
                  </a:cubicBezTo>
                  <a:cubicBezTo>
                    <a:pt x="505" y="1285"/>
                    <a:pt x="519" y="1219"/>
                    <a:pt x="526" y="1152"/>
                  </a:cubicBezTo>
                  <a:cubicBezTo>
                    <a:pt x="512" y="1135"/>
                    <a:pt x="494" y="1117"/>
                    <a:pt x="480" y="1100"/>
                  </a:cubicBezTo>
                  <a:lnTo>
                    <a:pt x="477" y="1093"/>
                  </a:lnTo>
                  <a:cubicBezTo>
                    <a:pt x="463" y="1075"/>
                    <a:pt x="452" y="1061"/>
                    <a:pt x="442" y="1044"/>
                  </a:cubicBezTo>
                  <a:lnTo>
                    <a:pt x="435" y="1037"/>
                  </a:lnTo>
                  <a:cubicBezTo>
                    <a:pt x="424" y="1019"/>
                    <a:pt x="414" y="1005"/>
                    <a:pt x="407" y="988"/>
                  </a:cubicBezTo>
                  <a:lnTo>
                    <a:pt x="400" y="981"/>
                  </a:lnTo>
                  <a:cubicBezTo>
                    <a:pt x="393" y="967"/>
                    <a:pt x="382" y="949"/>
                    <a:pt x="375" y="939"/>
                  </a:cubicBezTo>
                  <a:lnTo>
                    <a:pt x="375" y="932"/>
                  </a:lnTo>
                  <a:cubicBezTo>
                    <a:pt x="368" y="918"/>
                    <a:pt x="361" y="904"/>
                    <a:pt x="354" y="886"/>
                  </a:cubicBezTo>
                  <a:lnTo>
                    <a:pt x="354" y="883"/>
                  </a:lnTo>
                  <a:cubicBezTo>
                    <a:pt x="351" y="869"/>
                    <a:pt x="347" y="858"/>
                    <a:pt x="344" y="844"/>
                  </a:cubicBezTo>
                  <a:lnTo>
                    <a:pt x="344" y="841"/>
                  </a:lnTo>
                  <a:cubicBezTo>
                    <a:pt x="340" y="830"/>
                    <a:pt x="337" y="820"/>
                    <a:pt x="333" y="809"/>
                  </a:cubicBezTo>
                  <a:cubicBezTo>
                    <a:pt x="333" y="802"/>
                    <a:pt x="333" y="795"/>
                    <a:pt x="333" y="785"/>
                  </a:cubicBezTo>
                  <a:cubicBezTo>
                    <a:pt x="333" y="781"/>
                    <a:pt x="347" y="386"/>
                    <a:pt x="487" y="330"/>
                  </a:cubicBezTo>
                  <a:lnTo>
                    <a:pt x="529" y="330"/>
                  </a:lnTo>
                  <a:cubicBezTo>
                    <a:pt x="554" y="326"/>
                    <a:pt x="578" y="326"/>
                    <a:pt x="599" y="326"/>
                  </a:cubicBezTo>
                  <a:lnTo>
                    <a:pt x="620" y="326"/>
                  </a:lnTo>
                  <a:cubicBezTo>
                    <a:pt x="624" y="309"/>
                    <a:pt x="627" y="291"/>
                    <a:pt x="627" y="270"/>
                  </a:cubicBezTo>
                  <a:cubicBezTo>
                    <a:pt x="634" y="214"/>
                    <a:pt x="645" y="148"/>
                    <a:pt x="652" y="74"/>
                  </a:cubicBezTo>
                  <a:lnTo>
                    <a:pt x="48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4" name="Google Shape;5281;p64">
              <a:extLst>
                <a:ext uri="{FF2B5EF4-FFF2-40B4-BE49-F238E27FC236}">
                  <a16:creationId xmlns:a16="http://schemas.microsoft.com/office/drawing/2014/main" id="{4E1E44FA-4D5B-AAD1-E1AC-0CAA7A248155}"/>
                </a:ext>
              </a:extLst>
            </p:cNvPr>
            <p:cNvSpPr/>
            <p:nvPr/>
          </p:nvSpPr>
          <p:spPr>
            <a:xfrm>
              <a:off x="2298889" y="1800908"/>
              <a:ext cx="4426" cy="10848"/>
            </a:xfrm>
            <a:custGeom>
              <a:avLst/>
              <a:gdLst/>
              <a:ahLst/>
              <a:cxnLst/>
              <a:rect l="l" t="t" r="r" b="b"/>
              <a:pathLst>
                <a:path w="326" h="799" extrusionOk="0">
                  <a:moveTo>
                    <a:pt x="0" y="0"/>
                  </a:moveTo>
                  <a:lnTo>
                    <a:pt x="326" y="799"/>
                  </a:lnTo>
                  <a:lnTo>
                    <a:pt x="326" y="79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5" name="Google Shape;5282;p64">
              <a:extLst>
                <a:ext uri="{FF2B5EF4-FFF2-40B4-BE49-F238E27FC236}">
                  <a16:creationId xmlns:a16="http://schemas.microsoft.com/office/drawing/2014/main" id="{004DCFE7-FF05-992A-EFA6-DC14DFC2BBEB}"/>
                </a:ext>
              </a:extLst>
            </p:cNvPr>
            <p:cNvSpPr/>
            <p:nvPr/>
          </p:nvSpPr>
          <p:spPr>
            <a:xfrm>
              <a:off x="2303397" y="1796441"/>
              <a:ext cx="163" cy="434"/>
            </a:xfrm>
            <a:custGeom>
              <a:avLst/>
              <a:gdLst/>
              <a:ahLst/>
              <a:cxnLst/>
              <a:rect l="l" t="t" r="r" b="b"/>
              <a:pathLst>
                <a:path w="12" h="32" extrusionOk="0">
                  <a:moveTo>
                    <a:pt x="11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6" name="Google Shape;5283;p64">
              <a:extLst>
                <a:ext uri="{FF2B5EF4-FFF2-40B4-BE49-F238E27FC236}">
                  <a16:creationId xmlns:a16="http://schemas.microsoft.com/office/drawing/2014/main" id="{17FB6BCB-C694-647F-9FB4-08F694923033}"/>
                </a:ext>
              </a:extLst>
            </p:cNvPr>
            <p:cNvSpPr/>
            <p:nvPr/>
          </p:nvSpPr>
          <p:spPr>
            <a:xfrm>
              <a:off x="2307063" y="17897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7" name="Google Shape;5284;p64">
              <a:extLst>
                <a:ext uri="{FF2B5EF4-FFF2-40B4-BE49-F238E27FC236}">
                  <a16:creationId xmlns:a16="http://schemas.microsoft.com/office/drawing/2014/main" id="{F309750E-4331-03CA-EB6B-68A780235971}"/>
                </a:ext>
              </a:extLst>
            </p:cNvPr>
            <p:cNvSpPr/>
            <p:nvPr/>
          </p:nvSpPr>
          <p:spPr>
            <a:xfrm>
              <a:off x="2305542" y="178992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8" name="Google Shape;5285;p64">
              <a:extLst>
                <a:ext uri="{FF2B5EF4-FFF2-40B4-BE49-F238E27FC236}">
                  <a16:creationId xmlns:a16="http://schemas.microsoft.com/office/drawing/2014/main" id="{2633CF6A-9FFD-7958-144D-BE9010B8DFFB}"/>
                </a:ext>
              </a:extLst>
            </p:cNvPr>
            <p:cNvSpPr/>
            <p:nvPr/>
          </p:nvSpPr>
          <p:spPr>
            <a:xfrm>
              <a:off x="2305827" y="178982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9" name="Google Shape;5286;p64">
              <a:extLst>
                <a:ext uri="{FF2B5EF4-FFF2-40B4-BE49-F238E27FC236}">
                  <a16:creationId xmlns:a16="http://schemas.microsoft.com/office/drawing/2014/main" id="{99290A30-6029-3219-DFAD-90FDF5BD2560}"/>
                </a:ext>
              </a:extLst>
            </p:cNvPr>
            <p:cNvSpPr/>
            <p:nvPr/>
          </p:nvSpPr>
          <p:spPr>
            <a:xfrm>
              <a:off x="2304021" y="1798193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25" y="43"/>
                  </a:moveTo>
                  <a:cubicBezTo>
                    <a:pt x="18" y="29"/>
                    <a:pt x="7" y="11"/>
                    <a:pt x="0" y="1"/>
                  </a:cubicBezTo>
                  <a:cubicBezTo>
                    <a:pt x="7" y="11"/>
                    <a:pt x="18" y="29"/>
                    <a:pt x="25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0" name="Google Shape;5287;p64">
              <a:extLst>
                <a:ext uri="{FF2B5EF4-FFF2-40B4-BE49-F238E27FC236}">
                  <a16:creationId xmlns:a16="http://schemas.microsoft.com/office/drawing/2014/main" id="{F20A5532-015B-6397-1284-C1609544809B}"/>
                </a:ext>
              </a:extLst>
            </p:cNvPr>
            <p:cNvSpPr/>
            <p:nvPr/>
          </p:nvSpPr>
          <p:spPr>
            <a:xfrm>
              <a:off x="2303546" y="1796916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7" y="25"/>
                    <a:pt x="14" y="39"/>
                  </a:cubicBezTo>
                  <a:cubicBezTo>
                    <a:pt x="11" y="25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1" name="Google Shape;5288;p64">
              <a:extLst>
                <a:ext uri="{FF2B5EF4-FFF2-40B4-BE49-F238E27FC236}">
                  <a16:creationId xmlns:a16="http://schemas.microsoft.com/office/drawing/2014/main" id="{0ECE9389-7CBC-DC0B-658A-9FF520A43305}"/>
                </a:ext>
              </a:extLst>
            </p:cNvPr>
            <p:cNvSpPr/>
            <p:nvPr/>
          </p:nvSpPr>
          <p:spPr>
            <a:xfrm>
              <a:off x="2304877" y="1799618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8"/>
                    <a:pt x="25" y="36"/>
                    <a:pt x="39" y="50"/>
                  </a:cubicBezTo>
                  <a:cubicBezTo>
                    <a:pt x="25" y="32"/>
                    <a:pt x="1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2" name="Google Shape;5289;p64">
              <a:extLst>
                <a:ext uri="{FF2B5EF4-FFF2-40B4-BE49-F238E27FC236}">
                  <a16:creationId xmlns:a16="http://schemas.microsoft.com/office/drawing/2014/main" id="{C8592821-A35D-13AF-C9F5-7BA1EF3D8BB6}"/>
                </a:ext>
              </a:extLst>
            </p:cNvPr>
            <p:cNvSpPr/>
            <p:nvPr/>
          </p:nvSpPr>
          <p:spPr>
            <a:xfrm>
              <a:off x="2305447" y="1800379"/>
              <a:ext cx="625" cy="733"/>
            </a:xfrm>
            <a:custGeom>
              <a:avLst/>
              <a:gdLst/>
              <a:ahLst/>
              <a:cxnLst/>
              <a:rect l="l" t="t" r="r" b="b"/>
              <a:pathLst>
                <a:path w="46" h="54" extrusionOk="0">
                  <a:moveTo>
                    <a:pt x="0" y="1"/>
                  </a:moveTo>
                  <a:cubicBezTo>
                    <a:pt x="14" y="18"/>
                    <a:pt x="28" y="39"/>
                    <a:pt x="46" y="53"/>
                  </a:cubicBezTo>
                  <a:cubicBezTo>
                    <a:pt x="28" y="36"/>
                    <a:pt x="14" y="1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3" name="Google Shape;5290;p64">
              <a:extLst>
                <a:ext uri="{FF2B5EF4-FFF2-40B4-BE49-F238E27FC236}">
                  <a16:creationId xmlns:a16="http://schemas.microsoft.com/office/drawing/2014/main" id="{9A130B31-B7BB-20FF-3028-B6B7D0D63F5C}"/>
                </a:ext>
              </a:extLst>
            </p:cNvPr>
            <p:cNvSpPr/>
            <p:nvPr/>
          </p:nvSpPr>
          <p:spPr>
            <a:xfrm>
              <a:off x="2304401" y="179885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50"/>
                  </a:moveTo>
                  <a:cubicBezTo>
                    <a:pt x="21" y="32"/>
                    <a:pt x="11" y="18"/>
                    <a:pt x="0" y="1"/>
                  </a:cubicBezTo>
                  <a:cubicBezTo>
                    <a:pt x="11" y="18"/>
                    <a:pt x="21" y="32"/>
                    <a:pt x="32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4" name="Google Shape;5291;p64">
              <a:extLst>
                <a:ext uri="{FF2B5EF4-FFF2-40B4-BE49-F238E27FC236}">
                  <a16:creationId xmlns:a16="http://schemas.microsoft.com/office/drawing/2014/main" id="{EFE70EB0-FE36-5CBD-3AAC-7F9A738EA6D7}"/>
                </a:ext>
              </a:extLst>
            </p:cNvPr>
            <p:cNvSpPr/>
            <p:nvPr/>
          </p:nvSpPr>
          <p:spPr>
            <a:xfrm>
              <a:off x="2305637" y="178988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5" name="Google Shape;5292;p64">
              <a:extLst>
                <a:ext uri="{FF2B5EF4-FFF2-40B4-BE49-F238E27FC236}">
                  <a16:creationId xmlns:a16="http://schemas.microsoft.com/office/drawing/2014/main" id="{835FED1F-3565-7151-2DC0-FEB5C13B937A}"/>
                </a:ext>
              </a:extLst>
            </p:cNvPr>
            <p:cNvSpPr/>
            <p:nvPr/>
          </p:nvSpPr>
          <p:spPr>
            <a:xfrm>
              <a:off x="2306017" y="17897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6" name="Google Shape;5293;p64">
              <a:extLst>
                <a:ext uri="{FF2B5EF4-FFF2-40B4-BE49-F238E27FC236}">
                  <a16:creationId xmlns:a16="http://schemas.microsoft.com/office/drawing/2014/main" id="{BF05C74C-B435-059C-E20F-0DB3F7481400}"/>
                </a:ext>
              </a:extLst>
            </p:cNvPr>
            <p:cNvSpPr/>
            <p:nvPr/>
          </p:nvSpPr>
          <p:spPr>
            <a:xfrm>
              <a:off x="2303397" y="1796102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25"/>
                  </a:moveTo>
                  <a:cubicBezTo>
                    <a:pt x="1" y="18"/>
                    <a:pt x="1" y="8"/>
                    <a:pt x="1" y="1"/>
                  </a:cubicBezTo>
                  <a:cubicBezTo>
                    <a:pt x="1" y="8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7" name="Google Shape;5294;p64">
              <a:extLst>
                <a:ext uri="{FF2B5EF4-FFF2-40B4-BE49-F238E27FC236}">
                  <a16:creationId xmlns:a16="http://schemas.microsoft.com/office/drawing/2014/main" id="{4712C5D4-3A60-70B4-34C7-B60B505E1DAD}"/>
                </a:ext>
              </a:extLst>
            </p:cNvPr>
            <p:cNvSpPr/>
            <p:nvPr/>
          </p:nvSpPr>
          <p:spPr>
            <a:xfrm>
              <a:off x="2303736" y="179748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21" y="42"/>
                  </a:moveTo>
                  <a:cubicBezTo>
                    <a:pt x="14" y="28"/>
                    <a:pt x="7" y="14"/>
                    <a:pt x="0" y="0"/>
                  </a:cubicBezTo>
                  <a:cubicBezTo>
                    <a:pt x="7" y="14"/>
                    <a:pt x="14" y="28"/>
                    <a:pt x="2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8" name="Google Shape;5295;p64">
              <a:extLst>
                <a:ext uri="{FF2B5EF4-FFF2-40B4-BE49-F238E27FC236}">
                  <a16:creationId xmlns:a16="http://schemas.microsoft.com/office/drawing/2014/main" id="{548502C7-3426-F169-6399-FB059AEB3F1B}"/>
                </a:ext>
              </a:extLst>
            </p:cNvPr>
            <p:cNvSpPr/>
            <p:nvPr/>
          </p:nvSpPr>
          <p:spPr>
            <a:xfrm>
              <a:off x="2304917" y="1785036"/>
              <a:ext cx="29300" cy="32097"/>
            </a:xfrm>
            <a:custGeom>
              <a:avLst/>
              <a:gdLst/>
              <a:ahLst/>
              <a:cxnLst/>
              <a:rect l="l" t="t" r="r" b="b"/>
              <a:pathLst>
                <a:path w="2158" h="2364" extrusionOk="0">
                  <a:moveTo>
                    <a:pt x="2003" y="0"/>
                  </a:moveTo>
                  <a:cubicBezTo>
                    <a:pt x="1926" y="42"/>
                    <a:pt x="1853" y="77"/>
                    <a:pt x="1783" y="112"/>
                  </a:cubicBezTo>
                  <a:cubicBezTo>
                    <a:pt x="1433" y="287"/>
                    <a:pt x="1387" y="291"/>
                    <a:pt x="1366" y="294"/>
                  </a:cubicBezTo>
                  <a:cubicBezTo>
                    <a:pt x="1289" y="308"/>
                    <a:pt x="1111" y="410"/>
                    <a:pt x="974" y="501"/>
                  </a:cubicBezTo>
                  <a:lnTo>
                    <a:pt x="932" y="525"/>
                  </a:lnTo>
                  <a:lnTo>
                    <a:pt x="876" y="564"/>
                  </a:lnTo>
                  <a:lnTo>
                    <a:pt x="845" y="588"/>
                  </a:lnTo>
                  <a:lnTo>
                    <a:pt x="323" y="315"/>
                  </a:lnTo>
                  <a:lnTo>
                    <a:pt x="319" y="357"/>
                  </a:lnTo>
                  <a:lnTo>
                    <a:pt x="316" y="382"/>
                  </a:lnTo>
                  <a:cubicBezTo>
                    <a:pt x="309" y="417"/>
                    <a:pt x="305" y="445"/>
                    <a:pt x="302" y="469"/>
                  </a:cubicBezTo>
                  <a:lnTo>
                    <a:pt x="298" y="487"/>
                  </a:lnTo>
                  <a:cubicBezTo>
                    <a:pt x="298" y="497"/>
                    <a:pt x="295" y="508"/>
                    <a:pt x="291" y="518"/>
                  </a:cubicBezTo>
                  <a:lnTo>
                    <a:pt x="291" y="522"/>
                  </a:lnTo>
                  <a:lnTo>
                    <a:pt x="288" y="536"/>
                  </a:lnTo>
                  <a:lnTo>
                    <a:pt x="288" y="539"/>
                  </a:lnTo>
                  <a:cubicBezTo>
                    <a:pt x="277" y="627"/>
                    <a:pt x="267" y="714"/>
                    <a:pt x="263" y="798"/>
                  </a:cubicBezTo>
                  <a:lnTo>
                    <a:pt x="263" y="819"/>
                  </a:lnTo>
                  <a:lnTo>
                    <a:pt x="260" y="868"/>
                  </a:lnTo>
                  <a:cubicBezTo>
                    <a:pt x="260" y="882"/>
                    <a:pt x="260" y="896"/>
                    <a:pt x="256" y="910"/>
                  </a:cubicBezTo>
                  <a:lnTo>
                    <a:pt x="256" y="942"/>
                  </a:lnTo>
                  <a:cubicBezTo>
                    <a:pt x="256" y="966"/>
                    <a:pt x="253" y="987"/>
                    <a:pt x="249" y="1012"/>
                  </a:cubicBezTo>
                  <a:cubicBezTo>
                    <a:pt x="249" y="1026"/>
                    <a:pt x="246" y="1040"/>
                    <a:pt x="246" y="1057"/>
                  </a:cubicBezTo>
                  <a:cubicBezTo>
                    <a:pt x="246" y="1071"/>
                    <a:pt x="242" y="1085"/>
                    <a:pt x="242" y="1099"/>
                  </a:cubicBezTo>
                  <a:cubicBezTo>
                    <a:pt x="239" y="1113"/>
                    <a:pt x="239" y="1131"/>
                    <a:pt x="235" y="1145"/>
                  </a:cubicBezTo>
                  <a:lnTo>
                    <a:pt x="232" y="1176"/>
                  </a:lnTo>
                  <a:lnTo>
                    <a:pt x="214" y="1306"/>
                  </a:lnTo>
                  <a:lnTo>
                    <a:pt x="211" y="1302"/>
                  </a:lnTo>
                  <a:lnTo>
                    <a:pt x="211" y="1309"/>
                  </a:lnTo>
                  <a:lnTo>
                    <a:pt x="207" y="1330"/>
                  </a:lnTo>
                  <a:lnTo>
                    <a:pt x="204" y="1348"/>
                  </a:lnTo>
                  <a:cubicBezTo>
                    <a:pt x="204" y="1355"/>
                    <a:pt x="200" y="1362"/>
                    <a:pt x="197" y="1369"/>
                  </a:cubicBezTo>
                  <a:lnTo>
                    <a:pt x="193" y="1376"/>
                  </a:lnTo>
                  <a:cubicBezTo>
                    <a:pt x="193" y="1386"/>
                    <a:pt x="190" y="1393"/>
                    <a:pt x="186" y="1400"/>
                  </a:cubicBezTo>
                  <a:lnTo>
                    <a:pt x="186" y="1404"/>
                  </a:lnTo>
                  <a:cubicBezTo>
                    <a:pt x="183" y="1411"/>
                    <a:pt x="183" y="1418"/>
                    <a:pt x="179" y="1428"/>
                  </a:cubicBezTo>
                  <a:cubicBezTo>
                    <a:pt x="172" y="1442"/>
                    <a:pt x="165" y="1456"/>
                    <a:pt x="155" y="1470"/>
                  </a:cubicBezTo>
                  <a:cubicBezTo>
                    <a:pt x="151" y="1474"/>
                    <a:pt x="151" y="1477"/>
                    <a:pt x="148" y="1481"/>
                  </a:cubicBezTo>
                  <a:cubicBezTo>
                    <a:pt x="148" y="1484"/>
                    <a:pt x="144" y="1491"/>
                    <a:pt x="141" y="1495"/>
                  </a:cubicBezTo>
                  <a:lnTo>
                    <a:pt x="141" y="1502"/>
                  </a:lnTo>
                  <a:lnTo>
                    <a:pt x="134" y="1516"/>
                  </a:lnTo>
                  <a:lnTo>
                    <a:pt x="134" y="1523"/>
                  </a:lnTo>
                  <a:lnTo>
                    <a:pt x="127" y="1544"/>
                  </a:lnTo>
                  <a:lnTo>
                    <a:pt x="127" y="1551"/>
                  </a:lnTo>
                  <a:lnTo>
                    <a:pt x="120" y="1572"/>
                  </a:lnTo>
                  <a:lnTo>
                    <a:pt x="116" y="1582"/>
                  </a:lnTo>
                  <a:lnTo>
                    <a:pt x="109" y="1607"/>
                  </a:lnTo>
                  <a:lnTo>
                    <a:pt x="106" y="1621"/>
                  </a:lnTo>
                  <a:lnTo>
                    <a:pt x="99" y="1646"/>
                  </a:lnTo>
                  <a:lnTo>
                    <a:pt x="95" y="1663"/>
                  </a:lnTo>
                  <a:lnTo>
                    <a:pt x="88" y="1691"/>
                  </a:lnTo>
                  <a:lnTo>
                    <a:pt x="85" y="1709"/>
                  </a:lnTo>
                  <a:lnTo>
                    <a:pt x="78" y="1740"/>
                  </a:lnTo>
                  <a:lnTo>
                    <a:pt x="74" y="1761"/>
                  </a:lnTo>
                  <a:lnTo>
                    <a:pt x="67" y="1793"/>
                  </a:lnTo>
                  <a:lnTo>
                    <a:pt x="64" y="1817"/>
                  </a:lnTo>
                  <a:lnTo>
                    <a:pt x="57" y="1852"/>
                  </a:lnTo>
                  <a:lnTo>
                    <a:pt x="53" y="1877"/>
                  </a:lnTo>
                  <a:lnTo>
                    <a:pt x="46" y="1915"/>
                  </a:lnTo>
                  <a:lnTo>
                    <a:pt x="43" y="1940"/>
                  </a:lnTo>
                  <a:lnTo>
                    <a:pt x="36" y="1982"/>
                  </a:lnTo>
                  <a:lnTo>
                    <a:pt x="29" y="2013"/>
                  </a:lnTo>
                  <a:lnTo>
                    <a:pt x="22" y="2055"/>
                  </a:lnTo>
                  <a:lnTo>
                    <a:pt x="18" y="2087"/>
                  </a:lnTo>
                  <a:lnTo>
                    <a:pt x="11" y="2132"/>
                  </a:lnTo>
                  <a:lnTo>
                    <a:pt x="4" y="2167"/>
                  </a:lnTo>
                  <a:lnTo>
                    <a:pt x="1" y="2188"/>
                  </a:lnTo>
                  <a:lnTo>
                    <a:pt x="50" y="2213"/>
                  </a:lnTo>
                  <a:lnTo>
                    <a:pt x="57" y="2216"/>
                  </a:lnTo>
                  <a:lnTo>
                    <a:pt x="88" y="2234"/>
                  </a:lnTo>
                  <a:lnTo>
                    <a:pt x="120" y="2248"/>
                  </a:lnTo>
                  <a:lnTo>
                    <a:pt x="123" y="2251"/>
                  </a:lnTo>
                  <a:cubicBezTo>
                    <a:pt x="204" y="2293"/>
                    <a:pt x="284" y="2328"/>
                    <a:pt x="368" y="2356"/>
                  </a:cubicBezTo>
                  <a:lnTo>
                    <a:pt x="375" y="2356"/>
                  </a:lnTo>
                  <a:lnTo>
                    <a:pt x="386" y="2360"/>
                  </a:lnTo>
                  <a:lnTo>
                    <a:pt x="393" y="2360"/>
                  </a:lnTo>
                  <a:lnTo>
                    <a:pt x="407" y="2363"/>
                  </a:lnTo>
                  <a:lnTo>
                    <a:pt x="438" y="2363"/>
                  </a:lnTo>
                  <a:cubicBezTo>
                    <a:pt x="515" y="2360"/>
                    <a:pt x="592" y="2332"/>
                    <a:pt x="652" y="2283"/>
                  </a:cubicBezTo>
                  <a:cubicBezTo>
                    <a:pt x="663" y="2276"/>
                    <a:pt x="677" y="2265"/>
                    <a:pt x="687" y="2255"/>
                  </a:cubicBezTo>
                  <a:cubicBezTo>
                    <a:pt x="754" y="2195"/>
                    <a:pt x="785" y="2136"/>
                    <a:pt x="785" y="2104"/>
                  </a:cubicBezTo>
                  <a:cubicBezTo>
                    <a:pt x="785" y="1887"/>
                    <a:pt x="1083" y="1887"/>
                    <a:pt x="1195" y="1887"/>
                  </a:cubicBezTo>
                  <a:cubicBezTo>
                    <a:pt x="1261" y="1887"/>
                    <a:pt x="1293" y="1845"/>
                    <a:pt x="1345" y="1775"/>
                  </a:cubicBezTo>
                  <a:cubicBezTo>
                    <a:pt x="1377" y="1723"/>
                    <a:pt x="1422" y="1677"/>
                    <a:pt x="1475" y="1642"/>
                  </a:cubicBezTo>
                  <a:cubicBezTo>
                    <a:pt x="1450" y="1558"/>
                    <a:pt x="1195" y="1316"/>
                    <a:pt x="1086" y="1281"/>
                  </a:cubicBezTo>
                  <a:cubicBezTo>
                    <a:pt x="1034" y="1264"/>
                    <a:pt x="999" y="1211"/>
                    <a:pt x="1009" y="1155"/>
                  </a:cubicBezTo>
                  <a:cubicBezTo>
                    <a:pt x="1027" y="1026"/>
                    <a:pt x="1279" y="826"/>
                    <a:pt x="1646" y="805"/>
                  </a:cubicBezTo>
                  <a:cubicBezTo>
                    <a:pt x="1870" y="795"/>
                    <a:pt x="1930" y="749"/>
                    <a:pt x="1982" y="707"/>
                  </a:cubicBezTo>
                  <a:lnTo>
                    <a:pt x="2000" y="697"/>
                  </a:lnTo>
                  <a:lnTo>
                    <a:pt x="2007" y="693"/>
                  </a:lnTo>
                  <a:lnTo>
                    <a:pt x="2017" y="683"/>
                  </a:lnTo>
                  <a:lnTo>
                    <a:pt x="2028" y="679"/>
                  </a:lnTo>
                  <a:lnTo>
                    <a:pt x="2038" y="672"/>
                  </a:lnTo>
                  <a:lnTo>
                    <a:pt x="2049" y="665"/>
                  </a:lnTo>
                  <a:lnTo>
                    <a:pt x="2063" y="658"/>
                  </a:lnTo>
                  <a:lnTo>
                    <a:pt x="2070" y="655"/>
                  </a:lnTo>
                  <a:lnTo>
                    <a:pt x="2087" y="648"/>
                  </a:lnTo>
                  <a:lnTo>
                    <a:pt x="2098" y="648"/>
                  </a:lnTo>
                  <a:cubicBezTo>
                    <a:pt x="2105" y="644"/>
                    <a:pt x="2115" y="641"/>
                    <a:pt x="2126" y="641"/>
                  </a:cubicBezTo>
                  <a:lnTo>
                    <a:pt x="2133" y="641"/>
                  </a:lnTo>
                  <a:lnTo>
                    <a:pt x="2157" y="637"/>
                  </a:lnTo>
                  <a:lnTo>
                    <a:pt x="2133" y="620"/>
                  </a:lnTo>
                  <a:lnTo>
                    <a:pt x="2129" y="606"/>
                  </a:lnTo>
                  <a:lnTo>
                    <a:pt x="2119" y="564"/>
                  </a:lnTo>
                  <a:lnTo>
                    <a:pt x="2115" y="536"/>
                  </a:lnTo>
                  <a:lnTo>
                    <a:pt x="2108" y="511"/>
                  </a:lnTo>
                  <a:lnTo>
                    <a:pt x="2098" y="466"/>
                  </a:lnTo>
                  <a:lnTo>
                    <a:pt x="2094" y="448"/>
                  </a:lnTo>
                  <a:lnTo>
                    <a:pt x="2080" y="396"/>
                  </a:lnTo>
                  <a:lnTo>
                    <a:pt x="2080" y="389"/>
                  </a:lnTo>
                  <a:lnTo>
                    <a:pt x="2070" y="340"/>
                  </a:lnTo>
                  <a:lnTo>
                    <a:pt x="2070" y="333"/>
                  </a:lnTo>
                  <a:lnTo>
                    <a:pt x="2056" y="284"/>
                  </a:lnTo>
                  <a:lnTo>
                    <a:pt x="2056" y="277"/>
                  </a:lnTo>
                  <a:lnTo>
                    <a:pt x="2045" y="235"/>
                  </a:lnTo>
                  <a:lnTo>
                    <a:pt x="2045" y="228"/>
                  </a:lnTo>
                  <a:cubicBezTo>
                    <a:pt x="2042" y="214"/>
                    <a:pt x="2038" y="200"/>
                    <a:pt x="2035" y="189"/>
                  </a:cubicBezTo>
                  <a:cubicBezTo>
                    <a:pt x="2031" y="175"/>
                    <a:pt x="2028" y="165"/>
                    <a:pt x="2024" y="154"/>
                  </a:cubicBezTo>
                  <a:lnTo>
                    <a:pt x="2024" y="144"/>
                  </a:lnTo>
                  <a:cubicBezTo>
                    <a:pt x="2021" y="133"/>
                    <a:pt x="2017" y="123"/>
                    <a:pt x="2017" y="109"/>
                  </a:cubicBezTo>
                  <a:lnTo>
                    <a:pt x="2017" y="105"/>
                  </a:lnTo>
                  <a:cubicBezTo>
                    <a:pt x="2014" y="91"/>
                    <a:pt x="2010" y="77"/>
                    <a:pt x="2010" y="60"/>
                  </a:cubicBezTo>
                  <a:lnTo>
                    <a:pt x="2010" y="49"/>
                  </a:lnTo>
                  <a:cubicBezTo>
                    <a:pt x="2007" y="39"/>
                    <a:pt x="2003" y="21"/>
                    <a:pt x="2003" y="7"/>
                  </a:cubicBezTo>
                  <a:lnTo>
                    <a:pt x="200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9" name="Google Shape;5296;p64">
              <a:extLst>
                <a:ext uri="{FF2B5EF4-FFF2-40B4-BE49-F238E27FC236}">
                  <a16:creationId xmlns:a16="http://schemas.microsoft.com/office/drawing/2014/main" id="{F2A080E8-165A-8DBD-9C8C-D861E194F97A}"/>
                </a:ext>
              </a:extLst>
            </p:cNvPr>
            <p:cNvSpPr/>
            <p:nvPr/>
          </p:nvSpPr>
          <p:spPr>
            <a:xfrm>
              <a:off x="2328977" y="1785036"/>
              <a:ext cx="3001" cy="1534"/>
            </a:xfrm>
            <a:custGeom>
              <a:avLst/>
              <a:gdLst/>
              <a:ahLst/>
              <a:cxnLst/>
              <a:rect l="l" t="t" r="r" b="b"/>
              <a:pathLst>
                <a:path w="221" h="113" extrusionOk="0">
                  <a:moveTo>
                    <a:pt x="221" y="0"/>
                  </a:moveTo>
                  <a:cubicBezTo>
                    <a:pt x="211" y="5"/>
                    <a:pt x="202" y="11"/>
                    <a:pt x="192" y="16"/>
                  </a:cubicBezTo>
                  <a:lnTo>
                    <a:pt x="192" y="16"/>
                  </a:lnTo>
                  <a:cubicBezTo>
                    <a:pt x="202" y="10"/>
                    <a:pt x="211" y="5"/>
                    <a:pt x="221" y="0"/>
                  </a:cubicBezTo>
                  <a:close/>
                  <a:moveTo>
                    <a:pt x="192" y="16"/>
                  </a:moveTo>
                  <a:lnTo>
                    <a:pt x="192" y="16"/>
                  </a:lnTo>
                  <a:cubicBezTo>
                    <a:pt x="126" y="51"/>
                    <a:pt x="62" y="81"/>
                    <a:pt x="0" y="112"/>
                  </a:cubicBezTo>
                  <a:cubicBezTo>
                    <a:pt x="59" y="84"/>
                    <a:pt x="121" y="54"/>
                    <a:pt x="192" y="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0" name="Google Shape;5297;p64">
              <a:extLst>
                <a:ext uri="{FF2B5EF4-FFF2-40B4-BE49-F238E27FC236}">
                  <a16:creationId xmlns:a16="http://schemas.microsoft.com/office/drawing/2014/main" id="{0B7EA07C-D32B-061E-DCB0-3C8EE5CF100B}"/>
                </a:ext>
              </a:extLst>
            </p:cNvPr>
            <p:cNvSpPr/>
            <p:nvPr/>
          </p:nvSpPr>
          <p:spPr>
            <a:xfrm>
              <a:off x="2317422" y="1791784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1" y="28"/>
                  </a:moveTo>
                  <a:lnTo>
                    <a:pt x="4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1" name="Google Shape;5298;p64">
              <a:extLst>
                <a:ext uri="{FF2B5EF4-FFF2-40B4-BE49-F238E27FC236}">
                  <a16:creationId xmlns:a16="http://schemas.microsoft.com/office/drawing/2014/main" id="{946BFBC1-F096-DE01-7B96-3FC97A78EA73}"/>
                </a:ext>
              </a:extLst>
            </p:cNvPr>
            <p:cNvSpPr/>
            <p:nvPr/>
          </p:nvSpPr>
          <p:spPr>
            <a:xfrm>
              <a:off x="2308773" y="179206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2" name="Google Shape;5299;p64">
              <a:extLst>
                <a:ext uri="{FF2B5EF4-FFF2-40B4-BE49-F238E27FC236}">
                  <a16:creationId xmlns:a16="http://schemas.microsoft.com/office/drawing/2014/main" id="{EE9D28E7-AD51-C44A-6369-6FC1051B3922}"/>
                </a:ext>
              </a:extLst>
            </p:cNvPr>
            <p:cNvSpPr/>
            <p:nvPr/>
          </p:nvSpPr>
          <p:spPr>
            <a:xfrm>
              <a:off x="2308013" y="1799293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4" y="0"/>
                  </a:moveTo>
                  <a:cubicBezTo>
                    <a:pt x="4" y="18"/>
                    <a:pt x="4" y="32"/>
                    <a:pt x="0" y="46"/>
                  </a:cubicBezTo>
                  <a:cubicBezTo>
                    <a:pt x="4" y="32"/>
                    <a:pt x="4" y="18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3" name="Google Shape;5300;p64">
              <a:extLst>
                <a:ext uri="{FF2B5EF4-FFF2-40B4-BE49-F238E27FC236}">
                  <a16:creationId xmlns:a16="http://schemas.microsoft.com/office/drawing/2014/main" id="{C3340D2E-0267-0203-2139-732B22C83E6A}"/>
                </a:ext>
              </a:extLst>
            </p:cNvPr>
            <p:cNvSpPr/>
            <p:nvPr/>
          </p:nvSpPr>
          <p:spPr>
            <a:xfrm>
              <a:off x="2309058" y="1789829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4" y="1"/>
                  </a:moveTo>
                  <a:lnTo>
                    <a:pt x="4" y="1"/>
                  </a:lnTo>
                  <a:lnTo>
                    <a:pt x="0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4" name="Google Shape;5301;p64">
              <a:extLst>
                <a:ext uri="{FF2B5EF4-FFF2-40B4-BE49-F238E27FC236}">
                  <a16:creationId xmlns:a16="http://schemas.microsoft.com/office/drawing/2014/main" id="{C5504248-3D49-8B25-0E2A-CF746F59E95A}"/>
                </a:ext>
              </a:extLst>
            </p:cNvPr>
            <p:cNvSpPr/>
            <p:nvPr/>
          </p:nvSpPr>
          <p:spPr>
            <a:xfrm>
              <a:off x="2308339" y="1792300"/>
              <a:ext cx="353" cy="3815"/>
            </a:xfrm>
            <a:custGeom>
              <a:avLst/>
              <a:gdLst/>
              <a:ahLst/>
              <a:cxnLst/>
              <a:rect l="l" t="t" r="r" b="b"/>
              <a:pathLst>
                <a:path w="26" h="281" extrusionOk="0">
                  <a:moveTo>
                    <a:pt x="1" y="263"/>
                  </a:moveTo>
                  <a:lnTo>
                    <a:pt x="1" y="281"/>
                  </a:lnTo>
                  <a:lnTo>
                    <a:pt x="1" y="263"/>
                  </a:lnTo>
                  <a:cubicBezTo>
                    <a:pt x="4" y="176"/>
                    <a:pt x="15" y="88"/>
                    <a:pt x="25" y="4"/>
                  </a:cubicBezTo>
                  <a:lnTo>
                    <a:pt x="25" y="1"/>
                  </a:lnTo>
                  <a:lnTo>
                    <a:pt x="25" y="4"/>
                  </a:lnTo>
                  <a:cubicBezTo>
                    <a:pt x="15" y="88"/>
                    <a:pt x="4" y="176"/>
                    <a:pt x="1" y="26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5" name="Google Shape;5302;p64">
              <a:extLst>
                <a:ext uri="{FF2B5EF4-FFF2-40B4-BE49-F238E27FC236}">
                  <a16:creationId xmlns:a16="http://schemas.microsoft.com/office/drawing/2014/main" id="{590029EA-03A4-3D96-5E4F-CF26260E86DB}"/>
                </a:ext>
              </a:extLst>
            </p:cNvPr>
            <p:cNvSpPr/>
            <p:nvPr/>
          </p:nvSpPr>
          <p:spPr>
            <a:xfrm>
              <a:off x="2307633" y="1800949"/>
              <a:ext cx="299" cy="1819"/>
            </a:xfrm>
            <a:custGeom>
              <a:avLst/>
              <a:gdLst/>
              <a:ahLst/>
              <a:cxnLst/>
              <a:rect l="l" t="t" r="r" b="b"/>
              <a:pathLst>
                <a:path w="22" h="134" extrusionOk="0">
                  <a:moveTo>
                    <a:pt x="21" y="1"/>
                  </a:moveTo>
                  <a:lnTo>
                    <a:pt x="19" y="20"/>
                  </a:lnTo>
                  <a:lnTo>
                    <a:pt x="19" y="20"/>
                  </a:lnTo>
                  <a:cubicBezTo>
                    <a:pt x="21" y="13"/>
                    <a:pt x="21" y="7"/>
                    <a:pt x="21" y="1"/>
                  </a:cubicBezTo>
                  <a:close/>
                  <a:moveTo>
                    <a:pt x="19" y="20"/>
                  </a:moveTo>
                  <a:lnTo>
                    <a:pt x="19" y="20"/>
                  </a:lnTo>
                  <a:cubicBezTo>
                    <a:pt x="19" y="20"/>
                    <a:pt x="18" y="21"/>
                    <a:pt x="18" y="22"/>
                  </a:cubicBezTo>
                  <a:cubicBezTo>
                    <a:pt x="14" y="29"/>
                    <a:pt x="14" y="39"/>
                    <a:pt x="14" y="50"/>
                  </a:cubicBezTo>
                  <a:lnTo>
                    <a:pt x="11" y="67"/>
                  </a:lnTo>
                  <a:cubicBezTo>
                    <a:pt x="11" y="78"/>
                    <a:pt x="7" y="88"/>
                    <a:pt x="4" y="99"/>
                  </a:cubicBezTo>
                  <a:lnTo>
                    <a:pt x="0" y="116"/>
                  </a:lnTo>
                  <a:lnTo>
                    <a:pt x="0" y="130"/>
                  </a:lnTo>
                  <a:lnTo>
                    <a:pt x="4" y="134"/>
                  </a:lnTo>
                  <a:lnTo>
                    <a:pt x="19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6" name="Google Shape;5303;p64">
              <a:extLst>
                <a:ext uri="{FF2B5EF4-FFF2-40B4-BE49-F238E27FC236}">
                  <a16:creationId xmlns:a16="http://schemas.microsoft.com/office/drawing/2014/main" id="{D7385B8A-2C3E-C8FC-7A4F-F1A6FE1C5E39}"/>
                </a:ext>
              </a:extLst>
            </p:cNvPr>
            <p:cNvSpPr/>
            <p:nvPr/>
          </p:nvSpPr>
          <p:spPr>
            <a:xfrm>
              <a:off x="2308244" y="1796767"/>
              <a:ext cx="68" cy="638"/>
            </a:xfrm>
            <a:custGeom>
              <a:avLst/>
              <a:gdLst/>
              <a:ahLst/>
              <a:cxnLst/>
              <a:rect l="l" t="t" r="r" b="b"/>
              <a:pathLst>
                <a:path w="5" h="47" extrusionOk="0">
                  <a:moveTo>
                    <a:pt x="4" y="1"/>
                  </a:moveTo>
                  <a:lnTo>
                    <a:pt x="3" y="20"/>
                  </a:lnTo>
                  <a:lnTo>
                    <a:pt x="3" y="20"/>
                  </a:lnTo>
                  <a:cubicBezTo>
                    <a:pt x="4" y="13"/>
                    <a:pt x="4" y="7"/>
                    <a:pt x="4" y="1"/>
                  </a:cubicBezTo>
                  <a:close/>
                  <a:moveTo>
                    <a:pt x="3" y="20"/>
                  </a:moveTo>
                  <a:cubicBezTo>
                    <a:pt x="2" y="28"/>
                    <a:pt x="1" y="37"/>
                    <a:pt x="1" y="46"/>
                  </a:cubicBezTo>
                  <a:lnTo>
                    <a:pt x="3" y="2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7" name="Google Shape;5304;p64">
              <a:extLst>
                <a:ext uri="{FF2B5EF4-FFF2-40B4-BE49-F238E27FC236}">
                  <a16:creationId xmlns:a16="http://schemas.microsoft.com/office/drawing/2014/main" id="{881BF6F3-F77F-16B9-6C96-CDCFFB4254E8}"/>
                </a:ext>
              </a:extLst>
            </p:cNvPr>
            <p:cNvSpPr/>
            <p:nvPr/>
          </p:nvSpPr>
          <p:spPr>
            <a:xfrm>
              <a:off x="2308108" y="1797772"/>
              <a:ext cx="109" cy="1005"/>
            </a:xfrm>
            <a:custGeom>
              <a:avLst/>
              <a:gdLst/>
              <a:ahLst/>
              <a:cxnLst/>
              <a:rect l="l" t="t" r="r" b="b"/>
              <a:pathLst>
                <a:path w="8" h="74" extrusionOk="0">
                  <a:moveTo>
                    <a:pt x="7" y="0"/>
                  </a:moveTo>
                  <a:cubicBezTo>
                    <a:pt x="7" y="25"/>
                    <a:pt x="4" y="49"/>
                    <a:pt x="0" y="74"/>
                  </a:cubicBezTo>
                  <a:cubicBezTo>
                    <a:pt x="4" y="49"/>
                    <a:pt x="7" y="25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8" name="Google Shape;5305;p64">
              <a:extLst>
                <a:ext uri="{FF2B5EF4-FFF2-40B4-BE49-F238E27FC236}">
                  <a16:creationId xmlns:a16="http://schemas.microsoft.com/office/drawing/2014/main" id="{F6D7C2BC-85E0-A65C-2958-B65446CA237F}"/>
                </a:ext>
              </a:extLst>
            </p:cNvPr>
            <p:cNvSpPr/>
            <p:nvPr/>
          </p:nvSpPr>
          <p:spPr>
            <a:xfrm>
              <a:off x="2306397" y="180570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9" name="Google Shape;5306;p64">
              <a:extLst>
                <a:ext uri="{FF2B5EF4-FFF2-40B4-BE49-F238E27FC236}">
                  <a16:creationId xmlns:a16="http://schemas.microsoft.com/office/drawing/2014/main" id="{B8D3F425-1772-20D6-6EE7-B8AB126778EC}"/>
                </a:ext>
              </a:extLst>
            </p:cNvPr>
            <p:cNvSpPr/>
            <p:nvPr/>
          </p:nvSpPr>
          <p:spPr>
            <a:xfrm>
              <a:off x="2307918" y="1800528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lnTo>
                    <a:pt x="0" y="18"/>
                  </a:lnTo>
                  <a:lnTo>
                    <a:pt x="0" y="32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0" name="Google Shape;5307;p64">
              <a:extLst>
                <a:ext uri="{FF2B5EF4-FFF2-40B4-BE49-F238E27FC236}">
                  <a16:creationId xmlns:a16="http://schemas.microsoft.com/office/drawing/2014/main" id="{970E0544-40B0-D64A-D568-8A7BD359F033}"/>
                </a:ext>
              </a:extLst>
            </p:cNvPr>
            <p:cNvSpPr/>
            <p:nvPr/>
          </p:nvSpPr>
          <p:spPr>
            <a:xfrm>
              <a:off x="2307388" y="1803284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7"/>
                    <a:pt x="1" y="14"/>
                    <a:pt x="1" y="21"/>
                  </a:cubicBezTo>
                  <a:cubicBezTo>
                    <a:pt x="4" y="14"/>
                    <a:pt x="4" y="7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1" name="Google Shape;5308;p64">
              <a:extLst>
                <a:ext uri="{FF2B5EF4-FFF2-40B4-BE49-F238E27FC236}">
                  <a16:creationId xmlns:a16="http://schemas.microsoft.com/office/drawing/2014/main" id="{FDFDEFFE-68E6-1B8B-B1C4-7DC5678BB09C}"/>
                </a:ext>
              </a:extLst>
            </p:cNvPr>
            <p:cNvSpPr/>
            <p:nvPr/>
          </p:nvSpPr>
          <p:spPr>
            <a:xfrm>
              <a:off x="2306587" y="180513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cubicBezTo>
                    <a:pt x="4" y="8"/>
                    <a:pt x="7" y="4"/>
                    <a:pt x="7" y="1"/>
                  </a:cubicBezTo>
                  <a:cubicBezTo>
                    <a:pt x="7" y="4"/>
                    <a:pt x="4" y="8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2" name="Google Shape;5309;p64">
              <a:extLst>
                <a:ext uri="{FF2B5EF4-FFF2-40B4-BE49-F238E27FC236}">
                  <a16:creationId xmlns:a16="http://schemas.microsoft.com/office/drawing/2014/main" id="{0D2AECAE-0295-6A69-4419-4668DB47CCF9}"/>
                </a:ext>
              </a:extLst>
            </p:cNvPr>
            <p:cNvSpPr/>
            <p:nvPr/>
          </p:nvSpPr>
          <p:spPr>
            <a:xfrm>
              <a:off x="2308868" y="1791404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3" name="Google Shape;5310;p64">
              <a:extLst>
                <a:ext uri="{FF2B5EF4-FFF2-40B4-BE49-F238E27FC236}">
                  <a16:creationId xmlns:a16="http://schemas.microsoft.com/office/drawing/2014/main" id="{2F9309F8-07A5-FA59-A4B4-9290C7D810D1}"/>
                </a:ext>
              </a:extLst>
            </p:cNvPr>
            <p:cNvSpPr/>
            <p:nvPr/>
          </p:nvSpPr>
          <p:spPr>
            <a:xfrm>
              <a:off x="2307538" y="1802809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4" name="Google Shape;5311;p64">
              <a:extLst>
                <a:ext uri="{FF2B5EF4-FFF2-40B4-BE49-F238E27FC236}">
                  <a16:creationId xmlns:a16="http://schemas.microsoft.com/office/drawing/2014/main" id="{FB59697A-66B7-BE67-4761-D262CA974400}"/>
                </a:ext>
              </a:extLst>
            </p:cNvPr>
            <p:cNvSpPr/>
            <p:nvPr/>
          </p:nvSpPr>
          <p:spPr>
            <a:xfrm>
              <a:off x="2307253" y="1803705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1"/>
                  </a:moveTo>
                  <a:cubicBezTo>
                    <a:pt x="4" y="8"/>
                    <a:pt x="4" y="15"/>
                    <a:pt x="0" y="25"/>
                  </a:cubicBezTo>
                  <a:cubicBezTo>
                    <a:pt x="4" y="18"/>
                    <a:pt x="7" y="8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5" name="Google Shape;5312;p64">
              <a:extLst>
                <a:ext uri="{FF2B5EF4-FFF2-40B4-BE49-F238E27FC236}">
                  <a16:creationId xmlns:a16="http://schemas.microsoft.com/office/drawing/2014/main" id="{C1E7AC6B-A247-F5A6-376E-5AF98C0105E5}"/>
                </a:ext>
              </a:extLst>
            </p:cNvPr>
            <p:cNvSpPr/>
            <p:nvPr/>
          </p:nvSpPr>
          <p:spPr>
            <a:xfrm>
              <a:off x="2307103" y="1804045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6" name="Google Shape;5313;p64">
              <a:extLst>
                <a:ext uri="{FF2B5EF4-FFF2-40B4-BE49-F238E27FC236}">
                  <a16:creationId xmlns:a16="http://schemas.microsoft.com/office/drawing/2014/main" id="{A6D2ACE3-57F7-638A-55BE-9A862609361C}"/>
                </a:ext>
              </a:extLst>
            </p:cNvPr>
            <p:cNvSpPr/>
            <p:nvPr/>
          </p:nvSpPr>
          <p:spPr>
            <a:xfrm>
              <a:off x="2306248" y="180604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7" name="Google Shape;5314;p64">
              <a:extLst>
                <a:ext uri="{FF2B5EF4-FFF2-40B4-BE49-F238E27FC236}">
                  <a16:creationId xmlns:a16="http://schemas.microsoft.com/office/drawing/2014/main" id="{80B5D934-1D86-EC56-91DD-2E4CB39E6059}"/>
                </a:ext>
              </a:extLst>
            </p:cNvPr>
            <p:cNvSpPr/>
            <p:nvPr/>
          </p:nvSpPr>
          <p:spPr>
            <a:xfrm>
              <a:off x="2306492" y="180537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18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8" name="Google Shape;5315;p64">
              <a:extLst>
                <a:ext uri="{FF2B5EF4-FFF2-40B4-BE49-F238E27FC236}">
                  <a16:creationId xmlns:a16="http://schemas.microsoft.com/office/drawing/2014/main" id="{A133AA95-3932-CBBF-86C1-9BBFCDC3B746}"/>
                </a:ext>
              </a:extLst>
            </p:cNvPr>
            <p:cNvSpPr/>
            <p:nvPr/>
          </p:nvSpPr>
          <p:spPr>
            <a:xfrm>
              <a:off x="2305393" y="180965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36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9" name="Google Shape;5316;p64">
              <a:extLst>
                <a:ext uri="{FF2B5EF4-FFF2-40B4-BE49-F238E27FC236}">
                  <a16:creationId xmlns:a16="http://schemas.microsoft.com/office/drawing/2014/main" id="{D51DAEC1-F38E-ECF9-2084-5DE5725CD8A9}"/>
                </a:ext>
              </a:extLst>
            </p:cNvPr>
            <p:cNvSpPr/>
            <p:nvPr/>
          </p:nvSpPr>
          <p:spPr>
            <a:xfrm>
              <a:off x="2304687" y="181440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lnTo>
                    <a:pt x="0" y="22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0" name="Google Shape;5317;p64">
              <a:extLst>
                <a:ext uri="{FF2B5EF4-FFF2-40B4-BE49-F238E27FC236}">
                  <a16:creationId xmlns:a16="http://schemas.microsoft.com/office/drawing/2014/main" id="{4B71897E-0D9E-6847-3DD6-8CCAD0FF994F}"/>
                </a:ext>
              </a:extLst>
            </p:cNvPr>
            <p:cNvSpPr/>
            <p:nvPr/>
          </p:nvSpPr>
          <p:spPr>
            <a:xfrm>
              <a:off x="2304917" y="181231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1" name="Google Shape;5318;p64">
              <a:extLst>
                <a:ext uri="{FF2B5EF4-FFF2-40B4-BE49-F238E27FC236}">
                  <a16:creationId xmlns:a16="http://schemas.microsoft.com/office/drawing/2014/main" id="{EA6B488C-044B-65B6-1543-D8D0AF8149F6}"/>
                </a:ext>
              </a:extLst>
            </p:cNvPr>
            <p:cNvSpPr/>
            <p:nvPr/>
          </p:nvSpPr>
          <p:spPr>
            <a:xfrm>
              <a:off x="2305868" y="1807561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29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2" name="Google Shape;5319;p64">
              <a:extLst>
                <a:ext uri="{FF2B5EF4-FFF2-40B4-BE49-F238E27FC236}">
                  <a16:creationId xmlns:a16="http://schemas.microsoft.com/office/drawing/2014/main" id="{F8AE4020-81A0-A00C-3BCC-DE72F7D31147}"/>
                </a:ext>
              </a:extLst>
            </p:cNvPr>
            <p:cNvSpPr/>
            <p:nvPr/>
          </p:nvSpPr>
          <p:spPr>
            <a:xfrm>
              <a:off x="2305732" y="1808186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0" y="32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3" name="Google Shape;5320;p64">
              <a:extLst>
                <a:ext uri="{FF2B5EF4-FFF2-40B4-BE49-F238E27FC236}">
                  <a16:creationId xmlns:a16="http://schemas.microsoft.com/office/drawing/2014/main" id="{4968B466-A83F-BEC4-88BE-3340C8EA13EC}"/>
                </a:ext>
              </a:extLst>
            </p:cNvPr>
            <p:cNvSpPr/>
            <p:nvPr/>
          </p:nvSpPr>
          <p:spPr>
            <a:xfrm>
              <a:off x="2305107" y="1811363"/>
              <a:ext cx="109" cy="584"/>
            </a:xfrm>
            <a:custGeom>
              <a:avLst/>
              <a:gdLst/>
              <a:ahLst/>
              <a:cxnLst/>
              <a:rect l="l" t="t" r="r" b="b"/>
              <a:pathLst>
                <a:path w="8" h="43" extrusionOk="0">
                  <a:moveTo>
                    <a:pt x="1" y="43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4" name="Google Shape;5321;p64">
              <a:extLst>
                <a:ext uri="{FF2B5EF4-FFF2-40B4-BE49-F238E27FC236}">
                  <a16:creationId xmlns:a16="http://schemas.microsoft.com/office/drawing/2014/main" id="{6D7FE08A-6F75-336A-4BD5-ED2322848BD4}"/>
                </a:ext>
              </a:extLst>
            </p:cNvPr>
            <p:cNvSpPr/>
            <p:nvPr/>
          </p:nvSpPr>
          <p:spPr>
            <a:xfrm>
              <a:off x="2304782" y="1813359"/>
              <a:ext cx="109" cy="638"/>
            </a:xfrm>
            <a:custGeom>
              <a:avLst/>
              <a:gdLst/>
              <a:ahLst/>
              <a:cxnLst/>
              <a:rect l="l" t="t" r="r" b="b"/>
              <a:pathLst>
                <a:path w="8" h="47" extrusionOk="0">
                  <a:moveTo>
                    <a:pt x="0" y="4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5" name="Google Shape;5322;p64">
              <a:extLst>
                <a:ext uri="{FF2B5EF4-FFF2-40B4-BE49-F238E27FC236}">
                  <a16:creationId xmlns:a16="http://schemas.microsoft.com/office/drawing/2014/main" id="{6257518C-34DE-3F3A-18AD-A656C910E5AD}"/>
                </a:ext>
              </a:extLst>
            </p:cNvPr>
            <p:cNvSpPr/>
            <p:nvPr/>
          </p:nvSpPr>
          <p:spPr>
            <a:xfrm>
              <a:off x="2305257" y="1810467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0" y="39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6" name="Google Shape;5323;p64">
              <a:extLst>
                <a:ext uri="{FF2B5EF4-FFF2-40B4-BE49-F238E27FC236}">
                  <a16:creationId xmlns:a16="http://schemas.microsoft.com/office/drawing/2014/main" id="{528BABF5-E75B-4079-721B-01AC784DC8FD}"/>
                </a:ext>
              </a:extLst>
            </p:cNvPr>
            <p:cNvSpPr/>
            <p:nvPr/>
          </p:nvSpPr>
          <p:spPr>
            <a:xfrm>
              <a:off x="2305542" y="180889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0" y="36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7" name="Google Shape;5324;p64">
              <a:extLst>
                <a:ext uri="{FF2B5EF4-FFF2-40B4-BE49-F238E27FC236}">
                  <a16:creationId xmlns:a16="http://schemas.microsoft.com/office/drawing/2014/main" id="{9005BB56-05AD-EEBF-C614-2A8D0AAD271D}"/>
                </a:ext>
              </a:extLst>
            </p:cNvPr>
            <p:cNvSpPr/>
            <p:nvPr/>
          </p:nvSpPr>
          <p:spPr>
            <a:xfrm>
              <a:off x="2306112" y="1806516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25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8" name="Google Shape;5325;p64">
              <a:extLst>
                <a:ext uri="{FF2B5EF4-FFF2-40B4-BE49-F238E27FC236}">
                  <a16:creationId xmlns:a16="http://schemas.microsoft.com/office/drawing/2014/main" id="{5081822E-228E-B592-BBB5-BFA4F3301243}"/>
                </a:ext>
              </a:extLst>
            </p:cNvPr>
            <p:cNvSpPr/>
            <p:nvPr/>
          </p:nvSpPr>
          <p:spPr>
            <a:xfrm>
              <a:off x="2306017" y="1806991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29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9" name="Google Shape;5326;p64">
              <a:extLst>
                <a:ext uri="{FF2B5EF4-FFF2-40B4-BE49-F238E27FC236}">
                  <a16:creationId xmlns:a16="http://schemas.microsoft.com/office/drawing/2014/main" id="{E94BE94E-F983-7F34-F69A-6E7A42DAE678}"/>
                </a:ext>
              </a:extLst>
            </p:cNvPr>
            <p:cNvSpPr/>
            <p:nvPr/>
          </p:nvSpPr>
          <p:spPr>
            <a:xfrm>
              <a:off x="2306682" y="1804370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32" y="1"/>
                  </a:moveTo>
                  <a:cubicBezTo>
                    <a:pt x="25" y="18"/>
                    <a:pt x="18" y="32"/>
                    <a:pt x="7" y="46"/>
                  </a:cubicBezTo>
                  <a:cubicBezTo>
                    <a:pt x="7" y="50"/>
                    <a:pt x="4" y="53"/>
                    <a:pt x="0" y="57"/>
                  </a:cubicBezTo>
                  <a:cubicBezTo>
                    <a:pt x="4" y="53"/>
                    <a:pt x="7" y="50"/>
                    <a:pt x="7" y="46"/>
                  </a:cubicBezTo>
                  <a:cubicBezTo>
                    <a:pt x="18" y="32"/>
                    <a:pt x="25" y="18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0" name="Google Shape;5327;p64">
              <a:extLst>
                <a:ext uri="{FF2B5EF4-FFF2-40B4-BE49-F238E27FC236}">
                  <a16:creationId xmlns:a16="http://schemas.microsoft.com/office/drawing/2014/main" id="{8E8BC3F2-A1CD-1F59-06F1-0D2A4C062A6B}"/>
                </a:ext>
              </a:extLst>
            </p:cNvPr>
            <p:cNvSpPr/>
            <p:nvPr/>
          </p:nvSpPr>
          <p:spPr>
            <a:xfrm>
              <a:off x="2307633" y="1802280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1" name="Google Shape;5328;p64">
              <a:extLst>
                <a:ext uri="{FF2B5EF4-FFF2-40B4-BE49-F238E27FC236}">
                  <a16:creationId xmlns:a16="http://schemas.microsoft.com/office/drawing/2014/main" id="{FEC1A499-BE95-03AB-F9CB-3F7E6406D623}"/>
                </a:ext>
              </a:extLst>
            </p:cNvPr>
            <p:cNvSpPr/>
            <p:nvPr/>
          </p:nvSpPr>
          <p:spPr>
            <a:xfrm>
              <a:off x="2307769" y="1801614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1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2" name="Google Shape;5329;p64">
              <a:extLst>
                <a:ext uri="{FF2B5EF4-FFF2-40B4-BE49-F238E27FC236}">
                  <a16:creationId xmlns:a16="http://schemas.microsoft.com/office/drawing/2014/main" id="{9C661106-CAE3-5E4A-044D-AA90AE0F776E}"/>
                </a:ext>
              </a:extLst>
            </p:cNvPr>
            <p:cNvSpPr/>
            <p:nvPr/>
          </p:nvSpPr>
          <p:spPr>
            <a:xfrm>
              <a:off x="2307823" y="1800759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7" y="1"/>
                  </a:moveTo>
                  <a:lnTo>
                    <a:pt x="4" y="15"/>
                  </a:lnTo>
                  <a:cubicBezTo>
                    <a:pt x="0" y="22"/>
                    <a:pt x="0" y="25"/>
                    <a:pt x="0" y="32"/>
                  </a:cubicBezTo>
                  <a:cubicBezTo>
                    <a:pt x="4" y="22"/>
                    <a:pt x="7" y="11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3" name="Google Shape;5330;p64">
              <a:extLst>
                <a:ext uri="{FF2B5EF4-FFF2-40B4-BE49-F238E27FC236}">
                  <a16:creationId xmlns:a16="http://schemas.microsoft.com/office/drawing/2014/main" id="{93549D22-F1C9-45FA-B21E-EFAD423018B5}"/>
                </a:ext>
              </a:extLst>
            </p:cNvPr>
            <p:cNvSpPr/>
            <p:nvPr/>
          </p:nvSpPr>
          <p:spPr>
            <a:xfrm>
              <a:off x="2564356" y="1700353"/>
              <a:ext cx="79157" cy="32179"/>
            </a:xfrm>
            <a:custGeom>
              <a:avLst/>
              <a:gdLst/>
              <a:ahLst/>
              <a:cxnLst/>
              <a:rect l="l" t="t" r="r" b="b"/>
              <a:pathLst>
                <a:path w="5830" h="2370" extrusionOk="0">
                  <a:moveTo>
                    <a:pt x="2643" y="1"/>
                  </a:moveTo>
                  <a:cubicBezTo>
                    <a:pt x="2561" y="1"/>
                    <a:pt x="2452" y="20"/>
                    <a:pt x="2371" y="65"/>
                  </a:cubicBezTo>
                  <a:cubicBezTo>
                    <a:pt x="2318" y="90"/>
                    <a:pt x="2283" y="135"/>
                    <a:pt x="2276" y="191"/>
                  </a:cubicBezTo>
                  <a:cubicBezTo>
                    <a:pt x="2265" y="293"/>
                    <a:pt x="2230" y="366"/>
                    <a:pt x="2160" y="405"/>
                  </a:cubicBezTo>
                  <a:cubicBezTo>
                    <a:pt x="2127" y="424"/>
                    <a:pt x="2088" y="434"/>
                    <a:pt x="2041" y="434"/>
                  </a:cubicBezTo>
                  <a:cubicBezTo>
                    <a:pt x="1953" y="434"/>
                    <a:pt x="1840" y="398"/>
                    <a:pt x="1695" y="324"/>
                  </a:cubicBezTo>
                  <a:cubicBezTo>
                    <a:pt x="1557" y="256"/>
                    <a:pt x="1390" y="224"/>
                    <a:pt x="1258" y="224"/>
                  </a:cubicBezTo>
                  <a:cubicBezTo>
                    <a:pt x="1180" y="224"/>
                    <a:pt x="1114" y="235"/>
                    <a:pt x="1075" y="258"/>
                  </a:cubicBezTo>
                  <a:cubicBezTo>
                    <a:pt x="1058" y="268"/>
                    <a:pt x="1047" y="279"/>
                    <a:pt x="1044" y="289"/>
                  </a:cubicBezTo>
                  <a:cubicBezTo>
                    <a:pt x="1023" y="492"/>
                    <a:pt x="781" y="664"/>
                    <a:pt x="669" y="713"/>
                  </a:cubicBezTo>
                  <a:lnTo>
                    <a:pt x="669" y="716"/>
                  </a:lnTo>
                  <a:lnTo>
                    <a:pt x="666" y="720"/>
                  </a:lnTo>
                  <a:lnTo>
                    <a:pt x="662" y="727"/>
                  </a:lnTo>
                  <a:lnTo>
                    <a:pt x="662" y="730"/>
                  </a:lnTo>
                  <a:lnTo>
                    <a:pt x="659" y="734"/>
                  </a:lnTo>
                  <a:lnTo>
                    <a:pt x="659" y="737"/>
                  </a:lnTo>
                  <a:lnTo>
                    <a:pt x="652" y="744"/>
                  </a:lnTo>
                  <a:lnTo>
                    <a:pt x="652" y="748"/>
                  </a:lnTo>
                  <a:lnTo>
                    <a:pt x="645" y="758"/>
                  </a:lnTo>
                  <a:lnTo>
                    <a:pt x="645" y="762"/>
                  </a:lnTo>
                  <a:lnTo>
                    <a:pt x="638" y="772"/>
                  </a:lnTo>
                  <a:lnTo>
                    <a:pt x="634" y="776"/>
                  </a:lnTo>
                  <a:lnTo>
                    <a:pt x="627" y="793"/>
                  </a:lnTo>
                  <a:lnTo>
                    <a:pt x="617" y="814"/>
                  </a:lnTo>
                  <a:lnTo>
                    <a:pt x="613" y="825"/>
                  </a:lnTo>
                  <a:lnTo>
                    <a:pt x="606" y="839"/>
                  </a:lnTo>
                  <a:lnTo>
                    <a:pt x="599" y="849"/>
                  </a:lnTo>
                  <a:lnTo>
                    <a:pt x="592" y="863"/>
                  </a:lnTo>
                  <a:lnTo>
                    <a:pt x="585" y="877"/>
                  </a:lnTo>
                  <a:lnTo>
                    <a:pt x="582" y="895"/>
                  </a:lnTo>
                  <a:lnTo>
                    <a:pt x="575" y="912"/>
                  </a:lnTo>
                  <a:lnTo>
                    <a:pt x="571" y="919"/>
                  </a:lnTo>
                  <a:cubicBezTo>
                    <a:pt x="627" y="958"/>
                    <a:pt x="676" y="1007"/>
                    <a:pt x="715" y="1059"/>
                  </a:cubicBezTo>
                  <a:lnTo>
                    <a:pt x="739" y="1091"/>
                  </a:lnTo>
                  <a:cubicBezTo>
                    <a:pt x="777" y="1134"/>
                    <a:pt x="843" y="1152"/>
                    <a:pt x="904" y="1152"/>
                  </a:cubicBezTo>
                  <a:cubicBezTo>
                    <a:pt x="924" y="1152"/>
                    <a:pt x="942" y="1150"/>
                    <a:pt x="960" y="1147"/>
                  </a:cubicBezTo>
                  <a:cubicBezTo>
                    <a:pt x="998" y="1143"/>
                    <a:pt x="1037" y="1122"/>
                    <a:pt x="1058" y="1087"/>
                  </a:cubicBezTo>
                  <a:cubicBezTo>
                    <a:pt x="1068" y="1052"/>
                    <a:pt x="1100" y="1024"/>
                    <a:pt x="1135" y="1014"/>
                  </a:cubicBezTo>
                  <a:cubicBezTo>
                    <a:pt x="1148" y="1010"/>
                    <a:pt x="1162" y="1008"/>
                    <a:pt x="1178" y="1008"/>
                  </a:cubicBezTo>
                  <a:cubicBezTo>
                    <a:pt x="1373" y="1008"/>
                    <a:pt x="1757" y="1273"/>
                    <a:pt x="1915" y="1402"/>
                  </a:cubicBezTo>
                  <a:cubicBezTo>
                    <a:pt x="1936" y="1420"/>
                    <a:pt x="1954" y="1437"/>
                    <a:pt x="1968" y="1451"/>
                  </a:cubicBezTo>
                  <a:cubicBezTo>
                    <a:pt x="1992" y="1472"/>
                    <a:pt x="2013" y="1500"/>
                    <a:pt x="2024" y="1532"/>
                  </a:cubicBezTo>
                  <a:cubicBezTo>
                    <a:pt x="2027" y="1546"/>
                    <a:pt x="2027" y="1563"/>
                    <a:pt x="2024" y="1577"/>
                  </a:cubicBezTo>
                  <a:cubicBezTo>
                    <a:pt x="2010" y="1641"/>
                    <a:pt x="1947" y="1651"/>
                    <a:pt x="1887" y="1662"/>
                  </a:cubicBezTo>
                  <a:cubicBezTo>
                    <a:pt x="1817" y="1676"/>
                    <a:pt x="1730" y="1693"/>
                    <a:pt x="1695" y="1763"/>
                  </a:cubicBezTo>
                  <a:cubicBezTo>
                    <a:pt x="1641" y="1871"/>
                    <a:pt x="1549" y="1899"/>
                    <a:pt x="1456" y="1899"/>
                  </a:cubicBezTo>
                  <a:cubicBezTo>
                    <a:pt x="1398" y="1899"/>
                    <a:pt x="1341" y="1888"/>
                    <a:pt x="1292" y="1879"/>
                  </a:cubicBezTo>
                  <a:cubicBezTo>
                    <a:pt x="1261" y="1871"/>
                    <a:pt x="1227" y="1867"/>
                    <a:pt x="1195" y="1867"/>
                  </a:cubicBezTo>
                  <a:cubicBezTo>
                    <a:pt x="1184" y="1867"/>
                    <a:pt x="1173" y="1867"/>
                    <a:pt x="1163" y="1868"/>
                  </a:cubicBezTo>
                  <a:cubicBezTo>
                    <a:pt x="1159" y="1872"/>
                    <a:pt x="1152" y="1875"/>
                    <a:pt x="1149" y="1879"/>
                  </a:cubicBezTo>
                  <a:cubicBezTo>
                    <a:pt x="1128" y="1893"/>
                    <a:pt x="1103" y="1907"/>
                    <a:pt x="1079" y="1914"/>
                  </a:cubicBezTo>
                  <a:lnTo>
                    <a:pt x="1058" y="1921"/>
                  </a:lnTo>
                  <a:lnTo>
                    <a:pt x="1040" y="1928"/>
                  </a:lnTo>
                  <a:lnTo>
                    <a:pt x="1037" y="1928"/>
                  </a:lnTo>
                  <a:cubicBezTo>
                    <a:pt x="869" y="1970"/>
                    <a:pt x="697" y="1991"/>
                    <a:pt x="526" y="1994"/>
                  </a:cubicBezTo>
                  <a:lnTo>
                    <a:pt x="494" y="1994"/>
                  </a:lnTo>
                  <a:lnTo>
                    <a:pt x="372" y="1998"/>
                  </a:lnTo>
                  <a:lnTo>
                    <a:pt x="372" y="1994"/>
                  </a:lnTo>
                  <a:lnTo>
                    <a:pt x="351" y="1994"/>
                  </a:lnTo>
                  <a:cubicBezTo>
                    <a:pt x="337" y="1994"/>
                    <a:pt x="323" y="1994"/>
                    <a:pt x="312" y="1991"/>
                  </a:cubicBezTo>
                  <a:cubicBezTo>
                    <a:pt x="309" y="1990"/>
                    <a:pt x="305" y="1990"/>
                    <a:pt x="301" y="1990"/>
                  </a:cubicBezTo>
                  <a:cubicBezTo>
                    <a:pt x="247" y="1990"/>
                    <a:pt x="153" y="2038"/>
                    <a:pt x="81" y="2113"/>
                  </a:cubicBezTo>
                  <a:cubicBezTo>
                    <a:pt x="46" y="2141"/>
                    <a:pt x="21" y="2180"/>
                    <a:pt x="0" y="2218"/>
                  </a:cubicBezTo>
                  <a:cubicBezTo>
                    <a:pt x="20" y="2219"/>
                    <a:pt x="40" y="2220"/>
                    <a:pt x="59" y="2220"/>
                  </a:cubicBezTo>
                  <a:cubicBezTo>
                    <a:pt x="112" y="2220"/>
                    <a:pt x="164" y="2216"/>
                    <a:pt x="218" y="2211"/>
                  </a:cubicBezTo>
                  <a:cubicBezTo>
                    <a:pt x="296" y="2204"/>
                    <a:pt x="379" y="2197"/>
                    <a:pt x="459" y="2197"/>
                  </a:cubicBezTo>
                  <a:cubicBezTo>
                    <a:pt x="571" y="2197"/>
                    <a:pt x="674" y="2211"/>
                    <a:pt x="746" y="2260"/>
                  </a:cubicBezTo>
                  <a:cubicBezTo>
                    <a:pt x="775" y="2278"/>
                    <a:pt x="804" y="2286"/>
                    <a:pt x="835" y="2286"/>
                  </a:cubicBezTo>
                  <a:cubicBezTo>
                    <a:pt x="876" y="2286"/>
                    <a:pt x="920" y="2273"/>
                    <a:pt x="974" y="2253"/>
                  </a:cubicBezTo>
                  <a:cubicBezTo>
                    <a:pt x="1017" y="2239"/>
                    <a:pt x="1068" y="2222"/>
                    <a:pt x="1118" y="2222"/>
                  </a:cubicBezTo>
                  <a:cubicBezTo>
                    <a:pt x="1169" y="2222"/>
                    <a:pt x="1220" y="2240"/>
                    <a:pt x="1261" y="2299"/>
                  </a:cubicBezTo>
                  <a:cubicBezTo>
                    <a:pt x="1292" y="2343"/>
                    <a:pt x="1345" y="2354"/>
                    <a:pt x="1417" y="2354"/>
                  </a:cubicBezTo>
                  <a:cubicBezTo>
                    <a:pt x="1442" y="2354"/>
                    <a:pt x="1469" y="2353"/>
                    <a:pt x="1499" y="2351"/>
                  </a:cubicBezTo>
                  <a:lnTo>
                    <a:pt x="1544" y="2348"/>
                  </a:lnTo>
                  <a:lnTo>
                    <a:pt x="1600" y="2348"/>
                  </a:lnTo>
                  <a:cubicBezTo>
                    <a:pt x="1614" y="2348"/>
                    <a:pt x="1625" y="2348"/>
                    <a:pt x="1639" y="2351"/>
                  </a:cubicBezTo>
                  <a:lnTo>
                    <a:pt x="1646" y="2351"/>
                  </a:lnTo>
                  <a:cubicBezTo>
                    <a:pt x="1660" y="2355"/>
                    <a:pt x="1670" y="2358"/>
                    <a:pt x="1684" y="2362"/>
                  </a:cubicBezTo>
                  <a:cubicBezTo>
                    <a:pt x="1697" y="2367"/>
                    <a:pt x="1727" y="2369"/>
                    <a:pt x="1768" y="2369"/>
                  </a:cubicBezTo>
                  <a:cubicBezTo>
                    <a:pt x="1840" y="2369"/>
                    <a:pt x="1946" y="2362"/>
                    <a:pt x="2059" y="2351"/>
                  </a:cubicBezTo>
                  <a:cubicBezTo>
                    <a:pt x="2146" y="2341"/>
                    <a:pt x="2244" y="2330"/>
                    <a:pt x="2336" y="2316"/>
                  </a:cubicBezTo>
                  <a:lnTo>
                    <a:pt x="2339" y="2313"/>
                  </a:lnTo>
                  <a:lnTo>
                    <a:pt x="2346" y="2299"/>
                  </a:lnTo>
                  <a:cubicBezTo>
                    <a:pt x="2350" y="2295"/>
                    <a:pt x="2353" y="2288"/>
                    <a:pt x="2357" y="2281"/>
                  </a:cubicBezTo>
                  <a:lnTo>
                    <a:pt x="2364" y="2271"/>
                  </a:lnTo>
                  <a:cubicBezTo>
                    <a:pt x="2367" y="2264"/>
                    <a:pt x="2367" y="2257"/>
                    <a:pt x="2371" y="2253"/>
                  </a:cubicBezTo>
                  <a:lnTo>
                    <a:pt x="2374" y="2239"/>
                  </a:lnTo>
                  <a:cubicBezTo>
                    <a:pt x="2374" y="2232"/>
                    <a:pt x="2378" y="2229"/>
                    <a:pt x="2381" y="2222"/>
                  </a:cubicBezTo>
                  <a:lnTo>
                    <a:pt x="2385" y="2208"/>
                  </a:lnTo>
                  <a:cubicBezTo>
                    <a:pt x="2385" y="2204"/>
                    <a:pt x="2385" y="2197"/>
                    <a:pt x="2388" y="2194"/>
                  </a:cubicBezTo>
                  <a:cubicBezTo>
                    <a:pt x="2388" y="2187"/>
                    <a:pt x="2388" y="2183"/>
                    <a:pt x="2388" y="2180"/>
                  </a:cubicBezTo>
                  <a:cubicBezTo>
                    <a:pt x="2392" y="2176"/>
                    <a:pt x="2388" y="2169"/>
                    <a:pt x="2392" y="2162"/>
                  </a:cubicBezTo>
                  <a:cubicBezTo>
                    <a:pt x="2395" y="2159"/>
                    <a:pt x="2392" y="2155"/>
                    <a:pt x="2392" y="2152"/>
                  </a:cubicBezTo>
                  <a:lnTo>
                    <a:pt x="2392" y="2138"/>
                  </a:lnTo>
                  <a:lnTo>
                    <a:pt x="2392" y="2131"/>
                  </a:lnTo>
                  <a:lnTo>
                    <a:pt x="2392" y="2110"/>
                  </a:lnTo>
                  <a:cubicBezTo>
                    <a:pt x="2388" y="2068"/>
                    <a:pt x="2399" y="2029"/>
                    <a:pt x="2423" y="1994"/>
                  </a:cubicBezTo>
                  <a:cubicBezTo>
                    <a:pt x="2465" y="1935"/>
                    <a:pt x="2539" y="1924"/>
                    <a:pt x="2598" y="1917"/>
                  </a:cubicBezTo>
                  <a:cubicBezTo>
                    <a:pt x="2626" y="1914"/>
                    <a:pt x="2658" y="1907"/>
                    <a:pt x="2686" y="1900"/>
                  </a:cubicBezTo>
                  <a:cubicBezTo>
                    <a:pt x="2735" y="1879"/>
                    <a:pt x="2777" y="1847"/>
                    <a:pt x="2812" y="1809"/>
                  </a:cubicBezTo>
                  <a:cubicBezTo>
                    <a:pt x="2871" y="1756"/>
                    <a:pt x="2931" y="1704"/>
                    <a:pt x="3008" y="1704"/>
                  </a:cubicBezTo>
                  <a:cubicBezTo>
                    <a:pt x="3046" y="1693"/>
                    <a:pt x="3085" y="1679"/>
                    <a:pt x="3116" y="1655"/>
                  </a:cubicBezTo>
                  <a:cubicBezTo>
                    <a:pt x="3173" y="1622"/>
                    <a:pt x="3235" y="1588"/>
                    <a:pt x="3299" y="1588"/>
                  </a:cubicBezTo>
                  <a:cubicBezTo>
                    <a:pt x="3319" y="1588"/>
                    <a:pt x="3338" y="1591"/>
                    <a:pt x="3358" y="1599"/>
                  </a:cubicBezTo>
                  <a:cubicBezTo>
                    <a:pt x="3396" y="1616"/>
                    <a:pt x="3435" y="1637"/>
                    <a:pt x="3466" y="1665"/>
                  </a:cubicBezTo>
                  <a:lnTo>
                    <a:pt x="3501" y="1690"/>
                  </a:lnTo>
                  <a:cubicBezTo>
                    <a:pt x="3543" y="1718"/>
                    <a:pt x="3571" y="1733"/>
                    <a:pt x="3595" y="1733"/>
                  </a:cubicBezTo>
                  <a:cubicBezTo>
                    <a:pt x="3609" y="1733"/>
                    <a:pt x="3621" y="1728"/>
                    <a:pt x="3634" y="1718"/>
                  </a:cubicBezTo>
                  <a:cubicBezTo>
                    <a:pt x="3673" y="1686"/>
                    <a:pt x="3718" y="1662"/>
                    <a:pt x="3771" y="1648"/>
                  </a:cubicBezTo>
                  <a:cubicBezTo>
                    <a:pt x="3816" y="1634"/>
                    <a:pt x="3858" y="1620"/>
                    <a:pt x="3953" y="1507"/>
                  </a:cubicBezTo>
                  <a:cubicBezTo>
                    <a:pt x="4075" y="1360"/>
                    <a:pt x="4177" y="1322"/>
                    <a:pt x="4289" y="1322"/>
                  </a:cubicBezTo>
                  <a:cubicBezTo>
                    <a:pt x="4327" y="1322"/>
                    <a:pt x="4366" y="1322"/>
                    <a:pt x="4408" y="1329"/>
                  </a:cubicBezTo>
                  <a:lnTo>
                    <a:pt x="4450" y="1332"/>
                  </a:lnTo>
                  <a:lnTo>
                    <a:pt x="4457" y="1332"/>
                  </a:lnTo>
                  <a:lnTo>
                    <a:pt x="4506" y="1339"/>
                  </a:lnTo>
                  <a:cubicBezTo>
                    <a:pt x="4530" y="1342"/>
                    <a:pt x="4552" y="1344"/>
                    <a:pt x="4573" y="1344"/>
                  </a:cubicBezTo>
                  <a:cubicBezTo>
                    <a:pt x="4681" y="1344"/>
                    <a:pt x="4751" y="1307"/>
                    <a:pt x="4804" y="1248"/>
                  </a:cubicBezTo>
                  <a:cubicBezTo>
                    <a:pt x="4832" y="1213"/>
                    <a:pt x="4860" y="1175"/>
                    <a:pt x="4877" y="1133"/>
                  </a:cubicBezTo>
                  <a:cubicBezTo>
                    <a:pt x="4933" y="1021"/>
                    <a:pt x="5052" y="979"/>
                    <a:pt x="5157" y="940"/>
                  </a:cubicBezTo>
                  <a:cubicBezTo>
                    <a:pt x="5217" y="926"/>
                    <a:pt x="5273" y="898"/>
                    <a:pt x="5322" y="867"/>
                  </a:cubicBezTo>
                  <a:cubicBezTo>
                    <a:pt x="5451" y="772"/>
                    <a:pt x="5682" y="674"/>
                    <a:pt x="5794" y="629"/>
                  </a:cubicBezTo>
                  <a:lnTo>
                    <a:pt x="5822" y="618"/>
                  </a:lnTo>
                  <a:cubicBezTo>
                    <a:pt x="5822" y="618"/>
                    <a:pt x="5822" y="615"/>
                    <a:pt x="5826" y="611"/>
                  </a:cubicBezTo>
                  <a:cubicBezTo>
                    <a:pt x="5826" y="608"/>
                    <a:pt x="5829" y="601"/>
                    <a:pt x="5829" y="590"/>
                  </a:cubicBezTo>
                  <a:lnTo>
                    <a:pt x="5829" y="590"/>
                  </a:lnTo>
                  <a:lnTo>
                    <a:pt x="5819" y="597"/>
                  </a:lnTo>
                  <a:lnTo>
                    <a:pt x="5815" y="597"/>
                  </a:lnTo>
                  <a:lnTo>
                    <a:pt x="5798" y="587"/>
                  </a:lnTo>
                  <a:lnTo>
                    <a:pt x="5787" y="583"/>
                  </a:lnTo>
                  <a:lnTo>
                    <a:pt x="5777" y="576"/>
                  </a:lnTo>
                  <a:lnTo>
                    <a:pt x="5763" y="573"/>
                  </a:lnTo>
                  <a:lnTo>
                    <a:pt x="5756" y="569"/>
                  </a:lnTo>
                  <a:lnTo>
                    <a:pt x="5742" y="566"/>
                  </a:lnTo>
                  <a:lnTo>
                    <a:pt x="5651" y="566"/>
                  </a:lnTo>
                  <a:cubicBezTo>
                    <a:pt x="5642" y="567"/>
                    <a:pt x="5634" y="567"/>
                    <a:pt x="5625" y="567"/>
                  </a:cubicBezTo>
                  <a:cubicBezTo>
                    <a:pt x="5567" y="567"/>
                    <a:pt x="5511" y="547"/>
                    <a:pt x="5462" y="513"/>
                  </a:cubicBezTo>
                  <a:cubicBezTo>
                    <a:pt x="5430" y="492"/>
                    <a:pt x="5402" y="468"/>
                    <a:pt x="5378" y="440"/>
                  </a:cubicBezTo>
                  <a:cubicBezTo>
                    <a:pt x="5297" y="342"/>
                    <a:pt x="5248" y="321"/>
                    <a:pt x="5192" y="321"/>
                  </a:cubicBezTo>
                  <a:cubicBezTo>
                    <a:pt x="5171" y="321"/>
                    <a:pt x="5150" y="324"/>
                    <a:pt x="5129" y="324"/>
                  </a:cubicBezTo>
                  <a:cubicBezTo>
                    <a:pt x="5098" y="330"/>
                    <a:pt x="5067" y="333"/>
                    <a:pt x="5036" y="333"/>
                  </a:cubicBezTo>
                  <a:cubicBezTo>
                    <a:pt x="4988" y="333"/>
                    <a:pt x="4941" y="326"/>
                    <a:pt x="4895" y="314"/>
                  </a:cubicBezTo>
                  <a:lnTo>
                    <a:pt x="4870" y="307"/>
                  </a:lnTo>
                  <a:cubicBezTo>
                    <a:pt x="4669" y="262"/>
                    <a:pt x="4148" y="205"/>
                    <a:pt x="3810" y="205"/>
                  </a:cubicBezTo>
                  <a:cubicBezTo>
                    <a:pt x="3801" y="205"/>
                    <a:pt x="3791" y="205"/>
                    <a:pt x="3781" y="205"/>
                  </a:cubicBezTo>
                  <a:cubicBezTo>
                    <a:pt x="3764" y="204"/>
                    <a:pt x="3746" y="203"/>
                    <a:pt x="3728" y="203"/>
                  </a:cubicBezTo>
                  <a:cubicBezTo>
                    <a:pt x="3661" y="203"/>
                    <a:pt x="3593" y="213"/>
                    <a:pt x="3529" y="230"/>
                  </a:cubicBezTo>
                  <a:cubicBezTo>
                    <a:pt x="3492" y="245"/>
                    <a:pt x="3451" y="252"/>
                    <a:pt x="3406" y="252"/>
                  </a:cubicBezTo>
                  <a:cubicBezTo>
                    <a:pt x="3234" y="252"/>
                    <a:pt x="3010" y="151"/>
                    <a:pt x="2791" y="37"/>
                  </a:cubicBezTo>
                  <a:lnTo>
                    <a:pt x="2745" y="16"/>
                  </a:lnTo>
                  <a:cubicBezTo>
                    <a:pt x="2724" y="6"/>
                    <a:pt x="2687" y="1"/>
                    <a:pt x="2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4" name="Google Shape;5331;p64">
              <a:extLst>
                <a:ext uri="{FF2B5EF4-FFF2-40B4-BE49-F238E27FC236}">
                  <a16:creationId xmlns:a16="http://schemas.microsoft.com/office/drawing/2014/main" id="{3BB9F08B-1A39-6E24-F5F1-B643DECCA30B}"/>
                </a:ext>
              </a:extLst>
            </p:cNvPr>
            <p:cNvSpPr/>
            <p:nvPr/>
          </p:nvSpPr>
          <p:spPr>
            <a:xfrm>
              <a:off x="2342432" y="1695723"/>
              <a:ext cx="47874" cy="20841"/>
            </a:xfrm>
            <a:custGeom>
              <a:avLst/>
              <a:gdLst/>
              <a:ahLst/>
              <a:cxnLst/>
              <a:rect l="l" t="t" r="r" b="b"/>
              <a:pathLst>
                <a:path w="3526" h="1535" extrusionOk="0">
                  <a:moveTo>
                    <a:pt x="118" y="1"/>
                  </a:moveTo>
                  <a:cubicBezTo>
                    <a:pt x="101" y="1"/>
                    <a:pt x="85" y="1"/>
                    <a:pt x="70" y="4"/>
                  </a:cubicBezTo>
                  <a:lnTo>
                    <a:pt x="60" y="4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32" y="11"/>
                  </a:lnTo>
                  <a:lnTo>
                    <a:pt x="25" y="14"/>
                  </a:lnTo>
                  <a:lnTo>
                    <a:pt x="7" y="25"/>
                  </a:lnTo>
                  <a:lnTo>
                    <a:pt x="0" y="28"/>
                  </a:lnTo>
                  <a:cubicBezTo>
                    <a:pt x="81" y="56"/>
                    <a:pt x="161" y="84"/>
                    <a:pt x="245" y="105"/>
                  </a:cubicBezTo>
                  <a:cubicBezTo>
                    <a:pt x="476" y="168"/>
                    <a:pt x="718" y="235"/>
                    <a:pt x="767" y="490"/>
                  </a:cubicBezTo>
                  <a:cubicBezTo>
                    <a:pt x="795" y="651"/>
                    <a:pt x="851" y="700"/>
                    <a:pt x="896" y="746"/>
                  </a:cubicBezTo>
                  <a:cubicBezTo>
                    <a:pt x="973" y="819"/>
                    <a:pt x="1022" y="882"/>
                    <a:pt x="973" y="1082"/>
                  </a:cubicBezTo>
                  <a:cubicBezTo>
                    <a:pt x="963" y="1124"/>
                    <a:pt x="945" y="1162"/>
                    <a:pt x="921" y="1197"/>
                  </a:cubicBezTo>
                  <a:lnTo>
                    <a:pt x="935" y="1197"/>
                  </a:lnTo>
                  <a:cubicBezTo>
                    <a:pt x="973" y="1200"/>
                    <a:pt x="1012" y="1201"/>
                    <a:pt x="1050" y="1201"/>
                  </a:cubicBezTo>
                  <a:cubicBezTo>
                    <a:pt x="1127" y="1201"/>
                    <a:pt x="1203" y="1196"/>
                    <a:pt x="1278" y="1187"/>
                  </a:cubicBezTo>
                  <a:lnTo>
                    <a:pt x="1295" y="1187"/>
                  </a:lnTo>
                  <a:lnTo>
                    <a:pt x="1306" y="1183"/>
                  </a:lnTo>
                  <a:lnTo>
                    <a:pt x="1316" y="1183"/>
                  </a:lnTo>
                  <a:lnTo>
                    <a:pt x="1327" y="1180"/>
                  </a:lnTo>
                  <a:lnTo>
                    <a:pt x="1341" y="1176"/>
                  </a:lnTo>
                  <a:cubicBezTo>
                    <a:pt x="1375" y="1163"/>
                    <a:pt x="1406" y="1156"/>
                    <a:pt x="1434" y="1156"/>
                  </a:cubicBezTo>
                  <a:cubicBezTo>
                    <a:pt x="1558" y="1156"/>
                    <a:pt x="1635" y="1273"/>
                    <a:pt x="1712" y="1390"/>
                  </a:cubicBezTo>
                  <a:cubicBezTo>
                    <a:pt x="1736" y="1428"/>
                    <a:pt x="1764" y="1467"/>
                    <a:pt x="1792" y="1509"/>
                  </a:cubicBezTo>
                  <a:lnTo>
                    <a:pt x="1796" y="1512"/>
                  </a:lnTo>
                  <a:lnTo>
                    <a:pt x="1817" y="1516"/>
                  </a:lnTo>
                  <a:cubicBezTo>
                    <a:pt x="1848" y="1512"/>
                    <a:pt x="1880" y="1505"/>
                    <a:pt x="1911" y="1498"/>
                  </a:cubicBezTo>
                  <a:lnTo>
                    <a:pt x="1929" y="1495"/>
                  </a:lnTo>
                  <a:lnTo>
                    <a:pt x="2013" y="1474"/>
                  </a:lnTo>
                  <a:cubicBezTo>
                    <a:pt x="2115" y="1449"/>
                    <a:pt x="2220" y="1428"/>
                    <a:pt x="2325" y="1414"/>
                  </a:cubicBezTo>
                  <a:cubicBezTo>
                    <a:pt x="2339" y="1414"/>
                    <a:pt x="2353" y="1411"/>
                    <a:pt x="2370" y="1411"/>
                  </a:cubicBezTo>
                  <a:lnTo>
                    <a:pt x="2489" y="1411"/>
                  </a:lnTo>
                  <a:lnTo>
                    <a:pt x="2542" y="1414"/>
                  </a:lnTo>
                  <a:lnTo>
                    <a:pt x="2549" y="1414"/>
                  </a:lnTo>
                  <a:lnTo>
                    <a:pt x="2608" y="1421"/>
                  </a:lnTo>
                  <a:lnTo>
                    <a:pt x="2622" y="1421"/>
                  </a:lnTo>
                  <a:lnTo>
                    <a:pt x="2671" y="1428"/>
                  </a:lnTo>
                  <a:lnTo>
                    <a:pt x="2692" y="1432"/>
                  </a:lnTo>
                  <a:lnTo>
                    <a:pt x="2717" y="1435"/>
                  </a:lnTo>
                  <a:cubicBezTo>
                    <a:pt x="2717" y="1425"/>
                    <a:pt x="2717" y="1418"/>
                    <a:pt x="2720" y="1407"/>
                  </a:cubicBezTo>
                  <a:cubicBezTo>
                    <a:pt x="2720" y="1400"/>
                    <a:pt x="2724" y="1397"/>
                    <a:pt x="2724" y="1390"/>
                  </a:cubicBezTo>
                  <a:cubicBezTo>
                    <a:pt x="2727" y="1386"/>
                    <a:pt x="2727" y="1379"/>
                    <a:pt x="2731" y="1376"/>
                  </a:cubicBezTo>
                  <a:cubicBezTo>
                    <a:pt x="2748" y="1337"/>
                    <a:pt x="2783" y="1313"/>
                    <a:pt x="2825" y="1309"/>
                  </a:cubicBezTo>
                  <a:cubicBezTo>
                    <a:pt x="2830" y="1308"/>
                    <a:pt x="2835" y="1307"/>
                    <a:pt x="2839" y="1307"/>
                  </a:cubicBezTo>
                  <a:cubicBezTo>
                    <a:pt x="2844" y="1307"/>
                    <a:pt x="2848" y="1308"/>
                    <a:pt x="2853" y="1309"/>
                  </a:cubicBezTo>
                  <a:lnTo>
                    <a:pt x="2860" y="1309"/>
                  </a:lnTo>
                  <a:cubicBezTo>
                    <a:pt x="2874" y="1309"/>
                    <a:pt x="2888" y="1309"/>
                    <a:pt x="2902" y="1313"/>
                  </a:cubicBezTo>
                  <a:cubicBezTo>
                    <a:pt x="2920" y="1316"/>
                    <a:pt x="2934" y="1320"/>
                    <a:pt x="2951" y="1323"/>
                  </a:cubicBezTo>
                  <a:cubicBezTo>
                    <a:pt x="2965" y="1330"/>
                    <a:pt x="2983" y="1337"/>
                    <a:pt x="3000" y="1344"/>
                  </a:cubicBezTo>
                  <a:lnTo>
                    <a:pt x="3004" y="1344"/>
                  </a:lnTo>
                  <a:cubicBezTo>
                    <a:pt x="3018" y="1348"/>
                    <a:pt x="3032" y="1358"/>
                    <a:pt x="3046" y="1365"/>
                  </a:cubicBezTo>
                  <a:lnTo>
                    <a:pt x="3049" y="1369"/>
                  </a:lnTo>
                  <a:cubicBezTo>
                    <a:pt x="3067" y="1376"/>
                    <a:pt x="3081" y="1383"/>
                    <a:pt x="3095" y="1390"/>
                  </a:cubicBezTo>
                  <a:lnTo>
                    <a:pt x="3098" y="1393"/>
                  </a:lnTo>
                  <a:cubicBezTo>
                    <a:pt x="3112" y="1404"/>
                    <a:pt x="3126" y="1411"/>
                    <a:pt x="3137" y="1418"/>
                  </a:cubicBezTo>
                  <a:lnTo>
                    <a:pt x="3144" y="1421"/>
                  </a:lnTo>
                  <a:cubicBezTo>
                    <a:pt x="3154" y="1432"/>
                    <a:pt x="3165" y="1439"/>
                    <a:pt x="3175" y="1446"/>
                  </a:cubicBezTo>
                  <a:lnTo>
                    <a:pt x="3179" y="1449"/>
                  </a:lnTo>
                  <a:cubicBezTo>
                    <a:pt x="3189" y="1456"/>
                    <a:pt x="3196" y="1463"/>
                    <a:pt x="3203" y="1474"/>
                  </a:cubicBezTo>
                  <a:cubicBezTo>
                    <a:pt x="3262" y="1513"/>
                    <a:pt x="3329" y="1534"/>
                    <a:pt x="3400" y="1534"/>
                  </a:cubicBezTo>
                  <a:cubicBezTo>
                    <a:pt x="3406" y="1534"/>
                    <a:pt x="3411" y="1534"/>
                    <a:pt x="3417" y="1533"/>
                  </a:cubicBezTo>
                  <a:cubicBezTo>
                    <a:pt x="3422" y="1534"/>
                    <a:pt x="3427" y="1534"/>
                    <a:pt x="3432" y="1534"/>
                  </a:cubicBezTo>
                  <a:cubicBezTo>
                    <a:pt x="3465" y="1534"/>
                    <a:pt x="3498" y="1524"/>
                    <a:pt x="3525" y="1509"/>
                  </a:cubicBezTo>
                  <a:cubicBezTo>
                    <a:pt x="3504" y="1488"/>
                    <a:pt x="3480" y="1467"/>
                    <a:pt x="3452" y="1449"/>
                  </a:cubicBezTo>
                  <a:cubicBezTo>
                    <a:pt x="3410" y="1418"/>
                    <a:pt x="3375" y="1383"/>
                    <a:pt x="3343" y="1344"/>
                  </a:cubicBezTo>
                  <a:cubicBezTo>
                    <a:pt x="3340" y="1337"/>
                    <a:pt x="3336" y="1327"/>
                    <a:pt x="3333" y="1320"/>
                  </a:cubicBezTo>
                  <a:lnTo>
                    <a:pt x="3333" y="1316"/>
                  </a:lnTo>
                  <a:cubicBezTo>
                    <a:pt x="3333" y="1309"/>
                    <a:pt x="3329" y="1302"/>
                    <a:pt x="3329" y="1292"/>
                  </a:cubicBezTo>
                  <a:cubicBezTo>
                    <a:pt x="3329" y="1281"/>
                    <a:pt x="3329" y="1274"/>
                    <a:pt x="3329" y="1267"/>
                  </a:cubicBezTo>
                  <a:lnTo>
                    <a:pt x="3329" y="1264"/>
                  </a:lnTo>
                  <a:cubicBezTo>
                    <a:pt x="3333" y="1257"/>
                    <a:pt x="3333" y="1246"/>
                    <a:pt x="3336" y="1239"/>
                  </a:cubicBezTo>
                  <a:lnTo>
                    <a:pt x="3336" y="1236"/>
                  </a:lnTo>
                  <a:cubicBezTo>
                    <a:pt x="3340" y="1229"/>
                    <a:pt x="3343" y="1222"/>
                    <a:pt x="3347" y="1211"/>
                  </a:cubicBezTo>
                  <a:lnTo>
                    <a:pt x="3347" y="1208"/>
                  </a:lnTo>
                  <a:cubicBezTo>
                    <a:pt x="3350" y="1201"/>
                    <a:pt x="3357" y="1194"/>
                    <a:pt x="3361" y="1183"/>
                  </a:cubicBezTo>
                  <a:lnTo>
                    <a:pt x="3364" y="1180"/>
                  </a:lnTo>
                  <a:cubicBezTo>
                    <a:pt x="3368" y="1169"/>
                    <a:pt x="3375" y="1162"/>
                    <a:pt x="3382" y="1155"/>
                  </a:cubicBezTo>
                  <a:lnTo>
                    <a:pt x="3399" y="1131"/>
                  </a:lnTo>
                  <a:lnTo>
                    <a:pt x="3399" y="1127"/>
                  </a:lnTo>
                  <a:lnTo>
                    <a:pt x="3336" y="1089"/>
                  </a:lnTo>
                  <a:cubicBezTo>
                    <a:pt x="3291" y="1057"/>
                    <a:pt x="3242" y="1029"/>
                    <a:pt x="3189" y="1005"/>
                  </a:cubicBezTo>
                  <a:lnTo>
                    <a:pt x="3179" y="1001"/>
                  </a:lnTo>
                  <a:cubicBezTo>
                    <a:pt x="3175" y="1001"/>
                    <a:pt x="3168" y="1005"/>
                    <a:pt x="3165" y="1005"/>
                  </a:cubicBezTo>
                  <a:cubicBezTo>
                    <a:pt x="3147" y="1005"/>
                    <a:pt x="3133" y="1001"/>
                    <a:pt x="3116" y="994"/>
                  </a:cubicBezTo>
                  <a:cubicBezTo>
                    <a:pt x="3074" y="966"/>
                    <a:pt x="3053" y="907"/>
                    <a:pt x="3035" y="826"/>
                  </a:cubicBezTo>
                  <a:lnTo>
                    <a:pt x="3028" y="805"/>
                  </a:lnTo>
                  <a:cubicBezTo>
                    <a:pt x="3021" y="760"/>
                    <a:pt x="3007" y="718"/>
                    <a:pt x="2990" y="672"/>
                  </a:cubicBezTo>
                  <a:cubicBezTo>
                    <a:pt x="2990" y="669"/>
                    <a:pt x="2986" y="665"/>
                    <a:pt x="2986" y="662"/>
                  </a:cubicBezTo>
                  <a:cubicBezTo>
                    <a:pt x="2937" y="662"/>
                    <a:pt x="2895" y="644"/>
                    <a:pt x="2860" y="613"/>
                  </a:cubicBezTo>
                  <a:cubicBezTo>
                    <a:pt x="2846" y="599"/>
                    <a:pt x="2825" y="588"/>
                    <a:pt x="2801" y="588"/>
                  </a:cubicBezTo>
                  <a:lnTo>
                    <a:pt x="2664" y="588"/>
                  </a:lnTo>
                  <a:cubicBezTo>
                    <a:pt x="2622" y="588"/>
                    <a:pt x="2584" y="592"/>
                    <a:pt x="2552" y="595"/>
                  </a:cubicBezTo>
                  <a:cubicBezTo>
                    <a:pt x="2521" y="599"/>
                    <a:pt x="2489" y="599"/>
                    <a:pt x="2465" y="602"/>
                  </a:cubicBezTo>
                  <a:cubicBezTo>
                    <a:pt x="2335" y="616"/>
                    <a:pt x="2297" y="637"/>
                    <a:pt x="2286" y="648"/>
                  </a:cubicBezTo>
                  <a:cubicBezTo>
                    <a:pt x="2276" y="655"/>
                    <a:pt x="2265" y="658"/>
                    <a:pt x="2255" y="665"/>
                  </a:cubicBezTo>
                  <a:cubicBezTo>
                    <a:pt x="2239" y="671"/>
                    <a:pt x="2223" y="674"/>
                    <a:pt x="2208" y="674"/>
                  </a:cubicBezTo>
                  <a:cubicBezTo>
                    <a:pt x="2139" y="674"/>
                    <a:pt x="2075" y="617"/>
                    <a:pt x="2024" y="571"/>
                  </a:cubicBezTo>
                  <a:cubicBezTo>
                    <a:pt x="1985" y="536"/>
                    <a:pt x="1936" y="490"/>
                    <a:pt x="1904" y="490"/>
                  </a:cubicBezTo>
                  <a:cubicBezTo>
                    <a:pt x="1743" y="490"/>
                    <a:pt x="1582" y="333"/>
                    <a:pt x="1516" y="249"/>
                  </a:cubicBezTo>
                  <a:cubicBezTo>
                    <a:pt x="1500" y="239"/>
                    <a:pt x="1456" y="236"/>
                    <a:pt x="1403" y="236"/>
                  </a:cubicBezTo>
                  <a:cubicBezTo>
                    <a:pt x="1343" y="236"/>
                    <a:pt x="1271" y="240"/>
                    <a:pt x="1215" y="242"/>
                  </a:cubicBezTo>
                  <a:cubicBezTo>
                    <a:pt x="1138" y="245"/>
                    <a:pt x="1061" y="250"/>
                    <a:pt x="988" y="250"/>
                  </a:cubicBezTo>
                  <a:cubicBezTo>
                    <a:pt x="861" y="250"/>
                    <a:pt x="748" y="237"/>
                    <a:pt x="679" y="186"/>
                  </a:cubicBezTo>
                  <a:cubicBezTo>
                    <a:pt x="537" y="84"/>
                    <a:pt x="278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5" name="Google Shape;5332;p64">
              <a:extLst>
                <a:ext uri="{FF2B5EF4-FFF2-40B4-BE49-F238E27FC236}">
                  <a16:creationId xmlns:a16="http://schemas.microsoft.com/office/drawing/2014/main" id="{2FD29028-ACC0-709E-79FD-A9994B0D5B67}"/>
                </a:ext>
              </a:extLst>
            </p:cNvPr>
            <p:cNvSpPr/>
            <p:nvPr/>
          </p:nvSpPr>
          <p:spPr>
            <a:xfrm>
              <a:off x="2240180" y="1709559"/>
              <a:ext cx="19076" cy="11745"/>
            </a:xfrm>
            <a:custGeom>
              <a:avLst/>
              <a:gdLst/>
              <a:ahLst/>
              <a:cxnLst/>
              <a:rect l="l" t="t" r="r" b="b"/>
              <a:pathLst>
                <a:path w="1405" h="865" extrusionOk="0">
                  <a:moveTo>
                    <a:pt x="452" y="1"/>
                  </a:moveTo>
                  <a:cubicBezTo>
                    <a:pt x="394" y="1"/>
                    <a:pt x="335" y="5"/>
                    <a:pt x="284" y="10"/>
                  </a:cubicBezTo>
                  <a:lnTo>
                    <a:pt x="246" y="10"/>
                  </a:lnTo>
                  <a:cubicBezTo>
                    <a:pt x="221" y="14"/>
                    <a:pt x="197" y="17"/>
                    <a:pt x="179" y="24"/>
                  </a:cubicBezTo>
                  <a:cubicBezTo>
                    <a:pt x="179" y="28"/>
                    <a:pt x="179" y="31"/>
                    <a:pt x="183" y="35"/>
                  </a:cubicBezTo>
                  <a:cubicBezTo>
                    <a:pt x="183" y="45"/>
                    <a:pt x="186" y="56"/>
                    <a:pt x="190" y="70"/>
                  </a:cubicBezTo>
                  <a:lnTo>
                    <a:pt x="204" y="112"/>
                  </a:lnTo>
                  <a:lnTo>
                    <a:pt x="221" y="175"/>
                  </a:lnTo>
                  <a:cubicBezTo>
                    <a:pt x="221" y="185"/>
                    <a:pt x="225" y="192"/>
                    <a:pt x="225" y="199"/>
                  </a:cubicBezTo>
                  <a:cubicBezTo>
                    <a:pt x="228" y="210"/>
                    <a:pt x="232" y="220"/>
                    <a:pt x="232" y="231"/>
                  </a:cubicBezTo>
                  <a:cubicBezTo>
                    <a:pt x="235" y="241"/>
                    <a:pt x="235" y="245"/>
                    <a:pt x="235" y="252"/>
                  </a:cubicBezTo>
                  <a:cubicBezTo>
                    <a:pt x="239" y="259"/>
                    <a:pt x="242" y="273"/>
                    <a:pt x="242" y="283"/>
                  </a:cubicBezTo>
                  <a:cubicBezTo>
                    <a:pt x="246" y="301"/>
                    <a:pt x="246" y="315"/>
                    <a:pt x="246" y="332"/>
                  </a:cubicBezTo>
                  <a:cubicBezTo>
                    <a:pt x="246" y="437"/>
                    <a:pt x="179" y="497"/>
                    <a:pt x="134" y="539"/>
                  </a:cubicBezTo>
                  <a:cubicBezTo>
                    <a:pt x="116" y="553"/>
                    <a:pt x="88" y="577"/>
                    <a:pt x="88" y="588"/>
                  </a:cubicBezTo>
                  <a:cubicBezTo>
                    <a:pt x="88" y="595"/>
                    <a:pt x="88" y="605"/>
                    <a:pt x="88" y="616"/>
                  </a:cubicBezTo>
                  <a:lnTo>
                    <a:pt x="88" y="623"/>
                  </a:lnTo>
                  <a:cubicBezTo>
                    <a:pt x="88" y="630"/>
                    <a:pt x="85" y="637"/>
                    <a:pt x="85" y="640"/>
                  </a:cubicBezTo>
                  <a:cubicBezTo>
                    <a:pt x="85" y="644"/>
                    <a:pt x="81" y="647"/>
                    <a:pt x="81" y="651"/>
                  </a:cubicBezTo>
                  <a:cubicBezTo>
                    <a:pt x="81" y="654"/>
                    <a:pt x="78" y="661"/>
                    <a:pt x="74" y="665"/>
                  </a:cubicBezTo>
                  <a:lnTo>
                    <a:pt x="71" y="675"/>
                  </a:lnTo>
                  <a:lnTo>
                    <a:pt x="64" y="689"/>
                  </a:lnTo>
                  <a:lnTo>
                    <a:pt x="57" y="696"/>
                  </a:lnTo>
                  <a:lnTo>
                    <a:pt x="46" y="710"/>
                  </a:lnTo>
                  <a:lnTo>
                    <a:pt x="39" y="721"/>
                  </a:lnTo>
                  <a:lnTo>
                    <a:pt x="29" y="731"/>
                  </a:lnTo>
                  <a:lnTo>
                    <a:pt x="22" y="742"/>
                  </a:lnTo>
                  <a:lnTo>
                    <a:pt x="11" y="752"/>
                  </a:lnTo>
                  <a:lnTo>
                    <a:pt x="1" y="766"/>
                  </a:lnTo>
                  <a:cubicBezTo>
                    <a:pt x="78" y="819"/>
                    <a:pt x="148" y="864"/>
                    <a:pt x="218" y="864"/>
                  </a:cubicBezTo>
                  <a:cubicBezTo>
                    <a:pt x="323" y="864"/>
                    <a:pt x="393" y="798"/>
                    <a:pt x="477" y="717"/>
                  </a:cubicBezTo>
                  <a:cubicBezTo>
                    <a:pt x="536" y="651"/>
                    <a:pt x="613" y="595"/>
                    <a:pt x="701" y="556"/>
                  </a:cubicBezTo>
                  <a:cubicBezTo>
                    <a:pt x="773" y="529"/>
                    <a:pt x="870" y="523"/>
                    <a:pt x="972" y="523"/>
                  </a:cubicBezTo>
                  <a:cubicBezTo>
                    <a:pt x="1013" y="523"/>
                    <a:pt x="1055" y="524"/>
                    <a:pt x="1096" y="525"/>
                  </a:cubicBezTo>
                  <a:cubicBezTo>
                    <a:pt x="1133" y="526"/>
                    <a:pt x="1173" y="527"/>
                    <a:pt x="1213" y="527"/>
                  </a:cubicBezTo>
                  <a:cubicBezTo>
                    <a:pt x="1293" y="527"/>
                    <a:pt x="1370" y="523"/>
                    <a:pt x="1405" y="504"/>
                  </a:cubicBezTo>
                  <a:cubicBezTo>
                    <a:pt x="1345" y="458"/>
                    <a:pt x="1279" y="420"/>
                    <a:pt x="1212" y="388"/>
                  </a:cubicBezTo>
                  <a:cubicBezTo>
                    <a:pt x="1138" y="353"/>
                    <a:pt x="1072" y="311"/>
                    <a:pt x="1005" y="266"/>
                  </a:cubicBezTo>
                  <a:cubicBezTo>
                    <a:pt x="939" y="199"/>
                    <a:pt x="890" y="119"/>
                    <a:pt x="872" y="28"/>
                  </a:cubicBezTo>
                  <a:lnTo>
                    <a:pt x="862" y="31"/>
                  </a:lnTo>
                  <a:lnTo>
                    <a:pt x="848" y="35"/>
                  </a:lnTo>
                  <a:lnTo>
                    <a:pt x="823" y="42"/>
                  </a:lnTo>
                  <a:lnTo>
                    <a:pt x="809" y="45"/>
                  </a:lnTo>
                  <a:cubicBezTo>
                    <a:pt x="799" y="49"/>
                    <a:pt x="792" y="49"/>
                    <a:pt x="781" y="52"/>
                  </a:cubicBezTo>
                  <a:lnTo>
                    <a:pt x="736" y="52"/>
                  </a:lnTo>
                  <a:lnTo>
                    <a:pt x="715" y="49"/>
                  </a:lnTo>
                  <a:lnTo>
                    <a:pt x="708" y="49"/>
                  </a:lnTo>
                  <a:lnTo>
                    <a:pt x="690" y="45"/>
                  </a:lnTo>
                  <a:lnTo>
                    <a:pt x="683" y="42"/>
                  </a:lnTo>
                  <a:cubicBezTo>
                    <a:pt x="676" y="38"/>
                    <a:pt x="669" y="35"/>
                    <a:pt x="662" y="31"/>
                  </a:cubicBezTo>
                  <a:cubicBezTo>
                    <a:pt x="615" y="9"/>
                    <a:pt x="535" y="1"/>
                    <a:pt x="4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6" name="Google Shape;5333;p64">
              <a:extLst>
                <a:ext uri="{FF2B5EF4-FFF2-40B4-BE49-F238E27FC236}">
                  <a16:creationId xmlns:a16="http://schemas.microsoft.com/office/drawing/2014/main" id="{0EFB1BED-DA56-244F-6CAF-9ED443982189}"/>
                </a:ext>
              </a:extLst>
            </p:cNvPr>
            <p:cNvSpPr/>
            <p:nvPr/>
          </p:nvSpPr>
          <p:spPr>
            <a:xfrm>
              <a:off x="2239949" y="1709871"/>
              <a:ext cx="136291" cy="51934"/>
            </a:xfrm>
            <a:custGeom>
              <a:avLst/>
              <a:gdLst/>
              <a:ahLst/>
              <a:cxnLst/>
              <a:rect l="l" t="t" r="r" b="b"/>
              <a:pathLst>
                <a:path w="10038" h="3825" extrusionOk="0">
                  <a:moveTo>
                    <a:pt x="4202" y="1"/>
                  </a:moveTo>
                  <a:cubicBezTo>
                    <a:pt x="3585" y="1"/>
                    <a:pt x="3059" y="306"/>
                    <a:pt x="2825" y="509"/>
                  </a:cubicBezTo>
                  <a:cubicBezTo>
                    <a:pt x="2724" y="598"/>
                    <a:pt x="2540" y="623"/>
                    <a:pt x="2341" y="623"/>
                  </a:cubicBezTo>
                  <a:cubicBezTo>
                    <a:pt x="2188" y="623"/>
                    <a:pt x="2027" y="609"/>
                    <a:pt x="1887" y="596"/>
                  </a:cubicBezTo>
                  <a:cubicBezTo>
                    <a:pt x="1815" y="588"/>
                    <a:pt x="1743" y="582"/>
                    <a:pt x="1669" y="582"/>
                  </a:cubicBezTo>
                  <a:cubicBezTo>
                    <a:pt x="1653" y="582"/>
                    <a:pt x="1637" y="582"/>
                    <a:pt x="1621" y="582"/>
                  </a:cubicBezTo>
                  <a:cubicBezTo>
                    <a:pt x="1614" y="603"/>
                    <a:pt x="1611" y="624"/>
                    <a:pt x="1607" y="645"/>
                  </a:cubicBezTo>
                  <a:cubicBezTo>
                    <a:pt x="1590" y="747"/>
                    <a:pt x="1565" y="919"/>
                    <a:pt x="1334" y="1006"/>
                  </a:cubicBezTo>
                  <a:cubicBezTo>
                    <a:pt x="1189" y="1063"/>
                    <a:pt x="973" y="1066"/>
                    <a:pt x="755" y="1066"/>
                  </a:cubicBezTo>
                  <a:cubicBezTo>
                    <a:pt x="731" y="1066"/>
                    <a:pt x="707" y="1066"/>
                    <a:pt x="683" y="1066"/>
                  </a:cubicBezTo>
                  <a:cubicBezTo>
                    <a:pt x="653" y="1066"/>
                    <a:pt x="622" y="1065"/>
                    <a:pt x="592" y="1065"/>
                  </a:cubicBezTo>
                  <a:cubicBezTo>
                    <a:pt x="426" y="1065"/>
                    <a:pt x="266" y="1068"/>
                    <a:pt x="189" y="1101"/>
                  </a:cubicBezTo>
                  <a:cubicBezTo>
                    <a:pt x="63" y="1160"/>
                    <a:pt x="0" y="1307"/>
                    <a:pt x="14" y="1363"/>
                  </a:cubicBezTo>
                  <a:cubicBezTo>
                    <a:pt x="18" y="1374"/>
                    <a:pt x="18" y="1381"/>
                    <a:pt x="46" y="1381"/>
                  </a:cubicBezTo>
                  <a:cubicBezTo>
                    <a:pt x="64" y="1379"/>
                    <a:pt x="82" y="1378"/>
                    <a:pt x="100" y="1378"/>
                  </a:cubicBezTo>
                  <a:cubicBezTo>
                    <a:pt x="211" y="1378"/>
                    <a:pt x="300" y="1416"/>
                    <a:pt x="340" y="1482"/>
                  </a:cubicBezTo>
                  <a:cubicBezTo>
                    <a:pt x="368" y="1531"/>
                    <a:pt x="364" y="1587"/>
                    <a:pt x="333" y="1633"/>
                  </a:cubicBezTo>
                  <a:cubicBezTo>
                    <a:pt x="340" y="1671"/>
                    <a:pt x="350" y="1706"/>
                    <a:pt x="368" y="1741"/>
                  </a:cubicBezTo>
                  <a:cubicBezTo>
                    <a:pt x="410" y="1836"/>
                    <a:pt x="462" y="1965"/>
                    <a:pt x="368" y="2049"/>
                  </a:cubicBezTo>
                  <a:cubicBezTo>
                    <a:pt x="329" y="2088"/>
                    <a:pt x="305" y="2144"/>
                    <a:pt x="308" y="2200"/>
                  </a:cubicBezTo>
                  <a:cubicBezTo>
                    <a:pt x="312" y="2249"/>
                    <a:pt x="336" y="2298"/>
                    <a:pt x="378" y="2329"/>
                  </a:cubicBezTo>
                  <a:cubicBezTo>
                    <a:pt x="476" y="2403"/>
                    <a:pt x="529" y="2522"/>
                    <a:pt x="508" y="2613"/>
                  </a:cubicBezTo>
                  <a:cubicBezTo>
                    <a:pt x="494" y="2662"/>
                    <a:pt x="462" y="2700"/>
                    <a:pt x="420" y="2725"/>
                  </a:cubicBezTo>
                  <a:cubicBezTo>
                    <a:pt x="441" y="2739"/>
                    <a:pt x="466" y="2756"/>
                    <a:pt x="487" y="2767"/>
                  </a:cubicBezTo>
                  <a:cubicBezTo>
                    <a:pt x="599" y="2840"/>
                    <a:pt x="665" y="2886"/>
                    <a:pt x="679" y="2942"/>
                  </a:cubicBezTo>
                  <a:cubicBezTo>
                    <a:pt x="718" y="2966"/>
                    <a:pt x="760" y="2984"/>
                    <a:pt x="805" y="2998"/>
                  </a:cubicBezTo>
                  <a:cubicBezTo>
                    <a:pt x="917" y="3040"/>
                    <a:pt x="1036" y="3082"/>
                    <a:pt x="1036" y="3180"/>
                  </a:cubicBezTo>
                  <a:cubicBezTo>
                    <a:pt x="1036" y="3198"/>
                    <a:pt x="1043" y="3201"/>
                    <a:pt x="1047" y="3205"/>
                  </a:cubicBezTo>
                  <a:cubicBezTo>
                    <a:pt x="1056" y="3212"/>
                    <a:pt x="1075" y="3217"/>
                    <a:pt x="1105" y="3217"/>
                  </a:cubicBezTo>
                  <a:cubicBezTo>
                    <a:pt x="1135" y="3217"/>
                    <a:pt x="1176" y="3212"/>
                    <a:pt x="1229" y="3198"/>
                  </a:cubicBezTo>
                  <a:cubicBezTo>
                    <a:pt x="1252" y="3191"/>
                    <a:pt x="1273" y="3188"/>
                    <a:pt x="1293" y="3188"/>
                  </a:cubicBezTo>
                  <a:cubicBezTo>
                    <a:pt x="1430" y="3188"/>
                    <a:pt x="1508" y="3334"/>
                    <a:pt x="1572" y="3457"/>
                  </a:cubicBezTo>
                  <a:cubicBezTo>
                    <a:pt x="1597" y="3495"/>
                    <a:pt x="1618" y="3537"/>
                    <a:pt x="1639" y="3572"/>
                  </a:cubicBezTo>
                  <a:cubicBezTo>
                    <a:pt x="1659" y="3602"/>
                    <a:pt x="1728" y="3621"/>
                    <a:pt x="1818" y="3621"/>
                  </a:cubicBezTo>
                  <a:cubicBezTo>
                    <a:pt x="1887" y="3621"/>
                    <a:pt x="1967" y="3610"/>
                    <a:pt x="2048" y="3586"/>
                  </a:cubicBezTo>
                  <a:cubicBezTo>
                    <a:pt x="2167" y="3551"/>
                    <a:pt x="2223" y="3502"/>
                    <a:pt x="2223" y="3481"/>
                  </a:cubicBezTo>
                  <a:cubicBezTo>
                    <a:pt x="2220" y="3411"/>
                    <a:pt x="2248" y="3341"/>
                    <a:pt x="2297" y="3296"/>
                  </a:cubicBezTo>
                  <a:cubicBezTo>
                    <a:pt x="2364" y="3234"/>
                    <a:pt x="2468" y="3206"/>
                    <a:pt x="2615" y="3206"/>
                  </a:cubicBezTo>
                  <a:cubicBezTo>
                    <a:pt x="2652" y="3206"/>
                    <a:pt x="2692" y="3208"/>
                    <a:pt x="2734" y="3212"/>
                  </a:cubicBezTo>
                  <a:cubicBezTo>
                    <a:pt x="2930" y="3229"/>
                    <a:pt x="3144" y="3394"/>
                    <a:pt x="3315" y="3527"/>
                  </a:cubicBezTo>
                  <a:cubicBezTo>
                    <a:pt x="3372" y="3572"/>
                    <a:pt x="3431" y="3618"/>
                    <a:pt x="3498" y="3653"/>
                  </a:cubicBezTo>
                  <a:cubicBezTo>
                    <a:pt x="3509" y="3657"/>
                    <a:pt x="3523" y="3659"/>
                    <a:pt x="3539" y="3659"/>
                  </a:cubicBezTo>
                  <a:cubicBezTo>
                    <a:pt x="3599" y="3659"/>
                    <a:pt x="3687" y="3633"/>
                    <a:pt x="3767" y="3611"/>
                  </a:cubicBezTo>
                  <a:cubicBezTo>
                    <a:pt x="3855" y="3579"/>
                    <a:pt x="3946" y="3558"/>
                    <a:pt x="4040" y="3551"/>
                  </a:cubicBezTo>
                  <a:cubicBezTo>
                    <a:pt x="4135" y="3551"/>
                    <a:pt x="4285" y="3425"/>
                    <a:pt x="4387" y="3338"/>
                  </a:cubicBezTo>
                  <a:cubicBezTo>
                    <a:pt x="4429" y="3303"/>
                    <a:pt x="4471" y="3268"/>
                    <a:pt x="4520" y="3236"/>
                  </a:cubicBezTo>
                  <a:cubicBezTo>
                    <a:pt x="4541" y="3225"/>
                    <a:pt x="4562" y="3220"/>
                    <a:pt x="4583" y="3220"/>
                  </a:cubicBezTo>
                  <a:cubicBezTo>
                    <a:pt x="4640" y="3220"/>
                    <a:pt x="4697" y="3254"/>
                    <a:pt x="4751" y="3285"/>
                  </a:cubicBezTo>
                  <a:cubicBezTo>
                    <a:pt x="4814" y="3324"/>
                    <a:pt x="4863" y="3350"/>
                    <a:pt x="4904" y="3350"/>
                  </a:cubicBezTo>
                  <a:cubicBezTo>
                    <a:pt x="4918" y="3350"/>
                    <a:pt x="4931" y="3347"/>
                    <a:pt x="4943" y="3341"/>
                  </a:cubicBezTo>
                  <a:cubicBezTo>
                    <a:pt x="5073" y="3271"/>
                    <a:pt x="5206" y="3201"/>
                    <a:pt x="5318" y="3201"/>
                  </a:cubicBezTo>
                  <a:cubicBezTo>
                    <a:pt x="5356" y="3201"/>
                    <a:pt x="5391" y="3212"/>
                    <a:pt x="5427" y="3229"/>
                  </a:cubicBezTo>
                  <a:cubicBezTo>
                    <a:pt x="5451" y="3243"/>
                    <a:pt x="5469" y="3268"/>
                    <a:pt x="5476" y="3296"/>
                  </a:cubicBezTo>
                  <a:cubicBezTo>
                    <a:pt x="5486" y="3355"/>
                    <a:pt x="5444" y="3418"/>
                    <a:pt x="5388" y="3495"/>
                  </a:cubicBezTo>
                  <a:cubicBezTo>
                    <a:pt x="5349" y="3551"/>
                    <a:pt x="5279" y="3653"/>
                    <a:pt x="5300" y="3684"/>
                  </a:cubicBezTo>
                  <a:cubicBezTo>
                    <a:pt x="5328" y="3726"/>
                    <a:pt x="5342" y="3775"/>
                    <a:pt x="5339" y="3824"/>
                  </a:cubicBezTo>
                  <a:lnTo>
                    <a:pt x="5353" y="3817"/>
                  </a:lnTo>
                  <a:lnTo>
                    <a:pt x="5363" y="3814"/>
                  </a:lnTo>
                  <a:cubicBezTo>
                    <a:pt x="5370" y="3810"/>
                    <a:pt x="5381" y="3807"/>
                    <a:pt x="5388" y="3803"/>
                  </a:cubicBezTo>
                  <a:cubicBezTo>
                    <a:pt x="5395" y="3800"/>
                    <a:pt x="5402" y="3793"/>
                    <a:pt x="5413" y="3789"/>
                  </a:cubicBezTo>
                  <a:lnTo>
                    <a:pt x="5416" y="3786"/>
                  </a:lnTo>
                  <a:lnTo>
                    <a:pt x="5430" y="3775"/>
                  </a:lnTo>
                  <a:lnTo>
                    <a:pt x="5437" y="3768"/>
                  </a:lnTo>
                  <a:lnTo>
                    <a:pt x="5448" y="3758"/>
                  </a:lnTo>
                  <a:lnTo>
                    <a:pt x="5455" y="3754"/>
                  </a:lnTo>
                  <a:lnTo>
                    <a:pt x="5462" y="3744"/>
                  </a:lnTo>
                  <a:lnTo>
                    <a:pt x="5465" y="3737"/>
                  </a:lnTo>
                  <a:lnTo>
                    <a:pt x="5472" y="3723"/>
                  </a:lnTo>
                  <a:lnTo>
                    <a:pt x="5476" y="3719"/>
                  </a:lnTo>
                  <a:cubicBezTo>
                    <a:pt x="5483" y="3705"/>
                    <a:pt x="5490" y="3695"/>
                    <a:pt x="5493" y="3681"/>
                  </a:cubicBezTo>
                  <a:lnTo>
                    <a:pt x="5493" y="3674"/>
                  </a:lnTo>
                  <a:cubicBezTo>
                    <a:pt x="5493" y="3670"/>
                    <a:pt x="5497" y="3667"/>
                    <a:pt x="5497" y="3660"/>
                  </a:cubicBezTo>
                  <a:lnTo>
                    <a:pt x="5497" y="3653"/>
                  </a:lnTo>
                  <a:lnTo>
                    <a:pt x="5500" y="3642"/>
                  </a:lnTo>
                  <a:lnTo>
                    <a:pt x="5500" y="3632"/>
                  </a:lnTo>
                  <a:lnTo>
                    <a:pt x="5500" y="3621"/>
                  </a:lnTo>
                  <a:lnTo>
                    <a:pt x="5500" y="3614"/>
                  </a:lnTo>
                  <a:lnTo>
                    <a:pt x="5500" y="3600"/>
                  </a:lnTo>
                  <a:lnTo>
                    <a:pt x="5500" y="3593"/>
                  </a:lnTo>
                  <a:lnTo>
                    <a:pt x="5500" y="3572"/>
                  </a:lnTo>
                  <a:cubicBezTo>
                    <a:pt x="5500" y="3551"/>
                    <a:pt x="5504" y="3534"/>
                    <a:pt x="5507" y="3516"/>
                  </a:cubicBezTo>
                  <a:cubicBezTo>
                    <a:pt x="5521" y="3439"/>
                    <a:pt x="5570" y="3345"/>
                    <a:pt x="5654" y="3313"/>
                  </a:cubicBezTo>
                  <a:cubicBezTo>
                    <a:pt x="5672" y="3307"/>
                    <a:pt x="5692" y="3303"/>
                    <a:pt x="5711" y="3303"/>
                  </a:cubicBezTo>
                  <a:cubicBezTo>
                    <a:pt x="5755" y="3303"/>
                    <a:pt x="5798" y="3319"/>
                    <a:pt x="5829" y="3348"/>
                  </a:cubicBezTo>
                  <a:cubicBezTo>
                    <a:pt x="5865" y="3378"/>
                    <a:pt x="5916" y="3407"/>
                    <a:pt x="6000" y="3407"/>
                  </a:cubicBezTo>
                  <a:cubicBezTo>
                    <a:pt x="6065" y="3407"/>
                    <a:pt x="6149" y="3390"/>
                    <a:pt x="6260" y="3341"/>
                  </a:cubicBezTo>
                  <a:cubicBezTo>
                    <a:pt x="6316" y="3313"/>
                    <a:pt x="6361" y="3289"/>
                    <a:pt x="6400" y="3268"/>
                  </a:cubicBezTo>
                  <a:cubicBezTo>
                    <a:pt x="6456" y="3239"/>
                    <a:pt x="6504" y="3213"/>
                    <a:pt x="6551" y="3213"/>
                  </a:cubicBezTo>
                  <a:cubicBezTo>
                    <a:pt x="6594" y="3213"/>
                    <a:pt x="6636" y="3235"/>
                    <a:pt x="6683" y="3296"/>
                  </a:cubicBezTo>
                  <a:cubicBezTo>
                    <a:pt x="6701" y="3317"/>
                    <a:pt x="6732" y="3324"/>
                    <a:pt x="6781" y="3324"/>
                  </a:cubicBezTo>
                  <a:cubicBezTo>
                    <a:pt x="6820" y="3324"/>
                    <a:pt x="6871" y="3319"/>
                    <a:pt x="6935" y="3313"/>
                  </a:cubicBezTo>
                  <a:cubicBezTo>
                    <a:pt x="7040" y="3299"/>
                    <a:pt x="7149" y="3292"/>
                    <a:pt x="7257" y="3292"/>
                  </a:cubicBezTo>
                  <a:cubicBezTo>
                    <a:pt x="7376" y="3289"/>
                    <a:pt x="7496" y="3254"/>
                    <a:pt x="7597" y="3187"/>
                  </a:cubicBezTo>
                  <a:cubicBezTo>
                    <a:pt x="7694" y="3129"/>
                    <a:pt x="7794" y="3074"/>
                    <a:pt x="7954" y="3074"/>
                  </a:cubicBezTo>
                  <a:cubicBezTo>
                    <a:pt x="7968" y="3074"/>
                    <a:pt x="7982" y="3074"/>
                    <a:pt x="7996" y="3075"/>
                  </a:cubicBezTo>
                  <a:cubicBezTo>
                    <a:pt x="8023" y="3076"/>
                    <a:pt x="8049" y="3077"/>
                    <a:pt x="8076" y="3077"/>
                  </a:cubicBezTo>
                  <a:cubicBezTo>
                    <a:pt x="8242" y="3077"/>
                    <a:pt x="8410" y="3049"/>
                    <a:pt x="8567" y="2995"/>
                  </a:cubicBezTo>
                  <a:lnTo>
                    <a:pt x="8570" y="2995"/>
                  </a:lnTo>
                  <a:lnTo>
                    <a:pt x="8591" y="2988"/>
                  </a:lnTo>
                  <a:lnTo>
                    <a:pt x="8668" y="3009"/>
                  </a:lnTo>
                  <a:lnTo>
                    <a:pt x="8780" y="3044"/>
                  </a:lnTo>
                  <a:lnTo>
                    <a:pt x="8780" y="3030"/>
                  </a:lnTo>
                  <a:cubicBezTo>
                    <a:pt x="8791" y="3019"/>
                    <a:pt x="8798" y="3009"/>
                    <a:pt x="8805" y="2998"/>
                  </a:cubicBezTo>
                  <a:cubicBezTo>
                    <a:pt x="8854" y="2914"/>
                    <a:pt x="8938" y="2861"/>
                    <a:pt x="9036" y="2858"/>
                  </a:cubicBezTo>
                  <a:cubicBezTo>
                    <a:pt x="9057" y="2855"/>
                    <a:pt x="9078" y="2854"/>
                    <a:pt x="9099" y="2854"/>
                  </a:cubicBezTo>
                  <a:cubicBezTo>
                    <a:pt x="9195" y="2854"/>
                    <a:pt x="9292" y="2880"/>
                    <a:pt x="9375" y="2931"/>
                  </a:cubicBezTo>
                  <a:cubicBezTo>
                    <a:pt x="9423" y="2954"/>
                    <a:pt x="9450" y="2966"/>
                    <a:pt x="9473" y="2966"/>
                  </a:cubicBezTo>
                  <a:cubicBezTo>
                    <a:pt x="9482" y="2966"/>
                    <a:pt x="9490" y="2964"/>
                    <a:pt x="9498" y="2959"/>
                  </a:cubicBezTo>
                  <a:cubicBezTo>
                    <a:pt x="9517" y="2950"/>
                    <a:pt x="9537" y="2946"/>
                    <a:pt x="9558" y="2946"/>
                  </a:cubicBezTo>
                  <a:cubicBezTo>
                    <a:pt x="9630" y="2946"/>
                    <a:pt x="9715" y="2995"/>
                    <a:pt x="9810" y="3047"/>
                  </a:cubicBezTo>
                  <a:cubicBezTo>
                    <a:pt x="9866" y="3078"/>
                    <a:pt x="9973" y="3141"/>
                    <a:pt x="10017" y="3141"/>
                  </a:cubicBezTo>
                  <a:cubicBezTo>
                    <a:pt x="10023" y="3141"/>
                    <a:pt x="10027" y="3140"/>
                    <a:pt x="10030" y="3138"/>
                  </a:cubicBezTo>
                  <a:lnTo>
                    <a:pt x="10034" y="3135"/>
                  </a:lnTo>
                  <a:lnTo>
                    <a:pt x="10034" y="3131"/>
                  </a:lnTo>
                  <a:lnTo>
                    <a:pt x="10034" y="3124"/>
                  </a:lnTo>
                  <a:lnTo>
                    <a:pt x="10034" y="3121"/>
                  </a:lnTo>
                  <a:cubicBezTo>
                    <a:pt x="10037" y="3114"/>
                    <a:pt x="10037" y="3110"/>
                    <a:pt x="10037" y="3103"/>
                  </a:cubicBezTo>
                  <a:lnTo>
                    <a:pt x="10037" y="3096"/>
                  </a:lnTo>
                  <a:lnTo>
                    <a:pt x="10037" y="3089"/>
                  </a:lnTo>
                  <a:lnTo>
                    <a:pt x="10037" y="3082"/>
                  </a:lnTo>
                  <a:cubicBezTo>
                    <a:pt x="10037" y="3079"/>
                    <a:pt x="10037" y="3075"/>
                    <a:pt x="10034" y="3072"/>
                  </a:cubicBezTo>
                  <a:lnTo>
                    <a:pt x="10034" y="3065"/>
                  </a:lnTo>
                  <a:cubicBezTo>
                    <a:pt x="10034" y="3058"/>
                    <a:pt x="10030" y="3051"/>
                    <a:pt x="10027" y="3044"/>
                  </a:cubicBezTo>
                  <a:cubicBezTo>
                    <a:pt x="9995" y="2966"/>
                    <a:pt x="9953" y="2893"/>
                    <a:pt x="9904" y="2823"/>
                  </a:cubicBezTo>
                  <a:lnTo>
                    <a:pt x="9890" y="2802"/>
                  </a:lnTo>
                  <a:lnTo>
                    <a:pt x="9883" y="2795"/>
                  </a:lnTo>
                  <a:lnTo>
                    <a:pt x="9873" y="2781"/>
                  </a:lnTo>
                  <a:lnTo>
                    <a:pt x="9866" y="2774"/>
                  </a:lnTo>
                  <a:lnTo>
                    <a:pt x="9859" y="2763"/>
                  </a:lnTo>
                  <a:lnTo>
                    <a:pt x="9852" y="2760"/>
                  </a:lnTo>
                  <a:lnTo>
                    <a:pt x="9845" y="2753"/>
                  </a:lnTo>
                  <a:lnTo>
                    <a:pt x="9838" y="2749"/>
                  </a:lnTo>
                  <a:lnTo>
                    <a:pt x="9831" y="2742"/>
                  </a:lnTo>
                  <a:lnTo>
                    <a:pt x="9827" y="2742"/>
                  </a:lnTo>
                  <a:cubicBezTo>
                    <a:pt x="9729" y="2714"/>
                    <a:pt x="9747" y="2564"/>
                    <a:pt x="9775" y="2357"/>
                  </a:cubicBezTo>
                  <a:cubicBezTo>
                    <a:pt x="9785" y="2277"/>
                    <a:pt x="9799" y="2154"/>
                    <a:pt x="9792" y="2126"/>
                  </a:cubicBezTo>
                  <a:cubicBezTo>
                    <a:pt x="9771" y="2091"/>
                    <a:pt x="9649" y="1766"/>
                    <a:pt x="9729" y="1636"/>
                  </a:cubicBezTo>
                  <a:cubicBezTo>
                    <a:pt x="9733" y="1629"/>
                    <a:pt x="9740" y="1622"/>
                    <a:pt x="9743" y="1615"/>
                  </a:cubicBezTo>
                  <a:lnTo>
                    <a:pt x="9750" y="1612"/>
                  </a:lnTo>
                  <a:cubicBezTo>
                    <a:pt x="9754" y="1605"/>
                    <a:pt x="9761" y="1601"/>
                    <a:pt x="9764" y="1598"/>
                  </a:cubicBezTo>
                  <a:lnTo>
                    <a:pt x="9771" y="1594"/>
                  </a:lnTo>
                  <a:cubicBezTo>
                    <a:pt x="9778" y="1591"/>
                    <a:pt x="9785" y="1587"/>
                    <a:pt x="9789" y="1587"/>
                  </a:cubicBezTo>
                  <a:lnTo>
                    <a:pt x="9799" y="1587"/>
                  </a:lnTo>
                  <a:cubicBezTo>
                    <a:pt x="9806" y="1584"/>
                    <a:pt x="9810" y="1584"/>
                    <a:pt x="9817" y="1584"/>
                  </a:cubicBezTo>
                  <a:cubicBezTo>
                    <a:pt x="9817" y="1563"/>
                    <a:pt x="9820" y="1545"/>
                    <a:pt x="9820" y="1524"/>
                  </a:cubicBezTo>
                  <a:cubicBezTo>
                    <a:pt x="9820" y="1461"/>
                    <a:pt x="9820" y="1381"/>
                    <a:pt x="9880" y="1332"/>
                  </a:cubicBezTo>
                  <a:cubicBezTo>
                    <a:pt x="9880" y="1332"/>
                    <a:pt x="9883" y="1328"/>
                    <a:pt x="9887" y="1328"/>
                  </a:cubicBezTo>
                  <a:lnTo>
                    <a:pt x="9876" y="1300"/>
                  </a:lnTo>
                  <a:lnTo>
                    <a:pt x="9876" y="1297"/>
                  </a:lnTo>
                  <a:lnTo>
                    <a:pt x="9866" y="1276"/>
                  </a:lnTo>
                  <a:lnTo>
                    <a:pt x="9859" y="1258"/>
                  </a:lnTo>
                  <a:lnTo>
                    <a:pt x="9859" y="1255"/>
                  </a:lnTo>
                  <a:lnTo>
                    <a:pt x="9852" y="1244"/>
                  </a:lnTo>
                  <a:lnTo>
                    <a:pt x="9852" y="1241"/>
                  </a:lnTo>
                  <a:lnTo>
                    <a:pt x="9848" y="1234"/>
                  </a:lnTo>
                  <a:lnTo>
                    <a:pt x="9845" y="1227"/>
                  </a:lnTo>
                  <a:lnTo>
                    <a:pt x="9841" y="1223"/>
                  </a:lnTo>
                  <a:cubicBezTo>
                    <a:pt x="9821" y="1218"/>
                    <a:pt x="9800" y="1215"/>
                    <a:pt x="9780" y="1215"/>
                  </a:cubicBezTo>
                  <a:cubicBezTo>
                    <a:pt x="9772" y="1215"/>
                    <a:pt x="9765" y="1215"/>
                    <a:pt x="9757" y="1216"/>
                  </a:cubicBezTo>
                  <a:cubicBezTo>
                    <a:pt x="9753" y="1216"/>
                    <a:pt x="9750" y="1216"/>
                    <a:pt x="9746" y="1216"/>
                  </a:cubicBezTo>
                  <a:cubicBezTo>
                    <a:pt x="9640" y="1216"/>
                    <a:pt x="9478" y="1213"/>
                    <a:pt x="9400" y="1020"/>
                  </a:cubicBezTo>
                  <a:cubicBezTo>
                    <a:pt x="9368" y="940"/>
                    <a:pt x="9347" y="855"/>
                    <a:pt x="9344" y="771"/>
                  </a:cubicBezTo>
                  <a:cubicBezTo>
                    <a:pt x="9340" y="712"/>
                    <a:pt x="9323" y="649"/>
                    <a:pt x="9288" y="600"/>
                  </a:cubicBezTo>
                  <a:lnTo>
                    <a:pt x="9288" y="596"/>
                  </a:lnTo>
                  <a:lnTo>
                    <a:pt x="9263" y="561"/>
                  </a:lnTo>
                  <a:cubicBezTo>
                    <a:pt x="9232" y="519"/>
                    <a:pt x="9204" y="474"/>
                    <a:pt x="9176" y="439"/>
                  </a:cubicBezTo>
                  <a:cubicBezTo>
                    <a:pt x="9095" y="315"/>
                    <a:pt x="9056" y="265"/>
                    <a:pt x="9005" y="265"/>
                  </a:cubicBezTo>
                  <a:cubicBezTo>
                    <a:pt x="8990" y="265"/>
                    <a:pt x="8974" y="270"/>
                    <a:pt x="8955" y="278"/>
                  </a:cubicBezTo>
                  <a:lnTo>
                    <a:pt x="8952" y="278"/>
                  </a:lnTo>
                  <a:lnTo>
                    <a:pt x="8934" y="285"/>
                  </a:lnTo>
                  <a:lnTo>
                    <a:pt x="8924" y="288"/>
                  </a:lnTo>
                  <a:lnTo>
                    <a:pt x="8906" y="292"/>
                  </a:lnTo>
                  <a:lnTo>
                    <a:pt x="8896" y="295"/>
                  </a:lnTo>
                  <a:lnTo>
                    <a:pt x="8878" y="299"/>
                  </a:lnTo>
                  <a:lnTo>
                    <a:pt x="8864" y="299"/>
                  </a:lnTo>
                  <a:lnTo>
                    <a:pt x="8847" y="302"/>
                  </a:lnTo>
                  <a:lnTo>
                    <a:pt x="8378" y="302"/>
                  </a:lnTo>
                  <a:cubicBezTo>
                    <a:pt x="8139" y="505"/>
                    <a:pt x="7691" y="651"/>
                    <a:pt x="7440" y="651"/>
                  </a:cubicBezTo>
                  <a:cubicBezTo>
                    <a:pt x="7392" y="651"/>
                    <a:pt x="7351" y="646"/>
                    <a:pt x="7320" y="635"/>
                  </a:cubicBezTo>
                  <a:cubicBezTo>
                    <a:pt x="7266" y="615"/>
                    <a:pt x="7195" y="608"/>
                    <a:pt x="7115" y="608"/>
                  </a:cubicBezTo>
                  <a:cubicBezTo>
                    <a:pt x="7009" y="608"/>
                    <a:pt x="6887" y="621"/>
                    <a:pt x="6767" y="635"/>
                  </a:cubicBezTo>
                  <a:cubicBezTo>
                    <a:pt x="6641" y="649"/>
                    <a:pt x="6515" y="659"/>
                    <a:pt x="6389" y="663"/>
                  </a:cubicBezTo>
                  <a:cubicBezTo>
                    <a:pt x="6246" y="659"/>
                    <a:pt x="6109" y="614"/>
                    <a:pt x="5994" y="533"/>
                  </a:cubicBezTo>
                  <a:cubicBezTo>
                    <a:pt x="5916" y="488"/>
                    <a:pt x="5854" y="452"/>
                    <a:pt x="5771" y="452"/>
                  </a:cubicBezTo>
                  <a:cubicBezTo>
                    <a:pt x="5763" y="452"/>
                    <a:pt x="5756" y="452"/>
                    <a:pt x="5749" y="453"/>
                  </a:cubicBezTo>
                  <a:cubicBezTo>
                    <a:pt x="5742" y="453"/>
                    <a:pt x="5735" y="453"/>
                    <a:pt x="5728" y="453"/>
                  </a:cubicBezTo>
                  <a:cubicBezTo>
                    <a:pt x="5588" y="453"/>
                    <a:pt x="5515" y="384"/>
                    <a:pt x="5451" y="327"/>
                  </a:cubicBezTo>
                  <a:cubicBezTo>
                    <a:pt x="5395" y="274"/>
                    <a:pt x="5349" y="232"/>
                    <a:pt x="5258" y="232"/>
                  </a:cubicBezTo>
                  <a:cubicBezTo>
                    <a:pt x="5249" y="233"/>
                    <a:pt x="5240" y="234"/>
                    <a:pt x="5231" y="234"/>
                  </a:cubicBezTo>
                  <a:cubicBezTo>
                    <a:pt x="5167" y="234"/>
                    <a:pt x="5107" y="213"/>
                    <a:pt x="5055" y="176"/>
                  </a:cubicBezTo>
                  <a:cubicBezTo>
                    <a:pt x="4985" y="134"/>
                    <a:pt x="4884" y="71"/>
                    <a:pt x="4432" y="15"/>
                  </a:cubicBezTo>
                  <a:cubicBezTo>
                    <a:pt x="4354" y="5"/>
                    <a:pt x="4277" y="1"/>
                    <a:pt x="42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7" name="Google Shape;5334;p64">
              <a:extLst>
                <a:ext uri="{FF2B5EF4-FFF2-40B4-BE49-F238E27FC236}">
                  <a16:creationId xmlns:a16="http://schemas.microsoft.com/office/drawing/2014/main" id="{6CA07262-65D7-BA44-86EA-735E2F083F05}"/>
                </a:ext>
              </a:extLst>
            </p:cNvPr>
            <p:cNvSpPr/>
            <p:nvPr/>
          </p:nvSpPr>
          <p:spPr>
            <a:xfrm>
              <a:off x="2314381" y="1759456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cubicBezTo>
                    <a:pt x="4" y="4"/>
                    <a:pt x="1" y="8"/>
                    <a:pt x="1" y="15"/>
                  </a:cubicBezTo>
                  <a:cubicBezTo>
                    <a:pt x="1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8" name="Google Shape;5335;p64">
              <a:extLst>
                <a:ext uri="{FF2B5EF4-FFF2-40B4-BE49-F238E27FC236}">
                  <a16:creationId xmlns:a16="http://schemas.microsoft.com/office/drawing/2014/main" id="{9145656B-5D77-6B2D-381A-9D962A1118CA}"/>
                </a:ext>
              </a:extLst>
            </p:cNvPr>
            <p:cNvSpPr/>
            <p:nvPr/>
          </p:nvSpPr>
          <p:spPr>
            <a:xfrm>
              <a:off x="231453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9" name="Google Shape;5336;p64">
              <a:extLst>
                <a:ext uri="{FF2B5EF4-FFF2-40B4-BE49-F238E27FC236}">
                  <a16:creationId xmlns:a16="http://schemas.microsoft.com/office/drawing/2014/main" id="{064D9FD3-E8F3-4F14-F0F4-FCD0F6FF62A5}"/>
                </a:ext>
              </a:extLst>
            </p:cNvPr>
            <p:cNvSpPr/>
            <p:nvPr/>
          </p:nvSpPr>
          <p:spPr>
            <a:xfrm>
              <a:off x="2314625" y="175827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0" name="Google Shape;5337;p64">
              <a:extLst>
                <a:ext uri="{FF2B5EF4-FFF2-40B4-BE49-F238E27FC236}">
                  <a16:creationId xmlns:a16="http://schemas.microsoft.com/office/drawing/2014/main" id="{10EEE471-316B-D9FC-D363-6ABD06DC5D2F}"/>
                </a:ext>
              </a:extLst>
            </p:cNvPr>
            <p:cNvSpPr/>
            <p:nvPr/>
          </p:nvSpPr>
          <p:spPr>
            <a:xfrm>
              <a:off x="2314571" y="175860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1" name="Google Shape;5338;p64">
              <a:extLst>
                <a:ext uri="{FF2B5EF4-FFF2-40B4-BE49-F238E27FC236}">
                  <a16:creationId xmlns:a16="http://schemas.microsoft.com/office/drawing/2014/main" id="{2EA18E12-6B1C-9FAE-C0C3-4E6F7D4A24CC}"/>
                </a:ext>
              </a:extLst>
            </p:cNvPr>
            <p:cNvSpPr/>
            <p:nvPr/>
          </p:nvSpPr>
          <p:spPr>
            <a:xfrm>
              <a:off x="2314435" y="1759171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2" name="Google Shape;5339;p64">
              <a:extLst>
                <a:ext uri="{FF2B5EF4-FFF2-40B4-BE49-F238E27FC236}">
                  <a16:creationId xmlns:a16="http://schemas.microsoft.com/office/drawing/2014/main" id="{7C3B02AE-6CBC-EDDA-698C-7CB3CF738F61}"/>
                </a:ext>
              </a:extLst>
            </p:cNvPr>
            <p:cNvSpPr/>
            <p:nvPr/>
          </p:nvSpPr>
          <p:spPr>
            <a:xfrm>
              <a:off x="2314150" y="175970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4" y="0"/>
                  </a:moveTo>
                  <a:cubicBezTo>
                    <a:pt x="11" y="14"/>
                    <a:pt x="7" y="28"/>
                    <a:pt x="0" y="39"/>
                  </a:cubicBezTo>
                  <a:cubicBezTo>
                    <a:pt x="7" y="28"/>
                    <a:pt x="11" y="14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3" name="Google Shape;5340;p64">
              <a:extLst>
                <a:ext uri="{FF2B5EF4-FFF2-40B4-BE49-F238E27FC236}">
                  <a16:creationId xmlns:a16="http://schemas.microsoft.com/office/drawing/2014/main" id="{FB5F2CC4-87F2-25FB-7BE3-99DCA1767A75}"/>
                </a:ext>
              </a:extLst>
            </p:cNvPr>
            <p:cNvSpPr/>
            <p:nvPr/>
          </p:nvSpPr>
          <p:spPr>
            <a:xfrm>
              <a:off x="2312575" y="176141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28" y="0"/>
                  </a:moveTo>
                  <a:cubicBezTo>
                    <a:pt x="18" y="4"/>
                    <a:pt x="11" y="7"/>
                    <a:pt x="0" y="11"/>
                  </a:cubicBezTo>
                  <a:cubicBezTo>
                    <a:pt x="11" y="7"/>
                    <a:pt x="18" y="4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4" name="Google Shape;5341;p64">
              <a:extLst>
                <a:ext uri="{FF2B5EF4-FFF2-40B4-BE49-F238E27FC236}">
                  <a16:creationId xmlns:a16="http://schemas.microsoft.com/office/drawing/2014/main" id="{DA31D0F9-2C0A-3567-C25A-04E533D766DD}"/>
                </a:ext>
              </a:extLst>
            </p:cNvPr>
            <p:cNvSpPr/>
            <p:nvPr/>
          </p:nvSpPr>
          <p:spPr>
            <a:xfrm>
              <a:off x="2313811" y="176055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5" name="Google Shape;5342;p64">
              <a:extLst>
                <a:ext uri="{FF2B5EF4-FFF2-40B4-BE49-F238E27FC236}">
                  <a16:creationId xmlns:a16="http://schemas.microsoft.com/office/drawing/2014/main" id="{816CA06D-DDC0-F923-C299-8F5B463ED101}"/>
                </a:ext>
              </a:extLst>
            </p:cNvPr>
            <p:cNvSpPr/>
            <p:nvPr/>
          </p:nvSpPr>
          <p:spPr>
            <a:xfrm>
              <a:off x="2313580" y="17607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6" name="Google Shape;5343;p64">
              <a:extLst>
                <a:ext uri="{FF2B5EF4-FFF2-40B4-BE49-F238E27FC236}">
                  <a16:creationId xmlns:a16="http://schemas.microsoft.com/office/drawing/2014/main" id="{3FFB379B-AB79-AC29-0CA3-8C2804489C97}"/>
                </a:ext>
              </a:extLst>
            </p:cNvPr>
            <p:cNvSpPr/>
            <p:nvPr/>
          </p:nvSpPr>
          <p:spPr>
            <a:xfrm>
              <a:off x="2338427" y="1752993"/>
              <a:ext cx="4630" cy="1439"/>
            </a:xfrm>
            <a:custGeom>
              <a:avLst/>
              <a:gdLst/>
              <a:ahLst/>
              <a:cxnLst/>
              <a:rect l="l" t="t" r="r" b="b"/>
              <a:pathLst>
                <a:path w="341" h="106" extrusionOk="0">
                  <a:moveTo>
                    <a:pt x="341" y="1"/>
                  </a:moveTo>
                  <a:cubicBezTo>
                    <a:pt x="243" y="67"/>
                    <a:pt x="123" y="106"/>
                    <a:pt x="1" y="106"/>
                  </a:cubicBezTo>
                  <a:cubicBezTo>
                    <a:pt x="123" y="106"/>
                    <a:pt x="243" y="67"/>
                    <a:pt x="3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7" name="Google Shape;5344;p64">
              <a:extLst>
                <a:ext uri="{FF2B5EF4-FFF2-40B4-BE49-F238E27FC236}">
                  <a16:creationId xmlns:a16="http://schemas.microsoft.com/office/drawing/2014/main" id="{B9344191-4CC7-FF9C-54F3-2088DB942D0E}"/>
                </a:ext>
              </a:extLst>
            </p:cNvPr>
            <p:cNvSpPr/>
            <p:nvPr/>
          </p:nvSpPr>
          <p:spPr>
            <a:xfrm>
              <a:off x="2312236" y="176160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8" name="Google Shape;5345;p64">
              <a:extLst>
                <a:ext uri="{FF2B5EF4-FFF2-40B4-BE49-F238E27FC236}">
                  <a16:creationId xmlns:a16="http://schemas.microsoft.com/office/drawing/2014/main" id="{85D3FAA6-EBEC-DD25-FE2E-1DC57DEC4778}"/>
                </a:ext>
              </a:extLst>
            </p:cNvPr>
            <p:cNvSpPr/>
            <p:nvPr/>
          </p:nvSpPr>
          <p:spPr>
            <a:xfrm>
              <a:off x="2314001" y="176031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9" name="Google Shape;5346;p64">
              <a:extLst>
                <a:ext uri="{FF2B5EF4-FFF2-40B4-BE49-F238E27FC236}">
                  <a16:creationId xmlns:a16="http://schemas.microsoft.com/office/drawing/2014/main" id="{6F5E3F7D-2C2E-9E13-900B-B6C2FAFF9440}"/>
                </a:ext>
              </a:extLst>
            </p:cNvPr>
            <p:cNvSpPr/>
            <p:nvPr/>
          </p:nvSpPr>
          <p:spPr>
            <a:xfrm>
              <a:off x="2312955" y="176122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0"/>
                  </a:moveTo>
                  <a:cubicBezTo>
                    <a:pt x="14" y="4"/>
                    <a:pt x="7" y="7"/>
                    <a:pt x="0" y="11"/>
                  </a:cubicBezTo>
                  <a:cubicBezTo>
                    <a:pt x="7" y="7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0" name="Google Shape;5347;p64">
              <a:extLst>
                <a:ext uri="{FF2B5EF4-FFF2-40B4-BE49-F238E27FC236}">
                  <a16:creationId xmlns:a16="http://schemas.microsoft.com/office/drawing/2014/main" id="{5B2F1188-9AF4-62F2-2773-5C54442A4D39}"/>
                </a:ext>
              </a:extLst>
            </p:cNvPr>
            <p:cNvSpPr/>
            <p:nvPr/>
          </p:nvSpPr>
          <p:spPr>
            <a:xfrm>
              <a:off x="2356254" y="1750291"/>
              <a:ext cx="1344" cy="285"/>
            </a:xfrm>
            <a:custGeom>
              <a:avLst/>
              <a:gdLst/>
              <a:ahLst/>
              <a:cxnLst/>
              <a:rect l="l" t="t" r="r" b="b"/>
              <a:pathLst>
                <a:path w="99" h="21" extrusionOk="0">
                  <a:moveTo>
                    <a:pt x="4" y="7"/>
                  </a:moveTo>
                  <a:lnTo>
                    <a:pt x="1" y="7"/>
                  </a:lnTo>
                  <a:lnTo>
                    <a:pt x="4" y="7"/>
                  </a:lnTo>
                  <a:lnTo>
                    <a:pt x="25" y="0"/>
                  </a:lnTo>
                  <a:lnTo>
                    <a:pt x="99" y="21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1" name="Google Shape;5348;p64">
              <a:extLst>
                <a:ext uri="{FF2B5EF4-FFF2-40B4-BE49-F238E27FC236}">
                  <a16:creationId xmlns:a16="http://schemas.microsoft.com/office/drawing/2014/main" id="{E586F6AC-FAAC-A875-0585-9E2A155D4BE5}"/>
                </a:ext>
              </a:extLst>
            </p:cNvPr>
            <p:cNvSpPr/>
            <p:nvPr/>
          </p:nvSpPr>
          <p:spPr>
            <a:xfrm>
              <a:off x="2314720" y="1754758"/>
              <a:ext cx="2009" cy="2770"/>
            </a:xfrm>
            <a:custGeom>
              <a:avLst/>
              <a:gdLst/>
              <a:ahLst/>
              <a:cxnLst/>
              <a:rect l="l" t="t" r="r" b="b"/>
              <a:pathLst>
                <a:path w="148" h="204" extrusionOk="0">
                  <a:moveTo>
                    <a:pt x="147" y="0"/>
                  </a:moveTo>
                  <a:cubicBezTo>
                    <a:pt x="63" y="28"/>
                    <a:pt x="14" y="123"/>
                    <a:pt x="0" y="203"/>
                  </a:cubicBezTo>
                  <a:cubicBezTo>
                    <a:pt x="14" y="126"/>
                    <a:pt x="63" y="32"/>
                    <a:pt x="14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2" name="Google Shape;5349;p64">
              <a:extLst>
                <a:ext uri="{FF2B5EF4-FFF2-40B4-BE49-F238E27FC236}">
                  <a16:creationId xmlns:a16="http://schemas.microsoft.com/office/drawing/2014/main" id="{1F35640E-D71C-193D-1CE6-E1C1A51A7A64}"/>
                </a:ext>
              </a:extLst>
            </p:cNvPr>
            <p:cNvSpPr/>
            <p:nvPr/>
          </p:nvSpPr>
          <p:spPr>
            <a:xfrm>
              <a:off x="2313335" y="176103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3" name="Google Shape;5350;p64">
              <a:extLst>
                <a:ext uri="{FF2B5EF4-FFF2-40B4-BE49-F238E27FC236}">
                  <a16:creationId xmlns:a16="http://schemas.microsoft.com/office/drawing/2014/main" id="{455AB521-0CBF-976F-9A3F-0B4F5A37FCC8}"/>
                </a:ext>
              </a:extLst>
            </p:cNvPr>
            <p:cNvSpPr/>
            <p:nvPr/>
          </p:nvSpPr>
          <p:spPr>
            <a:xfrm>
              <a:off x="2360911" y="1713591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4" name="Google Shape;5351;p64">
              <a:extLst>
                <a:ext uri="{FF2B5EF4-FFF2-40B4-BE49-F238E27FC236}">
                  <a16:creationId xmlns:a16="http://schemas.microsoft.com/office/drawing/2014/main" id="{B1FF43A0-CBA7-E77F-A25C-74E3C6D0B092}"/>
                </a:ext>
              </a:extLst>
            </p:cNvPr>
            <p:cNvSpPr/>
            <p:nvPr/>
          </p:nvSpPr>
          <p:spPr>
            <a:xfrm>
              <a:off x="2360531" y="171368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5" name="Google Shape;5352;p64">
              <a:extLst>
                <a:ext uri="{FF2B5EF4-FFF2-40B4-BE49-F238E27FC236}">
                  <a16:creationId xmlns:a16="http://schemas.microsoft.com/office/drawing/2014/main" id="{DC2BB208-5585-2C7F-2121-F465245DAA40}"/>
                </a:ext>
              </a:extLst>
            </p:cNvPr>
            <p:cNvSpPr/>
            <p:nvPr/>
          </p:nvSpPr>
          <p:spPr>
            <a:xfrm>
              <a:off x="2361291" y="171344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6" name="Google Shape;5353;p64">
              <a:extLst>
                <a:ext uri="{FF2B5EF4-FFF2-40B4-BE49-F238E27FC236}">
                  <a16:creationId xmlns:a16="http://schemas.microsoft.com/office/drawing/2014/main" id="{6B3F5369-856A-DAC8-1693-20F5FA964720}"/>
                </a:ext>
              </a:extLst>
            </p:cNvPr>
            <p:cNvSpPr/>
            <p:nvPr/>
          </p:nvSpPr>
          <p:spPr>
            <a:xfrm>
              <a:off x="2364332" y="1715628"/>
              <a:ext cx="1208" cy="1724"/>
            </a:xfrm>
            <a:custGeom>
              <a:avLst/>
              <a:gdLst/>
              <a:ahLst/>
              <a:cxnLst/>
              <a:rect l="l" t="t" r="r" b="b"/>
              <a:pathLst>
                <a:path w="89" h="127" extrusionOk="0">
                  <a:moveTo>
                    <a:pt x="1" y="1"/>
                  </a:moveTo>
                  <a:cubicBezTo>
                    <a:pt x="25" y="39"/>
                    <a:pt x="53" y="81"/>
                    <a:pt x="88" y="127"/>
                  </a:cubicBezTo>
                  <a:cubicBezTo>
                    <a:pt x="57" y="81"/>
                    <a:pt x="29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7" name="Google Shape;5354;p64">
              <a:extLst>
                <a:ext uri="{FF2B5EF4-FFF2-40B4-BE49-F238E27FC236}">
                  <a16:creationId xmlns:a16="http://schemas.microsoft.com/office/drawing/2014/main" id="{FC277A3D-7709-17A0-936E-DEC117D9B8B7}"/>
                </a:ext>
              </a:extLst>
            </p:cNvPr>
            <p:cNvSpPr/>
            <p:nvPr/>
          </p:nvSpPr>
          <p:spPr>
            <a:xfrm>
              <a:off x="2358725" y="171391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8" name="Google Shape;5355;p64">
              <a:extLst>
                <a:ext uri="{FF2B5EF4-FFF2-40B4-BE49-F238E27FC236}">
                  <a16:creationId xmlns:a16="http://schemas.microsoft.com/office/drawing/2014/main" id="{19C7A7E3-CB3B-9582-4192-0B0754C968ED}"/>
                </a:ext>
              </a:extLst>
            </p:cNvPr>
            <p:cNvSpPr/>
            <p:nvPr/>
          </p:nvSpPr>
          <p:spPr>
            <a:xfrm>
              <a:off x="2354163" y="171382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9" name="Google Shape;5356;p64">
              <a:extLst>
                <a:ext uri="{FF2B5EF4-FFF2-40B4-BE49-F238E27FC236}">
                  <a16:creationId xmlns:a16="http://schemas.microsoft.com/office/drawing/2014/main" id="{F7974810-7A2D-CC1E-7B65-418858BB4031}"/>
                </a:ext>
              </a:extLst>
            </p:cNvPr>
            <p:cNvSpPr/>
            <p:nvPr/>
          </p:nvSpPr>
          <p:spPr>
            <a:xfrm>
              <a:off x="2353552" y="171378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0" name="Google Shape;5357;p64">
              <a:extLst>
                <a:ext uri="{FF2B5EF4-FFF2-40B4-BE49-F238E27FC236}">
                  <a16:creationId xmlns:a16="http://schemas.microsoft.com/office/drawing/2014/main" id="{5AA67D10-0E4E-3F18-099E-DA486DD2C985}"/>
                </a:ext>
              </a:extLst>
            </p:cNvPr>
            <p:cNvSpPr/>
            <p:nvPr/>
          </p:nvSpPr>
          <p:spPr>
            <a:xfrm>
              <a:off x="2359200" y="171387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1" name="Google Shape;5358;p64">
              <a:extLst>
                <a:ext uri="{FF2B5EF4-FFF2-40B4-BE49-F238E27FC236}">
                  <a16:creationId xmlns:a16="http://schemas.microsoft.com/office/drawing/2014/main" id="{5675978C-BC34-DBB6-4503-85DF8BAB6334}"/>
                </a:ext>
              </a:extLst>
            </p:cNvPr>
            <p:cNvSpPr/>
            <p:nvPr/>
          </p:nvSpPr>
          <p:spPr>
            <a:xfrm>
              <a:off x="2365812" y="17178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2" name="Google Shape;5359;p64">
              <a:extLst>
                <a:ext uri="{FF2B5EF4-FFF2-40B4-BE49-F238E27FC236}">
                  <a16:creationId xmlns:a16="http://schemas.microsoft.com/office/drawing/2014/main" id="{11BEAB13-0A3A-7835-EB7F-4D5EC83AFDDB}"/>
                </a:ext>
              </a:extLst>
            </p:cNvPr>
            <p:cNvSpPr/>
            <p:nvPr/>
          </p:nvSpPr>
          <p:spPr>
            <a:xfrm>
              <a:off x="2354788" y="171387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3" name="Google Shape;5360;p64">
              <a:extLst>
                <a:ext uri="{FF2B5EF4-FFF2-40B4-BE49-F238E27FC236}">
                  <a16:creationId xmlns:a16="http://schemas.microsoft.com/office/drawing/2014/main" id="{81DA8FE0-0A8A-66B2-D190-6CFC35986601}"/>
                </a:ext>
              </a:extLst>
            </p:cNvPr>
            <p:cNvSpPr/>
            <p:nvPr/>
          </p:nvSpPr>
          <p:spPr>
            <a:xfrm>
              <a:off x="2355358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4" name="Google Shape;5361;p64">
              <a:extLst>
                <a:ext uri="{FF2B5EF4-FFF2-40B4-BE49-F238E27FC236}">
                  <a16:creationId xmlns:a16="http://schemas.microsoft.com/office/drawing/2014/main" id="{D0C1D82D-A1DC-39E2-5108-CEC83F44AE53}"/>
                </a:ext>
              </a:extLst>
            </p:cNvPr>
            <p:cNvSpPr/>
            <p:nvPr/>
          </p:nvSpPr>
          <p:spPr>
            <a:xfrm>
              <a:off x="2357680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5" name="Google Shape;5362;p64">
              <a:extLst>
                <a:ext uri="{FF2B5EF4-FFF2-40B4-BE49-F238E27FC236}">
                  <a16:creationId xmlns:a16="http://schemas.microsoft.com/office/drawing/2014/main" id="{2CE19941-D0AE-0475-82AE-9BC6F47840D3}"/>
                </a:ext>
              </a:extLst>
            </p:cNvPr>
            <p:cNvSpPr/>
            <p:nvPr/>
          </p:nvSpPr>
          <p:spPr>
            <a:xfrm>
              <a:off x="2359675" y="171382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6" name="Google Shape;5363;p64">
              <a:extLst>
                <a:ext uri="{FF2B5EF4-FFF2-40B4-BE49-F238E27FC236}">
                  <a16:creationId xmlns:a16="http://schemas.microsoft.com/office/drawing/2014/main" id="{D9D99AAE-9958-4EBA-1240-3BCEFC5A0782}"/>
                </a:ext>
              </a:extLst>
            </p:cNvPr>
            <p:cNvSpPr/>
            <p:nvPr/>
          </p:nvSpPr>
          <p:spPr>
            <a:xfrm>
              <a:off x="235820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7" name="Google Shape;5364;p64">
              <a:extLst>
                <a:ext uri="{FF2B5EF4-FFF2-40B4-BE49-F238E27FC236}">
                  <a16:creationId xmlns:a16="http://schemas.microsoft.com/office/drawing/2014/main" id="{01DC8249-9D41-96F2-EA6D-430DC635666A}"/>
                </a:ext>
              </a:extLst>
            </p:cNvPr>
            <p:cNvSpPr/>
            <p:nvPr/>
          </p:nvSpPr>
          <p:spPr>
            <a:xfrm>
              <a:off x="235653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8" name="Google Shape;5365;p64">
              <a:extLst>
                <a:ext uri="{FF2B5EF4-FFF2-40B4-BE49-F238E27FC236}">
                  <a16:creationId xmlns:a16="http://schemas.microsoft.com/office/drawing/2014/main" id="{1ECDA813-1ED1-A28B-7D6C-55E3521CD0D0}"/>
                </a:ext>
              </a:extLst>
            </p:cNvPr>
            <p:cNvSpPr/>
            <p:nvPr/>
          </p:nvSpPr>
          <p:spPr>
            <a:xfrm>
              <a:off x="2360110" y="17137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9" name="Google Shape;5366;p64">
              <a:extLst>
                <a:ext uri="{FF2B5EF4-FFF2-40B4-BE49-F238E27FC236}">
                  <a16:creationId xmlns:a16="http://schemas.microsoft.com/office/drawing/2014/main" id="{0C9AAC65-F1F5-8DC3-51AB-AF61C36FCF36}"/>
                </a:ext>
              </a:extLst>
            </p:cNvPr>
            <p:cNvSpPr/>
            <p:nvPr/>
          </p:nvSpPr>
          <p:spPr>
            <a:xfrm>
              <a:off x="2357299" y="17139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0" name="Google Shape;5367;p64">
              <a:extLst>
                <a:ext uri="{FF2B5EF4-FFF2-40B4-BE49-F238E27FC236}">
                  <a16:creationId xmlns:a16="http://schemas.microsoft.com/office/drawing/2014/main" id="{EB1A0E35-8214-8E26-D1CC-5710707AECD3}"/>
                </a:ext>
              </a:extLst>
            </p:cNvPr>
            <p:cNvSpPr/>
            <p:nvPr/>
          </p:nvSpPr>
          <p:spPr>
            <a:xfrm>
              <a:off x="2355969" y="17139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1" name="Google Shape;5368;p64">
              <a:extLst>
                <a:ext uri="{FF2B5EF4-FFF2-40B4-BE49-F238E27FC236}">
                  <a16:creationId xmlns:a16="http://schemas.microsoft.com/office/drawing/2014/main" id="{D7CBDEE7-8777-320C-70F9-958C70F2725E}"/>
                </a:ext>
              </a:extLst>
            </p:cNvPr>
            <p:cNvSpPr/>
            <p:nvPr/>
          </p:nvSpPr>
          <p:spPr>
            <a:xfrm>
              <a:off x="2628523" y="1764588"/>
              <a:ext cx="15085" cy="14419"/>
            </a:xfrm>
            <a:custGeom>
              <a:avLst/>
              <a:gdLst/>
              <a:ahLst/>
              <a:cxnLst/>
              <a:rect l="l" t="t" r="r" b="b"/>
              <a:pathLst>
                <a:path w="1111" h="1062" extrusionOk="0">
                  <a:moveTo>
                    <a:pt x="540" y="1"/>
                  </a:moveTo>
                  <a:cubicBezTo>
                    <a:pt x="470" y="1"/>
                    <a:pt x="403" y="15"/>
                    <a:pt x="340" y="43"/>
                  </a:cubicBezTo>
                  <a:lnTo>
                    <a:pt x="298" y="60"/>
                  </a:lnTo>
                  <a:lnTo>
                    <a:pt x="256" y="78"/>
                  </a:lnTo>
                  <a:lnTo>
                    <a:pt x="253" y="78"/>
                  </a:lnTo>
                  <a:lnTo>
                    <a:pt x="214" y="99"/>
                  </a:lnTo>
                  <a:lnTo>
                    <a:pt x="211" y="102"/>
                  </a:lnTo>
                  <a:lnTo>
                    <a:pt x="176" y="123"/>
                  </a:lnTo>
                  <a:lnTo>
                    <a:pt x="169" y="127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02" y="172"/>
                  </a:lnTo>
                  <a:lnTo>
                    <a:pt x="95" y="176"/>
                  </a:lnTo>
                  <a:cubicBezTo>
                    <a:pt x="78" y="193"/>
                    <a:pt x="57" y="211"/>
                    <a:pt x="39" y="228"/>
                  </a:cubicBezTo>
                  <a:lnTo>
                    <a:pt x="36" y="235"/>
                  </a:lnTo>
                  <a:cubicBezTo>
                    <a:pt x="29" y="242"/>
                    <a:pt x="22" y="249"/>
                    <a:pt x="15" y="256"/>
                  </a:cubicBezTo>
                  <a:lnTo>
                    <a:pt x="11" y="263"/>
                  </a:lnTo>
                  <a:cubicBezTo>
                    <a:pt x="8" y="267"/>
                    <a:pt x="4" y="274"/>
                    <a:pt x="1" y="277"/>
                  </a:cubicBezTo>
                  <a:cubicBezTo>
                    <a:pt x="8" y="288"/>
                    <a:pt x="15" y="298"/>
                    <a:pt x="22" y="312"/>
                  </a:cubicBezTo>
                  <a:lnTo>
                    <a:pt x="29" y="319"/>
                  </a:lnTo>
                  <a:cubicBezTo>
                    <a:pt x="32" y="326"/>
                    <a:pt x="39" y="337"/>
                    <a:pt x="43" y="344"/>
                  </a:cubicBezTo>
                  <a:lnTo>
                    <a:pt x="50" y="354"/>
                  </a:lnTo>
                  <a:cubicBezTo>
                    <a:pt x="53" y="361"/>
                    <a:pt x="57" y="372"/>
                    <a:pt x="60" y="382"/>
                  </a:cubicBezTo>
                  <a:lnTo>
                    <a:pt x="64" y="389"/>
                  </a:lnTo>
                  <a:cubicBezTo>
                    <a:pt x="67" y="400"/>
                    <a:pt x="74" y="410"/>
                    <a:pt x="74" y="421"/>
                  </a:cubicBezTo>
                  <a:cubicBezTo>
                    <a:pt x="120" y="547"/>
                    <a:pt x="204" y="648"/>
                    <a:pt x="316" y="715"/>
                  </a:cubicBezTo>
                  <a:cubicBezTo>
                    <a:pt x="333" y="729"/>
                    <a:pt x="351" y="739"/>
                    <a:pt x="368" y="750"/>
                  </a:cubicBezTo>
                  <a:cubicBezTo>
                    <a:pt x="379" y="753"/>
                    <a:pt x="386" y="760"/>
                    <a:pt x="393" y="764"/>
                  </a:cubicBezTo>
                  <a:lnTo>
                    <a:pt x="400" y="774"/>
                  </a:lnTo>
                  <a:lnTo>
                    <a:pt x="410" y="781"/>
                  </a:lnTo>
                  <a:cubicBezTo>
                    <a:pt x="456" y="834"/>
                    <a:pt x="480" y="904"/>
                    <a:pt x="477" y="974"/>
                  </a:cubicBezTo>
                  <a:lnTo>
                    <a:pt x="477" y="981"/>
                  </a:lnTo>
                  <a:lnTo>
                    <a:pt x="477" y="995"/>
                  </a:lnTo>
                  <a:cubicBezTo>
                    <a:pt x="477" y="1012"/>
                    <a:pt x="477" y="1034"/>
                    <a:pt x="470" y="1051"/>
                  </a:cubicBezTo>
                  <a:lnTo>
                    <a:pt x="470" y="1058"/>
                  </a:lnTo>
                  <a:lnTo>
                    <a:pt x="470" y="1062"/>
                  </a:lnTo>
                  <a:lnTo>
                    <a:pt x="480" y="1062"/>
                  </a:lnTo>
                  <a:lnTo>
                    <a:pt x="508" y="1058"/>
                  </a:lnTo>
                  <a:lnTo>
                    <a:pt x="515" y="1058"/>
                  </a:lnTo>
                  <a:lnTo>
                    <a:pt x="550" y="1055"/>
                  </a:lnTo>
                  <a:lnTo>
                    <a:pt x="554" y="1055"/>
                  </a:lnTo>
                  <a:lnTo>
                    <a:pt x="582" y="1051"/>
                  </a:lnTo>
                  <a:lnTo>
                    <a:pt x="585" y="1051"/>
                  </a:lnTo>
                  <a:lnTo>
                    <a:pt x="613" y="1048"/>
                  </a:lnTo>
                  <a:cubicBezTo>
                    <a:pt x="736" y="1020"/>
                    <a:pt x="1065" y="564"/>
                    <a:pt x="1110" y="435"/>
                  </a:cubicBezTo>
                  <a:cubicBezTo>
                    <a:pt x="1110" y="435"/>
                    <a:pt x="1110" y="403"/>
                    <a:pt x="1047" y="330"/>
                  </a:cubicBezTo>
                  <a:cubicBezTo>
                    <a:pt x="1030" y="312"/>
                    <a:pt x="1012" y="291"/>
                    <a:pt x="991" y="274"/>
                  </a:cubicBezTo>
                  <a:lnTo>
                    <a:pt x="977" y="260"/>
                  </a:lnTo>
                  <a:lnTo>
                    <a:pt x="960" y="246"/>
                  </a:lnTo>
                  <a:lnTo>
                    <a:pt x="953" y="235"/>
                  </a:lnTo>
                  <a:lnTo>
                    <a:pt x="928" y="214"/>
                  </a:lnTo>
                  <a:cubicBezTo>
                    <a:pt x="795" y="102"/>
                    <a:pt x="627" y="8"/>
                    <a:pt x="54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2" name="Google Shape;5369;p64">
              <a:extLst>
                <a:ext uri="{FF2B5EF4-FFF2-40B4-BE49-F238E27FC236}">
                  <a16:creationId xmlns:a16="http://schemas.microsoft.com/office/drawing/2014/main" id="{2486E499-78FA-492E-9539-BC2A02812F45}"/>
                </a:ext>
              </a:extLst>
            </p:cNvPr>
            <p:cNvSpPr/>
            <p:nvPr/>
          </p:nvSpPr>
          <p:spPr>
            <a:xfrm>
              <a:off x="2634090" y="1775192"/>
              <a:ext cx="964" cy="2620"/>
            </a:xfrm>
            <a:custGeom>
              <a:avLst/>
              <a:gdLst/>
              <a:ahLst/>
              <a:cxnLst/>
              <a:rect l="l" t="t" r="r" b="b"/>
              <a:pathLst>
                <a:path w="71" h="193" extrusionOk="0">
                  <a:moveTo>
                    <a:pt x="0" y="0"/>
                  </a:moveTo>
                  <a:cubicBezTo>
                    <a:pt x="46" y="53"/>
                    <a:pt x="70" y="123"/>
                    <a:pt x="67" y="193"/>
                  </a:cubicBezTo>
                  <a:cubicBezTo>
                    <a:pt x="70" y="123"/>
                    <a:pt x="46" y="53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3" name="Google Shape;5370;p64">
              <a:extLst>
                <a:ext uri="{FF2B5EF4-FFF2-40B4-BE49-F238E27FC236}">
                  <a16:creationId xmlns:a16="http://schemas.microsoft.com/office/drawing/2014/main" id="{7506D5CD-6B6C-5BA1-CC72-147BBC42E550}"/>
                </a:ext>
              </a:extLst>
            </p:cNvPr>
            <p:cNvSpPr/>
            <p:nvPr/>
          </p:nvSpPr>
          <p:spPr>
            <a:xfrm>
              <a:off x="2633846" y="177500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4" name="Google Shape;5371;p64">
              <a:extLst>
                <a:ext uri="{FF2B5EF4-FFF2-40B4-BE49-F238E27FC236}">
                  <a16:creationId xmlns:a16="http://schemas.microsoft.com/office/drawing/2014/main" id="{FC0B4212-1CBB-3C1A-CF3B-1F2F2E04505C}"/>
                </a:ext>
              </a:extLst>
            </p:cNvPr>
            <p:cNvSpPr/>
            <p:nvPr/>
          </p:nvSpPr>
          <p:spPr>
            <a:xfrm>
              <a:off x="2628483" y="1768349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0" y="0"/>
                  </a:moveTo>
                  <a:cubicBezTo>
                    <a:pt x="11" y="11"/>
                    <a:pt x="18" y="21"/>
                    <a:pt x="25" y="35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5" name="Google Shape;5372;p64">
              <a:extLst>
                <a:ext uri="{FF2B5EF4-FFF2-40B4-BE49-F238E27FC236}">
                  <a16:creationId xmlns:a16="http://schemas.microsoft.com/office/drawing/2014/main" id="{06543F31-3CA2-E8BB-8EC7-7EEAD6E558D6}"/>
                </a:ext>
              </a:extLst>
            </p:cNvPr>
            <p:cNvSpPr/>
            <p:nvPr/>
          </p:nvSpPr>
          <p:spPr>
            <a:xfrm>
              <a:off x="2634891" y="1778858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6" name="Google Shape;5373;p64">
              <a:extLst>
                <a:ext uri="{FF2B5EF4-FFF2-40B4-BE49-F238E27FC236}">
                  <a16:creationId xmlns:a16="http://schemas.microsoft.com/office/drawing/2014/main" id="{88474504-ABCC-DEBC-CFD3-16DA3F44CB6D}"/>
                </a:ext>
              </a:extLst>
            </p:cNvPr>
            <p:cNvSpPr/>
            <p:nvPr/>
          </p:nvSpPr>
          <p:spPr>
            <a:xfrm>
              <a:off x="2629148" y="1769341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1" y="22"/>
                    <a:pt x="14" y="29"/>
                  </a:cubicBezTo>
                  <a:cubicBezTo>
                    <a:pt x="11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7" name="Google Shape;5374;p64">
              <a:extLst>
                <a:ext uri="{FF2B5EF4-FFF2-40B4-BE49-F238E27FC236}">
                  <a16:creationId xmlns:a16="http://schemas.microsoft.com/office/drawing/2014/main" id="{5E57737D-405A-65A3-D0BE-93BA20F59815}"/>
                </a:ext>
              </a:extLst>
            </p:cNvPr>
            <p:cNvSpPr/>
            <p:nvPr/>
          </p:nvSpPr>
          <p:spPr>
            <a:xfrm>
              <a:off x="2634986" y="17778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8" name="Google Shape;5375;p64">
              <a:extLst>
                <a:ext uri="{FF2B5EF4-FFF2-40B4-BE49-F238E27FC236}">
                  <a16:creationId xmlns:a16="http://schemas.microsoft.com/office/drawing/2014/main" id="{A1A92964-B7C5-1D65-5727-E132F63784D7}"/>
                </a:ext>
              </a:extLst>
            </p:cNvPr>
            <p:cNvSpPr/>
            <p:nvPr/>
          </p:nvSpPr>
          <p:spPr>
            <a:xfrm>
              <a:off x="2628904" y="176886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18"/>
                    <a:pt x="4" y="11"/>
                    <a:pt x="1" y="1"/>
                  </a:cubicBezTo>
                  <a:cubicBezTo>
                    <a:pt x="4" y="11"/>
                    <a:pt x="11" y="18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9" name="Google Shape;5376;p64">
              <a:extLst>
                <a:ext uri="{FF2B5EF4-FFF2-40B4-BE49-F238E27FC236}">
                  <a16:creationId xmlns:a16="http://schemas.microsoft.com/office/drawing/2014/main" id="{4C4A7EDC-1078-3D69-0EEF-655E1F29A78B}"/>
                </a:ext>
              </a:extLst>
            </p:cNvPr>
            <p:cNvSpPr/>
            <p:nvPr/>
          </p:nvSpPr>
          <p:spPr>
            <a:xfrm>
              <a:off x="2629379" y="1769816"/>
              <a:ext cx="204" cy="489"/>
            </a:xfrm>
            <a:custGeom>
              <a:avLst/>
              <a:gdLst/>
              <a:ahLst/>
              <a:cxnLst/>
              <a:rect l="l" t="t" r="r" b="b"/>
              <a:pathLst>
                <a:path w="15" h="36" extrusionOk="0">
                  <a:moveTo>
                    <a:pt x="15" y="36"/>
                  </a:moveTo>
                  <a:cubicBezTo>
                    <a:pt x="11" y="25"/>
                    <a:pt x="4" y="15"/>
                    <a:pt x="1" y="1"/>
                  </a:cubicBezTo>
                  <a:cubicBezTo>
                    <a:pt x="4" y="15"/>
                    <a:pt x="11" y="25"/>
                    <a:pt x="15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0" name="Google Shape;5377;p64">
              <a:extLst>
                <a:ext uri="{FF2B5EF4-FFF2-40B4-BE49-F238E27FC236}">
                  <a16:creationId xmlns:a16="http://schemas.microsoft.com/office/drawing/2014/main" id="{9731AAC9-4BCA-5D57-3F3D-954B0C3CBD63}"/>
                </a:ext>
              </a:extLst>
            </p:cNvPr>
            <p:cNvSpPr/>
            <p:nvPr/>
          </p:nvSpPr>
          <p:spPr>
            <a:xfrm>
              <a:off x="2964159" y="1702797"/>
              <a:ext cx="47345" cy="45539"/>
            </a:xfrm>
            <a:custGeom>
              <a:avLst/>
              <a:gdLst/>
              <a:ahLst/>
              <a:cxnLst/>
              <a:rect l="l" t="t" r="r" b="b"/>
              <a:pathLst>
                <a:path w="3487" h="3354" extrusionOk="0">
                  <a:moveTo>
                    <a:pt x="3046" y="1"/>
                  </a:moveTo>
                  <a:cubicBezTo>
                    <a:pt x="3007" y="1"/>
                    <a:pt x="2976" y="88"/>
                    <a:pt x="2951" y="169"/>
                  </a:cubicBezTo>
                  <a:cubicBezTo>
                    <a:pt x="2913" y="284"/>
                    <a:pt x="2867" y="424"/>
                    <a:pt x="2731" y="424"/>
                  </a:cubicBezTo>
                  <a:cubicBezTo>
                    <a:pt x="2689" y="424"/>
                    <a:pt x="2671" y="449"/>
                    <a:pt x="2626" y="512"/>
                  </a:cubicBezTo>
                  <a:cubicBezTo>
                    <a:pt x="2580" y="585"/>
                    <a:pt x="2514" y="683"/>
                    <a:pt x="2353" y="708"/>
                  </a:cubicBezTo>
                  <a:lnTo>
                    <a:pt x="2318" y="711"/>
                  </a:lnTo>
                  <a:cubicBezTo>
                    <a:pt x="2262" y="718"/>
                    <a:pt x="2206" y="729"/>
                    <a:pt x="2153" y="743"/>
                  </a:cubicBezTo>
                  <a:cubicBezTo>
                    <a:pt x="2153" y="746"/>
                    <a:pt x="2153" y="750"/>
                    <a:pt x="2157" y="753"/>
                  </a:cubicBezTo>
                  <a:cubicBezTo>
                    <a:pt x="2164" y="778"/>
                    <a:pt x="2178" y="799"/>
                    <a:pt x="2188" y="820"/>
                  </a:cubicBezTo>
                  <a:cubicBezTo>
                    <a:pt x="2213" y="851"/>
                    <a:pt x="2223" y="890"/>
                    <a:pt x="2223" y="932"/>
                  </a:cubicBezTo>
                  <a:cubicBezTo>
                    <a:pt x="2223" y="949"/>
                    <a:pt x="2216" y="963"/>
                    <a:pt x="2209" y="977"/>
                  </a:cubicBezTo>
                  <a:cubicBezTo>
                    <a:pt x="2178" y="1027"/>
                    <a:pt x="2121" y="1040"/>
                    <a:pt x="2046" y="1040"/>
                  </a:cubicBezTo>
                  <a:cubicBezTo>
                    <a:pt x="2009" y="1040"/>
                    <a:pt x="1969" y="1037"/>
                    <a:pt x="1926" y="1033"/>
                  </a:cubicBezTo>
                  <a:cubicBezTo>
                    <a:pt x="1880" y="1030"/>
                    <a:pt x="1827" y="1026"/>
                    <a:pt x="1782" y="1026"/>
                  </a:cubicBezTo>
                  <a:cubicBezTo>
                    <a:pt x="1687" y="1026"/>
                    <a:pt x="1593" y="995"/>
                    <a:pt x="1523" y="928"/>
                  </a:cubicBezTo>
                  <a:cubicBezTo>
                    <a:pt x="1498" y="904"/>
                    <a:pt x="1463" y="886"/>
                    <a:pt x="1428" y="886"/>
                  </a:cubicBezTo>
                  <a:cubicBezTo>
                    <a:pt x="1362" y="886"/>
                    <a:pt x="1281" y="1016"/>
                    <a:pt x="1215" y="1117"/>
                  </a:cubicBezTo>
                  <a:cubicBezTo>
                    <a:pt x="1187" y="1159"/>
                    <a:pt x="1159" y="1208"/>
                    <a:pt x="1127" y="1247"/>
                  </a:cubicBezTo>
                  <a:cubicBezTo>
                    <a:pt x="1040" y="1366"/>
                    <a:pt x="658" y="1555"/>
                    <a:pt x="242" y="1755"/>
                  </a:cubicBezTo>
                  <a:cubicBezTo>
                    <a:pt x="175" y="1786"/>
                    <a:pt x="123" y="1814"/>
                    <a:pt x="84" y="1832"/>
                  </a:cubicBezTo>
                  <a:lnTo>
                    <a:pt x="77" y="1835"/>
                  </a:lnTo>
                  <a:lnTo>
                    <a:pt x="70" y="1839"/>
                  </a:lnTo>
                  <a:lnTo>
                    <a:pt x="63" y="1846"/>
                  </a:lnTo>
                  <a:lnTo>
                    <a:pt x="56" y="1856"/>
                  </a:lnTo>
                  <a:lnTo>
                    <a:pt x="53" y="1860"/>
                  </a:lnTo>
                  <a:lnTo>
                    <a:pt x="42" y="1874"/>
                  </a:lnTo>
                  <a:lnTo>
                    <a:pt x="42" y="1877"/>
                  </a:lnTo>
                  <a:lnTo>
                    <a:pt x="32" y="1895"/>
                  </a:lnTo>
                  <a:lnTo>
                    <a:pt x="28" y="1898"/>
                  </a:lnTo>
                  <a:lnTo>
                    <a:pt x="18" y="1919"/>
                  </a:lnTo>
                  <a:lnTo>
                    <a:pt x="14" y="1926"/>
                  </a:lnTo>
                  <a:cubicBezTo>
                    <a:pt x="11" y="1937"/>
                    <a:pt x="4" y="1944"/>
                    <a:pt x="0" y="1954"/>
                  </a:cubicBezTo>
                  <a:cubicBezTo>
                    <a:pt x="242" y="1986"/>
                    <a:pt x="469" y="2129"/>
                    <a:pt x="574" y="2262"/>
                  </a:cubicBezTo>
                  <a:cubicBezTo>
                    <a:pt x="728" y="2455"/>
                    <a:pt x="529" y="2651"/>
                    <a:pt x="371" y="2805"/>
                  </a:cubicBezTo>
                  <a:cubicBezTo>
                    <a:pt x="326" y="2850"/>
                    <a:pt x="284" y="2892"/>
                    <a:pt x="249" y="2934"/>
                  </a:cubicBezTo>
                  <a:cubicBezTo>
                    <a:pt x="203" y="2994"/>
                    <a:pt x="207" y="2997"/>
                    <a:pt x="263" y="3050"/>
                  </a:cubicBezTo>
                  <a:cubicBezTo>
                    <a:pt x="319" y="3088"/>
                    <a:pt x="354" y="3155"/>
                    <a:pt x="361" y="3225"/>
                  </a:cubicBezTo>
                  <a:cubicBezTo>
                    <a:pt x="368" y="3284"/>
                    <a:pt x="410" y="3333"/>
                    <a:pt x="469" y="3351"/>
                  </a:cubicBezTo>
                  <a:cubicBezTo>
                    <a:pt x="474" y="3353"/>
                    <a:pt x="478" y="3354"/>
                    <a:pt x="483" y="3354"/>
                  </a:cubicBezTo>
                  <a:cubicBezTo>
                    <a:pt x="497" y="3354"/>
                    <a:pt x="509" y="3346"/>
                    <a:pt x="515" y="3333"/>
                  </a:cubicBezTo>
                  <a:cubicBezTo>
                    <a:pt x="570" y="3231"/>
                    <a:pt x="653" y="3209"/>
                    <a:pt x="749" y="3209"/>
                  </a:cubicBezTo>
                  <a:cubicBezTo>
                    <a:pt x="782" y="3209"/>
                    <a:pt x="816" y="3212"/>
                    <a:pt x="851" y="3214"/>
                  </a:cubicBezTo>
                  <a:cubicBezTo>
                    <a:pt x="893" y="3214"/>
                    <a:pt x="938" y="3218"/>
                    <a:pt x="991" y="3218"/>
                  </a:cubicBezTo>
                  <a:cubicBezTo>
                    <a:pt x="995" y="3218"/>
                    <a:pt x="1000" y="3217"/>
                    <a:pt x="1004" y="3217"/>
                  </a:cubicBezTo>
                  <a:cubicBezTo>
                    <a:pt x="1051" y="3217"/>
                    <a:pt x="1096" y="3235"/>
                    <a:pt x="1131" y="3267"/>
                  </a:cubicBezTo>
                  <a:lnTo>
                    <a:pt x="1134" y="3267"/>
                  </a:lnTo>
                  <a:lnTo>
                    <a:pt x="1194" y="3221"/>
                  </a:lnTo>
                  <a:lnTo>
                    <a:pt x="1208" y="3214"/>
                  </a:lnTo>
                  <a:lnTo>
                    <a:pt x="1264" y="3172"/>
                  </a:lnTo>
                  <a:lnTo>
                    <a:pt x="1337" y="3120"/>
                  </a:lnTo>
                  <a:cubicBezTo>
                    <a:pt x="1358" y="3106"/>
                    <a:pt x="1379" y="3088"/>
                    <a:pt x="1397" y="3071"/>
                  </a:cubicBezTo>
                  <a:cubicBezTo>
                    <a:pt x="1404" y="3064"/>
                    <a:pt x="1411" y="3057"/>
                    <a:pt x="1421" y="3053"/>
                  </a:cubicBezTo>
                  <a:cubicBezTo>
                    <a:pt x="1488" y="3001"/>
                    <a:pt x="1596" y="2966"/>
                    <a:pt x="1750" y="2952"/>
                  </a:cubicBezTo>
                  <a:lnTo>
                    <a:pt x="1796" y="2948"/>
                  </a:lnTo>
                  <a:lnTo>
                    <a:pt x="1940" y="2948"/>
                  </a:lnTo>
                  <a:cubicBezTo>
                    <a:pt x="1957" y="2945"/>
                    <a:pt x="1971" y="2945"/>
                    <a:pt x="1989" y="2945"/>
                  </a:cubicBezTo>
                  <a:lnTo>
                    <a:pt x="1999" y="2945"/>
                  </a:lnTo>
                  <a:cubicBezTo>
                    <a:pt x="2013" y="2941"/>
                    <a:pt x="2027" y="2938"/>
                    <a:pt x="2041" y="2934"/>
                  </a:cubicBezTo>
                  <a:lnTo>
                    <a:pt x="2045" y="2934"/>
                  </a:lnTo>
                  <a:cubicBezTo>
                    <a:pt x="2059" y="2931"/>
                    <a:pt x="2069" y="2927"/>
                    <a:pt x="2083" y="2924"/>
                  </a:cubicBezTo>
                  <a:lnTo>
                    <a:pt x="2090" y="2917"/>
                  </a:lnTo>
                  <a:cubicBezTo>
                    <a:pt x="2104" y="2913"/>
                    <a:pt x="2118" y="2906"/>
                    <a:pt x="2132" y="2896"/>
                  </a:cubicBezTo>
                  <a:cubicBezTo>
                    <a:pt x="1947" y="2700"/>
                    <a:pt x="1775" y="2546"/>
                    <a:pt x="1712" y="2507"/>
                  </a:cubicBezTo>
                  <a:cubicBezTo>
                    <a:pt x="1617" y="2448"/>
                    <a:pt x="1568" y="2336"/>
                    <a:pt x="1589" y="2227"/>
                  </a:cubicBezTo>
                  <a:cubicBezTo>
                    <a:pt x="1614" y="2073"/>
                    <a:pt x="1729" y="1944"/>
                    <a:pt x="1883" y="1902"/>
                  </a:cubicBezTo>
                  <a:cubicBezTo>
                    <a:pt x="2027" y="1867"/>
                    <a:pt x="2353" y="1643"/>
                    <a:pt x="2566" y="1496"/>
                  </a:cubicBezTo>
                  <a:cubicBezTo>
                    <a:pt x="2675" y="1422"/>
                    <a:pt x="2766" y="1359"/>
                    <a:pt x="2822" y="1327"/>
                  </a:cubicBezTo>
                  <a:cubicBezTo>
                    <a:pt x="2874" y="1296"/>
                    <a:pt x="2888" y="1208"/>
                    <a:pt x="2899" y="1075"/>
                  </a:cubicBezTo>
                  <a:cubicBezTo>
                    <a:pt x="2909" y="953"/>
                    <a:pt x="2920" y="816"/>
                    <a:pt x="2990" y="690"/>
                  </a:cubicBezTo>
                  <a:cubicBezTo>
                    <a:pt x="3060" y="561"/>
                    <a:pt x="3280" y="354"/>
                    <a:pt x="3487" y="183"/>
                  </a:cubicBezTo>
                  <a:lnTo>
                    <a:pt x="3483" y="183"/>
                  </a:lnTo>
                  <a:cubicBezTo>
                    <a:pt x="3469" y="186"/>
                    <a:pt x="3455" y="186"/>
                    <a:pt x="3441" y="186"/>
                  </a:cubicBezTo>
                  <a:lnTo>
                    <a:pt x="3434" y="186"/>
                  </a:lnTo>
                  <a:cubicBezTo>
                    <a:pt x="3427" y="188"/>
                    <a:pt x="3421" y="189"/>
                    <a:pt x="3415" y="189"/>
                  </a:cubicBezTo>
                  <a:cubicBezTo>
                    <a:pt x="3409" y="189"/>
                    <a:pt x="3403" y="188"/>
                    <a:pt x="3396" y="186"/>
                  </a:cubicBezTo>
                  <a:lnTo>
                    <a:pt x="3392" y="186"/>
                  </a:lnTo>
                  <a:cubicBezTo>
                    <a:pt x="3382" y="186"/>
                    <a:pt x="3371" y="183"/>
                    <a:pt x="3361" y="179"/>
                  </a:cubicBezTo>
                  <a:lnTo>
                    <a:pt x="3354" y="179"/>
                  </a:lnTo>
                  <a:cubicBezTo>
                    <a:pt x="3343" y="176"/>
                    <a:pt x="3333" y="172"/>
                    <a:pt x="3322" y="165"/>
                  </a:cubicBezTo>
                  <a:lnTo>
                    <a:pt x="3315" y="165"/>
                  </a:lnTo>
                  <a:cubicBezTo>
                    <a:pt x="3305" y="158"/>
                    <a:pt x="3298" y="155"/>
                    <a:pt x="3287" y="148"/>
                  </a:cubicBezTo>
                  <a:lnTo>
                    <a:pt x="3280" y="144"/>
                  </a:lnTo>
                  <a:cubicBezTo>
                    <a:pt x="3273" y="141"/>
                    <a:pt x="3263" y="134"/>
                    <a:pt x="3256" y="127"/>
                  </a:cubicBezTo>
                  <a:lnTo>
                    <a:pt x="3249" y="123"/>
                  </a:lnTo>
                  <a:lnTo>
                    <a:pt x="3224" y="106"/>
                  </a:lnTo>
                  <a:lnTo>
                    <a:pt x="3221" y="102"/>
                  </a:lnTo>
                  <a:lnTo>
                    <a:pt x="3196" y="81"/>
                  </a:lnTo>
                  <a:cubicBezTo>
                    <a:pt x="3144" y="36"/>
                    <a:pt x="3102" y="1"/>
                    <a:pt x="30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1" name="Google Shape;5378;p64">
              <a:extLst>
                <a:ext uri="{FF2B5EF4-FFF2-40B4-BE49-F238E27FC236}">
                  <a16:creationId xmlns:a16="http://schemas.microsoft.com/office/drawing/2014/main" id="{73204F01-EFF4-3577-A96B-D6899C97B6FD}"/>
                </a:ext>
              </a:extLst>
            </p:cNvPr>
            <p:cNvSpPr/>
            <p:nvPr/>
          </p:nvSpPr>
          <p:spPr>
            <a:xfrm>
              <a:off x="2991817" y="174253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2" name="Google Shape;5379;p64">
              <a:extLst>
                <a:ext uri="{FF2B5EF4-FFF2-40B4-BE49-F238E27FC236}">
                  <a16:creationId xmlns:a16="http://schemas.microsoft.com/office/drawing/2014/main" id="{2DE20A6E-1157-D39D-C351-94D9B1729250}"/>
                </a:ext>
              </a:extLst>
            </p:cNvPr>
            <p:cNvSpPr/>
            <p:nvPr/>
          </p:nvSpPr>
          <p:spPr>
            <a:xfrm>
              <a:off x="2987920" y="1742769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3" name="Google Shape;5380;p64">
              <a:extLst>
                <a:ext uri="{FF2B5EF4-FFF2-40B4-BE49-F238E27FC236}">
                  <a16:creationId xmlns:a16="http://schemas.microsoft.com/office/drawing/2014/main" id="{93DA0908-40D3-A56A-3A7D-9442039C271E}"/>
                </a:ext>
              </a:extLst>
            </p:cNvPr>
            <p:cNvSpPr/>
            <p:nvPr/>
          </p:nvSpPr>
          <p:spPr>
            <a:xfrm>
              <a:off x="2992387" y="1742294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4" name="Google Shape;5381;p64">
              <a:extLst>
                <a:ext uri="{FF2B5EF4-FFF2-40B4-BE49-F238E27FC236}">
                  <a16:creationId xmlns:a16="http://schemas.microsoft.com/office/drawing/2014/main" id="{82527882-AB3F-7625-213D-4CF1F1FE422E}"/>
                </a:ext>
              </a:extLst>
            </p:cNvPr>
            <p:cNvSpPr/>
            <p:nvPr/>
          </p:nvSpPr>
          <p:spPr>
            <a:xfrm>
              <a:off x="2980547" y="1745770"/>
              <a:ext cx="774" cy="584"/>
            </a:xfrm>
            <a:custGeom>
              <a:avLst/>
              <a:gdLst/>
              <a:ahLst/>
              <a:cxnLst/>
              <a:rect l="l" t="t" r="r" b="b"/>
              <a:pathLst>
                <a:path w="57" h="43" extrusionOk="0">
                  <a:moveTo>
                    <a:pt x="57" y="0"/>
                  </a:moveTo>
                  <a:lnTo>
                    <a:pt x="1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5" name="Google Shape;5382;p64">
              <a:extLst>
                <a:ext uri="{FF2B5EF4-FFF2-40B4-BE49-F238E27FC236}">
                  <a16:creationId xmlns:a16="http://schemas.microsoft.com/office/drawing/2014/main" id="{FE12196B-4B95-8CB7-EE9B-B640BBD299AE}"/>
                </a:ext>
              </a:extLst>
            </p:cNvPr>
            <p:cNvSpPr/>
            <p:nvPr/>
          </p:nvSpPr>
          <p:spPr>
            <a:xfrm>
              <a:off x="2979556" y="1746476"/>
              <a:ext cx="815" cy="584"/>
            </a:xfrm>
            <a:custGeom>
              <a:avLst/>
              <a:gdLst/>
              <a:ahLst/>
              <a:cxnLst/>
              <a:rect l="l" t="t" r="r" b="b"/>
              <a:pathLst>
                <a:path w="60" h="43" extrusionOk="0">
                  <a:moveTo>
                    <a:pt x="60" y="1"/>
                  </a:moveTo>
                  <a:lnTo>
                    <a:pt x="0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6" name="Google Shape;5383;p64">
              <a:extLst>
                <a:ext uri="{FF2B5EF4-FFF2-40B4-BE49-F238E27FC236}">
                  <a16:creationId xmlns:a16="http://schemas.microsoft.com/office/drawing/2014/main" id="{2367581D-D306-0339-BC60-104551005C6D}"/>
                </a:ext>
              </a:extLst>
            </p:cNvPr>
            <p:cNvSpPr/>
            <p:nvPr/>
          </p:nvSpPr>
          <p:spPr>
            <a:xfrm>
              <a:off x="2982312" y="1744100"/>
              <a:ext cx="1154" cy="964"/>
            </a:xfrm>
            <a:custGeom>
              <a:avLst/>
              <a:gdLst/>
              <a:ahLst/>
              <a:cxnLst/>
              <a:rect l="l" t="t" r="r" b="b"/>
              <a:pathLst>
                <a:path w="85" h="71" extrusionOk="0">
                  <a:moveTo>
                    <a:pt x="0" y="71"/>
                  </a:moveTo>
                  <a:cubicBezTo>
                    <a:pt x="21" y="53"/>
                    <a:pt x="42" y="39"/>
                    <a:pt x="60" y="22"/>
                  </a:cubicBezTo>
                  <a:cubicBezTo>
                    <a:pt x="67" y="15"/>
                    <a:pt x="74" y="8"/>
                    <a:pt x="84" y="1"/>
                  </a:cubicBezTo>
                  <a:cubicBezTo>
                    <a:pt x="74" y="8"/>
                    <a:pt x="67" y="15"/>
                    <a:pt x="60" y="22"/>
                  </a:cubicBezTo>
                  <a:cubicBezTo>
                    <a:pt x="42" y="39"/>
                    <a:pt x="21" y="53"/>
                    <a:pt x="0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7" name="Google Shape;5384;p64">
              <a:extLst>
                <a:ext uri="{FF2B5EF4-FFF2-40B4-BE49-F238E27FC236}">
                  <a16:creationId xmlns:a16="http://schemas.microsoft.com/office/drawing/2014/main" id="{5349416E-CFE5-7702-7E09-87CD4A6A651E}"/>
                </a:ext>
              </a:extLst>
            </p:cNvPr>
            <p:cNvSpPr/>
            <p:nvPr/>
          </p:nvSpPr>
          <p:spPr>
            <a:xfrm>
              <a:off x="2989101" y="1742674"/>
              <a:ext cx="1398" cy="14"/>
            </a:xfrm>
            <a:custGeom>
              <a:avLst/>
              <a:gdLst/>
              <a:ahLst/>
              <a:cxnLst/>
              <a:rect l="l" t="t" r="r" b="b"/>
              <a:pathLst>
                <a:path w="103" h="1" extrusionOk="0">
                  <a:moveTo>
                    <a:pt x="10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8" name="Google Shape;5385;p64">
              <a:extLst>
                <a:ext uri="{FF2B5EF4-FFF2-40B4-BE49-F238E27FC236}">
                  <a16:creationId xmlns:a16="http://schemas.microsoft.com/office/drawing/2014/main" id="{F27BB238-E435-0CB3-B90B-8EEF97F5EA5D}"/>
                </a:ext>
              </a:extLst>
            </p:cNvPr>
            <p:cNvSpPr/>
            <p:nvPr/>
          </p:nvSpPr>
          <p:spPr>
            <a:xfrm>
              <a:off x="2993052" y="1741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9" name="Google Shape;5386;p64">
              <a:extLst>
                <a:ext uri="{FF2B5EF4-FFF2-40B4-BE49-F238E27FC236}">
                  <a16:creationId xmlns:a16="http://schemas.microsoft.com/office/drawing/2014/main" id="{4FF9E208-6773-EE60-D769-2F8457925297}"/>
                </a:ext>
              </a:extLst>
            </p:cNvPr>
            <p:cNvSpPr/>
            <p:nvPr/>
          </p:nvSpPr>
          <p:spPr>
            <a:xfrm>
              <a:off x="2991111" y="17426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0" name="Google Shape;5387;p64">
              <a:extLst>
                <a:ext uri="{FF2B5EF4-FFF2-40B4-BE49-F238E27FC236}">
                  <a16:creationId xmlns:a16="http://schemas.microsoft.com/office/drawing/2014/main" id="{7575BCFD-DEB0-FC63-DAAD-916B1372E0E9}"/>
                </a:ext>
              </a:extLst>
            </p:cNvPr>
            <p:cNvSpPr/>
            <p:nvPr/>
          </p:nvSpPr>
          <p:spPr>
            <a:xfrm>
              <a:off x="2643975" y="1811444"/>
              <a:ext cx="54487" cy="30006"/>
            </a:xfrm>
            <a:custGeom>
              <a:avLst/>
              <a:gdLst/>
              <a:ahLst/>
              <a:cxnLst/>
              <a:rect l="l" t="t" r="r" b="b"/>
              <a:pathLst>
                <a:path w="4013" h="2210" extrusionOk="0">
                  <a:moveTo>
                    <a:pt x="708" y="0"/>
                  </a:moveTo>
                  <a:cubicBezTo>
                    <a:pt x="694" y="0"/>
                    <a:pt x="679" y="4"/>
                    <a:pt x="666" y="12"/>
                  </a:cubicBezTo>
                  <a:cubicBezTo>
                    <a:pt x="631" y="124"/>
                    <a:pt x="497" y="138"/>
                    <a:pt x="315" y="156"/>
                  </a:cubicBezTo>
                  <a:lnTo>
                    <a:pt x="305" y="156"/>
                  </a:lnTo>
                  <a:cubicBezTo>
                    <a:pt x="277" y="187"/>
                    <a:pt x="245" y="215"/>
                    <a:pt x="214" y="243"/>
                  </a:cubicBezTo>
                  <a:cubicBezTo>
                    <a:pt x="158" y="292"/>
                    <a:pt x="84" y="359"/>
                    <a:pt x="84" y="401"/>
                  </a:cubicBezTo>
                  <a:cubicBezTo>
                    <a:pt x="81" y="485"/>
                    <a:pt x="63" y="565"/>
                    <a:pt x="35" y="642"/>
                  </a:cubicBezTo>
                  <a:cubicBezTo>
                    <a:pt x="18" y="698"/>
                    <a:pt x="4" y="754"/>
                    <a:pt x="0" y="810"/>
                  </a:cubicBezTo>
                  <a:cubicBezTo>
                    <a:pt x="0" y="831"/>
                    <a:pt x="67" y="863"/>
                    <a:pt x="109" y="880"/>
                  </a:cubicBezTo>
                  <a:cubicBezTo>
                    <a:pt x="168" y="905"/>
                    <a:pt x="224" y="940"/>
                    <a:pt x="266" y="989"/>
                  </a:cubicBezTo>
                  <a:cubicBezTo>
                    <a:pt x="284" y="1013"/>
                    <a:pt x="389" y="1048"/>
                    <a:pt x="452" y="1069"/>
                  </a:cubicBezTo>
                  <a:lnTo>
                    <a:pt x="501" y="1083"/>
                  </a:lnTo>
                  <a:cubicBezTo>
                    <a:pt x="610" y="1122"/>
                    <a:pt x="694" y="1157"/>
                    <a:pt x="711" y="1227"/>
                  </a:cubicBezTo>
                  <a:cubicBezTo>
                    <a:pt x="725" y="1272"/>
                    <a:pt x="914" y="1374"/>
                    <a:pt x="1065" y="1395"/>
                  </a:cubicBezTo>
                  <a:cubicBezTo>
                    <a:pt x="1075" y="1395"/>
                    <a:pt x="1086" y="1398"/>
                    <a:pt x="1096" y="1398"/>
                  </a:cubicBezTo>
                  <a:cubicBezTo>
                    <a:pt x="1243" y="1433"/>
                    <a:pt x="1425" y="1570"/>
                    <a:pt x="1523" y="1647"/>
                  </a:cubicBezTo>
                  <a:lnTo>
                    <a:pt x="1548" y="1664"/>
                  </a:lnTo>
                  <a:cubicBezTo>
                    <a:pt x="1554" y="1668"/>
                    <a:pt x="1563" y="1670"/>
                    <a:pt x="1575" y="1670"/>
                  </a:cubicBezTo>
                  <a:cubicBezTo>
                    <a:pt x="1635" y="1670"/>
                    <a:pt x="1757" y="1632"/>
                    <a:pt x="1821" y="1612"/>
                  </a:cubicBezTo>
                  <a:cubicBezTo>
                    <a:pt x="1887" y="1591"/>
                    <a:pt x="1957" y="1573"/>
                    <a:pt x="2027" y="1566"/>
                  </a:cubicBezTo>
                  <a:cubicBezTo>
                    <a:pt x="2174" y="1566"/>
                    <a:pt x="2363" y="1787"/>
                    <a:pt x="2395" y="1917"/>
                  </a:cubicBezTo>
                  <a:cubicBezTo>
                    <a:pt x="2426" y="1948"/>
                    <a:pt x="2598" y="1997"/>
                    <a:pt x="2703" y="2025"/>
                  </a:cubicBezTo>
                  <a:cubicBezTo>
                    <a:pt x="2864" y="2067"/>
                    <a:pt x="3015" y="2109"/>
                    <a:pt x="3085" y="2169"/>
                  </a:cubicBezTo>
                  <a:cubicBezTo>
                    <a:pt x="3117" y="2197"/>
                    <a:pt x="3208" y="2209"/>
                    <a:pt x="3319" y="2209"/>
                  </a:cubicBezTo>
                  <a:cubicBezTo>
                    <a:pt x="3552" y="2209"/>
                    <a:pt x="3875" y="2156"/>
                    <a:pt x="3946" y="2085"/>
                  </a:cubicBezTo>
                  <a:cubicBezTo>
                    <a:pt x="4012" y="2018"/>
                    <a:pt x="3991" y="1899"/>
                    <a:pt x="3970" y="1770"/>
                  </a:cubicBezTo>
                  <a:cubicBezTo>
                    <a:pt x="3960" y="1703"/>
                    <a:pt x="3949" y="1636"/>
                    <a:pt x="3949" y="1570"/>
                  </a:cubicBezTo>
                  <a:lnTo>
                    <a:pt x="3949" y="1538"/>
                  </a:lnTo>
                  <a:lnTo>
                    <a:pt x="3949" y="1531"/>
                  </a:lnTo>
                  <a:cubicBezTo>
                    <a:pt x="3949" y="1531"/>
                    <a:pt x="3949" y="1517"/>
                    <a:pt x="3953" y="1510"/>
                  </a:cubicBezTo>
                  <a:lnTo>
                    <a:pt x="3925" y="1510"/>
                  </a:lnTo>
                  <a:cubicBezTo>
                    <a:pt x="3771" y="1510"/>
                    <a:pt x="3620" y="1486"/>
                    <a:pt x="3473" y="1430"/>
                  </a:cubicBezTo>
                  <a:cubicBezTo>
                    <a:pt x="3393" y="1395"/>
                    <a:pt x="3302" y="1377"/>
                    <a:pt x="3211" y="1377"/>
                  </a:cubicBezTo>
                  <a:cubicBezTo>
                    <a:pt x="3204" y="1378"/>
                    <a:pt x="3198" y="1378"/>
                    <a:pt x="3191" y="1378"/>
                  </a:cubicBezTo>
                  <a:cubicBezTo>
                    <a:pt x="2946" y="1378"/>
                    <a:pt x="2363" y="1141"/>
                    <a:pt x="2111" y="940"/>
                  </a:cubicBezTo>
                  <a:cubicBezTo>
                    <a:pt x="2003" y="852"/>
                    <a:pt x="1817" y="719"/>
                    <a:pt x="1618" y="586"/>
                  </a:cubicBezTo>
                  <a:lnTo>
                    <a:pt x="1569" y="551"/>
                  </a:lnTo>
                  <a:cubicBezTo>
                    <a:pt x="1327" y="383"/>
                    <a:pt x="1086" y="215"/>
                    <a:pt x="991" y="121"/>
                  </a:cubicBezTo>
                  <a:cubicBezTo>
                    <a:pt x="921" y="47"/>
                    <a:pt x="823" y="5"/>
                    <a:pt x="722" y="2"/>
                  </a:cubicBezTo>
                  <a:cubicBezTo>
                    <a:pt x="717" y="1"/>
                    <a:pt x="713" y="0"/>
                    <a:pt x="7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1" name="Google Shape;5388;p64">
              <a:extLst>
                <a:ext uri="{FF2B5EF4-FFF2-40B4-BE49-F238E27FC236}">
                  <a16:creationId xmlns:a16="http://schemas.microsoft.com/office/drawing/2014/main" id="{5D026DBC-EFA9-242F-6420-735360D52FF8}"/>
                </a:ext>
              </a:extLst>
            </p:cNvPr>
            <p:cNvSpPr/>
            <p:nvPr/>
          </p:nvSpPr>
          <p:spPr>
            <a:xfrm>
              <a:off x="2645115" y="1813508"/>
              <a:ext cx="3001" cy="3381"/>
            </a:xfrm>
            <a:custGeom>
              <a:avLst/>
              <a:gdLst/>
              <a:ahLst/>
              <a:cxnLst/>
              <a:rect l="l" t="t" r="r" b="b"/>
              <a:pathLst>
                <a:path w="221" h="249" extrusionOk="0">
                  <a:moveTo>
                    <a:pt x="130" y="91"/>
                  </a:moveTo>
                  <a:cubicBezTo>
                    <a:pt x="74" y="140"/>
                    <a:pt x="0" y="207"/>
                    <a:pt x="0" y="249"/>
                  </a:cubicBezTo>
                  <a:cubicBezTo>
                    <a:pt x="0" y="207"/>
                    <a:pt x="74" y="140"/>
                    <a:pt x="130" y="91"/>
                  </a:cubicBezTo>
                  <a:cubicBezTo>
                    <a:pt x="161" y="63"/>
                    <a:pt x="193" y="32"/>
                    <a:pt x="221" y="0"/>
                  </a:cubicBezTo>
                  <a:lnTo>
                    <a:pt x="221" y="0"/>
                  </a:lnTo>
                  <a:cubicBezTo>
                    <a:pt x="193" y="32"/>
                    <a:pt x="161" y="63"/>
                    <a:pt x="130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2" name="Google Shape;5389;p64">
              <a:extLst>
                <a:ext uri="{FF2B5EF4-FFF2-40B4-BE49-F238E27FC236}">
                  <a16:creationId xmlns:a16="http://schemas.microsoft.com/office/drawing/2014/main" id="{2E654597-3FFD-ADB0-FC7B-8246F3BDFBA3}"/>
                </a:ext>
              </a:extLst>
            </p:cNvPr>
            <p:cNvSpPr/>
            <p:nvPr/>
          </p:nvSpPr>
          <p:spPr>
            <a:xfrm>
              <a:off x="2697592" y="1832327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lnTo>
                    <a:pt x="0" y="28"/>
                  </a:lnTo>
                  <a:cubicBezTo>
                    <a:pt x="0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3" name="Google Shape;5390;p64">
              <a:extLst>
                <a:ext uri="{FF2B5EF4-FFF2-40B4-BE49-F238E27FC236}">
                  <a16:creationId xmlns:a16="http://schemas.microsoft.com/office/drawing/2014/main" id="{2BA2FA09-9B73-823D-45EC-74E41E51EE3A}"/>
                </a:ext>
              </a:extLst>
            </p:cNvPr>
            <p:cNvSpPr/>
            <p:nvPr/>
          </p:nvSpPr>
          <p:spPr>
            <a:xfrm>
              <a:off x="2650763" y="1826149"/>
              <a:ext cx="2878" cy="1955"/>
            </a:xfrm>
            <a:custGeom>
              <a:avLst/>
              <a:gdLst/>
              <a:ahLst/>
              <a:cxnLst/>
              <a:rect l="l" t="t" r="r" b="b"/>
              <a:pathLst>
                <a:path w="212" h="144" extrusionOk="0">
                  <a:moveTo>
                    <a:pt x="1" y="0"/>
                  </a:moveTo>
                  <a:cubicBezTo>
                    <a:pt x="110" y="39"/>
                    <a:pt x="194" y="74"/>
                    <a:pt x="211" y="144"/>
                  </a:cubicBezTo>
                  <a:cubicBezTo>
                    <a:pt x="194" y="74"/>
                    <a:pt x="110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4" name="Google Shape;5391;p64">
              <a:extLst>
                <a:ext uri="{FF2B5EF4-FFF2-40B4-BE49-F238E27FC236}">
                  <a16:creationId xmlns:a16="http://schemas.microsoft.com/office/drawing/2014/main" id="{A38EFFA8-62AA-83FA-DFD5-A86BD7AF99E3}"/>
                </a:ext>
              </a:extLst>
            </p:cNvPr>
            <p:cNvSpPr/>
            <p:nvPr/>
          </p:nvSpPr>
          <p:spPr>
            <a:xfrm>
              <a:off x="2697633" y="183189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1"/>
                  </a:moveTo>
                  <a:cubicBezTo>
                    <a:pt x="4" y="8"/>
                    <a:pt x="1" y="15"/>
                    <a:pt x="1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5" name="Google Shape;5392;p64">
              <a:extLst>
                <a:ext uri="{FF2B5EF4-FFF2-40B4-BE49-F238E27FC236}">
                  <a16:creationId xmlns:a16="http://schemas.microsoft.com/office/drawing/2014/main" id="{C424933C-C46A-AD21-D044-748269A62B2A}"/>
                </a:ext>
              </a:extLst>
            </p:cNvPr>
            <p:cNvSpPr/>
            <p:nvPr/>
          </p:nvSpPr>
          <p:spPr>
            <a:xfrm>
              <a:off x="2658856" y="1830426"/>
              <a:ext cx="5811" cy="3381"/>
            </a:xfrm>
            <a:custGeom>
              <a:avLst/>
              <a:gdLst/>
              <a:ahLst/>
              <a:cxnLst/>
              <a:rect l="l" t="t" r="r" b="b"/>
              <a:pathLst>
                <a:path w="428" h="249" extrusionOk="0">
                  <a:moveTo>
                    <a:pt x="427" y="249"/>
                  </a:moveTo>
                  <a:cubicBezTo>
                    <a:pt x="326" y="172"/>
                    <a:pt x="147" y="35"/>
                    <a:pt x="0" y="0"/>
                  </a:cubicBezTo>
                  <a:cubicBezTo>
                    <a:pt x="147" y="35"/>
                    <a:pt x="326" y="172"/>
                    <a:pt x="427" y="2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6" name="Google Shape;5393;p64">
              <a:extLst>
                <a:ext uri="{FF2B5EF4-FFF2-40B4-BE49-F238E27FC236}">
                  <a16:creationId xmlns:a16="http://schemas.microsoft.com/office/drawing/2014/main" id="{A7FC6F49-933D-9450-4249-1ACCD65D20BA}"/>
                </a:ext>
              </a:extLst>
            </p:cNvPr>
            <p:cNvSpPr/>
            <p:nvPr/>
          </p:nvSpPr>
          <p:spPr>
            <a:xfrm>
              <a:off x="2726960" y="1826773"/>
              <a:ext cx="59904" cy="135897"/>
            </a:xfrm>
            <a:custGeom>
              <a:avLst/>
              <a:gdLst/>
              <a:ahLst/>
              <a:cxnLst/>
              <a:rect l="l" t="t" r="r" b="b"/>
              <a:pathLst>
                <a:path w="4412" h="10009" extrusionOk="0">
                  <a:moveTo>
                    <a:pt x="2729" y="1"/>
                  </a:moveTo>
                  <a:cubicBezTo>
                    <a:pt x="2699" y="1"/>
                    <a:pt x="2668" y="9"/>
                    <a:pt x="2640" y="24"/>
                  </a:cubicBezTo>
                  <a:lnTo>
                    <a:pt x="2626" y="35"/>
                  </a:lnTo>
                  <a:lnTo>
                    <a:pt x="2623" y="38"/>
                  </a:lnTo>
                  <a:lnTo>
                    <a:pt x="2605" y="49"/>
                  </a:lnTo>
                  <a:lnTo>
                    <a:pt x="2602" y="49"/>
                  </a:lnTo>
                  <a:lnTo>
                    <a:pt x="2581" y="59"/>
                  </a:lnTo>
                  <a:lnTo>
                    <a:pt x="2577" y="73"/>
                  </a:lnTo>
                  <a:lnTo>
                    <a:pt x="2577" y="77"/>
                  </a:lnTo>
                  <a:lnTo>
                    <a:pt x="2574" y="91"/>
                  </a:lnTo>
                  <a:lnTo>
                    <a:pt x="2574" y="98"/>
                  </a:lnTo>
                  <a:lnTo>
                    <a:pt x="2570" y="112"/>
                  </a:lnTo>
                  <a:lnTo>
                    <a:pt x="2570" y="119"/>
                  </a:lnTo>
                  <a:lnTo>
                    <a:pt x="2567" y="133"/>
                  </a:lnTo>
                  <a:lnTo>
                    <a:pt x="2563" y="140"/>
                  </a:lnTo>
                  <a:lnTo>
                    <a:pt x="2560" y="154"/>
                  </a:lnTo>
                  <a:lnTo>
                    <a:pt x="2556" y="161"/>
                  </a:lnTo>
                  <a:lnTo>
                    <a:pt x="2549" y="178"/>
                  </a:lnTo>
                  <a:lnTo>
                    <a:pt x="2546" y="185"/>
                  </a:lnTo>
                  <a:cubicBezTo>
                    <a:pt x="2542" y="192"/>
                    <a:pt x="2539" y="199"/>
                    <a:pt x="2539" y="206"/>
                  </a:cubicBezTo>
                  <a:lnTo>
                    <a:pt x="2539" y="210"/>
                  </a:lnTo>
                  <a:lnTo>
                    <a:pt x="2528" y="231"/>
                  </a:lnTo>
                  <a:lnTo>
                    <a:pt x="2525" y="238"/>
                  </a:lnTo>
                  <a:lnTo>
                    <a:pt x="2514" y="252"/>
                  </a:lnTo>
                  <a:lnTo>
                    <a:pt x="2511" y="259"/>
                  </a:lnTo>
                  <a:lnTo>
                    <a:pt x="2500" y="273"/>
                  </a:lnTo>
                  <a:lnTo>
                    <a:pt x="2497" y="280"/>
                  </a:lnTo>
                  <a:lnTo>
                    <a:pt x="2486" y="290"/>
                  </a:lnTo>
                  <a:lnTo>
                    <a:pt x="2479" y="297"/>
                  </a:lnTo>
                  <a:lnTo>
                    <a:pt x="2472" y="308"/>
                  </a:lnTo>
                  <a:lnTo>
                    <a:pt x="2465" y="315"/>
                  </a:lnTo>
                  <a:lnTo>
                    <a:pt x="2451" y="325"/>
                  </a:lnTo>
                  <a:lnTo>
                    <a:pt x="2448" y="329"/>
                  </a:lnTo>
                  <a:cubicBezTo>
                    <a:pt x="2441" y="332"/>
                    <a:pt x="2434" y="336"/>
                    <a:pt x="2430" y="339"/>
                  </a:cubicBezTo>
                  <a:cubicBezTo>
                    <a:pt x="2416" y="346"/>
                    <a:pt x="2409" y="357"/>
                    <a:pt x="2406" y="367"/>
                  </a:cubicBezTo>
                  <a:cubicBezTo>
                    <a:pt x="2402" y="385"/>
                    <a:pt x="2395" y="458"/>
                    <a:pt x="2497" y="613"/>
                  </a:cubicBezTo>
                  <a:cubicBezTo>
                    <a:pt x="2521" y="644"/>
                    <a:pt x="2535" y="683"/>
                    <a:pt x="2539" y="721"/>
                  </a:cubicBezTo>
                  <a:cubicBezTo>
                    <a:pt x="2539" y="742"/>
                    <a:pt x="2535" y="760"/>
                    <a:pt x="2525" y="777"/>
                  </a:cubicBezTo>
                  <a:cubicBezTo>
                    <a:pt x="2502" y="812"/>
                    <a:pt x="2464" y="832"/>
                    <a:pt x="2424" y="832"/>
                  </a:cubicBezTo>
                  <a:cubicBezTo>
                    <a:pt x="2416" y="832"/>
                    <a:pt x="2407" y="831"/>
                    <a:pt x="2399" y="830"/>
                  </a:cubicBezTo>
                  <a:cubicBezTo>
                    <a:pt x="2318" y="823"/>
                    <a:pt x="2189" y="770"/>
                    <a:pt x="2147" y="679"/>
                  </a:cubicBezTo>
                  <a:lnTo>
                    <a:pt x="2126" y="679"/>
                  </a:lnTo>
                  <a:lnTo>
                    <a:pt x="2112" y="686"/>
                  </a:lnTo>
                  <a:lnTo>
                    <a:pt x="2094" y="690"/>
                  </a:lnTo>
                  <a:cubicBezTo>
                    <a:pt x="1986" y="742"/>
                    <a:pt x="1884" y="809"/>
                    <a:pt x="1797" y="889"/>
                  </a:cubicBezTo>
                  <a:cubicBezTo>
                    <a:pt x="1755" y="924"/>
                    <a:pt x="1709" y="956"/>
                    <a:pt x="1664" y="984"/>
                  </a:cubicBezTo>
                  <a:cubicBezTo>
                    <a:pt x="1534" y="1075"/>
                    <a:pt x="1450" y="1134"/>
                    <a:pt x="1450" y="1271"/>
                  </a:cubicBezTo>
                  <a:cubicBezTo>
                    <a:pt x="1443" y="1393"/>
                    <a:pt x="1412" y="1512"/>
                    <a:pt x="1363" y="1621"/>
                  </a:cubicBezTo>
                  <a:cubicBezTo>
                    <a:pt x="1317" y="1733"/>
                    <a:pt x="1279" y="1841"/>
                    <a:pt x="1296" y="1925"/>
                  </a:cubicBezTo>
                  <a:cubicBezTo>
                    <a:pt x="1328" y="2055"/>
                    <a:pt x="1247" y="2233"/>
                    <a:pt x="1177" y="2391"/>
                  </a:cubicBezTo>
                  <a:cubicBezTo>
                    <a:pt x="1146" y="2464"/>
                    <a:pt x="1100" y="2566"/>
                    <a:pt x="1104" y="2594"/>
                  </a:cubicBezTo>
                  <a:cubicBezTo>
                    <a:pt x="1111" y="2629"/>
                    <a:pt x="1100" y="2661"/>
                    <a:pt x="1079" y="2682"/>
                  </a:cubicBezTo>
                  <a:cubicBezTo>
                    <a:pt x="1054" y="2707"/>
                    <a:pt x="1017" y="2717"/>
                    <a:pt x="969" y="2717"/>
                  </a:cubicBezTo>
                  <a:cubicBezTo>
                    <a:pt x="902" y="2717"/>
                    <a:pt x="814" y="2697"/>
                    <a:pt x="705" y="2671"/>
                  </a:cubicBezTo>
                  <a:lnTo>
                    <a:pt x="641" y="2657"/>
                  </a:lnTo>
                  <a:cubicBezTo>
                    <a:pt x="634" y="2692"/>
                    <a:pt x="631" y="2752"/>
                    <a:pt x="627" y="2797"/>
                  </a:cubicBezTo>
                  <a:cubicBezTo>
                    <a:pt x="617" y="2927"/>
                    <a:pt x="610" y="3081"/>
                    <a:pt x="554" y="3161"/>
                  </a:cubicBezTo>
                  <a:cubicBezTo>
                    <a:pt x="526" y="3207"/>
                    <a:pt x="515" y="3326"/>
                    <a:pt x="508" y="3420"/>
                  </a:cubicBezTo>
                  <a:cubicBezTo>
                    <a:pt x="508" y="3452"/>
                    <a:pt x="505" y="3487"/>
                    <a:pt x="501" y="3518"/>
                  </a:cubicBezTo>
                  <a:lnTo>
                    <a:pt x="501" y="3522"/>
                  </a:lnTo>
                  <a:cubicBezTo>
                    <a:pt x="491" y="3616"/>
                    <a:pt x="473" y="3700"/>
                    <a:pt x="431" y="3742"/>
                  </a:cubicBezTo>
                  <a:lnTo>
                    <a:pt x="431" y="3746"/>
                  </a:lnTo>
                  <a:cubicBezTo>
                    <a:pt x="428" y="3749"/>
                    <a:pt x="421" y="3753"/>
                    <a:pt x="417" y="3756"/>
                  </a:cubicBezTo>
                  <a:lnTo>
                    <a:pt x="414" y="3756"/>
                  </a:lnTo>
                  <a:cubicBezTo>
                    <a:pt x="410" y="3760"/>
                    <a:pt x="403" y="3760"/>
                    <a:pt x="400" y="3763"/>
                  </a:cubicBezTo>
                  <a:lnTo>
                    <a:pt x="396" y="3763"/>
                  </a:lnTo>
                  <a:cubicBezTo>
                    <a:pt x="393" y="3763"/>
                    <a:pt x="386" y="3767"/>
                    <a:pt x="382" y="3767"/>
                  </a:cubicBezTo>
                  <a:lnTo>
                    <a:pt x="351" y="3767"/>
                  </a:lnTo>
                  <a:cubicBezTo>
                    <a:pt x="340" y="3774"/>
                    <a:pt x="330" y="3784"/>
                    <a:pt x="323" y="3795"/>
                  </a:cubicBezTo>
                  <a:cubicBezTo>
                    <a:pt x="260" y="3872"/>
                    <a:pt x="204" y="4040"/>
                    <a:pt x="183" y="4113"/>
                  </a:cubicBezTo>
                  <a:lnTo>
                    <a:pt x="179" y="4127"/>
                  </a:lnTo>
                  <a:lnTo>
                    <a:pt x="172" y="4152"/>
                  </a:lnTo>
                  <a:lnTo>
                    <a:pt x="151" y="4166"/>
                  </a:lnTo>
                  <a:lnTo>
                    <a:pt x="148" y="4169"/>
                  </a:lnTo>
                  <a:lnTo>
                    <a:pt x="144" y="4169"/>
                  </a:lnTo>
                  <a:lnTo>
                    <a:pt x="137" y="4176"/>
                  </a:lnTo>
                  <a:lnTo>
                    <a:pt x="130" y="4180"/>
                  </a:lnTo>
                  <a:lnTo>
                    <a:pt x="120" y="4190"/>
                  </a:lnTo>
                  <a:lnTo>
                    <a:pt x="109" y="4197"/>
                  </a:lnTo>
                  <a:lnTo>
                    <a:pt x="99" y="4208"/>
                  </a:lnTo>
                  <a:lnTo>
                    <a:pt x="88" y="4215"/>
                  </a:lnTo>
                  <a:lnTo>
                    <a:pt x="71" y="4229"/>
                  </a:lnTo>
                  <a:lnTo>
                    <a:pt x="60" y="4236"/>
                  </a:lnTo>
                  <a:lnTo>
                    <a:pt x="39" y="4253"/>
                  </a:lnTo>
                  <a:lnTo>
                    <a:pt x="29" y="4260"/>
                  </a:lnTo>
                  <a:lnTo>
                    <a:pt x="1" y="4285"/>
                  </a:lnTo>
                  <a:cubicBezTo>
                    <a:pt x="95" y="4460"/>
                    <a:pt x="263" y="4670"/>
                    <a:pt x="459" y="4754"/>
                  </a:cubicBezTo>
                  <a:cubicBezTo>
                    <a:pt x="708" y="4856"/>
                    <a:pt x="932" y="5241"/>
                    <a:pt x="1121" y="5902"/>
                  </a:cubicBezTo>
                  <a:cubicBezTo>
                    <a:pt x="1223" y="6266"/>
                    <a:pt x="1149" y="6634"/>
                    <a:pt x="1034" y="6834"/>
                  </a:cubicBezTo>
                  <a:cubicBezTo>
                    <a:pt x="999" y="6893"/>
                    <a:pt x="1002" y="6914"/>
                    <a:pt x="1002" y="6921"/>
                  </a:cubicBezTo>
                  <a:cubicBezTo>
                    <a:pt x="1009" y="6942"/>
                    <a:pt x="1069" y="6967"/>
                    <a:pt x="1125" y="6991"/>
                  </a:cubicBezTo>
                  <a:cubicBezTo>
                    <a:pt x="1156" y="7005"/>
                    <a:pt x="1195" y="7023"/>
                    <a:pt x="1233" y="7044"/>
                  </a:cubicBezTo>
                  <a:cubicBezTo>
                    <a:pt x="1321" y="7090"/>
                    <a:pt x="1399" y="7113"/>
                    <a:pt x="1468" y="7113"/>
                  </a:cubicBezTo>
                  <a:cubicBezTo>
                    <a:pt x="1556" y="7113"/>
                    <a:pt x="1628" y="7075"/>
                    <a:pt x="1681" y="6998"/>
                  </a:cubicBezTo>
                  <a:cubicBezTo>
                    <a:pt x="1744" y="6918"/>
                    <a:pt x="1814" y="6844"/>
                    <a:pt x="1895" y="6781"/>
                  </a:cubicBezTo>
                  <a:cubicBezTo>
                    <a:pt x="2007" y="6679"/>
                    <a:pt x="2112" y="6588"/>
                    <a:pt x="2133" y="6473"/>
                  </a:cubicBezTo>
                  <a:cubicBezTo>
                    <a:pt x="2136" y="6445"/>
                    <a:pt x="2154" y="6361"/>
                    <a:pt x="2220" y="6347"/>
                  </a:cubicBezTo>
                  <a:lnTo>
                    <a:pt x="2241" y="6347"/>
                  </a:lnTo>
                  <a:cubicBezTo>
                    <a:pt x="2308" y="6347"/>
                    <a:pt x="2360" y="6427"/>
                    <a:pt x="2427" y="6522"/>
                  </a:cubicBezTo>
                  <a:cubicBezTo>
                    <a:pt x="2455" y="6571"/>
                    <a:pt x="2490" y="6616"/>
                    <a:pt x="2525" y="6658"/>
                  </a:cubicBezTo>
                  <a:cubicBezTo>
                    <a:pt x="2651" y="6784"/>
                    <a:pt x="2738" y="7019"/>
                    <a:pt x="2763" y="7306"/>
                  </a:cubicBezTo>
                  <a:cubicBezTo>
                    <a:pt x="2766" y="7338"/>
                    <a:pt x="2770" y="7373"/>
                    <a:pt x="2770" y="7411"/>
                  </a:cubicBezTo>
                  <a:cubicBezTo>
                    <a:pt x="2795" y="7712"/>
                    <a:pt x="2837" y="8265"/>
                    <a:pt x="3026" y="8444"/>
                  </a:cubicBezTo>
                  <a:cubicBezTo>
                    <a:pt x="3288" y="8689"/>
                    <a:pt x="3323" y="9197"/>
                    <a:pt x="3253" y="9379"/>
                  </a:cubicBezTo>
                  <a:cubicBezTo>
                    <a:pt x="3225" y="9445"/>
                    <a:pt x="3257" y="9557"/>
                    <a:pt x="3288" y="9666"/>
                  </a:cubicBezTo>
                  <a:cubicBezTo>
                    <a:pt x="3320" y="9781"/>
                    <a:pt x="3351" y="9904"/>
                    <a:pt x="3330" y="10009"/>
                  </a:cubicBezTo>
                  <a:lnTo>
                    <a:pt x="3341" y="9995"/>
                  </a:lnTo>
                  <a:lnTo>
                    <a:pt x="3344" y="9988"/>
                  </a:lnTo>
                  <a:cubicBezTo>
                    <a:pt x="3351" y="9974"/>
                    <a:pt x="3358" y="9963"/>
                    <a:pt x="3365" y="9949"/>
                  </a:cubicBezTo>
                  <a:lnTo>
                    <a:pt x="3372" y="9942"/>
                  </a:lnTo>
                  <a:lnTo>
                    <a:pt x="3390" y="9907"/>
                  </a:lnTo>
                  <a:lnTo>
                    <a:pt x="3397" y="9893"/>
                  </a:lnTo>
                  <a:cubicBezTo>
                    <a:pt x="3404" y="9879"/>
                    <a:pt x="3411" y="9865"/>
                    <a:pt x="3418" y="9851"/>
                  </a:cubicBezTo>
                  <a:lnTo>
                    <a:pt x="3418" y="9844"/>
                  </a:lnTo>
                  <a:cubicBezTo>
                    <a:pt x="3428" y="9827"/>
                    <a:pt x="3435" y="9809"/>
                    <a:pt x="3442" y="9792"/>
                  </a:cubicBezTo>
                  <a:lnTo>
                    <a:pt x="3449" y="9774"/>
                  </a:lnTo>
                  <a:lnTo>
                    <a:pt x="3467" y="9732"/>
                  </a:lnTo>
                  <a:lnTo>
                    <a:pt x="3474" y="9715"/>
                  </a:lnTo>
                  <a:cubicBezTo>
                    <a:pt x="3484" y="9694"/>
                    <a:pt x="3491" y="9673"/>
                    <a:pt x="3498" y="9652"/>
                  </a:cubicBezTo>
                  <a:lnTo>
                    <a:pt x="3505" y="9641"/>
                  </a:lnTo>
                  <a:cubicBezTo>
                    <a:pt x="3512" y="9624"/>
                    <a:pt x="3519" y="9606"/>
                    <a:pt x="3526" y="9585"/>
                  </a:cubicBezTo>
                  <a:lnTo>
                    <a:pt x="3533" y="9564"/>
                  </a:lnTo>
                  <a:lnTo>
                    <a:pt x="3551" y="9508"/>
                  </a:lnTo>
                  <a:lnTo>
                    <a:pt x="3558" y="9494"/>
                  </a:lnTo>
                  <a:cubicBezTo>
                    <a:pt x="3565" y="9470"/>
                    <a:pt x="3572" y="9445"/>
                    <a:pt x="3582" y="9421"/>
                  </a:cubicBezTo>
                  <a:lnTo>
                    <a:pt x="3586" y="9403"/>
                  </a:lnTo>
                  <a:cubicBezTo>
                    <a:pt x="3593" y="9382"/>
                    <a:pt x="3600" y="9365"/>
                    <a:pt x="3607" y="9344"/>
                  </a:cubicBezTo>
                  <a:lnTo>
                    <a:pt x="3614" y="9319"/>
                  </a:lnTo>
                  <a:cubicBezTo>
                    <a:pt x="3621" y="9295"/>
                    <a:pt x="3628" y="9267"/>
                    <a:pt x="3635" y="9242"/>
                  </a:cubicBezTo>
                  <a:cubicBezTo>
                    <a:pt x="3631" y="9172"/>
                    <a:pt x="3603" y="9109"/>
                    <a:pt x="3558" y="9060"/>
                  </a:cubicBezTo>
                  <a:cubicBezTo>
                    <a:pt x="3498" y="9001"/>
                    <a:pt x="3467" y="8924"/>
                    <a:pt x="3463" y="8839"/>
                  </a:cubicBezTo>
                  <a:cubicBezTo>
                    <a:pt x="3463" y="8671"/>
                    <a:pt x="3463" y="8391"/>
                    <a:pt x="3267" y="8220"/>
                  </a:cubicBezTo>
                  <a:cubicBezTo>
                    <a:pt x="3099" y="8066"/>
                    <a:pt x="2994" y="7870"/>
                    <a:pt x="2998" y="7716"/>
                  </a:cubicBezTo>
                  <a:cubicBezTo>
                    <a:pt x="2994" y="7646"/>
                    <a:pt x="3026" y="7579"/>
                    <a:pt x="3075" y="7537"/>
                  </a:cubicBezTo>
                  <a:cubicBezTo>
                    <a:pt x="3127" y="7492"/>
                    <a:pt x="3120" y="7376"/>
                    <a:pt x="3120" y="7303"/>
                  </a:cubicBezTo>
                  <a:cubicBezTo>
                    <a:pt x="3120" y="7226"/>
                    <a:pt x="3113" y="7177"/>
                    <a:pt x="3155" y="7145"/>
                  </a:cubicBezTo>
                  <a:cubicBezTo>
                    <a:pt x="3169" y="7135"/>
                    <a:pt x="3187" y="7131"/>
                    <a:pt x="3208" y="7131"/>
                  </a:cubicBezTo>
                  <a:cubicBezTo>
                    <a:pt x="3222" y="7107"/>
                    <a:pt x="3232" y="7075"/>
                    <a:pt x="3229" y="7047"/>
                  </a:cubicBezTo>
                  <a:cubicBezTo>
                    <a:pt x="3229" y="7026"/>
                    <a:pt x="3218" y="7005"/>
                    <a:pt x="3197" y="6998"/>
                  </a:cubicBezTo>
                  <a:cubicBezTo>
                    <a:pt x="3187" y="6991"/>
                    <a:pt x="3173" y="6984"/>
                    <a:pt x="3162" y="6974"/>
                  </a:cubicBezTo>
                  <a:cubicBezTo>
                    <a:pt x="3092" y="6914"/>
                    <a:pt x="3099" y="6813"/>
                    <a:pt x="3099" y="6735"/>
                  </a:cubicBezTo>
                  <a:cubicBezTo>
                    <a:pt x="3103" y="6700"/>
                    <a:pt x="3103" y="6665"/>
                    <a:pt x="3096" y="6630"/>
                  </a:cubicBezTo>
                  <a:cubicBezTo>
                    <a:pt x="2973" y="6585"/>
                    <a:pt x="2644" y="6221"/>
                    <a:pt x="2644" y="6074"/>
                  </a:cubicBezTo>
                  <a:cubicBezTo>
                    <a:pt x="2644" y="5983"/>
                    <a:pt x="2700" y="5580"/>
                    <a:pt x="2745" y="5241"/>
                  </a:cubicBezTo>
                  <a:lnTo>
                    <a:pt x="2752" y="5202"/>
                  </a:lnTo>
                  <a:cubicBezTo>
                    <a:pt x="2777" y="5020"/>
                    <a:pt x="2994" y="4975"/>
                    <a:pt x="3120" y="4975"/>
                  </a:cubicBezTo>
                  <a:lnTo>
                    <a:pt x="3145" y="4975"/>
                  </a:lnTo>
                  <a:cubicBezTo>
                    <a:pt x="3149" y="4975"/>
                    <a:pt x="3155" y="4975"/>
                    <a:pt x="3160" y="4975"/>
                  </a:cubicBezTo>
                  <a:cubicBezTo>
                    <a:pt x="3243" y="4975"/>
                    <a:pt x="3418" y="4972"/>
                    <a:pt x="3474" y="4877"/>
                  </a:cubicBezTo>
                  <a:cubicBezTo>
                    <a:pt x="3533" y="4772"/>
                    <a:pt x="3670" y="4726"/>
                    <a:pt x="3792" y="4684"/>
                  </a:cubicBezTo>
                  <a:cubicBezTo>
                    <a:pt x="3855" y="4663"/>
                    <a:pt x="3953" y="4628"/>
                    <a:pt x="3964" y="4603"/>
                  </a:cubicBezTo>
                  <a:cubicBezTo>
                    <a:pt x="3967" y="4596"/>
                    <a:pt x="3971" y="4586"/>
                    <a:pt x="3978" y="4579"/>
                  </a:cubicBezTo>
                  <a:lnTo>
                    <a:pt x="3985" y="4568"/>
                  </a:lnTo>
                  <a:lnTo>
                    <a:pt x="3992" y="4561"/>
                  </a:lnTo>
                  <a:lnTo>
                    <a:pt x="4002" y="4548"/>
                  </a:lnTo>
                  <a:lnTo>
                    <a:pt x="4062" y="4519"/>
                  </a:lnTo>
                  <a:lnTo>
                    <a:pt x="4090" y="4502"/>
                  </a:lnTo>
                  <a:lnTo>
                    <a:pt x="4114" y="4491"/>
                  </a:lnTo>
                  <a:lnTo>
                    <a:pt x="4125" y="4484"/>
                  </a:lnTo>
                  <a:cubicBezTo>
                    <a:pt x="4181" y="4460"/>
                    <a:pt x="4219" y="4442"/>
                    <a:pt x="4226" y="4421"/>
                  </a:cubicBezTo>
                  <a:cubicBezTo>
                    <a:pt x="4226" y="4418"/>
                    <a:pt x="4226" y="4414"/>
                    <a:pt x="4226" y="4411"/>
                  </a:cubicBezTo>
                  <a:cubicBezTo>
                    <a:pt x="4226" y="4400"/>
                    <a:pt x="4226" y="4386"/>
                    <a:pt x="4230" y="4376"/>
                  </a:cubicBezTo>
                  <a:cubicBezTo>
                    <a:pt x="4230" y="4372"/>
                    <a:pt x="4230" y="4369"/>
                    <a:pt x="4233" y="4365"/>
                  </a:cubicBezTo>
                  <a:cubicBezTo>
                    <a:pt x="4237" y="4362"/>
                    <a:pt x="4237" y="4348"/>
                    <a:pt x="4240" y="4337"/>
                  </a:cubicBezTo>
                  <a:lnTo>
                    <a:pt x="4247" y="4323"/>
                  </a:lnTo>
                  <a:cubicBezTo>
                    <a:pt x="4251" y="4313"/>
                    <a:pt x="4254" y="4302"/>
                    <a:pt x="4261" y="4292"/>
                  </a:cubicBezTo>
                  <a:lnTo>
                    <a:pt x="4265" y="4281"/>
                  </a:lnTo>
                  <a:cubicBezTo>
                    <a:pt x="4272" y="4267"/>
                    <a:pt x="4279" y="4253"/>
                    <a:pt x="4286" y="4239"/>
                  </a:cubicBezTo>
                  <a:lnTo>
                    <a:pt x="4293" y="4229"/>
                  </a:lnTo>
                  <a:cubicBezTo>
                    <a:pt x="4300" y="4215"/>
                    <a:pt x="4307" y="4204"/>
                    <a:pt x="4314" y="4194"/>
                  </a:cubicBezTo>
                  <a:lnTo>
                    <a:pt x="4321" y="4180"/>
                  </a:lnTo>
                  <a:lnTo>
                    <a:pt x="4342" y="4148"/>
                  </a:lnTo>
                  <a:lnTo>
                    <a:pt x="4352" y="4134"/>
                  </a:lnTo>
                  <a:lnTo>
                    <a:pt x="4380" y="4096"/>
                  </a:lnTo>
                  <a:lnTo>
                    <a:pt x="4408" y="4054"/>
                  </a:lnTo>
                  <a:lnTo>
                    <a:pt x="4412" y="4050"/>
                  </a:lnTo>
                  <a:lnTo>
                    <a:pt x="4408" y="4050"/>
                  </a:lnTo>
                  <a:lnTo>
                    <a:pt x="4359" y="4071"/>
                  </a:lnTo>
                  <a:cubicBezTo>
                    <a:pt x="4290" y="4098"/>
                    <a:pt x="4232" y="4108"/>
                    <a:pt x="4183" y="4108"/>
                  </a:cubicBezTo>
                  <a:cubicBezTo>
                    <a:pt x="4099" y="4108"/>
                    <a:pt x="4045" y="4078"/>
                    <a:pt x="4016" y="4054"/>
                  </a:cubicBezTo>
                  <a:cubicBezTo>
                    <a:pt x="3946" y="3998"/>
                    <a:pt x="3915" y="3907"/>
                    <a:pt x="3932" y="3819"/>
                  </a:cubicBezTo>
                  <a:cubicBezTo>
                    <a:pt x="3936" y="3795"/>
                    <a:pt x="3929" y="3788"/>
                    <a:pt x="3925" y="3784"/>
                  </a:cubicBezTo>
                  <a:cubicBezTo>
                    <a:pt x="3897" y="3749"/>
                    <a:pt x="3764" y="3749"/>
                    <a:pt x="3694" y="3749"/>
                  </a:cubicBezTo>
                  <a:cubicBezTo>
                    <a:pt x="3691" y="3750"/>
                    <a:pt x="3688" y="3750"/>
                    <a:pt x="3684" y="3750"/>
                  </a:cubicBezTo>
                  <a:cubicBezTo>
                    <a:pt x="3643" y="3750"/>
                    <a:pt x="3608" y="3729"/>
                    <a:pt x="3582" y="3697"/>
                  </a:cubicBezTo>
                  <a:cubicBezTo>
                    <a:pt x="3523" y="3613"/>
                    <a:pt x="3572" y="3473"/>
                    <a:pt x="3617" y="3333"/>
                  </a:cubicBezTo>
                  <a:lnTo>
                    <a:pt x="3631" y="3298"/>
                  </a:lnTo>
                  <a:cubicBezTo>
                    <a:pt x="3638" y="3280"/>
                    <a:pt x="3642" y="3263"/>
                    <a:pt x="3638" y="3245"/>
                  </a:cubicBezTo>
                  <a:cubicBezTo>
                    <a:pt x="3642" y="3231"/>
                    <a:pt x="3635" y="3214"/>
                    <a:pt x="3628" y="3200"/>
                  </a:cubicBezTo>
                  <a:cubicBezTo>
                    <a:pt x="3589" y="3161"/>
                    <a:pt x="3537" y="3140"/>
                    <a:pt x="3481" y="3140"/>
                  </a:cubicBezTo>
                  <a:cubicBezTo>
                    <a:pt x="3407" y="3133"/>
                    <a:pt x="3337" y="3081"/>
                    <a:pt x="3292" y="2986"/>
                  </a:cubicBezTo>
                  <a:cubicBezTo>
                    <a:pt x="3236" y="2878"/>
                    <a:pt x="3208" y="2706"/>
                    <a:pt x="3250" y="2611"/>
                  </a:cubicBezTo>
                  <a:cubicBezTo>
                    <a:pt x="3213" y="2586"/>
                    <a:pt x="3102" y="2560"/>
                    <a:pt x="2999" y="2560"/>
                  </a:cubicBezTo>
                  <a:cubicBezTo>
                    <a:pt x="2943" y="2560"/>
                    <a:pt x="2890" y="2567"/>
                    <a:pt x="2851" y="2587"/>
                  </a:cubicBezTo>
                  <a:cubicBezTo>
                    <a:pt x="2834" y="2596"/>
                    <a:pt x="2799" y="2613"/>
                    <a:pt x="2762" y="2613"/>
                  </a:cubicBezTo>
                  <a:cubicBezTo>
                    <a:pt x="2744" y="2613"/>
                    <a:pt x="2724" y="2609"/>
                    <a:pt x="2707" y="2597"/>
                  </a:cubicBezTo>
                  <a:cubicBezTo>
                    <a:pt x="2651" y="2559"/>
                    <a:pt x="2658" y="2485"/>
                    <a:pt x="2665" y="2419"/>
                  </a:cubicBezTo>
                  <a:cubicBezTo>
                    <a:pt x="2672" y="2373"/>
                    <a:pt x="2672" y="2328"/>
                    <a:pt x="2661" y="2286"/>
                  </a:cubicBezTo>
                  <a:cubicBezTo>
                    <a:pt x="2591" y="2111"/>
                    <a:pt x="2921" y="1656"/>
                    <a:pt x="3127" y="1453"/>
                  </a:cubicBezTo>
                  <a:cubicBezTo>
                    <a:pt x="3162" y="1414"/>
                    <a:pt x="3194" y="1372"/>
                    <a:pt x="3215" y="1327"/>
                  </a:cubicBezTo>
                  <a:cubicBezTo>
                    <a:pt x="3274" y="1197"/>
                    <a:pt x="3264" y="1047"/>
                    <a:pt x="3250" y="889"/>
                  </a:cubicBezTo>
                  <a:cubicBezTo>
                    <a:pt x="3246" y="826"/>
                    <a:pt x="3239" y="763"/>
                    <a:pt x="3239" y="700"/>
                  </a:cubicBezTo>
                  <a:cubicBezTo>
                    <a:pt x="3239" y="497"/>
                    <a:pt x="3190" y="497"/>
                    <a:pt x="3089" y="497"/>
                  </a:cubicBezTo>
                  <a:cubicBezTo>
                    <a:pt x="2900" y="497"/>
                    <a:pt x="2900" y="238"/>
                    <a:pt x="2900" y="129"/>
                  </a:cubicBezTo>
                  <a:cubicBezTo>
                    <a:pt x="2893" y="80"/>
                    <a:pt x="2861" y="42"/>
                    <a:pt x="2816" y="24"/>
                  </a:cubicBezTo>
                  <a:cubicBezTo>
                    <a:pt x="2789" y="9"/>
                    <a:pt x="2759" y="1"/>
                    <a:pt x="27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7" name="Google Shape;5394;p64">
              <a:extLst>
                <a:ext uri="{FF2B5EF4-FFF2-40B4-BE49-F238E27FC236}">
                  <a16:creationId xmlns:a16="http://schemas.microsoft.com/office/drawing/2014/main" id="{2B7F8FAC-C246-8736-6344-B160691CC8CB}"/>
                </a:ext>
              </a:extLst>
            </p:cNvPr>
            <p:cNvSpPr/>
            <p:nvPr/>
          </p:nvSpPr>
          <p:spPr>
            <a:xfrm>
              <a:off x="2728671" y="18836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8" name="Google Shape;5395;p64">
              <a:extLst>
                <a:ext uri="{FF2B5EF4-FFF2-40B4-BE49-F238E27FC236}">
                  <a16:creationId xmlns:a16="http://schemas.microsoft.com/office/drawing/2014/main" id="{10759887-5EFA-44CB-018C-CD5BF37D9E37}"/>
                </a:ext>
              </a:extLst>
            </p:cNvPr>
            <p:cNvSpPr/>
            <p:nvPr/>
          </p:nvSpPr>
          <p:spPr>
            <a:xfrm>
              <a:off x="2729241" y="188303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9" name="Google Shape;5396;p64">
              <a:extLst>
                <a:ext uri="{FF2B5EF4-FFF2-40B4-BE49-F238E27FC236}">
                  <a16:creationId xmlns:a16="http://schemas.microsoft.com/office/drawing/2014/main" id="{42F77C95-AF8C-05C4-5B3C-7FF6EEACC811}"/>
                </a:ext>
              </a:extLst>
            </p:cNvPr>
            <p:cNvSpPr/>
            <p:nvPr/>
          </p:nvSpPr>
          <p:spPr>
            <a:xfrm>
              <a:off x="2728155" y="1883989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0" name="Google Shape;5397;p64">
              <a:extLst>
                <a:ext uri="{FF2B5EF4-FFF2-40B4-BE49-F238E27FC236}">
                  <a16:creationId xmlns:a16="http://schemas.microsoft.com/office/drawing/2014/main" id="{D2555A6A-851A-9739-835C-098AEEE2AC64}"/>
                </a:ext>
              </a:extLst>
            </p:cNvPr>
            <p:cNvSpPr/>
            <p:nvPr/>
          </p:nvSpPr>
          <p:spPr>
            <a:xfrm>
              <a:off x="2728820" y="1883568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1" name="Google Shape;5398;p64">
              <a:extLst>
                <a:ext uri="{FF2B5EF4-FFF2-40B4-BE49-F238E27FC236}">
                  <a16:creationId xmlns:a16="http://schemas.microsoft.com/office/drawing/2014/main" id="{68CC1CDC-2203-2BFB-0B50-3EDEBE8C8CA9}"/>
                </a:ext>
              </a:extLst>
            </p:cNvPr>
            <p:cNvSpPr/>
            <p:nvPr/>
          </p:nvSpPr>
          <p:spPr>
            <a:xfrm>
              <a:off x="2728440" y="1883799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2" name="Google Shape;5399;p64">
              <a:extLst>
                <a:ext uri="{FF2B5EF4-FFF2-40B4-BE49-F238E27FC236}">
                  <a16:creationId xmlns:a16="http://schemas.microsoft.com/office/drawing/2014/main" id="{99B1E669-AFAF-68AF-50B8-AC0FF82CF156}"/>
                </a:ext>
              </a:extLst>
            </p:cNvPr>
            <p:cNvSpPr/>
            <p:nvPr/>
          </p:nvSpPr>
          <p:spPr>
            <a:xfrm>
              <a:off x="2727341" y="1884518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3" name="Google Shape;5400;p64">
              <a:extLst>
                <a:ext uri="{FF2B5EF4-FFF2-40B4-BE49-F238E27FC236}">
                  <a16:creationId xmlns:a16="http://schemas.microsoft.com/office/drawing/2014/main" id="{8464CFE4-7AF9-DA62-AB5B-924AD0F7E27D}"/>
                </a:ext>
              </a:extLst>
            </p:cNvPr>
            <p:cNvSpPr/>
            <p:nvPr/>
          </p:nvSpPr>
          <p:spPr>
            <a:xfrm>
              <a:off x="2727775" y="188423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4" name="Google Shape;5401;p64">
              <a:extLst>
                <a:ext uri="{FF2B5EF4-FFF2-40B4-BE49-F238E27FC236}">
                  <a16:creationId xmlns:a16="http://schemas.microsoft.com/office/drawing/2014/main" id="{AE21437C-4EAE-3DC9-509C-CF4ADB6142F8}"/>
                </a:ext>
              </a:extLst>
            </p:cNvPr>
            <p:cNvSpPr/>
            <p:nvPr/>
          </p:nvSpPr>
          <p:spPr>
            <a:xfrm>
              <a:off x="2726825" y="1884844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0" y="29"/>
                  </a:moveTo>
                  <a:lnTo>
                    <a:pt x="0" y="29"/>
                  </a:ln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5" name="Google Shape;5402;p64">
              <a:extLst>
                <a:ext uri="{FF2B5EF4-FFF2-40B4-BE49-F238E27FC236}">
                  <a16:creationId xmlns:a16="http://schemas.microsoft.com/office/drawing/2014/main" id="{717C0197-6B65-F4CD-A238-6A7274E6EC0F}"/>
                </a:ext>
              </a:extLst>
            </p:cNvPr>
            <p:cNvSpPr/>
            <p:nvPr/>
          </p:nvSpPr>
          <p:spPr>
            <a:xfrm>
              <a:off x="2729296" y="1878531"/>
              <a:ext cx="1914" cy="4331"/>
            </a:xfrm>
            <a:custGeom>
              <a:avLst/>
              <a:gdLst/>
              <a:ahLst/>
              <a:cxnLst/>
              <a:rect l="l" t="t" r="r" b="b"/>
              <a:pathLst>
                <a:path w="141" h="319" extrusionOk="0">
                  <a:moveTo>
                    <a:pt x="140" y="0"/>
                  </a:moveTo>
                  <a:cubicBezTo>
                    <a:pt x="116" y="30"/>
                    <a:pt x="92" y="74"/>
                    <a:pt x="72" y="121"/>
                  </a:cubicBezTo>
                  <a:lnTo>
                    <a:pt x="72" y="121"/>
                  </a:lnTo>
                  <a:cubicBezTo>
                    <a:pt x="87" y="88"/>
                    <a:pt x="104" y="56"/>
                    <a:pt x="123" y="25"/>
                  </a:cubicBezTo>
                  <a:lnTo>
                    <a:pt x="140" y="0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cubicBezTo>
                    <a:pt x="42" y="185"/>
                    <a:pt x="19" y="252"/>
                    <a:pt x="0" y="319"/>
                  </a:cubicBezTo>
                  <a:cubicBezTo>
                    <a:pt x="13" y="274"/>
                    <a:pt x="39" y="194"/>
                    <a:pt x="72" y="1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6" name="Google Shape;5403;p64">
              <a:extLst>
                <a:ext uri="{FF2B5EF4-FFF2-40B4-BE49-F238E27FC236}">
                  <a16:creationId xmlns:a16="http://schemas.microsoft.com/office/drawing/2014/main" id="{E951D55A-B290-E30D-AD6D-FBC5D5E759BC}"/>
                </a:ext>
              </a:extLst>
            </p:cNvPr>
            <p:cNvSpPr/>
            <p:nvPr/>
          </p:nvSpPr>
          <p:spPr>
            <a:xfrm>
              <a:off x="2733668" y="18746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7" name="Google Shape;5404;p64">
              <a:extLst>
                <a:ext uri="{FF2B5EF4-FFF2-40B4-BE49-F238E27FC236}">
                  <a16:creationId xmlns:a16="http://schemas.microsoft.com/office/drawing/2014/main" id="{9CE862AF-9E54-D63B-E32C-C9F2923FF00F}"/>
                </a:ext>
              </a:extLst>
            </p:cNvPr>
            <p:cNvSpPr/>
            <p:nvPr/>
          </p:nvSpPr>
          <p:spPr>
            <a:xfrm>
              <a:off x="2760334" y="183103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8" name="Google Shape;5405;p64">
              <a:extLst>
                <a:ext uri="{FF2B5EF4-FFF2-40B4-BE49-F238E27FC236}">
                  <a16:creationId xmlns:a16="http://schemas.microsoft.com/office/drawing/2014/main" id="{D294A6C2-9D32-12A6-EFCC-8998C96C9EF6}"/>
                </a:ext>
              </a:extLst>
            </p:cNvPr>
            <p:cNvSpPr/>
            <p:nvPr/>
          </p:nvSpPr>
          <p:spPr>
            <a:xfrm>
              <a:off x="2760565" y="183080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9" name="Google Shape;5406;p64">
              <a:extLst>
                <a:ext uri="{FF2B5EF4-FFF2-40B4-BE49-F238E27FC236}">
                  <a16:creationId xmlns:a16="http://schemas.microsoft.com/office/drawing/2014/main" id="{7E2A74C5-2C12-E7DE-A8E4-DFA631ADC30D}"/>
                </a:ext>
              </a:extLst>
            </p:cNvPr>
            <p:cNvSpPr/>
            <p:nvPr/>
          </p:nvSpPr>
          <p:spPr>
            <a:xfrm>
              <a:off x="2760945" y="183023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0" name="Google Shape;5407;p64">
              <a:extLst>
                <a:ext uri="{FF2B5EF4-FFF2-40B4-BE49-F238E27FC236}">
                  <a16:creationId xmlns:a16="http://schemas.microsoft.com/office/drawing/2014/main" id="{FBD9EE74-A8FF-A800-505D-E4587958DB79}"/>
                </a:ext>
              </a:extLst>
            </p:cNvPr>
            <p:cNvSpPr/>
            <p:nvPr/>
          </p:nvSpPr>
          <p:spPr>
            <a:xfrm>
              <a:off x="2760089" y="18312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1" name="Google Shape;5408;p64">
              <a:extLst>
                <a:ext uri="{FF2B5EF4-FFF2-40B4-BE49-F238E27FC236}">
                  <a16:creationId xmlns:a16="http://schemas.microsoft.com/office/drawing/2014/main" id="{1F1727FE-9CA2-6631-26EC-44E14ECA6943}"/>
                </a:ext>
              </a:extLst>
            </p:cNvPr>
            <p:cNvSpPr/>
            <p:nvPr/>
          </p:nvSpPr>
          <p:spPr>
            <a:xfrm>
              <a:off x="2760755" y="183052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2" name="Google Shape;5409;p64">
              <a:extLst>
                <a:ext uri="{FF2B5EF4-FFF2-40B4-BE49-F238E27FC236}">
                  <a16:creationId xmlns:a16="http://schemas.microsoft.com/office/drawing/2014/main" id="{7F4AFCD3-ED34-7258-1A1E-5075FFD3994C}"/>
                </a:ext>
              </a:extLst>
            </p:cNvPr>
            <p:cNvSpPr/>
            <p:nvPr/>
          </p:nvSpPr>
          <p:spPr>
            <a:xfrm>
              <a:off x="2761135" y="182995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3" name="Google Shape;5410;p64">
              <a:extLst>
                <a:ext uri="{FF2B5EF4-FFF2-40B4-BE49-F238E27FC236}">
                  <a16:creationId xmlns:a16="http://schemas.microsoft.com/office/drawing/2014/main" id="{1729FB39-CEB5-E05F-2596-0D8118825901}"/>
                </a:ext>
              </a:extLst>
            </p:cNvPr>
            <p:cNvSpPr/>
            <p:nvPr/>
          </p:nvSpPr>
          <p:spPr>
            <a:xfrm>
              <a:off x="2755297" y="18362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4" name="Google Shape;5411;p64">
              <a:extLst>
                <a:ext uri="{FF2B5EF4-FFF2-40B4-BE49-F238E27FC236}">
                  <a16:creationId xmlns:a16="http://schemas.microsoft.com/office/drawing/2014/main" id="{6B2E2CDC-2460-D14C-C1F7-05676676F4C6}"/>
                </a:ext>
              </a:extLst>
            </p:cNvPr>
            <p:cNvSpPr/>
            <p:nvPr/>
          </p:nvSpPr>
          <p:spPr>
            <a:xfrm>
              <a:off x="2734374" y="1864885"/>
              <a:ext cx="1059" cy="5010"/>
            </a:xfrm>
            <a:custGeom>
              <a:avLst/>
              <a:gdLst/>
              <a:ahLst/>
              <a:cxnLst/>
              <a:rect l="l" t="t" r="r" b="b"/>
              <a:pathLst>
                <a:path w="78" h="369" extrusionOk="0">
                  <a:moveTo>
                    <a:pt x="78" y="1"/>
                  </a:moveTo>
                  <a:cubicBezTo>
                    <a:pt x="67" y="134"/>
                    <a:pt x="57" y="284"/>
                    <a:pt x="1" y="368"/>
                  </a:cubicBezTo>
                  <a:cubicBezTo>
                    <a:pt x="57" y="284"/>
                    <a:pt x="67" y="134"/>
                    <a:pt x="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5" name="Google Shape;5412;p64">
              <a:extLst>
                <a:ext uri="{FF2B5EF4-FFF2-40B4-BE49-F238E27FC236}">
                  <a16:creationId xmlns:a16="http://schemas.microsoft.com/office/drawing/2014/main" id="{6BA626F0-1CF2-10BA-08F2-72502F0AFAD7}"/>
                </a:ext>
              </a:extLst>
            </p:cNvPr>
            <p:cNvSpPr/>
            <p:nvPr/>
          </p:nvSpPr>
          <p:spPr>
            <a:xfrm>
              <a:off x="2731903" y="18781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6" name="Google Shape;5413;p64">
              <a:extLst>
                <a:ext uri="{FF2B5EF4-FFF2-40B4-BE49-F238E27FC236}">
                  <a16:creationId xmlns:a16="http://schemas.microsoft.com/office/drawing/2014/main" id="{152AA08E-FB5E-2631-5A47-0266D46BD62B}"/>
                </a:ext>
              </a:extLst>
            </p:cNvPr>
            <p:cNvSpPr/>
            <p:nvPr/>
          </p:nvSpPr>
          <p:spPr>
            <a:xfrm>
              <a:off x="2761135" y="1836658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5" y="0"/>
                  </a:moveTo>
                  <a:cubicBezTo>
                    <a:pt x="15" y="18"/>
                    <a:pt x="11" y="39"/>
                    <a:pt x="1" y="53"/>
                  </a:cubicBezTo>
                  <a:cubicBezTo>
                    <a:pt x="11" y="39"/>
                    <a:pt x="15" y="18"/>
                    <a:pt x="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7" name="Google Shape;5414;p64">
              <a:extLst>
                <a:ext uri="{FF2B5EF4-FFF2-40B4-BE49-F238E27FC236}">
                  <a16:creationId xmlns:a16="http://schemas.microsoft.com/office/drawing/2014/main" id="{F92BEBB7-DA33-A446-8CC5-F7F593BE7D1B}"/>
                </a:ext>
              </a:extLst>
            </p:cNvPr>
            <p:cNvSpPr/>
            <p:nvPr/>
          </p:nvSpPr>
          <p:spPr>
            <a:xfrm>
              <a:off x="2755527" y="183612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8" name="Google Shape;5415;p64">
              <a:extLst>
                <a:ext uri="{FF2B5EF4-FFF2-40B4-BE49-F238E27FC236}">
                  <a16:creationId xmlns:a16="http://schemas.microsoft.com/office/drawing/2014/main" id="{BBBADC21-EEF5-2AAE-D541-7D95D430FCB8}"/>
                </a:ext>
              </a:extLst>
            </p:cNvPr>
            <p:cNvSpPr/>
            <p:nvPr/>
          </p:nvSpPr>
          <p:spPr>
            <a:xfrm>
              <a:off x="2761990" y="182780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9" name="Google Shape;5416;p64">
              <a:extLst>
                <a:ext uri="{FF2B5EF4-FFF2-40B4-BE49-F238E27FC236}">
                  <a16:creationId xmlns:a16="http://schemas.microsoft.com/office/drawing/2014/main" id="{074CFF27-89F8-C4E5-19FC-EB3F92125757}"/>
                </a:ext>
              </a:extLst>
            </p:cNvPr>
            <p:cNvSpPr/>
            <p:nvPr/>
          </p:nvSpPr>
          <p:spPr>
            <a:xfrm>
              <a:off x="2762045" y="18276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0" name="Google Shape;5417;p64">
              <a:extLst>
                <a:ext uri="{FF2B5EF4-FFF2-40B4-BE49-F238E27FC236}">
                  <a16:creationId xmlns:a16="http://schemas.microsoft.com/office/drawing/2014/main" id="{38E008D0-971B-932E-082D-20EFC4066C16}"/>
                </a:ext>
              </a:extLst>
            </p:cNvPr>
            <p:cNvSpPr/>
            <p:nvPr/>
          </p:nvSpPr>
          <p:spPr>
            <a:xfrm>
              <a:off x="2732717" y="187771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1" name="Google Shape;5418;p64">
              <a:extLst>
                <a:ext uri="{FF2B5EF4-FFF2-40B4-BE49-F238E27FC236}">
                  <a16:creationId xmlns:a16="http://schemas.microsoft.com/office/drawing/2014/main" id="{ADE415AD-0621-FFDE-53D6-E6DF531246FC}"/>
                </a:ext>
              </a:extLst>
            </p:cNvPr>
            <p:cNvSpPr/>
            <p:nvPr/>
          </p:nvSpPr>
          <p:spPr>
            <a:xfrm>
              <a:off x="2761895" y="182805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2" name="Google Shape;5419;p64">
              <a:extLst>
                <a:ext uri="{FF2B5EF4-FFF2-40B4-BE49-F238E27FC236}">
                  <a16:creationId xmlns:a16="http://schemas.microsoft.com/office/drawing/2014/main" id="{8802FDD9-5C11-EFE2-A113-1DAA36FBC31F}"/>
                </a:ext>
              </a:extLst>
            </p:cNvPr>
            <p:cNvSpPr/>
            <p:nvPr/>
          </p:nvSpPr>
          <p:spPr>
            <a:xfrm>
              <a:off x="2761325" y="18296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3" name="Google Shape;5420;p64">
              <a:extLst>
                <a:ext uri="{FF2B5EF4-FFF2-40B4-BE49-F238E27FC236}">
                  <a16:creationId xmlns:a16="http://schemas.microsoft.com/office/drawing/2014/main" id="{294738AB-214A-0198-A30D-E0020E63E97C}"/>
                </a:ext>
              </a:extLst>
            </p:cNvPr>
            <p:cNvSpPr/>
            <p:nvPr/>
          </p:nvSpPr>
          <p:spPr>
            <a:xfrm>
              <a:off x="2732188" y="187805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4" name="Google Shape;5421;p64">
              <a:extLst>
                <a:ext uri="{FF2B5EF4-FFF2-40B4-BE49-F238E27FC236}">
                  <a16:creationId xmlns:a16="http://schemas.microsoft.com/office/drawing/2014/main" id="{5C05038D-B154-3B17-A745-512B222AC723}"/>
                </a:ext>
              </a:extLst>
            </p:cNvPr>
            <p:cNvSpPr/>
            <p:nvPr/>
          </p:nvSpPr>
          <p:spPr>
            <a:xfrm>
              <a:off x="2761855" y="182833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5" name="Google Shape;5422;p64">
              <a:extLst>
                <a:ext uri="{FF2B5EF4-FFF2-40B4-BE49-F238E27FC236}">
                  <a16:creationId xmlns:a16="http://schemas.microsoft.com/office/drawing/2014/main" id="{73C4BC7E-FB3F-8CD9-1C9A-BFBEF98CD6D5}"/>
                </a:ext>
              </a:extLst>
            </p:cNvPr>
            <p:cNvSpPr/>
            <p:nvPr/>
          </p:nvSpPr>
          <p:spPr>
            <a:xfrm>
              <a:off x="2761474" y="18292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6" name="Google Shape;5423;p64">
              <a:extLst>
                <a:ext uri="{FF2B5EF4-FFF2-40B4-BE49-F238E27FC236}">
                  <a16:creationId xmlns:a16="http://schemas.microsoft.com/office/drawing/2014/main" id="{CB026953-C26C-AE92-0C18-96471B4DC3A0}"/>
                </a:ext>
              </a:extLst>
            </p:cNvPr>
            <p:cNvSpPr/>
            <p:nvPr/>
          </p:nvSpPr>
          <p:spPr>
            <a:xfrm>
              <a:off x="2761610" y="182890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7" name="Google Shape;5424;p64">
              <a:extLst>
                <a:ext uri="{FF2B5EF4-FFF2-40B4-BE49-F238E27FC236}">
                  <a16:creationId xmlns:a16="http://schemas.microsoft.com/office/drawing/2014/main" id="{22A3ABF0-B894-840D-EAB3-D60AF08D9DA0}"/>
                </a:ext>
              </a:extLst>
            </p:cNvPr>
            <p:cNvSpPr/>
            <p:nvPr/>
          </p:nvSpPr>
          <p:spPr>
            <a:xfrm>
              <a:off x="2761705" y="1828620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8" name="Google Shape;5425;p64">
              <a:extLst>
                <a:ext uri="{FF2B5EF4-FFF2-40B4-BE49-F238E27FC236}">
                  <a16:creationId xmlns:a16="http://schemas.microsoft.com/office/drawing/2014/main" id="{9D5D5CAE-CBDF-6D27-25BB-2697D15CBBB4}"/>
                </a:ext>
              </a:extLst>
            </p:cNvPr>
            <p:cNvSpPr/>
            <p:nvPr/>
          </p:nvSpPr>
          <p:spPr>
            <a:xfrm>
              <a:off x="2732473" y="18779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9" name="Google Shape;5426;p64">
              <a:extLst>
                <a:ext uri="{FF2B5EF4-FFF2-40B4-BE49-F238E27FC236}">
                  <a16:creationId xmlns:a16="http://schemas.microsoft.com/office/drawing/2014/main" id="{43A74799-5524-AB80-EFB1-4D2A6BBD637C}"/>
                </a:ext>
              </a:extLst>
            </p:cNvPr>
            <p:cNvSpPr/>
            <p:nvPr/>
          </p:nvSpPr>
          <p:spPr>
            <a:xfrm>
              <a:off x="2731197" y="187815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32" y="0"/>
                  </a:moveTo>
                  <a:cubicBezTo>
                    <a:pt x="25" y="4"/>
                    <a:pt x="21" y="4"/>
                    <a:pt x="21" y="7"/>
                  </a:cubicBezTo>
                  <a:lnTo>
                    <a:pt x="0" y="28"/>
                  </a:lnTo>
                  <a:cubicBezTo>
                    <a:pt x="11" y="18"/>
                    <a:pt x="18" y="11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0" name="Google Shape;5427;p64">
              <a:extLst>
                <a:ext uri="{FF2B5EF4-FFF2-40B4-BE49-F238E27FC236}">
                  <a16:creationId xmlns:a16="http://schemas.microsoft.com/office/drawing/2014/main" id="{43AFC974-66F7-032F-CB18-3361970F40D3}"/>
                </a:ext>
              </a:extLst>
            </p:cNvPr>
            <p:cNvSpPr/>
            <p:nvPr/>
          </p:nvSpPr>
          <p:spPr>
            <a:xfrm>
              <a:off x="2755867" y="183608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cubicBezTo>
                    <a:pt x="4" y="0"/>
                    <a:pt x="7" y="0"/>
                    <a:pt x="14" y="0"/>
                  </a:cubicBezTo>
                  <a:lnTo>
                    <a:pt x="14" y="0"/>
                  </a:ln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1" name="Google Shape;5428;p64">
              <a:extLst>
                <a:ext uri="{FF2B5EF4-FFF2-40B4-BE49-F238E27FC236}">
                  <a16:creationId xmlns:a16="http://schemas.microsoft.com/office/drawing/2014/main" id="{1FC487A8-71E3-FD6A-857F-B15AB589D321}"/>
                </a:ext>
              </a:extLst>
            </p:cNvPr>
            <p:cNvSpPr/>
            <p:nvPr/>
          </p:nvSpPr>
          <p:spPr>
            <a:xfrm>
              <a:off x="2730911" y="1878246"/>
              <a:ext cx="584" cy="625"/>
            </a:xfrm>
            <a:custGeom>
              <a:avLst/>
              <a:gdLst/>
              <a:ahLst/>
              <a:cxnLst/>
              <a:rect l="l" t="t" r="r" b="b"/>
              <a:pathLst>
                <a:path w="43" h="46" extrusionOk="0">
                  <a:moveTo>
                    <a:pt x="42" y="0"/>
                  </a:moveTo>
                  <a:lnTo>
                    <a:pt x="42" y="0"/>
                  </a:lnTo>
                  <a:cubicBezTo>
                    <a:pt x="25" y="14"/>
                    <a:pt x="11" y="28"/>
                    <a:pt x="0" y="46"/>
                  </a:cubicBezTo>
                  <a:lnTo>
                    <a:pt x="21" y="25"/>
                  </a:lnTo>
                  <a:lnTo>
                    <a:pt x="21" y="21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2" name="Google Shape;5429;p64">
              <a:extLst>
                <a:ext uri="{FF2B5EF4-FFF2-40B4-BE49-F238E27FC236}">
                  <a16:creationId xmlns:a16="http://schemas.microsoft.com/office/drawing/2014/main" id="{EF4CDAF7-E689-E9A8-37CB-DFDD9EFACEBB}"/>
                </a:ext>
              </a:extLst>
            </p:cNvPr>
            <p:cNvSpPr/>
            <p:nvPr/>
          </p:nvSpPr>
          <p:spPr>
            <a:xfrm>
              <a:off x="2705196" y="1828905"/>
              <a:ext cx="20163" cy="10197"/>
            </a:xfrm>
            <a:custGeom>
              <a:avLst/>
              <a:gdLst/>
              <a:ahLst/>
              <a:cxnLst/>
              <a:rect l="l" t="t" r="r" b="b"/>
              <a:pathLst>
                <a:path w="1485" h="751" extrusionOk="0">
                  <a:moveTo>
                    <a:pt x="564" y="0"/>
                  </a:moveTo>
                  <a:cubicBezTo>
                    <a:pt x="530" y="0"/>
                    <a:pt x="503" y="12"/>
                    <a:pt x="477" y="32"/>
                  </a:cubicBezTo>
                  <a:cubicBezTo>
                    <a:pt x="438" y="60"/>
                    <a:pt x="400" y="81"/>
                    <a:pt x="358" y="98"/>
                  </a:cubicBezTo>
                  <a:cubicBezTo>
                    <a:pt x="242" y="137"/>
                    <a:pt x="151" y="228"/>
                    <a:pt x="109" y="343"/>
                  </a:cubicBezTo>
                  <a:cubicBezTo>
                    <a:pt x="102" y="364"/>
                    <a:pt x="91" y="385"/>
                    <a:pt x="81" y="406"/>
                  </a:cubicBezTo>
                  <a:lnTo>
                    <a:pt x="74" y="424"/>
                  </a:lnTo>
                  <a:cubicBezTo>
                    <a:pt x="67" y="438"/>
                    <a:pt x="60" y="452"/>
                    <a:pt x="53" y="466"/>
                  </a:cubicBezTo>
                  <a:lnTo>
                    <a:pt x="42" y="487"/>
                  </a:lnTo>
                  <a:cubicBezTo>
                    <a:pt x="35" y="498"/>
                    <a:pt x="28" y="512"/>
                    <a:pt x="21" y="522"/>
                  </a:cubicBezTo>
                  <a:lnTo>
                    <a:pt x="7" y="543"/>
                  </a:lnTo>
                  <a:lnTo>
                    <a:pt x="0" y="554"/>
                  </a:lnTo>
                  <a:cubicBezTo>
                    <a:pt x="14" y="575"/>
                    <a:pt x="32" y="592"/>
                    <a:pt x="56" y="606"/>
                  </a:cubicBezTo>
                  <a:lnTo>
                    <a:pt x="63" y="606"/>
                  </a:lnTo>
                  <a:cubicBezTo>
                    <a:pt x="68" y="606"/>
                    <a:pt x="73" y="606"/>
                    <a:pt x="78" y="606"/>
                  </a:cubicBezTo>
                  <a:cubicBezTo>
                    <a:pt x="128" y="606"/>
                    <a:pt x="176" y="623"/>
                    <a:pt x="221" y="652"/>
                  </a:cubicBezTo>
                  <a:cubicBezTo>
                    <a:pt x="267" y="676"/>
                    <a:pt x="313" y="700"/>
                    <a:pt x="367" y="700"/>
                  </a:cubicBezTo>
                  <a:cubicBezTo>
                    <a:pt x="383" y="700"/>
                    <a:pt x="400" y="698"/>
                    <a:pt x="417" y="694"/>
                  </a:cubicBezTo>
                  <a:cubicBezTo>
                    <a:pt x="431" y="690"/>
                    <a:pt x="445" y="687"/>
                    <a:pt x="456" y="687"/>
                  </a:cubicBezTo>
                  <a:lnTo>
                    <a:pt x="505" y="687"/>
                  </a:lnTo>
                  <a:cubicBezTo>
                    <a:pt x="515" y="687"/>
                    <a:pt x="529" y="687"/>
                    <a:pt x="540" y="690"/>
                  </a:cubicBezTo>
                  <a:lnTo>
                    <a:pt x="547" y="690"/>
                  </a:lnTo>
                  <a:cubicBezTo>
                    <a:pt x="561" y="690"/>
                    <a:pt x="571" y="694"/>
                    <a:pt x="585" y="697"/>
                  </a:cubicBezTo>
                  <a:lnTo>
                    <a:pt x="589" y="697"/>
                  </a:lnTo>
                  <a:lnTo>
                    <a:pt x="624" y="704"/>
                  </a:lnTo>
                  <a:lnTo>
                    <a:pt x="631" y="708"/>
                  </a:lnTo>
                  <a:lnTo>
                    <a:pt x="669" y="718"/>
                  </a:lnTo>
                  <a:cubicBezTo>
                    <a:pt x="722" y="740"/>
                    <a:pt x="778" y="751"/>
                    <a:pt x="835" y="751"/>
                  </a:cubicBezTo>
                  <a:cubicBezTo>
                    <a:pt x="869" y="751"/>
                    <a:pt x="902" y="747"/>
                    <a:pt x="935" y="739"/>
                  </a:cubicBezTo>
                  <a:cubicBezTo>
                    <a:pt x="992" y="725"/>
                    <a:pt x="1051" y="718"/>
                    <a:pt x="1109" y="718"/>
                  </a:cubicBezTo>
                  <a:cubicBezTo>
                    <a:pt x="1156" y="718"/>
                    <a:pt x="1202" y="723"/>
                    <a:pt x="1247" y="732"/>
                  </a:cubicBezTo>
                  <a:cubicBezTo>
                    <a:pt x="1293" y="737"/>
                    <a:pt x="1327" y="740"/>
                    <a:pt x="1354" y="740"/>
                  </a:cubicBezTo>
                  <a:cubicBezTo>
                    <a:pt x="1399" y="740"/>
                    <a:pt x="1420" y="731"/>
                    <a:pt x="1436" y="704"/>
                  </a:cubicBezTo>
                  <a:cubicBezTo>
                    <a:pt x="1485" y="617"/>
                    <a:pt x="1422" y="403"/>
                    <a:pt x="1366" y="291"/>
                  </a:cubicBezTo>
                  <a:lnTo>
                    <a:pt x="1359" y="270"/>
                  </a:lnTo>
                  <a:lnTo>
                    <a:pt x="1341" y="231"/>
                  </a:lnTo>
                  <a:lnTo>
                    <a:pt x="1369" y="217"/>
                  </a:lnTo>
                  <a:lnTo>
                    <a:pt x="1394" y="203"/>
                  </a:lnTo>
                  <a:lnTo>
                    <a:pt x="1390" y="203"/>
                  </a:lnTo>
                  <a:cubicBezTo>
                    <a:pt x="1380" y="193"/>
                    <a:pt x="1366" y="182"/>
                    <a:pt x="1352" y="175"/>
                  </a:cubicBezTo>
                  <a:lnTo>
                    <a:pt x="1348" y="172"/>
                  </a:lnTo>
                  <a:cubicBezTo>
                    <a:pt x="1334" y="165"/>
                    <a:pt x="1324" y="161"/>
                    <a:pt x="1313" y="154"/>
                  </a:cubicBezTo>
                  <a:lnTo>
                    <a:pt x="1310" y="154"/>
                  </a:lnTo>
                  <a:cubicBezTo>
                    <a:pt x="1299" y="151"/>
                    <a:pt x="1289" y="144"/>
                    <a:pt x="1275" y="140"/>
                  </a:cubicBezTo>
                  <a:lnTo>
                    <a:pt x="1271" y="140"/>
                  </a:lnTo>
                  <a:cubicBezTo>
                    <a:pt x="1261" y="140"/>
                    <a:pt x="1250" y="137"/>
                    <a:pt x="1240" y="133"/>
                  </a:cubicBezTo>
                  <a:lnTo>
                    <a:pt x="1173" y="133"/>
                  </a:lnTo>
                  <a:lnTo>
                    <a:pt x="1145" y="137"/>
                  </a:lnTo>
                  <a:lnTo>
                    <a:pt x="1142" y="137"/>
                  </a:lnTo>
                  <a:lnTo>
                    <a:pt x="1114" y="144"/>
                  </a:lnTo>
                  <a:cubicBezTo>
                    <a:pt x="1086" y="151"/>
                    <a:pt x="1058" y="154"/>
                    <a:pt x="1030" y="154"/>
                  </a:cubicBezTo>
                  <a:cubicBezTo>
                    <a:pt x="970" y="154"/>
                    <a:pt x="910" y="139"/>
                    <a:pt x="855" y="112"/>
                  </a:cubicBezTo>
                  <a:cubicBezTo>
                    <a:pt x="708" y="34"/>
                    <a:pt x="624" y="0"/>
                    <a:pt x="5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3" name="Google Shape;5430;p64">
              <a:extLst>
                <a:ext uri="{FF2B5EF4-FFF2-40B4-BE49-F238E27FC236}">
                  <a16:creationId xmlns:a16="http://schemas.microsoft.com/office/drawing/2014/main" id="{49AE9C50-B826-38D7-39E9-31DCD709AF78}"/>
                </a:ext>
              </a:extLst>
            </p:cNvPr>
            <p:cNvSpPr/>
            <p:nvPr/>
          </p:nvSpPr>
          <p:spPr>
            <a:xfrm>
              <a:off x="2713179" y="183831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6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4" name="Google Shape;5431;p64">
              <a:extLst>
                <a:ext uri="{FF2B5EF4-FFF2-40B4-BE49-F238E27FC236}">
                  <a16:creationId xmlns:a16="http://schemas.microsoft.com/office/drawing/2014/main" id="{1CC3B269-1E14-66DD-5C6A-BFCD2A146265}"/>
                </a:ext>
              </a:extLst>
            </p:cNvPr>
            <p:cNvSpPr/>
            <p:nvPr/>
          </p:nvSpPr>
          <p:spPr>
            <a:xfrm>
              <a:off x="2712039" y="183817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1" y="0"/>
                  </a:moveTo>
                  <a:cubicBezTo>
                    <a:pt x="11" y="0"/>
                    <a:pt x="25" y="4"/>
                    <a:pt x="36" y="4"/>
                  </a:cubicBezTo>
                  <a:cubicBezTo>
                    <a:pt x="25" y="0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5" name="Google Shape;5432;p64">
              <a:extLst>
                <a:ext uri="{FF2B5EF4-FFF2-40B4-BE49-F238E27FC236}">
                  <a16:creationId xmlns:a16="http://schemas.microsoft.com/office/drawing/2014/main" id="{802E6064-EEF1-55AC-08F7-51D24CA32527}"/>
                </a:ext>
              </a:extLst>
            </p:cNvPr>
            <p:cNvSpPr/>
            <p:nvPr/>
          </p:nvSpPr>
          <p:spPr>
            <a:xfrm>
              <a:off x="2713804" y="1838504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35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6" name="Google Shape;5433;p64">
              <a:extLst>
                <a:ext uri="{FF2B5EF4-FFF2-40B4-BE49-F238E27FC236}">
                  <a16:creationId xmlns:a16="http://schemas.microsoft.com/office/drawing/2014/main" id="{A6D8267E-448B-FB12-28EC-2C96D53C47D8}"/>
                </a:ext>
              </a:extLst>
            </p:cNvPr>
            <p:cNvSpPr/>
            <p:nvPr/>
          </p:nvSpPr>
          <p:spPr>
            <a:xfrm>
              <a:off x="2711523" y="1838178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ubicBezTo>
                    <a:pt x="18" y="0"/>
                    <a:pt x="11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7" name="Google Shape;5434;p64">
              <a:extLst>
                <a:ext uri="{FF2B5EF4-FFF2-40B4-BE49-F238E27FC236}">
                  <a16:creationId xmlns:a16="http://schemas.microsoft.com/office/drawing/2014/main" id="{E16F80B7-20FD-63C7-0C1A-11A0382523F7}"/>
                </a:ext>
              </a:extLst>
            </p:cNvPr>
            <p:cNvSpPr/>
            <p:nvPr/>
          </p:nvSpPr>
          <p:spPr>
            <a:xfrm>
              <a:off x="2723403" y="1831851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18" y="49"/>
                  </a:moveTo>
                  <a:lnTo>
                    <a:pt x="0" y="11"/>
                  </a:lnTo>
                  <a:lnTo>
                    <a:pt x="28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8" name="Google Shape;5435;p64">
              <a:extLst>
                <a:ext uri="{FF2B5EF4-FFF2-40B4-BE49-F238E27FC236}">
                  <a16:creationId xmlns:a16="http://schemas.microsoft.com/office/drawing/2014/main" id="{154141FF-0FBC-1140-FB69-1F01F6D1EF4E}"/>
                </a:ext>
              </a:extLst>
            </p:cNvPr>
            <p:cNvSpPr/>
            <p:nvPr/>
          </p:nvSpPr>
          <p:spPr>
            <a:xfrm>
              <a:off x="2706051" y="1837079"/>
              <a:ext cx="2105" cy="638"/>
            </a:xfrm>
            <a:custGeom>
              <a:avLst/>
              <a:gdLst/>
              <a:ahLst/>
              <a:cxnLst/>
              <a:rect l="l" t="t" r="r" b="b"/>
              <a:pathLst>
                <a:path w="155" h="47" extrusionOk="0">
                  <a:moveTo>
                    <a:pt x="0" y="1"/>
                  </a:moveTo>
                  <a:cubicBezTo>
                    <a:pt x="56" y="1"/>
                    <a:pt x="109" y="15"/>
                    <a:pt x="154" y="46"/>
                  </a:cubicBezTo>
                  <a:cubicBezTo>
                    <a:pt x="109" y="15"/>
                    <a:pt x="56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9" name="Google Shape;5436;p64">
              <a:extLst>
                <a:ext uri="{FF2B5EF4-FFF2-40B4-BE49-F238E27FC236}">
                  <a16:creationId xmlns:a16="http://schemas.microsoft.com/office/drawing/2014/main" id="{B6BCB237-09E4-D452-FF7B-5AE59F473914}"/>
                </a:ext>
              </a:extLst>
            </p:cNvPr>
            <p:cNvSpPr/>
            <p:nvPr/>
          </p:nvSpPr>
          <p:spPr>
            <a:xfrm>
              <a:off x="2710857" y="1838219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cubicBezTo>
                    <a:pt x="28" y="1"/>
                    <a:pt x="14" y="4"/>
                    <a:pt x="0" y="8"/>
                  </a:cubicBezTo>
                  <a:cubicBezTo>
                    <a:pt x="14" y="4"/>
                    <a:pt x="28" y="1"/>
                    <a:pt x="3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0" name="Google Shape;5437;p64">
              <a:extLst>
                <a:ext uri="{FF2B5EF4-FFF2-40B4-BE49-F238E27FC236}">
                  <a16:creationId xmlns:a16="http://schemas.microsoft.com/office/drawing/2014/main" id="{5A5759B9-568C-BE64-438E-AAEA88707FE2}"/>
                </a:ext>
              </a:extLst>
            </p:cNvPr>
            <p:cNvSpPr/>
            <p:nvPr/>
          </p:nvSpPr>
          <p:spPr>
            <a:xfrm>
              <a:off x="2712568" y="1838219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8"/>
                  </a:moveTo>
                  <a:cubicBezTo>
                    <a:pt x="28" y="4"/>
                    <a:pt x="14" y="1"/>
                    <a:pt x="0" y="1"/>
                  </a:cubicBezTo>
                  <a:cubicBezTo>
                    <a:pt x="14" y="1"/>
                    <a:pt x="28" y="4"/>
                    <a:pt x="42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1" name="Google Shape;5438;p64">
              <a:extLst>
                <a:ext uri="{FF2B5EF4-FFF2-40B4-BE49-F238E27FC236}">
                  <a16:creationId xmlns:a16="http://schemas.microsoft.com/office/drawing/2014/main" id="{B2DF1128-D892-A6B9-8655-9F809FBD9DFF}"/>
                </a:ext>
              </a:extLst>
            </p:cNvPr>
            <p:cNvSpPr/>
            <p:nvPr/>
          </p:nvSpPr>
          <p:spPr>
            <a:xfrm>
              <a:off x="2798745" y="1868022"/>
              <a:ext cx="52056" cy="110847"/>
            </a:xfrm>
            <a:custGeom>
              <a:avLst/>
              <a:gdLst/>
              <a:ahLst/>
              <a:cxnLst/>
              <a:rect l="l" t="t" r="r" b="b"/>
              <a:pathLst>
                <a:path w="3834" h="8164" extrusionOk="0">
                  <a:moveTo>
                    <a:pt x="1702" y="1"/>
                  </a:moveTo>
                  <a:cubicBezTo>
                    <a:pt x="1653" y="1"/>
                    <a:pt x="1488" y="106"/>
                    <a:pt x="1400" y="214"/>
                  </a:cubicBezTo>
                  <a:cubicBezTo>
                    <a:pt x="1390" y="232"/>
                    <a:pt x="1376" y="246"/>
                    <a:pt x="1369" y="263"/>
                  </a:cubicBezTo>
                  <a:cubicBezTo>
                    <a:pt x="1327" y="337"/>
                    <a:pt x="1278" y="356"/>
                    <a:pt x="1231" y="356"/>
                  </a:cubicBezTo>
                  <a:cubicBezTo>
                    <a:pt x="1200" y="356"/>
                    <a:pt x="1170" y="347"/>
                    <a:pt x="1145" y="340"/>
                  </a:cubicBezTo>
                  <a:cubicBezTo>
                    <a:pt x="1122" y="331"/>
                    <a:pt x="1098" y="327"/>
                    <a:pt x="1073" y="327"/>
                  </a:cubicBezTo>
                  <a:cubicBezTo>
                    <a:pt x="1040" y="327"/>
                    <a:pt x="1007" y="335"/>
                    <a:pt x="977" y="351"/>
                  </a:cubicBezTo>
                  <a:cubicBezTo>
                    <a:pt x="929" y="377"/>
                    <a:pt x="881" y="387"/>
                    <a:pt x="836" y="387"/>
                  </a:cubicBezTo>
                  <a:cubicBezTo>
                    <a:pt x="764" y="387"/>
                    <a:pt x="697" y="362"/>
                    <a:pt x="641" y="340"/>
                  </a:cubicBezTo>
                  <a:cubicBezTo>
                    <a:pt x="587" y="320"/>
                    <a:pt x="560" y="312"/>
                    <a:pt x="546" y="312"/>
                  </a:cubicBezTo>
                  <a:cubicBezTo>
                    <a:pt x="534" y="312"/>
                    <a:pt x="530" y="318"/>
                    <a:pt x="525" y="326"/>
                  </a:cubicBezTo>
                  <a:cubicBezTo>
                    <a:pt x="489" y="393"/>
                    <a:pt x="435" y="413"/>
                    <a:pt x="382" y="413"/>
                  </a:cubicBezTo>
                  <a:cubicBezTo>
                    <a:pt x="353" y="413"/>
                    <a:pt x="324" y="407"/>
                    <a:pt x="298" y="400"/>
                  </a:cubicBezTo>
                  <a:lnTo>
                    <a:pt x="270" y="393"/>
                  </a:lnTo>
                  <a:lnTo>
                    <a:pt x="245" y="386"/>
                  </a:lnTo>
                  <a:cubicBezTo>
                    <a:pt x="199" y="370"/>
                    <a:pt x="169" y="362"/>
                    <a:pt x="147" y="362"/>
                  </a:cubicBezTo>
                  <a:cubicBezTo>
                    <a:pt x="130" y="362"/>
                    <a:pt x="118" y="368"/>
                    <a:pt x="109" y="379"/>
                  </a:cubicBezTo>
                  <a:cubicBezTo>
                    <a:pt x="95" y="396"/>
                    <a:pt x="84" y="410"/>
                    <a:pt x="70" y="424"/>
                  </a:cubicBezTo>
                  <a:lnTo>
                    <a:pt x="53" y="438"/>
                  </a:lnTo>
                  <a:cubicBezTo>
                    <a:pt x="42" y="445"/>
                    <a:pt x="32" y="456"/>
                    <a:pt x="21" y="463"/>
                  </a:cubicBezTo>
                  <a:lnTo>
                    <a:pt x="11" y="470"/>
                  </a:lnTo>
                  <a:lnTo>
                    <a:pt x="0" y="473"/>
                  </a:lnTo>
                  <a:lnTo>
                    <a:pt x="18" y="491"/>
                  </a:lnTo>
                  <a:lnTo>
                    <a:pt x="35" y="512"/>
                  </a:lnTo>
                  <a:lnTo>
                    <a:pt x="49" y="529"/>
                  </a:lnTo>
                  <a:lnTo>
                    <a:pt x="67" y="550"/>
                  </a:lnTo>
                  <a:lnTo>
                    <a:pt x="77" y="564"/>
                  </a:lnTo>
                  <a:lnTo>
                    <a:pt x="95" y="585"/>
                  </a:lnTo>
                  <a:lnTo>
                    <a:pt x="105" y="599"/>
                  </a:lnTo>
                  <a:cubicBezTo>
                    <a:pt x="109" y="606"/>
                    <a:pt x="112" y="613"/>
                    <a:pt x="119" y="620"/>
                  </a:cubicBezTo>
                  <a:lnTo>
                    <a:pt x="126" y="634"/>
                  </a:lnTo>
                  <a:cubicBezTo>
                    <a:pt x="130" y="641"/>
                    <a:pt x="133" y="648"/>
                    <a:pt x="137" y="655"/>
                  </a:cubicBezTo>
                  <a:cubicBezTo>
                    <a:pt x="140" y="662"/>
                    <a:pt x="140" y="666"/>
                    <a:pt x="144" y="673"/>
                  </a:cubicBezTo>
                  <a:cubicBezTo>
                    <a:pt x="147" y="680"/>
                    <a:pt x="147" y="687"/>
                    <a:pt x="151" y="694"/>
                  </a:cubicBezTo>
                  <a:cubicBezTo>
                    <a:pt x="151" y="697"/>
                    <a:pt x="154" y="701"/>
                    <a:pt x="154" y="708"/>
                  </a:cubicBezTo>
                  <a:cubicBezTo>
                    <a:pt x="154" y="718"/>
                    <a:pt x="158" y="729"/>
                    <a:pt x="158" y="739"/>
                  </a:cubicBezTo>
                  <a:cubicBezTo>
                    <a:pt x="158" y="778"/>
                    <a:pt x="210" y="827"/>
                    <a:pt x="263" y="876"/>
                  </a:cubicBezTo>
                  <a:cubicBezTo>
                    <a:pt x="343" y="953"/>
                    <a:pt x="434" y="1037"/>
                    <a:pt x="434" y="1156"/>
                  </a:cubicBezTo>
                  <a:cubicBezTo>
                    <a:pt x="434" y="1201"/>
                    <a:pt x="487" y="1257"/>
                    <a:pt x="567" y="1299"/>
                  </a:cubicBezTo>
                  <a:cubicBezTo>
                    <a:pt x="634" y="1337"/>
                    <a:pt x="703" y="1353"/>
                    <a:pt x="746" y="1353"/>
                  </a:cubicBezTo>
                  <a:cubicBezTo>
                    <a:pt x="764" y="1353"/>
                    <a:pt x="777" y="1350"/>
                    <a:pt x="784" y="1345"/>
                  </a:cubicBezTo>
                  <a:cubicBezTo>
                    <a:pt x="848" y="1301"/>
                    <a:pt x="938" y="1267"/>
                    <a:pt x="1024" y="1267"/>
                  </a:cubicBezTo>
                  <a:cubicBezTo>
                    <a:pt x="1061" y="1267"/>
                    <a:pt x="1098" y="1274"/>
                    <a:pt x="1131" y="1289"/>
                  </a:cubicBezTo>
                  <a:cubicBezTo>
                    <a:pt x="1183" y="1313"/>
                    <a:pt x="1250" y="1366"/>
                    <a:pt x="1267" y="1492"/>
                  </a:cubicBezTo>
                  <a:cubicBezTo>
                    <a:pt x="1278" y="1569"/>
                    <a:pt x="1309" y="1642"/>
                    <a:pt x="1358" y="1702"/>
                  </a:cubicBezTo>
                  <a:cubicBezTo>
                    <a:pt x="1411" y="1762"/>
                    <a:pt x="1442" y="1839"/>
                    <a:pt x="1442" y="1919"/>
                  </a:cubicBezTo>
                  <a:cubicBezTo>
                    <a:pt x="1442" y="2063"/>
                    <a:pt x="1302" y="2087"/>
                    <a:pt x="1201" y="2105"/>
                  </a:cubicBezTo>
                  <a:cubicBezTo>
                    <a:pt x="1099" y="2122"/>
                    <a:pt x="1040" y="2136"/>
                    <a:pt x="1019" y="2185"/>
                  </a:cubicBezTo>
                  <a:cubicBezTo>
                    <a:pt x="1019" y="2189"/>
                    <a:pt x="1019" y="2192"/>
                    <a:pt x="1019" y="2196"/>
                  </a:cubicBezTo>
                  <a:cubicBezTo>
                    <a:pt x="1033" y="2245"/>
                    <a:pt x="1239" y="2364"/>
                    <a:pt x="1313" y="2406"/>
                  </a:cubicBezTo>
                  <a:cubicBezTo>
                    <a:pt x="1488" y="2507"/>
                    <a:pt x="1614" y="2581"/>
                    <a:pt x="1614" y="2679"/>
                  </a:cubicBezTo>
                  <a:cubicBezTo>
                    <a:pt x="1614" y="2738"/>
                    <a:pt x="1677" y="2822"/>
                    <a:pt x="1740" y="2903"/>
                  </a:cubicBezTo>
                  <a:cubicBezTo>
                    <a:pt x="1800" y="2976"/>
                    <a:pt x="1849" y="3057"/>
                    <a:pt x="1887" y="3141"/>
                  </a:cubicBezTo>
                  <a:cubicBezTo>
                    <a:pt x="1915" y="3207"/>
                    <a:pt x="1999" y="3295"/>
                    <a:pt x="2076" y="3379"/>
                  </a:cubicBezTo>
                  <a:cubicBezTo>
                    <a:pt x="2185" y="3491"/>
                    <a:pt x="2297" y="3606"/>
                    <a:pt x="2339" y="3732"/>
                  </a:cubicBezTo>
                  <a:cubicBezTo>
                    <a:pt x="2384" y="3859"/>
                    <a:pt x="2510" y="3936"/>
                    <a:pt x="2622" y="4013"/>
                  </a:cubicBezTo>
                  <a:cubicBezTo>
                    <a:pt x="2678" y="4044"/>
                    <a:pt x="2727" y="4083"/>
                    <a:pt x="2776" y="4125"/>
                  </a:cubicBezTo>
                  <a:cubicBezTo>
                    <a:pt x="2906" y="4254"/>
                    <a:pt x="2930" y="4534"/>
                    <a:pt x="2895" y="4737"/>
                  </a:cubicBezTo>
                  <a:cubicBezTo>
                    <a:pt x="2885" y="4804"/>
                    <a:pt x="2881" y="4874"/>
                    <a:pt x="2881" y="4944"/>
                  </a:cubicBezTo>
                  <a:cubicBezTo>
                    <a:pt x="2881" y="5003"/>
                    <a:pt x="2885" y="5063"/>
                    <a:pt x="2892" y="5122"/>
                  </a:cubicBezTo>
                  <a:lnTo>
                    <a:pt x="2892" y="5129"/>
                  </a:lnTo>
                  <a:cubicBezTo>
                    <a:pt x="2892" y="5140"/>
                    <a:pt x="2895" y="5150"/>
                    <a:pt x="2899" y="5161"/>
                  </a:cubicBezTo>
                  <a:cubicBezTo>
                    <a:pt x="2902" y="5196"/>
                    <a:pt x="2909" y="5227"/>
                    <a:pt x="2920" y="5262"/>
                  </a:cubicBezTo>
                  <a:cubicBezTo>
                    <a:pt x="2934" y="5318"/>
                    <a:pt x="2951" y="5374"/>
                    <a:pt x="2972" y="5430"/>
                  </a:cubicBezTo>
                  <a:lnTo>
                    <a:pt x="2972" y="5434"/>
                  </a:lnTo>
                  <a:cubicBezTo>
                    <a:pt x="2979" y="5448"/>
                    <a:pt x="2986" y="5462"/>
                    <a:pt x="2993" y="5476"/>
                  </a:cubicBezTo>
                  <a:lnTo>
                    <a:pt x="3000" y="5490"/>
                  </a:lnTo>
                  <a:cubicBezTo>
                    <a:pt x="3007" y="5500"/>
                    <a:pt x="3014" y="5514"/>
                    <a:pt x="3021" y="5525"/>
                  </a:cubicBezTo>
                  <a:lnTo>
                    <a:pt x="3028" y="5539"/>
                  </a:lnTo>
                  <a:cubicBezTo>
                    <a:pt x="3039" y="5556"/>
                    <a:pt x="3046" y="5570"/>
                    <a:pt x="3056" y="5588"/>
                  </a:cubicBezTo>
                  <a:cubicBezTo>
                    <a:pt x="3070" y="5602"/>
                    <a:pt x="3077" y="5619"/>
                    <a:pt x="3088" y="5637"/>
                  </a:cubicBezTo>
                  <a:cubicBezTo>
                    <a:pt x="3179" y="5819"/>
                    <a:pt x="3081" y="5956"/>
                    <a:pt x="2962" y="6057"/>
                  </a:cubicBezTo>
                  <a:lnTo>
                    <a:pt x="2948" y="6071"/>
                  </a:lnTo>
                  <a:cubicBezTo>
                    <a:pt x="2930" y="6082"/>
                    <a:pt x="2913" y="6096"/>
                    <a:pt x="2899" y="6110"/>
                  </a:cubicBezTo>
                  <a:cubicBezTo>
                    <a:pt x="2881" y="6120"/>
                    <a:pt x="2853" y="6141"/>
                    <a:pt x="2832" y="6155"/>
                  </a:cubicBezTo>
                  <a:cubicBezTo>
                    <a:pt x="2776" y="6190"/>
                    <a:pt x="2720" y="6236"/>
                    <a:pt x="2675" y="6285"/>
                  </a:cubicBezTo>
                  <a:cubicBezTo>
                    <a:pt x="2643" y="6327"/>
                    <a:pt x="2619" y="6372"/>
                    <a:pt x="2601" y="6418"/>
                  </a:cubicBezTo>
                  <a:cubicBezTo>
                    <a:pt x="2547" y="6545"/>
                    <a:pt x="2487" y="6645"/>
                    <a:pt x="2310" y="6645"/>
                  </a:cubicBezTo>
                  <a:cubicBezTo>
                    <a:pt x="2258" y="6645"/>
                    <a:pt x="2196" y="6636"/>
                    <a:pt x="2122" y="6617"/>
                  </a:cubicBezTo>
                  <a:cubicBezTo>
                    <a:pt x="2090" y="6610"/>
                    <a:pt x="2062" y="6607"/>
                    <a:pt x="2034" y="6603"/>
                  </a:cubicBezTo>
                  <a:lnTo>
                    <a:pt x="2034" y="6603"/>
                  </a:lnTo>
                  <a:cubicBezTo>
                    <a:pt x="2052" y="6656"/>
                    <a:pt x="2076" y="6705"/>
                    <a:pt x="2108" y="6754"/>
                  </a:cubicBezTo>
                  <a:cubicBezTo>
                    <a:pt x="2174" y="6873"/>
                    <a:pt x="2237" y="6985"/>
                    <a:pt x="2195" y="7069"/>
                  </a:cubicBezTo>
                  <a:cubicBezTo>
                    <a:pt x="2167" y="7126"/>
                    <a:pt x="2109" y="7145"/>
                    <a:pt x="2037" y="7145"/>
                  </a:cubicBezTo>
                  <a:cubicBezTo>
                    <a:pt x="1959" y="7145"/>
                    <a:pt x="1863" y="7122"/>
                    <a:pt x="1768" y="7100"/>
                  </a:cubicBezTo>
                  <a:cubicBezTo>
                    <a:pt x="1705" y="7083"/>
                    <a:pt x="1642" y="7072"/>
                    <a:pt x="1575" y="7065"/>
                  </a:cubicBezTo>
                  <a:cubicBezTo>
                    <a:pt x="1575" y="7069"/>
                    <a:pt x="1575" y="7072"/>
                    <a:pt x="1572" y="7076"/>
                  </a:cubicBezTo>
                  <a:lnTo>
                    <a:pt x="1572" y="7079"/>
                  </a:lnTo>
                  <a:lnTo>
                    <a:pt x="1572" y="7090"/>
                  </a:lnTo>
                  <a:lnTo>
                    <a:pt x="1568" y="7093"/>
                  </a:lnTo>
                  <a:lnTo>
                    <a:pt x="1565" y="7100"/>
                  </a:lnTo>
                  <a:lnTo>
                    <a:pt x="1561" y="7107"/>
                  </a:lnTo>
                  <a:lnTo>
                    <a:pt x="1558" y="7114"/>
                  </a:lnTo>
                  <a:lnTo>
                    <a:pt x="1554" y="7121"/>
                  </a:lnTo>
                  <a:lnTo>
                    <a:pt x="1547" y="7128"/>
                  </a:lnTo>
                  <a:lnTo>
                    <a:pt x="1544" y="7135"/>
                  </a:lnTo>
                  <a:lnTo>
                    <a:pt x="1537" y="7146"/>
                  </a:lnTo>
                  <a:lnTo>
                    <a:pt x="1530" y="7153"/>
                  </a:lnTo>
                  <a:lnTo>
                    <a:pt x="1523" y="7160"/>
                  </a:lnTo>
                  <a:lnTo>
                    <a:pt x="1516" y="7170"/>
                  </a:lnTo>
                  <a:lnTo>
                    <a:pt x="1505" y="7177"/>
                  </a:lnTo>
                  <a:lnTo>
                    <a:pt x="1495" y="7184"/>
                  </a:lnTo>
                  <a:lnTo>
                    <a:pt x="1481" y="7198"/>
                  </a:lnTo>
                  <a:lnTo>
                    <a:pt x="1467" y="7209"/>
                  </a:lnTo>
                  <a:lnTo>
                    <a:pt x="1449" y="7223"/>
                  </a:lnTo>
                  <a:lnTo>
                    <a:pt x="1439" y="7230"/>
                  </a:lnTo>
                  <a:lnTo>
                    <a:pt x="1421" y="7240"/>
                  </a:lnTo>
                  <a:lnTo>
                    <a:pt x="1407" y="7251"/>
                  </a:lnTo>
                  <a:lnTo>
                    <a:pt x="1390" y="7261"/>
                  </a:lnTo>
                  <a:lnTo>
                    <a:pt x="1372" y="7272"/>
                  </a:lnTo>
                  <a:lnTo>
                    <a:pt x="1355" y="7282"/>
                  </a:lnTo>
                  <a:lnTo>
                    <a:pt x="1337" y="7293"/>
                  </a:lnTo>
                  <a:lnTo>
                    <a:pt x="1316" y="7307"/>
                  </a:lnTo>
                  <a:lnTo>
                    <a:pt x="1295" y="7317"/>
                  </a:lnTo>
                  <a:lnTo>
                    <a:pt x="1288" y="7321"/>
                  </a:lnTo>
                  <a:cubicBezTo>
                    <a:pt x="1327" y="7352"/>
                    <a:pt x="1365" y="7377"/>
                    <a:pt x="1407" y="7401"/>
                  </a:cubicBezTo>
                  <a:lnTo>
                    <a:pt x="1456" y="7429"/>
                  </a:lnTo>
                  <a:cubicBezTo>
                    <a:pt x="1488" y="7450"/>
                    <a:pt x="1509" y="7478"/>
                    <a:pt x="1516" y="7513"/>
                  </a:cubicBezTo>
                  <a:cubicBezTo>
                    <a:pt x="1530" y="7576"/>
                    <a:pt x="1491" y="7632"/>
                    <a:pt x="1442" y="7695"/>
                  </a:cubicBezTo>
                  <a:cubicBezTo>
                    <a:pt x="1390" y="7769"/>
                    <a:pt x="1330" y="7853"/>
                    <a:pt x="1334" y="7962"/>
                  </a:cubicBezTo>
                  <a:cubicBezTo>
                    <a:pt x="1337" y="8081"/>
                    <a:pt x="1386" y="8147"/>
                    <a:pt x="1435" y="8161"/>
                  </a:cubicBezTo>
                  <a:cubicBezTo>
                    <a:pt x="1440" y="8163"/>
                    <a:pt x="1445" y="8164"/>
                    <a:pt x="1450" y="8164"/>
                  </a:cubicBezTo>
                  <a:cubicBezTo>
                    <a:pt x="1463" y="8164"/>
                    <a:pt x="1478" y="8157"/>
                    <a:pt x="1488" y="8144"/>
                  </a:cubicBezTo>
                  <a:cubicBezTo>
                    <a:pt x="1565" y="8032"/>
                    <a:pt x="1873" y="7786"/>
                    <a:pt x="2013" y="7741"/>
                  </a:cubicBezTo>
                  <a:cubicBezTo>
                    <a:pt x="2024" y="7737"/>
                    <a:pt x="2027" y="7734"/>
                    <a:pt x="2031" y="7681"/>
                  </a:cubicBezTo>
                  <a:cubicBezTo>
                    <a:pt x="2024" y="7636"/>
                    <a:pt x="2038" y="7590"/>
                    <a:pt x="2069" y="7555"/>
                  </a:cubicBezTo>
                  <a:cubicBezTo>
                    <a:pt x="2092" y="7538"/>
                    <a:pt x="2120" y="7526"/>
                    <a:pt x="2149" y="7526"/>
                  </a:cubicBezTo>
                  <a:cubicBezTo>
                    <a:pt x="2155" y="7526"/>
                    <a:pt x="2161" y="7526"/>
                    <a:pt x="2167" y="7527"/>
                  </a:cubicBezTo>
                  <a:cubicBezTo>
                    <a:pt x="2185" y="7527"/>
                    <a:pt x="2192" y="7524"/>
                    <a:pt x="2209" y="7422"/>
                  </a:cubicBezTo>
                  <a:cubicBezTo>
                    <a:pt x="2213" y="7370"/>
                    <a:pt x="2230" y="7317"/>
                    <a:pt x="2251" y="7268"/>
                  </a:cubicBezTo>
                  <a:cubicBezTo>
                    <a:pt x="2299" y="7183"/>
                    <a:pt x="2364" y="7164"/>
                    <a:pt x="2441" y="7164"/>
                  </a:cubicBezTo>
                  <a:cubicBezTo>
                    <a:pt x="2472" y="7164"/>
                    <a:pt x="2504" y="7167"/>
                    <a:pt x="2538" y="7170"/>
                  </a:cubicBezTo>
                  <a:cubicBezTo>
                    <a:pt x="2573" y="7174"/>
                    <a:pt x="2608" y="7177"/>
                    <a:pt x="2654" y="7177"/>
                  </a:cubicBezTo>
                  <a:lnTo>
                    <a:pt x="2661" y="7177"/>
                  </a:lnTo>
                  <a:cubicBezTo>
                    <a:pt x="2822" y="7177"/>
                    <a:pt x="3070" y="7020"/>
                    <a:pt x="3308" y="6866"/>
                  </a:cubicBezTo>
                  <a:lnTo>
                    <a:pt x="3357" y="6834"/>
                  </a:lnTo>
                  <a:cubicBezTo>
                    <a:pt x="3616" y="6666"/>
                    <a:pt x="3655" y="6642"/>
                    <a:pt x="3757" y="6148"/>
                  </a:cubicBezTo>
                  <a:cubicBezTo>
                    <a:pt x="3834" y="5787"/>
                    <a:pt x="3732" y="5364"/>
                    <a:pt x="3669" y="5112"/>
                  </a:cubicBezTo>
                  <a:cubicBezTo>
                    <a:pt x="3648" y="5038"/>
                    <a:pt x="3634" y="4965"/>
                    <a:pt x="3627" y="4891"/>
                  </a:cubicBezTo>
                  <a:cubicBezTo>
                    <a:pt x="3620" y="4751"/>
                    <a:pt x="3284" y="4135"/>
                    <a:pt x="3175" y="4097"/>
                  </a:cubicBezTo>
                  <a:cubicBezTo>
                    <a:pt x="3067" y="4097"/>
                    <a:pt x="2846" y="3922"/>
                    <a:pt x="2346" y="3431"/>
                  </a:cubicBezTo>
                  <a:cubicBezTo>
                    <a:pt x="2304" y="3386"/>
                    <a:pt x="2269" y="3354"/>
                    <a:pt x="2251" y="3337"/>
                  </a:cubicBezTo>
                  <a:cubicBezTo>
                    <a:pt x="2195" y="3281"/>
                    <a:pt x="2157" y="3211"/>
                    <a:pt x="2136" y="3134"/>
                  </a:cubicBezTo>
                  <a:cubicBezTo>
                    <a:pt x="2115" y="3050"/>
                    <a:pt x="2073" y="2976"/>
                    <a:pt x="2010" y="2917"/>
                  </a:cubicBezTo>
                  <a:cubicBezTo>
                    <a:pt x="1807" y="2749"/>
                    <a:pt x="1814" y="2332"/>
                    <a:pt x="1849" y="2115"/>
                  </a:cubicBezTo>
                  <a:cubicBezTo>
                    <a:pt x="1877" y="1954"/>
                    <a:pt x="2003" y="1863"/>
                    <a:pt x="2104" y="1790"/>
                  </a:cubicBezTo>
                  <a:cubicBezTo>
                    <a:pt x="2178" y="1737"/>
                    <a:pt x="2237" y="1695"/>
                    <a:pt x="2237" y="1649"/>
                  </a:cubicBezTo>
                  <a:cubicBezTo>
                    <a:pt x="2230" y="1509"/>
                    <a:pt x="2255" y="1408"/>
                    <a:pt x="2314" y="1341"/>
                  </a:cubicBezTo>
                  <a:cubicBezTo>
                    <a:pt x="2367" y="1289"/>
                    <a:pt x="2437" y="1257"/>
                    <a:pt x="2507" y="1257"/>
                  </a:cubicBezTo>
                  <a:cubicBezTo>
                    <a:pt x="2654" y="1250"/>
                    <a:pt x="2808" y="1128"/>
                    <a:pt x="2885" y="1005"/>
                  </a:cubicBezTo>
                  <a:lnTo>
                    <a:pt x="2892" y="995"/>
                  </a:lnTo>
                  <a:lnTo>
                    <a:pt x="2878" y="988"/>
                  </a:lnTo>
                  <a:lnTo>
                    <a:pt x="2874" y="981"/>
                  </a:lnTo>
                  <a:lnTo>
                    <a:pt x="2857" y="981"/>
                  </a:lnTo>
                  <a:cubicBezTo>
                    <a:pt x="2727" y="956"/>
                    <a:pt x="2426" y="767"/>
                    <a:pt x="2314" y="613"/>
                  </a:cubicBezTo>
                  <a:lnTo>
                    <a:pt x="2304" y="596"/>
                  </a:lnTo>
                  <a:lnTo>
                    <a:pt x="2304" y="592"/>
                  </a:lnTo>
                  <a:lnTo>
                    <a:pt x="2297" y="578"/>
                  </a:lnTo>
                  <a:lnTo>
                    <a:pt x="2293" y="571"/>
                  </a:lnTo>
                  <a:lnTo>
                    <a:pt x="2286" y="561"/>
                  </a:lnTo>
                  <a:cubicBezTo>
                    <a:pt x="2286" y="557"/>
                    <a:pt x="2286" y="554"/>
                    <a:pt x="2286" y="550"/>
                  </a:cubicBezTo>
                  <a:cubicBezTo>
                    <a:pt x="2283" y="550"/>
                    <a:pt x="2283" y="547"/>
                    <a:pt x="2283" y="543"/>
                  </a:cubicBezTo>
                  <a:cubicBezTo>
                    <a:pt x="2279" y="540"/>
                    <a:pt x="2283" y="536"/>
                    <a:pt x="2283" y="533"/>
                  </a:cubicBezTo>
                  <a:lnTo>
                    <a:pt x="2283" y="526"/>
                  </a:lnTo>
                  <a:cubicBezTo>
                    <a:pt x="2283" y="522"/>
                    <a:pt x="2283" y="515"/>
                    <a:pt x="2283" y="512"/>
                  </a:cubicBezTo>
                  <a:cubicBezTo>
                    <a:pt x="2286" y="470"/>
                    <a:pt x="2293" y="431"/>
                    <a:pt x="2311" y="393"/>
                  </a:cubicBezTo>
                  <a:cubicBezTo>
                    <a:pt x="2325" y="358"/>
                    <a:pt x="2342" y="316"/>
                    <a:pt x="2332" y="302"/>
                  </a:cubicBezTo>
                  <a:cubicBezTo>
                    <a:pt x="2332" y="295"/>
                    <a:pt x="2307" y="267"/>
                    <a:pt x="2188" y="253"/>
                  </a:cubicBezTo>
                  <a:cubicBezTo>
                    <a:pt x="1873" y="214"/>
                    <a:pt x="1782" y="102"/>
                    <a:pt x="1723" y="29"/>
                  </a:cubicBezTo>
                  <a:cubicBezTo>
                    <a:pt x="1716" y="18"/>
                    <a:pt x="1709" y="11"/>
                    <a:pt x="170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2" name="Google Shape;5439;p64">
              <a:extLst>
                <a:ext uri="{FF2B5EF4-FFF2-40B4-BE49-F238E27FC236}">
                  <a16:creationId xmlns:a16="http://schemas.microsoft.com/office/drawing/2014/main" id="{6FF9E529-45F1-9102-EC36-C8BBC77AF6E4}"/>
                </a:ext>
              </a:extLst>
            </p:cNvPr>
            <p:cNvSpPr/>
            <p:nvPr/>
          </p:nvSpPr>
          <p:spPr>
            <a:xfrm>
              <a:off x="2799356" y="1936670"/>
              <a:ext cx="40800" cy="29477"/>
            </a:xfrm>
            <a:custGeom>
              <a:avLst/>
              <a:gdLst/>
              <a:ahLst/>
              <a:cxnLst/>
              <a:rect l="l" t="t" r="r" b="b"/>
              <a:pathLst>
                <a:path w="3005" h="2171" extrusionOk="0">
                  <a:moveTo>
                    <a:pt x="2207" y="1"/>
                  </a:moveTo>
                  <a:cubicBezTo>
                    <a:pt x="2164" y="1"/>
                    <a:pt x="2125" y="8"/>
                    <a:pt x="2101" y="24"/>
                  </a:cubicBezTo>
                  <a:cubicBezTo>
                    <a:pt x="2080" y="38"/>
                    <a:pt x="2070" y="59"/>
                    <a:pt x="2073" y="84"/>
                  </a:cubicBezTo>
                  <a:cubicBezTo>
                    <a:pt x="2077" y="182"/>
                    <a:pt x="2028" y="273"/>
                    <a:pt x="1940" y="322"/>
                  </a:cubicBezTo>
                  <a:cubicBezTo>
                    <a:pt x="1930" y="325"/>
                    <a:pt x="1919" y="329"/>
                    <a:pt x="1905" y="332"/>
                  </a:cubicBezTo>
                  <a:lnTo>
                    <a:pt x="1898" y="332"/>
                  </a:lnTo>
                  <a:cubicBezTo>
                    <a:pt x="1891" y="336"/>
                    <a:pt x="1884" y="336"/>
                    <a:pt x="1877" y="336"/>
                  </a:cubicBezTo>
                  <a:lnTo>
                    <a:pt x="1867" y="336"/>
                  </a:lnTo>
                  <a:cubicBezTo>
                    <a:pt x="1860" y="336"/>
                    <a:pt x="1849" y="332"/>
                    <a:pt x="1839" y="329"/>
                  </a:cubicBezTo>
                  <a:cubicBezTo>
                    <a:pt x="1828" y="325"/>
                    <a:pt x="1818" y="322"/>
                    <a:pt x="1811" y="315"/>
                  </a:cubicBezTo>
                  <a:cubicBezTo>
                    <a:pt x="1800" y="304"/>
                    <a:pt x="1790" y="290"/>
                    <a:pt x="1783" y="273"/>
                  </a:cubicBezTo>
                  <a:lnTo>
                    <a:pt x="1783" y="269"/>
                  </a:lnTo>
                  <a:cubicBezTo>
                    <a:pt x="1783" y="262"/>
                    <a:pt x="1779" y="255"/>
                    <a:pt x="1779" y="248"/>
                  </a:cubicBezTo>
                  <a:lnTo>
                    <a:pt x="1779" y="245"/>
                  </a:lnTo>
                  <a:cubicBezTo>
                    <a:pt x="1779" y="238"/>
                    <a:pt x="1779" y="227"/>
                    <a:pt x="1779" y="220"/>
                  </a:cubicBezTo>
                  <a:cubicBezTo>
                    <a:pt x="1762" y="213"/>
                    <a:pt x="1741" y="206"/>
                    <a:pt x="1720" y="199"/>
                  </a:cubicBezTo>
                  <a:cubicBezTo>
                    <a:pt x="1688" y="185"/>
                    <a:pt x="1657" y="175"/>
                    <a:pt x="1625" y="157"/>
                  </a:cubicBezTo>
                  <a:lnTo>
                    <a:pt x="1622" y="161"/>
                  </a:lnTo>
                  <a:lnTo>
                    <a:pt x="1593" y="140"/>
                  </a:lnTo>
                  <a:cubicBezTo>
                    <a:pt x="1579" y="133"/>
                    <a:pt x="1569" y="126"/>
                    <a:pt x="1555" y="115"/>
                  </a:cubicBezTo>
                  <a:lnTo>
                    <a:pt x="1513" y="87"/>
                  </a:lnTo>
                  <a:lnTo>
                    <a:pt x="1516" y="84"/>
                  </a:lnTo>
                  <a:cubicBezTo>
                    <a:pt x="1509" y="77"/>
                    <a:pt x="1502" y="66"/>
                    <a:pt x="1495" y="59"/>
                  </a:cubicBezTo>
                  <a:cubicBezTo>
                    <a:pt x="1476" y="36"/>
                    <a:pt x="1433" y="28"/>
                    <a:pt x="1380" y="28"/>
                  </a:cubicBezTo>
                  <a:cubicBezTo>
                    <a:pt x="1315" y="28"/>
                    <a:pt x="1235" y="39"/>
                    <a:pt x="1166" y="49"/>
                  </a:cubicBezTo>
                  <a:cubicBezTo>
                    <a:pt x="1107" y="59"/>
                    <a:pt x="1047" y="66"/>
                    <a:pt x="988" y="70"/>
                  </a:cubicBezTo>
                  <a:cubicBezTo>
                    <a:pt x="965" y="73"/>
                    <a:pt x="943" y="75"/>
                    <a:pt x="920" y="75"/>
                  </a:cubicBezTo>
                  <a:cubicBezTo>
                    <a:pt x="871" y="75"/>
                    <a:pt x="823" y="68"/>
                    <a:pt x="778" y="56"/>
                  </a:cubicBezTo>
                  <a:cubicBezTo>
                    <a:pt x="755" y="48"/>
                    <a:pt x="729" y="45"/>
                    <a:pt x="702" y="45"/>
                  </a:cubicBezTo>
                  <a:cubicBezTo>
                    <a:pt x="529" y="45"/>
                    <a:pt x="277" y="191"/>
                    <a:pt x="102" y="406"/>
                  </a:cubicBezTo>
                  <a:cubicBezTo>
                    <a:pt x="1" y="528"/>
                    <a:pt x="22" y="556"/>
                    <a:pt x="64" y="626"/>
                  </a:cubicBezTo>
                  <a:cubicBezTo>
                    <a:pt x="113" y="693"/>
                    <a:pt x="137" y="773"/>
                    <a:pt x="141" y="854"/>
                  </a:cubicBezTo>
                  <a:cubicBezTo>
                    <a:pt x="137" y="921"/>
                    <a:pt x="155" y="984"/>
                    <a:pt x="186" y="1040"/>
                  </a:cubicBezTo>
                  <a:lnTo>
                    <a:pt x="197" y="1061"/>
                  </a:lnTo>
                  <a:lnTo>
                    <a:pt x="200" y="1071"/>
                  </a:lnTo>
                  <a:lnTo>
                    <a:pt x="207" y="1085"/>
                  </a:lnTo>
                  <a:lnTo>
                    <a:pt x="211" y="1096"/>
                  </a:lnTo>
                  <a:cubicBezTo>
                    <a:pt x="211" y="1099"/>
                    <a:pt x="218" y="1106"/>
                    <a:pt x="218" y="1110"/>
                  </a:cubicBezTo>
                  <a:cubicBezTo>
                    <a:pt x="221" y="1117"/>
                    <a:pt x="218" y="1120"/>
                    <a:pt x="221" y="1124"/>
                  </a:cubicBezTo>
                  <a:cubicBezTo>
                    <a:pt x="225" y="1127"/>
                    <a:pt x="225" y="1134"/>
                    <a:pt x="225" y="1138"/>
                  </a:cubicBezTo>
                  <a:cubicBezTo>
                    <a:pt x="228" y="1145"/>
                    <a:pt x="225" y="1148"/>
                    <a:pt x="225" y="1152"/>
                  </a:cubicBezTo>
                  <a:lnTo>
                    <a:pt x="225" y="1169"/>
                  </a:lnTo>
                  <a:lnTo>
                    <a:pt x="225" y="1183"/>
                  </a:lnTo>
                  <a:lnTo>
                    <a:pt x="225" y="1204"/>
                  </a:lnTo>
                  <a:lnTo>
                    <a:pt x="225" y="1218"/>
                  </a:lnTo>
                  <a:cubicBezTo>
                    <a:pt x="225" y="1222"/>
                    <a:pt x="221" y="1232"/>
                    <a:pt x="221" y="1243"/>
                  </a:cubicBezTo>
                  <a:cubicBezTo>
                    <a:pt x="218" y="1250"/>
                    <a:pt x="221" y="1253"/>
                    <a:pt x="218" y="1257"/>
                  </a:cubicBezTo>
                  <a:lnTo>
                    <a:pt x="218" y="1260"/>
                  </a:lnTo>
                  <a:cubicBezTo>
                    <a:pt x="354" y="1355"/>
                    <a:pt x="351" y="1526"/>
                    <a:pt x="347" y="1656"/>
                  </a:cubicBezTo>
                  <a:cubicBezTo>
                    <a:pt x="347" y="1694"/>
                    <a:pt x="347" y="1736"/>
                    <a:pt x="351" y="1775"/>
                  </a:cubicBezTo>
                  <a:cubicBezTo>
                    <a:pt x="354" y="1796"/>
                    <a:pt x="361" y="1799"/>
                    <a:pt x="361" y="1803"/>
                  </a:cubicBezTo>
                  <a:cubicBezTo>
                    <a:pt x="370" y="1808"/>
                    <a:pt x="383" y="1810"/>
                    <a:pt x="399" y="1810"/>
                  </a:cubicBezTo>
                  <a:cubicBezTo>
                    <a:pt x="436" y="1810"/>
                    <a:pt x="486" y="1800"/>
                    <a:pt x="522" y="1792"/>
                  </a:cubicBezTo>
                  <a:cubicBezTo>
                    <a:pt x="554" y="1785"/>
                    <a:pt x="589" y="1782"/>
                    <a:pt x="620" y="1778"/>
                  </a:cubicBezTo>
                  <a:cubicBezTo>
                    <a:pt x="626" y="1777"/>
                    <a:pt x="632" y="1776"/>
                    <a:pt x="638" y="1776"/>
                  </a:cubicBezTo>
                  <a:cubicBezTo>
                    <a:pt x="667" y="1776"/>
                    <a:pt x="694" y="1790"/>
                    <a:pt x="711" y="1810"/>
                  </a:cubicBezTo>
                  <a:cubicBezTo>
                    <a:pt x="743" y="1855"/>
                    <a:pt x="725" y="1904"/>
                    <a:pt x="711" y="1953"/>
                  </a:cubicBezTo>
                  <a:cubicBezTo>
                    <a:pt x="690" y="2013"/>
                    <a:pt x="676" y="2062"/>
                    <a:pt x="701" y="2090"/>
                  </a:cubicBezTo>
                  <a:cubicBezTo>
                    <a:pt x="711" y="2100"/>
                    <a:pt x="727" y="2104"/>
                    <a:pt x="746" y="2104"/>
                  </a:cubicBezTo>
                  <a:cubicBezTo>
                    <a:pt x="780" y="2104"/>
                    <a:pt x="825" y="2092"/>
                    <a:pt x="865" y="2083"/>
                  </a:cubicBezTo>
                  <a:cubicBezTo>
                    <a:pt x="911" y="2069"/>
                    <a:pt x="956" y="2062"/>
                    <a:pt x="1005" y="2058"/>
                  </a:cubicBezTo>
                  <a:cubicBezTo>
                    <a:pt x="1008" y="2058"/>
                    <a:pt x="1011" y="2058"/>
                    <a:pt x="1014" y="2058"/>
                  </a:cubicBezTo>
                  <a:cubicBezTo>
                    <a:pt x="1073" y="2058"/>
                    <a:pt x="1126" y="2092"/>
                    <a:pt x="1149" y="2146"/>
                  </a:cubicBezTo>
                  <a:cubicBezTo>
                    <a:pt x="1152" y="2156"/>
                    <a:pt x="1156" y="2163"/>
                    <a:pt x="1159" y="2170"/>
                  </a:cubicBezTo>
                  <a:lnTo>
                    <a:pt x="1170" y="2167"/>
                  </a:lnTo>
                  <a:lnTo>
                    <a:pt x="1201" y="2149"/>
                  </a:lnTo>
                  <a:lnTo>
                    <a:pt x="1219" y="2139"/>
                  </a:lnTo>
                  <a:lnTo>
                    <a:pt x="1240" y="2128"/>
                  </a:lnTo>
                  <a:lnTo>
                    <a:pt x="1254" y="2118"/>
                  </a:lnTo>
                  <a:lnTo>
                    <a:pt x="1271" y="2107"/>
                  </a:lnTo>
                  <a:lnTo>
                    <a:pt x="1285" y="2100"/>
                  </a:lnTo>
                  <a:lnTo>
                    <a:pt x="1299" y="2090"/>
                  </a:lnTo>
                  <a:lnTo>
                    <a:pt x="1310" y="2083"/>
                  </a:lnTo>
                  <a:lnTo>
                    <a:pt x="1324" y="2076"/>
                  </a:lnTo>
                  <a:lnTo>
                    <a:pt x="1334" y="2069"/>
                  </a:lnTo>
                  <a:lnTo>
                    <a:pt x="1345" y="2058"/>
                  </a:lnTo>
                  <a:lnTo>
                    <a:pt x="1352" y="2051"/>
                  </a:lnTo>
                  <a:lnTo>
                    <a:pt x="1362" y="2044"/>
                  </a:lnTo>
                  <a:lnTo>
                    <a:pt x="1369" y="2041"/>
                  </a:lnTo>
                  <a:lnTo>
                    <a:pt x="1376" y="2034"/>
                  </a:lnTo>
                  <a:lnTo>
                    <a:pt x="1380" y="2030"/>
                  </a:lnTo>
                  <a:lnTo>
                    <a:pt x="1387" y="2023"/>
                  </a:lnTo>
                  <a:lnTo>
                    <a:pt x="1390" y="2020"/>
                  </a:lnTo>
                  <a:lnTo>
                    <a:pt x="1397" y="2013"/>
                  </a:lnTo>
                  <a:lnTo>
                    <a:pt x="1401" y="2006"/>
                  </a:lnTo>
                  <a:lnTo>
                    <a:pt x="1404" y="2002"/>
                  </a:lnTo>
                  <a:lnTo>
                    <a:pt x="1404" y="1999"/>
                  </a:lnTo>
                  <a:lnTo>
                    <a:pt x="1404" y="1995"/>
                  </a:lnTo>
                  <a:cubicBezTo>
                    <a:pt x="1404" y="1967"/>
                    <a:pt x="1418" y="1939"/>
                    <a:pt x="1439" y="1922"/>
                  </a:cubicBezTo>
                  <a:cubicBezTo>
                    <a:pt x="1464" y="1903"/>
                    <a:pt x="1496" y="1895"/>
                    <a:pt x="1536" y="1895"/>
                  </a:cubicBezTo>
                  <a:cubicBezTo>
                    <a:pt x="1591" y="1895"/>
                    <a:pt x="1663" y="1910"/>
                    <a:pt x="1758" y="1932"/>
                  </a:cubicBezTo>
                  <a:cubicBezTo>
                    <a:pt x="1821" y="1946"/>
                    <a:pt x="1936" y="1975"/>
                    <a:pt x="1998" y="1975"/>
                  </a:cubicBezTo>
                  <a:cubicBezTo>
                    <a:pt x="2015" y="1975"/>
                    <a:pt x="2028" y="1973"/>
                    <a:pt x="2035" y="1967"/>
                  </a:cubicBezTo>
                  <a:cubicBezTo>
                    <a:pt x="2042" y="1939"/>
                    <a:pt x="1982" y="1834"/>
                    <a:pt x="1947" y="1778"/>
                  </a:cubicBezTo>
                  <a:cubicBezTo>
                    <a:pt x="1881" y="1656"/>
                    <a:pt x="1821" y="1554"/>
                    <a:pt x="1877" y="1481"/>
                  </a:cubicBezTo>
                  <a:cubicBezTo>
                    <a:pt x="1904" y="1445"/>
                    <a:pt x="1946" y="1433"/>
                    <a:pt x="1992" y="1433"/>
                  </a:cubicBezTo>
                  <a:cubicBezTo>
                    <a:pt x="2030" y="1433"/>
                    <a:pt x="2071" y="1441"/>
                    <a:pt x="2108" y="1449"/>
                  </a:cubicBezTo>
                  <a:cubicBezTo>
                    <a:pt x="2175" y="1466"/>
                    <a:pt x="2226" y="1474"/>
                    <a:pt x="2265" y="1474"/>
                  </a:cubicBezTo>
                  <a:cubicBezTo>
                    <a:pt x="2372" y="1474"/>
                    <a:pt x="2395" y="1416"/>
                    <a:pt x="2434" y="1327"/>
                  </a:cubicBezTo>
                  <a:cubicBezTo>
                    <a:pt x="2458" y="1267"/>
                    <a:pt x="2486" y="1211"/>
                    <a:pt x="2525" y="1162"/>
                  </a:cubicBezTo>
                  <a:cubicBezTo>
                    <a:pt x="2581" y="1103"/>
                    <a:pt x="2644" y="1050"/>
                    <a:pt x="2710" y="1005"/>
                  </a:cubicBezTo>
                  <a:cubicBezTo>
                    <a:pt x="2917" y="854"/>
                    <a:pt x="3004" y="770"/>
                    <a:pt x="2903" y="616"/>
                  </a:cubicBezTo>
                  <a:cubicBezTo>
                    <a:pt x="2885" y="591"/>
                    <a:pt x="2871" y="563"/>
                    <a:pt x="2857" y="539"/>
                  </a:cubicBezTo>
                  <a:cubicBezTo>
                    <a:pt x="2770" y="378"/>
                    <a:pt x="2717" y="196"/>
                    <a:pt x="2707" y="14"/>
                  </a:cubicBezTo>
                  <a:lnTo>
                    <a:pt x="2703" y="14"/>
                  </a:lnTo>
                  <a:cubicBezTo>
                    <a:pt x="2686" y="14"/>
                    <a:pt x="2672" y="17"/>
                    <a:pt x="2658" y="24"/>
                  </a:cubicBezTo>
                  <a:cubicBezTo>
                    <a:pt x="2644" y="28"/>
                    <a:pt x="2630" y="31"/>
                    <a:pt x="2616" y="35"/>
                  </a:cubicBezTo>
                  <a:lnTo>
                    <a:pt x="2605" y="38"/>
                  </a:lnTo>
                  <a:cubicBezTo>
                    <a:pt x="2591" y="42"/>
                    <a:pt x="2577" y="45"/>
                    <a:pt x="2563" y="45"/>
                  </a:cubicBezTo>
                  <a:lnTo>
                    <a:pt x="2556" y="45"/>
                  </a:lnTo>
                  <a:cubicBezTo>
                    <a:pt x="2546" y="45"/>
                    <a:pt x="2532" y="49"/>
                    <a:pt x="2521" y="49"/>
                  </a:cubicBezTo>
                  <a:lnTo>
                    <a:pt x="2465" y="49"/>
                  </a:lnTo>
                  <a:cubicBezTo>
                    <a:pt x="2455" y="49"/>
                    <a:pt x="2444" y="49"/>
                    <a:pt x="2434" y="45"/>
                  </a:cubicBezTo>
                  <a:lnTo>
                    <a:pt x="2427" y="45"/>
                  </a:lnTo>
                  <a:cubicBezTo>
                    <a:pt x="2416" y="45"/>
                    <a:pt x="2406" y="42"/>
                    <a:pt x="2395" y="38"/>
                  </a:cubicBezTo>
                  <a:lnTo>
                    <a:pt x="2388" y="38"/>
                  </a:lnTo>
                  <a:cubicBezTo>
                    <a:pt x="2378" y="35"/>
                    <a:pt x="2367" y="31"/>
                    <a:pt x="2357" y="28"/>
                  </a:cubicBezTo>
                  <a:cubicBezTo>
                    <a:pt x="2313" y="11"/>
                    <a:pt x="2258" y="1"/>
                    <a:pt x="2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3" name="Google Shape;5440;p64">
              <a:extLst>
                <a:ext uri="{FF2B5EF4-FFF2-40B4-BE49-F238E27FC236}">
                  <a16:creationId xmlns:a16="http://schemas.microsoft.com/office/drawing/2014/main" id="{34B9809B-5965-C756-FEEF-4B6F879376C0}"/>
                </a:ext>
              </a:extLst>
            </p:cNvPr>
            <p:cNvSpPr/>
            <p:nvPr/>
          </p:nvSpPr>
          <p:spPr>
            <a:xfrm>
              <a:off x="2816708" y="19650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4" name="Google Shape;5441;p64">
              <a:extLst>
                <a:ext uri="{FF2B5EF4-FFF2-40B4-BE49-F238E27FC236}">
                  <a16:creationId xmlns:a16="http://schemas.microsoft.com/office/drawing/2014/main" id="{47FCA9B0-4968-8358-7BF1-ECDC5FAEE39B}"/>
                </a:ext>
              </a:extLst>
            </p:cNvPr>
            <p:cNvSpPr/>
            <p:nvPr/>
          </p:nvSpPr>
          <p:spPr>
            <a:xfrm>
              <a:off x="2815798" y="1965563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5" name="Google Shape;5442;p64">
              <a:extLst>
                <a:ext uri="{FF2B5EF4-FFF2-40B4-BE49-F238E27FC236}">
                  <a16:creationId xmlns:a16="http://schemas.microsoft.com/office/drawing/2014/main" id="{5F26308E-C0C9-9DC6-FD09-E35FE4D17A83}"/>
                </a:ext>
              </a:extLst>
            </p:cNvPr>
            <p:cNvSpPr/>
            <p:nvPr/>
          </p:nvSpPr>
          <p:spPr>
            <a:xfrm>
              <a:off x="2817033" y="1964802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6" name="Google Shape;5443;p64">
              <a:extLst>
                <a:ext uri="{FF2B5EF4-FFF2-40B4-BE49-F238E27FC236}">
                  <a16:creationId xmlns:a16="http://schemas.microsoft.com/office/drawing/2014/main" id="{9106845E-C460-E539-365F-CD106C01158E}"/>
                </a:ext>
              </a:extLst>
            </p:cNvPr>
            <p:cNvSpPr/>
            <p:nvPr/>
          </p:nvSpPr>
          <p:spPr>
            <a:xfrm>
              <a:off x="2815133" y="1965848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7" name="Google Shape;5444;p64">
              <a:extLst>
                <a:ext uri="{FF2B5EF4-FFF2-40B4-BE49-F238E27FC236}">
                  <a16:creationId xmlns:a16="http://schemas.microsoft.com/office/drawing/2014/main" id="{B1F0AD8F-FFF0-6E89-31AA-5E43A6EF4FEC}"/>
                </a:ext>
              </a:extLst>
            </p:cNvPr>
            <p:cNvSpPr/>
            <p:nvPr/>
          </p:nvSpPr>
          <p:spPr>
            <a:xfrm>
              <a:off x="2816273" y="1965277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8" name="Google Shape;5445;p64">
              <a:extLst>
                <a:ext uri="{FF2B5EF4-FFF2-40B4-BE49-F238E27FC236}">
                  <a16:creationId xmlns:a16="http://schemas.microsoft.com/office/drawing/2014/main" id="{B24D48C6-5943-CD11-FA86-5937843FE3D9}"/>
                </a:ext>
              </a:extLst>
            </p:cNvPr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9" name="Google Shape;5446;p64">
              <a:extLst>
                <a:ext uri="{FF2B5EF4-FFF2-40B4-BE49-F238E27FC236}">
                  <a16:creationId xmlns:a16="http://schemas.microsoft.com/office/drawing/2014/main" id="{998F9AD1-1F1F-CFD3-C0DE-9B0FA0855B6F}"/>
                </a:ext>
              </a:extLst>
            </p:cNvPr>
            <p:cNvSpPr/>
            <p:nvPr/>
          </p:nvSpPr>
          <p:spPr>
            <a:xfrm>
              <a:off x="2838147" y="1943839"/>
              <a:ext cx="625" cy="1059"/>
            </a:xfrm>
            <a:custGeom>
              <a:avLst/>
              <a:gdLst/>
              <a:ahLst/>
              <a:cxnLst/>
              <a:rect l="l" t="t" r="r" b="b"/>
              <a:pathLst>
                <a:path w="46" h="78" extrusionOk="0">
                  <a:moveTo>
                    <a:pt x="0" y="0"/>
                  </a:moveTo>
                  <a:cubicBezTo>
                    <a:pt x="14" y="28"/>
                    <a:pt x="28" y="53"/>
                    <a:pt x="46" y="77"/>
                  </a:cubicBezTo>
                  <a:cubicBezTo>
                    <a:pt x="28" y="53"/>
                    <a:pt x="14" y="2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0" name="Google Shape;5447;p64">
              <a:extLst>
                <a:ext uri="{FF2B5EF4-FFF2-40B4-BE49-F238E27FC236}">
                  <a16:creationId xmlns:a16="http://schemas.microsoft.com/office/drawing/2014/main" id="{9FCFC5DB-83E0-8A01-6EA1-7937448EFB95}"/>
                </a:ext>
              </a:extLst>
            </p:cNvPr>
            <p:cNvSpPr/>
            <p:nvPr/>
          </p:nvSpPr>
          <p:spPr>
            <a:xfrm>
              <a:off x="2818364" y="196370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1" name="Google Shape;5448;p64">
              <a:extLst>
                <a:ext uri="{FF2B5EF4-FFF2-40B4-BE49-F238E27FC236}">
                  <a16:creationId xmlns:a16="http://schemas.microsoft.com/office/drawing/2014/main" id="{832834D4-BD56-801E-0CC3-A9996D21AB24}"/>
                </a:ext>
              </a:extLst>
            </p:cNvPr>
            <p:cNvSpPr/>
            <p:nvPr/>
          </p:nvSpPr>
          <p:spPr>
            <a:xfrm>
              <a:off x="2818364" y="19637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2" name="Google Shape;5449;p64">
              <a:extLst>
                <a:ext uri="{FF2B5EF4-FFF2-40B4-BE49-F238E27FC236}">
                  <a16:creationId xmlns:a16="http://schemas.microsoft.com/office/drawing/2014/main" id="{E2FA5F97-F60A-B64E-4D9F-318022D55DAE}"/>
                </a:ext>
              </a:extLst>
            </p:cNvPr>
            <p:cNvSpPr/>
            <p:nvPr/>
          </p:nvSpPr>
          <p:spPr>
            <a:xfrm>
              <a:off x="2836096" y="1936710"/>
              <a:ext cx="2064" cy="7142"/>
            </a:xfrm>
            <a:custGeom>
              <a:avLst/>
              <a:gdLst/>
              <a:ahLst/>
              <a:cxnLst/>
              <a:rect l="l" t="t" r="r" b="b"/>
              <a:pathLst>
                <a:path w="152" h="526" extrusionOk="0">
                  <a:moveTo>
                    <a:pt x="1" y="0"/>
                  </a:moveTo>
                  <a:lnTo>
                    <a:pt x="1" y="0"/>
                  </a:lnTo>
                  <a:cubicBezTo>
                    <a:pt x="11" y="186"/>
                    <a:pt x="64" y="364"/>
                    <a:pt x="151" y="525"/>
                  </a:cubicBezTo>
                  <a:cubicBezTo>
                    <a:pt x="64" y="364"/>
                    <a:pt x="11" y="18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3" name="Google Shape;5450;p64">
              <a:extLst>
                <a:ext uri="{FF2B5EF4-FFF2-40B4-BE49-F238E27FC236}">
                  <a16:creationId xmlns:a16="http://schemas.microsoft.com/office/drawing/2014/main" id="{94436DDE-8068-DC02-066E-C7B5E9672D97}"/>
                </a:ext>
              </a:extLst>
            </p:cNvPr>
            <p:cNvSpPr/>
            <p:nvPr/>
          </p:nvSpPr>
          <p:spPr>
            <a:xfrm>
              <a:off x="2817373" y="19646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4" name="Google Shape;5451;p64">
              <a:extLst>
                <a:ext uri="{FF2B5EF4-FFF2-40B4-BE49-F238E27FC236}">
                  <a16:creationId xmlns:a16="http://schemas.microsoft.com/office/drawing/2014/main" id="{CA19E20C-EDB2-C35A-3A50-653FDC8E842F}"/>
                </a:ext>
              </a:extLst>
            </p:cNvPr>
            <p:cNvSpPr/>
            <p:nvPr/>
          </p:nvSpPr>
          <p:spPr>
            <a:xfrm>
              <a:off x="2818364" y="1962616"/>
              <a:ext cx="543" cy="1005"/>
            </a:xfrm>
            <a:custGeom>
              <a:avLst/>
              <a:gdLst/>
              <a:ahLst/>
              <a:cxnLst/>
              <a:rect l="l" t="t" r="r" b="b"/>
              <a:pathLst>
                <a:path w="40" h="74" extrusionOk="0">
                  <a:moveTo>
                    <a:pt x="1" y="74"/>
                  </a:moveTo>
                  <a:cubicBezTo>
                    <a:pt x="4" y="46"/>
                    <a:pt x="15" y="18"/>
                    <a:pt x="39" y="0"/>
                  </a:cubicBezTo>
                  <a:cubicBezTo>
                    <a:pt x="15" y="18"/>
                    <a:pt x="4" y="46"/>
                    <a:pt x="1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5" name="Google Shape;5452;p64">
              <a:extLst>
                <a:ext uri="{FF2B5EF4-FFF2-40B4-BE49-F238E27FC236}">
                  <a16:creationId xmlns:a16="http://schemas.microsoft.com/office/drawing/2014/main" id="{608F0348-7524-9A87-B744-1CF12EEC12F3}"/>
                </a:ext>
              </a:extLst>
            </p:cNvPr>
            <p:cNvSpPr/>
            <p:nvPr/>
          </p:nvSpPr>
          <p:spPr>
            <a:xfrm>
              <a:off x="2818133" y="19639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6" name="Google Shape;5453;p64">
              <a:extLst>
                <a:ext uri="{FF2B5EF4-FFF2-40B4-BE49-F238E27FC236}">
                  <a16:creationId xmlns:a16="http://schemas.microsoft.com/office/drawing/2014/main" id="{DC9C090E-FE7B-05B7-2D1F-F1B9A15C6E86}"/>
                </a:ext>
              </a:extLst>
            </p:cNvPr>
            <p:cNvSpPr/>
            <p:nvPr/>
          </p:nvSpPr>
          <p:spPr>
            <a:xfrm>
              <a:off x="2817848" y="19642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7" name="Google Shape;5454;p64">
              <a:extLst>
                <a:ext uri="{FF2B5EF4-FFF2-40B4-BE49-F238E27FC236}">
                  <a16:creationId xmlns:a16="http://schemas.microsoft.com/office/drawing/2014/main" id="{1EA9CE87-E5A4-6DFD-44E7-095438209509}"/>
                </a:ext>
              </a:extLst>
            </p:cNvPr>
            <p:cNvSpPr/>
            <p:nvPr/>
          </p:nvSpPr>
          <p:spPr>
            <a:xfrm>
              <a:off x="2817604" y="19644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8" name="Google Shape;5455;p64">
              <a:extLst>
                <a:ext uri="{FF2B5EF4-FFF2-40B4-BE49-F238E27FC236}">
                  <a16:creationId xmlns:a16="http://schemas.microsoft.com/office/drawing/2014/main" id="{AE49A607-285A-5C27-0E32-3548D1CB4B8C}"/>
                </a:ext>
              </a:extLst>
            </p:cNvPr>
            <p:cNvSpPr/>
            <p:nvPr/>
          </p:nvSpPr>
          <p:spPr>
            <a:xfrm>
              <a:off x="2817984" y="196408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9" name="Google Shape;5456;p64">
              <a:extLst>
                <a:ext uri="{FF2B5EF4-FFF2-40B4-BE49-F238E27FC236}">
                  <a16:creationId xmlns:a16="http://schemas.microsoft.com/office/drawing/2014/main" id="{25D0C864-E7CA-24BB-2748-139D7D846FB8}"/>
                </a:ext>
              </a:extLst>
            </p:cNvPr>
            <p:cNvSpPr/>
            <p:nvPr/>
          </p:nvSpPr>
          <p:spPr>
            <a:xfrm>
              <a:off x="2818228" y="196385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0" name="Google Shape;5457;p64">
              <a:extLst>
                <a:ext uri="{FF2B5EF4-FFF2-40B4-BE49-F238E27FC236}">
                  <a16:creationId xmlns:a16="http://schemas.microsoft.com/office/drawing/2014/main" id="{B79B2606-D7FB-75B9-3413-7E5D96A0F9A8}"/>
                </a:ext>
              </a:extLst>
            </p:cNvPr>
            <p:cNvSpPr/>
            <p:nvPr/>
          </p:nvSpPr>
          <p:spPr>
            <a:xfrm>
              <a:off x="2818323" y="196375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1" name="Google Shape;5458;p64">
              <a:extLst>
                <a:ext uri="{FF2B5EF4-FFF2-40B4-BE49-F238E27FC236}">
                  <a16:creationId xmlns:a16="http://schemas.microsoft.com/office/drawing/2014/main" id="{8B7504E7-338E-A32E-B9E2-184153491AA5}"/>
                </a:ext>
              </a:extLst>
            </p:cNvPr>
            <p:cNvSpPr/>
            <p:nvPr/>
          </p:nvSpPr>
          <p:spPr>
            <a:xfrm>
              <a:off x="2784244" y="1875299"/>
              <a:ext cx="52436" cy="63936"/>
            </a:xfrm>
            <a:custGeom>
              <a:avLst/>
              <a:gdLst/>
              <a:ahLst/>
              <a:cxnLst/>
              <a:rect l="l" t="t" r="r" b="b"/>
              <a:pathLst>
                <a:path w="3862" h="4709" extrusionOk="0">
                  <a:moveTo>
                    <a:pt x="732" y="0"/>
                  </a:moveTo>
                  <a:cubicBezTo>
                    <a:pt x="708" y="46"/>
                    <a:pt x="690" y="140"/>
                    <a:pt x="708" y="165"/>
                  </a:cubicBezTo>
                  <a:cubicBezTo>
                    <a:pt x="771" y="231"/>
                    <a:pt x="844" y="518"/>
                    <a:pt x="774" y="644"/>
                  </a:cubicBezTo>
                  <a:cubicBezTo>
                    <a:pt x="753" y="683"/>
                    <a:pt x="711" y="711"/>
                    <a:pt x="669" y="711"/>
                  </a:cubicBezTo>
                  <a:lnTo>
                    <a:pt x="638" y="711"/>
                  </a:lnTo>
                  <a:lnTo>
                    <a:pt x="620" y="707"/>
                  </a:lnTo>
                  <a:cubicBezTo>
                    <a:pt x="501" y="679"/>
                    <a:pt x="448" y="585"/>
                    <a:pt x="410" y="515"/>
                  </a:cubicBezTo>
                  <a:cubicBezTo>
                    <a:pt x="399" y="497"/>
                    <a:pt x="389" y="480"/>
                    <a:pt x="375" y="462"/>
                  </a:cubicBezTo>
                  <a:lnTo>
                    <a:pt x="371" y="469"/>
                  </a:lnTo>
                  <a:lnTo>
                    <a:pt x="357" y="487"/>
                  </a:lnTo>
                  <a:lnTo>
                    <a:pt x="347" y="497"/>
                  </a:lnTo>
                  <a:lnTo>
                    <a:pt x="336" y="515"/>
                  </a:lnTo>
                  <a:lnTo>
                    <a:pt x="326" y="525"/>
                  </a:lnTo>
                  <a:lnTo>
                    <a:pt x="315" y="543"/>
                  </a:lnTo>
                  <a:lnTo>
                    <a:pt x="305" y="553"/>
                  </a:lnTo>
                  <a:lnTo>
                    <a:pt x="291" y="571"/>
                  </a:lnTo>
                  <a:lnTo>
                    <a:pt x="284" y="581"/>
                  </a:lnTo>
                  <a:lnTo>
                    <a:pt x="270" y="599"/>
                  </a:lnTo>
                  <a:lnTo>
                    <a:pt x="263" y="609"/>
                  </a:lnTo>
                  <a:lnTo>
                    <a:pt x="252" y="627"/>
                  </a:lnTo>
                  <a:lnTo>
                    <a:pt x="242" y="637"/>
                  </a:lnTo>
                  <a:lnTo>
                    <a:pt x="231" y="655"/>
                  </a:lnTo>
                  <a:lnTo>
                    <a:pt x="224" y="665"/>
                  </a:lnTo>
                  <a:lnTo>
                    <a:pt x="214" y="679"/>
                  </a:lnTo>
                  <a:lnTo>
                    <a:pt x="207" y="693"/>
                  </a:lnTo>
                  <a:lnTo>
                    <a:pt x="200" y="704"/>
                  </a:lnTo>
                  <a:lnTo>
                    <a:pt x="193" y="718"/>
                  </a:lnTo>
                  <a:lnTo>
                    <a:pt x="186" y="728"/>
                  </a:lnTo>
                  <a:lnTo>
                    <a:pt x="179" y="742"/>
                  </a:lnTo>
                  <a:lnTo>
                    <a:pt x="172" y="753"/>
                  </a:lnTo>
                  <a:lnTo>
                    <a:pt x="165" y="763"/>
                  </a:lnTo>
                  <a:lnTo>
                    <a:pt x="161" y="774"/>
                  </a:lnTo>
                  <a:lnTo>
                    <a:pt x="154" y="784"/>
                  </a:lnTo>
                  <a:lnTo>
                    <a:pt x="151" y="795"/>
                  </a:lnTo>
                  <a:lnTo>
                    <a:pt x="147" y="805"/>
                  </a:lnTo>
                  <a:lnTo>
                    <a:pt x="144" y="812"/>
                  </a:lnTo>
                  <a:cubicBezTo>
                    <a:pt x="144" y="816"/>
                    <a:pt x="144" y="819"/>
                    <a:pt x="144" y="823"/>
                  </a:cubicBezTo>
                  <a:lnTo>
                    <a:pt x="144" y="826"/>
                  </a:lnTo>
                  <a:cubicBezTo>
                    <a:pt x="144" y="830"/>
                    <a:pt x="144" y="833"/>
                    <a:pt x="144" y="840"/>
                  </a:cubicBezTo>
                  <a:cubicBezTo>
                    <a:pt x="144" y="851"/>
                    <a:pt x="140" y="865"/>
                    <a:pt x="137" y="875"/>
                  </a:cubicBezTo>
                  <a:cubicBezTo>
                    <a:pt x="137" y="879"/>
                    <a:pt x="137" y="882"/>
                    <a:pt x="133" y="886"/>
                  </a:cubicBezTo>
                  <a:cubicBezTo>
                    <a:pt x="133" y="893"/>
                    <a:pt x="130" y="900"/>
                    <a:pt x="126" y="907"/>
                  </a:cubicBezTo>
                  <a:lnTo>
                    <a:pt x="119" y="921"/>
                  </a:lnTo>
                  <a:cubicBezTo>
                    <a:pt x="116" y="924"/>
                    <a:pt x="112" y="931"/>
                    <a:pt x="109" y="938"/>
                  </a:cubicBezTo>
                  <a:lnTo>
                    <a:pt x="102" y="945"/>
                  </a:lnTo>
                  <a:cubicBezTo>
                    <a:pt x="95" y="952"/>
                    <a:pt x="91" y="956"/>
                    <a:pt x="84" y="963"/>
                  </a:cubicBezTo>
                  <a:lnTo>
                    <a:pt x="77" y="970"/>
                  </a:lnTo>
                  <a:cubicBezTo>
                    <a:pt x="56" y="987"/>
                    <a:pt x="28" y="1005"/>
                    <a:pt x="0" y="1015"/>
                  </a:cubicBezTo>
                  <a:lnTo>
                    <a:pt x="7" y="1019"/>
                  </a:lnTo>
                  <a:lnTo>
                    <a:pt x="11" y="1026"/>
                  </a:lnTo>
                  <a:lnTo>
                    <a:pt x="18" y="1033"/>
                  </a:lnTo>
                  <a:lnTo>
                    <a:pt x="25" y="1040"/>
                  </a:lnTo>
                  <a:lnTo>
                    <a:pt x="32" y="1047"/>
                  </a:lnTo>
                  <a:lnTo>
                    <a:pt x="35" y="1054"/>
                  </a:lnTo>
                  <a:lnTo>
                    <a:pt x="39" y="1057"/>
                  </a:lnTo>
                  <a:lnTo>
                    <a:pt x="49" y="1068"/>
                  </a:lnTo>
                  <a:cubicBezTo>
                    <a:pt x="81" y="1117"/>
                    <a:pt x="77" y="1184"/>
                    <a:pt x="74" y="1257"/>
                  </a:cubicBezTo>
                  <a:cubicBezTo>
                    <a:pt x="63" y="1338"/>
                    <a:pt x="74" y="1422"/>
                    <a:pt x="98" y="1499"/>
                  </a:cubicBezTo>
                  <a:cubicBezTo>
                    <a:pt x="105" y="1509"/>
                    <a:pt x="108" y="1516"/>
                    <a:pt x="128" y="1516"/>
                  </a:cubicBezTo>
                  <a:cubicBezTo>
                    <a:pt x="140" y="1516"/>
                    <a:pt x="160" y="1513"/>
                    <a:pt x="193" y="1506"/>
                  </a:cubicBezTo>
                  <a:cubicBezTo>
                    <a:pt x="220" y="1501"/>
                    <a:pt x="253" y="1495"/>
                    <a:pt x="287" y="1495"/>
                  </a:cubicBezTo>
                  <a:cubicBezTo>
                    <a:pt x="360" y="1495"/>
                    <a:pt x="438" y="1522"/>
                    <a:pt x="476" y="1646"/>
                  </a:cubicBezTo>
                  <a:cubicBezTo>
                    <a:pt x="522" y="1803"/>
                    <a:pt x="494" y="1915"/>
                    <a:pt x="466" y="2024"/>
                  </a:cubicBezTo>
                  <a:cubicBezTo>
                    <a:pt x="445" y="2097"/>
                    <a:pt x="434" y="2171"/>
                    <a:pt x="431" y="2248"/>
                  </a:cubicBezTo>
                  <a:cubicBezTo>
                    <a:pt x="434" y="2342"/>
                    <a:pt x="399" y="2433"/>
                    <a:pt x="333" y="2503"/>
                  </a:cubicBezTo>
                  <a:cubicBezTo>
                    <a:pt x="294" y="2552"/>
                    <a:pt x="273" y="2577"/>
                    <a:pt x="291" y="2654"/>
                  </a:cubicBezTo>
                  <a:cubicBezTo>
                    <a:pt x="291" y="2664"/>
                    <a:pt x="294" y="2675"/>
                    <a:pt x="301" y="2682"/>
                  </a:cubicBezTo>
                  <a:cubicBezTo>
                    <a:pt x="303" y="2683"/>
                    <a:pt x="306" y="2683"/>
                    <a:pt x="308" y="2683"/>
                  </a:cubicBezTo>
                  <a:cubicBezTo>
                    <a:pt x="356" y="2683"/>
                    <a:pt x="505" y="2567"/>
                    <a:pt x="578" y="2507"/>
                  </a:cubicBezTo>
                  <a:cubicBezTo>
                    <a:pt x="609" y="2479"/>
                    <a:pt x="645" y="2451"/>
                    <a:pt x="676" y="2430"/>
                  </a:cubicBezTo>
                  <a:cubicBezTo>
                    <a:pt x="795" y="2340"/>
                    <a:pt x="892" y="2315"/>
                    <a:pt x="960" y="2315"/>
                  </a:cubicBezTo>
                  <a:cubicBezTo>
                    <a:pt x="974" y="2315"/>
                    <a:pt x="987" y="2316"/>
                    <a:pt x="998" y="2318"/>
                  </a:cubicBezTo>
                  <a:cubicBezTo>
                    <a:pt x="1065" y="2328"/>
                    <a:pt x="1124" y="2363"/>
                    <a:pt x="1166" y="2419"/>
                  </a:cubicBezTo>
                  <a:cubicBezTo>
                    <a:pt x="1182" y="2430"/>
                    <a:pt x="1203" y="2436"/>
                    <a:pt x="1222" y="2436"/>
                  </a:cubicBezTo>
                  <a:cubicBezTo>
                    <a:pt x="1230" y="2436"/>
                    <a:pt x="1237" y="2435"/>
                    <a:pt x="1243" y="2433"/>
                  </a:cubicBezTo>
                  <a:cubicBezTo>
                    <a:pt x="1313" y="2423"/>
                    <a:pt x="1383" y="2381"/>
                    <a:pt x="1401" y="2339"/>
                  </a:cubicBezTo>
                  <a:cubicBezTo>
                    <a:pt x="1443" y="2237"/>
                    <a:pt x="1583" y="2206"/>
                    <a:pt x="1642" y="2195"/>
                  </a:cubicBezTo>
                  <a:cubicBezTo>
                    <a:pt x="1670" y="2191"/>
                    <a:pt x="1701" y="2189"/>
                    <a:pt x="1732" y="2189"/>
                  </a:cubicBezTo>
                  <a:cubicBezTo>
                    <a:pt x="1839" y="2189"/>
                    <a:pt x="1957" y="2216"/>
                    <a:pt x="2027" y="2297"/>
                  </a:cubicBezTo>
                  <a:lnTo>
                    <a:pt x="2083" y="2367"/>
                  </a:lnTo>
                  <a:cubicBezTo>
                    <a:pt x="2178" y="2486"/>
                    <a:pt x="2279" y="2608"/>
                    <a:pt x="2405" y="2682"/>
                  </a:cubicBezTo>
                  <a:cubicBezTo>
                    <a:pt x="2531" y="2752"/>
                    <a:pt x="2493" y="2927"/>
                    <a:pt x="2458" y="3098"/>
                  </a:cubicBezTo>
                  <a:cubicBezTo>
                    <a:pt x="2444" y="3172"/>
                    <a:pt x="2419" y="3305"/>
                    <a:pt x="2437" y="3330"/>
                  </a:cubicBezTo>
                  <a:cubicBezTo>
                    <a:pt x="2626" y="3382"/>
                    <a:pt x="2885" y="3662"/>
                    <a:pt x="2857" y="3981"/>
                  </a:cubicBezTo>
                  <a:cubicBezTo>
                    <a:pt x="2854" y="4051"/>
                    <a:pt x="2861" y="4121"/>
                    <a:pt x="2871" y="4187"/>
                  </a:cubicBezTo>
                  <a:cubicBezTo>
                    <a:pt x="2871" y="4201"/>
                    <a:pt x="2875" y="4215"/>
                    <a:pt x="2878" y="4229"/>
                  </a:cubicBezTo>
                  <a:lnTo>
                    <a:pt x="2878" y="4236"/>
                  </a:lnTo>
                  <a:cubicBezTo>
                    <a:pt x="2878" y="4250"/>
                    <a:pt x="2882" y="4264"/>
                    <a:pt x="2882" y="4278"/>
                  </a:cubicBezTo>
                  <a:lnTo>
                    <a:pt x="2882" y="4285"/>
                  </a:lnTo>
                  <a:cubicBezTo>
                    <a:pt x="2882" y="4299"/>
                    <a:pt x="2885" y="4313"/>
                    <a:pt x="2885" y="4327"/>
                  </a:cubicBezTo>
                  <a:lnTo>
                    <a:pt x="2885" y="4334"/>
                  </a:lnTo>
                  <a:lnTo>
                    <a:pt x="2885" y="4376"/>
                  </a:lnTo>
                  <a:lnTo>
                    <a:pt x="2885" y="4380"/>
                  </a:lnTo>
                  <a:cubicBezTo>
                    <a:pt x="2885" y="4394"/>
                    <a:pt x="2882" y="4408"/>
                    <a:pt x="2882" y="4425"/>
                  </a:cubicBezTo>
                  <a:lnTo>
                    <a:pt x="2882" y="4432"/>
                  </a:lnTo>
                  <a:cubicBezTo>
                    <a:pt x="2878" y="4446"/>
                    <a:pt x="2875" y="4460"/>
                    <a:pt x="2871" y="4474"/>
                  </a:cubicBezTo>
                  <a:lnTo>
                    <a:pt x="2868" y="4485"/>
                  </a:lnTo>
                  <a:cubicBezTo>
                    <a:pt x="2864" y="4499"/>
                    <a:pt x="2857" y="4513"/>
                    <a:pt x="2850" y="4527"/>
                  </a:cubicBezTo>
                  <a:lnTo>
                    <a:pt x="2850" y="4530"/>
                  </a:lnTo>
                  <a:cubicBezTo>
                    <a:pt x="2843" y="4544"/>
                    <a:pt x="2836" y="4558"/>
                    <a:pt x="2826" y="4576"/>
                  </a:cubicBezTo>
                  <a:lnTo>
                    <a:pt x="2826" y="4579"/>
                  </a:lnTo>
                  <a:cubicBezTo>
                    <a:pt x="2843" y="4586"/>
                    <a:pt x="2861" y="4593"/>
                    <a:pt x="2882" y="4600"/>
                  </a:cubicBezTo>
                  <a:cubicBezTo>
                    <a:pt x="2924" y="4614"/>
                    <a:pt x="2962" y="4635"/>
                    <a:pt x="2997" y="4667"/>
                  </a:cubicBezTo>
                  <a:cubicBezTo>
                    <a:pt x="3011" y="4677"/>
                    <a:pt x="3018" y="4695"/>
                    <a:pt x="3025" y="4709"/>
                  </a:cubicBezTo>
                  <a:lnTo>
                    <a:pt x="3029" y="4702"/>
                  </a:lnTo>
                  <a:cubicBezTo>
                    <a:pt x="3043" y="4684"/>
                    <a:pt x="3050" y="4663"/>
                    <a:pt x="3053" y="4646"/>
                  </a:cubicBezTo>
                  <a:cubicBezTo>
                    <a:pt x="3057" y="4632"/>
                    <a:pt x="3057" y="4621"/>
                    <a:pt x="3057" y="4611"/>
                  </a:cubicBezTo>
                  <a:cubicBezTo>
                    <a:pt x="3053" y="4544"/>
                    <a:pt x="3088" y="4478"/>
                    <a:pt x="3144" y="4443"/>
                  </a:cubicBezTo>
                  <a:cubicBezTo>
                    <a:pt x="3194" y="4409"/>
                    <a:pt x="3259" y="4397"/>
                    <a:pt x="3323" y="4397"/>
                  </a:cubicBezTo>
                  <a:cubicBezTo>
                    <a:pt x="3399" y="4397"/>
                    <a:pt x="3473" y="4413"/>
                    <a:pt x="3522" y="4432"/>
                  </a:cubicBezTo>
                  <a:cubicBezTo>
                    <a:pt x="3529" y="4436"/>
                    <a:pt x="3540" y="4439"/>
                    <a:pt x="3547" y="4443"/>
                  </a:cubicBezTo>
                  <a:lnTo>
                    <a:pt x="3557" y="4443"/>
                  </a:lnTo>
                  <a:cubicBezTo>
                    <a:pt x="3564" y="4443"/>
                    <a:pt x="3571" y="4443"/>
                    <a:pt x="3582" y="4446"/>
                  </a:cubicBezTo>
                  <a:lnTo>
                    <a:pt x="3655" y="4446"/>
                  </a:lnTo>
                  <a:lnTo>
                    <a:pt x="3673" y="4443"/>
                  </a:lnTo>
                  <a:lnTo>
                    <a:pt x="3701" y="4436"/>
                  </a:lnTo>
                  <a:lnTo>
                    <a:pt x="3718" y="4432"/>
                  </a:lnTo>
                  <a:lnTo>
                    <a:pt x="3743" y="4425"/>
                  </a:lnTo>
                  <a:lnTo>
                    <a:pt x="3764" y="4415"/>
                  </a:lnTo>
                  <a:lnTo>
                    <a:pt x="3788" y="4404"/>
                  </a:lnTo>
                  <a:lnTo>
                    <a:pt x="3809" y="4390"/>
                  </a:lnTo>
                  <a:lnTo>
                    <a:pt x="3820" y="4383"/>
                  </a:lnTo>
                  <a:cubicBezTo>
                    <a:pt x="3820" y="4334"/>
                    <a:pt x="3823" y="4282"/>
                    <a:pt x="3830" y="4233"/>
                  </a:cubicBezTo>
                  <a:lnTo>
                    <a:pt x="3830" y="4226"/>
                  </a:lnTo>
                  <a:cubicBezTo>
                    <a:pt x="3830" y="4212"/>
                    <a:pt x="3834" y="4198"/>
                    <a:pt x="3837" y="4187"/>
                  </a:cubicBezTo>
                  <a:cubicBezTo>
                    <a:pt x="3862" y="4047"/>
                    <a:pt x="3851" y="3904"/>
                    <a:pt x="3802" y="3774"/>
                  </a:cubicBezTo>
                  <a:cubicBezTo>
                    <a:pt x="3792" y="3743"/>
                    <a:pt x="3774" y="3715"/>
                    <a:pt x="3750" y="3690"/>
                  </a:cubicBezTo>
                  <a:cubicBezTo>
                    <a:pt x="3711" y="3652"/>
                    <a:pt x="3666" y="3620"/>
                    <a:pt x="3620" y="3596"/>
                  </a:cubicBezTo>
                  <a:cubicBezTo>
                    <a:pt x="3494" y="3512"/>
                    <a:pt x="3337" y="3410"/>
                    <a:pt x="3284" y="3249"/>
                  </a:cubicBezTo>
                  <a:cubicBezTo>
                    <a:pt x="3249" y="3151"/>
                    <a:pt x="3148" y="3046"/>
                    <a:pt x="3050" y="2941"/>
                  </a:cubicBezTo>
                  <a:cubicBezTo>
                    <a:pt x="2952" y="2839"/>
                    <a:pt x="2871" y="2752"/>
                    <a:pt x="2833" y="2661"/>
                  </a:cubicBezTo>
                  <a:cubicBezTo>
                    <a:pt x="2798" y="2587"/>
                    <a:pt x="2752" y="2517"/>
                    <a:pt x="2699" y="2454"/>
                  </a:cubicBezTo>
                  <a:cubicBezTo>
                    <a:pt x="2626" y="2353"/>
                    <a:pt x="2552" y="2255"/>
                    <a:pt x="2549" y="2157"/>
                  </a:cubicBezTo>
                  <a:cubicBezTo>
                    <a:pt x="2535" y="2118"/>
                    <a:pt x="2395" y="2038"/>
                    <a:pt x="2314" y="1992"/>
                  </a:cubicBezTo>
                  <a:cubicBezTo>
                    <a:pt x="2115" y="1877"/>
                    <a:pt x="1908" y="1758"/>
                    <a:pt x="1968" y="1607"/>
                  </a:cubicBezTo>
                  <a:cubicBezTo>
                    <a:pt x="2013" y="1488"/>
                    <a:pt x="2143" y="1467"/>
                    <a:pt x="2244" y="1450"/>
                  </a:cubicBezTo>
                  <a:cubicBezTo>
                    <a:pt x="2346" y="1429"/>
                    <a:pt x="2377" y="1418"/>
                    <a:pt x="2377" y="1390"/>
                  </a:cubicBezTo>
                  <a:cubicBezTo>
                    <a:pt x="2377" y="1338"/>
                    <a:pt x="2356" y="1289"/>
                    <a:pt x="2321" y="1254"/>
                  </a:cubicBezTo>
                  <a:cubicBezTo>
                    <a:pt x="2255" y="1177"/>
                    <a:pt x="2216" y="1082"/>
                    <a:pt x="2206" y="984"/>
                  </a:cubicBezTo>
                  <a:cubicBezTo>
                    <a:pt x="2192" y="903"/>
                    <a:pt x="2157" y="886"/>
                    <a:pt x="2143" y="882"/>
                  </a:cubicBezTo>
                  <a:cubicBezTo>
                    <a:pt x="2127" y="875"/>
                    <a:pt x="2108" y="871"/>
                    <a:pt x="2088" y="871"/>
                  </a:cubicBezTo>
                  <a:cubicBezTo>
                    <a:pt x="2035" y="871"/>
                    <a:pt x="1971" y="894"/>
                    <a:pt x="1926" y="924"/>
                  </a:cubicBezTo>
                  <a:cubicBezTo>
                    <a:pt x="1894" y="946"/>
                    <a:pt x="1854" y="955"/>
                    <a:pt x="1810" y="955"/>
                  </a:cubicBezTo>
                  <a:cubicBezTo>
                    <a:pt x="1733" y="955"/>
                    <a:pt x="1644" y="926"/>
                    <a:pt x="1572" y="886"/>
                  </a:cubicBezTo>
                  <a:cubicBezTo>
                    <a:pt x="1446" y="819"/>
                    <a:pt x="1373" y="725"/>
                    <a:pt x="1373" y="627"/>
                  </a:cubicBezTo>
                  <a:cubicBezTo>
                    <a:pt x="1373" y="564"/>
                    <a:pt x="1306" y="504"/>
                    <a:pt x="1240" y="445"/>
                  </a:cubicBezTo>
                  <a:cubicBezTo>
                    <a:pt x="1170" y="375"/>
                    <a:pt x="1093" y="305"/>
                    <a:pt x="1093" y="210"/>
                  </a:cubicBezTo>
                  <a:cubicBezTo>
                    <a:pt x="1093" y="168"/>
                    <a:pt x="1012" y="77"/>
                    <a:pt x="946" y="4"/>
                  </a:cubicBezTo>
                  <a:lnTo>
                    <a:pt x="921" y="11"/>
                  </a:lnTo>
                  <a:lnTo>
                    <a:pt x="918" y="7"/>
                  </a:lnTo>
                  <a:cubicBezTo>
                    <a:pt x="904" y="11"/>
                    <a:pt x="890" y="14"/>
                    <a:pt x="876" y="14"/>
                  </a:cubicBezTo>
                  <a:lnTo>
                    <a:pt x="872" y="14"/>
                  </a:lnTo>
                  <a:cubicBezTo>
                    <a:pt x="858" y="18"/>
                    <a:pt x="848" y="18"/>
                    <a:pt x="837" y="21"/>
                  </a:cubicBezTo>
                  <a:lnTo>
                    <a:pt x="830" y="21"/>
                  </a:lnTo>
                  <a:cubicBezTo>
                    <a:pt x="813" y="21"/>
                    <a:pt x="792" y="18"/>
                    <a:pt x="774" y="14"/>
                  </a:cubicBezTo>
                  <a:lnTo>
                    <a:pt x="771" y="14"/>
                  </a:lnTo>
                  <a:cubicBezTo>
                    <a:pt x="764" y="14"/>
                    <a:pt x="757" y="11"/>
                    <a:pt x="750" y="11"/>
                  </a:cubicBezTo>
                  <a:lnTo>
                    <a:pt x="736" y="4"/>
                  </a:lnTo>
                  <a:lnTo>
                    <a:pt x="7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2" name="Google Shape;5459;p64">
              <a:extLst>
                <a:ext uri="{FF2B5EF4-FFF2-40B4-BE49-F238E27FC236}">
                  <a16:creationId xmlns:a16="http://schemas.microsoft.com/office/drawing/2014/main" id="{72455D65-0930-326F-E10D-BC1E4FA66488}"/>
                </a:ext>
              </a:extLst>
            </p:cNvPr>
            <p:cNvSpPr/>
            <p:nvPr/>
          </p:nvSpPr>
          <p:spPr>
            <a:xfrm>
              <a:off x="2786525" y="18854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3" name="Google Shape;5460;p64">
              <a:extLst>
                <a:ext uri="{FF2B5EF4-FFF2-40B4-BE49-F238E27FC236}">
                  <a16:creationId xmlns:a16="http://schemas.microsoft.com/office/drawing/2014/main" id="{71463D60-8681-5E7A-17E8-A6069EE80DFA}"/>
                </a:ext>
              </a:extLst>
            </p:cNvPr>
            <p:cNvSpPr/>
            <p:nvPr/>
          </p:nvSpPr>
          <p:spPr>
            <a:xfrm>
              <a:off x="2788086" y="188299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4" name="Google Shape;5461;p64">
              <a:extLst>
                <a:ext uri="{FF2B5EF4-FFF2-40B4-BE49-F238E27FC236}">
                  <a16:creationId xmlns:a16="http://schemas.microsoft.com/office/drawing/2014/main" id="{15D93A28-1CC3-8C18-F505-0FEF4A1A9A65}"/>
                </a:ext>
              </a:extLst>
            </p:cNvPr>
            <p:cNvSpPr/>
            <p:nvPr/>
          </p:nvSpPr>
          <p:spPr>
            <a:xfrm>
              <a:off x="2785615" y="188798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5" name="Google Shape;5462;p64">
              <a:extLst>
                <a:ext uri="{FF2B5EF4-FFF2-40B4-BE49-F238E27FC236}">
                  <a16:creationId xmlns:a16="http://schemas.microsoft.com/office/drawing/2014/main" id="{55CACDB6-4B76-341C-7ACE-F7EA76730687}"/>
                </a:ext>
              </a:extLst>
            </p:cNvPr>
            <p:cNvSpPr/>
            <p:nvPr/>
          </p:nvSpPr>
          <p:spPr>
            <a:xfrm>
              <a:off x="2788996" y="188185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6" name="Google Shape;5463;p64">
              <a:extLst>
                <a:ext uri="{FF2B5EF4-FFF2-40B4-BE49-F238E27FC236}">
                  <a16:creationId xmlns:a16="http://schemas.microsoft.com/office/drawing/2014/main" id="{8E391104-2AA8-673F-B1AD-57F1B0A2F129}"/>
                </a:ext>
              </a:extLst>
            </p:cNvPr>
            <p:cNvSpPr/>
            <p:nvPr/>
          </p:nvSpPr>
          <p:spPr>
            <a:xfrm>
              <a:off x="2788371" y="1882618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7" name="Google Shape;5464;p64">
              <a:extLst>
                <a:ext uri="{FF2B5EF4-FFF2-40B4-BE49-F238E27FC236}">
                  <a16:creationId xmlns:a16="http://schemas.microsoft.com/office/drawing/2014/main" id="{5E1C3E30-DAFC-7657-2EFE-D9F1A7B89947}"/>
                </a:ext>
              </a:extLst>
            </p:cNvPr>
            <p:cNvSpPr/>
            <p:nvPr/>
          </p:nvSpPr>
          <p:spPr>
            <a:xfrm>
              <a:off x="2786185" y="1886514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cubicBezTo>
                    <a:pt x="1" y="4"/>
                    <a:pt x="1" y="7"/>
                    <a:pt x="1" y="11"/>
                  </a:cubicBezTo>
                  <a:cubicBezTo>
                    <a:pt x="1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8" name="Google Shape;5465;p64">
              <a:extLst>
                <a:ext uri="{FF2B5EF4-FFF2-40B4-BE49-F238E27FC236}">
                  <a16:creationId xmlns:a16="http://schemas.microsoft.com/office/drawing/2014/main" id="{D667B20E-26A9-1677-CCA1-EBBF0AED8C91}"/>
                </a:ext>
              </a:extLst>
            </p:cNvPr>
            <p:cNvSpPr/>
            <p:nvPr/>
          </p:nvSpPr>
          <p:spPr>
            <a:xfrm>
              <a:off x="2786376" y="188579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9" name="Google Shape;5466;p64">
              <a:extLst>
                <a:ext uri="{FF2B5EF4-FFF2-40B4-BE49-F238E27FC236}">
                  <a16:creationId xmlns:a16="http://schemas.microsoft.com/office/drawing/2014/main" id="{AF631F45-4351-9F3D-8322-F55B2B160FEF}"/>
                </a:ext>
              </a:extLst>
            </p:cNvPr>
            <p:cNvSpPr/>
            <p:nvPr/>
          </p:nvSpPr>
          <p:spPr>
            <a:xfrm>
              <a:off x="2786280" y="1886039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0" name="Google Shape;5467;p64">
              <a:extLst>
                <a:ext uri="{FF2B5EF4-FFF2-40B4-BE49-F238E27FC236}">
                  <a16:creationId xmlns:a16="http://schemas.microsoft.com/office/drawing/2014/main" id="{0CDEEC9C-AF42-A7D0-C91E-50976F546221}"/>
                </a:ext>
              </a:extLst>
            </p:cNvPr>
            <p:cNvSpPr/>
            <p:nvPr/>
          </p:nvSpPr>
          <p:spPr>
            <a:xfrm>
              <a:off x="2787801" y="18833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1" name="Google Shape;5468;p64">
              <a:extLst>
                <a:ext uri="{FF2B5EF4-FFF2-40B4-BE49-F238E27FC236}">
                  <a16:creationId xmlns:a16="http://schemas.microsoft.com/office/drawing/2014/main" id="{CD2184AF-45D4-270B-FC36-0895E35B56C2}"/>
                </a:ext>
              </a:extLst>
            </p:cNvPr>
            <p:cNvSpPr/>
            <p:nvPr/>
          </p:nvSpPr>
          <p:spPr>
            <a:xfrm>
              <a:off x="2788657" y="1882237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2" name="Google Shape;5469;p64">
              <a:extLst>
                <a:ext uri="{FF2B5EF4-FFF2-40B4-BE49-F238E27FC236}">
                  <a16:creationId xmlns:a16="http://schemas.microsoft.com/office/drawing/2014/main" id="{BAD0B6B6-7FDD-35D6-D082-D0C16AE389E0}"/>
                </a:ext>
              </a:extLst>
            </p:cNvPr>
            <p:cNvSpPr/>
            <p:nvPr/>
          </p:nvSpPr>
          <p:spPr>
            <a:xfrm>
              <a:off x="2786185" y="1886270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cubicBezTo>
                    <a:pt x="1" y="4"/>
                    <a:pt x="1" y="8"/>
                    <a:pt x="1" y="11"/>
                  </a:cubicBezTo>
                  <a:cubicBezTo>
                    <a:pt x="4" y="8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3" name="Google Shape;5470;p64">
              <a:extLst>
                <a:ext uri="{FF2B5EF4-FFF2-40B4-BE49-F238E27FC236}">
                  <a16:creationId xmlns:a16="http://schemas.microsoft.com/office/drawing/2014/main" id="{0F79C1CF-3569-C57F-EC8C-38B42FB891C4}"/>
                </a:ext>
              </a:extLst>
            </p:cNvPr>
            <p:cNvSpPr/>
            <p:nvPr/>
          </p:nvSpPr>
          <p:spPr>
            <a:xfrm>
              <a:off x="2785289" y="188832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4" name="Google Shape;5471;p64">
              <a:extLst>
                <a:ext uri="{FF2B5EF4-FFF2-40B4-BE49-F238E27FC236}">
                  <a16:creationId xmlns:a16="http://schemas.microsoft.com/office/drawing/2014/main" id="{AD8C5B36-5D6A-8336-154C-E065FD35569F}"/>
                </a:ext>
              </a:extLst>
            </p:cNvPr>
            <p:cNvSpPr/>
            <p:nvPr/>
          </p:nvSpPr>
          <p:spPr>
            <a:xfrm>
              <a:off x="2786050" y="188718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cubicBezTo>
                    <a:pt x="4" y="4"/>
                    <a:pt x="0" y="7"/>
                    <a:pt x="0" y="11"/>
                  </a:cubicBezTo>
                  <a:cubicBezTo>
                    <a:pt x="0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5" name="Google Shape;5472;p64">
              <a:extLst>
                <a:ext uri="{FF2B5EF4-FFF2-40B4-BE49-F238E27FC236}">
                  <a16:creationId xmlns:a16="http://schemas.microsoft.com/office/drawing/2014/main" id="{A83536C7-3D95-51F0-700E-300840DCFC58}"/>
                </a:ext>
              </a:extLst>
            </p:cNvPr>
            <p:cNvSpPr/>
            <p:nvPr/>
          </p:nvSpPr>
          <p:spPr>
            <a:xfrm>
              <a:off x="2785860" y="1887601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6" name="Google Shape;5473;p64">
              <a:extLst>
                <a:ext uri="{FF2B5EF4-FFF2-40B4-BE49-F238E27FC236}">
                  <a16:creationId xmlns:a16="http://schemas.microsoft.com/office/drawing/2014/main" id="{8FDD2424-A2ED-AD2D-96F0-4D14DCE9E592}"/>
                </a:ext>
              </a:extLst>
            </p:cNvPr>
            <p:cNvSpPr/>
            <p:nvPr/>
          </p:nvSpPr>
          <p:spPr>
            <a:xfrm>
              <a:off x="2787570" y="188375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7" name="Google Shape;5474;p64">
              <a:extLst>
                <a:ext uri="{FF2B5EF4-FFF2-40B4-BE49-F238E27FC236}">
                  <a16:creationId xmlns:a16="http://schemas.microsoft.com/office/drawing/2014/main" id="{FB050ECF-BDA1-CCCF-B8BC-ABE120EE050E}"/>
                </a:ext>
              </a:extLst>
            </p:cNvPr>
            <p:cNvSpPr/>
            <p:nvPr/>
          </p:nvSpPr>
          <p:spPr>
            <a:xfrm>
              <a:off x="2789281" y="188157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8" name="Google Shape;5475;p64">
              <a:extLst>
                <a:ext uri="{FF2B5EF4-FFF2-40B4-BE49-F238E27FC236}">
                  <a16:creationId xmlns:a16="http://schemas.microsoft.com/office/drawing/2014/main" id="{1E68031A-B08D-D318-CECD-368D3F2A8AC2}"/>
                </a:ext>
              </a:extLst>
            </p:cNvPr>
            <p:cNvSpPr/>
            <p:nvPr/>
          </p:nvSpPr>
          <p:spPr>
            <a:xfrm>
              <a:off x="2787285" y="188413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9" name="Google Shape;5476;p64">
              <a:extLst>
                <a:ext uri="{FF2B5EF4-FFF2-40B4-BE49-F238E27FC236}">
                  <a16:creationId xmlns:a16="http://schemas.microsoft.com/office/drawing/2014/main" id="{4C7F1768-B2A1-3371-A5C3-274794711897}"/>
                </a:ext>
              </a:extLst>
            </p:cNvPr>
            <p:cNvSpPr/>
            <p:nvPr/>
          </p:nvSpPr>
          <p:spPr>
            <a:xfrm>
              <a:off x="2787041" y="1884464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0" name="Google Shape;5477;p64">
              <a:extLst>
                <a:ext uri="{FF2B5EF4-FFF2-40B4-BE49-F238E27FC236}">
                  <a16:creationId xmlns:a16="http://schemas.microsoft.com/office/drawing/2014/main" id="{67F642AE-3308-0361-3009-6FB8CE49AF52}"/>
                </a:ext>
              </a:extLst>
            </p:cNvPr>
            <p:cNvSpPr/>
            <p:nvPr/>
          </p:nvSpPr>
          <p:spPr>
            <a:xfrm>
              <a:off x="2786851" y="188484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1" name="Google Shape;5478;p64">
              <a:extLst>
                <a:ext uri="{FF2B5EF4-FFF2-40B4-BE49-F238E27FC236}">
                  <a16:creationId xmlns:a16="http://schemas.microsoft.com/office/drawing/2014/main" id="{16141427-404E-AD6A-C809-7E76459BCABC}"/>
                </a:ext>
              </a:extLst>
            </p:cNvPr>
            <p:cNvSpPr/>
            <p:nvPr/>
          </p:nvSpPr>
          <p:spPr>
            <a:xfrm>
              <a:off x="2786715" y="188518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2" name="Google Shape;5479;p64">
              <a:extLst>
                <a:ext uri="{FF2B5EF4-FFF2-40B4-BE49-F238E27FC236}">
                  <a16:creationId xmlns:a16="http://schemas.microsoft.com/office/drawing/2014/main" id="{A6ACCF75-4CFA-2114-5EC2-04A810A8846F}"/>
                </a:ext>
              </a:extLst>
            </p:cNvPr>
            <p:cNvSpPr/>
            <p:nvPr/>
          </p:nvSpPr>
          <p:spPr>
            <a:xfrm>
              <a:off x="2836191" y="1932053"/>
              <a:ext cx="109" cy="530"/>
            </a:xfrm>
            <a:custGeom>
              <a:avLst/>
              <a:gdLst/>
              <a:ahLst/>
              <a:cxnLst/>
              <a:rect l="l" t="t" r="r" b="b"/>
              <a:pathLst>
                <a:path w="8" h="39" extrusionOk="0">
                  <a:moveTo>
                    <a:pt x="8" y="0"/>
                  </a:moveTo>
                  <a:cubicBezTo>
                    <a:pt x="4" y="11"/>
                    <a:pt x="1" y="25"/>
                    <a:pt x="1" y="39"/>
                  </a:cubicBezTo>
                  <a:cubicBezTo>
                    <a:pt x="1" y="25"/>
                    <a:pt x="8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3" name="Google Shape;5480;p64">
              <a:extLst>
                <a:ext uri="{FF2B5EF4-FFF2-40B4-BE49-F238E27FC236}">
                  <a16:creationId xmlns:a16="http://schemas.microsoft.com/office/drawing/2014/main" id="{E7140473-AC15-7A76-C454-4E7629689E93}"/>
                </a:ext>
              </a:extLst>
            </p:cNvPr>
            <p:cNvSpPr/>
            <p:nvPr/>
          </p:nvSpPr>
          <p:spPr>
            <a:xfrm>
              <a:off x="2836056" y="1932664"/>
              <a:ext cx="149" cy="2064"/>
            </a:xfrm>
            <a:custGeom>
              <a:avLst/>
              <a:gdLst/>
              <a:ahLst/>
              <a:cxnLst/>
              <a:rect l="l" t="t" r="r" b="b"/>
              <a:pathLst>
                <a:path w="11" h="152" extrusionOk="0">
                  <a:moveTo>
                    <a:pt x="11" y="1"/>
                  </a:moveTo>
                  <a:cubicBezTo>
                    <a:pt x="4" y="46"/>
                    <a:pt x="0" y="99"/>
                    <a:pt x="0" y="151"/>
                  </a:cubicBezTo>
                  <a:cubicBezTo>
                    <a:pt x="0" y="102"/>
                    <a:pt x="4" y="50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4" name="Google Shape;5481;p64">
              <a:extLst>
                <a:ext uri="{FF2B5EF4-FFF2-40B4-BE49-F238E27FC236}">
                  <a16:creationId xmlns:a16="http://schemas.microsoft.com/office/drawing/2014/main" id="{839E029F-066B-3999-71E8-501D153378C4}"/>
                </a:ext>
              </a:extLst>
            </p:cNvPr>
            <p:cNvSpPr/>
            <p:nvPr/>
          </p:nvSpPr>
          <p:spPr>
            <a:xfrm>
              <a:off x="2797075" y="18752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5" name="Google Shape;5482;p64">
              <a:extLst>
                <a:ext uri="{FF2B5EF4-FFF2-40B4-BE49-F238E27FC236}">
                  <a16:creationId xmlns:a16="http://schemas.microsoft.com/office/drawing/2014/main" id="{FDD78128-7DDD-8D36-D799-664A627076ED}"/>
                </a:ext>
              </a:extLst>
            </p:cNvPr>
            <p:cNvSpPr/>
            <p:nvPr/>
          </p:nvSpPr>
          <p:spPr>
            <a:xfrm>
              <a:off x="2825316" y="1938231"/>
              <a:ext cx="339" cy="815"/>
            </a:xfrm>
            <a:custGeom>
              <a:avLst/>
              <a:gdLst/>
              <a:ahLst/>
              <a:cxnLst/>
              <a:rect l="l" t="t" r="r" b="b"/>
              <a:pathLst>
                <a:path w="25" h="60" extrusionOk="0">
                  <a:moveTo>
                    <a:pt x="25" y="0"/>
                  </a:moveTo>
                  <a:cubicBezTo>
                    <a:pt x="21" y="21"/>
                    <a:pt x="14" y="42"/>
                    <a:pt x="0" y="60"/>
                  </a:cubicBezTo>
                  <a:cubicBezTo>
                    <a:pt x="14" y="42"/>
                    <a:pt x="21" y="21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6" name="Google Shape;5483;p64">
              <a:extLst>
                <a:ext uri="{FF2B5EF4-FFF2-40B4-BE49-F238E27FC236}">
                  <a16:creationId xmlns:a16="http://schemas.microsoft.com/office/drawing/2014/main" id="{9B37FF0D-3C74-11A2-22AE-B1F4E63B1363}"/>
                </a:ext>
              </a:extLst>
            </p:cNvPr>
            <p:cNvSpPr/>
            <p:nvPr/>
          </p:nvSpPr>
          <p:spPr>
            <a:xfrm>
              <a:off x="2832009" y="1935380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25" y="11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7" name="Google Shape;5484;p64">
              <a:extLst>
                <a:ext uri="{FF2B5EF4-FFF2-40B4-BE49-F238E27FC236}">
                  <a16:creationId xmlns:a16="http://schemas.microsoft.com/office/drawing/2014/main" id="{F1C6E165-ED68-1C08-31D7-60CDECF4D269}"/>
                </a:ext>
              </a:extLst>
            </p:cNvPr>
            <p:cNvSpPr/>
            <p:nvPr/>
          </p:nvSpPr>
          <p:spPr>
            <a:xfrm>
              <a:off x="2832960" y="1935570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8" name="Google Shape;5485;p64">
              <a:extLst>
                <a:ext uri="{FF2B5EF4-FFF2-40B4-BE49-F238E27FC236}">
                  <a16:creationId xmlns:a16="http://schemas.microsoft.com/office/drawing/2014/main" id="{4D2903C8-3081-A6E7-DED9-8CA2D91F3A52}"/>
                </a:ext>
              </a:extLst>
            </p:cNvPr>
            <p:cNvSpPr/>
            <p:nvPr/>
          </p:nvSpPr>
          <p:spPr>
            <a:xfrm>
              <a:off x="2824881" y="1938516"/>
              <a:ext cx="394" cy="625"/>
            </a:xfrm>
            <a:custGeom>
              <a:avLst/>
              <a:gdLst/>
              <a:ahLst/>
              <a:cxnLst/>
              <a:rect l="l" t="t" r="r" b="b"/>
              <a:pathLst>
                <a:path w="29" h="46" extrusionOk="0">
                  <a:moveTo>
                    <a:pt x="1" y="0"/>
                  </a:moveTo>
                  <a:cubicBezTo>
                    <a:pt x="15" y="14"/>
                    <a:pt x="22" y="28"/>
                    <a:pt x="29" y="46"/>
                  </a:cubicBezTo>
                  <a:lnTo>
                    <a:pt x="29" y="46"/>
                  </a:lnTo>
                  <a:cubicBezTo>
                    <a:pt x="22" y="28"/>
                    <a:pt x="15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9" name="Google Shape;5486;p64">
              <a:extLst>
                <a:ext uri="{FF2B5EF4-FFF2-40B4-BE49-F238E27FC236}">
                  <a16:creationId xmlns:a16="http://schemas.microsoft.com/office/drawing/2014/main" id="{BFA8401B-5448-8C60-9741-0970627ABF85}"/>
                </a:ext>
              </a:extLst>
            </p:cNvPr>
            <p:cNvSpPr/>
            <p:nvPr/>
          </p:nvSpPr>
          <p:spPr>
            <a:xfrm>
              <a:off x="2835865" y="193471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0" name="Google Shape;5487;p64">
              <a:extLst>
                <a:ext uri="{FF2B5EF4-FFF2-40B4-BE49-F238E27FC236}">
                  <a16:creationId xmlns:a16="http://schemas.microsoft.com/office/drawing/2014/main" id="{A8846CBC-61FD-44EF-5774-F35585E01790}"/>
                </a:ext>
              </a:extLst>
            </p:cNvPr>
            <p:cNvSpPr/>
            <p:nvPr/>
          </p:nvSpPr>
          <p:spPr>
            <a:xfrm>
              <a:off x="2833489" y="1935570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1" name="Google Shape;5488;p64">
              <a:extLst>
                <a:ext uri="{FF2B5EF4-FFF2-40B4-BE49-F238E27FC236}">
                  <a16:creationId xmlns:a16="http://schemas.microsoft.com/office/drawing/2014/main" id="{6B7F2A75-BAC5-DD2B-682D-7A012EAB1C67}"/>
                </a:ext>
              </a:extLst>
            </p:cNvPr>
            <p:cNvSpPr/>
            <p:nvPr/>
          </p:nvSpPr>
          <p:spPr>
            <a:xfrm>
              <a:off x="2832444" y="193551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cubicBezTo>
                    <a:pt x="7" y="1"/>
                    <a:pt x="18" y="4"/>
                    <a:pt x="25" y="4"/>
                  </a:cubicBezTo>
                  <a:cubicBezTo>
                    <a:pt x="18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2" name="Google Shape;5489;p64">
              <a:extLst>
                <a:ext uri="{FF2B5EF4-FFF2-40B4-BE49-F238E27FC236}">
                  <a16:creationId xmlns:a16="http://schemas.microsoft.com/office/drawing/2014/main" id="{77D98CDD-3556-3F55-5319-A213403ADEBD}"/>
                </a:ext>
              </a:extLst>
            </p:cNvPr>
            <p:cNvSpPr/>
            <p:nvPr/>
          </p:nvSpPr>
          <p:spPr>
            <a:xfrm>
              <a:off x="2834671" y="1935230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2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3" name="Google Shape;5490;p64">
              <a:extLst>
                <a:ext uri="{FF2B5EF4-FFF2-40B4-BE49-F238E27FC236}">
                  <a16:creationId xmlns:a16="http://schemas.microsoft.com/office/drawing/2014/main" id="{8CBED61F-4E32-A2BB-9553-BFC49B214C5D}"/>
                </a:ext>
              </a:extLst>
            </p:cNvPr>
            <p:cNvSpPr/>
            <p:nvPr/>
          </p:nvSpPr>
          <p:spPr>
            <a:xfrm>
              <a:off x="2834060" y="1935421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4" name="Google Shape;5491;p64">
              <a:extLst>
                <a:ext uri="{FF2B5EF4-FFF2-40B4-BE49-F238E27FC236}">
                  <a16:creationId xmlns:a16="http://schemas.microsoft.com/office/drawing/2014/main" id="{F0342E59-A88E-9364-B914-F96BA20751CE}"/>
                </a:ext>
              </a:extLst>
            </p:cNvPr>
            <p:cNvSpPr/>
            <p:nvPr/>
          </p:nvSpPr>
          <p:spPr>
            <a:xfrm>
              <a:off x="2835241" y="193494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5" name="Google Shape;5492;p64">
              <a:extLst>
                <a:ext uri="{FF2B5EF4-FFF2-40B4-BE49-F238E27FC236}">
                  <a16:creationId xmlns:a16="http://schemas.microsoft.com/office/drawing/2014/main" id="{8CD051B1-100C-2E3B-7D7C-BD2B2B975965}"/>
                </a:ext>
              </a:extLst>
            </p:cNvPr>
            <p:cNvSpPr/>
            <p:nvPr/>
          </p:nvSpPr>
          <p:spPr>
            <a:xfrm>
              <a:off x="2836056" y="19347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6" name="Google Shape;5493;p64">
              <a:extLst>
                <a:ext uri="{FF2B5EF4-FFF2-40B4-BE49-F238E27FC236}">
                  <a16:creationId xmlns:a16="http://schemas.microsoft.com/office/drawing/2014/main" id="{4F3E8EDF-57B6-D8F3-1EF2-AB9F204A6A5D}"/>
                </a:ext>
              </a:extLst>
            </p:cNvPr>
            <p:cNvSpPr/>
            <p:nvPr/>
          </p:nvSpPr>
          <p:spPr>
            <a:xfrm>
              <a:off x="2764461" y="1889977"/>
              <a:ext cx="57148" cy="110439"/>
            </a:xfrm>
            <a:custGeom>
              <a:avLst/>
              <a:gdLst/>
              <a:ahLst/>
              <a:cxnLst/>
              <a:rect l="l" t="t" r="r" b="b"/>
              <a:pathLst>
                <a:path w="4209" h="8134" extrusionOk="0">
                  <a:moveTo>
                    <a:pt x="1335" y="1"/>
                  </a:moveTo>
                  <a:cubicBezTo>
                    <a:pt x="1324" y="8"/>
                    <a:pt x="1317" y="15"/>
                    <a:pt x="1314" y="25"/>
                  </a:cubicBezTo>
                  <a:cubicBezTo>
                    <a:pt x="1286" y="92"/>
                    <a:pt x="1205" y="127"/>
                    <a:pt x="1107" y="162"/>
                  </a:cubicBezTo>
                  <a:lnTo>
                    <a:pt x="1062" y="180"/>
                  </a:lnTo>
                  <a:cubicBezTo>
                    <a:pt x="967" y="211"/>
                    <a:pt x="845" y="253"/>
                    <a:pt x="813" y="313"/>
                  </a:cubicBezTo>
                  <a:cubicBezTo>
                    <a:pt x="723" y="471"/>
                    <a:pt x="500" y="477"/>
                    <a:pt x="390" y="477"/>
                  </a:cubicBezTo>
                  <a:cubicBezTo>
                    <a:pt x="381" y="477"/>
                    <a:pt x="372" y="477"/>
                    <a:pt x="365" y="477"/>
                  </a:cubicBezTo>
                  <a:lnTo>
                    <a:pt x="344" y="477"/>
                  </a:lnTo>
                  <a:cubicBezTo>
                    <a:pt x="341" y="477"/>
                    <a:pt x="124" y="481"/>
                    <a:pt x="106" y="593"/>
                  </a:cubicBezTo>
                  <a:lnTo>
                    <a:pt x="103" y="631"/>
                  </a:lnTo>
                  <a:cubicBezTo>
                    <a:pt x="78" y="810"/>
                    <a:pt x="1" y="1352"/>
                    <a:pt x="1" y="1447"/>
                  </a:cubicBezTo>
                  <a:cubicBezTo>
                    <a:pt x="4" y="1524"/>
                    <a:pt x="278" y="1846"/>
                    <a:pt x="369" y="1881"/>
                  </a:cubicBezTo>
                  <a:cubicBezTo>
                    <a:pt x="463" y="1919"/>
                    <a:pt x="460" y="2024"/>
                    <a:pt x="456" y="2112"/>
                  </a:cubicBezTo>
                  <a:cubicBezTo>
                    <a:pt x="453" y="2186"/>
                    <a:pt x="453" y="2238"/>
                    <a:pt x="481" y="2252"/>
                  </a:cubicBezTo>
                  <a:cubicBezTo>
                    <a:pt x="589" y="2305"/>
                    <a:pt x="607" y="2434"/>
                    <a:pt x="565" y="2532"/>
                  </a:cubicBezTo>
                  <a:cubicBezTo>
                    <a:pt x="551" y="2574"/>
                    <a:pt x="516" y="2613"/>
                    <a:pt x="474" y="2630"/>
                  </a:cubicBezTo>
                  <a:lnTo>
                    <a:pt x="474" y="2665"/>
                  </a:lnTo>
                  <a:cubicBezTo>
                    <a:pt x="481" y="2770"/>
                    <a:pt x="488" y="2924"/>
                    <a:pt x="386" y="3008"/>
                  </a:cubicBezTo>
                  <a:cubicBezTo>
                    <a:pt x="365" y="3029"/>
                    <a:pt x="351" y="3061"/>
                    <a:pt x="355" y="3089"/>
                  </a:cubicBezTo>
                  <a:cubicBezTo>
                    <a:pt x="355" y="3204"/>
                    <a:pt x="446" y="3369"/>
                    <a:pt x="582" y="3491"/>
                  </a:cubicBezTo>
                  <a:cubicBezTo>
                    <a:pt x="820" y="3705"/>
                    <a:pt x="820" y="4034"/>
                    <a:pt x="820" y="4212"/>
                  </a:cubicBezTo>
                  <a:cubicBezTo>
                    <a:pt x="824" y="4265"/>
                    <a:pt x="848" y="4314"/>
                    <a:pt x="887" y="4349"/>
                  </a:cubicBezTo>
                  <a:cubicBezTo>
                    <a:pt x="953" y="4423"/>
                    <a:pt x="992" y="4521"/>
                    <a:pt x="992" y="4622"/>
                  </a:cubicBezTo>
                  <a:lnTo>
                    <a:pt x="992" y="4629"/>
                  </a:lnTo>
                  <a:lnTo>
                    <a:pt x="992" y="4636"/>
                  </a:lnTo>
                  <a:lnTo>
                    <a:pt x="985" y="4664"/>
                  </a:lnTo>
                  <a:lnTo>
                    <a:pt x="985" y="4671"/>
                  </a:lnTo>
                  <a:lnTo>
                    <a:pt x="978" y="4696"/>
                  </a:lnTo>
                  <a:lnTo>
                    <a:pt x="974" y="4706"/>
                  </a:lnTo>
                  <a:lnTo>
                    <a:pt x="967" y="4724"/>
                  </a:lnTo>
                  <a:lnTo>
                    <a:pt x="964" y="4741"/>
                  </a:lnTo>
                  <a:lnTo>
                    <a:pt x="960" y="4759"/>
                  </a:lnTo>
                  <a:lnTo>
                    <a:pt x="953" y="4773"/>
                  </a:lnTo>
                  <a:lnTo>
                    <a:pt x="950" y="4790"/>
                  </a:lnTo>
                  <a:lnTo>
                    <a:pt x="943" y="4808"/>
                  </a:lnTo>
                  <a:lnTo>
                    <a:pt x="939" y="4825"/>
                  </a:lnTo>
                  <a:lnTo>
                    <a:pt x="932" y="4843"/>
                  </a:lnTo>
                  <a:lnTo>
                    <a:pt x="929" y="4864"/>
                  </a:lnTo>
                  <a:lnTo>
                    <a:pt x="922" y="4881"/>
                  </a:lnTo>
                  <a:lnTo>
                    <a:pt x="915" y="4899"/>
                  </a:lnTo>
                  <a:lnTo>
                    <a:pt x="908" y="4916"/>
                  </a:lnTo>
                  <a:lnTo>
                    <a:pt x="901" y="4937"/>
                  </a:lnTo>
                  <a:lnTo>
                    <a:pt x="897" y="4955"/>
                  </a:lnTo>
                  <a:lnTo>
                    <a:pt x="890" y="4976"/>
                  </a:lnTo>
                  <a:lnTo>
                    <a:pt x="883" y="4993"/>
                  </a:lnTo>
                  <a:lnTo>
                    <a:pt x="876" y="5014"/>
                  </a:lnTo>
                  <a:lnTo>
                    <a:pt x="869" y="5032"/>
                  </a:lnTo>
                  <a:lnTo>
                    <a:pt x="862" y="5049"/>
                  </a:lnTo>
                  <a:lnTo>
                    <a:pt x="855" y="5070"/>
                  </a:lnTo>
                  <a:lnTo>
                    <a:pt x="848" y="5091"/>
                  </a:lnTo>
                  <a:lnTo>
                    <a:pt x="838" y="5109"/>
                  </a:lnTo>
                  <a:lnTo>
                    <a:pt x="831" y="5130"/>
                  </a:lnTo>
                  <a:lnTo>
                    <a:pt x="824" y="5147"/>
                  </a:lnTo>
                  <a:lnTo>
                    <a:pt x="813" y="5172"/>
                  </a:lnTo>
                  <a:lnTo>
                    <a:pt x="803" y="5200"/>
                  </a:lnTo>
                  <a:lnTo>
                    <a:pt x="792" y="5221"/>
                  </a:lnTo>
                  <a:lnTo>
                    <a:pt x="785" y="5238"/>
                  </a:lnTo>
                  <a:lnTo>
                    <a:pt x="775" y="5256"/>
                  </a:lnTo>
                  <a:lnTo>
                    <a:pt x="768" y="5273"/>
                  </a:lnTo>
                  <a:lnTo>
                    <a:pt x="757" y="5291"/>
                  </a:lnTo>
                  <a:lnTo>
                    <a:pt x="750" y="5308"/>
                  </a:lnTo>
                  <a:lnTo>
                    <a:pt x="740" y="5326"/>
                  </a:lnTo>
                  <a:lnTo>
                    <a:pt x="733" y="5340"/>
                  </a:lnTo>
                  <a:lnTo>
                    <a:pt x="722" y="5357"/>
                  </a:lnTo>
                  <a:lnTo>
                    <a:pt x="715" y="5371"/>
                  </a:lnTo>
                  <a:lnTo>
                    <a:pt x="705" y="5389"/>
                  </a:lnTo>
                  <a:lnTo>
                    <a:pt x="694" y="5403"/>
                  </a:lnTo>
                  <a:lnTo>
                    <a:pt x="687" y="5420"/>
                  </a:lnTo>
                  <a:lnTo>
                    <a:pt x="677" y="5431"/>
                  </a:lnTo>
                  <a:lnTo>
                    <a:pt x="666" y="5445"/>
                  </a:lnTo>
                  <a:lnTo>
                    <a:pt x="656" y="5459"/>
                  </a:lnTo>
                  <a:lnTo>
                    <a:pt x="649" y="5473"/>
                  </a:lnTo>
                  <a:lnTo>
                    <a:pt x="638" y="5483"/>
                  </a:lnTo>
                  <a:lnTo>
                    <a:pt x="628" y="5497"/>
                  </a:lnTo>
                  <a:lnTo>
                    <a:pt x="617" y="5508"/>
                  </a:lnTo>
                  <a:lnTo>
                    <a:pt x="607" y="5518"/>
                  </a:lnTo>
                  <a:lnTo>
                    <a:pt x="600" y="5529"/>
                  </a:lnTo>
                  <a:lnTo>
                    <a:pt x="586" y="5536"/>
                  </a:lnTo>
                  <a:lnTo>
                    <a:pt x="579" y="5546"/>
                  </a:lnTo>
                  <a:lnTo>
                    <a:pt x="565" y="5553"/>
                  </a:lnTo>
                  <a:lnTo>
                    <a:pt x="558" y="5560"/>
                  </a:lnTo>
                  <a:lnTo>
                    <a:pt x="544" y="5571"/>
                  </a:lnTo>
                  <a:lnTo>
                    <a:pt x="537" y="5571"/>
                  </a:lnTo>
                  <a:cubicBezTo>
                    <a:pt x="530" y="5574"/>
                    <a:pt x="523" y="5578"/>
                    <a:pt x="516" y="5581"/>
                  </a:cubicBezTo>
                  <a:cubicBezTo>
                    <a:pt x="505" y="5644"/>
                    <a:pt x="491" y="5718"/>
                    <a:pt x="481" y="5795"/>
                  </a:cubicBezTo>
                  <a:cubicBezTo>
                    <a:pt x="442" y="5998"/>
                    <a:pt x="407" y="6204"/>
                    <a:pt x="372" y="6345"/>
                  </a:cubicBezTo>
                  <a:cubicBezTo>
                    <a:pt x="341" y="6460"/>
                    <a:pt x="285" y="6681"/>
                    <a:pt x="323" y="6737"/>
                  </a:cubicBezTo>
                  <a:cubicBezTo>
                    <a:pt x="327" y="6740"/>
                    <a:pt x="330" y="6747"/>
                    <a:pt x="348" y="6747"/>
                  </a:cubicBezTo>
                  <a:cubicBezTo>
                    <a:pt x="491" y="6765"/>
                    <a:pt x="719" y="6982"/>
                    <a:pt x="1111" y="7475"/>
                  </a:cubicBezTo>
                  <a:cubicBezTo>
                    <a:pt x="1170" y="7552"/>
                    <a:pt x="1223" y="7633"/>
                    <a:pt x="1265" y="7720"/>
                  </a:cubicBezTo>
                  <a:lnTo>
                    <a:pt x="1398" y="7720"/>
                  </a:lnTo>
                  <a:lnTo>
                    <a:pt x="1447" y="7724"/>
                  </a:lnTo>
                  <a:lnTo>
                    <a:pt x="1475" y="7727"/>
                  </a:lnTo>
                  <a:cubicBezTo>
                    <a:pt x="1503" y="7731"/>
                    <a:pt x="1527" y="7734"/>
                    <a:pt x="1552" y="7741"/>
                  </a:cubicBezTo>
                  <a:cubicBezTo>
                    <a:pt x="1737" y="7769"/>
                    <a:pt x="1874" y="7930"/>
                    <a:pt x="1874" y="8116"/>
                  </a:cubicBezTo>
                  <a:cubicBezTo>
                    <a:pt x="1898" y="8129"/>
                    <a:pt x="1958" y="8134"/>
                    <a:pt x="2024" y="8134"/>
                  </a:cubicBezTo>
                  <a:cubicBezTo>
                    <a:pt x="2085" y="8134"/>
                    <a:pt x="2151" y="8130"/>
                    <a:pt x="2200" y="8123"/>
                  </a:cubicBezTo>
                  <a:lnTo>
                    <a:pt x="2200" y="8116"/>
                  </a:lnTo>
                  <a:lnTo>
                    <a:pt x="2203" y="8102"/>
                  </a:lnTo>
                  <a:lnTo>
                    <a:pt x="2203" y="8098"/>
                  </a:lnTo>
                  <a:cubicBezTo>
                    <a:pt x="2203" y="8091"/>
                    <a:pt x="2207" y="8088"/>
                    <a:pt x="2207" y="8081"/>
                  </a:cubicBezTo>
                  <a:lnTo>
                    <a:pt x="2207" y="8077"/>
                  </a:lnTo>
                  <a:cubicBezTo>
                    <a:pt x="2207" y="8070"/>
                    <a:pt x="2210" y="8067"/>
                    <a:pt x="2214" y="8060"/>
                  </a:cubicBezTo>
                  <a:lnTo>
                    <a:pt x="2214" y="8056"/>
                  </a:lnTo>
                  <a:cubicBezTo>
                    <a:pt x="2214" y="8049"/>
                    <a:pt x="2217" y="8042"/>
                    <a:pt x="2221" y="8035"/>
                  </a:cubicBezTo>
                  <a:lnTo>
                    <a:pt x="2221" y="8032"/>
                  </a:lnTo>
                  <a:cubicBezTo>
                    <a:pt x="2224" y="8025"/>
                    <a:pt x="2228" y="8018"/>
                    <a:pt x="2231" y="8011"/>
                  </a:cubicBezTo>
                  <a:lnTo>
                    <a:pt x="2231" y="8007"/>
                  </a:lnTo>
                  <a:cubicBezTo>
                    <a:pt x="2235" y="8000"/>
                    <a:pt x="2242" y="7993"/>
                    <a:pt x="2245" y="7986"/>
                  </a:cubicBezTo>
                  <a:lnTo>
                    <a:pt x="2249" y="7983"/>
                  </a:lnTo>
                  <a:cubicBezTo>
                    <a:pt x="2256" y="7976"/>
                    <a:pt x="2263" y="7969"/>
                    <a:pt x="2270" y="7962"/>
                  </a:cubicBezTo>
                  <a:cubicBezTo>
                    <a:pt x="2277" y="7955"/>
                    <a:pt x="2284" y="7948"/>
                    <a:pt x="2294" y="7944"/>
                  </a:cubicBezTo>
                  <a:lnTo>
                    <a:pt x="2294" y="7941"/>
                  </a:lnTo>
                  <a:cubicBezTo>
                    <a:pt x="2172" y="7808"/>
                    <a:pt x="1944" y="7678"/>
                    <a:pt x="1765" y="7661"/>
                  </a:cubicBezTo>
                  <a:cubicBezTo>
                    <a:pt x="1653" y="7647"/>
                    <a:pt x="1555" y="7591"/>
                    <a:pt x="1489" y="7500"/>
                  </a:cubicBezTo>
                  <a:cubicBezTo>
                    <a:pt x="1370" y="7346"/>
                    <a:pt x="1314" y="7157"/>
                    <a:pt x="1324" y="6964"/>
                  </a:cubicBezTo>
                  <a:cubicBezTo>
                    <a:pt x="1335" y="6887"/>
                    <a:pt x="1282" y="6807"/>
                    <a:pt x="1230" y="6723"/>
                  </a:cubicBezTo>
                  <a:cubicBezTo>
                    <a:pt x="1177" y="6639"/>
                    <a:pt x="1121" y="6558"/>
                    <a:pt x="1121" y="6460"/>
                  </a:cubicBezTo>
                  <a:cubicBezTo>
                    <a:pt x="1121" y="6394"/>
                    <a:pt x="1086" y="6373"/>
                    <a:pt x="946" y="6320"/>
                  </a:cubicBezTo>
                  <a:cubicBezTo>
                    <a:pt x="904" y="6302"/>
                    <a:pt x="859" y="6285"/>
                    <a:pt x="810" y="6260"/>
                  </a:cubicBezTo>
                  <a:cubicBezTo>
                    <a:pt x="631" y="6173"/>
                    <a:pt x="708" y="5872"/>
                    <a:pt x="782" y="5578"/>
                  </a:cubicBezTo>
                  <a:cubicBezTo>
                    <a:pt x="806" y="5494"/>
                    <a:pt x="824" y="5410"/>
                    <a:pt x="838" y="5322"/>
                  </a:cubicBezTo>
                  <a:cubicBezTo>
                    <a:pt x="848" y="5224"/>
                    <a:pt x="908" y="5077"/>
                    <a:pt x="978" y="4906"/>
                  </a:cubicBezTo>
                  <a:cubicBezTo>
                    <a:pt x="1072" y="4671"/>
                    <a:pt x="1202" y="4349"/>
                    <a:pt x="1146" y="4244"/>
                  </a:cubicBezTo>
                  <a:cubicBezTo>
                    <a:pt x="1107" y="4177"/>
                    <a:pt x="1114" y="4097"/>
                    <a:pt x="1160" y="4037"/>
                  </a:cubicBezTo>
                  <a:cubicBezTo>
                    <a:pt x="1222" y="3951"/>
                    <a:pt x="1355" y="3895"/>
                    <a:pt x="1477" y="3895"/>
                  </a:cubicBezTo>
                  <a:cubicBezTo>
                    <a:pt x="1499" y="3895"/>
                    <a:pt x="1521" y="3897"/>
                    <a:pt x="1541" y="3901"/>
                  </a:cubicBezTo>
                  <a:cubicBezTo>
                    <a:pt x="1629" y="3911"/>
                    <a:pt x="1702" y="3974"/>
                    <a:pt x="1727" y="4058"/>
                  </a:cubicBezTo>
                  <a:lnTo>
                    <a:pt x="1730" y="4072"/>
                  </a:lnTo>
                  <a:cubicBezTo>
                    <a:pt x="1785" y="4276"/>
                    <a:pt x="1804" y="4344"/>
                    <a:pt x="2007" y="4344"/>
                  </a:cubicBezTo>
                  <a:cubicBezTo>
                    <a:pt x="2028" y="4344"/>
                    <a:pt x="2049" y="4343"/>
                    <a:pt x="2073" y="4342"/>
                  </a:cubicBezTo>
                  <a:cubicBezTo>
                    <a:pt x="2084" y="4342"/>
                    <a:pt x="2094" y="4341"/>
                    <a:pt x="2105" y="4341"/>
                  </a:cubicBezTo>
                  <a:cubicBezTo>
                    <a:pt x="2297" y="4341"/>
                    <a:pt x="2389" y="4434"/>
                    <a:pt x="2469" y="4514"/>
                  </a:cubicBezTo>
                  <a:cubicBezTo>
                    <a:pt x="2518" y="4570"/>
                    <a:pt x="2581" y="4615"/>
                    <a:pt x="2655" y="4643"/>
                  </a:cubicBezTo>
                  <a:cubicBezTo>
                    <a:pt x="2655" y="4636"/>
                    <a:pt x="2655" y="4629"/>
                    <a:pt x="2655" y="4619"/>
                  </a:cubicBezTo>
                  <a:lnTo>
                    <a:pt x="2655" y="4615"/>
                  </a:lnTo>
                  <a:cubicBezTo>
                    <a:pt x="2651" y="4608"/>
                    <a:pt x="2651" y="4601"/>
                    <a:pt x="2648" y="4594"/>
                  </a:cubicBezTo>
                  <a:cubicBezTo>
                    <a:pt x="2648" y="4587"/>
                    <a:pt x="2644" y="4577"/>
                    <a:pt x="2641" y="4570"/>
                  </a:cubicBezTo>
                  <a:lnTo>
                    <a:pt x="2637" y="4566"/>
                  </a:lnTo>
                  <a:lnTo>
                    <a:pt x="2627" y="4542"/>
                  </a:lnTo>
                  <a:cubicBezTo>
                    <a:pt x="2585" y="4465"/>
                    <a:pt x="2564" y="4381"/>
                    <a:pt x="2564" y="4297"/>
                  </a:cubicBezTo>
                  <a:cubicBezTo>
                    <a:pt x="2564" y="4237"/>
                    <a:pt x="2543" y="4184"/>
                    <a:pt x="2508" y="4139"/>
                  </a:cubicBezTo>
                  <a:cubicBezTo>
                    <a:pt x="2445" y="4037"/>
                    <a:pt x="2410" y="3946"/>
                    <a:pt x="2557" y="3764"/>
                  </a:cubicBezTo>
                  <a:cubicBezTo>
                    <a:pt x="2732" y="3550"/>
                    <a:pt x="3017" y="3353"/>
                    <a:pt x="3253" y="3353"/>
                  </a:cubicBezTo>
                  <a:cubicBezTo>
                    <a:pt x="3295" y="3353"/>
                    <a:pt x="3335" y="3359"/>
                    <a:pt x="3372" y="3372"/>
                  </a:cubicBezTo>
                  <a:cubicBezTo>
                    <a:pt x="3401" y="3381"/>
                    <a:pt x="3435" y="3384"/>
                    <a:pt x="3473" y="3384"/>
                  </a:cubicBezTo>
                  <a:cubicBezTo>
                    <a:pt x="3542" y="3384"/>
                    <a:pt x="3622" y="3373"/>
                    <a:pt x="3701" y="3362"/>
                  </a:cubicBezTo>
                  <a:cubicBezTo>
                    <a:pt x="3784" y="3349"/>
                    <a:pt x="3864" y="3338"/>
                    <a:pt x="3936" y="3338"/>
                  </a:cubicBezTo>
                  <a:cubicBezTo>
                    <a:pt x="4025" y="3338"/>
                    <a:pt x="4101" y="3356"/>
                    <a:pt x="4149" y="3414"/>
                  </a:cubicBezTo>
                  <a:lnTo>
                    <a:pt x="4156" y="3421"/>
                  </a:lnTo>
                  <a:lnTo>
                    <a:pt x="4171" y="3418"/>
                  </a:lnTo>
                  <a:cubicBezTo>
                    <a:pt x="4174" y="3407"/>
                    <a:pt x="4181" y="3397"/>
                    <a:pt x="4188" y="3386"/>
                  </a:cubicBezTo>
                  <a:cubicBezTo>
                    <a:pt x="4192" y="3376"/>
                    <a:pt x="4195" y="3365"/>
                    <a:pt x="4199" y="3355"/>
                  </a:cubicBezTo>
                  <a:lnTo>
                    <a:pt x="4199" y="3348"/>
                  </a:lnTo>
                  <a:cubicBezTo>
                    <a:pt x="4202" y="3341"/>
                    <a:pt x="4202" y="3330"/>
                    <a:pt x="4206" y="3320"/>
                  </a:cubicBezTo>
                  <a:lnTo>
                    <a:pt x="4206" y="3313"/>
                  </a:lnTo>
                  <a:cubicBezTo>
                    <a:pt x="4206" y="3302"/>
                    <a:pt x="4209" y="3292"/>
                    <a:pt x="4209" y="3281"/>
                  </a:cubicBezTo>
                  <a:lnTo>
                    <a:pt x="4209" y="3278"/>
                  </a:lnTo>
                  <a:lnTo>
                    <a:pt x="4209" y="3246"/>
                  </a:lnTo>
                  <a:lnTo>
                    <a:pt x="4209" y="3243"/>
                  </a:lnTo>
                  <a:cubicBezTo>
                    <a:pt x="4209" y="3232"/>
                    <a:pt x="4209" y="3222"/>
                    <a:pt x="4206" y="3211"/>
                  </a:cubicBezTo>
                  <a:lnTo>
                    <a:pt x="4206" y="3204"/>
                  </a:lnTo>
                  <a:cubicBezTo>
                    <a:pt x="4206" y="3194"/>
                    <a:pt x="4202" y="3180"/>
                    <a:pt x="4202" y="3169"/>
                  </a:cubicBezTo>
                  <a:lnTo>
                    <a:pt x="4202" y="3162"/>
                  </a:lnTo>
                  <a:lnTo>
                    <a:pt x="4199" y="3127"/>
                  </a:lnTo>
                  <a:cubicBezTo>
                    <a:pt x="4185" y="3047"/>
                    <a:pt x="4178" y="2966"/>
                    <a:pt x="4185" y="2889"/>
                  </a:cubicBezTo>
                  <a:cubicBezTo>
                    <a:pt x="4206" y="2634"/>
                    <a:pt x="3985" y="2410"/>
                    <a:pt x="3855" y="2375"/>
                  </a:cubicBezTo>
                  <a:cubicBezTo>
                    <a:pt x="3719" y="2333"/>
                    <a:pt x="3754" y="2154"/>
                    <a:pt x="3785" y="1993"/>
                  </a:cubicBezTo>
                  <a:lnTo>
                    <a:pt x="3789" y="1975"/>
                  </a:lnTo>
                  <a:cubicBezTo>
                    <a:pt x="3803" y="1912"/>
                    <a:pt x="3810" y="1849"/>
                    <a:pt x="3817" y="1786"/>
                  </a:cubicBezTo>
                  <a:cubicBezTo>
                    <a:pt x="3817" y="1751"/>
                    <a:pt x="3810" y="1723"/>
                    <a:pt x="3796" y="1713"/>
                  </a:cubicBezTo>
                  <a:cubicBezTo>
                    <a:pt x="3645" y="1629"/>
                    <a:pt x="3540" y="1496"/>
                    <a:pt x="3435" y="1370"/>
                  </a:cubicBezTo>
                  <a:lnTo>
                    <a:pt x="3379" y="1300"/>
                  </a:lnTo>
                  <a:cubicBezTo>
                    <a:pt x="3346" y="1261"/>
                    <a:pt x="3273" y="1238"/>
                    <a:pt x="3189" y="1238"/>
                  </a:cubicBezTo>
                  <a:cubicBezTo>
                    <a:pt x="3165" y="1238"/>
                    <a:pt x="3141" y="1240"/>
                    <a:pt x="3117" y="1244"/>
                  </a:cubicBezTo>
                  <a:cubicBezTo>
                    <a:pt x="3033" y="1258"/>
                    <a:pt x="2987" y="1289"/>
                    <a:pt x="2977" y="1307"/>
                  </a:cubicBezTo>
                  <a:cubicBezTo>
                    <a:pt x="2938" y="1408"/>
                    <a:pt x="2816" y="1468"/>
                    <a:pt x="2714" y="1482"/>
                  </a:cubicBezTo>
                  <a:cubicBezTo>
                    <a:pt x="2699" y="1485"/>
                    <a:pt x="2685" y="1487"/>
                    <a:pt x="2670" y="1487"/>
                  </a:cubicBezTo>
                  <a:cubicBezTo>
                    <a:pt x="2611" y="1487"/>
                    <a:pt x="2554" y="1460"/>
                    <a:pt x="2515" y="1415"/>
                  </a:cubicBezTo>
                  <a:cubicBezTo>
                    <a:pt x="2494" y="1387"/>
                    <a:pt x="2466" y="1370"/>
                    <a:pt x="2434" y="1366"/>
                  </a:cubicBezTo>
                  <a:cubicBezTo>
                    <a:pt x="2427" y="1365"/>
                    <a:pt x="2419" y="1365"/>
                    <a:pt x="2410" y="1365"/>
                  </a:cubicBezTo>
                  <a:cubicBezTo>
                    <a:pt x="2364" y="1365"/>
                    <a:pt x="2298" y="1383"/>
                    <a:pt x="2207" y="1450"/>
                  </a:cubicBezTo>
                  <a:cubicBezTo>
                    <a:pt x="2179" y="1475"/>
                    <a:pt x="2144" y="1499"/>
                    <a:pt x="2112" y="1527"/>
                  </a:cubicBezTo>
                  <a:cubicBezTo>
                    <a:pt x="1982" y="1630"/>
                    <a:pt x="1859" y="1731"/>
                    <a:pt x="1756" y="1731"/>
                  </a:cubicBezTo>
                  <a:cubicBezTo>
                    <a:pt x="1740" y="1731"/>
                    <a:pt x="1724" y="1729"/>
                    <a:pt x="1709" y="1723"/>
                  </a:cubicBezTo>
                  <a:cubicBezTo>
                    <a:pt x="1657" y="1702"/>
                    <a:pt x="1622" y="1657"/>
                    <a:pt x="1615" y="1601"/>
                  </a:cubicBezTo>
                  <a:cubicBezTo>
                    <a:pt x="1590" y="1506"/>
                    <a:pt x="1615" y="1405"/>
                    <a:pt x="1685" y="1338"/>
                  </a:cubicBezTo>
                  <a:cubicBezTo>
                    <a:pt x="1730" y="1293"/>
                    <a:pt x="1755" y="1230"/>
                    <a:pt x="1755" y="1167"/>
                  </a:cubicBezTo>
                  <a:cubicBezTo>
                    <a:pt x="1755" y="1079"/>
                    <a:pt x="1769" y="992"/>
                    <a:pt x="1793" y="908"/>
                  </a:cubicBezTo>
                  <a:cubicBezTo>
                    <a:pt x="1818" y="806"/>
                    <a:pt x="1839" y="722"/>
                    <a:pt x="1804" y="603"/>
                  </a:cubicBezTo>
                  <a:cubicBezTo>
                    <a:pt x="1790" y="559"/>
                    <a:pt x="1778" y="544"/>
                    <a:pt x="1744" y="544"/>
                  </a:cubicBezTo>
                  <a:cubicBezTo>
                    <a:pt x="1726" y="544"/>
                    <a:pt x="1703" y="548"/>
                    <a:pt x="1671" y="554"/>
                  </a:cubicBezTo>
                  <a:cubicBezTo>
                    <a:pt x="1645" y="559"/>
                    <a:pt x="1613" y="566"/>
                    <a:pt x="1580" y="566"/>
                  </a:cubicBezTo>
                  <a:cubicBezTo>
                    <a:pt x="1522" y="566"/>
                    <a:pt x="1463" y="546"/>
                    <a:pt x="1429" y="467"/>
                  </a:cubicBezTo>
                  <a:cubicBezTo>
                    <a:pt x="1394" y="372"/>
                    <a:pt x="1384" y="271"/>
                    <a:pt x="1394" y="169"/>
                  </a:cubicBezTo>
                  <a:cubicBezTo>
                    <a:pt x="1398" y="134"/>
                    <a:pt x="1398" y="96"/>
                    <a:pt x="1391" y="57"/>
                  </a:cubicBezTo>
                  <a:lnTo>
                    <a:pt x="1387" y="57"/>
                  </a:lnTo>
                  <a:lnTo>
                    <a:pt x="1384" y="50"/>
                  </a:lnTo>
                  <a:lnTo>
                    <a:pt x="1380" y="46"/>
                  </a:lnTo>
                  <a:lnTo>
                    <a:pt x="1373" y="39"/>
                  </a:lnTo>
                  <a:lnTo>
                    <a:pt x="1359" y="25"/>
                  </a:lnTo>
                  <a:lnTo>
                    <a:pt x="1356" y="22"/>
                  </a:lnTo>
                  <a:lnTo>
                    <a:pt x="1345" y="15"/>
                  </a:lnTo>
                  <a:lnTo>
                    <a:pt x="1335" y="4"/>
                  </a:lnTo>
                  <a:lnTo>
                    <a:pt x="13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7" name="Google Shape;5494;p64">
              <a:extLst>
                <a:ext uri="{FF2B5EF4-FFF2-40B4-BE49-F238E27FC236}">
                  <a16:creationId xmlns:a16="http://schemas.microsoft.com/office/drawing/2014/main" id="{05DF16B0-9465-C423-44C1-2E89FD10FBE8}"/>
                </a:ext>
              </a:extLst>
            </p:cNvPr>
            <p:cNvSpPr/>
            <p:nvPr/>
          </p:nvSpPr>
          <p:spPr>
            <a:xfrm>
              <a:off x="2774359" y="196218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8" name="Google Shape;5495;p64">
              <a:extLst>
                <a:ext uri="{FF2B5EF4-FFF2-40B4-BE49-F238E27FC236}">
                  <a16:creationId xmlns:a16="http://schemas.microsoft.com/office/drawing/2014/main" id="{D9C6A46F-9034-5C3F-5203-8464605272CC}"/>
                </a:ext>
              </a:extLst>
            </p:cNvPr>
            <p:cNvSpPr/>
            <p:nvPr/>
          </p:nvSpPr>
          <p:spPr>
            <a:xfrm>
              <a:off x="2774115" y="196265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9" name="Google Shape;5496;p64">
              <a:extLst>
                <a:ext uri="{FF2B5EF4-FFF2-40B4-BE49-F238E27FC236}">
                  <a16:creationId xmlns:a16="http://schemas.microsoft.com/office/drawing/2014/main" id="{0395C212-D4C8-1DFA-8F17-EA1CFB95625C}"/>
                </a:ext>
              </a:extLst>
            </p:cNvPr>
            <p:cNvSpPr/>
            <p:nvPr/>
          </p:nvSpPr>
          <p:spPr>
            <a:xfrm>
              <a:off x="2774590" y="196176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0" name="Google Shape;5497;p64">
              <a:extLst>
                <a:ext uri="{FF2B5EF4-FFF2-40B4-BE49-F238E27FC236}">
                  <a16:creationId xmlns:a16="http://schemas.microsoft.com/office/drawing/2014/main" id="{B9490183-BBED-9FC5-2874-0EA5EFA01154}"/>
                </a:ext>
              </a:extLst>
            </p:cNvPr>
            <p:cNvSpPr/>
            <p:nvPr/>
          </p:nvSpPr>
          <p:spPr>
            <a:xfrm>
              <a:off x="2775595" y="195952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1" name="Google Shape;5498;p64">
              <a:extLst>
                <a:ext uri="{FF2B5EF4-FFF2-40B4-BE49-F238E27FC236}">
                  <a16:creationId xmlns:a16="http://schemas.microsoft.com/office/drawing/2014/main" id="{A0F27542-E588-E512-4E38-46AA3D2B7766}"/>
                </a:ext>
              </a:extLst>
            </p:cNvPr>
            <p:cNvSpPr/>
            <p:nvPr/>
          </p:nvSpPr>
          <p:spPr>
            <a:xfrm>
              <a:off x="2775310" y="1960145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2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2" name="Google Shape;5499;p64">
              <a:extLst>
                <a:ext uri="{FF2B5EF4-FFF2-40B4-BE49-F238E27FC236}">
                  <a16:creationId xmlns:a16="http://schemas.microsoft.com/office/drawing/2014/main" id="{86633830-B5A1-9132-D671-7031CA2E07F5}"/>
                </a:ext>
              </a:extLst>
            </p:cNvPr>
            <p:cNvSpPr/>
            <p:nvPr/>
          </p:nvSpPr>
          <p:spPr>
            <a:xfrm>
              <a:off x="2775065" y="1960756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3" name="Google Shape;5500;p64">
              <a:extLst>
                <a:ext uri="{FF2B5EF4-FFF2-40B4-BE49-F238E27FC236}">
                  <a16:creationId xmlns:a16="http://schemas.microsoft.com/office/drawing/2014/main" id="{3DBF06E3-0847-8AF6-25D8-284B72E71D94}"/>
                </a:ext>
              </a:extLst>
            </p:cNvPr>
            <p:cNvSpPr/>
            <p:nvPr/>
          </p:nvSpPr>
          <p:spPr>
            <a:xfrm>
              <a:off x="2774835" y="196128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4" name="Google Shape;5501;p64">
              <a:extLst>
                <a:ext uri="{FF2B5EF4-FFF2-40B4-BE49-F238E27FC236}">
                  <a16:creationId xmlns:a16="http://schemas.microsoft.com/office/drawing/2014/main" id="{A61D03F5-DD9F-718C-4416-F5AEED71ECD9}"/>
                </a:ext>
              </a:extLst>
            </p:cNvPr>
            <p:cNvSpPr/>
            <p:nvPr/>
          </p:nvSpPr>
          <p:spPr>
            <a:xfrm>
              <a:off x="2773884" y="196309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5" name="Google Shape;5502;p64">
              <a:extLst>
                <a:ext uri="{FF2B5EF4-FFF2-40B4-BE49-F238E27FC236}">
                  <a16:creationId xmlns:a16="http://schemas.microsoft.com/office/drawing/2014/main" id="{E55C0E0A-799E-16D4-FB0D-B057F9B0902E}"/>
                </a:ext>
              </a:extLst>
            </p:cNvPr>
            <p:cNvSpPr/>
            <p:nvPr/>
          </p:nvSpPr>
          <p:spPr>
            <a:xfrm>
              <a:off x="2772268" y="196508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6" name="Google Shape;5503;p64">
              <a:extLst>
                <a:ext uri="{FF2B5EF4-FFF2-40B4-BE49-F238E27FC236}">
                  <a16:creationId xmlns:a16="http://schemas.microsoft.com/office/drawing/2014/main" id="{0BF6CB8D-948E-95FF-336D-6A969CD0BC17}"/>
                </a:ext>
              </a:extLst>
            </p:cNvPr>
            <p:cNvSpPr/>
            <p:nvPr/>
          </p:nvSpPr>
          <p:spPr>
            <a:xfrm>
              <a:off x="2772839" y="1964517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7" name="Google Shape;5504;p64">
              <a:extLst>
                <a:ext uri="{FF2B5EF4-FFF2-40B4-BE49-F238E27FC236}">
                  <a16:creationId xmlns:a16="http://schemas.microsoft.com/office/drawing/2014/main" id="{2A6FD23B-7036-3A3E-5AE6-7371449A8B98}"/>
                </a:ext>
              </a:extLst>
            </p:cNvPr>
            <p:cNvSpPr/>
            <p:nvPr/>
          </p:nvSpPr>
          <p:spPr>
            <a:xfrm>
              <a:off x="2771983" y="19653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8" name="Google Shape;5505;p64">
              <a:extLst>
                <a:ext uri="{FF2B5EF4-FFF2-40B4-BE49-F238E27FC236}">
                  <a16:creationId xmlns:a16="http://schemas.microsoft.com/office/drawing/2014/main" id="{D5D5A88C-43B6-EFE8-B66C-8FA9A5AD8553}"/>
                </a:ext>
              </a:extLst>
            </p:cNvPr>
            <p:cNvSpPr/>
            <p:nvPr/>
          </p:nvSpPr>
          <p:spPr>
            <a:xfrm>
              <a:off x="2773599" y="19635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9" name="Google Shape;5506;p64">
              <a:extLst>
                <a:ext uri="{FF2B5EF4-FFF2-40B4-BE49-F238E27FC236}">
                  <a16:creationId xmlns:a16="http://schemas.microsoft.com/office/drawing/2014/main" id="{6F108C58-84A3-5553-5E7B-76783F8CA8DE}"/>
                </a:ext>
              </a:extLst>
            </p:cNvPr>
            <p:cNvSpPr/>
            <p:nvPr/>
          </p:nvSpPr>
          <p:spPr>
            <a:xfrm>
              <a:off x="2773070" y="1964178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0" name="Google Shape;5507;p64">
              <a:extLst>
                <a:ext uri="{FF2B5EF4-FFF2-40B4-BE49-F238E27FC236}">
                  <a16:creationId xmlns:a16="http://schemas.microsoft.com/office/drawing/2014/main" id="{2F097881-A085-7D49-4B46-4E617451147C}"/>
                </a:ext>
              </a:extLst>
            </p:cNvPr>
            <p:cNvSpPr/>
            <p:nvPr/>
          </p:nvSpPr>
          <p:spPr>
            <a:xfrm>
              <a:off x="2773355" y="196385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1" name="Google Shape;5508;p64">
              <a:extLst>
                <a:ext uri="{FF2B5EF4-FFF2-40B4-BE49-F238E27FC236}">
                  <a16:creationId xmlns:a16="http://schemas.microsoft.com/office/drawing/2014/main" id="{8BC26C78-8461-6090-6579-4FFE136A1E6A}"/>
                </a:ext>
              </a:extLst>
            </p:cNvPr>
            <p:cNvSpPr/>
            <p:nvPr/>
          </p:nvSpPr>
          <p:spPr>
            <a:xfrm>
              <a:off x="2776776" y="1956384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1" y="22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2" name="Google Shape;5509;p64">
              <a:extLst>
                <a:ext uri="{FF2B5EF4-FFF2-40B4-BE49-F238E27FC236}">
                  <a16:creationId xmlns:a16="http://schemas.microsoft.com/office/drawing/2014/main" id="{B84B98A2-1910-1FFB-4ADE-6492A280AA07}"/>
                </a:ext>
              </a:extLst>
            </p:cNvPr>
            <p:cNvSpPr/>
            <p:nvPr/>
          </p:nvSpPr>
          <p:spPr>
            <a:xfrm>
              <a:off x="2777496" y="195406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3" name="Google Shape;5510;p64">
              <a:extLst>
                <a:ext uri="{FF2B5EF4-FFF2-40B4-BE49-F238E27FC236}">
                  <a16:creationId xmlns:a16="http://schemas.microsoft.com/office/drawing/2014/main" id="{4DC43332-9EFB-D4FF-680B-A1BDD4E6CD13}"/>
                </a:ext>
              </a:extLst>
            </p:cNvPr>
            <p:cNvSpPr/>
            <p:nvPr/>
          </p:nvSpPr>
          <p:spPr>
            <a:xfrm>
              <a:off x="2777632" y="1953628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4" name="Google Shape;5511;p64">
              <a:extLst>
                <a:ext uri="{FF2B5EF4-FFF2-40B4-BE49-F238E27FC236}">
                  <a16:creationId xmlns:a16="http://schemas.microsoft.com/office/drawing/2014/main" id="{784E16A0-22B5-2640-8514-22AF7536E708}"/>
                </a:ext>
              </a:extLst>
            </p:cNvPr>
            <p:cNvSpPr/>
            <p:nvPr/>
          </p:nvSpPr>
          <p:spPr>
            <a:xfrm>
              <a:off x="2776926" y="195590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8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5" name="Google Shape;5512;p64">
              <a:extLst>
                <a:ext uri="{FF2B5EF4-FFF2-40B4-BE49-F238E27FC236}">
                  <a16:creationId xmlns:a16="http://schemas.microsoft.com/office/drawing/2014/main" id="{79DFE357-1255-0880-B9D7-2CCF54CE0B19}"/>
                </a:ext>
              </a:extLst>
            </p:cNvPr>
            <p:cNvSpPr/>
            <p:nvPr/>
          </p:nvSpPr>
          <p:spPr>
            <a:xfrm>
              <a:off x="2777251" y="1954959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6" name="Google Shape;5513;p64">
              <a:extLst>
                <a:ext uri="{FF2B5EF4-FFF2-40B4-BE49-F238E27FC236}">
                  <a16:creationId xmlns:a16="http://schemas.microsoft.com/office/drawing/2014/main" id="{067DD0C2-C7EC-4BB5-3B70-8C82FF2FEDEA}"/>
                </a:ext>
              </a:extLst>
            </p:cNvPr>
            <p:cNvSpPr/>
            <p:nvPr/>
          </p:nvSpPr>
          <p:spPr>
            <a:xfrm>
              <a:off x="2777781" y="195324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7" name="Google Shape;5514;p64">
              <a:extLst>
                <a:ext uri="{FF2B5EF4-FFF2-40B4-BE49-F238E27FC236}">
                  <a16:creationId xmlns:a16="http://schemas.microsoft.com/office/drawing/2014/main" id="{D8B3C573-1514-9D58-975D-E9917CCFE41C}"/>
                </a:ext>
              </a:extLst>
            </p:cNvPr>
            <p:cNvSpPr/>
            <p:nvPr/>
          </p:nvSpPr>
          <p:spPr>
            <a:xfrm>
              <a:off x="2777061" y="195543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8" name="Google Shape;5515;p64">
              <a:extLst>
                <a:ext uri="{FF2B5EF4-FFF2-40B4-BE49-F238E27FC236}">
                  <a16:creationId xmlns:a16="http://schemas.microsoft.com/office/drawing/2014/main" id="{600C2150-BAC2-01A0-39B0-470BF6460C05}"/>
                </a:ext>
              </a:extLst>
            </p:cNvPr>
            <p:cNvSpPr/>
            <p:nvPr/>
          </p:nvSpPr>
          <p:spPr>
            <a:xfrm>
              <a:off x="2776586" y="195691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9" name="Google Shape;5516;p64">
              <a:extLst>
                <a:ext uri="{FF2B5EF4-FFF2-40B4-BE49-F238E27FC236}">
                  <a16:creationId xmlns:a16="http://schemas.microsoft.com/office/drawing/2014/main" id="{A344099F-975F-2537-D4D8-368F4A63CDC0}"/>
                </a:ext>
              </a:extLst>
            </p:cNvPr>
            <p:cNvSpPr/>
            <p:nvPr/>
          </p:nvSpPr>
          <p:spPr>
            <a:xfrm>
              <a:off x="2776206" y="1957959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0" name="Google Shape;5517;p64">
              <a:extLst>
                <a:ext uri="{FF2B5EF4-FFF2-40B4-BE49-F238E27FC236}">
                  <a16:creationId xmlns:a16="http://schemas.microsoft.com/office/drawing/2014/main" id="{9840830C-2E24-1659-808A-554F59681381}"/>
                </a:ext>
              </a:extLst>
            </p:cNvPr>
            <p:cNvSpPr/>
            <p:nvPr/>
          </p:nvSpPr>
          <p:spPr>
            <a:xfrm>
              <a:off x="2776016" y="1958475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1" name="Google Shape;5518;p64">
              <a:extLst>
                <a:ext uri="{FF2B5EF4-FFF2-40B4-BE49-F238E27FC236}">
                  <a16:creationId xmlns:a16="http://schemas.microsoft.com/office/drawing/2014/main" id="{EC71E987-ACA7-0607-7C25-0C489FB385A5}"/>
                </a:ext>
              </a:extLst>
            </p:cNvPr>
            <p:cNvSpPr/>
            <p:nvPr/>
          </p:nvSpPr>
          <p:spPr>
            <a:xfrm>
              <a:off x="2776396" y="19574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2" name="Google Shape;5519;p64">
              <a:extLst>
                <a:ext uri="{FF2B5EF4-FFF2-40B4-BE49-F238E27FC236}">
                  <a16:creationId xmlns:a16="http://schemas.microsoft.com/office/drawing/2014/main" id="{7CF9B3D4-3B2A-1886-C31F-A2E0D473F88F}"/>
                </a:ext>
              </a:extLst>
            </p:cNvPr>
            <p:cNvSpPr/>
            <p:nvPr/>
          </p:nvSpPr>
          <p:spPr>
            <a:xfrm>
              <a:off x="2777401" y="195448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3" name="Google Shape;5520;p64">
              <a:extLst>
                <a:ext uri="{FF2B5EF4-FFF2-40B4-BE49-F238E27FC236}">
                  <a16:creationId xmlns:a16="http://schemas.microsoft.com/office/drawing/2014/main" id="{DFABF1D9-5A3E-7ADB-43D0-CA159FE2E731}"/>
                </a:ext>
              </a:extLst>
            </p:cNvPr>
            <p:cNvSpPr/>
            <p:nvPr/>
          </p:nvSpPr>
          <p:spPr>
            <a:xfrm>
              <a:off x="2772554" y="1964802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4" name="Google Shape;5521;p64">
              <a:extLst>
                <a:ext uri="{FF2B5EF4-FFF2-40B4-BE49-F238E27FC236}">
                  <a16:creationId xmlns:a16="http://schemas.microsoft.com/office/drawing/2014/main" id="{3F5E2AD0-65AF-8AE3-6BE2-B991117F6649}"/>
                </a:ext>
              </a:extLst>
            </p:cNvPr>
            <p:cNvSpPr/>
            <p:nvPr/>
          </p:nvSpPr>
          <p:spPr>
            <a:xfrm>
              <a:off x="2775826" y="195900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5" name="Google Shape;5522;p64">
              <a:extLst>
                <a:ext uri="{FF2B5EF4-FFF2-40B4-BE49-F238E27FC236}">
                  <a16:creationId xmlns:a16="http://schemas.microsoft.com/office/drawing/2014/main" id="{6E5A9CC0-7BB0-56AC-3AF3-7BE57A8E9F4C}"/>
                </a:ext>
              </a:extLst>
            </p:cNvPr>
            <p:cNvSpPr/>
            <p:nvPr/>
          </p:nvSpPr>
          <p:spPr>
            <a:xfrm>
              <a:off x="2771698" y="196550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6" name="Google Shape;5523;p64">
              <a:extLst>
                <a:ext uri="{FF2B5EF4-FFF2-40B4-BE49-F238E27FC236}">
                  <a16:creationId xmlns:a16="http://schemas.microsoft.com/office/drawing/2014/main" id="{B5E668D3-0136-C00C-06F3-7A0366AD1A9F}"/>
                </a:ext>
              </a:extLst>
            </p:cNvPr>
            <p:cNvSpPr/>
            <p:nvPr/>
          </p:nvSpPr>
          <p:spPr>
            <a:xfrm>
              <a:off x="2800401" y="1951917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7" name="Google Shape;5524;p64">
              <a:extLst>
                <a:ext uri="{FF2B5EF4-FFF2-40B4-BE49-F238E27FC236}">
                  <a16:creationId xmlns:a16="http://schemas.microsoft.com/office/drawing/2014/main" id="{59643636-07D7-23A2-37B4-83B6AA64C423}"/>
                </a:ext>
              </a:extLst>
            </p:cNvPr>
            <p:cNvSpPr/>
            <p:nvPr/>
          </p:nvSpPr>
          <p:spPr>
            <a:xfrm>
              <a:off x="2800591" y="195258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8" name="Google Shape;5525;p64">
              <a:extLst>
                <a:ext uri="{FF2B5EF4-FFF2-40B4-BE49-F238E27FC236}">
                  <a16:creationId xmlns:a16="http://schemas.microsoft.com/office/drawing/2014/main" id="{403A7F67-5A8B-31EC-B962-84C51053D487}"/>
                </a:ext>
              </a:extLst>
            </p:cNvPr>
            <p:cNvSpPr/>
            <p:nvPr/>
          </p:nvSpPr>
          <p:spPr>
            <a:xfrm>
              <a:off x="2800591" y="19530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9" name="Google Shape;5526;p64">
              <a:extLst>
                <a:ext uri="{FF2B5EF4-FFF2-40B4-BE49-F238E27FC236}">
                  <a16:creationId xmlns:a16="http://schemas.microsoft.com/office/drawing/2014/main" id="{028DC622-D49A-AE54-5FE4-BDFF2B691D15}"/>
                </a:ext>
              </a:extLst>
            </p:cNvPr>
            <p:cNvSpPr/>
            <p:nvPr/>
          </p:nvSpPr>
          <p:spPr>
            <a:xfrm>
              <a:off x="2820930" y="19362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0" name="Google Shape;5527;p64">
              <a:extLst>
                <a:ext uri="{FF2B5EF4-FFF2-40B4-BE49-F238E27FC236}">
                  <a16:creationId xmlns:a16="http://schemas.microsoft.com/office/drawing/2014/main" id="{C69C14E4-C5A8-1BAD-64C8-00A07E43323F}"/>
                </a:ext>
              </a:extLst>
            </p:cNvPr>
            <p:cNvSpPr/>
            <p:nvPr/>
          </p:nvSpPr>
          <p:spPr>
            <a:xfrm>
              <a:off x="2800550" y="195229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1" name="Google Shape;5528;p64">
              <a:extLst>
                <a:ext uri="{FF2B5EF4-FFF2-40B4-BE49-F238E27FC236}">
                  <a16:creationId xmlns:a16="http://schemas.microsoft.com/office/drawing/2014/main" id="{AA718B96-3767-079C-1DB2-C685FE6B3D7A}"/>
                </a:ext>
              </a:extLst>
            </p:cNvPr>
            <p:cNvSpPr/>
            <p:nvPr/>
          </p:nvSpPr>
          <p:spPr>
            <a:xfrm>
              <a:off x="2783293" y="189064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2" name="Google Shape;5529;p64">
              <a:extLst>
                <a:ext uri="{FF2B5EF4-FFF2-40B4-BE49-F238E27FC236}">
                  <a16:creationId xmlns:a16="http://schemas.microsoft.com/office/drawing/2014/main" id="{8DF526F7-EBE8-B8BF-883C-402540E370A6}"/>
                </a:ext>
              </a:extLst>
            </p:cNvPr>
            <p:cNvSpPr/>
            <p:nvPr/>
          </p:nvSpPr>
          <p:spPr>
            <a:xfrm>
              <a:off x="2821609" y="1933425"/>
              <a:ext cx="0" cy="109"/>
            </a:xfrm>
            <a:custGeom>
              <a:avLst/>
              <a:gdLst/>
              <a:ahLst/>
              <a:cxnLst/>
              <a:rect l="l" t="t" r="r" b="b"/>
              <a:pathLst>
                <a:path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3" name="Google Shape;5530;p64">
              <a:extLst>
                <a:ext uri="{FF2B5EF4-FFF2-40B4-BE49-F238E27FC236}">
                  <a16:creationId xmlns:a16="http://schemas.microsoft.com/office/drawing/2014/main" id="{85D7AA6E-B18E-A6CD-21B9-668CD40582C6}"/>
                </a:ext>
              </a:extLst>
            </p:cNvPr>
            <p:cNvSpPr/>
            <p:nvPr/>
          </p:nvSpPr>
          <p:spPr>
            <a:xfrm>
              <a:off x="2821555" y="193285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4" name="Google Shape;5531;p64">
              <a:extLst>
                <a:ext uri="{FF2B5EF4-FFF2-40B4-BE49-F238E27FC236}">
                  <a16:creationId xmlns:a16="http://schemas.microsoft.com/office/drawing/2014/main" id="{CE519ACC-FC5E-464D-9DC4-57A129D1DFDD}"/>
                </a:ext>
              </a:extLst>
            </p:cNvPr>
            <p:cNvSpPr/>
            <p:nvPr/>
          </p:nvSpPr>
          <p:spPr>
            <a:xfrm>
              <a:off x="2787380" y="1905767"/>
              <a:ext cx="964" cy="2390"/>
            </a:xfrm>
            <a:custGeom>
              <a:avLst/>
              <a:gdLst/>
              <a:ahLst/>
              <a:cxnLst/>
              <a:rect l="l" t="t" r="r" b="b"/>
              <a:pathLst>
                <a:path w="71" h="176" extrusionOk="0">
                  <a:moveTo>
                    <a:pt x="0" y="175"/>
                  </a:moveTo>
                  <a:cubicBezTo>
                    <a:pt x="46" y="130"/>
                    <a:pt x="70" y="67"/>
                    <a:pt x="70" y="0"/>
                  </a:cubicBezTo>
                  <a:cubicBezTo>
                    <a:pt x="70" y="67"/>
                    <a:pt x="46" y="130"/>
                    <a:pt x="0" y="17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5" name="Google Shape;5532;p64">
              <a:extLst>
                <a:ext uri="{FF2B5EF4-FFF2-40B4-BE49-F238E27FC236}">
                  <a16:creationId xmlns:a16="http://schemas.microsoft.com/office/drawing/2014/main" id="{2B2F96B9-64BA-FB20-1A56-3CDA4C38DFD5}"/>
                </a:ext>
              </a:extLst>
            </p:cNvPr>
            <p:cNvSpPr/>
            <p:nvPr/>
          </p:nvSpPr>
          <p:spPr>
            <a:xfrm>
              <a:off x="2782913" y="189026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6" name="Google Shape;5533;p64">
              <a:extLst>
                <a:ext uri="{FF2B5EF4-FFF2-40B4-BE49-F238E27FC236}">
                  <a16:creationId xmlns:a16="http://schemas.microsoft.com/office/drawing/2014/main" id="{198B3CF0-9233-1D3B-56FD-C37B4621E5FE}"/>
                </a:ext>
              </a:extLst>
            </p:cNvPr>
            <p:cNvSpPr/>
            <p:nvPr/>
          </p:nvSpPr>
          <p:spPr>
            <a:xfrm>
              <a:off x="2783198" y="189054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7" name="Google Shape;5534;p64">
              <a:extLst>
                <a:ext uri="{FF2B5EF4-FFF2-40B4-BE49-F238E27FC236}">
                  <a16:creationId xmlns:a16="http://schemas.microsoft.com/office/drawing/2014/main" id="{6871D329-1765-5EA4-D2B6-D57B178FE8DC}"/>
                </a:ext>
              </a:extLst>
            </p:cNvPr>
            <p:cNvSpPr/>
            <p:nvPr/>
          </p:nvSpPr>
          <p:spPr>
            <a:xfrm>
              <a:off x="2815988" y="1913221"/>
              <a:ext cx="299" cy="1018"/>
            </a:xfrm>
            <a:custGeom>
              <a:avLst/>
              <a:gdLst/>
              <a:ahLst/>
              <a:cxnLst/>
              <a:rect l="l" t="t" r="r" b="b"/>
              <a:pathLst>
                <a:path w="22" h="75" extrusionOk="0">
                  <a:moveTo>
                    <a:pt x="1" y="1"/>
                  </a:moveTo>
                  <a:cubicBezTo>
                    <a:pt x="18" y="8"/>
                    <a:pt x="22" y="36"/>
                    <a:pt x="22" y="74"/>
                  </a:cubicBezTo>
                  <a:cubicBezTo>
                    <a:pt x="22" y="36"/>
                    <a:pt x="1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8" name="Google Shape;5535;p64">
              <a:extLst>
                <a:ext uri="{FF2B5EF4-FFF2-40B4-BE49-F238E27FC236}">
                  <a16:creationId xmlns:a16="http://schemas.microsoft.com/office/drawing/2014/main" id="{08F067D6-0D5C-E930-1495-6C34A959976C}"/>
                </a:ext>
              </a:extLst>
            </p:cNvPr>
            <p:cNvSpPr/>
            <p:nvPr/>
          </p:nvSpPr>
          <p:spPr>
            <a:xfrm>
              <a:off x="2821650" y="193399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9" name="Google Shape;5536;p64">
              <a:extLst>
                <a:ext uri="{FF2B5EF4-FFF2-40B4-BE49-F238E27FC236}">
                  <a16:creationId xmlns:a16="http://schemas.microsoft.com/office/drawing/2014/main" id="{B185B1C6-FA0A-5D4C-CE4D-5131C9569810}"/>
                </a:ext>
              </a:extLst>
            </p:cNvPr>
            <p:cNvSpPr/>
            <p:nvPr/>
          </p:nvSpPr>
          <p:spPr>
            <a:xfrm>
              <a:off x="2782574" y="18899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0" name="Google Shape;5537;p64">
              <a:extLst>
                <a:ext uri="{FF2B5EF4-FFF2-40B4-BE49-F238E27FC236}">
                  <a16:creationId xmlns:a16="http://schemas.microsoft.com/office/drawing/2014/main" id="{D26790B2-EE2B-CB5F-1E4C-8198034C31B9}"/>
                </a:ext>
              </a:extLst>
            </p:cNvPr>
            <p:cNvSpPr/>
            <p:nvPr/>
          </p:nvSpPr>
          <p:spPr>
            <a:xfrm>
              <a:off x="2782723" y="189007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1" name="Google Shape;5538;p64">
              <a:extLst>
                <a:ext uri="{FF2B5EF4-FFF2-40B4-BE49-F238E27FC236}">
                  <a16:creationId xmlns:a16="http://schemas.microsoft.com/office/drawing/2014/main" id="{A6C853DE-CC1B-5FC2-132E-C969D7DF3C83}"/>
                </a:ext>
              </a:extLst>
            </p:cNvPr>
            <p:cNvSpPr/>
            <p:nvPr/>
          </p:nvSpPr>
          <p:spPr>
            <a:xfrm>
              <a:off x="2783103" y="1890411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2" name="Google Shape;5539;p64">
              <a:extLst>
                <a:ext uri="{FF2B5EF4-FFF2-40B4-BE49-F238E27FC236}">
                  <a16:creationId xmlns:a16="http://schemas.microsoft.com/office/drawing/2014/main" id="{15827BE3-31DC-AC55-918A-B777A157F70F}"/>
                </a:ext>
              </a:extLst>
            </p:cNvPr>
            <p:cNvSpPr/>
            <p:nvPr/>
          </p:nvSpPr>
          <p:spPr>
            <a:xfrm>
              <a:off x="2783334" y="189069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3" name="Google Shape;5540;p64">
              <a:extLst>
                <a:ext uri="{FF2B5EF4-FFF2-40B4-BE49-F238E27FC236}">
                  <a16:creationId xmlns:a16="http://schemas.microsoft.com/office/drawing/2014/main" id="{CDA7D03A-C07E-E3E5-9BC2-125D6A305995}"/>
                </a:ext>
              </a:extLst>
            </p:cNvPr>
            <p:cNvSpPr/>
            <p:nvPr/>
          </p:nvSpPr>
          <p:spPr>
            <a:xfrm>
              <a:off x="2821324" y="1935950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4" name="Google Shape;5541;p64">
              <a:extLst>
                <a:ext uri="{FF2B5EF4-FFF2-40B4-BE49-F238E27FC236}">
                  <a16:creationId xmlns:a16="http://schemas.microsoft.com/office/drawing/2014/main" id="{727959B3-9541-E7AF-5AE4-16CFE7EDF944}"/>
                </a:ext>
              </a:extLst>
            </p:cNvPr>
            <p:cNvSpPr/>
            <p:nvPr/>
          </p:nvSpPr>
          <p:spPr>
            <a:xfrm>
              <a:off x="2821609" y="1934945"/>
              <a:ext cx="0" cy="68"/>
            </a:xfrm>
            <a:custGeom>
              <a:avLst/>
              <a:gdLst/>
              <a:ahLst/>
              <a:cxnLst/>
              <a:rect l="l" t="t" r="r" b="b"/>
              <a:pathLst>
                <a:path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5" name="Google Shape;5542;p64">
              <a:extLst>
                <a:ext uri="{FF2B5EF4-FFF2-40B4-BE49-F238E27FC236}">
                  <a16:creationId xmlns:a16="http://schemas.microsoft.com/office/drawing/2014/main" id="{D6B8EB84-C884-9564-986B-6B20B5090908}"/>
                </a:ext>
              </a:extLst>
            </p:cNvPr>
            <p:cNvSpPr/>
            <p:nvPr/>
          </p:nvSpPr>
          <p:spPr>
            <a:xfrm>
              <a:off x="2821650" y="193442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4"/>
                  </a:lnTo>
                  <a:cubicBezTo>
                    <a:pt x="1" y="0"/>
                    <a:pt x="1" y="7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6" name="Google Shape;5543;p64">
              <a:extLst>
                <a:ext uri="{FF2B5EF4-FFF2-40B4-BE49-F238E27FC236}">
                  <a16:creationId xmlns:a16="http://schemas.microsoft.com/office/drawing/2014/main" id="{6249F3E0-399B-2AD7-6F8C-077BBFF85CB8}"/>
                </a:ext>
              </a:extLst>
            </p:cNvPr>
            <p:cNvSpPr/>
            <p:nvPr/>
          </p:nvSpPr>
          <p:spPr>
            <a:xfrm>
              <a:off x="2821039" y="1936330"/>
              <a:ext cx="0" cy="54"/>
            </a:xfrm>
            <a:custGeom>
              <a:avLst/>
              <a:gdLst/>
              <a:ahLst/>
              <a:cxnLst/>
              <a:rect l="l" t="t" r="r" b="b"/>
              <a:pathLst>
                <a:path h="4" extrusionOk="0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7" name="Google Shape;5544;p64">
              <a:extLst>
                <a:ext uri="{FF2B5EF4-FFF2-40B4-BE49-F238E27FC236}">
                  <a16:creationId xmlns:a16="http://schemas.microsoft.com/office/drawing/2014/main" id="{8C537E78-1DB4-8A96-D92E-D13BB5E5E6DF}"/>
                </a:ext>
              </a:extLst>
            </p:cNvPr>
            <p:cNvSpPr/>
            <p:nvPr/>
          </p:nvSpPr>
          <p:spPr>
            <a:xfrm>
              <a:off x="2821460" y="193542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8" name="Google Shape;5545;p64">
              <a:extLst>
                <a:ext uri="{FF2B5EF4-FFF2-40B4-BE49-F238E27FC236}">
                  <a16:creationId xmlns:a16="http://schemas.microsoft.com/office/drawing/2014/main" id="{8910E9FA-AEF7-34EC-B5B8-1A06A2F8AD17}"/>
                </a:ext>
              </a:extLst>
            </p:cNvPr>
            <p:cNvSpPr/>
            <p:nvPr/>
          </p:nvSpPr>
          <p:spPr>
            <a:xfrm>
              <a:off x="2154289" y="1586085"/>
              <a:ext cx="69123" cy="54935"/>
            </a:xfrm>
            <a:custGeom>
              <a:avLst/>
              <a:gdLst/>
              <a:ahLst/>
              <a:cxnLst/>
              <a:rect l="l" t="t" r="r" b="b"/>
              <a:pathLst>
                <a:path w="5091" h="4046" extrusionOk="0">
                  <a:moveTo>
                    <a:pt x="2111" y="1"/>
                  </a:moveTo>
                  <a:cubicBezTo>
                    <a:pt x="1912" y="1"/>
                    <a:pt x="1254" y="150"/>
                    <a:pt x="1054" y="352"/>
                  </a:cubicBezTo>
                  <a:cubicBezTo>
                    <a:pt x="897" y="510"/>
                    <a:pt x="645" y="541"/>
                    <a:pt x="442" y="569"/>
                  </a:cubicBezTo>
                  <a:cubicBezTo>
                    <a:pt x="361" y="580"/>
                    <a:pt x="249" y="594"/>
                    <a:pt x="221" y="611"/>
                  </a:cubicBezTo>
                  <a:cubicBezTo>
                    <a:pt x="214" y="681"/>
                    <a:pt x="172" y="741"/>
                    <a:pt x="113" y="772"/>
                  </a:cubicBezTo>
                  <a:cubicBezTo>
                    <a:pt x="102" y="779"/>
                    <a:pt x="88" y="786"/>
                    <a:pt x="74" y="790"/>
                  </a:cubicBezTo>
                  <a:lnTo>
                    <a:pt x="78" y="804"/>
                  </a:lnTo>
                  <a:lnTo>
                    <a:pt x="81" y="814"/>
                  </a:lnTo>
                  <a:cubicBezTo>
                    <a:pt x="81" y="821"/>
                    <a:pt x="85" y="828"/>
                    <a:pt x="85" y="835"/>
                  </a:cubicBezTo>
                  <a:lnTo>
                    <a:pt x="88" y="849"/>
                  </a:lnTo>
                  <a:cubicBezTo>
                    <a:pt x="88" y="860"/>
                    <a:pt x="92" y="867"/>
                    <a:pt x="92" y="877"/>
                  </a:cubicBezTo>
                  <a:lnTo>
                    <a:pt x="95" y="895"/>
                  </a:lnTo>
                  <a:cubicBezTo>
                    <a:pt x="95" y="902"/>
                    <a:pt x="95" y="909"/>
                    <a:pt x="99" y="916"/>
                  </a:cubicBezTo>
                  <a:cubicBezTo>
                    <a:pt x="99" y="926"/>
                    <a:pt x="99" y="930"/>
                    <a:pt x="99" y="933"/>
                  </a:cubicBezTo>
                  <a:cubicBezTo>
                    <a:pt x="99" y="940"/>
                    <a:pt x="99" y="951"/>
                    <a:pt x="102" y="958"/>
                  </a:cubicBezTo>
                  <a:cubicBezTo>
                    <a:pt x="102" y="965"/>
                    <a:pt x="102" y="972"/>
                    <a:pt x="102" y="979"/>
                  </a:cubicBezTo>
                  <a:lnTo>
                    <a:pt x="102" y="1000"/>
                  </a:lnTo>
                  <a:lnTo>
                    <a:pt x="102" y="1021"/>
                  </a:lnTo>
                  <a:lnTo>
                    <a:pt x="102" y="1045"/>
                  </a:lnTo>
                  <a:lnTo>
                    <a:pt x="102" y="1066"/>
                  </a:lnTo>
                  <a:lnTo>
                    <a:pt x="102" y="1091"/>
                  </a:lnTo>
                  <a:lnTo>
                    <a:pt x="102" y="1112"/>
                  </a:lnTo>
                  <a:lnTo>
                    <a:pt x="102" y="1136"/>
                  </a:lnTo>
                  <a:lnTo>
                    <a:pt x="102" y="1157"/>
                  </a:lnTo>
                  <a:lnTo>
                    <a:pt x="102" y="1182"/>
                  </a:lnTo>
                  <a:lnTo>
                    <a:pt x="102" y="1203"/>
                  </a:lnTo>
                  <a:cubicBezTo>
                    <a:pt x="102" y="1206"/>
                    <a:pt x="102" y="1217"/>
                    <a:pt x="99" y="1224"/>
                  </a:cubicBezTo>
                  <a:cubicBezTo>
                    <a:pt x="95" y="1234"/>
                    <a:pt x="99" y="1238"/>
                    <a:pt x="95" y="1245"/>
                  </a:cubicBezTo>
                  <a:cubicBezTo>
                    <a:pt x="92" y="1252"/>
                    <a:pt x="92" y="1259"/>
                    <a:pt x="88" y="1269"/>
                  </a:cubicBezTo>
                  <a:cubicBezTo>
                    <a:pt x="88" y="1276"/>
                    <a:pt x="88" y="1280"/>
                    <a:pt x="85" y="1287"/>
                  </a:cubicBezTo>
                  <a:cubicBezTo>
                    <a:pt x="85" y="1294"/>
                    <a:pt x="81" y="1301"/>
                    <a:pt x="78" y="1308"/>
                  </a:cubicBezTo>
                  <a:cubicBezTo>
                    <a:pt x="78" y="1318"/>
                    <a:pt x="78" y="1318"/>
                    <a:pt x="74" y="1325"/>
                  </a:cubicBezTo>
                  <a:cubicBezTo>
                    <a:pt x="74" y="1329"/>
                    <a:pt x="67" y="1339"/>
                    <a:pt x="64" y="1350"/>
                  </a:cubicBezTo>
                  <a:cubicBezTo>
                    <a:pt x="64" y="1357"/>
                    <a:pt x="64" y="1357"/>
                    <a:pt x="60" y="1360"/>
                  </a:cubicBezTo>
                  <a:cubicBezTo>
                    <a:pt x="57" y="1371"/>
                    <a:pt x="50" y="1381"/>
                    <a:pt x="43" y="1392"/>
                  </a:cubicBezTo>
                  <a:cubicBezTo>
                    <a:pt x="1" y="1458"/>
                    <a:pt x="4" y="1479"/>
                    <a:pt x="4" y="1479"/>
                  </a:cubicBezTo>
                  <a:cubicBezTo>
                    <a:pt x="8" y="1479"/>
                    <a:pt x="18" y="1497"/>
                    <a:pt x="57" y="1518"/>
                  </a:cubicBezTo>
                  <a:cubicBezTo>
                    <a:pt x="172" y="1584"/>
                    <a:pt x="211" y="1735"/>
                    <a:pt x="211" y="1844"/>
                  </a:cubicBezTo>
                  <a:cubicBezTo>
                    <a:pt x="211" y="1865"/>
                    <a:pt x="218" y="1886"/>
                    <a:pt x="228" y="1903"/>
                  </a:cubicBezTo>
                  <a:cubicBezTo>
                    <a:pt x="263" y="1973"/>
                    <a:pt x="284" y="2050"/>
                    <a:pt x="284" y="2131"/>
                  </a:cubicBezTo>
                  <a:cubicBezTo>
                    <a:pt x="298" y="2362"/>
                    <a:pt x="354" y="2474"/>
                    <a:pt x="403" y="2530"/>
                  </a:cubicBezTo>
                  <a:cubicBezTo>
                    <a:pt x="407" y="2537"/>
                    <a:pt x="414" y="2544"/>
                    <a:pt x="421" y="2554"/>
                  </a:cubicBezTo>
                  <a:lnTo>
                    <a:pt x="424" y="2561"/>
                  </a:lnTo>
                  <a:cubicBezTo>
                    <a:pt x="428" y="2565"/>
                    <a:pt x="431" y="2572"/>
                    <a:pt x="435" y="2579"/>
                  </a:cubicBezTo>
                  <a:lnTo>
                    <a:pt x="438" y="2589"/>
                  </a:lnTo>
                  <a:cubicBezTo>
                    <a:pt x="442" y="2596"/>
                    <a:pt x="442" y="2600"/>
                    <a:pt x="445" y="2607"/>
                  </a:cubicBezTo>
                  <a:cubicBezTo>
                    <a:pt x="445" y="2610"/>
                    <a:pt x="445" y="2614"/>
                    <a:pt x="449" y="2621"/>
                  </a:cubicBezTo>
                  <a:cubicBezTo>
                    <a:pt x="449" y="2624"/>
                    <a:pt x="449" y="2628"/>
                    <a:pt x="452" y="2635"/>
                  </a:cubicBezTo>
                  <a:cubicBezTo>
                    <a:pt x="456" y="2656"/>
                    <a:pt x="459" y="2677"/>
                    <a:pt x="459" y="2698"/>
                  </a:cubicBezTo>
                  <a:lnTo>
                    <a:pt x="459" y="2705"/>
                  </a:lnTo>
                  <a:lnTo>
                    <a:pt x="459" y="2726"/>
                  </a:lnTo>
                  <a:cubicBezTo>
                    <a:pt x="459" y="2733"/>
                    <a:pt x="459" y="2740"/>
                    <a:pt x="456" y="2747"/>
                  </a:cubicBezTo>
                  <a:cubicBezTo>
                    <a:pt x="452" y="2754"/>
                    <a:pt x="456" y="2750"/>
                    <a:pt x="456" y="2754"/>
                  </a:cubicBezTo>
                  <a:cubicBezTo>
                    <a:pt x="456" y="2757"/>
                    <a:pt x="456" y="2760"/>
                    <a:pt x="455" y="2762"/>
                  </a:cubicBezTo>
                  <a:lnTo>
                    <a:pt x="455" y="2762"/>
                  </a:lnTo>
                  <a:cubicBezTo>
                    <a:pt x="454" y="2762"/>
                    <a:pt x="453" y="2761"/>
                    <a:pt x="452" y="2761"/>
                  </a:cubicBezTo>
                  <a:lnTo>
                    <a:pt x="449" y="2792"/>
                  </a:lnTo>
                  <a:cubicBezTo>
                    <a:pt x="452" y="2781"/>
                    <a:pt x="454" y="2773"/>
                    <a:pt x="455" y="2762"/>
                  </a:cubicBezTo>
                  <a:lnTo>
                    <a:pt x="455" y="2762"/>
                  </a:lnTo>
                  <a:cubicBezTo>
                    <a:pt x="479" y="2776"/>
                    <a:pt x="499" y="2789"/>
                    <a:pt x="519" y="2803"/>
                  </a:cubicBezTo>
                  <a:lnTo>
                    <a:pt x="529" y="2810"/>
                  </a:lnTo>
                  <a:cubicBezTo>
                    <a:pt x="547" y="2824"/>
                    <a:pt x="568" y="2834"/>
                    <a:pt x="589" y="2845"/>
                  </a:cubicBezTo>
                  <a:lnTo>
                    <a:pt x="599" y="2852"/>
                  </a:lnTo>
                  <a:cubicBezTo>
                    <a:pt x="617" y="2862"/>
                    <a:pt x="634" y="2873"/>
                    <a:pt x="652" y="2880"/>
                  </a:cubicBezTo>
                  <a:lnTo>
                    <a:pt x="659" y="2883"/>
                  </a:lnTo>
                  <a:cubicBezTo>
                    <a:pt x="680" y="2890"/>
                    <a:pt x="697" y="2901"/>
                    <a:pt x="711" y="2904"/>
                  </a:cubicBezTo>
                  <a:cubicBezTo>
                    <a:pt x="977" y="2999"/>
                    <a:pt x="1093" y="3086"/>
                    <a:pt x="1114" y="3209"/>
                  </a:cubicBezTo>
                  <a:cubicBezTo>
                    <a:pt x="1138" y="3254"/>
                    <a:pt x="1180" y="3293"/>
                    <a:pt x="1229" y="3314"/>
                  </a:cubicBezTo>
                  <a:cubicBezTo>
                    <a:pt x="1257" y="3328"/>
                    <a:pt x="1275" y="3328"/>
                    <a:pt x="1278" y="3328"/>
                  </a:cubicBezTo>
                  <a:cubicBezTo>
                    <a:pt x="1278" y="3324"/>
                    <a:pt x="1278" y="3321"/>
                    <a:pt x="1278" y="3321"/>
                  </a:cubicBezTo>
                  <a:cubicBezTo>
                    <a:pt x="1320" y="3228"/>
                    <a:pt x="1394" y="3206"/>
                    <a:pt x="1465" y="3206"/>
                  </a:cubicBezTo>
                  <a:cubicBezTo>
                    <a:pt x="1500" y="3206"/>
                    <a:pt x="1535" y="3211"/>
                    <a:pt x="1566" y="3216"/>
                  </a:cubicBezTo>
                  <a:cubicBezTo>
                    <a:pt x="1594" y="3223"/>
                    <a:pt x="1622" y="3226"/>
                    <a:pt x="1646" y="3226"/>
                  </a:cubicBezTo>
                  <a:cubicBezTo>
                    <a:pt x="1800" y="3226"/>
                    <a:pt x="1835" y="3380"/>
                    <a:pt x="1849" y="3454"/>
                  </a:cubicBezTo>
                  <a:lnTo>
                    <a:pt x="1849" y="3461"/>
                  </a:lnTo>
                  <a:cubicBezTo>
                    <a:pt x="1891" y="3471"/>
                    <a:pt x="1933" y="3478"/>
                    <a:pt x="1975" y="3478"/>
                  </a:cubicBezTo>
                  <a:cubicBezTo>
                    <a:pt x="2045" y="3478"/>
                    <a:pt x="2119" y="3492"/>
                    <a:pt x="2185" y="3524"/>
                  </a:cubicBezTo>
                  <a:cubicBezTo>
                    <a:pt x="2241" y="3566"/>
                    <a:pt x="2283" y="3622"/>
                    <a:pt x="2311" y="3685"/>
                  </a:cubicBezTo>
                  <a:cubicBezTo>
                    <a:pt x="2332" y="3723"/>
                    <a:pt x="2357" y="3762"/>
                    <a:pt x="2381" y="3797"/>
                  </a:cubicBezTo>
                  <a:cubicBezTo>
                    <a:pt x="2392" y="3808"/>
                    <a:pt x="2399" y="3818"/>
                    <a:pt x="2409" y="3829"/>
                  </a:cubicBezTo>
                  <a:cubicBezTo>
                    <a:pt x="2416" y="3836"/>
                    <a:pt x="2427" y="3839"/>
                    <a:pt x="2434" y="3846"/>
                  </a:cubicBezTo>
                  <a:cubicBezTo>
                    <a:pt x="2446" y="3853"/>
                    <a:pt x="2458" y="3857"/>
                    <a:pt x="2471" y="3857"/>
                  </a:cubicBezTo>
                  <a:cubicBezTo>
                    <a:pt x="2495" y="3857"/>
                    <a:pt x="2523" y="3845"/>
                    <a:pt x="2563" y="3825"/>
                  </a:cubicBezTo>
                  <a:cubicBezTo>
                    <a:pt x="2603" y="3807"/>
                    <a:pt x="2643" y="3790"/>
                    <a:pt x="2686" y="3790"/>
                  </a:cubicBezTo>
                  <a:cubicBezTo>
                    <a:pt x="2710" y="3790"/>
                    <a:pt x="2736" y="3796"/>
                    <a:pt x="2763" y="3811"/>
                  </a:cubicBezTo>
                  <a:cubicBezTo>
                    <a:pt x="2820" y="3846"/>
                    <a:pt x="2945" y="3877"/>
                    <a:pt x="3055" y="3877"/>
                  </a:cubicBezTo>
                  <a:cubicBezTo>
                    <a:pt x="3100" y="3877"/>
                    <a:pt x="3142" y="3872"/>
                    <a:pt x="3176" y="3860"/>
                  </a:cubicBezTo>
                  <a:cubicBezTo>
                    <a:pt x="3210" y="3846"/>
                    <a:pt x="3246" y="3840"/>
                    <a:pt x="3282" y="3840"/>
                  </a:cubicBezTo>
                  <a:cubicBezTo>
                    <a:pt x="3310" y="3840"/>
                    <a:pt x="3338" y="3843"/>
                    <a:pt x="3365" y="3850"/>
                  </a:cubicBezTo>
                  <a:cubicBezTo>
                    <a:pt x="3386" y="3857"/>
                    <a:pt x="3403" y="3860"/>
                    <a:pt x="3425" y="3867"/>
                  </a:cubicBezTo>
                  <a:cubicBezTo>
                    <a:pt x="3473" y="3882"/>
                    <a:pt x="3525" y="3892"/>
                    <a:pt x="3574" y="3892"/>
                  </a:cubicBezTo>
                  <a:cubicBezTo>
                    <a:pt x="3582" y="3892"/>
                    <a:pt x="3589" y="3892"/>
                    <a:pt x="3596" y="3892"/>
                  </a:cubicBezTo>
                  <a:lnTo>
                    <a:pt x="3607" y="3892"/>
                  </a:lnTo>
                  <a:cubicBezTo>
                    <a:pt x="3627" y="3890"/>
                    <a:pt x="3648" y="3889"/>
                    <a:pt x="3669" y="3889"/>
                  </a:cubicBezTo>
                  <a:cubicBezTo>
                    <a:pt x="3850" y="3889"/>
                    <a:pt x="4059" y="3952"/>
                    <a:pt x="4125" y="4018"/>
                  </a:cubicBezTo>
                  <a:lnTo>
                    <a:pt x="4181" y="4018"/>
                  </a:lnTo>
                  <a:lnTo>
                    <a:pt x="4195" y="4021"/>
                  </a:lnTo>
                  <a:lnTo>
                    <a:pt x="4202" y="4021"/>
                  </a:lnTo>
                  <a:lnTo>
                    <a:pt x="4216" y="4025"/>
                  </a:lnTo>
                  <a:lnTo>
                    <a:pt x="4237" y="4025"/>
                  </a:lnTo>
                  <a:lnTo>
                    <a:pt x="4247" y="4028"/>
                  </a:lnTo>
                  <a:lnTo>
                    <a:pt x="4261" y="4032"/>
                  </a:lnTo>
                  <a:lnTo>
                    <a:pt x="4275" y="4035"/>
                  </a:lnTo>
                  <a:lnTo>
                    <a:pt x="4286" y="4035"/>
                  </a:lnTo>
                  <a:lnTo>
                    <a:pt x="4303" y="4039"/>
                  </a:lnTo>
                  <a:lnTo>
                    <a:pt x="4317" y="4042"/>
                  </a:lnTo>
                  <a:lnTo>
                    <a:pt x="4335" y="4046"/>
                  </a:lnTo>
                  <a:lnTo>
                    <a:pt x="4342" y="4046"/>
                  </a:lnTo>
                  <a:cubicBezTo>
                    <a:pt x="4335" y="3997"/>
                    <a:pt x="4331" y="3948"/>
                    <a:pt x="4321" y="3899"/>
                  </a:cubicBezTo>
                  <a:cubicBezTo>
                    <a:pt x="4314" y="3857"/>
                    <a:pt x="4307" y="3815"/>
                    <a:pt x="4307" y="3772"/>
                  </a:cubicBezTo>
                  <a:lnTo>
                    <a:pt x="4307" y="3765"/>
                  </a:lnTo>
                  <a:lnTo>
                    <a:pt x="4307" y="3758"/>
                  </a:lnTo>
                  <a:lnTo>
                    <a:pt x="4307" y="3755"/>
                  </a:lnTo>
                  <a:lnTo>
                    <a:pt x="4307" y="3748"/>
                  </a:lnTo>
                  <a:cubicBezTo>
                    <a:pt x="4307" y="3744"/>
                    <a:pt x="4307" y="3741"/>
                    <a:pt x="4307" y="3737"/>
                  </a:cubicBezTo>
                  <a:cubicBezTo>
                    <a:pt x="4317" y="3699"/>
                    <a:pt x="4366" y="3646"/>
                    <a:pt x="4517" y="3499"/>
                  </a:cubicBezTo>
                  <a:lnTo>
                    <a:pt x="4650" y="3370"/>
                  </a:lnTo>
                  <a:cubicBezTo>
                    <a:pt x="4730" y="3296"/>
                    <a:pt x="4804" y="3226"/>
                    <a:pt x="4825" y="3195"/>
                  </a:cubicBezTo>
                  <a:cubicBezTo>
                    <a:pt x="4870" y="3163"/>
                    <a:pt x="4916" y="3142"/>
                    <a:pt x="4968" y="3132"/>
                  </a:cubicBezTo>
                  <a:cubicBezTo>
                    <a:pt x="5014" y="3114"/>
                    <a:pt x="5049" y="3083"/>
                    <a:pt x="5077" y="3044"/>
                  </a:cubicBezTo>
                  <a:cubicBezTo>
                    <a:pt x="5091" y="3013"/>
                    <a:pt x="5049" y="2859"/>
                    <a:pt x="4860" y="2579"/>
                  </a:cubicBezTo>
                  <a:cubicBezTo>
                    <a:pt x="4856" y="2572"/>
                    <a:pt x="4853" y="2565"/>
                    <a:pt x="4849" y="2558"/>
                  </a:cubicBezTo>
                  <a:cubicBezTo>
                    <a:pt x="4832" y="2519"/>
                    <a:pt x="4821" y="2477"/>
                    <a:pt x="4814" y="2439"/>
                  </a:cubicBezTo>
                  <a:cubicBezTo>
                    <a:pt x="4814" y="2432"/>
                    <a:pt x="4814" y="2425"/>
                    <a:pt x="4811" y="2421"/>
                  </a:cubicBezTo>
                  <a:lnTo>
                    <a:pt x="4807" y="2369"/>
                  </a:lnTo>
                  <a:lnTo>
                    <a:pt x="4807" y="2355"/>
                  </a:lnTo>
                  <a:lnTo>
                    <a:pt x="4800" y="2288"/>
                  </a:lnTo>
                  <a:cubicBezTo>
                    <a:pt x="4797" y="2225"/>
                    <a:pt x="4800" y="2159"/>
                    <a:pt x="4807" y="2096"/>
                  </a:cubicBezTo>
                  <a:lnTo>
                    <a:pt x="4807" y="2089"/>
                  </a:lnTo>
                  <a:cubicBezTo>
                    <a:pt x="4807" y="2082"/>
                    <a:pt x="4811" y="2075"/>
                    <a:pt x="4811" y="2068"/>
                  </a:cubicBezTo>
                  <a:cubicBezTo>
                    <a:pt x="4811" y="2061"/>
                    <a:pt x="4814" y="2047"/>
                    <a:pt x="4818" y="2040"/>
                  </a:cubicBezTo>
                  <a:cubicBezTo>
                    <a:pt x="4825" y="2015"/>
                    <a:pt x="4797" y="1987"/>
                    <a:pt x="4758" y="1952"/>
                  </a:cubicBezTo>
                  <a:lnTo>
                    <a:pt x="4737" y="1938"/>
                  </a:lnTo>
                  <a:cubicBezTo>
                    <a:pt x="4695" y="1896"/>
                    <a:pt x="4646" y="1858"/>
                    <a:pt x="4636" y="1805"/>
                  </a:cubicBezTo>
                  <a:cubicBezTo>
                    <a:pt x="4636" y="1798"/>
                    <a:pt x="4632" y="1788"/>
                    <a:pt x="4632" y="1781"/>
                  </a:cubicBezTo>
                  <a:cubicBezTo>
                    <a:pt x="4632" y="1644"/>
                    <a:pt x="4895" y="1483"/>
                    <a:pt x="4986" y="1441"/>
                  </a:cubicBezTo>
                  <a:cubicBezTo>
                    <a:pt x="4989" y="1441"/>
                    <a:pt x="5003" y="1423"/>
                    <a:pt x="5010" y="1378"/>
                  </a:cubicBezTo>
                  <a:cubicBezTo>
                    <a:pt x="5028" y="1269"/>
                    <a:pt x="4989" y="1115"/>
                    <a:pt x="4947" y="1077"/>
                  </a:cubicBezTo>
                  <a:cubicBezTo>
                    <a:pt x="4818" y="965"/>
                    <a:pt x="4779" y="776"/>
                    <a:pt x="4842" y="594"/>
                  </a:cubicBezTo>
                  <a:cubicBezTo>
                    <a:pt x="4846" y="590"/>
                    <a:pt x="4846" y="583"/>
                    <a:pt x="4842" y="580"/>
                  </a:cubicBezTo>
                  <a:cubicBezTo>
                    <a:pt x="4842" y="573"/>
                    <a:pt x="4839" y="566"/>
                    <a:pt x="4839" y="562"/>
                  </a:cubicBezTo>
                  <a:cubicBezTo>
                    <a:pt x="4835" y="559"/>
                    <a:pt x="4832" y="555"/>
                    <a:pt x="4828" y="552"/>
                  </a:cubicBezTo>
                  <a:lnTo>
                    <a:pt x="4821" y="541"/>
                  </a:lnTo>
                  <a:lnTo>
                    <a:pt x="4818" y="538"/>
                  </a:lnTo>
                  <a:lnTo>
                    <a:pt x="4804" y="524"/>
                  </a:lnTo>
                  <a:lnTo>
                    <a:pt x="4793" y="517"/>
                  </a:lnTo>
                  <a:lnTo>
                    <a:pt x="4786" y="510"/>
                  </a:lnTo>
                  <a:cubicBezTo>
                    <a:pt x="4702" y="454"/>
                    <a:pt x="4611" y="412"/>
                    <a:pt x="4513" y="387"/>
                  </a:cubicBezTo>
                  <a:lnTo>
                    <a:pt x="4510" y="387"/>
                  </a:lnTo>
                  <a:lnTo>
                    <a:pt x="4496" y="384"/>
                  </a:lnTo>
                  <a:lnTo>
                    <a:pt x="4454" y="384"/>
                  </a:lnTo>
                  <a:cubicBezTo>
                    <a:pt x="4443" y="380"/>
                    <a:pt x="4436" y="377"/>
                    <a:pt x="4429" y="370"/>
                  </a:cubicBezTo>
                  <a:lnTo>
                    <a:pt x="4391" y="370"/>
                  </a:lnTo>
                  <a:cubicBezTo>
                    <a:pt x="4302" y="380"/>
                    <a:pt x="4192" y="384"/>
                    <a:pt x="4075" y="384"/>
                  </a:cubicBezTo>
                  <a:cubicBezTo>
                    <a:pt x="3792" y="384"/>
                    <a:pt x="3460" y="359"/>
                    <a:pt x="3242" y="335"/>
                  </a:cubicBezTo>
                  <a:lnTo>
                    <a:pt x="3235" y="335"/>
                  </a:lnTo>
                  <a:lnTo>
                    <a:pt x="3207" y="331"/>
                  </a:lnTo>
                  <a:lnTo>
                    <a:pt x="3200" y="331"/>
                  </a:lnTo>
                  <a:lnTo>
                    <a:pt x="3158" y="324"/>
                  </a:lnTo>
                  <a:lnTo>
                    <a:pt x="3106" y="324"/>
                  </a:lnTo>
                  <a:lnTo>
                    <a:pt x="3092" y="321"/>
                  </a:lnTo>
                  <a:lnTo>
                    <a:pt x="3081" y="321"/>
                  </a:lnTo>
                  <a:lnTo>
                    <a:pt x="3060" y="317"/>
                  </a:lnTo>
                  <a:lnTo>
                    <a:pt x="3057" y="317"/>
                  </a:lnTo>
                  <a:lnTo>
                    <a:pt x="3043" y="314"/>
                  </a:lnTo>
                  <a:lnTo>
                    <a:pt x="3039" y="314"/>
                  </a:lnTo>
                  <a:lnTo>
                    <a:pt x="3029" y="310"/>
                  </a:lnTo>
                  <a:lnTo>
                    <a:pt x="3025" y="310"/>
                  </a:lnTo>
                  <a:lnTo>
                    <a:pt x="3015" y="307"/>
                  </a:lnTo>
                  <a:lnTo>
                    <a:pt x="2994" y="300"/>
                  </a:lnTo>
                  <a:lnTo>
                    <a:pt x="2987" y="300"/>
                  </a:lnTo>
                  <a:lnTo>
                    <a:pt x="2966" y="289"/>
                  </a:lnTo>
                  <a:lnTo>
                    <a:pt x="2959" y="289"/>
                  </a:lnTo>
                  <a:lnTo>
                    <a:pt x="2931" y="279"/>
                  </a:lnTo>
                  <a:lnTo>
                    <a:pt x="2927" y="279"/>
                  </a:lnTo>
                  <a:lnTo>
                    <a:pt x="2896" y="268"/>
                  </a:lnTo>
                  <a:lnTo>
                    <a:pt x="2892" y="268"/>
                  </a:lnTo>
                  <a:lnTo>
                    <a:pt x="2787" y="230"/>
                  </a:lnTo>
                  <a:cubicBezTo>
                    <a:pt x="2706" y="321"/>
                    <a:pt x="2595" y="373"/>
                    <a:pt x="2474" y="373"/>
                  </a:cubicBezTo>
                  <a:cubicBezTo>
                    <a:pt x="2470" y="373"/>
                    <a:pt x="2466" y="373"/>
                    <a:pt x="2462" y="373"/>
                  </a:cubicBezTo>
                  <a:cubicBezTo>
                    <a:pt x="2196" y="373"/>
                    <a:pt x="2154" y="121"/>
                    <a:pt x="2140" y="2"/>
                  </a:cubicBezTo>
                  <a:cubicBezTo>
                    <a:pt x="2132" y="1"/>
                    <a:pt x="2122" y="1"/>
                    <a:pt x="21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9" name="Google Shape;5546;p64">
              <a:extLst>
                <a:ext uri="{FF2B5EF4-FFF2-40B4-BE49-F238E27FC236}">
                  <a16:creationId xmlns:a16="http://schemas.microsoft.com/office/drawing/2014/main" id="{BF31B97A-6136-1B1E-C476-5AFE63077EE7}"/>
                </a:ext>
              </a:extLst>
            </p:cNvPr>
            <p:cNvSpPr/>
            <p:nvPr/>
          </p:nvSpPr>
          <p:spPr>
            <a:xfrm>
              <a:off x="2164512" y="1680435"/>
              <a:ext cx="24820" cy="22661"/>
            </a:xfrm>
            <a:custGeom>
              <a:avLst/>
              <a:gdLst/>
              <a:ahLst/>
              <a:cxnLst/>
              <a:rect l="l" t="t" r="r" b="b"/>
              <a:pathLst>
                <a:path w="1828" h="1669" extrusionOk="0">
                  <a:moveTo>
                    <a:pt x="496" y="1"/>
                  </a:moveTo>
                  <a:cubicBezTo>
                    <a:pt x="473" y="1"/>
                    <a:pt x="441" y="17"/>
                    <a:pt x="396" y="44"/>
                  </a:cubicBezTo>
                  <a:cubicBezTo>
                    <a:pt x="355" y="69"/>
                    <a:pt x="299" y="102"/>
                    <a:pt x="238" y="102"/>
                  </a:cubicBezTo>
                  <a:cubicBezTo>
                    <a:pt x="206" y="102"/>
                    <a:pt x="173" y="93"/>
                    <a:pt x="140" y="69"/>
                  </a:cubicBezTo>
                  <a:cubicBezTo>
                    <a:pt x="126" y="58"/>
                    <a:pt x="111" y="53"/>
                    <a:pt x="95" y="53"/>
                  </a:cubicBezTo>
                  <a:cubicBezTo>
                    <a:pt x="79" y="53"/>
                    <a:pt x="63" y="58"/>
                    <a:pt x="49" y="69"/>
                  </a:cubicBezTo>
                  <a:cubicBezTo>
                    <a:pt x="18" y="83"/>
                    <a:pt x="0" y="114"/>
                    <a:pt x="4" y="149"/>
                  </a:cubicBezTo>
                  <a:cubicBezTo>
                    <a:pt x="11" y="177"/>
                    <a:pt x="53" y="216"/>
                    <a:pt x="91" y="254"/>
                  </a:cubicBezTo>
                  <a:cubicBezTo>
                    <a:pt x="165" y="321"/>
                    <a:pt x="259" y="401"/>
                    <a:pt x="259" y="534"/>
                  </a:cubicBezTo>
                  <a:cubicBezTo>
                    <a:pt x="259" y="608"/>
                    <a:pt x="410" y="741"/>
                    <a:pt x="508" y="828"/>
                  </a:cubicBezTo>
                  <a:cubicBezTo>
                    <a:pt x="627" y="933"/>
                    <a:pt x="708" y="1004"/>
                    <a:pt x="704" y="1077"/>
                  </a:cubicBezTo>
                  <a:cubicBezTo>
                    <a:pt x="743" y="1123"/>
                    <a:pt x="785" y="1165"/>
                    <a:pt x="830" y="1203"/>
                  </a:cubicBezTo>
                  <a:lnTo>
                    <a:pt x="897" y="1270"/>
                  </a:lnTo>
                  <a:lnTo>
                    <a:pt x="904" y="1273"/>
                  </a:lnTo>
                  <a:cubicBezTo>
                    <a:pt x="928" y="1298"/>
                    <a:pt x="953" y="1322"/>
                    <a:pt x="977" y="1347"/>
                  </a:cubicBezTo>
                  <a:lnTo>
                    <a:pt x="981" y="1354"/>
                  </a:lnTo>
                  <a:cubicBezTo>
                    <a:pt x="1005" y="1378"/>
                    <a:pt x="1030" y="1403"/>
                    <a:pt x="1054" y="1431"/>
                  </a:cubicBezTo>
                  <a:lnTo>
                    <a:pt x="1061" y="1438"/>
                  </a:lnTo>
                  <a:cubicBezTo>
                    <a:pt x="1082" y="1466"/>
                    <a:pt x="1103" y="1494"/>
                    <a:pt x="1124" y="1522"/>
                  </a:cubicBezTo>
                  <a:lnTo>
                    <a:pt x="1131" y="1532"/>
                  </a:lnTo>
                  <a:cubicBezTo>
                    <a:pt x="1194" y="1571"/>
                    <a:pt x="1257" y="1620"/>
                    <a:pt x="1320" y="1669"/>
                  </a:cubicBezTo>
                  <a:lnTo>
                    <a:pt x="1320" y="1665"/>
                  </a:lnTo>
                  <a:lnTo>
                    <a:pt x="1320" y="1655"/>
                  </a:lnTo>
                  <a:lnTo>
                    <a:pt x="1320" y="1648"/>
                  </a:lnTo>
                  <a:lnTo>
                    <a:pt x="1320" y="1641"/>
                  </a:lnTo>
                  <a:lnTo>
                    <a:pt x="1320" y="1637"/>
                  </a:lnTo>
                  <a:lnTo>
                    <a:pt x="1320" y="1634"/>
                  </a:lnTo>
                  <a:lnTo>
                    <a:pt x="1320" y="1630"/>
                  </a:lnTo>
                  <a:cubicBezTo>
                    <a:pt x="1320" y="1620"/>
                    <a:pt x="1324" y="1606"/>
                    <a:pt x="1327" y="1595"/>
                  </a:cubicBezTo>
                  <a:lnTo>
                    <a:pt x="1327" y="1588"/>
                  </a:lnTo>
                  <a:cubicBezTo>
                    <a:pt x="1327" y="1581"/>
                    <a:pt x="1327" y="1574"/>
                    <a:pt x="1331" y="1567"/>
                  </a:cubicBezTo>
                  <a:cubicBezTo>
                    <a:pt x="1331" y="1564"/>
                    <a:pt x="1331" y="1560"/>
                    <a:pt x="1331" y="1557"/>
                  </a:cubicBezTo>
                  <a:cubicBezTo>
                    <a:pt x="1334" y="1553"/>
                    <a:pt x="1334" y="1543"/>
                    <a:pt x="1338" y="1536"/>
                  </a:cubicBezTo>
                  <a:lnTo>
                    <a:pt x="1341" y="1525"/>
                  </a:lnTo>
                  <a:cubicBezTo>
                    <a:pt x="1345" y="1515"/>
                    <a:pt x="1348" y="1508"/>
                    <a:pt x="1352" y="1497"/>
                  </a:cubicBezTo>
                  <a:lnTo>
                    <a:pt x="1355" y="1490"/>
                  </a:lnTo>
                  <a:cubicBezTo>
                    <a:pt x="1359" y="1480"/>
                    <a:pt x="1362" y="1469"/>
                    <a:pt x="1369" y="1459"/>
                  </a:cubicBezTo>
                  <a:lnTo>
                    <a:pt x="1369" y="1455"/>
                  </a:lnTo>
                  <a:cubicBezTo>
                    <a:pt x="1411" y="1368"/>
                    <a:pt x="1460" y="1287"/>
                    <a:pt x="1516" y="1210"/>
                  </a:cubicBezTo>
                  <a:lnTo>
                    <a:pt x="1551" y="1168"/>
                  </a:lnTo>
                  <a:lnTo>
                    <a:pt x="1593" y="1105"/>
                  </a:lnTo>
                  <a:lnTo>
                    <a:pt x="1607" y="1091"/>
                  </a:lnTo>
                  <a:cubicBezTo>
                    <a:pt x="1632" y="1060"/>
                    <a:pt x="1656" y="1032"/>
                    <a:pt x="1684" y="1004"/>
                  </a:cubicBezTo>
                  <a:lnTo>
                    <a:pt x="1691" y="997"/>
                  </a:lnTo>
                  <a:lnTo>
                    <a:pt x="1705" y="986"/>
                  </a:lnTo>
                  <a:lnTo>
                    <a:pt x="1716" y="975"/>
                  </a:lnTo>
                  <a:lnTo>
                    <a:pt x="1723" y="968"/>
                  </a:lnTo>
                  <a:lnTo>
                    <a:pt x="1730" y="965"/>
                  </a:lnTo>
                  <a:lnTo>
                    <a:pt x="1744" y="954"/>
                  </a:lnTo>
                  <a:lnTo>
                    <a:pt x="1747" y="954"/>
                  </a:lnTo>
                  <a:cubicBezTo>
                    <a:pt x="1758" y="947"/>
                    <a:pt x="1765" y="944"/>
                    <a:pt x="1775" y="940"/>
                  </a:cubicBezTo>
                  <a:cubicBezTo>
                    <a:pt x="1775" y="937"/>
                    <a:pt x="1779" y="933"/>
                    <a:pt x="1779" y="930"/>
                  </a:cubicBezTo>
                  <a:lnTo>
                    <a:pt x="1779" y="923"/>
                  </a:lnTo>
                  <a:cubicBezTo>
                    <a:pt x="1810" y="821"/>
                    <a:pt x="1828" y="517"/>
                    <a:pt x="1807" y="310"/>
                  </a:cubicBezTo>
                  <a:lnTo>
                    <a:pt x="1796" y="303"/>
                  </a:lnTo>
                  <a:lnTo>
                    <a:pt x="1779" y="293"/>
                  </a:lnTo>
                  <a:lnTo>
                    <a:pt x="1758" y="275"/>
                  </a:lnTo>
                  <a:lnTo>
                    <a:pt x="1740" y="265"/>
                  </a:lnTo>
                  <a:lnTo>
                    <a:pt x="1716" y="251"/>
                  </a:lnTo>
                  <a:lnTo>
                    <a:pt x="1698" y="240"/>
                  </a:lnTo>
                  <a:lnTo>
                    <a:pt x="1677" y="230"/>
                  </a:lnTo>
                  <a:lnTo>
                    <a:pt x="1660" y="219"/>
                  </a:lnTo>
                  <a:lnTo>
                    <a:pt x="1639" y="209"/>
                  </a:lnTo>
                  <a:lnTo>
                    <a:pt x="1625" y="198"/>
                  </a:lnTo>
                  <a:lnTo>
                    <a:pt x="1604" y="188"/>
                  </a:lnTo>
                  <a:lnTo>
                    <a:pt x="1590" y="181"/>
                  </a:lnTo>
                  <a:lnTo>
                    <a:pt x="1569" y="174"/>
                  </a:lnTo>
                  <a:lnTo>
                    <a:pt x="1555" y="167"/>
                  </a:lnTo>
                  <a:lnTo>
                    <a:pt x="1537" y="156"/>
                  </a:lnTo>
                  <a:lnTo>
                    <a:pt x="1523" y="149"/>
                  </a:lnTo>
                  <a:lnTo>
                    <a:pt x="1506" y="142"/>
                  </a:lnTo>
                  <a:lnTo>
                    <a:pt x="1495" y="139"/>
                  </a:lnTo>
                  <a:lnTo>
                    <a:pt x="1481" y="132"/>
                  </a:lnTo>
                  <a:lnTo>
                    <a:pt x="1467" y="125"/>
                  </a:lnTo>
                  <a:lnTo>
                    <a:pt x="1453" y="121"/>
                  </a:lnTo>
                  <a:lnTo>
                    <a:pt x="1443" y="114"/>
                  </a:lnTo>
                  <a:lnTo>
                    <a:pt x="1432" y="111"/>
                  </a:lnTo>
                  <a:lnTo>
                    <a:pt x="1422" y="107"/>
                  </a:lnTo>
                  <a:lnTo>
                    <a:pt x="1411" y="104"/>
                  </a:lnTo>
                  <a:lnTo>
                    <a:pt x="1404" y="100"/>
                  </a:lnTo>
                  <a:lnTo>
                    <a:pt x="1394" y="97"/>
                  </a:lnTo>
                  <a:lnTo>
                    <a:pt x="1387" y="97"/>
                  </a:lnTo>
                  <a:lnTo>
                    <a:pt x="1380" y="93"/>
                  </a:lnTo>
                  <a:lnTo>
                    <a:pt x="1376" y="93"/>
                  </a:lnTo>
                  <a:lnTo>
                    <a:pt x="1366" y="90"/>
                  </a:lnTo>
                  <a:cubicBezTo>
                    <a:pt x="1226" y="86"/>
                    <a:pt x="631" y="51"/>
                    <a:pt x="508" y="2"/>
                  </a:cubicBezTo>
                  <a:cubicBezTo>
                    <a:pt x="504" y="1"/>
                    <a:pt x="501" y="1"/>
                    <a:pt x="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0" name="Google Shape;5547;p64">
              <a:extLst>
                <a:ext uri="{FF2B5EF4-FFF2-40B4-BE49-F238E27FC236}">
                  <a16:creationId xmlns:a16="http://schemas.microsoft.com/office/drawing/2014/main" id="{5580C021-845E-777F-40B5-4D9E742E8DF4}"/>
                </a:ext>
              </a:extLst>
            </p:cNvPr>
            <p:cNvSpPr/>
            <p:nvPr/>
          </p:nvSpPr>
          <p:spPr>
            <a:xfrm>
              <a:off x="2151397" y="1668202"/>
              <a:ext cx="37270" cy="31337"/>
            </a:xfrm>
            <a:custGeom>
              <a:avLst/>
              <a:gdLst/>
              <a:ahLst/>
              <a:cxnLst/>
              <a:rect l="l" t="t" r="r" b="b"/>
              <a:pathLst>
                <a:path w="2745" h="2308" extrusionOk="0">
                  <a:moveTo>
                    <a:pt x="2740" y="1018"/>
                  </a:moveTo>
                  <a:cubicBezTo>
                    <a:pt x="2741" y="1019"/>
                    <a:pt x="2743" y="1021"/>
                    <a:pt x="2745" y="1022"/>
                  </a:cubicBezTo>
                  <a:lnTo>
                    <a:pt x="2741" y="1019"/>
                  </a:lnTo>
                  <a:lnTo>
                    <a:pt x="2740" y="1018"/>
                  </a:lnTo>
                  <a:close/>
                  <a:moveTo>
                    <a:pt x="1309" y="0"/>
                  </a:moveTo>
                  <a:lnTo>
                    <a:pt x="1264" y="39"/>
                  </a:lnTo>
                  <a:lnTo>
                    <a:pt x="1257" y="46"/>
                  </a:lnTo>
                  <a:lnTo>
                    <a:pt x="1222" y="74"/>
                  </a:lnTo>
                  <a:cubicBezTo>
                    <a:pt x="1166" y="119"/>
                    <a:pt x="1106" y="154"/>
                    <a:pt x="1043" y="186"/>
                  </a:cubicBezTo>
                  <a:lnTo>
                    <a:pt x="1036" y="189"/>
                  </a:lnTo>
                  <a:lnTo>
                    <a:pt x="1019" y="196"/>
                  </a:lnTo>
                  <a:cubicBezTo>
                    <a:pt x="1012" y="196"/>
                    <a:pt x="1001" y="200"/>
                    <a:pt x="994" y="200"/>
                  </a:cubicBezTo>
                  <a:cubicBezTo>
                    <a:pt x="987" y="228"/>
                    <a:pt x="980" y="256"/>
                    <a:pt x="977" y="284"/>
                  </a:cubicBezTo>
                  <a:cubicBezTo>
                    <a:pt x="970" y="354"/>
                    <a:pt x="952" y="469"/>
                    <a:pt x="847" y="469"/>
                  </a:cubicBezTo>
                  <a:cubicBezTo>
                    <a:pt x="812" y="469"/>
                    <a:pt x="749" y="564"/>
                    <a:pt x="714" y="669"/>
                  </a:cubicBezTo>
                  <a:cubicBezTo>
                    <a:pt x="697" y="720"/>
                    <a:pt x="657" y="735"/>
                    <a:pt x="609" y="735"/>
                  </a:cubicBezTo>
                  <a:cubicBezTo>
                    <a:pt x="568" y="735"/>
                    <a:pt x="522" y="724"/>
                    <a:pt x="480" y="714"/>
                  </a:cubicBezTo>
                  <a:cubicBezTo>
                    <a:pt x="442" y="703"/>
                    <a:pt x="402" y="696"/>
                    <a:pt x="361" y="696"/>
                  </a:cubicBezTo>
                  <a:cubicBezTo>
                    <a:pt x="353" y="696"/>
                    <a:pt x="345" y="696"/>
                    <a:pt x="336" y="697"/>
                  </a:cubicBezTo>
                  <a:lnTo>
                    <a:pt x="312" y="704"/>
                  </a:lnTo>
                  <a:lnTo>
                    <a:pt x="301" y="707"/>
                  </a:lnTo>
                  <a:lnTo>
                    <a:pt x="284" y="711"/>
                  </a:lnTo>
                  <a:lnTo>
                    <a:pt x="270" y="714"/>
                  </a:lnTo>
                  <a:lnTo>
                    <a:pt x="245" y="721"/>
                  </a:lnTo>
                  <a:lnTo>
                    <a:pt x="228" y="725"/>
                  </a:lnTo>
                  <a:lnTo>
                    <a:pt x="203" y="728"/>
                  </a:lnTo>
                  <a:lnTo>
                    <a:pt x="182" y="732"/>
                  </a:lnTo>
                  <a:lnTo>
                    <a:pt x="154" y="739"/>
                  </a:lnTo>
                  <a:lnTo>
                    <a:pt x="130" y="742"/>
                  </a:lnTo>
                  <a:lnTo>
                    <a:pt x="98" y="749"/>
                  </a:lnTo>
                  <a:lnTo>
                    <a:pt x="70" y="753"/>
                  </a:lnTo>
                  <a:lnTo>
                    <a:pt x="28" y="760"/>
                  </a:lnTo>
                  <a:lnTo>
                    <a:pt x="7" y="763"/>
                  </a:lnTo>
                  <a:lnTo>
                    <a:pt x="0" y="763"/>
                  </a:lnTo>
                  <a:cubicBezTo>
                    <a:pt x="0" y="802"/>
                    <a:pt x="11" y="840"/>
                    <a:pt x="25" y="875"/>
                  </a:cubicBezTo>
                  <a:lnTo>
                    <a:pt x="91" y="875"/>
                  </a:lnTo>
                  <a:cubicBezTo>
                    <a:pt x="252" y="875"/>
                    <a:pt x="504" y="889"/>
                    <a:pt x="511" y="1117"/>
                  </a:cubicBezTo>
                  <a:cubicBezTo>
                    <a:pt x="518" y="1267"/>
                    <a:pt x="802" y="1642"/>
                    <a:pt x="980" y="1845"/>
                  </a:cubicBezTo>
                  <a:cubicBezTo>
                    <a:pt x="1033" y="1901"/>
                    <a:pt x="1124" y="1926"/>
                    <a:pt x="1204" y="1950"/>
                  </a:cubicBezTo>
                  <a:cubicBezTo>
                    <a:pt x="1309" y="1978"/>
                    <a:pt x="1421" y="2010"/>
                    <a:pt x="1432" y="2115"/>
                  </a:cubicBezTo>
                  <a:cubicBezTo>
                    <a:pt x="1442" y="2185"/>
                    <a:pt x="1604" y="2290"/>
                    <a:pt x="1842" y="2307"/>
                  </a:cubicBezTo>
                  <a:lnTo>
                    <a:pt x="1845" y="2307"/>
                  </a:lnTo>
                  <a:lnTo>
                    <a:pt x="1842" y="2304"/>
                  </a:lnTo>
                  <a:cubicBezTo>
                    <a:pt x="1824" y="2283"/>
                    <a:pt x="1803" y="2265"/>
                    <a:pt x="1786" y="2248"/>
                  </a:cubicBezTo>
                  <a:lnTo>
                    <a:pt x="1775" y="2237"/>
                  </a:lnTo>
                  <a:lnTo>
                    <a:pt x="1723" y="2188"/>
                  </a:lnTo>
                  <a:cubicBezTo>
                    <a:pt x="1618" y="2087"/>
                    <a:pt x="1555" y="2031"/>
                    <a:pt x="1558" y="1968"/>
                  </a:cubicBezTo>
                  <a:cubicBezTo>
                    <a:pt x="1512" y="1912"/>
                    <a:pt x="1460" y="1862"/>
                    <a:pt x="1404" y="1817"/>
                  </a:cubicBezTo>
                  <a:cubicBezTo>
                    <a:pt x="1260" y="1691"/>
                    <a:pt x="1110" y="1558"/>
                    <a:pt x="1110" y="1425"/>
                  </a:cubicBezTo>
                  <a:cubicBezTo>
                    <a:pt x="1110" y="1351"/>
                    <a:pt x="1050" y="1299"/>
                    <a:pt x="987" y="1239"/>
                  </a:cubicBezTo>
                  <a:cubicBezTo>
                    <a:pt x="931" y="1190"/>
                    <a:pt x="872" y="1138"/>
                    <a:pt x="858" y="1064"/>
                  </a:cubicBezTo>
                  <a:cubicBezTo>
                    <a:pt x="837" y="921"/>
                    <a:pt x="951" y="811"/>
                    <a:pt x="1076" y="811"/>
                  </a:cubicBezTo>
                  <a:cubicBezTo>
                    <a:pt x="1119" y="811"/>
                    <a:pt x="1164" y="824"/>
                    <a:pt x="1204" y="854"/>
                  </a:cubicBezTo>
                  <a:cubicBezTo>
                    <a:pt x="1211" y="861"/>
                    <a:pt x="1219" y="863"/>
                    <a:pt x="1227" y="863"/>
                  </a:cubicBezTo>
                  <a:cubicBezTo>
                    <a:pt x="1231" y="863"/>
                    <a:pt x="1236" y="863"/>
                    <a:pt x="1239" y="861"/>
                  </a:cubicBezTo>
                  <a:cubicBezTo>
                    <a:pt x="1264" y="851"/>
                    <a:pt x="1288" y="837"/>
                    <a:pt x="1313" y="823"/>
                  </a:cubicBezTo>
                  <a:cubicBezTo>
                    <a:pt x="1360" y="794"/>
                    <a:pt x="1415" y="761"/>
                    <a:pt x="1476" y="761"/>
                  </a:cubicBezTo>
                  <a:cubicBezTo>
                    <a:pt x="1497" y="761"/>
                    <a:pt x="1518" y="765"/>
                    <a:pt x="1540" y="774"/>
                  </a:cubicBezTo>
                  <a:cubicBezTo>
                    <a:pt x="1625" y="809"/>
                    <a:pt x="2087" y="840"/>
                    <a:pt x="2363" y="854"/>
                  </a:cubicBezTo>
                  <a:lnTo>
                    <a:pt x="2377" y="858"/>
                  </a:lnTo>
                  <a:lnTo>
                    <a:pt x="2391" y="858"/>
                  </a:lnTo>
                  <a:lnTo>
                    <a:pt x="2402" y="861"/>
                  </a:lnTo>
                  <a:lnTo>
                    <a:pt x="2419" y="868"/>
                  </a:lnTo>
                  <a:lnTo>
                    <a:pt x="2468" y="886"/>
                  </a:lnTo>
                  <a:lnTo>
                    <a:pt x="2472" y="886"/>
                  </a:lnTo>
                  <a:lnTo>
                    <a:pt x="2493" y="896"/>
                  </a:lnTo>
                  <a:lnTo>
                    <a:pt x="2503" y="900"/>
                  </a:lnTo>
                  <a:lnTo>
                    <a:pt x="2528" y="910"/>
                  </a:lnTo>
                  <a:lnTo>
                    <a:pt x="2535" y="914"/>
                  </a:lnTo>
                  <a:lnTo>
                    <a:pt x="2566" y="928"/>
                  </a:lnTo>
                  <a:lnTo>
                    <a:pt x="2605" y="945"/>
                  </a:lnTo>
                  <a:lnTo>
                    <a:pt x="2612" y="949"/>
                  </a:lnTo>
                  <a:lnTo>
                    <a:pt x="2643" y="966"/>
                  </a:lnTo>
                  <a:lnTo>
                    <a:pt x="2657" y="973"/>
                  </a:lnTo>
                  <a:lnTo>
                    <a:pt x="2685" y="987"/>
                  </a:lnTo>
                  <a:lnTo>
                    <a:pt x="2699" y="994"/>
                  </a:lnTo>
                  <a:lnTo>
                    <a:pt x="2727" y="1012"/>
                  </a:lnTo>
                  <a:lnTo>
                    <a:pt x="2740" y="1018"/>
                  </a:lnTo>
                  <a:lnTo>
                    <a:pt x="2740" y="1018"/>
                  </a:lnTo>
                  <a:cubicBezTo>
                    <a:pt x="2733" y="1011"/>
                    <a:pt x="2731" y="1002"/>
                    <a:pt x="2731" y="991"/>
                  </a:cubicBezTo>
                  <a:lnTo>
                    <a:pt x="2731" y="980"/>
                  </a:lnTo>
                  <a:cubicBezTo>
                    <a:pt x="2727" y="970"/>
                    <a:pt x="2727" y="959"/>
                    <a:pt x="2727" y="949"/>
                  </a:cubicBezTo>
                  <a:lnTo>
                    <a:pt x="2727" y="938"/>
                  </a:lnTo>
                  <a:cubicBezTo>
                    <a:pt x="2727" y="924"/>
                    <a:pt x="2724" y="914"/>
                    <a:pt x="2720" y="903"/>
                  </a:cubicBezTo>
                  <a:cubicBezTo>
                    <a:pt x="2706" y="798"/>
                    <a:pt x="2699" y="753"/>
                    <a:pt x="2626" y="725"/>
                  </a:cubicBezTo>
                  <a:cubicBezTo>
                    <a:pt x="2612" y="721"/>
                    <a:pt x="2601" y="714"/>
                    <a:pt x="2591" y="707"/>
                  </a:cubicBezTo>
                  <a:lnTo>
                    <a:pt x="2580" y="700"/>
                  </a:lnTo>
                  <a:cubicBezTo>
                    <a:pt x="2573" y="693"/>
                    <a:pt x="2566" y="690"/>
                    <a:pt x="2563" y="683"/>
                  </a:cubicBezTo>
                  <a:cubicBezTo>
                    <a:pt x="2559" y="679"/>
                    <a:pt x="2552" y="676"/>
                    <a:pt x="2549" y="672"/>
                  </a:cubicBezTo>
                  <a:cubicBezTo>
                    <a:pt x="2545" y="665"/>
                    <a:pt x="2538" y="658"/>
                    <a:pt x="2535" y="651"/>
                  </a:cubicBezTo>
                  <a:lnTo>
                    <a:pt x="2524" y="634"/>
                  </a:lnTo>
                  <a:cubicBezTo>
                    <a:pt x="2517" y="627"/>
                    <a:pt x="2514" y="620"/>
                    <a:pt x="2510" y="609"/>
                  </a:cubicBezTo>
                  <a:cubicBezTo>
                    <a:pt x="2507" y="602"/>
                    <a:pt x="2503" y="599"/>
                    <a:pt x="2500" y="592"/>
                  </a:cubicBezTo>
                  <a:cubicBezTo>
                    <a:pt x="2496" y="585"/>
                    <a:pt x="2493" y="571"/>
                    <a:pt x="2489" y="560"/>
                  </a:cubicBezTo>
                  <a:cubicBezTo>
                    <a:pt x="2486" y="550"/>
                    <a:pt x="2482" y="550"/>
                    <a:pt x="2482" y="539"/>
                  </a:cubicBezTo>
                  <a:cubicBezTo>
                    <a:pt x="2479" y="532"/>
                    <a:pt x="2472" y="515"/>
                    <a:pt x="2468" y="504"/>
                  </a:cubicBezTo>
                  <a:cubicBezTo>
                    <a:pt x="2465" y="490"/>
                    <a:pt x="2465" y="490"/>
                    <a:pt x="2465" y="483"/>
                  </a:cubicBezTo>
                  <a:cubicBezTo>
                    <a:pt x="2461" y="466"/>
                    <a:pt x="2454" y="445"/>
                    <a:pt x="2451" y="427"/>
                  </a:cubicBezTo>
                  <a:lnTo>
                    <a:pt x="2451" y="417"/>
                  </a:lnTo>
                  <a:cubicBezTo>
                    <a:pt x="2402" y="431"/>
                    <a:pt x="2363" y="445"/>
                    <a:pt x="2335" y="448"/>
                  </a:cubicBezTo>
                  <a:lnTo>
                    <a:pt x="2332" y="448"/>
                  </a:lnTo>
                  <a:lnTo>
                    <a:pt x="2300" y="455"/>
                  </a:lnTo>
                  <a:lnTo>
                    <a:pt x="2290" y="455"/>
                  </a:lnTo>
                  <a:lnTo>
                    <a:pt x="2262" y="459"/>
                  </a:lnTo>
                  <a:lnTo>
                    <a:pt x="2097" y="459"/>
                  </a:lnTo>
                  <a:cubicBezTo>
                    <a:pt x="2080" y="459"/>
                    <a:pt x="2062" y="459"/>
                    <a:pt x="2045" y="455"/>
                  </a:cubicBezTo>
                  <a:lnTo>
                    <a:pt x="2031" y="455"/>
                  </a:lnTo>
                  <a:cubicBezTo>
                    <a:pt x="2013" y="452"/>
                    <a:pt x="1996" y="448"/>
                    <a:pt x="1978" y="445"/>
                  </a:cubicBezTo>
                  <a:lnTo>
                    <a:pt x="1971" y="445"/>
                  </a:lnTo>
                  <a:cubicBezTo>
                    <a:pt x="1954" y="441"/>
                    <a:pt x="1936" y="438"/>
                    <a:pt x="1915" y="431"/>
                  </a:cubicBezTo>
                  <a:lnTo>
                    <a:pt x="1901" y="427"/>
                  </a:lnTo>
                  <a:cubicBezTo>
                    <a:pt x="1887" y="420"/>
                    <a:pt x="1873" y="417"/>
                    <a:pt x="1859" y="410"/>
                  </a:cubicBezTo>
                  <a:lnTo>
                    <a:pt x="1845" y="406"/>
                  </a:lnTo>
                  <a:cubicBezTo>
                    <a:pt x="1828" y="396"/>
                    <a:pt x="1814" y="389"/>
                    <a:pt x="1796" y="378"/>
                  </a:cubicBezTo>
                  <a:lnTo>
                    <a:pt x="1789" y="371"/>
                  </a:lnTo>
                  <a:cubicBezTo>
                    <a:pt x="1775" y="364"/>
                    <a:pt x="1765" y="357"/>
                    <a:pt x="1751" y="347"/>
                  </a:cubicBezTo>
                  <a:lnTo>
                    <a:pt x="1740" y="336"/>
                  </a:lnTo>
                  <a:cubicBezTo>
                    <a:pt x="1726" y="326"/>
                    <a:pt x="1716" y="312"/>
                    <a:pt x="1705" y="298"/>
                  </a:cubicBezTo>
                  <a:cubicBezTo>
                    <a:pt x="1698" y="287"/>
                    <a:pt x="1691" y="280"/>
                    <a:pt x="1684" y="273"/>
                  </a:cubicBezTo>
                  <a:lnTo>
                    <a:pt x="1684" y="270"/>
                  </a:lnTo>
                  <a:cubicBezTo>
                    <a:pt x="1674" y="259"/>
                    <a:pt x="1663" y="252"/>
                    <a:pt x="1653" y="242"/>
                  </a:cubicBezTo>
                  <a:lnTo>
                    <a:pt x="1649" y="238"/>
                  </a:lnTo>
                  <a:cubicBezTo>
                    <a:pt x="1639" y="228"/>
                    <a:pt x="1628" y="221"/>
                    <a:pt x="1614" y="210"/>
                  </a:cubicBezTo>
                  <a:lnTo>
                    <a:pt x="1611" y="203"/>
                  </a:lnTo>
                  <a:lnTo>
                    <a:pt x="1569" y="172"/>
                  </a:lnTo>
                  <a:lnTo>
                    <a:pt x="1562" y="165"/>
                  </a:lnTo>
                  <a:lnTo>
                    <a:pt x="1512" y="133"/>
                  </a:lnTo>
                  <a:lnTo>
                    <a:pt x="1505" y="126"/>
                  </a:lnTo>
                  <a:lnTo>
                    <a:pt x="1453" y="91"/>
                  </a:lnTo>
                  <a:lnTo>
                    <a:pt x="1446" y="84"/>
                  </a:lnTo>
                  <a:lnTo>
                    <a:pt x="1383" y="46"/>
                  </a:lnTo>
                  <a:lnTo>
                    <a:pt x="1313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1" name="Google Shape;5548;p64">
              <a:extLst>
                <a:ext uri="{FF2B5EF4-FFF2-40B4-BE49-F238E27FC236}">
                  <a16:creationId xmlns:a16="http://schemas.microsoft.com/office/drawing/2014/main" id="{52E803EB-92F2-5835-DCAA-F6EFA3854985}"/>
                </a:ext>
              </a:extLst>
            </p:cNvPr>
            <p:cNvSpPr/>
            <p:nvPr/>
          </p:nvSpPr>
          <p:spPr>
            <a:xfrm>
              <a:off x="2186141" y="1680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2" name="Google Shape;5549;p64">
              <a:extLst>
                <a:ext uri="{FF2B5EF4-FFF2-40B4-BE49-F238E27FC236}">
                  <a16:creationId xmlns:a16="http://schemas.microsoft.com/office/drawing/2014/main" id="{5C2DDD49-CADC-3BAF-5A83-5D70BAA36734}"/>
                </a:ext>
              </a:extLst>
            </p:cNvPr>
            <p:cNvSpPr/>
            <p:nvPr/>
          </p:nvSpPr>
          <p:spPr>
            <a:xfrm>
              <a:off x="2187187" y="1681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3" name="Google Shape;5550;p64">
              <a:extLst>
                <a:ext uri="{FF2B5EF4-FFF2-40B4-BE49-F238E27FC236}">
                  <a16:creationId xmlns:a16="http://schemas.microsoft.com/office/drawing/2014/main" id="{5943B503-FBC6-D2E1-A3AC-BF911BA6400D}"/>
                </a:ext>
              </a:extLst>
            </p:cNvPr>
            <p:cNvSpPr/>
            <p:nvPr/>
          </p:nvSpPr>
          <p:spPr>
            <a:xfrm>
              <a:off x="2188327" y="168202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4" name="Google Shape;5551;p64">
              <a:extLst>
                <a:ext uri="{FF2B5EF4-FFF2-40B4-BE49-F238E27FC236}">
                  <a16:creationId xmlns:a16="http://schemas.microsoft.com/office/drawing/2014/main" id="{29B263D9-B359-CA1E-7D81-2DBE7DDAA52C}"/>
                </a:ext>
              </a:extLst>
            </p:cNvPr>
            <p:cNvSpPr/>
            <p:nvPr/>
          </p:nvSpPr>
          <p:spPr>
            <a:xfrm>
              <a:off x="2185571" y="168065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5" name="Google Shape;5552;p64">
              <a:extLst>
                <a:ext uri="{FF2B5EF4-FFF2-40B4-BE49-F238E27FC236}">
                  <a16:creationId xmlns:a16="http://schemas.microsoft.com/office/drawing/2014/main" id="{66958AE4-6156-7518-ED37-34898A2DD3F8}"/>
                </a:ext>
              </a:extLst>
            </p:cNvPr>
            <p:cNvSpPr/>
            <p:nvPr/>
          </p:nvSpPr>
          <p:spPr>
            <a:xfrm>
              <a:off x="2186657" y="168112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6" name="Google Shape;5553;p64">
              <a:extLst>
                <a:ext uri="{FF2B5EF4-FFF2-40B4-BE49-F238E27FC236}">
                  <a16:creationId xmlns:a16="http://schemas.microsoft.com/office/drawing/2014/main" id="{CFAE8517-2826-3D48-5F32-47E64CFADBB9}"/>
                </a:ext>
              </a:extLst>
            </p:cNvPr>
            <p:cNvSpPr/>
            <p:nvPr/>
          </p:nvSpPr>
          <p:spPr>
            <a:xfrm>
              <a:off x="2184756" y="168031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7" name="Google Shape;5554;p64">
              <a:extLst>
                <a:ext uri="{FF2B5EF4-FFF2-40B4-BE49-F238E27FC236}">
                  <a16:creationId xmlns:a16="http://schemas.microsoft.com/office/drawing/2014/main" id="{4E7E1AC8-9839-E609-207D-CAB9167CD040}"/>
                </a:ext>
              </a:extLst>
            </p:cNvPr>
            <p:cNvSpPr/>
            <p:nvPr/>
          </p:nvSpPr>
          <p:spPr>
            <a:xfrm>
              <a:off x="2185137" y="1680462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8" name="Google Shape;5555;p64">
              <a:extLst>
                <a:ext uri="{FF2B5EF4-FFF2-40B4-BE49-F238E27FC236}">
                  <a16:creationId xmlns:a16="http://schemas.microsoft.com/office/drawing/2014/main" id="{9A8B2021-2A6E-1B07-F046-CE661FF0CC4A}"/>
                </a:ext>
              </a:extLst>
            </p:cNvPr>
            <p:cNvSpPr/>
            <p:nvPr/>
          </p:nvSpPr>
          <p:spPr>
            <a:xfrm>
              <a:off x="2183616" y="167989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9" name="Google Shape;5556;p64">
              <a:extLst>
                <a:ext uri="{FF2B5EF4-FFF2-40B4-BE49-F238E27FC236}">
                  <a16:creationId xmlns:a16="http://schemas.microsoft.com/office/drawing/2014/main" id="{FE90B62C-8967-E223-663C-7523150F4018}"/>
                </a:ext>
              </a:extLst>
            </p:cNvPr>
            <p:cNvSpPr/>
            <p:nvPr/>
          </p:nvSpPr>
          <p:spPr>
            <a:xfrm>
              <a:off x="2175347" y="1698615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0" name="Google Shape;5557;p64">
              <a:extLst>
                <a:ext uri="{FF2B5EF4-FFF2-40B4-BE49-F238E27FC236}">
                  <a16:creationId xmlns:a16="http://schemas.microsoft.com/office/drawing/2014/main" id="{150805D3-21ED-514A-5E01-985C39CE1368}"/>
                </a:ext>
              </a:extLst>
            </p:cNvPr>
            <p:cNvSpPr/>
            <p:nvPr/>
          </p:nvSpPr>
          <p:spPr>
            <a:xfrm>
              <a:off x="2176257" y="169952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1" name="Google Shape;5558;p64">
              <a:extLst>
                <a:ext uri="{FF2B5EF4-FFF2-40B4-BE49-F238E27FC236}">
                  <a16:creationId xmlns:a16="http://schemas.microsoft.com/office/drawing/2014/main" id="{E899FEFD-6BE2-C6BC-95E0-8B69A37C8753}"/>
                </a:ext>
              </a:extLst>
            </p:cNvPr>
            <p:cNvSpPr/>
            <p:nvPr/>
          </p:nvSpPr>
          <p:spPr>
            <a:xfrm>
              <a:off x="2187703" y="168169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2" name="Google Shape;5559;p64">
              <a:extLst>
                <a:ext uri="{FF2B5EF4-FFF2-40B4-BE49-F238E27FC236}">
                  <a16:creationId xmlns:a16="http://schemas.microsoft.com/office/drawing/2014/main" id="{91A8B940-903C-FA1B-D5B9-CA34B9734154}"/>
                </a:ext>
              </a:extLst>
            </p:cNvPr>
            <p:cNvSpPr/>
            <p:nvPr/>
          </p:nvSpPr>
          <p:spPr>
            <a:xfrm>
              <a:off x="2167595" y="1679838"/>
              <a:ext cx="489" cy="163"/>
            </a:xfrm>
            <a:custGeom>
              <a:avLst/>
              <a:gdLst/>
              <a:ahLst/>
              <a:cxnLst/>
              <a:rect l="l" t="t" r="r" b="b"/>
              <a:pathLst>
                <a:path w="36" h="12" extrusionOk="0">
                  <a:moveTo>
                    <a:pt x="1" y="1"/>
                  </a:moveTo>
                  <a:cubicBezTo>
                    <a:pt x="11" y="8"/>
                    <a:pt x="25" y="11"/>
                    <a:pt x="36" y="4"/>
                  </a:cubicBezTo>
                  <a:cubicBezTo>
                    <a:pt x="25" y="11"/>
                    <a:pt x="1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3" name="Google Shape;5560;p64">
              <a:extLst>
                <a:ext uri="{FF2B5EF4-FFF2-40B4-BE49-F238E27FC236}">
                  <a16:creationId xmlns:a16="http://schemas.microsoft.com/office/drawing/2014/main" id="{E7F2310F-04A7-E88A-EDB5-BF1A60C1FD9D}"/>
                </a:ext>
              </a:extLst>
            </p:cNvPr>
            <p:cNvSpPr/>
            <p:nvPr/>
          </p:nvSpPr>
          <p:spPr>
            <a:xfrm>
              <a:off x="2183711" y="16799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4" name="Google Shape;5561;p64">
              <a:extLst>
                <a:ext uri="{FF2B5EF4-FFF2-40B4-BE49-F238E27FC236}">
                  <a16:creationId xmlns:a16="http://schemas.microsoft.com/office/drawing/2014/main" id="{38CE47D7-1879-7290-16EB-74A92142AEC4}"/>
                </a:ext>
              </a:extLst>
            </p:cNvPr>
            <p:cNvSpPr/>
            <p:nvPr/>
          </p:nvSpPr>
          <p:spPr>
            <a:xfrm>
              <a:off x="2184145" y="168008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5" name="Google Shape;5562;p64">
              <a:extLst>
                <a:ext uri="{FF2B5EF4-FFF2-40B4-BE49-F238E27FC236}">
                  <a16:creationId xmlns:a16="http://schemas.microsoft.com/office/drawing/2014/main" id="{7D8AE3D1-F37A-0FF3-8F41-E5AEE564FF39}"/>
                </a:ext>
              </a:extLst>
            </p:cNvPr>
            <p:cNvSpPr/>
            <p:nvPr/>
          </p:nvSpPr>
          <p:spPr>
            <a:xfrm>
              <a:off x="2183860" y="167998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6" name="Google Shape;5563;p64">
              <a:extLst>
                <a:ext uri="{FF2B5EF4-FFF2-40B4-BE49-F238E27FC236}">
                  <a16:creationId xmlns:a16="http://schemas.microsoft.com/office/drawing/2014/main" id="{D0746ACB-0F36-A59C-BB3F-AB52F0A9B7CB}"/>
                </a:ext>
              </a:extLst>
            </p:cNvPr>
            <p:cNvSpPr/>
            <p:nvPr/>
          </p:nvSpPr>
          <p:spPr>
            <a:xfrm>
              <a:off x="2189794" y="1704318"/>
              <a:ext cx="11324" cy="24833"/>
            </a:xfrm>
            <a:custGeom>
              <a:avLst/>
              <a:gdLst/>
              <a:ahLst/>
              <a:cxnLst/>
              <a:rect l="l" t="t" r="r" b="b"/>
              <a:pathLst>
                <a:path w="834" h="1829" extrusionOk="0">
                  <a:moveTo>
                    <a:pt x="186" y="1"/>
                  </a:moveTo>
                  <a:cubicBezTo>
                    <a:pt x="141" y="11"/>
                    <a:pt x="50" y="123"/>
                    <a:pt x="4" y="267"/>
                  </a:cubicBezTo>
                  <a:lnTo>
                    <a:pt x="4" y="274"/>
                  </a:lnTo>
                  <a:cubicBezTo>
                    <a:pt x="4" y="277"/>
                    <a:pt x="1" y="284"/>
                    <a:pt x="1" y="288"/>
                  </a:cubicBezTo>
                  <a:cubicBezTo>
                    <a:pt x="123" y="358"/>
                    <a:pt x="200" y="421"/>
                    <a:pt x="211" y="508"/>
                  </a:cubicBezTo>
                  <a:cubicBezTo>
                    <a:pt x="221" y="571"/>
                    <a:pt x="193" y="638"/>
                    <a:pt x="120" y="708"/>
                  </a:cubicBezTo>
                  <a:cubicBezTo>
                    <a:pt x="50" y="781"/>
                    <a:pt x="1" y="970"/>
                    <a:pt x="11" y="1156"/>
                  </a:cubicBezTo>
                  <a:cubicBezTo>
                    <a:pt x="18" y="1282"/>
                    <a:pt x="50" y="1380"/>
                    <a:pt x="99" y="1419"/>
                  </a:cubicBezTo>
                  <a:cubicBezTo>
                    <a:pt x="176" y="1492"/>
                    <a:pt x="242" y="1580"/>
                    <a:pt x="288" y="1674"/>
                  </a:cubicBezTo>
                  <a:cubicBezTo>
                    <a:pt x="316" y="1727"/>
                    <a:pt x="351" y="1779"/>
                    <a:pt x="389" y="1828"/>
                  </a:cubicBezTo>
                  <a:lnTo>
                    <a:pt x="389" y="1818"/>
                  </a:lnTo>
                  <a:lnTo>
                    <a:pt x="396" y="1797"/>
                  </a:lnTo>
                  <a:lnTo>
                    <a:pt x="407" y="1772"/>
                  </a:lnTo>
                  <a:lnTo>
                    <a:pt x="414" y="1751"/>
                  </a:lnTo>
                  <a:cubicBezTo>
                    <a:pt x="417" y="1744"/>
                    <a:pt x="421" y="1734"/>
                    <a:pt x="424" y="1727"/>
                  </a:cubicBezTo>
                  <a:lnTo>
                    <a:pt x="431" y="1709"/>
                  </a:lnTo>
                  <a:cubicBezTo>
                    <a:pt x="435" y="1702"/>
                    <a:pt x="438" y="1695"/>
                    <a:pt x="442" y="1688"/>
                  </a:cubicBezTo>
                  <a:cubicBezTo>
                    <a:pt x="445" y="1681"/>
                    <a:pt x="449" y="1674"/>
                    <a:pt x="452" y="1671"/>
                  </a:cubicBezTo>
                  <a:cubicBezTo>
                    <a:pt x="456" y="1664"/>
                    <a:pt x="459" y="1657"/>
                    <a:pt x="463" y="1650"/>
                  </a:cubicBezTo>
                  <a:cubicBezTo>
                    <a:pt x="470" y="1643"/>
                    <a:pt x="470" y="1643"/>
                    <a:pt x="473" y="1636"/>
                  </a:cubicBezTo>
                  <a:cubicBezTo>
                    <a:pt x="477" y="1632"/>
                    <a:pt x="484" y="1625"/>
                    <a:pt x="491" y="1622"/>
                  </a:cubicBezTo>
                  <a:cubicBezTo>
                    <a:pt x="494" y="1618"/>
                    <a:pt x="494" y="1615"/>
                    <a:pt x="501" y="1611"/>
                  </a:cubicBezTo>
                  <a:cubicBezTo>
                    <a:pt x="505" y="1604"/>
                    <a:pt x="512" y="1601"/>
                    <a:pt x="519" y="1597"/>
                  </a:cubicBezTo>
                  <a:cubicBezTo>
                    <a:pt x="522" y="1597"/>
                    <a:pt x="526" y="1590"/>
                    <a:pt x="529" y="1590"/>
                  </a:cubicBezTo>
                  <a:cubicBezTo>
                    <a:pt x="540" y="1583"/>
                    <a:pt x="554" y="1580"/>
                    <a:pt x="564" y="1576"/>
                  </a:cubicBezTo>
                  <a:lnTo>
                    <a:pt x="571" y="1576"/>
                  </a:lnTo>
                  <a:cubicBezTo>
                    <a:pt x="589" y="1573"/>
                    <a:pt x="589" y="1569"/>
                    <a:pt x="592" y="1548"/>
                  </a:cubicBezTo>
                  <a:lnTo>
                    <a:pt x="596" y="1538"/>
                  </a:lnTo>
                  <a:cubicBezTo>
                    <a:pt x="603" y="1482"/>
                    <a:pt x="627" y="1429"/>
                    <a:pt x="666" y="1391"/>
                  </a:cubicBezTo>
                  <a:cubicBezTo>
                    <a:pt x="673" y="1384"/>
                    <a:pt x="680" y="1373"/>
                    <a:pt x="690" y="1363"/>
                  </a:cubicBezTo>
                  <a:lnTo>
                    <a:pt x="694" y="1359"/>
                  </a:lnTo>
                  <a:cubicBezTo>
                    <a:pt x="701" y="1352"/>
                    <a:pt x="708" y="1342"/>
                    <a:pt x="715" y="1331"/>
                  </a:cubicBezTo>
                  <a:lnTo>
                    <a:pt x="722" y="1324"/>
                  </a:lnTo>
                  <a:lnTo>
                    <a:pt x="743" y="1296"/>
                  </a:lnTo>
                  <a:lnTo>
                    <a:pt x="746" y="1289"/>
                  </a:lnTo>
                  <a:lnTo>
                    <a:pt x="767" y="1257"/>
                  </a:lnTo>
                  <a:lnTo>
                    <a:pt x="771" y="1250"/>
                  </a:lnTo>
                  <a:lnTo>
                    <a:pt x="788" y="1222"/>
                  </a:lnTo>
                  <a:lnTo>
                    <a:pt x="792" y="1215"/>
                  </a:lnTo>
                  <a:lnTo>
                    <a:pt x="806" y="1187"/>
                  </a:lnTo>
                  <a:lnTo>
                    <a:pt x="810" y="1180"/>
                  </a:lnTo>
                  <a:lnTo>
                    <a:pt x="824" y="1156"/>
                  </a:lnTo>
                  <a:lnTo>
                    <a:pt x="824" y="1149"/>
                  </a:lnTo>
                  <a:cubicBezTo>
                    <a:pt x="827" y="1142"/>
                    <a:pt x="831" y="1135"/>
                    <a:pt x="834" y="1128"/>
                  </a:cubicBezTo>
                  <a:lnTo>
                    <a:pt x="827" y="1121"/>
                  </a:lnTo>
                  <a:lnTo>
                    <a:pt x="806" y="1103"/>
                  </a:lnTo>
                  <a:lnTo>
                    <a:pt x="774" y="1075"/>
                  </a:lnTo>
                  <a:lnTo>
                    <a:pt x="750" y="1058"/>
                  </a:lnTo>
                  <a:lnTo>
                    <a:pt x="722" y="1033"/>
                  </a:lnTo>
                  <a:lnTo>
                    <a:pt x="701" y="1016"/>
                  </a:lnTo>
                  <a:lnTo>
                    <a:pt x="676" y="991"/>
                  </a:lnTo>
                  <a:lnTo>
                    <a:pt x="655" y="974"/>
                  </a:lnTo>
                  <a:cubicBezTo>
                    <a:pt x="648" y="963"/>
                    <a:pt x="641" y="956"/>
                    <a:pt x="634" y="949"/>
                  </a:cubicBezTo>
                  <a:lnTo>
                    <a:pt x="617" y="928"/>
                  </a:lnTo>
                  <a:cubicBezTo>
                    <a:pt x="610" y="921"/>
                    <a:pt x="603" y="911"/>
                    <a:pt x="599" y="900"/>
                  </a:cubicBezTo>
                  <a:cubicBezTo>
                    <a:pt x="592" y="893"/>
                    <a:pt x="589" y="890"/>
                    <a:pt x="585" y="883"/>
                  </a:cubicBezTo>
                  <a:cubicBezTo>
                    <a:pt x="582" y="876"/>
                    <a:pt x="571" y="862"/>
                    <a:pt x="568" y="851"/>
                  </a:cubicBezTo>
                  <a:cubicBezTo>
                    <a:pt x="561" y="841"/>
                    <a:pt x="561" y="841"/>
                    <a:pt x="557" y="834"/>
                  </a:cubicBezTo>
                  <a:cubicBezTo>
                    <a:pt x="550" y="816"/>
                    <a:pt x="543" y="799"/>
                    <a:pt x="540" y="781"/>
                  </a:cubicBezTo>
                  <a:cubicBezTo>
                    <a:pt x="536" y="764"/>
                    <a:pt x="533" y="746"/>
                    <a:pt x="529" y="729"/>
                  </a:cubicBezTo>
                  <a:lnTo>
                    <a:pt x="529" y="725"/>
                  </a:lnTo>
                  <a:cubicBezTo>
                    <a:pt x="526" y="708"/>
                    <a:pt x="526" y="687"/>
                    <a:pt x="526" y="669"/>
                  </a:cubicBezTo>
                  <a:lnTo>
                    <a:pt x="526" y="659"/>
                  </a:lnTo>
                  <a:lnTo>
                    <a:pt x="526" y="599"/>
                  </a:lnTo>
                  <a:lnTo>
                    <a:pt x="526" y="589"/>
                  </a:lnTo>
                  <a:cubicBezTo>
                    <a:pt x="526" y="568"/>
                    <a:pt x="526" y="547"/>
                    <a:pt x="529" y="526"/>
                  </a:cubicBezTo>
                  <a:lnTo>
                    <a:pt x="529" y="515"/>
                  </a:lnTo>
                  <a:cubicBezTo>
                    <a:pt x="529" y="491"/>
                    <a:pt x="533" y="470"/>
                    <a:pt x="536" y="449"/>
                  </a:cubicBezTo>
                  <a:lnTo>
                    <a:pt x="536" y="438"/>
                  </a:lnTo>
                  <a:cubicBezTo>
                    <a:pt x="540" y="417"/>
                    <a:pt x="543" y="393"/>
                    <a:pt x="550" y="368"/>
                  </a:cubicBezTo>
                  <a:cubicBezTo>
                    <a:pt x="554" y="347"/>
                    <a:pt x="557" y="323"/>
                    <a:pt x="564" y="298"/>
                  </a:cubicBezTo>
                  <a:lnTo>
                    <a:pt x="564" y="295"/>
                  </a:lnTo>
                  <a:cubicBezTo>
                    <a:pt x="568" y="274"/>
                    <a:pt x="575" y="253"/>
                    <a:pt x="582" y="232"/>
                  </a:cubicBezTo>
                  <a:lnTo>
                    <a:pt x="582" y="225"/>
                  </a:lnTo>
                  <a:cubicBezTo>
                    <a:pt x="536" y="197"/>
                    <a:pt x="498" y="169"/>
                    <a:pt x="463" y="144"/>
                  </a:cubicBezTo>
                  <a:lnTo>
                    <a:pt x="456" y="141"/>
                  </a:lnTo>
                  <a:lnTo>
                    <a:pt x="438" y="130"/>
                  </a:lnTo>
                  <a:cubicBezTo>
                    <a:pt x="407" y="109"/>
                    <a:pt x="375" y="92"/>
                    <a:pt x="351" y="74"/>
                  </a:cubicBezTo>
                  <a:lnTo>
                    <a:pt x="347" y="71"/>
                  </a:lnTo>
                  <a:lnTo>
                    <a:pt x="326" y="60"/>
                  </a:lnTo>
                  <a:cubicBezTo>
                    <a:pt x="284" y="36"/>
                    <a:pt x="239" y="15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7" name="Google Shape;5564;p64">
              <a:extLst>
                <a:ext uri="{FF2B5EF4-FFF2-40B4-BE49-F238E27FC236}">
                  <a16:creationId xmlns:a16="http://schemas.microsoft.com/office/drawing/2014/main" id="{99C4D4B4-2201-A1AF-E3D5-25284DB795D6}"/>
                </a:ext>
              </a:extLst>
            </p:cNvPr>
            <p:cNvSpPr/>
            <p:nvPr/>
          </p:nvSpPr>
          <p:spPr>
            <a:xfrm>
              <a:off x="2121119" y="1644237"/>
              <a:ext cx="52626" cy="23163"/>
            </a:xfrm>
            <a:custGeom>
              <a:avLst/>
              <a:gdLst/>
              <a:ahLst/>
              <a:cxnLst/>
              <a:rect l="l" t="t" r="r" b="b"/>
              <a:pathLst>
                <a:path w="3876" h="1706" extrusionOk="0">
                  <a:moveTo>
                    <a:pt x="2871" y="1"/>
                  </a:moveTo>
                  <a:cubicBezTo>
                    <a:pt x="2850" y="78"/>
                    <a:pt x="2822" y="151"/>
                    <a:pt x="2787" y="221"/>
                  </a:cubicBezTo>
                  <a:cubicBezTo>
                    <a:pt x="2780" y="228"/>
                    <a:pt x="2776" y="235"/>
                    <a:pt x="2769" y="242"/>
                  </a:cubicBezTo>
                  <a:lnTo>
                    <a:pt x="2762" y="246"/>
                  </a:lnTo>
                  <a:cubicBezTo>
                    <a:pt x="2759" y="253"/>
                    <a:pt x="2752" y="256"/>
                    <a:pt x="2748" y="260"/>
                  </a:cubicBezTo>
                  <a:lnTo>
                    <a:pt x="2738" y="267"/>
                  </a:lnTo>
                  <a:lnTo>
                    <a:pt x="2724" y="274"/>
                  </a:lnTo>
                  <a:lnTo>
                    <a:pt x="2710" y="281"/>
                  </a:lnTo>
                  <a:lnTo>
                    <a:pt x="2692" y="288"/>
                  </a:lnTo>
                  <a:lnTo>
                    <a:pt x="2678" y="291"/>
                  </a:lnTo>
                  <a:lnTo>
                    <a:pt x="2661" y="295"/>
                  </a:lnTo>
                  <a:lnTo>
                    <a:pt x="2643" y="298"/>
                  </a:lnTo>
                  <a:lnTo>
                    <a:pt x="2626" y="302"/>
                  </a:lnTo>
                  <a:lnTo>
                    <a:pt x="2608" y="305"/>
                  </a:lnTo>
                  <a:lnTo>
                    <a:pt x="2591" y="309"/>
                  </a:lnTo>
                  <a:lnTo>
                    <a:pt x="2412" y="309"/>
                  </a:lnTo>
                  <a:lnTo>
                    <a:pt x="2391" y="305"/>
                  </a:lnTo>
                  <a:lnTo>
                    <a:pt x="2374" y="305"/>
                  </a:lnTo>
                  <a:lnTo>
                    <a:pt x="2339" y="302"/>
                  </a:lnTo>
                  <a:lnTo>
                    <a:pt x="2332" y="302"/>
                  </a:lnTo>
                  <a:lnTo>
                    <a:pt x="2304" y="298"/>
                  </a:lnTo>
                  <a:lnTo>
                    <a:pt x="2290" y="295"/>
                  </a:lnTo>
                  <a:lnTo>
                    <a:pt x="2272" y="291"/>
                  </a:lnTo>
                  <a:cubicBezTo>
                    <a:pt x="2237" y="316"/>
                    <a:pt x="2199" y="337"/>
                    <a:pt x="2160" y="354"/>
                  </a:cubicBezTo>
                  <a:cubicBezTo>
                    <a:pt x="2115" y="375"/>
                    <a:pt x="2034" y="414"/>
                    <a:pt x="2020" y="438"/>
                  </a:cubicBezTo>
                  <a:lnTo>
                    <a:pt x="2020" y="442"/>
                  </a:lnTo>
                  <a:cubicBezTo>
                    <a:pt x="2017" y="449"/>
                    <a:pt x="2013" y="456"/>
                    <a:pt x="2010" y="463"/>
                  </a:cubicBezTo>
                  <a:cubicBezTo>
                    <a:pt x="1985" y="501"/>
                    <a:pt x="1950" y="533"/>
                    <a:pt x="1905" y="547"/>
                  </a:cubicBezTo>
                  <a:lnTo>
                    <a:pt x="1887" y="554"/>
                  </a:lnTo>
                  <a:cubicBezTo>
                    <a:pt x="1807" y="589"/>
                    <a:pt x="1765" y="606"/>
                    <a:pt x="1803" y="743"/>
                  </a:cubicBezTo>
                  <a:cubicBezTo>
                    <a:pt x="1817" y="785"/>
                    <a:pt x="1856" y="925"/>
                    <a:pt x="1779" y="995"/>
                  </a:cubicBezTo>
                  <a:cubicBezTo>
                    <a:pt x="1750" y="1020"/>
                    <a:pt x="1715" y="1029"/>
                    <a:pt x="1679" y="1029"/>
                  </a:cubicBezTo>
                  <a:cubicBezTo>
                    <a:pt x="1614" y="1029"/>
                    <a:pt x="1544" y="999"/>
                    <a:pt x="1498" y="981"/>
                  </a:cubicBezTo>
                  <a:cubicBezTo>
                    <a:pt x="1495" y="977"/>
                    <a:pt x="1488" y="977"/>
                    <a:pt x="1484" y="974"/>
                  </a:cubicBezTo>
                  <a:cubicBezTo>
                    <a:pt x="1471" y="971"/>
                    <a:pt x="1453" y="970"/>
                    <a:pt x="1430" y="970"/>
                  </a:cubicBezTo>
                  <a:cubicBezTo>
                    <a:pt x="1307" y="970"/>
                    <a:pt x="1074" y="1010"/>
                    <a:pt x="1008" y="1072"/>
                  </a:cubicBezTo>
                  <a:cubicBezTo>
                    <a:pt x="948" y="1134"/>
                    <a:pt x="874" y="1158"/>
                    <a:pt x="803" y="1158"/>
                  </a:cubicBezTo>
                  <a:cubicBezTo>
                    <a:pt x="734" y="1158"/>
                    <a:pt x="668" y="1136"/>
                    <a:pt x="616" y="1107"/>
                  </a:cubicBezTo>
                  <a:cubicBezTo>
                    <a:pt x="588" y="1091"/>
                    <a:pt x="540" y="1076"/>
                    <a:pt x="492" y="1076"/>
                  </a:cubicBezTo>
                  <a:cubicBezTo>
                    <a:pt x="447" y="1076"/>
                    <a:pt x="402" y="1090"/>
                    <a:pt x="378" y="1131"/>
                  </a:cubicBezTo>
                  <a:cubicBezTo>
                    <a:pt x="357" y="1166"/>
                    <a:pt x="326" y="1191"/>
                    <a:pt x="291" y="1198"/>
                  </a:cubicBezTo>
                  <a:cubicBezTo>
                    <a:pt x="280" y="1201"/>
                    <a:pt x="273" y="1201"/>
                    <a:pt x="263" y="1201"/>
                  </a:cubicBezTo>
                  <a:lnTo>
                    <a:pt x="238" y="1201"/>
                  </a:lnTo>
                  <a:lnTo>
                    <a:pt x="221" y="1198"/>
                  </a:lnTo>
                  <a:lnTo>
                    <a:pt x="214" y="1194"/>
                  </a:lnTo>
                  <a:lnTo>
                    <a:pt x="200" y="1191"/>
                  </a:lnTo>
                  <a:lnTo>
                    <a:pt x="189" y="1184"/>
                  </a:lnTo>
                  <a:lnTo>
                    <a:pt x="179" y="1180"/>
                  </a:lnTo>
                  <a:lnTo>
                    <a:pt x="172" y="1173"/>
                  </a:lnTo>
                  <a:lnTo>
                    <a:pt x="158" y="1166"/>
                  </a:lnTo>
                  <a:lnTo>
                    <a:pt x="151" y="1163"/>
                  </a:lnTo>
                  <a:lnTo>
                    <a:pt x="137" y="1152"/>
                  </a:lnTo>
                  <a:lnTo>
                    <a:pt x="130" y="1149"/>
                  </a:lnTo>
                  <a:lnTo>
                    <a:pt x="112" y="1135"/>
                  </a:lnTo>
                  <a:cubicBezTo>
                    <a:pt x="84" y="1110"/>
                    <a:pt x="53" y="1093"/>
                    <a:pt x="18" y="1082"/>
                  </a:cubicBezTo>
                  <a:lnTo>
                    <a:pt x="14" y="1082"/>
                  </a:lnTo>
                  <a:cubicBezTo>
                    <a:pt x="14" y="1082"/>
                    <a:pt x="11" y="1089"/>
                    <a:pt x="7" y="1100"/>
                  </a:cubicBezTo>
                  <a:cubicBezTo>
                    <a:pt x="0" y="1152"/>
                    <a:pt x="0" y="1208"/>
                    <a:pt x="7" y="1264"/>
                  </a:cubicBezTo>
                  <a:cubicBezTo>
                    <a:pt x="7" y="1278"/>
                    <a:pt x="11" y="1292"/>
                    <a:pt x="11" y="1299"/>
                  </a:cubicBezTo>
                  <a:cubicBezTo>
                    <a:pt x="14" y="1306"/>
                    <a:pt x="18" y="1310"/>
                    <a:pt x="21" y="1313"/>
                  </a:cubicBezTo>
                  <a:cubicBezTo>
                    <a:pt x="49" y="1345"/>
                    <a:pt x="88" y="1373"/>
                    <a:pt x="130" y="1387"/>
                  </a:cubicBezTo>
                  <a:cubicBezTo>
                    <a:pt x="140" y="1394"/>
                    <a:pt x="154" y="1397"/>
                    <a:pt x="168" y="1397"/>
                  </a:cubicBezTo>
                  <a:cubicBezTo>
                    <a:pt x="172" y="1399"/>
                    <a:pt x="175" y="1400"/>
                    <a:pt x="179" y="1400"/>
                  </a:cubicBezTo>
                  <a:cubicBezTo>
                    <a:pt x="182" y="1400"/>
                    <a:pt x="186" y="1399"/>
                    <a:pt x="189" y="1397"/>
                  </a:cubicBezTo>
                  <a:lnTo>
                    <a:pt x="200" y="1397"/>
                  </a:lnTo>
                  <a:cubicBezTo>
                    <a:pt x="210" y="1394"/>
                    <a:pt x="224" y="1387"/>
                    <a:pt x="235" y="1387"/>
                  </a:cubicBezTo>
                  <a:lnTo>
                    <a:pt x="256" y="1380"/>
                  </a:lnTo>
                  <a:lnTo>
                    <a:pt x="273" y="1376"/>
                  </a:lnTo>
                  <a:lnTo>
                    <a:pt x="354" y="1376"/>
                  </a:lnTo>
                  <a:cubicBezTo>
                    <a:pt x="399" y="1383"/>
                    <a:pt x="445" y="1397"/>
                    <a:pt x="487" y="1415"/>
                  </a:cubicBezTo>
                  <a:lnTo>
                    <a:pt x="504" y="1425"/>
                  </a:lnTo>
                  <a:cubicBezTo>
                    <a:pt x="518" y="1429"/>
                    <a:pt x="536" y="1439"/>
                    <a:pt x="550" y="1446"/>
                  </a:cubicBezTo>
                  <a:lnTo>
                    <a:pt x="609" y="1478"/>
                  </a:lnTo>
                  <a:cubicBezTo>
                    <a:pt x="623" y="1481"/>
                    <a:pt x="641" y="1481"/>
                    <a:pt x="655" y="1481"/>
                  </a:cubicBezTo>
                  <a:cubicBezTo>
                    <a:pt x="732" y="1464"/>
                    <a:pt x="802" y="1425"/>
                    <a:pt x="858" y="1373"/>
                  </a:cubicBezTo>
                  <a:cubicBezTo>
                    <a:pt x="910" y="1320"/>
                    <a:pt x="1075" y="1292"/>
                    <a:pt x="1341" y="1292"/>
                  </a:cubicBezTo>
                  <a:cubicBezTo>
                    <a:pt x="1407" y="1292"/>
                    <a:pt x="1425" y="1359"/>
                    <a:pt x="1446" y="1429"/>
                  </a:cubicBezTo>
                  <a:cubicBezTo>
                    <a:pt x="1453" y="1467"/>
                    <a:pt x="1467" y="1502"/>
                    <a:pt x="1484" y="1534"/>
                  </a:cubicBezTo>
                  <a:cubicBezTo>
                    <a:pt x="1491" y="1537"/>
                    <a:pt x="1544" y="1558"/>
                    <a:pt x="1730" y="1579"/>
                  </a:cubicBezTo>
                  <a:lnTo>
                    <a:pt x="1733" y="1579"/>
                  </a:lnTo>
                  <a:cubicBezTo>
                    <a:pt x="1768" y="1583"/>
                    <a:pt x="1803" y="1587"/>
                    <a:pt x="1838" y="1590"/>
                  </a:cubicBezTo>
                  <a:lnTo>
                    <a:pt x="1842" y="1590"/>
                  </a:lnTo>
                  <a:lnTo>
                    <a:pt x="1950" y="1597"/>
                  </a:lnTo>
                  <a:cubicBezTo>
                    <a:pt x="2034" y="1601"/>
                    <a:pt x="2122" y="1615"/>
                    <a:pt x="2206" y="1636"/>
                  </a:cubicBezTo>
                  <a:lnTo>
                    <a:pt x="2342" y="1664"/>
                  </a:lnTo>
                  <a:cubicBezTo>
                    <a:pt x="2412" y="1685"/>
                    <a:pt x="2482" y="1695"/>
                    <a:pt x="2552" y="1706"/>
                  </a:cubicBezTo>
                  <a:cubicBezTo>
                    <a:pt x="2591" y="1695"/>
                    <a:pt x="2629" y="1678"/>
                    <a:pt x="2664" y="1653"/>
                  </a:cubicBezTo>
                  <a:cubicBezTo>
                    <a:pt x="2752" y="1604"/>
                    <a:pt x="2878" y="1534"/>
                    <a:pt x="3025" y="1534"/>
                  </a:cubicBezTo>
                  <a:cubicBezTo>
                    <a:pt x="3123" y="1530"/>
                    <a:pt x="3217" y="1499"/>
                    <a:pt x="3301" y="1446"/>
                  </a:cubicBezTo>
                  <a:lnTo>
                    <a:pt x="3322" y="1432"/>
                  </a:lnTo>
                  <a:lnTo>
                    <a:pt x="3326" y="1432"/>
                  </a:lnTo>
                  <a:lnTo>
                    <a:pt x="3350" y="1422"/>
                  </a:lnTo>
                  <a:cubicBezTo>
                    <a:pt x="3357" y="1404"/>
                    <a:pt x="3361" y="1397"/>
                    <a:pt x="3364" y="1390"/>
                  </a:cubicBezTo>
                  <a:lnTo>
                    <a:pt x="3368" y="1383"/>
                  </a:lnTo>
                  <a:cubicBezTo>
                    <a:pt x="3371" y="1376"/>
                    <a:pt x="3375" y="1369"/>
                    <a:pt x="3375" y="1366"/>
                  </a:cubicBezTo>
                  <a:lnTo>
                    <a:pt x="3382" y="1355"/>
                  </a:lnTo>
                  <a:cubicBezTo>
                    <a:pt x="3385" y="1348"/>
                    <a:pt x="3389" y="1341"/>
                    <a:pt x="3396" y="1334"/>
                  </a:cubicBezTo>
                  <a:cubicBezTo>
                    <a:pt x="3403" y="1327"/>
                    <a:pt x="3410" y="1317"/>
                    <a:pt x="3417" y="1313"/>
                  </a:cubicBezTo>
                  <a:lnTo>
                    <a:pt x="3424" y="1306"/>
                  </a:lnTo>
                  <a:cubicBezTo>
                    <a:pt x="3427" y="1303"/>
                    <a:pt x="3434" y="1299"/>
                    <a:pt x="3441" y="1296"/>
                  </a:cubicBezTo>
                  <a:lnTo>
                    <a:pt x="3448" y="1289"/>
                  </a:lnTo>
                  <a:cubicBezTo>
                    <a:pt x="3459" y="1285"/>
                    <a:pt x="3469" y="1282"/>
                    <a:pt x="3480" y="1278"/>
                  </a:cubicBezTo>
                  <a:cubicBezTo>
                    <a:pt x="3483" y="1261"/>
                    <a:pt x="3483" y="1247"/>
                    <a:pt x="3483" y="1229"/>
                  </a:cubicBezTo>
                  <a:cubicBezTo>
                    <a:pt x="3483" y="1170"/>
                    <a:pt x="3501" y="1110"/>
                    <a:pt x="3536" y="1061"/>
                  </a:cubicBezTo>
                  <a:cubicBezTo>
                    <a:pt x="3543" y="1051"/>
                    <a:pt x="3539" y="1012"/>
                    <a:pt x="3536" y="988"/>
                  </a:cubicBezTo>
                  <a:cubicBezTo>
                    <a:pt x="3522" y="939"/>
                    <a:pt x="3529" y="890"/>
                    <a:pt x="3557" y="851"/>
                  </a:cubicBezTo>
                  <a:cubicBezTo>
                    <a:pt x="3579" y="832"/>
                    <a:pt x="3606" y="821"/>
                    <a:pt x="3634" y="821"/>
                  </a:cubicBezTo>
                  <a:cubicBezTo>
                    <a:pt x="3641" y="821"/>
                    <a:pt x="3648" y="822"/>
                    <a:pt x="3655" y="823"/>
                  </a:cubicBezTo>
                  <a:cubicBezTo>
                    <a:pt x="3680" y="827"/>
                    <a:pt x="3709" y="830"/>
                    <a:pt x="3736" y="830"/>
                  </a:cubicBezTo>
                  <a:cubicBezTo>
                    <a:pt x="3766" y="830"/>
                    <a:pt x="3793" y="826"/>
                    <a:pt x="3806" y="813"/>
                  </a:cubicBezTo>
                  <a:cubicBezTo>
                    <a:pt x="3820" y="795"/>
                    <a:pt x="3827" y="771"/>
                    <a:pt x="3823" y="750"/>
                  </a:cubicBezTo>
                  <a:cubicBezTo>
                    <a:pt x="3823" y="736"/>
                    <a:pt x="3823" y="725"/>
                    <a:pt x="3827" y="715"/>
                  </a:cubicBezTo>
                  <a:lnTo>
                    <a:pt x="3827" y="704"/>
                  </a:lnTo>
                  <a:cubicBezTo>
                    <a:pt x="3827" y="694"/>
                    <a:pt x="3830" y="683"/>
                    <a:pt x="3834" y="673"/>
                  </a:cubicBezTo>
                  <a:lnTo>
                    <a:pt x="3834" y="669"/>
                  </a:lnTo>
                  <a:cubicBezTo>
                    <a:pt x="3841" y="659"/>
                    <a:pt x="3844" y="648"/>
                    <a:pt x="3848" y="638"/>
                  </a:cubicBezTo>
                  <a:lnTo>
                    <a:pt x="3855" y="631"/>
                  </a:lnTo>
                  <a:cubicBezTo>
                    <a:pt x="3858" y="620"/>
                    <a:pt x="3865" y="610"/>
                    <a:pt x="3876" y="599"/>
                  </a:cubicBezTo>
                  <a:cubicBezTo>
                    <a:pt x="3841" y="543"/>
                    <a:pt x="3809" y="484"/>
                    <a:pt x="3781" y="424"/>
                  </a:cubicBezTo>
                  <a:lnTo>
                    <a:pt x="3777" y="431"/>
                  </a:lnTo>
                  <a:lnTo>
                    <a:pt x="3721" y="281"/>
                  </a:lnTo>
                  <a:lnTo>
                    <a:pt x="3711" y="256"/>
                  </a:lnTo>
                  <a:lnTo>
                    <a:pt x="3700" y="232"/>
                  </a:lnTo>
                  <a:cubicBezTo>
                    <a:pt x="3655" y="242"/>
                    <a:pt x="3606" y="249"/>
                    <a:pt x="3557" y="249"/>
                  </a:cubicBezTo>
                  <a:cubicBezTo>
                    <a:pt x="3551" y="250"/>
                    <a:pt x="3545" y="250"/>
                    <a:pt x="3538" y="250"/>
                  </a:cubicBezTo>
                  <a:cubicBezTo>
                    <a:pt x="3485" y="250"/>
                    <a:pt x="3429" y="237"/>
                    <a:pt x="3382" y="218"/>
                  </a:cubicBezTo>
                  <a:cubicBezTo>
                    <a:pt x="3340" y="197"/>
                    <a:pt x="3305" y="172"/>
                    <a:pt x="3277" y="137"/>
                  </a:cubicBezTo>
                  <a:cubicBezTo>
                    <a:pt x="3193" y="46"/>
                    <a:pt x="3011" y="11"/>
                    <a:pt x="28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8" name="Google Shape;5565;p64">
              <a:extLst>
                <a:ext uri="{FF2B5EF4-FFF2-40B4-BE49-F238E27FC236}">
                  <a16:creationId xmlns:a16="http://schemas.microsoft.com/office/drawing/2014/main" id="{B27EEC1E-AB9F-8F6E-9FF7-64CACE7FD4F1}"/>
                </a:ext>
              </a:extLst>
            </p:cNvPr>
            <p:cNvSpPr/>
            <p:nvPr/>
          </p:nvSpPr>
          <p:spPr>
            <a:xfrm>
              <a:off x="2168545" y="1647618"/>
              <a:ext cx="45838" cy="25064"/>
            </a:xfrm>
            <a:custGeom>
              <a:avLst/>
              <a:gdLst/>
              <a:ahLst/>
              <a:cxnLst/>
              <a:rect l="l" t="t" r="r" b="b"/>
              <a:pathLst>
                <a:path w="3376" h="1846" extrusionOk="0">
                  <a:moveTo>
                    <a:pt x="2364" y="0"/>
                  </a:moveTo>
                  <a:cubicBezTo>
                    <a:pt x="2308" y="39"/>
                    <a:pt x="2255" y="77"/>
                    <a:pt x="2203" y="119"/>
                  </a:cubicBezTo>
                  <a:cubicBezTo>
                    <a:pt x="2042" y="245"/>
                    <a:pt x="1937" y="326"/>
                    <a:pt x="1863" y="326"/>
                  </a:cubicBezTo>
                  <a:cubicBezTo>
                    <a:pt x="1706" y="326"/>
                    <a:pt x="1384" y="385"/>
                    <a:pt x="1349" y="441"/>
                  </a:cubicBezTo>
                  <a:cubicBezTo>
                    <a:pt x="1349" y="476"/>
                    <a:pt x="1331" y="525"/>
                    <a:pt x="1254" y="560"/>
                  </a:cubicBezTo>
                  <a:cubicBezTo>
                    <a:pt x="1244" y="564"/>
                    <a:pt x="1233" y="567"/>
                    <a:pt x="1223" y="571"/>
                  </a:cubicBezTo>
                  <a:lnTo>
                    <a:pt x="1212" y="574"/>
                  </a:lnTo>
                  <a:lnTo>
                    <a:pt x="1188" y="581"/>
                  </a:lnTo>
                  <a:lnTo>
                    <a:pt x="1174" y="585"/>
                  </a:lnTo>
                  <a:lnTo>
                    <a:pt x="1146" y="592"/>
                  </a:lnTo>
                  <a:lnTo>
                    <a:pt x="1132" y="592"/>
                  </a:lnTo>
                  <a:lnTo>
                    <a:pt x="1093" y="599"/>
                  </a:lnTo>
                  <a:lnTo>
                    <a:pt x="1086" y="599"/>
                  </a:lnTo>
                  <a:lnTo>
                    <a:pt x="1041" y="602"/>
                  </a:lnTo>
                  <a:lnTo>
                    <a:pt x="887" y="602"/>
                  </a:lnTo>
                  <a:lnTo>
                    <a:pt x="841" y="599"/>
                  </a:lnTo>
                  <a:lnTo>
                    <a:pt x="824" y="599"/>
                  </a:lnTo>
                  <a:cubicBezTo>
                    <a:pt x="803" y="595"/>
                    <a:pt x="782" y="595"/>
                    <a:pt x="761" y="592"/>
                  </a:cubicBezTo>
                  <a:lnTo>
                    <a:pt x="750" y="588"/>
                  </a:lnTo>
                  <a:cubicBezTo>
                    <a:pt x="736" y="585"/>
                    <a:pt x="719" y="585"/>
                    <a:pt x="705" y="581"/>
                  </a:cubicBezTo>
                  <a:lnTo>
                    <a:pt x="684" y="574"/>
                  </a:lnTo>
                  <a:lnTo>
                    <a:pt x="649" y="564"/>
                  </a:lnTo>
                  <a:lnTo>
                    <a:pt x="628" y="557"/>
                  </a:lnTo>
                  <a:lnTo>
                    <a:pt x="596" y="546"/>
                  </a:lnTo>
                  <a:lnTo>
                    <a:pt x="579" y="539"/>
                  </a:lnTo>
                  <a:cubicBezTo>
                    <a:pt x="568" y="532"/>
                    <a:pt x="561" y="529"/>
                    <a:pt x="551" y="522"/>
                  </a:cubicBezTo>
                  <a:lnTo>
                    <a:pt x="537" y="515"/>
                  </a:lnTo>
                  <a:cubicBezTo>
                    <a:pt x="523" y="508"/>
                    <a:pt x="512" y="497"/>
                    <a:pt x="502" y="490"/>
                  </a:cubicBezTo>
                  <a:cubicBezTo>
                    <a:pt x="491" y="480"/>
                    <a:pt x="481" y="469"/>
                    <a:pt x="470" y="459"/>
                  </a:cubicBezTo>
                  <a:cubicBezTo>
                    <a:pt x="470" y="462"/>
                    <a:pt x="470" y="466"/>
                    <a:pt x="467" y="469"/>
                  </a:cubicBezTo>
                  <a:cubicBezTo>
                    <a:pt x="467" y="473"/>
                    <a:pt x="467" y="473"/>
                    <a:pt x="467" y="476"/>
                  </a:cubicBezTo>
                  <a:cubicBezTo>
                    <a:pt x="463" y="483"/>
                    <a:pt x="463" y="490"/>
                    <a:pt x="463" y="497"/>
                  </a:cubicBezTo>
                  <a:cubicBezTo>
                    <a:pt x="467" y="560"/>
                    <a:pt x="442" y="620"/>
                    <a:pt x="400" y="662"/>
                  </a:cubicBezTo>
                  <a:cubicBezTo>
                    <a:pt x="358" y="699"/>
                    <a:pt x="305" y="710"/>
                    <a:pt x="251" y="710"/>
                  </a:cubicBezTo>
                  <a:cubicBezTo>
                    <a:pt x="223" y="710"/>
                    <a:pt x="196" y="707"/>
                    <a:pt x="169" y="704"/>
                  </a:cubicBezTo>
                  <a:lnTo>
                    <a:pt x="169" y="718"/>
                  </a:lnTo>
                  <a:cubicBezTo>
                    <a:pt x="176" y="763"/>
                    <a:pt x="190" y="837"/>
                    <a:pt x="141" y="896"/>
                  </a:cubicBezTo>
                  <a:cubicBezTo>
                    <a:pt x="127" y="924"/>
                    <a:pt x="120" y="956"/>
                    <a:pt x="123" y="984"/>
                  </a:cubicBezTo>
                  <a:cubicBezTo>
                    <a:pt x="120" y="1040"/>
                    <a:pt x="113" y="1145"/>
                    <a:pt x="11" y="1159"/>
                  </a:cubicBezTo>
                  <a:lnTo>
                    <a:pt x="8" y="1166"/>
                  </a:lnTo>
                  <a:lnTo>
                    <a:pt x="4" y="1176"/>
                  </a:lnTo>
                  <a:lnTo>
                    <a:pt x="4" y="1180"/>
                  </a:lnTo>
                  <a:lnTo>
                    <a:pt x="1" y="1187"/>
                  </a:lnTo>
                  <a:lnTo>
                    <a:pt x="1" y="1194"/>
                  </a:lnTo>
                  <a:lnTo>
                    <a:pt x="1" y="1197"/>
                  </a:lnTo>
                  <a:cubicBezTo>
                    <a:pt x="43" y="1250"/>
                    <a:pt x="78" y="1309"/>
                    <a:pt x="106" y="1373"/>
                  </a:cubicBezTo>
                  <a:lnTo>
                    <a:pt x="116" y="1390"/>
                  </a:lnTo>
                  <a:lnTo>
                    <a:pt x="123" y="1401"/>
                  </a:lnTo>
                  <a:lnTo>
                    <a:pt x="134" y="1408"/>
                  </a:lnTo>
                  <a:lnTo>
                    <a:pt x="137" y="1411"/>
                  </a:lnTo>
                  <a:lnTo>
                    <a:pt x="165" y="1429"/>
                  </a:lnTo>
                  <a:lnTo>
                    <a:pt x="169" y="1429"/>
                  </a:lnTo>
                  <a:lnTo>
                    <a:pt x="197" y="1446"/>
                  </a:lnTo>
                  <a:lnTo>
                    <a:pt x="200" y="1450"/>
                  </a:lnTo>
                  <a:lnTo>
                    <a:pt x="232" y="1471"/>
                  </a:lnTo>
                  <a:cubicBezTo>
                    <a:pt x="267" y="1492"/>
                    <a:pt x="302" y="1513"/>
                    <a:pt x="334" y="1537"/>
                  </a:cubicBezTo>
                  <a:lnTo>
                    <a:pt x="341" y="1541"/>
                  </a:lnTo>
                  <a:lnTo>
                    <a:pt x="365" y="1562"/>
                  </a:lnTo>
                  <a:lnTo>
                    <a:pt x="376" y="1569"/>
                  </a:lnTo>
                  <a:lnTo>
                    <a:pt x="397" y="1586"/>
                  </a:lnTo>
                  <a:lnTo>
                    <a:pt x="407" y="1593"/>
                  </a:lnTo>
                  <a:lnTo>
                    <a:pt x="428" y="1607"/>
                  </a:lnTo>
                  <a:lnTo>
                    <a:pt x="439" y="1614"/>
                  </a:lnTo>
                  <a:lnTo>
                    <a:pt x="456" y="1632"/>
                  </a:lnTo>
                  <a:lnTo>
                    <a:pt x="467" y="1639"/>
                  </a:lnTo>
                  <a:lnTo>
                    <a:pt x="481" y="1653"/>
                  </a:lnTo>
                  <a:lnTo>
                    <a:pt x="491" y="1663"/>
                  </a:lnTo>
                  <a:lnTo>
                    <a:pt x="505" y="1677"/>
                  </a:lnTo>
                  <a:lnTo>
                    <a:pt x="516" y="1684"/>
                  </a:lnTo>
                  <a:lnTo>
                    <a:pt x="530" y="1702"/>
                  </a:lnTo>
                  <a:lnTo>
                    <a:pt x="533" y="1709"/>
                  </a:lnTo>
                  <a:cubicBezTo>
                    <a:pt x="540" y="1716"/>
                    <a:pt x="547" y="1723"/>
                    <a:pt x="551" y="1730"/>
                  </a:cubicBezTo>
                  <a:cubicBezTo>
                    <a:pt x="612" y="1809"/>
                    <a:pt x="771" y="1845"/>
                    <a:pt x="908" y="1845"/>
                  </a:cubicBezTo>
                  <a:cubicBezTo>
                    <a:pt x="959" y="1845"/>
                    <a:pt x="1006" y="1840"/>
                    <a:pt x="1044" y="1831"/>
                  </a:cubicBezTo>
                  <a:cubicBezTo>
                    <a:pt x="1076" y="1821"/>
                    <a:pt x="1139" y="1803"/>
                    <a:pt x="1230" y="1775"/>
                  </a:cubicBezTo>
                  <a:cubicBezTo>
                    <a:pt x="1450" y="1716"/>
                    <a:pt x="1783" y="1607"/>
                    <a:pt x="1786" y="1607"/>
                  </a:cubicBezTo>
                  <a:lnTo>
                    <a:pt x="1804" y="1600"/>
                  </a:lnTo>
                  <a:lnTo>
                    <a:pt x="1811" y="1600"/>
                  </a:lnTo>
                  <a:lnTo>
                    <a:pt x="1832" y="1607"/>
                  </a:lnTo>
                  <a:cubicBezTo>
                    <a:pt x="1905" y="1635"/>
                    <a:pt x="1979" y="1656"/>
                    <a:pt x="2056" y="1677"/>
                  </a:cubicBezTo>
                  <a:lnTo>
                    <a:pt x="2080" y="1681"/>
                  </a:lnTo>
                  <a:lnTo>
                    <a:pt x="2105" y="1681"/>
                  </a:lnTo>
                  <a:lnTo>
                    <a:pt x="2175" y="1691"/>
                  </a:lnTo>
                  <a:cubicBezTo>
                    <a:pt x="2196" y="1677"/>
                    <a:pt x="2220" y="1663"/>
                    <a:pt x="2245" y="1649"/>
                  </a:cubicBezTo>
                  <a:cubicBezTo>
                    <a:pt x="2329" y="1607"/>
                    <a:pt x="2406" y="1551"/>
                    <a:pt x="2473" y="1485"/>
                  </a:cubicBezTo>
                  <a:cubicBezTo>
                    <a:pt x="2536" y="1422"/>
                    <a:pt x="2620" y="1281"/>
                    <a:pt x="2693" y="1138"/>
                  </a:cubicBezTo>
                  <a:lnTo>
                    <a:pt x="2725" y="1082"/>
                  </a:lnTo>
                  <a:lnTo>
                    <a:pt x="2763" y="1008"/>
                  </a:lnTo>
                  <a:lnTo>
                    <a:pt x="2784" y="973"/>
                  </a:lnTo>
                  <a:cubicBezTo>
                    <a:pt x="2896" y="756"/>
                    <a:pt x="2938" y="679"/>
                    <a:pt x="2980" y="651"/>
                  </a:cubicBezTo>
                  <a:cubicBezTo>
                    <a:pt x="3008" y="634"/>
                    <a:pt x="3050" y="609"/>
                    <a:pt x="3099" y="578"/>
                  </a:cubicBezTo>
                  <a:cubicBezTo>
                    <a:pt x="3180" y="529"/>
                    <a:pt x="3281" y="469"/>
                    <a:pt x="3341" y="424"/>
                  </a:cubicBezTo>
                  <a:cubicBezTo>
                    <a:pt x="3348" y="420"/>
                    <a:pt x="3351" y="413"/>
                    <a:pt x="3358" y="410"/>
                  </a:cubicBezTo>
                  <a:lnTo>
                    <a:pt x="3362" y="406"/>
                  </a:lnTo>
                  <a:lnTo>
                    <a:pt x="3369" y="399"/>
                  </a:lnTo>
                  <a:cubicBezTo>
                    <a:pt x="3372" y="396"/>
                    <a:pt x="3372" y="392"/>
                    <a:pt x="3376" y="385"/>
                  </a:cubicBezTo>
                  <a:cubicBezTo>
                    <a:pt x="3365" y="375"/>
                    <a:pt x="3355" y="368"/>
                    <a:pt x="3341" y="364"/>
                  </a:cubicBezTo>
                  <a:lnTo>
                    <a:pt x="3327" y="357"/>
                  </a:lnTo>
                  <a:cubicBezTo>
                    <a:pt x="3316" y="354"/>
                    <a:pt x="3306" y="347"/>
                    <a:pt x="3295" y="343"/>
                  </a:cubicBezTo>
                  <a:lnTo>
                    <a:pt x="3288" y="340"/>
                  </a:lnTo>
                  <a:cubicBezTo>
                    <a:pt x="3253" y="326"/>
                    <a:pt x="3218" y="301"/>
                    <a:pt x="3187" y="277"/>
                  </a:cubicBezTo>
                  <a:lnTo>
                    <a:pt x="3176" y="273"/>
                  </a:lnTo>
                  <a:lnTo>
                    <a:pt x="3141" y="266"/>
                  </a:lnTo>
                  <a:lnTo>
                    <a:pt x="3124" y="263"/>
                  </a:lnTo>
                  <a:lnTo>
                    <a:pt x="3096" y="252"/>
                  </a:lnTo>
                  <a:lnTo>
                    <a:pt x="3078" y="249"/>
                  </a:lnTo>
                  <a:lnTo>
                    <a:pt x="3054" y="242"/>
                  </a:lnTo>
                  <a:lnTo>
                    <a:pt x="3036" y="238"/>
                  </a:lnTo>
                  <a:lnTo>
                    <a:pt x="3015" y="231"/>
                  </a:lnTo>
                  <a:lnTo>
                    <a:pt x="3001" y="224"/>
                  </a:lnTo>
                  <a:lnTo>
                    <a:pt x="2984" y="221"/>
                  </a:lnTo>
                  <a:lnTo>
                    <a:pt x="2970" y="214"/>
                  </a:lnTo>
                  <a:lnTo>
                    <a:pt x="2956" y="210"/>
                  </a:lnTo>
                  <a:lnTo>
                    <a:pt x="2942" y="203"/>
                  </a:lnTo>
                  <a:lnTo>
                    <a:pt x="2931" y="200"/>
                  </a:lnTo>
                  <a:lnTo>
                    <a:pt x="2917" y="193"/>
                  </a:lnTo>
                  <a:lnTo>
                    <a:pt x="2907" y="189"/>
                  </a:lnTo>
                  <a:lnTo>
                    <a:pt x="2896" y="186"/>
                  </a:lnTo>
                  <a:lnTo>
                    <a:pt x="2889" y="182"/>
                  </a:lnTo>
                  <a:lnTo>
                    <a:pt x="2879" y="175"/>
                  </a:lnTo>
                  <a:lnTo>
                    <a:pt x="2875" y="175"/>
                  </a:lnTo>
                  <a:lnTo>
                    <a:pt x="2865" y="168"/>
                  </a:lnTo>
                  <a:lnTo>
                    <a:pt x="2861" y="168"/>
                  </a:lnTo>
                  <a:lnTo>
                    <a:pt x="2854" y="161"/>
                  </a:lnTo>
                  <a:lnTo>
                    <a:pt x="2847" y="158"/>
                  </a:lnTo>
                  <a:cubicBezTo>
                    <a:pt x="2840" y="154"/>
                    <a:pt x="2833" y="147"/>
                    <a:pt x="2830" y="144"/>
                  </a:cubicBezTo>
                  <a:cubicBezTo>
                    <a:pt x="2774" y="88"/>
                    <a:pt x="2539" y="39"/>
                    <a:pt x="2438" y="18"/>
                  </a:cubicBezTo>
                  <a:cubicBezTo>
                    <a:pt x="2403" y="11"/>
                    <a:pt x="2382" y="4"/>
                    <a:pt x="23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9" name="Google Shape;5566;p64">
              <a:extLst>
                <a:ext uri="{FF2B5EF4-FFF2-40B4-BE49-F238E27FC236}">
                  <a16:creationId xmlns:a16="http://schemas.microsoft.com/office/drawing/2014/main" id="{1AE281FB-E4E8-30DF-0AF1-85763AE8A704}"/>
                </a:ext>
              </a:extLst>
            </p:cNvPr>
            <p:cNvSpPr/>
            <p:nvPr/>
          </p:nvSpPr>
          <p:spPr>
            <a:xfrm>
              <a:off x="2170215" y="1666817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0" name="Google Shape;5567;p64">
              <a:extLst>
                <a:ext uri="{FF2B5EF4-FFF2-40B4-BE49-F238E27FC236}">
                  <a16:creationId xmlns:a16="http://schemas.microsoft.com/office/drawing/2014/main" id="{7D8B51A7-1611-373D-8167-18324C2287AD}"/>
                </a:ext>
              </a:extLst>
            </p:cNvPr>
            <p:cNvSpPr/>
            <p:nvPr/>
          </p:nvSpPr>
          <p:spPr>
            <a:xfrm>
              <a:off x="2170636" y="1667061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1" name="Google Shape;5568;p64">
              <a:extLst>
                <a:ext uri="{FF2B5EF4-FFF2-40B4-BE49-F238E27FC236}">
                  <a16:creationId xmlns:a16="http://schemas.microsoft.com/office/drawing/2014/main" id="{A2CD56E7-D3EA-4C2D-2EE2-285366B4DDBF}"/>
                </a:ext>
              </a:extLst>
            </p:cNvPr>
            <p:cNvSpPr/>
            <p:nvPr/>
          </p:nvSpPr>
          <p:spPr>
            <a:xfrm>
              <a:off x="2175252" y="167052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2" name="Google Shape;5569;p64">
              <a:extLst>
                <a:ext uri="{FF2B5EF4-FFF2-40B4-BE49-F238E27FC236}">
                  <a16:creationId xmlns:a16="http://schemas.microsoft.com/office/drawing/2014/main" id="{8B025F8E-63D5-1E6F-807C-D7E08DD733B6}"/>
                </a:ext>
              </a:extLst>
            </p:cNvPr>
            <p:cNvSpPr/>
            <p:nvPr/>
          </p:nvSpPr>
          <p:spPr>
            <a:xfrm>
              <a:off x="2182571" y="1671854"/>
              <a:ext cx="2539" cy="733"/>
            </a:xfrm>
            <a:custGeom>
              <a:avLst/>
              <a:gdLst/>
              <a:ahLst/>
              <a:cxnLst/>
              <a:rect l="l" t="t" r="r" b="b"/>
              <a:pathLst>
                <a:path w="187" h="54" extrusionOk="0">
                  <a:moveTo>
                    <a:pt x="186" y="1"/>
                  </a:moveTo>
                  <a:cubicBezTo>
                    <a:pt x="95" y="29"/>
                    <a:pt x="32" y="43"/>
                    <a:pt x="1" y="53"/>
                  </a:cubicBezTo>
                  <a:cubicBezTo>
                    <a:pt x="29" y="46"/>
                    <a:pt x="78" y="36"/>
                    <a:pt x="134" y="18"/>
                  </a:cubicBezTo>
                  <a:lnTo>
                    <a:pt x="18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3" name="Google Shape;5570;p64">
              <a:extLst>
                <a:ext uri="{FF2B5EF4-FFF2-40B4-BE49-F238E27FC236}">
                  <a16:creationId xmlns:a16="http://schemas.microsoft.com/office/drawing/2014/main" id="{A87ACC3B-5561-D405-09C3-E352458A8A7C}"/>
                </a:ext>
              </a:extLst>
            </p:cNvPr>
            <p:cNvSpPr/>
            <p:nvPr/>
          </p:nvSpPr>
          <p:spPr>
            <a:xfrm>
              <a:off x="2175592" y="167080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4" name="Google Shape;5571;p64">
              <a:extLst>
                <a:ext uri="{FF2B5EF4-FFF2-40B4-BE49-F238E27FC236}">
                  <a16:creationId xmlns:a16="http://schemas.microsoft.com/office/drawing/2014/main" id="{D1AB33B9-AE0F-F8EF-253E-0CA8EAC86157}"/>
                </a:ext>
              </a:extLst>
            </p:cNvPr>
            <p:cNvSpPr/>
            <p:nvPr/>
          </p:nvSpPr>
          <p:spPr>
            <a:xfrm>
              <a:off x="2174587" y="166985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5" name="Google Shape;5572;p64">
              <a:extLst>
                <a:ext uri="{FF2B5EF4-FFF2-40B4-BE49-F238E27FC236}">
                  <a16:creationId xmlns:a16="http://schemas.microsoft.com/office/drawing/2014/main" id="{0C887336-4AD6-D692-76C5-8EF56D84E81E}"/>
                </a:ext>
              </a:extLst>
            </p:cNvPr>
            <p:cNvSpPr/>
            <p:nvPr/>
          </p:nvSpPr>
          <p:spPr>
            <a:xfrm>
              <a:off x="2174207" y="166957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6" name="Google Shape;5573;p64">
              <a:extLst>
                <a:ext uri="{FF2B5EF4-FFF2-40B4-BE49-F238E27FC236}">
                  <a16:creationId xmlns:a16="http://schemas.microsoft.com/office/drawing/2014/main" id="{1F150E87-198A-DF51-F501-9069842521DA}"/>
                </a:ext>
              </a:extLst>
            </p:cNvPr>
            <p:cNvSpPr/>
            <p:nvPr/>
          </p:nvSpPr>
          <p:spPr>
            <a:xfrm>
              <a:off x="2171070" y="166734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7" name="Google Shape;5574;p64">
              <a:extLst>
                <a:ext uri="{FF2B5EF4-FFF2-40B4-BE49-F238E27FC236}">
                  <a16:creationId xmlns:a16="http://schemas.microsoft.com/office/drawing/2014/main" id="{B4548C4B-B837-03F2-12B4-2C70CD35B4A1}"/>
                </a:ext>
              </a:extLst>
            </p:cNvPr>
            <p:cNvSpPr/>
            <p:nvPr/>
          </p:nvSpPr>
          <p:spPr>
            <a:xfrm>
              <a:off x="2173786" y="1669247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8" name="Google Shape;5575;p64">
              <a:extLst>
                <a:ext uri="{FF2B5EF4-FFF2-40B4-BE49-F238E27FC236}">
                  <a16:creationId xmlns:a16="http://schemas.microsoft.com/office/drawing/2014/main" id="{402332B1-86B8-9DFF-D339-DD61154F3D25}"/>
                </a:ext>
              </a:extLst>
            </p:cNvPr>
            <p:cNvSpPr/>
            <p:nvPr/>
          </p:nvSpPr>
          <p:spPr>
            <a:xfrm>
              <a:off x="2174926" y="16701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9" name="Google Shape;5576;p64">
              <a:extLst>
                <a:ext uri="{FF2B5EF4-FFF2-40B4-BE49-F238E27FC236}">
                  <a16:creationId xmlns:a16="http://schemas.microsoft.com/office/drawing/2014/main" id="{CB66439B-3AD0-8ECD-1B87-4B8B698FE1B6}"/>
                </a:ext>
              </a:extLst>
            </p:cNvPr>
            <p:cNvSpPr/>
            <p:nvPr/>
          </p:nvSpPr>
          <p:spPr>
            <a:xfrm>
              <a:off x="2171546" y="166767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0" name="Google Shape;5577;p64">
              <a:extLst>
                <a:ext uri="{FF2B5EF4-FFF2-40B4-BE49-F238E27FC236}">
                  <a16:creationId xmlns:a16="http://schemas.microsoft.com/office/drawing/2014/main" id="{1991EFE0-7258-38DF-ED48-4751FB9B8B60}"/>
                </a:ext>
              </a:extLst>
            </p:cNvPr>
            <p:cNvSpPr/>
            <p:nvPr/>
          </p:nvSpPr>
          <p:spPr>
            <a:xfrm>
              <a:off x="2172971" y="166862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1" name="Google Shape;5578;p64">
              <a:extLst>
                <a:ext uri="{FF2B5EF4-FFF2-40B4-BE49-F238E27FC236}">
                  <a16:creationId xmlns:a16="http://schemas.microsoft.com/office/drawing/2014/main" id="{7EA28528-95EA-75DC-00B8-5113820BD4DD}"/>
                </a:ext>
              </a:extLst>
            </p:cNvPr>
            <p:cNvSpPr/>
            <p:nvPr/>
          </p:nvSpPr>
          <p:spPr>
            <a:xfrm>
              <a:off x="2173351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2" name="Google Shape;5579;p64">
              <a:extLst>
                <a:ext uri="{FF2B5EF4-FFF2-40B4-BE49-F238E27FC236}">
                  <a16:creationId xmlns:a16="http://schemas.microsoft.com/office/drawing/2014/main" id="{67BA02D8-6624-D388-8784-6CCEE6F119DC}"/>
                </a:ext>
              </a:extLst>
            </p:cNvPr>
            <p:cNvSpPr/>
            <p:nvPr/>
          </p:nvSpPr>
          <p:spPr>
            <a:xfrm>
              <a:off x="2174831" y="165408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3" name="Google Shape;5580;p64">
              <a:extLst>
                <a:ext uri="{FF2B5EF4-FFF2-40B4-BE49-F238E27FC236}">
                  <a16:creationId xmlns:a16="http://schemas.microsoft.com/office/drawing/2014/main" id="{37E3D239-B30C-2C4A-11EB-9C468AEFE705}"/>
                </a:ext>
              </a:extLst>
            </p:cNvPr>
            <p:cNvSpPr/>
            <p:nvPr/>
          </p:nvSpPr>
          <p:spPr>
            <a:xfrm>
              <a:off x="2168599" y="166343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4" name="Google Shape;5581;p64">
              <a:extLst>
                <a:ext uri="{FF2B5EF4-FFF2-40B4-BE49-F238E27FC236}">
                  <a16:creationId xmlns:a16="http://schemas.microsoft.com/office/drawing/2014/main" id="{EC0067EE-B5AF-9A76-570D-3EBE8C9E3860}"/>
                </a:ext>
              </a:extLst>
            </p:cNvPr>
            <p:cNvSpPr/>
            <p:nvPr/>
          </p:nvSpPr>
          <p:spPr>
            <a:xfrm>
              <a:off x="2168409" y="166387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5" name="Google Shape;5582;p64">
              <a:extLst>
                <a:ext uri="{FF2B5EF4-FFF2-40B4-BE49-F238E27FC236}">
                  <a16:creationId xmlns:a16="http://schemas.microsoft.com/office/drawing/2014/main" id="{7019C5F5-CE5F-66D3-FAC0-E762E2582997}"/>
                </a:ext>
              </a:extLst>
            </p:cNvPr>
            <p:cNvSpPr/>
            <p:nvPr/>
          </p:nvSpPr>
          <p:spPr>
            <a:xfrm>
              <a:off x="2168450" y="1663680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6" name="Google Shape;5583;p64">
              <a:extLst>
                <a:ext uri="{FF2B5EF4-FFF2-40B4-BE49-F238E27FC236}">
                  <a16:creationId xmlns:a16="http://schemas.microsoft.com/office/drawing/2014/main" id="{3340A76F-0A16-431B-202F-AA9267B7A55E}"/>
                </a:ext>
              </a:extLst>
            </p:cNvPr>
            <p:cNvSpPr/>
            <p:nvPr/>
          </p:nvSpPr>
          <p:spPr>
            <a:xfrm>
              <a:off x="2168735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7" name="Google Shape;5584;p64">
              <a:extLst>
                <a:ext uri="{FF2B5EF4-FFF2-40B4-BE49-F238E27FC236}">
                  <a16:creationId xmlns:a16="http://schemas.microsoft.com/office/drawing/2014/main" id="{71F702C2-D933-F1A3-D8FE-AA55BE347B5C}"/>
                </a:ext>
              </a:extLst>
            </p:cNvPr>
            <p:cNvSpPr/>
            <p:nvPr/>
          </p:nvSpPr>
          <p:spPr>
            <a:xfrm>
              <a:off x="2168694" y="1663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8" name="Google Shape;5585;p64">
              <a:extLst>
                <a:ext uri="{FF2B5EF4-FFF2-40B4-BE49-F238E27FC236}">
                  <a16:creationId xmlns:a16="http://schemas.microsoft.com/office/drawing/2014/main" id="{B905C3FF-63DC-0034-7ADF-C578FF28FC82}"/>
                </a:ext>
              </a:extLst>
            </p:cNvPr>
            <p:cNvSpPr/>
            <p:nvPr/>
          </p:nvSpPr>
          <p:spPr>
            <a:xfrm>
              <a:off x="2168640" y="16633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9" name="Google Shape;5586;p64">
              <a:extLst>
                <a:ext uri="{FF2B5EF4-FFF2-40B4-BE49-F238E27FC236}">
                  <a16:creationId xmlns:a16="http://schemas.microsoft.com/office/drawing/2014/main" id="{E9A24EA2-854C-5721-CE1D-8077A5FDF18C}"/>
                </a:ext>
              </a:extLst>
            </p:cNvPr>
            <p:cNvSpPr/>
            <p:nvPr/>
          </p:nvSpPr>
          <p:spPr>
            <a:xfrm>
              <a:off x="2168504" y="166353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0" name="Google Shape;5587;p64">
              <a:extLst>
                <a:ext uri="{FF2B5EF4-FFF2-40B4-BE49-F238E27FC236}">
                  <a16:creationId xmlns:a16="http://schemas.microsoft.com/office/drawing/2014/main" id="{ABC3F639-F2EF-4F62-0CD3-C298653AE19F}"/>
                </a:ext>
              </a:extLst>
            </p:cNvPr>
            <p:cNvSpPr/>
            <p:nvPr/>
          </p:nvSpPr>
          <p:spPr>
            <a:xfrm>
              <a:off x="2174872" y="165389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0"/>
                    <a:pt x="1" y="4"/>
                    <a:pt x="1" y="7"/>
                  </a:cubicBezTo>
                  <a:cubicBezTo>
                    <a:pt x="4" y="4"/>
                    <a:pt x="4" y="0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1" name="Google Shape;5588;p64">
              <a:extLst>
                <a:ext uri="{FF2B5EF4-FFF2-40B4-BE49-F238E27FC236}">
                  <a16:creationId xmlns:a16="http://schemas.microsoft.com/office/drawing/2014/main" id="{FDFA6D8B-E542-71B2-1CA4-22F29BD76E22}"/>
                </a:ext>
              </a:extLst>
            </p:cNvPr>
            <p:cNvSpPr/>
            <p:nvPr/>
          </p:nvSpPr>
          <p:spPr>
            <a:xfrm>
              <a:off x="2141078" y="1625270"/>
              <a:ext cx="43597" cy="21317"/>
            </a:xfrm>
            <a:custGeom>
              <a:avLst/>
              <a:gdLst/>
              <a:ahLst/>
              <a:cxnLst/>
              <a:rect l="l" t="t" r="r" b="b"/>
              <a:pathLst>
                <a:path w="3211" h="1570" extrusionOk="0">
                  <a:moveTo>
                    <a:pt x="1369" y="1"/>
                  </a:moveTo>
                  <a:cubicBezTo>
                    <a:pt x="1366" y="4"/>
                    <a:pt x="1366" y="8"/>
                    <a:pt x="1359" y="11"/>
                  </a:cubicBezTo>
                  <a:cubicBezTo>
                    <a:pt x="1359" y="15"/>
                    <a:pt x="1355" y="18"/>
                    <a:pt x="1352" y="22"/>
                  </a:cubicBezTo>
                  <a:cubicBezTo>
                    <a:pt x="1348" y="25"/>
                    <a:pt x="1345" y="29"/>
                    <a:pt x="1338" y="29"/>
                  </a:cubicBezTo>
                  <a:cubicBezTo>
                    <a:pt x="1334" y="32"/>
                    <a:pt x="1331" y="36"/>
                    <a:pt x="1327" y="36"/>
                  </a:cubicBezTo>
                  <a:cubicBezTo>
                    <a:pt x="1324" y="39"/>
                    <a:pt x="1320" y="39"/>
                    <a:pt x="1313" y="39"/>
                  </a:cubicBezTo>
                  <a:cubicBezTo>
                    <a:pt x="1310" y="43"/>
                    <a:pt x="1306" y="43"/>
                    <a:pt x="1303" y="46"/>
                  </a:cubicBezTo>
                  <a:lnTo>
                    <a:pt x="1247" y="46"/>
                  </a:lnTo>
                  <a:lnTo>
                    <a:pt x="1229" y="43"/>
                  </a:lnTo>
                  <a:lnTo>
                    <a:pt x="1219" y="43"/>
                  </a:lnTo>
                  <a:lnTo>
                    <a:pt x="1198" y="36"/>
                  </a:lnTo>
                  <a:lnTo>
                    <a:pt x="1194" y="36"/>
                  </a:lnTo>
                  <a:lnTo>
                    <a:pt x="1170" y="32"/>
                  </a:lnTo>
                  <a:cubicBezTo>
                    <a:pt x="1149" y="24"/>
                    <a:pt x="1112" y="15"/>
                    <a:pt x="1090" y="15"/>
                  </a:cubicBezTo>
                  <a:cubicBezTo>
                    <a:pt x="1083" y="15"/>
                    <a:pt x="1078" y="16"/>
                    <a:pt x="1075" y="18"/>
                  </a:cubicBezTo>
                  <a:cubicBezTo>
                    <a:pt x="1030" y="64"/>
                    <a:pt x="960" y="85"/>
                    <a:pt x="876" y="109"/>
                  </a:cubicBezTo>
                  <a:cubicBezTo>
                    <a:pt x="792" y="137"/>
                    <a:pt x="687" y="169"/>
                    <a:pt x="624" y="228"/>
                  </a:cubicBezTo>
                  <a:cubicBezTo>
                    <a:pt x="484" y="354"/>
                    <a:pt x="207" y="417"/>
                    <a:pt x="42" y="456"/>
                  </a:cubicBezTo>
                  <a:lnTo>
                    <a:pt x="25" y="459"/>
                  </a:lnTo>
                  <a:cubicBezTo>
                    <a:pt x="14" y="463"/>
                    <a:pt x="7" y="466"/>
                    <a:pt x="0" y="470"/>
                  </a:cubicBezTo>
                  <a:cubicBezTo>
                    <a:pt x="14" y="512"/>
                    <a:pt x="35" y="554"/>
                    <a:pt x="63" y="589"/>
                  </a:cubicBezTo>
                  <a:cubicBezTo>
                    <a:pt x="77" y="613"/>
                    <a:pt x="91" y="634"/>
                    <a:pt x="102" y="655"/>
                  </a:cubicBezTo>
                  <a:cubicBezTo>
                    <a:pt x="130" y="715"/>
                    <a:pt x="151" y="778"/>
                    <a:pt x="161" y="844"/>
                  </a:cubicBezTo>
                  <a:cubicBezTo>
                    <a:pt x="182" y="943"/>
                    <a:pt x="210" y="1058"/>
                    <a:pt x="267" y="1097"/>
                  </a:cubicBezTo>
                  <a:cubicBezTo>
                    <a:pt x="288" y="1114"/>
                    <a:pt x="326" y="1135"/>
                    <a:pt x="368" y="1163"/>
                  </a:cubicBezTo>
                  <a:cubicBezTo>
                    <a:pt x="652" y="1356"/>
                    <a:pt x="816" y="1471"/>
                    <a:pt x="855" y="1541"/>
                  </a:cubicBezTo>
                  <a:cubicBezTo>
                    <a:pt x="858" y="1545"/>
                    <a:pt x="858" y="1552"/>
                    <a:pt x="862" y="1555"/>
                  </a:cubicBezTo>
                  <a:cubicBezTo>
                    <a:pt x="862" y="1559"/>
                    <a:pt x="862" y="1562"/>
                    <a:pt x="865" y="1562"/>
                  </a:cubicBezTo>
                  <a:lnTo>
                    <a:pt x="869" y="1559"/>
                  </a:lnTo>
                  <a:lnTo>
                    <a:pt x="876" y="1559"/>
                  </a:lnTo>
                  <a:lnTo>
                    <a:pt x="900" y="1562"/>
                  </a:lnTo>
                  <a:lnTo>
                    <a:pt x="907" y="1562"/>
                  </a:lnTo>
                  <a:lnTo>
                    <a:pt x="932" y="1566"/>
                  </a:lnTo>
                  <a:lnTo>
                    <a:pt x="939" y="1566"/>
                  </a:lnTo>
                  <a:lnTo>
                    <a:pt x="963" y="1569"/>
                  </a:lnTo>
                  <a:lnTo>
                    <a:pt x="1142" y="1569"/>
                  </a:lnTo>
                  <a:lnTo>
                    <a:pt x="1152" y="1566"/>
                  </a:lnTo>
                  <a:lnTo>
                    <a:pt x="1177" y="1566"/>
                  </a:lnTo>
                  <a:lnTo>
                    <a:pt x="1187" y="1562"/>
                  </a:lnTo>
                  <a:lnTo>
                    <a:pt x="1191" y="1562"/>
                  </a:lnTo>
                  <a:lnTo>
                    <a:pt x="1198" y="1559"/>
                  </a:lnTo>
                  <a:lnTo>
                    <a:pt x="1201" y="1559"/>
                  </a:lnTo>
                  <a:cubicBezTo>
                    <a:pt x="1205" y="1555"/>
                    <a:pt x="1208" y="1555"/>
                    <a:pt x="1212" y="1552"/>
                  </a:cubicBezTo>
                  <a:cubicBezTo>
                    <a:pt x="1247" y="1478"/>
                    <a:pt x="1275" y="1401"/>
                    <a:pt x="1292" y="1321"/>
                  </a:cubicBezTo>
                  <a:lnTo>
                    <a:pt x="1303" y="1268"/>
                  </a:lnTo>
                  <a:lnTo>
                    <a:pt x="1376" y="1268"/>
                  </a:lnTo>
                  <a:cubicBezTo>
                    <a:pt x="1390" y="1268"/>
                    <a:pt x="1411" y="1268"/>
                    <a:pt x="1436" y="1272"/>
                  </a:cubicBezTo>
                  <a:cubicBezTo>
                    <a:pt x="1460" y="1275"/>
                    <a:pt x="1495" y="1279"/>
                    <a:pt x="1534" y="1282"/>
                  </a:cubicBezTo>
                  <a:lnTo>
                    <a:pt x="1551" y="1286"/>
                  </a:lnTo>
                  <a:cubicBezTo>
                    <a:pt x="1607" y="1296"/>
                    <a:pt x="1660" y="1310"/>
                    <a:pt x="1712" y="1331"/>
                  </a:cubicBezTo>
                  <a:lnTo>
                    <a:pt x="1723" y="1335"/>
                  </a:lnTo>
                  <a:cubicBezTo>
                    <a:pt x="1737" y="1338"/>
                    <a:pt x="1747" y="1342"/>
                    <a:pt x="1758" y="1349"/>
                  </a:cubicBezTo>
                  <a:lnTo>
                    <a:pt x="1765" y="1352"/>
                  </a:lnTo>
                  <a:cubicBezTo>
                    <a:pt x="1793" y="1363"/>
                    <a:pt x="1817" y="1377"/>
                    <a:pt x="1842" y="1394"/>
                  </a:cubicBezTo>
                  <a:cubicBezTo>
                    <a:pt x="1849" y="1401"/>
                    <a:pt x="1856" y="1408"/>
                    <a:pt x="1863" y="1412"/>
                  </a:cubicBezTo>
                  <a:cubicBezTo>
                    <a:pt x="1870" y="1419"/>
                    <a:pt x="1873" y="1419"/>
                    <a:pt x="1877" y="1422"/>
                  </a:cubicBezTo>
                  <a:cubicBezTo>
                    <a:pt x="1887" y="1433"/>
                    <a:pt x="1898" y="1443"/>
                    <a:pt x="1908" y="1454"/>
                  </a:cubicBezTo>
                  <a:lnTo>
                    <a:pt x="1908" y="1457"/>
                  </a:lnTo>
                  <a:cubicBezTo>
                    <a:pt x="1957" y="1500"/>
                    <a:pt x="2017" y="1524"/>
                    <a:pt x="2079" y="1524"/>
                  </a:cubicBezTo>
                  <a:cubicBezTo>
                    <a:pt x="2093" y="1524"/>
                    <a:pt x="2108" y="1523"/>
                    <a:pt x="2122" y="1520"/>
                  </a:cubicBezTo>
                  <a:cubicBezTo>
                    <a:pt x="2167" y="1517"/>
                    <a:pt x="2213" y="1506"/>
                    <a:pt x="2255" y="1492"/>
                  </a:cubicBezTo>
                  <a:lnTo>
                    <a:pt x="2318" y="1468"/>
                  </a:lnTo>
                  <a:lnTo>
                    <a:pt x="2332" y="1506"/>
                  </a:lnTo>
                  <a:lnTo>
                    <a:pt x="2339" y="1499"/>
                  </a:lnTo>
                  <a:cubicBezTo>
                    <a:pt x="2343" y="1492"/>
                    <a:pt x="2350" y="1485"/>
                    <a:pt x="2357" y="1478"/>
                  </a:cubicBezTo>
                  <a:lnTo>
                    <a:pt x="2367" y="1468"/>
                  </a:lnTo>
                  <a:cubicBezTo>
                    <a:pt x="2374" y="1461"/>
                    <a:pt x="2381" y="1457"/>
                    <a:pt x="2385" y="1454"/>
                  </a:cubicBezTo>
                  <a:lnTo>
                    <a:pt x="2399" y="1447"/>
                  </a:lnTo>
                  <a:cubicBezTo>
                    <a:pt x="2406" y="1440"/>
                    <a:pt x="2413" y="1436"/>
                    <a:pt x="2420" y="1433"/>
                  </a:cubicBezTo>
                  <a:lnTo>
                    <a:pt x="2427" y="1429"/>
                  </a:lnTo>
                  <a:cubicBezTo>
                    <a:pt x="2437" y="1426"/>
                    <a:pt x="2448" y="1422"/>
                    <a:pt x="2458" y="1422"/>
                  </a:cubicBezTo>
                  <a:lnTo>
                    <a:pt x="2479" y="1419"/>
                  </a:lnTo>
                  <a:cubicBezTo>
                    <a:pt x="2626" y="1398"/>
                    <a:pt x="2808" y="1377"/>
                    <a:pt x="2938" y="1188"/>
                  </a:cubicBezTo>
                  <a:cubicBezTo>
                    <a:pt x="2948" y="1174"/>
                    <a:pt x="2959" y="1160"/>
                    <a:pt x="2969" y="1146"/>
                  </a:cubicBezTo>
                  <a:lnTo>
                    <a:pt x="2980" y="1132"/>
                  </a:lnTo>
                  <a:cubicBezTo>
                    <a:pt x="2990" y="1121"/>
                    <a:pt x="2997" y="1114"/>
                    <a:pt x="3008" y="1104"/>
                  </a:cubicBezTo>
                  <a:lnTo>
                    <a:pt x="3022" y="1090"/>
                  </a:lnTo>
                  <a:lnTo>
                    <a:pt x="3046" y="1065"/>
                  </a:lnTo>
                  <a:lnTo>
                    <a:pt x="3060" y="1055"/>
                  </a:lnTo>
                  <a:lnTo>
                    <a:pt x="3092" y="1027"/>
                  </a:lnTo>
                  <a:lnTo>
                    <a:pt x="3102" y="1020"/>
                  </a:lnTo>
                  <a:cubicBezTo>
                    <a:pt x="3116" y="1009"/>
                    <a:pt x="3130" y="999"/>
                    <a:pt x="3144" y="988"/>
                  </a:cubicBezTo>
                  <a:lnTo>
                    <a:pt x="3155" y="981"/>
                  </a:lnTo>
                  <a:lnTo>
                    <a:pt x="3186" y="960"/>
                  </a:lnTo>
                  <a:lnTo>
                    <a:pt x="3200" y="950"/>
                  </a:lnTo>
                  <a:lnTo>
                    <a:pt x="3211" y="943"/>
                  </a:lnTo>
                  <a:cubicBezTo>
                    <a:pt x="3197" y="918"/>
                    <a:pt x="3183" y="893"/>
                    <a:pt x="3172" y="872"/>
                  </a:cubicBezTo>
                  <a:cubicBezTo>
                    <a:pt x="3155" y="834"/>
                    <a:pt x="3130" y="799"/>
                    <a:pt x="3102" y="767"/>
                  </a:cubicBezTo>
                  <a:lnTo>
                    <a:pt x="3095" y="760"/>
                  </a:lnTo>
                  <a:lnTo>
                    <a:pt x="3092" y="757"/>
                  </a:lnTo>
                  <a:cubicBezTo>
                    <a:pt x="3043" y="739"/>
                    <a:pt x="2990" y="732"/>
                    <a:pt x="2938" y="732"/>
                  </a:cubicBezTo>
                  <a:cubicBezTo>
                    <a:pt x="2826" y="722"/>
                    <a:pt x="2721" y="711"/>
                    <a:pt x="2700" y="627"/>
                  </a:cubicBezTo>
                  <a:lnTo>
                    <a:pt x="2696" y="606"/>
                  </a:lnTo>
                  <a:cubicBezTo>
                    <a:pt x="2672" y="508"/>
                    <a:pt x="2654" y="477"/>
                    <a:pt x="2619" y="477"/>
                  </a:cubicBezTo>
                  <a:cubicBezTo>
                    <a:pt x="2588" y="477"/>
                    <a:pt x="2553" y="473"/>
                    <a:pt x="2518" y="466"/>
                  </a:cubicBezTo>
                  <a:cubicBezTo>
                    <a:pt x="2483" y="462"/>
                    <a:pt x="2457" y="459"/>
                    <a:pt x="2438" y="459"/>
                  </a:cubicBezTo>
                  <a:cubicBezTo>
                    <a:pt x="2400" y="459"/>
                    <a:pt x="2386" y="469"/>
                    <a:pt x="2374" y="494"/>
                  </a:cubicBezTo>
                  <a:cubicBezTo>
                    <a:pt x="2352" y="547"/>
                    <a:pt x="2304" y="580"/>
                    <a:pt x="2249" y="580"/>
                  </a:cubicBezTo>
                  <a:cubicBezTo>
                    <a:pt x="2242" y="580"/>
                    <a:pt x="2234" y="580"/>
                    <a:pt x="2227" y="578"/>
                  </a:cubicBezTo>
                  <a:cubicBezTo>
                    <a:pt x="2118" y="568"/>
                    <a:pt x="1978" y="449"/>
                    <a:pt x="1961" y="354"/>
                  </a:cubicBezTo>
                  <a:cubicBezTo>
                    <a:pt x="1950" y="305"/>
                    <a:pt x="1905" y="242"/>
                    <a:pt x="1642" y="148"/>
                  </a:cubicBezTo>
                  <a:cubicBezTo>
                    <a:pt x="1625" y="144"/>
                    <a:pt x="1604" y="134"/>
                    <a:pt x="1586" y="127"/>
                  </a:cubicBezTo>
                  <a:lnTo>
                    <a:pt x="1576" y="123"/>
                  </a:lnTo>
                  <a:cubicBezTo>
                    <a:pt x="1558" y="113"/>
                    <a:pt x="1537" y="106"/>
                    <a:pt x="1520" y="95"/>
                  </a:cubicBezTo>
                  <a:lnTo>
                    <a:pt x="1506" y="88"/>
                  </a:lnTo>
                  <a:cubicBezTo>
                    <a:pt x="1488" y="78"/>
                    <a:pt x="1467" y="64"/>
                    <a:pt x="1446" y="53"/>
                  </a:cubicBezTo>
                  <a:lnTo>
                    <a:pt x="1443" y="50"/>
                  </a:lnTo>
                  <a:cubicBezTo>
                    <a:pt x="1422" y="36"/>
                    <a:pt x="1401" y="22"/>
                    <a:pt x="1380" y="4"/>
                  </a:cubicBezTo>
                  <a:lnTo>
                    <a:pt x="136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2" name="Google Shape;5589;p64">
              <a:extLst>
                <a:ext uri="{FF2B5EF4-FFF2-40B4-BE49-F238E27FC236}">
                  <a16:creationId xmlns:a16="http://schemas.microsoft.com/office/drawing/2014/main" id="{E5D9AE8B-7D1D-ACC8-24DC-4C813C7652A1}"/>
                </a:ext>
              </a:extLst>
            </p:cNvPr>
            <p:cNvSpPr/>
            <p:nvPr/>
          </p:nvSpPr>
          <p:spPr>
            <a:xfrm>
              <a:off x="2183195" y="1635589"/>
              <a:ext cx="1534" cy="2390"/>
            </a:xfrm>
            <a:custGeom>
              <a:avLst/>
              <a:gdLst/>
              <a:ahLst/>
              <a:cxnLst/>
              <a:rect l="l" t="t" r="r" b="b"/>
              <a:pathLst>
                <a:path w="113" h="176" extrusionOk="0">
                  <a:moveTo>
                    <a:pt x="112" y="176"/>
                  </a:moveTo>
                  <a:lnTo>
                    <a:pt x="112" y="176"/>
                  </a:lnTo>
                  <a:cubicBezTo>
                    <a:pt x="95" y="151"/>
                    <a:pt x="84" y="126"/>
                    <a:pt x="70" y="105"/>
                  </a:cubicBezTo>
                  <a:cubicBezTo>
                    <a:pt x="53" y="67"/>
                    <a:pt x="28" y="32"/>
                    <a:pt x="0" y="0"/>
                  </a:cubicBezTo>
                  <a:cubicBezTo>
                    <a:pt x="28" y="32"/>
                    <a:pt x="53" y="67"/>
                    <a:pt x="70" y="105"/>
                  </a:cubicBezTo>
                  <a:cubicBezTo>
                    <a:pt x="84" y="126"/>
                    <a:pt x="95" y="151"/>
                    <a:pt x="112" y="17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3" name="Google Shape;5590;p64">
              <a:extLst>
                <a:ext uri="{FF2B5EF4-FFF2-40B4-BE49-F238E27FC236}">
                  <a16:creationId xmlns:a16="http://schemas.microsoft.com/office/drawing/2014/main" id="{377B55D7-1016-105A-29E3-0A858F245299}"/>
                </a:ext>
              </a:extLst>
            </p:cNvPr>
            <p:cNvSpPr/>
            <p:nvPr/>
          </p:nvSpPr>
          <p:spPr>
            <a:xfrm>
              <a:off x="2161756" y="1626465"/>
              <a:ext cx="774" cy="394"/>
            </a:xfrm>
            <a:custGeom>
              <a:avLst/>
              <a:gdLst/>
              <a:ahLst/>
              <a:cxnLst/>
              <a:rect l="l" t="t" r="r" b="b"/>
              <a:pathLst>
                <a:path w="57" h="29" extrusionOk="0">
                  <a:moveTo>
                    <a:pt x="0" y="0"/>
                  </a:moveTo>
                  <a:cubicBezTo>
                    <a:pt x="18" y="11"/>
                    <a:pt x="35" y="18"/>
                    <a:pt x="56" y="28"/>
                  </a:cubicBezTo>
                  <a:cubicBezTo>
                    <a:pt x="35" y="18"/>
                    <a:pt x="1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4" name="Google Shape;5591;p64">
              <a:extLst>
                <a:ext uri="{FF2B5EF4-FFF2-40B4-BE49-F238E27FC236}">
                  <a16:creationId xmlns:a16="http://schemas.microsoft.com/office/drawing/2014/main" id="{81556FCE-F756-3817-6E4D-9E1F904317B5}"/>
                </a:ext>
              </a:extLst>
            </p:cNvPr>
            <p:cNvSpPr/>
            <p:nvPr/>
          </p:nvSpPr>
          <p:spPr>
            <a:xfrm>
              <a:off x="2162612" y="1626885"/>
              <a:ext cx="720" cy="299"/>
            </a:xfrm>
            <a:custGeom>
              <a:avLst/>
              <a:gdLst/>
              <a:ahLst/>
              <a:cxnLst/>
              <a:rect l="l" t="t" r="r" b="b"/>
              <a:pathLst>
                <a:path w="53" h="22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11"/>
                    <a:pt x="39" y="18"/>
                    <a:pt x="53" y="22"/>
                  </a:cubicBezTo>
                  <a:cubicBezTo>
                    <a:pt x="39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5" name="Google Shape;5592;p64">
              <a:extLst>
                <a:ext uri="{FF2B5EF4-FFF2-40B4-BE49-F238E27FC236}">
                  <a16:creationId xmlns:a16="http://schemas.microsoft.com/office/drawing/2014/main" id="{90022018-D8AE-6173-AE62-B74D021115CA}"/>
                </a:ext>
              </a:extLst>
            </p:cNvPr>
            <p:cNvSpPr/>
            <p:nvPr/>
          </p:nvSpPr>
          <p:spPr>
            <a:xfrm>
              <a:off x="2183046" y="163543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1"/>
                  </a:ln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6" name="Google Shape;5593;p64">
              <a:extLst>
                <a:ext uri="{FF2B5EF4-FFF2-40B4-BE49-F238E27FC236}">
                  <a16:creationId xmlns:a16="http://schemas.microsoft.com/office/drawing/2014/main" id="{2BAB8FAC-BB74-3A2E-AD52-85F1914AFCEE}"/>
                </a:ext>
              </a:extLst>
            </p:cNvPr>
            <p:cNvSpPr/>
            <p:nvPr/>
          </p:nvSpPr>
          <p:spPr>
            <a:xfrm>
              <a:off x="2160711" y="1625894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0" y="0"/>
                  </a:moveTo>
                  <a:cubicBezTo>
                    <a:pt x="21" y="11"/>
                    <a:pt x="42" y="25"/>
                    <a:pt x="60" y="35"/>
                  </a:cubicBezTo>
                  <a:cubicBezTo>
                    <a:pt x="42" y="25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7" name="Google Shape;5594;p64">
              <a:extLst>
                <a:ext uri="{FF2B5EF4-FFF2-40B4-BE49-F238E27FC236}">
                  <a16:creationId xmlns:a16="http://schemas.microsoft.com/office/drawing/2014/main" id="{0C79741D-E21B-E6A4-107F-23FCF99764FF}"/>
                </a:ext>
              </a:extLst>
            </p:cNvPr>
            <p:cNvSpPr/>
            <p:nvPr/>
          </p:nvSpPr>
          <p:spPr>
            <a:xfrm>
              <a:off x="2159801" y="1625270"/>
              <a:ext cx="869" cy="584"/>
            </a:xfrm>
            <a:custGeom>
              <a:avLst/>
              <a:gdLst/>
              <a:ahLst/>
              <a:cxnLst/>
              <a:rect l="l" t="t" r="r" b="b"/>
              <a:pathLst>
                <a:path w="64" h="43" extrusionOk="0">
                  <a:moveTo>
                    <a:pt x="1" y="1"/>
                  </a:moveTo>
                  <a:cubicBezTo>
                    <a:pt x="22" y="15"/>
                    <a:pt x="43" y="29"/>
                    <a:pt x="64" y="43"/>
                  </a:cubicBezTo>
                  <a:cubicBezTo>
                    <a:pt x="43" y="29"/>
                    <a:pt x="22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8" name="Google Shape;5595;p64">
              <a:extLst>
                <a:ext uri="{FF2B5EF4-FFF2-40B4-BE49-F238E27FC236}">
                  <a16:creationId xmlns:a16="http://schemas.microsoft.com/office/drawing/2014/main" id="{5F2F0802-ED8A-5E9F-5082-FD036EB62EF5}"/>
                </a:ext>
              </a:extLst>
            </p:cNvPr>
            <p:cNvSpPr/>
            <p:nvPr/>
          </p:nvSpPr>
          <p:spPr>
            <a:xfrm>
              <a:off x="2166359" y="1644333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8" y="4"/>
                    <a:pt x="11" y="8"/>
                    <a:pt x="15" y="11"/>
                  </a:cubicBezTo>
                  <a:cubicBezTo>
                    <a:pt x="11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9" name="Google Shape;5596;p64">
              <a:extLst>
                <a:ext uri="{FF2B5EF4-FFF2-40B4-BE49-F238E27FC236}">
                  <a16:creationId xmlns:a16="http://schemas.microsoft.com/office/drawing/2014/main" id="{A1997AE5-027E-1A18-71C3-C673EBBB575A}"/>
                </a:ext>
              </a:extLst>
            </p:cNvPr>
            <p:cNvSpPr/>
            <p:nvPr/>
          </p:nvSpPr>
          <p:spPr>
            <a:xfrm>
              <a:off x="2156855" y="164647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0" name="Google Shape;5597;p64">
              <a:extLst>
                <a:ext uri="{FF2B5EF4-FFF2-40B4-BE49-F238E27FC236}">
                  <a16:creationId xmlns:a16="http://schemas.microsoft.com/office/drawing/2014/main" id="{575DE423-5F80-084F-0AC9-9A75B907CA65}"/>
                </a:ext>
              </a:extLst>
            </p:cNvPr>
            <p:cNvSpPr/>
            <p:nvPr/>
          </p:nvSpPr>
          <p:spPr>
            <a:xfrm>
              <a:off x="2157045" y="164642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1" name="Google Shape;5598;p64">
              <a:extLst>
                <a:ext uri="{FF2B5EF4-FFF2-40B4-BE49-F238E27FC236}">
                  <a16:creationId xmlns:a16="http://schemas.microsoft.com/office/drawing/2014/main" id="{08DAECB5-AD71-3D77-3D5D-FCFD1E574D03}"/>
                </a:ext>
              </a:extLst>
            </p:cNvPr>
            <p:cNvSpPr/>
            <p:nvPr/>
          </p:nvSpPr>
          <p:spPr>
            <a:xfrm>
              <a:off x="2156570" y="164651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4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2" name="Google Shape;5599;p64">
              <a:extLst>
                <a:ext uri="{FF2B5EF4-FFF2-40B4-BE49-F238E27FC236}">
                  <a16:creationId xmlns:a16="http://schemas.microsoft.com/office/drawing/2014/main" id="{FBF9FFD3-DFE8-2534-0895-5AD312FEE976}"/>
                </a:ext>
              </a:extLst>
            </p:cNvPr>
            <p:cNvSpPr/>
            <p:nvPr/>
          </p:nvSpPr>
          <p:spPr>
            <a:xfrm>
              <a:off x="2157384" y="164623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4"/>
                    <a:pt x="11" y="1"/>
                  </a:cubicBezTo>
                  <a:cubicBezTo>
                    <a:pt x="7" y="4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3" name="Google Shape;5600;p64">
              <a:extLst>
                <a:ext uri="{FF2B5EF4-FFF2-40B4-BE49-F238E27FC236}">
                  <a16:creationId xmlns:a16="http://schemas.microsoft.com/office/drawing/2014/main" id="{4547AB1D-723D-1FAE-E67F-CEC37A9E4DAE}"/>
                </a:ext>
              </a:extLst>
            </p:cNvPr>
            <p:cNvSpPr/>
            <p:nvPr/>
          </p:nvSpPr>
          <p:spPr>
            <a:xfrm>
              <a:off x="2165028" y="1643531"/>
              <a:ext cx="1059" cy="584"/>
            </a:xfrm>
            <a:custGeom>
              <a:avLst/>
              <a:gdLst/>
              <a:ahLst/>
              <a:cxnLst/>
              <a:rect l="l" t="t" r="r" b="b"/>
              <a:pathLst>
                <a:path w="78" h="43" extrusionOk="0">
                  <a:moveTo>
                    <a:pt x="1" y="0"/>
                  </a:moveTo>
                  <a:cubicBezTo>
                    <a:pt x="29" y="11"/>
                    <a:pt x="53" y="25"/>
                    <a:pt x="78" y="42"/>
                  </a:cubicBezTo>
                  <a:cubicBezTo>
                    <a:pt x="53" y="25"/>
                    <a:pt x="29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4" name="Google Shape;5601;p64">
              <a:extLst>
                <a:ext uri="{FF2B5EF4-FFF2-40B4-BE49-F238E27FC236}">
                  <a16:creationId xmlns:a16="http://schemas.microsoft.com/office/drawing/2014/main" id="{C41248F2-D79F-FE53-B994-925B4ABFEEC3}"/>
                </a:ext>
              </a:extLst>
            </p:cNvPr>
            <p:cNvSpPr/>
            <p:nvPr/>
          </p:nvSpPr>
          <p:spPr>
            <a:xfrm>
              <a:off x="2157235" y="164638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5" name="Google Shape;5602;p64">
              <a:extLst>
                <a:ext uri="{FF2B5EF4-FFF2-40B4-BE49-F238E27FC236}">
                  <a16:creationId xmlns:a16="http://schemas.microsoft.com/office/drawing/2014/main" id="{AE7F0AC3-E6B9-95D5-0FF0-48E67A7AD137}"/>
                </a:ext>
              </a:extLst>
            </p:cNvPr>
            <p:cNvSpPr/>
            <p:nvPr/>
          </p:nvSpPr>
          <p:spPr>
            <a:xfrm>
              <a:off x="2160561" y="1642432"/>
              <a:ext cx="1303" cy="204"/>
            </a:xfrm>
            <a:custGeom>
              <a:avLst/>
              <a:gdLst/>
              <a:ahLst/>
              <a:cxnLst/>
              <a:rect l="l" t="t" r="r" b="b"/>
              <a:pathLst>
                <a:path w="96" h="15" extrusionOk="0">
                  <a:moveTo>
                    <a:pt x="1" y="1"/>
                  </a:moveTo>
                  <a:cubicBezTo>
                    <a:pt x="25" y="4"/>
                    <a:pt x="60" y="8"/>
                    <a:pt x="95" y="15"/>
                  </a:cubicBezTo>
                  <a:cubicBezTo>
                    <a:pt x="60" y="8"/>
                    <a:pt x="29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6" name="Google Shape;5603;p64">
              <a:extLst>
                <a:ext uri="{FF2B5EF4-FFF2-40B4-BE49-F238E27FC236}">
                  <a16:creationId xmlns:a16="http://schemas.microsoft.com/office/drawing/2014/main" id="{E3F623A8-180E-65FC-DA91-74A94E2598E6}"/>
                </a:ext>
              </a:extLst>
            </p:cNvPr>
            <p:cNvSpPr/>
            <p:nvPr/>
          </p:nvSpPr>
          <p:spPr>
            <a:xfrm>
              <a:off x="2164458" y="1643287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"/>
                  </a:moveTo>
                  <a:cubicBezTo>
                    <a:pt x="15" y="4"/>
                    <a:pt x="25" y="8"/>
                    <a:pt x="36" y="15"/>
                  </a:cubicBezTo>
                  <a:cubicBezTo>
                    <a:pt x="25" y="8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7" name="Google Shape;5604;p64">
              <a:extLst>
                <a:ext uri="{FF2B5EF4-FFF2-40B4-BE49-F238E27FC236}">
                  <a16:creationId xmlns:a16="http://schemas.microsoft.com/office/drawing/2014/main" id="{8D3D17A1-03ED-137F-DE3C-122B4AC40480}"/>
                </a:ext>
              </a:extLst>
            </p:cNvPr>
            <p:cNvSpPr/>
            <p:nvPr/>
          </p:nvSpPr>
          <p:spPr>
            <a:xfrm>
              <a:off x="2162136" y="1642676"/>
              <a:ext cx="2200" cy="584"/>
            </a:xfrm>
            <a:custGeom>
              <a:avLst/>
              <a:gdLst/>
              <a:ahLst/>
              <a:cxnLst/>
              <a:rect l="l" t="t" r="r" b="b"/>
              <a:pathLst>
                <a:path w="162" h="43" extrusionOk="0">
                  <a:moveTo>
                    <a:pt x="0" y="0"/>
                  </a:moveTo>
                  <a:cubicBezTo>
                    <a:pt x="56" y="7"/>
                    <a:pt x="109" y="21"/>
                    <a:pt x="161" y="42"/>
                  </a:cubicBezTo>
                  <a:cubicBezTo>
                    <a:pt x="109" y="21"/>
                    <a:pt x="5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8" name="Google Shape;5605;p64">
              <a:extLst>
                <a:ext uri="{FF2B5EF4-FFF2-40B4-BE49-F238E27FC236}">
                  <a16:creationId xmlns:a16="http://schemas.microsoft.com/office/drawing/2014/main" id="{9909B739-2EBC-EC2B-318E-BB5EC03763F0}"/>
                </a:ext>
              </a:extLst>
            </p:cNvPr>
            <p:cNvSpPr/>
            <p:nvPr/>
          </p:nvSpPr>
          <p:spPr>
            <a:xfrm>
              <a:off x="2156244" y="164661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9" name="Google Shape;5606;p64">
              <a:extLst>
                <a:ext uri="{FF2B5EF4-FFF2-40B4-BE49-F238E27FC236}">
                  <a16:creationId xmlns:a16="http://schemas.microsoft.com/office/drawing/2014/main" id="{7365C7DC-13AC-FD72-73F3-3B78B6029FBD}"/>
                </a:ext>
              </a:extLst>
            </p:cNvPr>
            <p:cNvSpPr/>
            <p:nvPr/>
          </p:nvSpPr>
          <p:spPr>
            <a:xfrm>
              <a:off x="2154628" y="1646614"/>
              <a:ext cx="1195" cy="54"/>
            </a:xfrm>
            <a:custGeom>
              <a:avLst/>
              <a:gdLst/>
              <a:ahLst/>
              <a:cxnLst/>
              <a:rect l="l" t="t" r="r" b="b"/>
              <a:pathLst>
                <a:path w="88" h="4" extrusionOk="0">
                  <a:moveTo>
                    <a:pt x="0" y="1"/>
                  </a:moveTo>
                  <a:cubicBezTo>
                    <a:pt x="16" y="2"/>
                    <a:pt x="32" y="3"/>
                    <a:pt x="47" y="3"/>
                  </a:cubicBezTo>
                  <a:cubicBezTo>
                    <a:pt x="61" y="3"/>
                    <a:pt x="75" y="2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0" name="Google Shape;5607;p64">
              <a:extLst>
                <a:ext uri="{FF2B5EF4-FFF2-40B4-BE49-F238E27FC236}">
                  <a16:creationId xmlns:a16="http://schemas.microsoft.com/office/drawing/2014/main" id="{139C3AF9-E4E9-01B5-C90F-89DFB46C25A0}"/>
                </a:ext>
              </a:extLst>
            </p:cNvPr>
            <p:cNvSpPr/>
            <p:nvPr/>
          </p:nvSpPr>
          <p:spPr>
            <a:xfrm>
              <a:off x="2166984" y="1644903"/>
              <a:ext cx="2906" cy="1113"/>
            </a:xfrm>
            <a:custGeom>
              <a:avLst/>
              <a:gdLst/>
              <a:ahLst/>
              <a:cxnLst/>
              <a:rect l="l" t="t" r="r" b="b"/>
              <a:pathLst>
                <a:path w="214" h="82" extrusionOk="0">
                  <a:moveTo>
                    <a:pt x="214" y="67"/>
                  </a:moveTo>
                  <a:cubicBezTo>
                    <a:pt x="137" y="81"/>
                    <a:pt x="60" y="57"/>
                    <a:pt x="4" y="1"/>
                  </a:cubicBezTo>
                  <a:lnTo>
                    <a:pt x="0" y="1"/>
                  </a:lnTo>
                  <a:lnTo>
                    <a:pt x="4" y="1"/>
                  </a:lnTo>
                  <a:cubicBezTo>
                    <a:pt x="60" y="57"/>
                    <a:pt x="137" y="81"/>
                    <a:pt x="214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1" name="Google Shape;5608;p64">
              <a:extLst>
                <a:ext uri="{FF2B5EF4-FFF2-40B4-BE49-F238E27FC236}">
                  <a16:creationId xmlns:a16="http://schemas.microsoft.com/office/drawing/2014/main" id="{61524F13-8846-028F-4752-323FB69FB3E3}"/>
                </a:ext>
              </a:extLst>
            </p:cNvPr>
            <p:cNvSpPr/>
            <p:nvPr/>
          </p:nvSpPr>
          <p:spPr>
            <a:xfrm>
              <a:off x="2154248" y="16466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1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2" name="Google Shape;5609;p64">
              <a:extLst>
                <a:ext uri="{FF2B5EF4-FFF2-40B4-BE49-F238E27FC236}">
                  <a16:creationId xmlns:a16="http://schemas.microsoft.com/office/drawing/2014/main" id="{EC0E2E71-E2E1-C405-0AB8-04F7239B834F}"/>
                </a:ext>
              </a:extLst>
            </p:cNvPr>
            <p:cNvSpPr/>
            <p:nvPr/>
          </p:nvSpPr>
          <p:spPr>
            <a:xfrm>
              <a:off x="2153813" y="1646573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3" name="Google Shape;5610;p64">
              <a:extLst>
                <a:ext uri="{FF2B5EF4-FFF2-40B4-BE49-F238E27FC236}">
                  <a16:creationId xmlns:a16="http://schemas.microsoft.com/office/drawing/2014/main" id="{870ABE94-6916-F9CB-6670-CFD27A3FEC4B}"/>
                </a:ext>
              </a:extLst>
            </p:cNvPr>
            <p:cNvSpPr/>
            <p:nvPr/>
          </p:nvSpPr>
          <p:spPr>
            <a:xfrm>
              <a:off x="2153433" y="1646518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4" name="Google Shape;5611;p64">
              <a:extLst>
                <a:ext uri="{FF2B5EF4-FFF2-40B4-BE49-F238E27FC236}">
                  <a16:creationId xmlns:a16="http://schemas.microsoft.com/office/drawing/2014/main" id="{2DB9E0D8-916E-32D8-2F58-64E9F50FB11F}"/>
                </a:ext>
              </a:extLst>
            </p:cNvPr>
            <p:cNvSpPr/>
            <p:nvPr/>
          </p:nvSpPr>
          <p:spPr>
            <a:xfrm>
              <a:off x="2171641" y="1645052"/>
              <a:ext cx="1100" cy="530"/>
            </a:xfrm>
            <a:custGeom>
              <a:avLst/>
              <a:gdLst/>
              <a:ahLst/>
              <a:cxnLst/>
              <a:rect l="l" t="t" r="r" b="b"/>
              <a:pathLst>
                <a:path w="81" h="39" extrusionOk="0">
                  <a:moveTo>
                    <a:pt x="81" y="39"/>
                  </a:moveTo>
                  <a:lnTo>
                    <a:pt x="81" y="39"/>
                  </a:lnTo>
                  <a:lnTo>
                    <a:pt x="67" y="0"/>
                  </a:lnTo>
                  <a:lnTo>
                    <a:pt x="0" y="25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5" name="Google Shape;5612;p64">
              <a:extLst>
                <a:ext uri="{FF2B5EF4-FFF2-40B4-BE49-F238E27FC236}">
                  <a16:creationId xmlns:a16="http://schemas.microsoft.com/office/drawing/2014/main" id="{056C9FAA-643A-3567-DBF4-BEAE0DA3C874}"/>
                </a:ext>
              </a:extLst>
            </p:cNvPr>
            <p:cNvSpPr/>
            <p:nvPr/>
          </p:nvSpPr>
          <p:spPr>
            <a:xfrm>
              <a:off x="2152958" y="16464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1" y="0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6" name="Google Shape;5613;p64">
              <a:extLst>
                <a:ext uri="{FF2B5EF4-FFF2-40B4-BE49-F238E27FC236}">
                  <a16:creationId xmlns:a16="http://schemas.microsoft.com/office/drawing/2014/main" id="{855D4124-CCAC-A559-950A-77CBDF4408EE}"/>
                </a:ext>
              </a:extLst>
            </p:cNvPr>
            <p:cNvSpPr/>
            <p:nvPr/>
          </p:nvSpPr>
          <p:spPr>
            <a:xfrm>
              <a:off x="2155864" y="164661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7" name="Google Shape;5614;p64">
              <a:extLst>
                <a:ext uri="{FF2B5EF4-FFF2-40B4-BE49-F238E27FC236}">
                  <a16:creationId xmlns:a16="http://schemas.microsoft.com/office/drawing/2014/main" id="{90C25F15-DEA3-22DF-B443-1F8FE19404F8}"/>
                </a:ext>
              </a:extLst>
            </p:cNvPr>
            <p:cNvSpPr/>
            <p:nvPr/>
          </p:nvSpPr>
          <p:spPr>
            <a:xfrm>
              <a:off x="2152768" y="164642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1" y="1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8" name="Google Shape;5615;p64">
              <a:extLst>
                <a:ext uri="{FF2B5EF4-FFF2-40B4-BE49-F238E27FC236}">
                  <a16:creationId xmlns:a16="http://schemas.microsoft.com/office/drawing/2014/main" id="{A453B83F-953F-8637-D089-0E0A6CA69BFB}"/>
                </a:ext>
              </a:extLst>
            </p:cNvPr>
            <p:cNvSpPr/>
            <p:nvPr/>
          </p:nvSpPr>
          <p:spPr>
            <a:xfrm>
              <a:off x="2173637" y="1639417"/>
              <a:ext cx="38709" cy="14569"/>
            </a:xfrm>
            <a:custGeom>
              <a:avLst/>
              <a:gdLst/>
              <a:ahLst/>
              <a:cxnLst/>
              <a:rect l="l" t="t" r="r" b="b"/>
              <a:pathLst>
                <a:path w="2851" h="1073" extrusionOk="0">
                  <a:moveTo>
                    <a:pt x="1262" y="0"/>
                  </a:moveTo>
                  <a:cubicBezTo>
                    <a:pt x="1246" y="0"/>
                    <a:pt x="1220" y="12"/>
                    <a:pt x="1194" y="27"/>
                  </a:cubicBezTo>
                  <a:cubicBezTo>
                    <a:pt x="1154" y="44"/>
                    <a:pt x="1104" y="68"/>
                    <a:pt x="1047" y="68"/>
                  </a:cubicBezTo>
                  <a:cubicBezTo>
                    <a:pt x="1015" y="68"/>
                    <a:pt x="981" y="61"/>
                    <a:pt x="946" y="41"/>
                  </a:cubicBezTo>
                  <a:cubicBezTo>
                    <a:pt x="935" y="34"/>
                    <a:pt x="928" y="27"/>
                    <a:pt x="918" y="23"/>
                  </a:cubicBezTo>
                  <a:cubicBezTo>
                    <a:pt x="911" y="16"/>
                    <a:pt x="900" y="9"/>
                    <a:pt x="893" y="2"/>
                  </a:cubicBezTo>
                  <a:lnTo>
                    <a:pt x="876" y="9"/>
                  </a:lnTo>
                  <a:lnTo>
                    <a:pt x="865" y="16"/>
                  </a:lnTo>
                  <a:lnTo>
                    <a:pt x="830" y="41"/>
                  </a:lnTo>
                  <a:lnTo>
                    <a:pt x="816" y="48"/>
                  </a:lnTo>
                  <a:lnTo>
                    <a:pt x="792" y="69"/>
                  </a:lnTo>
                  <a:lnTo>
                    <a:pt x="778" y="79"/>
                  </a:lnTo>
                  <a:lnTo>
                    <a:pt x="753" y="97"/>
                  </a:lnTo>
                  <a:lnTo>
                    <a:pt x="743" y="111"/>
                  </a:lnTo>
                  <a:lnTo>
                    <a:pt x="718" y="128"/>
                  </a:lnTo>
                  <a:lnTo>
                    <a:pt x="708" y="142"/>
                  </a:lnTo>
                  <a:cubicBezTo>
                    <a:pt x="701" y="149"/>
                    <a:pt x="694" y="156"/>
                    <a:pt x="687" y="163"/>
                  </a:cubicBezTo>
                  <a:lnTo>
                    <a:pt x="676" y="177"/>
                  </a:lnTo>
                  <a:cubicBezTo>
                    <a:pt x="666" y="188"/>
                    <a:pt x="655" y="202"/>
                    <a:pt x="648" y="212"/>
                  </a:cubicBezTo>
                  <a:cubicBezTo>
                    <a:pt x="484" y="443"/>
                    <a:pt x="253" y="475"/>
                    <a:pt x="99" y="499"/>
                  </a:cubicBezTo>
                  <a:lnTo>
                    <a:pt x="78" y="499"/>
                  </a:lnTo>
                  <a:lnTo>
                    <a:pt x="74" y="503"/>
                  </a:lnTo>
                  <a:lnTo>
                    <a:pt x="67" y="506"/>
                  </a:lnTo>
                  <a:lnTo>
                    <a:pt x="57" y="517"/>
                  </a:lnTo>
                  <a:cubicBezTo>
                    <a:pt x="53" y="520"/>
                    <a:pt x="50" y="524"/>
                    <a:pt x="46" y="527"/>
                  </a:cubicBezTo>
                  <a:cubicBezTo>
                    <a:pt x="43" y="534"/>
                    <a:pt x="36" y="538"/>
                    <a:pt x="32" y="545"/>
                  </a:cubicBezTo>
                  <a:lnTo>
                    <a:pt x="32" y="548"/>
                  </a:lnTo>
                  <a:cubicBezTo>
                    <a:pt x="29" y="555"/>
                    <a:pt x="22" y="562"/>
                    <a:pt x="18" y="573"/>
                  </a:cubicBezTo>
                  <a:cubicBezTo>
                    <a:pt x="11" y="583"/>
                    <a:pt x="4" y="594"/>
                    <a:pt x="1" y="604"/>
                  </a:cubicBezTo>
                  <a:cubicBezTo>
                    <a:pt x="39" y="713"/>
                    <a:pt x="92" y="814"/>
                    <a:pt x="158" y="912"/>
                  </a:cubicBezTo>
                  <a:cubicBezTo>
                    <a:pt x="169" y="930"/>
                    <a:pt x="186" y="951"/>
                    <a:pt x="200" y="968"/>
                  </a:cubicBezTo>
                  <a:cubicBezTo>
                    <a:pt x="207" y="975"/>
                    <a:pt x="214" y="982"/>
                    <a:pt x="221" y="986"/>
                  </a:cubicBezTo>
                  <a:cubicBezTo>
                    <a:pt x="267" y="1028"/>
                    <a:pt x="375" y="1059"/>
                    <a:pt x="498" y="1070"/>
                  </a:cubicBezTo>
                  <a:cubicBezTo>
                    <a:pt x="526" y="1072"/>
                    <a:pt x="555" y="1072"/>
                    <a:pt x="583" y="1072"/>
                  </a:cubicBezTo>
                  <a:cubicBezTo>
                    <a:pt x="612" y="1072"/>
                    <a:pt x="641" y="1072"/>
                    <a:pt x="669" y="1070"/>
                  </a:cubicBezTo>
                  <a:cubicBezTo>
                    <a:pt x="785" y="1059"/>
                    <a:pt x="837" y="1038"/>
                    <a:pt x="851" y="1024"/>
                  </a:cubicBezTo>
                  <a:cubicBezTo>
                    <a:pt x="869" y="811"/>
                    <a:pt x="1488" y="790"/>
                    <a:pt x="1495" y="790"/>
                  </a:cubicBezTo>
                  <a:cubicBezTo>
                    <a:pt x="1537" y="786"/>
                    <a:pt x="1677" y="674"/>
                    <a:pt x="1754" y="615"/>
                  </a:cubicBezTo>
                  <a:cubicBezTo>
                    <a:pt x="1888" y="508"/>
                    <a:pt x="1949" y="464"/>
                    <a:pt x="1996" y="464"/>
                  </a:cubicBezTo>
                  <a:cubicBezTo>
                    <a:pt x="2005" y="464"/>
                    <a:pt x="2013" y="465"/>
                    <a:pt x="2021" y="468"/>
                  </a:cubicBezTo>
                  <a:cubicBezTo>
                    <a:pt x="2031" y="471"/>
                    <a:pt x="2066" y="478"/>
                    <a:pt x="2094" y="485"/>
                  </a:cubicBezTo>
                  <a:cubicBezTo>
                    <a:pt x="2283" y="527"/>
                    <a:pt x="2476" y="573"/>
                    <a:pt x="2553" y="646"/>
                  </a:cubicBezTo>
                  <a:lnTo>
                    <a:pt x="2556" y="650"/>
                  </a:lnTo>
                  <a:lnTo>
                    <a:pt x="2563" y="657"/>
                  </a:lnTo>
                  <a:lnTo>
                    <a:pt x="2574" y="660"/>
                  </a:lnTo>
                  <a:lnTo>
                    <a:pt x="2577" y="660"/>
                  </a:lnTo>
                  <a:lnTo>
                    <a:pt x="2591" y="667"/>
                  </a:lnTo>
                  <a:lnTo>
                    <a:pt x="2609" y="674"/>
                  </a:lnTo>
                  <a:lnTo>
                    <a:pt x="2616" y="678"/>
                  </a:lnTo>
                  <a:lnTo>
                    <a:pt x="2637" y="685"/>
                  </a:lnTo>
                  <a:lnTo>
                    <a:pt x="2644" y="688"/>
                  </a:lnTo>
                  <a:lnTo>
                    <a:pt x="2675" y="699"/>
                  </a:lnTo>
                  <a:lnTo>
                    <a:pt x="2679" y="699"/>
                  </a:lnTo>
                  <a:lnTo>
                    <a:pt x="2679" y="695"/>
                  </a:lnTo>
                  <a:cubicBezTo>
                    <a:pt x="2675" y="685"/>
                    <a:pt x="2672" y="674"/>
                    <a:pt x="2668" y="664"/>
                  </a:cubicBezTo>
                  <a:lnTo>
                    <a:pt x="2668" y="653"/>
                  </a:lnTo>
                  <a:cubicBezTo>
                    <a:pt x="2665" y="643"/>
                    <a:pt x="2665" y="632"/>
                    <a:pt x="2665" y="618"/>
                  </a:cubicBezTo>
                  <a:cubicBezTo>
                    <a:pt x="2665" y="611"/>
                    <a:pt x="2665" y="604"/>
                    <a:pt x="2665" y="597"/>
                  </a:cubicBezTo>
                  <a:lnTo>
                    <a:pt x="2665" y="590"/>
                  </a:lnTo>
                  <a:cubicBezTo>
                    <a:pt x="2665" y="587"/>
                    <a:pt x="2668" y="580"/>
                    <a:pt x="2668" y="573"/>
                  </a:cubicBezTo>
                  <a:lnTo>
                    <a:pt x="2668" y="562"/>
                  </a:lnTo>
                  <a:cubicBezTo>
                    <a:pt x="2672" y="555"/>
                    <a:pt x="2675" y="548"/>
                    <a:pt x="2679" y="538"/>
                  </a:cubicBezTo>
                  <a:cubicBezTo>
                    <a:pt x="2682" y="531"/>
                    <a:pt x="2686" y="520"/>
                    <a:pt x="2689" y="510"/>
                  </a:cubicBezTo>
                  <a:lnTo>
                    <a:pt x="2693" y="503"/>
                  </a:lnTo>
                  <a:lnTo>
                    <a:pt x="2703" y="478"/>
                  </a:lnTo>
                  <a:lnTo>
                    <a:pt x="2707" y="471"/>
                  </a:lnTo>
                  <a:lnTo>
                    <a:pt x="2724" y="443"/>
                  </a:lnTo>
                  <a:lnTo>
                    <a:pt x="2724" y="440"/>
                  </a:lnTo>
                  <a:lnTo>
                    <a:pt x="2742" y="412"/>
                  </a:lnTo>
                  <a:lnTo>
                    <a:pt x="2745" y="401"/>
                  </a:lnTo>
                  <a:lnTo>
                    <a:pt x="2759" y="380"/>
                  </a:lnTo>
                  <a:lnTo>
                    <a:pt x="2766" y="370"/>
                  </a:lnTo>
                  <a:lnTo>
                    <a:pt x="2784" y="345"/>
                  </a:lnTo>
                  <a:lnTo>
                    <a:pt x="2784" y="342"/>
                  </a:lnTo>
                  <a:lnTo>
                    <a:pt x="2805" y="314"/>
                  </a:lnTo>
                  <a:lnTo>
                    <a:pt x="2808" y="303"/>
                  </a:lnTo>
                  <a:lnTo>
                    <a:pt x="2826" y="286"/>
                  </a:lnTo>
                  <a:lnTo>
                    <a:pt x="2829" y="275"/>
                  </a:lnTo>
                  <a:lnTo>
                    <a:pt x="2847" y="258"/>
                  </a:lnTo>
                  <a:lnTo>
                    <a:pt x="2850" y="251"/>
                  </a:lnTo>
                  <a:lnTo>
                    <a:pt x="2833" y="247"/>
                  </a:lnTo>
                  <a:lnTo>
                    <a:pt x="2826" y="247"/>
                  </a:lnTo>
                  <a:lnTo>
                    <a:pt x="2798" y="244"/>
                  </a:lnTo>
                  <a:lnTo>
                    <a:pt x="2791" y="244"/>
                  </a:lnTo>
                  <a:lnTo>
                    <a:pt x="2735" y="230"/>
                  </a:lnTo>
                  <a:lnTo>
                    <a:pt x="2728" y="230"/>
                  </a:lnTo>
                  <a:lnTo>
                    <a:pt x="2714" y="226"/>
                  </a:lnTo>
                  <a:lnTo>
                    <a:pt x="2707" y="226"/>
                  </a:lnTo>
                  <a:lnTo>
                    <a:pt x="2693" y="223"/>
                  </a:lnTo>
                  <a:lnTo>
                    <a:pt x="2686" y="219"/>
                  </a:lnTo>
                  <a:lnTo>
                    <a:pt x="2675" y="216"/>
                  </a:lnTo>
                  <a:lnTo>
                    <a:pt x="2672" y="216"/>
                  </a:lnTo>
                  <a:lnTo>
                    <a:pt x="2661" y="212"/>
                  </a:lnTo>
                  <a:lnTo>
                    <a:pt x="2658" y="212"/>
                  </a:lnTo>
                  <a:lnTo>
                    <a:pt x="2647" y="205"/>
                  </a:lnTo>
                  <a:lnTo>
                    <a:pt x="2640" y="205"/>
                  </a:lnTo>
                  <a:lnTo>
                    <a:pt x="2637" y="202"/>
                  </a:lnTo>
                  <a:lnTo>
                    <a:pt x="2623" y="202"/>
                  </a:lnTo>
                  <a:lnTo>
                    <a:pt x="2619" y="198"/>
                  </a:lnTo>
                  <a:lnTo>
                    <a:pt x="2616" y="198"/>
                  </a:lnTo>
                  <a:lnTo>
                    <a:pt x="2612" y="195"/>
                  </a:lnTo>
                  <a:lnTo>
                    <a:pt x="2609" y="191"/>
                  </a:lnTo>
                  <a:cubicBezTo>
                    <a:pt x="2577" y="160"/>
                    <a:pt x="2407" y="101"/>
                    <a:pt x="2249" y="101"/>
                  </a:cubicBezTo>
                  <a:cubicBezTo>
                    <a:pt x="2230" y="101"/>
                    <a:pt x="2211" y="102"/>
                    <a:pt x="2192" y="104"/>
                  </a:cubicBezTo>
                  <a:lnTo>
                    <a:pt x="2182" y="104"/>
                  </a:lnTo>
                  <a:cubicBezTo>
                    <a:pt x="2172" y="104"/>
                    <a:pt x="2163" y="104"/>
                    <a:pt x="2154" y="104"/>
                  </a:cubicBezTo>
                  <a:cubicBezTo>
                    <a:pt x="2089" y="104"/>
                    <a:pt x="2022" y="93"/>
                    <a:pt x="1961" y="72"/>
                  </a:cubicBezTo>
                  <a:cubicBezTo>
                    <a:pt x="1921" y="61"/>
                    <a:pt x="1887" y="51"/>
                    <a:pt x="1854" y="51"/>
                  </a:cubicBezTo>
                  <a:cubicBezTo>
                    <a:pt x="1835" y="51"/>
                    <a:pt x="1816" y="54"/>
                    <a:pt x="1796" y="62"/>
                  </a:cubicBezTo>
                  <a:cubicBezTo>
                    <a:pt x="1746" y="81"/>
                    <a:pt x="1686" y="89"/>
                    <a:pt x="1626" y="89"/>
                  </a:cubicBezTo>
                  <a:cubicBezTo>
                    <a:pt x="1489" y="89"/>
                    <a:pt x="1344" y="48"/>
                    <a:pt x="1271" y="2"/>
                  </a:cubicBezTo>
                  <a:cubicBezTo>
                    <a:pt x="1269" y="1"/>
                    <a:pt x="1266" y="0"/>
                    <a:pt x="12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9" name="Google Shape;5616;p64">
              <a:extLst>
                <a:ext uri="{FF2B5EF4-FFF2-40B4-BE49-F238E27FC236}">
                  <a16:creationId xmlns:a16="http://schemas.microsoft.com/office/drawing/2014/main" id="{34627A59-4123-EE63-18F3-89BD3FD1AE01}"/>
                </a:ext>
              </a:extLst>
            </p:cNvPr>
            <p:cNvSpPr/>
            <p:nvPr/>
          </p:nvSpPr>
          <p:spPr>
            <a:xfrm>
              <a:off x="2211667" y="164286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0" name="Google Shape;5617;p64">
              <a:extLst>
                <a:ext uri="{FF2B5EF4-FFF2-40B4-BE49-F238E27FC236}">
                  <a16:creationId xmlns:a16="http://schemas.microsoft.com/office/drawing/2014/main" id="{CE344949-A230-3800-C812-2A1E92AA42D3}"/>
                </a:ext>
              </a:extLst>
            </p:cNvPr>
            <p:cNvSpPr/>
            <p:nvPr/>
          </p:nvSpPr>
          <p:spPr>
            <a:xfrm>
              <a:off x="2209332" y="164214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1" name="Google Shape;5618;p64">
              <a:extLst>
                <a:ext uri="{FF2B5EF4-FFF2-40B4-BE49-F238E27FC236}">
                  <a16:creationId xmlns:a16="http://schemas.microsoft.com/office/drawing/2014/main" id="{3CF5C997-FD74-3980-9E18-986B1D3A8431}"/>
                </a:ext>
              </a:extLst>
            </p:cNvPr>
            <p:cNvSpPr/>
            <p:nvPr/>
          </p:nvSpPr>
          <p:spPr>
            <a:xfrm>
              <a:off x="2200343" y="1640341"/>
              <a:ext cx="3014" cy="489"/>
            </a:xfrm>
            <a:custGeom>
              <a:avLst/>
              <a:gdLst/>
              <a:ahLst/>
              <a:cxnLst/>
              <a:rect l="l" t="t" r="r" b="b"/>
              <a:pathLst>
                <a:path w="222" h="36" extrusionOk="0">
                  <a:moveTo>
                    <a:pt x="222" y="32"/>
                  </a:moveTo>
                  <a:cubicBezTo>
                    <a:pt x="145" y="36"/>
                    <a:pt x="71" y="25"/>
                    <a:pt x="1" y="1"/>
                  </a:cubicBezTo>
                  <a:cubicBezTo>
                    <a:pt x="71" y="25"/>
                    <a:pt x="145" y="36"/>
                    <a:pt x="2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2" name="Google Shape;5619;p64">
              <a:extLst>
                <a:ext uri="{FF2B5EF4-FFF2-40B4-BE49-F238E27FC236}">
                  <a16:creationId xmlns:a16="http://schemas.microsoft.com/office/drawing/2014/main" id="{EA9C20BD-B1C0-9D14-C73B-752AE0AB7B84}"/>
                </a:ext>
              </a:extLst>
            </p:cNvPr>
            <p:cNvSpPr/>
            <p:nvPr/>
          </p:nvSpPr>
          <p:spPr>
            <a:xfrm>
              <a:off x="2212088" y="164296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3" name="Google Shape;5620;p64">
              <a:extLst>
                <a:ext uri="{FF2B5EF4-FFF2-40B4-BE49-F238E27FC236}">
                  <a16:creationId xmlns:a16="http://schemas.microsoft.com/office/drawing/2014/main" id="{DCC1C751-C5A6-89BD-51EC-30AF89F799B9}"/>
                </a:ext>
              </a:extLst>
            </p:cNvPr>
            <p:cNvSpPr/>
            <p:nvPr/>
          </p:nvSpPr>
          <p:spPr>
            <a:xfrm>
              <a:off x="2209807" y="16423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4" name="Google Shape;5621;p64">
              <a:extLst>
                <a:ext uri="{FF2B5EF4-FFF2-40B4-BE49-F238E27FC236}">
                  <a16:creationId xmlns:a16="http://schemas.microsoft.com/office/drawing/2014/main" id="{FFE0092A-295E-72A4-A034-4D5948ACD43A}"/>
                </a:ext>
              </a:extLst>
            </p:cNvPr>
            <p:cNvSpPr/>
            <p:nvPr/>
          </p:nvSpPr>
          <p:spPr>
            <a:xfrm>
              <a:off x="2209481" y="16422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5" name="Google Shape;5622;p64">
              <a:extLst>
                <a:ext uri="{FF2B5EF4-FFF2-40B4-BE49-F238E27FC236}">
                  <a16:creationId xmlns:a16="http://schemas.microsoft.com/office/drawing/2014/main" id="{9BDAEF6E-B589-54AA-8B70-ED5028107CE0}"/>
                </a:ext>
              </a:extLst>
            </p:cNvPr>
            <p:cNvSpPr/>
            <p:nvPr/>
          </p:nvSpPr>
          <p:spPr>
            <a:xfrm>
              <a:off x="2209576" y="164224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6" name="Google Shape;5623;p64">
              <a:extLst>
                <a:ext uri="{FF2B5EF4-FFF2-40B4-BE49-F238E27FC236}">
                  <a16:creationId xmlns:a16="http://schemas.microsoft.com/office/drawing/2014/main" id="{132DBAD6-D269-BD3D-8DE6-F7ACB42F1961}"/>
                </a:ext>
              </a:extLst>
            </p:cNvPr>
            <p:cNvSpPr/>
            <p:nvPr/>
          </p:nvSpPr>
          <p:spPr>
            <a:xfrm>
              <a:off x="2209291" y="16420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7" name="Google Shape;5624;p64">
              <a:extLst>
                <a:ext uri="{FF2B5EF4-FFF2-40B4-BE49-F238E27FC236}">
                  <a16:creationId xmlns:a16="http://schemas.microsoft.com/office/drawing/2014/main" id="{F7DA3AF2-0DF1-2C1D-C418-6B2D278B2443}"/>
                </a:ext>
              </a:extLst>
            </p:cNvPr>
            <p:cNvSpPr/>
            <p:nvPr/>
          </p:nvSpPr>
          <p:spPr>
            <a:xfrm>
              <a:off x="2209956" y="164243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8" name="Google Shape;5625;p64">
              <a:extLst>
                <a:ext uri="{FF2B5EF4-FFF2-40B4-BE49-F238E27FC236}">
                  <a16:creationId xmlns:a16="http://schemas.microsoft.com/office/drawing/2014/main" id="{735149F7-9F06-1BD8-D882-555951DF9840}"/>
                </a:ext>
              </a:extLst>
            </p:cNvPr>
            <p:cNvSpPr/>
            <p:nvPr/>
          </p:nvSpPr>
          <p:spPr>
            <a:xfrm>
              <a:off x="2185802" y="163939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lnTo>
                    <a:pt x="1" y="1"/>
                  </a:ln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9" name="Google Shape;5626;p64">
              <a:extLst>
                <a:ext uri="{FF2B5EF4-FFF2-40B4-BE49-F238E27FC236}">
                  <a16:creationId xmlns:a16="http://schemas.microsoft.com/office/drawing/2014/main" id="{C7CC428F-17B3-5BDB-51EF-8103EC5EC50F}"/>
                </a:ext>
              </a:extLst>
            </p:cNvPr>
            <p:cNvSpPr/>
            <p:nvPr/>
          </p:nvSpPr>
          <p:spPr>
            <a:xfrm>
              <a:off x="2209196" y="16420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0" name="Google Shape;5627;p64">
              <a:extLst>
                <a:ext uri="{FF2B5EF4-FFF2-40B4-BE49-F238E27FC236}">
                  <a16:creationId xmlns:a16="http://schemas.microsoft.com/office/drawing/2014/main" id="{210A7C27-DFD9-C8AC-F58E-E32891C6BF27}"/>
                </a:ext>
              </a:extLst>
            </p:cNvPr>
            <p:cNvSpPr/>
            <p:nvPr/>
          </p:nvSpPr>
          <p:spPr>
            <a:xfrm>
              <a:off x="2210187" y="164248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1" name="Google Shape;5628;p64">
              <a:extLst>
                <a:ext uri="{FF2B5EF4-FFF2-40B4-BE49-F238E27FC236}">
                  <a16:creationId xmlns:a16="http://schemas.microsoft.com/office/drawing/2014/main" id="{6CE28BBA-BD4F-FCDA-F1BA-9EAFEFA0782E}"/>
                </a:ext>
              </a:extLst>
            </p:cNvPr>
            <p:cNvSpPr/>
            <p:nvPr/>
          </p:nvSpPr>
          <p:spPr>
            <a:xfrm>
              <a:off x="2210472" y="16425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2" name="Google Shape;5629;p64">
              <a:extLst>
                <a:ext uri="{FF2B5EF4-FFF2-40B4-BE49-F238E27FC236}">
                  <a16:creationId xmlns:a16="http://schemas.microsoft.com/office/drawing/2014/main" id="{7E4E94FF-278B-3324-3361-F2FDB0FED178}"/>
                </a:ext>
              </a:extLst>
            </p:cNvPr>
            <p:cNvSpPr/>
            <p:nvPr/>
          </p:nvSpPr>
          <p:spPr>
            <a:xfrm>
              <a:off x="2198062" y="1640056"/>
              <a:ext cx="2295" cy="299"/>
            </a:xfrm>
            <a:custGeom>
              <a:avLst/>
              <a:gdLst/>
              <a:ahLst/>
              <a:cxnLst/>
              <a:rect l="l" t="t" r="r" b="b"/>
              <a:pathLst>
                <a:path w="169" h="22" extrusionOk="0">
                  <a:moveTo>
                    <a:pt x="58" y="1"/>
                  </a:moveTo>
                  <a:cubicBezTo>
                    <a:pt x="40" y="1"/>
                    <a:pt x="21" y="4"/>
                    <a:pt x="1" y="11"/>
                  </a:cubicBezTo>
                  <a:cubicBezTo>
                    <a:pt x="22" y="4"/>
                    <a:pt x="41" y="1"/>
                    <a:pt x="60" y="1"/>
                  </a:cubicBezTo>
                  <a:lnTo>
                    <a:pt x="60" y="1"/>
                  </a:lnTo>
                  <a:cubicBezTo>
                    <a:pt x="93" y="1"/>
                    <a:pt x="127" y="10"/>
                    <a:pt x="169" y="22"/>
                  </a:cubicBezTo>
                  <a:cubicBezTo>
                    <a:pt x="129" y="10"/>
                    <a:pt x="95" y="1"/>
                    <a:pt x="61" y="1"/>
                  </a:cubicBezTo>
                  <a:cubicBezTo>
                    <a:pt x="60" y="1"/>
                    <a:pt x="60" y="1"/>
                    <a:pt x="60" y="1"/>
                  </a:cubicBezTo>
                  <a:lnTo>
                    <a:pt x="60" y="1"/>
                  </a:lnTo>
                  <a:cubicBezTo>
                    <a:pt x="59" y="1"/>
                    <a:pt x="59" y="1"/>
                    <a:pt x="5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3" name="Google Shape;5630;p64">
              <a:extLst>
                <a:ext uri="{FF2B5EF4-FFF2-40B4-BE49-F238E27FC236}">
                  <a16:creationId xmlns:a16="http://schemas.microsoft.com/office/drawing/2014/main" id="{BAD943CD-585E-473C-19A9-98F80D7D99AC}"/>
                </a:ext>
              </a:extLst>
            </p:cNvPr>
            <p:cNvSpPr/>
            <p:nvPr/>
          </p:nvSpPr>
          <p:spPr>
            <a:xfrm>
              <a:off x="2210757" y="164267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4" name="Google Shape;5631;p64">
              <a:extLst>
                <a:ext uri="{FF2B5EF4-FFF2-40B4-BE49-F238E27FC236}">
                  <a16:creationId xmlns:a16="http://schemas.microsoft.com/office/drawing/2014/main" id="{438F960C-C0BC-F47F-4962-1EFB60A99C5B}"/>
                </a:ext>
              </a:extLst>
            </p:cNvPr>
            <p:cNvSpPr/>
            <p:nvPr/>
          </p:nvSpPr>
          <p:spPr>
            <a:xfrm>
              <a:off x="2173501" y="1647713"/>
              <a:ext cx="2145" cy="4195"/>
            </a:xfrm>
            <a:custGeom>
              <a:avLst/>
              <a:gdLst/>
              <a:ahLst/>
              <a:cxnLst/>
              <a:rect l="l" t="t" r="r" b="b"/>
              <a:pathLst>
                <a:path w="158" h="309" extrusionOk="0">
                  <a:moveTo>
                    <a:pt x="0" y="0"/>
                  </a:moveTo>
                  <a:lnTo>
                    <a:pt x="0" y="0"/>
                  </a:lnTo>
                  <a:cubicBezTo>
                    <a:pt x="9" y="24"/>
                    <a:pt x="19" y="48"/>
                    <a:pt x="29" y="71"/>
                  </a:cubicBezTo>
                  <a:lnTo>
                    <a:pt x="29" y="71"/>
                  </a:lnTo>
                  <a:cubicBezTo>
                    <a:pt x="19" y="48"/>
                    <a:pt x="9" y="24"/>
                    <a:pt x="0" y="0"/>
                  </a:cubicBezTo>
                  <a:close/>
                  <a:moveTo>
                    <a:pt x="29" y="71"/>
                  </a:moveTo>
                  <a:cubicBezTo>
                    <a:pt x="61" y="144"/>
                    <a:pt x="97" y="214"/>
                    <a:pt x="137" y="280"/>
                  </a:cubicBezTo>
                  <a:lnTo>
                    <a:pt x="158" y="308"/>
                  </a:lnTo>
                  <a:cubicBezTo>
                    <a:pt x="108" y="232"/>
                    <a:pt x="66" y="153"/>
                    <a:pt x="29" y="7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5" name="Google Shape;5632;p64">
              <a:extLst>
                <a:ext uri="{FF2B5EF4-FFF2-40B4-BE49-F238E27FC236}">
                  <a16:creationId xmlns:a16="http://schemas.microsoft.com/office/drawing/2014/main" id="{4C6BE294-2F56-3059-9CFA-354BA460C2D6}"/>
                </a:ext>
              </a:extLst>
            </p:cNvPr>
            <p:cNvSpPr/>
            <p:nvPr/>
          </p:nvSpPr>
          <p:spPr>
            <a:xfrm>
              <a:off x="2208286" y="16483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6" name="Google Shape;5633;p64">
              <a:extLst>
                <a:ext uri="{FF2B5EF4-FFF2-40B4-BE49-F238E27FC236}">
                  <a16:creationId xmlns:a16="http://schemas.microsoft.com/office/drawing/2014/main" id="{CEBA268F-B0E7-A7E4-63B1-7F8B21358541}"/>
                </a:ext>
              </a:extLst>
            </p:cNvPr>
            <p:cNvSpPr/>
            <p:nvPr/>
          </p:nvSpPr>
          <p:spPr>
            <a:xfrm>
              <a:off x="2208191" y="16483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7" name="Google Shape;5634;p64">
              <a:extLst>
                <a:ext uri="{FF2B5EF4-FFF2-40B4-BE49-F238E27FC236}">
                  <a16:creationId xmlns:a16="http://schemas.microsoft.com/office/drawing/2014/main" id="{8EF80287-1D82-A0D4-5E8D-67DE7C338A4E}"/>
                </a:ext>
              </a:extLst>
            </p:cNvPr>
            <p:cNvSpPr/>
            <p:nvPr/>
          </p:nvSpPr>
          <p:spPr>
            <a:xfrm>
              <a:off x="2209956" y="164908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8" name="Google Shape;5635;p64">
              <a:extLst>
                <a:ext uri="{FF2B5EF4-FFF2-40B4-BE49-F238E27FC236}">
                  <a16:creationId xmlns:a16="http://schemas.microsoft.com/office/drawing/2014/main" id="{20AE2D89-0DD5-F18F-F777-29528E039DDD}"/>
                </a:ext>
              </a:extLst>
            </p:cNvPr>
            <p:cNvSpPr/>
            <p:nvPr/>
          </p:nvSpPr>
          <p:spPr>
            <a:xfrm>
              <a:off x="2209427" y="164889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9" name="Google Shape;5636;p64">
              <a:extLst>
                <a:ext uri="{FF2B5EF4-FFF2-40B4-BE49-F238E27FC236}">
                  <a16:creationId xmlns:a16="http://schemas.microsoft.com/office/drawing/2014/main" id="{12728AEE-B893-730D-B735-D3C25213CA8D}"/>
                </a:ext>
              </a:extLst>
            </p:cNvPr>
            <p:cNvSpPr/>
            <p:nvPr/>
          </p:nvSpPr>
          <p:spPr>
            <a:xfrm>
              <a:off x="2208381" y="164847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0" name="Google Shape;5637;p64">
              <a:extLst>
                <a:ext uri="{FF2B5EF4-FFF2-40B4-BE49-F238E27FC236}">
                  <a16:creationId xmlns:a16="http://schemas.microsoft.com/office/drawing/2014/main" id="{C5BB0D05-39E6-39CC-A437-A10CBC8D2BAD}"/>
                </a:ext>
              </a:extLst>
            </p:cNvPr>
            <p:cNvSpPr/>
            <p:nvPr/>
          </p:nvSpPr>
          <p:spPr>
            <a:xfrm>
              <a:off x="2175632" y="1651895"/>
              <a:ext cx="638" cy="774"/>
            </a:xfrm>
            <a:custGeom>
              <a:avLst/>
              <a:gdLst/>
              <a:ahLst/>
              <a:cxnLst/>
              <a:rect l="l" t="t" r="r" b="b"/>
              <a:pathLst>
                <a:path w="47" h="57" extrusionOk="0">
                  <a:moveTo>
                    <a:pt x="1" y="0"/>
                  </a:moveTo>
                  <a:cubicBezTo>
                    <a:pt x="6" y="8"/>
                    <a:pt x="11" y="16"/>
                    <a:pt x="17" y="23"/>
                  </a:cubicBezTo>
                  <a:lnTo>
                    <a:pt x="17" y="23"/>
                  </a:lnTo>
                  <a:lnTo>
                    <a:pt x="1" y="0"/>
                  </a:lnTo>
                  <a:close/>
                  <a:moveTo>
                    <a:pt x="17" y="23"/>
                  </a:moveTo>
                  <a:lnTo>
                    <a:pt x="18" y="25"/>
                  </a:lnTo>
                  <a:cubicBezTo>
                    <a:pt x="18" y="25"/>
                    <a:pt x="18" y="25"/>
                    <a:pt x="19" y="25"/>
                  </a:cubicBezTo>
                  <a:lnTo>
                    <a:pt x="19" y="25"/>
                  </a:lnTo>
                  <a:cubicBezTo>
                    <a:pt x="18" y="25"/>
                    <a:pt x="17" y="24"/>
                    <a:pt x="17" y="23"/>
                  </a:cubicBezTo>
                  <a:close/>
                  <a:moveTo>
                    <a:pt x="19" y="25"/>
                  </a:moveTo>
                  <a:lnTo>
                    <a:pt x="19" y="25"/>
                  </a:lnTo>
                  <a:cubicBezTo>
                    <a:pt x="27" y="36"/>
                    <a:pt x="36" y="46"/>
                    <a:pt x="46" y="56"/>
                  </a:cubicBezTo>
                  <a:cubicBezTo>
                    <a:pt x="36" y="46"/>
                    <a:pt x="29" y="36"/>
                    <a:pt x="1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1" name="Google Shape;5638;p64">
              <a:extLst>
                <a:ext uri="{FF2B5EF4-FFF2-40B4-BE49-F238E27FC236}">
                  <a16:creationId xmlns:a16="http://schemas.microsoft.com/office/drawing/2014/main" id="{9BD31D85-3C3B-0987-1CD8-79F952FDBF50}"/>
                </a:ext>
              </a:extLst>
            </p:cNvPr>
            <p:cNvSpPr/>
            <p:nvPr/>
          </p:nvSpPr>
          <p:spPr>
            <a:xfrm>
              <a:off x="2208531" y="164851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2" name="Google Shape;5639;p64">
              <a:extLst>
                <a:ext uri="{FF2B5EF4-FFF2-40B4-BE49-F238E27FC236}">
                  <a16:creationId xmlns:a16="http://schemas.microsoft.com/office/drawing/2014/main" id="{27C8F9F0-B889-C876-6225-07A6DF6699E3}"/>
                </a:ext>
              </a:extLst>
            </p:cNvPr>
            <p:cNvSpPr/>
            <p:nvPr/>
          </p:nvSpPr>
          <p:spPr>
            <a:xfrm>
              <a:off x="2208816" y="16486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3" name="Google Shape;5640;p64">
              <a:extLst>
                <a:ext uri="{FF2B5EF4-FFF2-40B4-BE49-F238E27FC236}">
                  <a16:creationId xmlns:a16="http://schemas.microsoft.com/office/drawing/2014/main" id="{BABCE607-318B-42D6-93FB-527CD8397B30}"/>
                </a:ext>
              </a:extLst>
            </p:cNvPr>
            <p:cNvSpPr/>
            <p:nvPr/>
          </p:nvSpPr>
          <p:spPr>
            <a:xfrm>
              <a:off x="2209047" y="1648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4" name="Google Shape;5641;p64">
              <a:extLst>
                <a:ext uri="{FF2B5EF4-FFF2-40B4-BE49-F238E27FC236}">
                  <a16:creationId xmlns:a16="http://schemas.microsoft.com/office/drawing/2014/main" id="{9858696A-7FA8-82A9-01AB-61801662D2CE}"/>
                </a:ext>
              </a:extLst>
            </p:cNvPr>
            <p:cNvSpPr/>
            <p:nvPr/>
          </p:nvSpPr>
          <p:spPr>
            <a:xfrm>
              <a:off x="2175402" y="1651515"/>
              <a:ext cx="530" cy="720"/>
            </a:xfrm>
            <a:custGeom>
              <a:avLst/>
              <a:gdLst/>
              <a:ahLst/>
              <a:cxnLst/>
              <a:rect l="l" t="t" r="r" b="b"/>
              <a:pathLst>
                <a:path w="39" h="53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21"/>
                    <a:pt x="25" y="35"/>
                    <a:pt x="39" y="53"/>
                  </a:cubicBezTo>
                  <a:lnTo>
                    <a:pt x="21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5" name="Google Shape;5642;p64">
              <a:extLst>
                <a:ext uri="{FF2B5EF4-FFF2-40B4-BE49-F238E27FC236}">
                  <a16:creationId xmlns:a16="http://schemas.microsoft.com/office/drawing/2014/main" id="{C0198AE3-31F5-CF01-E06B-5E489EEEB097}"/>
                </a:ext>
              </a:extLst>
            </p:cNvPr>
            <p:cNvSpPr/>
            <p:nvPr/>
          </p:nvSpPr>
          <p:spPr>
            <a:xfrm>
              <a:off x="2174492" y="16463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6" name="Google Shape;5643;p64">
              <a:extLst>
                <a:ext uri="{FF2B5EF4-FFF2-40B4-BE49-F238E27FC236}">
                  <a16:creationId xmlns:a16="http://schemas.microsoft.com/office/drawing/2014/main" id="{FB9FD8ED-FF2B-B22F-0D51-DEE0C8E004AC}"/>
                </a:ext>
              </a:extLst>
            </p:cNvPr>
            <p:cNvSpPr/>
            <p:nvPr/>
          </p:nvSpPr>
          <p:spPr>
            <a:xfrm>
              <a:off x="2174356" y="16464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7" name="Google Shape;5644;p64">
              <a:extLst>
                <a:ext uri="{FF2B5EF4-FFF2-40B4-BE49-F238E27FC236}">
                  <a16:creationId xmlns:a16="http://schemas.microsoft.com/office/drawing/2014/main" id="{DE53701B-021A-15E6-2DEA-88A7C31054AD}"/>
                </a:ext>
              </a:extLst>
            </p:cNvPr>
            <p:cNvSpPr/>
            <p:nvPr/>
          </p:nvSpPr>
          <p:spPr>
            <a:xfrm>
              <a:off x="2174166" y="16466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8" name="Google Shape;5645;p64">
              <a:extLst>
                <a:ext uri="{FF2B5EF4-FFF2-40B4-BE49-F238E27FC236}">
                  <a16:creationId xmlns:a16="http://schemas.microsoft.com/office/drawing/2014/main" id="{5BF0CC5B-E36B-42B0-58D4-69D15FC4B404}"/>
                </a:ext>
              </a:extLst>
            </p:cNvPr>
            <p:cNvSpPr/>
            <p:nvPr/>
          </p:nvSpPr>
          <p:spPr>
            <a:xfrm>
              <a:off x="2174587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9" name="Google Shape;5646;p64">
              <a:extLst>
                <a:ext uri="{FF2B5EF4-FFF2-40B4-BE49-F238E27FC236}">
                  <a16:creationId xmlns:a16="http://schemas.microsoft.com/office/drawing/2014/main" id="{7D1E226E-F3ED-AE65-7DF4-568CD97EB329}"/>
                </a:ext>
              </a:extLst>
            </p:cNvPr>
            <p:cNvSpPr/>
            <p:nvPr/>
          </p:nvSpPr>
          <p:spPr>
            <a:xfrm>
              <a:off x="2173732" y="16472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0" name="Google Shape;5647;p64">
              <a:extLst>
                <a:ext uri="{FF2B5EF4-FFF2-40B4-BE49-F238E27FC236}">
                  <a16:creationId xmlns:a16="http://schemas.microsoft.com/office/drawing/2014/main" id="{A82E3CD2-8A70-576B-823F-2C0CDC24954B}"/>
                </a:ext>
              </a:extLst>
            </p:cNvPr>
            <p:cNvSpPr/>
            <p:nvPr/>
          </p:nvSpPr>
          <p:spPr>
            <a:xfrm>
              <a:off x="2173976" y="16468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1" name="Google Shape;5648;p64">
              <a:extLst>
                <a:ext uri="{FF2B5EF4-FFF2-40B4-BE49-F238E27FC236}">
                  <a16:creationId xmlns:a16="http://schemas.microsoft.com/office/drawing/2014/main" id="{DB6C7892-7A3F-FE5B-8B79-7FAFE2845864}"/>
                </a:ext>
              </a:extLst>
            </p:cNvPr>
            <p:cNvSpPr/>
            <p:nvPr/>
          </p:nvSpPr>
          <p:spPr>
            <a:xfrm>
              <a:off x="2182910" y="1641345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cubicBezTo>
                    <a:pt x="14" y="7"/>
                    <a:pt x="7" y="14"/>
                    <a:pt x="0" y="25"/>
                  </a:cubicBezTo>
                  <a:cubicBezTo>
                    <a:pt x="7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2" name="Google Shape;5649;p64">
              <a:extLst>
                <a:ext uri="{FF2B5EF4-FFF2-40B4-BE49-F238E27FC236}">
                  <a16:creationId xmlns:a16="http://schemas.microsoft.com/office/drawing/2014/main" id="{1568EF6D-B34E-9F6F-97F9-A4BD06D4D66E}"/>
                </a:ext>
              </a:extLst>
            </p:cNvPr>
            <p:cNvSpPr/>
            <p:nvPr/>
          </p:nvSpPr>
          <p:spPr>
            <a:xfrm>
              <a:off x="2174682" y="1646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3" name="Google Shape;5650;p64">
              <a:extLst>
                <a:ext uri="{FF2B5EF4-FFF2-40B4-BE49-F238E27FC236}">
                  <a16:creationId xmlns:a16="http://schemas.microsoft.com/office/drawing/2014/main" id="{2E2B7542-C5F4-4866-C5B1-65004C609A89}"/>
                </a:ext>
              </a:extLst>
            </p:cNvPr>
            <p:cNvSpPr/>
            <p:nvPr/>
          </p:nvSpPr>
          <p:spPr>
            <a:xfrm>
              <a:off x="2185517" y="1639390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4" name="Google Shape;5651;p64">
              <a:extLst>
                <a:ext uri="{FF2B5EF4-FFF2-40B4-BE49-F238E27FC236}">
                  <a16:creationId xmlns:a16="http://schemas.microsoft.com/office/drawing/2014/main" id="{AB8F128A-DBBB-4209-C3F5-2CE306FCC37D}"/>
                </a:ext>
              </a:extLst>
            </p:cNvPr>
            <p:cNvSpPr/>
            <p:nvPr/>
          </p:nvSpPr>
          <p:spPr>
            <a:xfrm>
              <a:off x="2184906" y="1639635"/>
              <a:ext cx="489" cy="339"/>
            </a:xfrm>
            <a:custGeom>
              <a:avLst/>
              <a:gdLst/>
              <a:ahLst/>
              <a:cxnLst/>
              <a:rect l="l" t="t" r="r" b="b"/>
              <a:pathLst>
                <a:path w="36" h="25" extrusionOk="0">
                  <a:moveTo>
                    <a:pt x="0" y="25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5" name="Google Shape;5652;p64">
              <a:extLst>
                <a:ext uri="{FF2B5EF4-FFF2-40B4-BE49-F238E27FC236}">
                  <a16:creationId xmlns:a16="http://schemas.microsoft.com/office/drawing/2014/main" id="{C81F1A3C-9C4E-8014-5EF2-812101FBF0D1}"/>
                </a:ext>
              </a:extLst>
            </p:cNvPr>
            <p:cNvSpPr/>
            <p:nvPr/>
          </p:nvSpPr>
          <p:spPr>
            <a:xfrm>
              <a:off x="2173501" y="164771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6" name="Google Shape;5653;p64">
              <a:extLst>
                <a:ext uri="{FF2B5EF4-FFF2-40B4-BE49-F238E27FC236}">
                  <a16:creationId xmlns:a16="http://schemas.microsoft.com/office/drawing/2014/main" id="{CA1ADFCD-C91A-A364-B40A-5407E5DA448B}"/>
                </a:ext>
              </a:extLst>
            </p:cNvPr>
            <p:cNvSpPr/>
            <p:nvPr/>
          </p:nvSpPr>
          <p:spPr>
            <a:xfrm>
              <a:off x="2184376" y="1640056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1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7" name="Google Shape;5654;p64">
              <a:extLst>
                <a:ext uri="{FF2B5EF4-FFF2-40B4-BE49-F238E27FC236}">
                  <a16:creationId xmlns:a16="http://schemas.microsoft.com/office/drawing/2014/main" id="{1404340F-F07A-BDD3-94B6-6B66BFA6CD9D}"/>
                </a:ext>
              </a:extLst>
            </p:cNvPr>
            <p:cNvSpPr/>
            <p:nvPr/>
          </p:nvSpPr>
          <p:spPr>
            <a:xfrm>
              <a:off x="2182380" y="1641821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1" y="35"/>
                  </a:moveTo>
                  <a:cubicBezTo>
                    <a:pt x="11" y="25"/>
                    <a:pt x="22" y="11"/>
                    <a:pt x="29" y="0"/>
                  </a:cubicBezTo>
                  <a:cubicBezTo>
                    <a:pt x="22" y="11"/>
                    <a:pt x="11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8" name="Google Shape;5655;p64">
              <a:extLst>
                <a:ext uri="{FF2B5EF4-FFF2-40B4-BE49-F238E27FC236}">
                  <a16:creationId xmlns:a16="http://schemas.microsoft.com/office/drawing/2014/main" id="{554A4790-30EE-31D9-46C0-C6C7C06537EE}"/>
                </a:ext>
              </a:extLst>
            </p:cNvPr>
            <p:cNvSpPr/>
            <p:nvPr/>
          </p:nvSpPr>
          <p:spPr>
            <a:xfrm>
              <a:off x="2183860" y="1640490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0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9" name="Google Shape;5656;p64">
              <a:extLst>
                <a:ext uri="{FF2B5EF4-FFF2-40B4-BE49-F238E27FC236}">
                  <a16:creationId xmlns:a16="http://schemas.microsoft.com/office/drawing/2014/main" id="{36422181-ADA0-AD9C-8A78-969D0085CA8C}"/>
                </a:ext>
              </a:extLst>
            </p:cNvPr>
            <p:cNvSpPr/>
            <p:nvPr/>
          </p:nvSpPr>
          <p:spPr>
            <a:xfrm>
              <a:off x="2183385" y="1640911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0" name="Google Shape;5657;p64">
              <a:extLst>
                <a:ext uri="{FF2B5EF4-FFF2-40B4-BE49-F238E27FC236}">
                  <a16:creationId xmlns:a16="http://schemas.microsoft.com/office/drawing/2014/main" id="{12C20AAD-2BBB-765A-3FD1-2F2DDD6FE037}"/>
                </a:ext>
              </a:extLst>
            </p:cNvPr>
            <p:cNvSpPr/>
            <p:nvPr/>
          </p:nvSpPr>
          <p:spPr>
            <a:xfrm>
              <a:off x="2173501" y="1647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1" name="Google Shape;5658;p64">
              <a:extLst>
                <a:ext uri="{FF2B5EF4-FFF2-40B4-BE49-F238E27FC236}">
                  <a16:creationId xmlns:a16="http://schemas.microsoft.com/office/drawing/2014/main" id="{E9CFB1F5-A5EC-0D65-3F4E-7D45F58D6DD3}"/>
                </a:ext>
              </a:extLst>
            </p:cNvPr>
            <p:cNvSpPr/>
            <p:nvPr/>
          </p:nvSpPr>
          <p:spPr>
            <a:xfrm>
              <a:off x="1977808" y="1708880"/>
              <a:ext cx="22865" cy="43584"/>
            </a:xfrm>
            <a:custGeom>
              <a:avLst/>
              <a:gdLst/>
              <a:ahLst/>
              <a:cxnLst/>
              <a:rect l="l" t="t" r="r" b="b"/>
              <a:pathLst>
                <a:path w="1684" h="3210" extrusionOk="0">
                  <a:moveTo>
                    <a:pt x="623" y="1"/>
                  </a:moveTo>
                  <a:cubicBezTo>
                    <a:pt x="592" y="11"/>
                    <a:pt x="567" y="32"/>
                    <a:pt x="550" y="60"/>
                  </a:cubicBezTo>
                  <a:cubicBezTo>
                    <a:pt x="543" y="67"/>
                    <a:pt x="536" y="74"/>
                    <a:pt x="525" y="81"/>
                  </a:cubicBezTo>
                  <a:lnTo>
                    <a:pt x="522" y="85"/>
                  </a:lnTo>
                  <a:cubicBezTo>
                    <a:pt x="511" y="92"/>
                    <a:pt x="504" y="99"/>
                    <a:pt x="494" y="106"/>
                  </a:cubicBezTo>
                  <a:lnTo>
                    <a:pt x="490" y="106"/>
                  </a:lnTo>
                  <a:cubicBezTo>
                    <a:pt x="480" y="113"/>
                    <a:pt x="469" y="116"/>
                    <a:pt x="459" y="120"/>
                  </a:cubicBezTo>
                  <a:lnTo>
                    <a:pt x="452" y="123"/>
                  </a:lnTo>
                  <a:cubicBezTo>
                    <a:pt x="441" y="127"/>
                    <a:pt x="427" y="130"/>
                    <a:pt x="417" y="134"/>
                  </a:cubicBezTo>
                  <a:lnTo>
                    <a:pt x="413" y="134"/>
                  </a:lnTo>
                  <a:cubicBezTo>
                    <a:pt x="403" y="246"/>
                    <a:pt x="392" y="368"/>
                    <a:pt x="420" y="414"/>
                  </a:cubicBezTo>
                  <a:cubicBezTo>
                    <a:pt x="553" y="624"/>
                    <a:pt x="294" y="1552"/>
                    <a:pt x="77" y="1800"/>
                  </a:cubicBezTo>
                  <a:cubicBezTo>
                    <a:pt x="25" y="1860"/>
                    <a:pt x="0" y="1909"/>
                    <a:pt x="4" y="1944"/>
                  </a:cubicBezTo>
                  <a:cubicBezTo>
                    <a:pt x="11" y="1993"/>
                    <a:pt x="84" y="2045"/>
                    <a:pt x="168" y="2105"/>
                  </a:cubicBezTo>
                  <a:cubicBezTo>
                    <a:pt x="203" y="2129"/>
                    <a:pt x="238" y="2154"/>
                    <a:pt x="277" y="2185"/>
                  </a:cubicBezTo>
                  <a:cubicBezTo>
                    <a:pt x="476" y="2339"/>
                    <a:pt x="424" y="2749"/>
                    <a:pt x="389" y="3022"/>
                  </a:cubicBezTo>
                  <a:cubicBezTo>
                    <a:pt x="382" y="3085"/>
                    <a:pt x="375" y="3138"/>
                    <a:pt x="375" y="3166"/>
                  </a:cubicBezTo>
                  <a:cubicBezTo>
                    <a:pt x="375" y="3183"/>
                    <a:pt x="378" y="3187"/>
                    <a:pt x="382" y="3190"/>
                  </a:cubicBezTo>
                  <a:cubicBezTo>
                    <a:pt x="397" y="3206"/>
                    <a:pt x="447" y="3210"/>
                    <a:pt x="505" y="3210"/>
                  </a:cubicBezTo>
                  <a:cubicBezTo>
                    <a:pt x="536" y="3210"/>
                    <a:pt x="570" y="3209"/>
                    <a:pt x="602" y="3208"/>
                  </a:cubicBezTo>
                  <a:cubicBezTo>
                    <a:pt x="644" y="3208"/>
                    <a:pt x="686" y="3204"/>
                    <a:pt x="728" y="3204"/>
                  </a:cubicBezTo>
                  <a:cubicBezTo>
                    <a:pt x="816" y="3201"/>
                    <a:pt x="900" y="3187"/>
                    <a:pt x="984" y="3162"/>
                  </a:cubicBezTo>
                  <a:lnTo>
                    <a:pt x="1061" y="3141"/>
                  </a:lnTo>
                  <a:lnTo>
                    <a:pt x="1061" y="3138"/>
                  </a:lnTo>
                  <a:cubicBezTo>
                    <a:pt x="1054" y="3127"/>
                    <a:pt x="1050" y="3117"/>
                    <a:pt x="1047" y="3106"/>
                  </a:cubicBezTo>
                  <a:lnTo>
                    <a:pt x="1043" y="3103"/>
                  </a:lnTo>
                  <a:cubicBezTo>
                    <a:pt x="1040" y="3092"/>
                    <a:pt x="1036" y="3082"/>
                    <a:pt x="1033" y="3071"/>
                  </a:cubicBezTo>
                  <a:lnTo>
                    <a:pt x="1029" y="3064"/>
                  </a:lnTo>
                  <a:cubicBezTo>
                    <a:pt x="1029" y="3057"/>
                    <a:pt x="1026" y="3050"/>
                    <a:pt x="1026" y="3043"/>
                  </a:cubicBezTo>
                  <a:lnTo>
                    <a:pt x="1026" y="3032"/>
                  </a:lnTo>
                  <a:cubicBezTo>
                    <a:pt x="1022" y="3025"/>
                    <a:pt x="1022" y="3015"/>
                    <a:pt x="1022" y="3008"/>
                  </a:cubicBezTo>
                  <a:cubicBezTo>
                    <a:pt x="1022" y="2896"/>
                    <a:pt x="1022" y="2658"/>
                    <a:pt x="1292" y="2609"/>
                  </a:cubicBezTo>
                  <a:cubicBezTo>
                    <a:pt x="1299" y="2609"/>
                    <a:pt x="1306" y="2605"/>
                    <a:pt x="1313" y="2605"/>
                  </a:cubicBezTo>
                  <a:cubicBezTo>
                    <a:pt x="1278" y="2563"/>
                    <a:pt x="1239" y="2525"/>
                    <a:pt x="1194" y="2490"/>
                  </a:cubicBezTo>
                  <a:cubicBezTo>
                    <a:pt x="1173" y="2472"/>
                    <a:pt x="1152" y="2458"/>
                    <a:pt x="1141" y="2444"/>
                  </a:cubicBezTo>
                  <a:cubicBezTo>
                    <a:pt x="1082" y="2388"/>
                    <a:pt x="1096" y="2276"/>
                    <a:pt x="1127" y="2203"/>
                  </a:cubicBezTo>
                  <a:cubicBezTo>
                    <a:pt x="1152" y="2126"/>
                    <a:pt x="1211" y="2066"/>
                    <a:pt x="1288" y="2042"/>
                  </a:cubicBezTo>
                  <a:cubicBezTo>
                    <a:pt x="1236" y="1975"/>
                    <a:pt x="1180" y="1912"/>
                    <a:pt x="1120" y="1853"/>
                  </a:cubicBezTo>
                  <a:cubicBezTo>
                    <a:pt x="1043" y="1779"/>
                    <a:pt x="1019" y="1706"/>
                    <a:pt x="1047" y="1643"/>
                  </a:cubicBezTo>
                  <a:cubicBezTo>
                    <a:pt x="1089" y="1541"/>
                    <a:pt x="1236" y="1527"/>
                    <a:pt x="1295" y="1527"/>
                  </a:cubicBezTo>
                  <a:cubicBezTo>
                    <a:pt x="1295" y="1510"/>
                    <a:pt x="1292" y="1489"/>
                    <a:pt x="1288" y="1471"/>
                  </a:cubicBezTo>
                  <a:lnTo>
                    <a:pt x="1288" y="1457"/>
                  </a:lnTo>
                  <a:cubicBezTo>
                    <a:pt x="1281" y="1373"/>
                    <a:pt x="1271" y="1261"/>
                    <a:pt x="1358" y="1170"/>
                  </a:cubicBezTo>
                  <a:cubicBezTo>
                    <a:pt x="1418" y="1111"/>
                    <a:pt x="1386" y="1006"/>
                    <a:pt x="1341" y="876"/>
                  </a:cubicBezTo>
                  <a:cubicBezTo>
                    <a:pt x="1320" y="823"/>
                    <a:pt x="1302" y="764"/>
                    <a:pt x="1299" y="708"/>
                  </a:cubicBezTo>
                  <a:cubicBezTo>
                    <a:pt x="1299" y="599"/>
                    <a:pt x="1390" y="543"/>
                    <a:pt x="1484" y="484"/>
                  </a:cubicBezTo>
                  <a:cubicBezTo>
                    <a:pt x="1551" y="445"/>
                    <a:pt x="1614" y="400"/>
                    <a:pt x="1673" y="344"/>
                  </a:cubicBezTo>
                  <a:lnTo>
                    <a:pt x="1684" y="330"/>
                  </a:lnTo>
                  <a:lnTo>
                    <a:pt x="1663" y="323"/>
                  </a:lnTo>
                  <a:cubicBezTo>
                    <a:pt x="1607" y="305"/>
                    <a:pt x="1516" y="274"/>
                    <a:pt x="1516" y="176"/>
                  </a:cubicBezTo>
                  <a:cubicBezTo>
                    <a:pt x="1516" y="169"/>
                    <a:pt x="1516" y="155"/>
                    <a:pt x="1488" y="141"/>
                  </a:cubicBezTo>
                  <a:cubicBezTo>
                    <a:pt x="1462" y="130"/>
                    <a:pt x="1435" y="125"/>
                    <a:pt x="1409" y="125"/>
                  </a:cubicBezTo>
                  <a:cubicBezTo>
                    <a:pt x="1364" y="125"/>
                    <a:pt x="1320" y="140"/>
                    <a:pt x="1285" y="169"/>
                  </a:cubicBezTo>
                  <a:cubicBezTo>
                    <a:pt x="1232" y="207"/>
                    <a:pt x="1192" y="226"/>
                    <a:pt x="1156" y="226"/>
                  </a:cubicBezTo>
                  <a:cubicBezTo>
                    <a:pt x="1130" y="226"/>
                    <a:pt x="1105" y="216"/>
                    <a:pt x="1078" y="197"/>
                  </a:cubicBezTo>
                  <a:cubicBezTo>
                    <a:pt x="1067" y="188"/>
                    <a:pt x="1053" y="182"/>
                    <a:pt x="1039" y="182"/>
                  </a:cubicBezTo>
                  <a:cubicBezTo>
                    <a:pt x="1035" y="182"/>
                    <a:pt x="1032" y="182"/>
                    <a:pt x="1029" y="183"/>
                  </a:cubicBezTo>
                  <a:lnTo>
                    <a:pt x="956" y="183"/>
                  </a:lnTo>
                  <a:cubicBezTo>
                    <a:pt x="923" y="185"/>
                    <a:pt x="888" y="187"/>
                    <a:pt x="854" y="187"/>
                  </a:cubicBezTo>
                  <a:cubicBezTo>
                    <a:pt x="783" y="187"/>
                    <a:pt x="714" y="178"/>
                    <a:pt x="669" y="137"/>
                  </a:cubicBezTo>
                  <a:cubicBezTo>
                    <a:pt x="644" y="109"/>
                    <a:pt x="627" y="74"/>
                    <a:pt x="630" y="36"/>
                  </a:cubicBezTo>
                  <a:cubicBezTo>
                    <a:pt x="630" y="25"/>
                    <a:pt x="627" y="11"/>
                    <a:pt x="6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2" name="Google Shape;5659;p64">
              <a:extLst>
                <a:ext uri="{FF2B5EF4-FFF2-40B4-BE49-F238E27FC236}">
                  <a16:creationId xmlns:a16="http://schemas.microsoft.com/office/drawing/2014/main" id="{AB38AC6D-1483-10F3-FA94-12260EB79E4C}"/>
                </a:ext>
              </a:extLst>
            </p:cNvPr>
            <p:cNvSpPr/>
            <p:nvPr/>
          </p:nvSpPr>
          <p:spPr>
            <a:xfrm>
              <a:off x="2073964" y="1600939"/>
              <a:ext cx="27440" cy="23163"/>
            </a:xfrm>
            <a:custGeom>
              <a:avLst/>
              <a:gdLst/>
              <a:ahLst/>
              <a:cxnLst/>
              <a:rect l="l" t="t" r="r" b="b"/>
              <a:pathLst>
                <a:path w="2021" h="1706" extrusionOk="0">
                  <a:moveTo>
                    <a:pt x="1736" y="0"/>
                  </a:moveTo>
                  <a:cubicBezTo>
                    <a:pt x="1645" y="0"/>
                    <a:pt x="1529" y="23"/>
                    <a:pt x="1397" y="49"/>
                  </a:cubicBezTo>
                  <a:lnTo>
                    <a:pt x="1373" y="56"/>
                  </a:lnTo>
                  <a:cubicBezTo>
                    <a:pt x="1282" y="70"/>
                    <a:pt x="1205" y="130"/>
                    <a:pt x="1173" y="217"/>
                  </a:cubicBezTo>
                  <a:cubicBezTo>
                    <a:pt x="1156" y="252"/>
                    <a:pt x="1159" y="294"/>
                    <a:pt x="1184" y="326"/>
                  </a:cubicBezTo>
                  <a:cubicBezTo>
                    <a:pt x="1215" y="357"/>
                    <a:pt x="1226" y="410"/>
                    <a:pt x="1205" y="452"/>
                  </a:cubicBezTo>
                  <a:cubicBezTo>
                    <a:pt x="1172" y="508"/>
                    <a:pt x="1088" y="532"/>
                    <a:pt x="1010" y="532"/>
                  </a:cubicBezTo>
                  <a:cubicBezTo>
                    <a:pt x="995" y="532"/>
                    <a:pt x="981" y="531"/>
                    <a:pt x="966" y="529"/>
                  </a:cubicBezTo>
                  <a:cubicBezTo>
                    <a:pt x="879" y="515"/>
                    <a:pt x="823" y="469"/>
                    <a:pt x="812" y="399"/>
                  </a:cubicBezTo>
                  <a:cubicBezTo>
                    <a:pt x="812" y="399"/>
                    <a:pt x="812" y="396"/>
                    <a:pt x="812" y="392"/>
                  </a:cubicBezTo>
                  <a:cubicBezTo>
                    <a:pt x="807" y="392"/>
                    <a:pt x="802" y="391"/>
                    <a:pt x="797" y="391"/>
                  </a:cubicBezTo>
                  <a:cubicBezTo>
                    <a:pt x="783" y="391"/>
                    <a:pt x="770" y="395"/>
                    <a:pt x="756" y="403"/>
                  </a:cubicBezTo>
                  <a:cubicBezTo>
                    <a:pt x="714" y="424"/>
                    <a:pt x="690" y="466"/>
                    <a:pt x="693" y="511"/>
                  </a:cubicBezTo>
                  <a:cubicBezTo>
                    <a:pt x="704" y="624"/>
                    <a:pt x="623" y="697"/>
                    <a:pt x="557" y="764"/>
                  </a:cubicBezTo>
                  <a:cubicBezTo>
                    <a:pt x="480" y="834"/>
                    <a:pt x="434" y="883"/>
                    <a:pt x="441" y="956"/>
                  </a:cubicBezTo>
                  <a:cubicBezTo>
                    <a:pt x="455" y="1138"/>
                    <a:pt x="308" y="1324"/>
                    <a:pt x="0" y="1509"/>
                  </a:cubicBezTo>
                  <a:lnTo>
                    <a:pt x="7" y="1509"/>
                  </a:lnTo>
                  <a:lnTo>
                    <a:pt x="18" y="1516"/>
                  </a:lnTo>
                  <a:lnTo>
                    <a:pt x="49" y="1516"/>
                  </a:lnTo>
                  <a:cubicBezTo>
                    <a:pt x="189" y="1516"/>
                    <a:pt x="441" y="1446"/>
                    <a:pt x="522" y="1362"/>
                  </a:cubicBezTo>
                  <a:cubicBezTo>
                    <a:pt x="532" y="1355"/>
                    <a:pt x="543" y="1345"/>
                    <a:pt x="557" y="1334"/>
                  </a:cubicBezTo>
                  <a:lnTo>
                    <a:pt x="564" y="1331"/>
                  </a:lnTo>
                  <a:cubicBezTo>
                    <a:pt x="578" y="1324"/>
                    <a:pt x="592" y="1317"/>
                    <a:pt x="602" y="1310"/>
                  </a:cubicBezTo>
                  <a:lnTo>
                    <a:pt x="609" y="1310"/>
                  </a:lnTo>
                  <a:cubicBezTo>
                    <a:pt x="623" y="1303"/>
                    <a:pt x="634" y="1299"/>
                    <a:pt x="648" y="1296"/>
                  </a:cubicBezTo>
                  <a:lnTo>
                    <a:pt x="658" y="1296"/>
                  </a:lnTo>
                  <a:cubicBezTo>
                    <a:pt x="672" y="1296"/>
                    <a:pt x="686" y="1292"/>
                    <a:pt x="700" y="1292"/>
                  </a:cubicBezTo>
                  <a:lnTo>
                    <a:pt x="732" y="1292"/>
                  </a:lnTo>
                  <a:cubicBezTo>
                    <a:pt x="742" y="1292"/>
                    <a:pt x="753" y="1296"/>
                    <a:pt x="763" y="1299"/>
                  </a:cubicBezTo>
                  <a:cubicBezTo>
                    <a:pt x="847" y="1313"/>
                    <a:pt x="924" y="1355"/>
                    <a:pt x="984" y="1415"/>
                  </a:cubicBezTo>
                  <a:cubicBezTo>
                    <a:pt x="1026" y="1453"/>
                    <a:pt x="1075" y="1485"/>
                    <a:pt x="1128" y="1509"/>
                  </a:cubicBezTo>
                  <a:cubicBezTo>
                    <a:pt x="1219" y="1555"/>
                    <a:pt x="1306" y="1614"/>
                    <a:pt x="1380" y="1684"/>
                  </a:cubicBezTo>
                  <a:lnTo>
                    <a:pt x="1397" y="1705"/>
                  </a:lnTo>
                  <a:cubicBezTo>
                    <a:pt x="1401" y="1670"/>
                    <a:pt x="1404" y="1635"/>
                    <a:pt x="1408" y="1597"/>
                  </a:cubicBezTo>
                  <a:lnTo>
                    <a:pt x="1418" y="1593"/>
                  </a:lnTo>
                  <a:cubicBezTo>
                    <a:pt x="1418" y="1583"/>
                    <a:pt x="1422" y="1572"/>
                    <a:pt x="1422" y="1562"/>
                  </a:cubicBezTo>
                  <a:lnTo>
                    <a:pt x="1422" y="1548"/>
                  </a:lnTo>
                  <a:cubicBezTo>
                    <a:pt x="1422" y="1541"/>
                    <a:pt x="1425" y="1530"/>
                    <a:pt x="1425" y="1523"/>
                  </a:cubicBezTo>
                  <a:lnTo>
                    <a:pt x="1429" y="1506"/>
                  </a:lnTo>
                  <a:cubicBezTo>
                    <a:pt x="1429" y="1499"/>
                    <a:pt x="1432" y="1488"/>
                    <a:pt x="1436" y="1481"/>
                  </a:cubicBezTo>
                  <a:cubicBezTo>
                    <a:pt x="1436" y="1474"/>
                    <a:pt x="1436" y="1471"/>
                    <a:pt x="1439" y="1467"/>
                  </a:cubicBezTo>
                  <a:cubicBezTo>
                    <a:pt x="1443" y="1460"/>
                    <a:pt x="1443" y="1450"/>
                    <a:pt x="1446" y="1439"/>
                  </a:cubicBezTo>
                  <a:cubicBezTo>
                    <a:pt x="1446" y="1432"/>
                    <a:pt x="1446" y="1432"/>
                    <a:pt x="1450" y="1429"/>
                  </a:cubicBezTo>
                  <a:cubicBezTo>
                    <a:pt x="1453" y="1415"/>
                    <a:pt x="1457" y="1404"/>
                    <a:pt x="1460" y="1394"/>
                  </a:cubicBezTo>
                  <a:cubicBezTo>
                    <a:pt x="1471" y="1362"/>
                    <a:pt x="1474" y="1331"/>
                    <a:pt x="1467" y="1299"/>
                  </a:cubicBezTo>
                  <a:cubicBezTo>
                    <a:pt x="1467" y="1289"/>
                    <a:pt x="1464" y="1278"/>
                    <a:pt x="1460" y="1268"/>
                  </a:cubicBezTo>
                  <a:cubicBezTo>
                    <a:pt x="1453" y="1215"/>
                    <a:pt x="1446" y="1166"/>
                    <a:pt x="1478" y="1128"/>
                  </a:cubicBezTo>
                  <a:cubicBezTo>
                    <a:pt x="1499" y="1107"/>
                    <a:pt x="1527" y="1096"/>
                    <a:pt x="1555" y="1096"/>
                  </a:cubicBezTo>
                  <a:cubicBezTo>
                    <a:pt x="1712" y="1096"/>
                    <a:pt x="1796" y="1068"/>
                    <a:pt x="1796" y="1016"/>
                  </a:cubicBezTo>
                  <a:cubicBezTo>
                    <a:pt x="1796" y="897"/>
                    <a:pt x="1838" y="862"/>
                    <a:pt x="1884" y="834"/>
                  </a:cubicBezTo>
                  <a:cubicBezTo>
                    <a:pt x="1898" y="830"/>
                    <a:pt x="1908" y="820"/>
                    <a:pt x="1915" y="806"/>
                  </a:cubicBezTo>
                  <a:cubicBezTo>
                    <a:pt x="1915" y="771"/>
                    <a:pt x="1824" y="676"/>
                    <a:pt x="1796" y="645"/>
                  </a:cubicBezTo>
                  <a:cubicBezTo>
                    <a:pt x="1775" y="627"/>
                    <a:pt x="1758" y="606"/>
                    <a:pt x="1740" y="585"/>
                  </a:cubicBezTo>
                  <a:cubicBezTo>
                    <a:pt x="1726" y="564"/>
                    <a:pt x="1723" y="539"/>
                    <a:pt x="1726" y="518"/>
                  </a:cubicBezTo>
                  <a:cubicBezTo>
                    <a:pt x="1737" y="473"/>
                    <a:pt x="1772" y="455"/>
                    <a:pt x="1814" y="431"/>
                  </a:cubicBezTo>
                  <a:cubicBezTo>
                    <a:pt x="1870" y="399"/>
                    <a:pt x="1919" y="361"/>
                    <a:pt x="1964" y="315"/>
                  </a:cubicBezTo>
                  <a:cubicBezTo>
                    <a:pt x="1971" y="308"/>
                    <a:pt x="1978" y="298"/>
                    <a:pt x="1989" y="287"/>
                  </a:cubicBezTo>
                  <a:lnTo>
                    <a:pt x="1996" y="277"/>
                  </a:lnTo>
                  <a:cubicBezTo>
                    <a:pt x="2003" y="270"/>
                    <a:pt x="2006" y="263"/>
                    <a:pt x="2013" y="256"/>
                  </a:cubicBezTo>
                  <a:lnTo>
                    <a:pt x="2017" y="249"/>
                  </a:lnTo>
                  <a:lnTo>
                    <a:pt x="2017" y="245"/>
                  </a:lnTo>
                  <a:cubicBezTo>
                    <a:pt x="2017" y="242"/>
                    <a:pt x="2017" y="238"/>
                    <a:pt x="2020" y="238"/>
                  </a:cubicBezTo>
                  <a:lnTo>
                    <a:pt x="2020" y="231"/>
                  </a:lnTo>
                  <a:cubicBezTo>
                    <a:pt x="2020" y="228"/>
                    <a:pt x="2020" y="228"/>
                    <a:pt x="2020" y="224"/>
                  </a:cubicBezTo>
                  <a:lnTo>
                    <a:pt x="2020" y="217"/>
                  </a:lnTo>
                  <a:lnTo>
                    <a:pt x="2020" y="200"/>
                  </a:lnTo>
                  <a:lnTo>
                    <a:pt x="2020" y="196"/>
                  </a:lnTo>
                  <a:lnTo>
                    <a:pt x="2020" y="172"/>
                  </a:lnTo>
                  <a:lnTo>
                    <a:pt x="2020" y="168"/>
                  </a:lnTo>
                  <a:lnTo>
                    <a:pt x="2020" y="144"/>
                  </a:lnTo>
                  <a:lnTo>
                    <a:pt x="2020" y="137"/>
                  </a:lnTo>
                  <a:cubicBezTo>
                    <a:pt x="2020" y="126"/>
                    <a:pt x="2020" y="112"/>
                    <a:pt x="2017" y="102"/>
                  </a:cubicBezTo>
                  <a:lnTo>
                    <a:pt x="2017" y="95"/>
                  </a:lnTo>
                  <a:cubicBezTo>
                    <a:pt x="2017" y="81"/>
                    <a:pt x="2013" y="67"/>
                    <a:pt x="2010" y="53"/>
                  </a:cubicBezTo>
                  <a:cubicBezTo>
                    <a:pt x="1996" y="58"/>
                    <a:pt x="1981" y="60"/>
                    <a:pt x="1965" y="60"/>
                  </a:cubicBezTo>
                  <a:cubicBezTo>
                    <a:pt x="1934" y="60"/>
                    <a:pt x="1902" y="51"/>
                    <a:pt x="1877" y="32"/>
                  </a:cubicBezTo>
                  <a:cubicBezTo>
                    <a:pt x="1841" y="9"/>
                    <a:pt x="1793" y="0"/>
                    <a:pt x="17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3" name="Google Shape;5660;p64">
              <a:extLst>
                <a:ext uri="{FF2B5EF4-FFF2-40B4-BE49-F238E27FC236}">
                  <a16:creationId xmlns:a16="http://schemas.microsoft.com/office/drawing/2014/main" id="{742CC0A7-F809-114D-97D8-F5A2EC139A61}"/>
                </a:ext>
              </a:extLst>
            </p:cNvPr>
            <p:cNvSpPr/>
            <p:nvPr/>
          </p:nvSpPr>
          <p:spPr>
            <a:xfrm>
              <a:off x="2092647" y="1634489"/>
              <a:ext cx="2865" cy="4114"/>
            </a:xfrm>
            <a:custGeom>
              <a:avLst/>
              <a:gdLst/>
              <a:ahLst/>
              <a:cxnLst/>
              <a:rect l="l" t="t" r="r" b="b"/>
              <a:pathLst>
                <a:path w="211" h="303" extrusionOk="0">
                  <a:moveTo>
                    <a:pt x="84" y="1"/>
                  </a:moveTo>
                  <a:lnTo>
                    <a:pt x="81" y="4"/>
                  </a:lnTo>
                  <a:cubicBezTo>
                    <a:pt x="70" y="15"/>
                    <a:pt x="63" y="25"/>
                    <a:pt x="56" y="36"/>
                  </a:cubicBezTo>
                  <a:lnTo>
                    <a:pt x="53" y="46"/>
                  </a:lnTo>
                  <a:cubicBezTo>
                    <a:pt x="46" y="60"/>
                    <a:pt x="39" y="74"/>
                    <a:pt x="32" y="88"/>
                  </a:cubicBezTo>
                  <a:lnTo>
                    <a:pt x="28" y="95"/>
                  </a:lnTo>
                  <a:cubicBezTo>
                    <a:pt x="25" y="109"/>
                    <a:pt x="21" y="123"/>
                    <a:pt x="14" y="137"/>
                  </a:cubicBezTo>
                  <a:lnTo>
                    <a:pt x="14" y="148"/>
                  </a:lnTo>
                  <a:cubicBezTo>
                    <a:pt x="11" y="165"/>
                    <a:pt x="7" y="183"/>
                    <a:pt x="4" y="200"/>
                  </a:cubicBezTo>
                  <a:lnTo>
                    <a:pt x="4" y="211"/>
                  </a:lnTo>
                  <a:cubicBezTo>
                    <a:pt x="0" y="229"/>
                    <a:pt x="0" y="246"/>
                    <a:pt x="0" y="264"/>
                  </a:cubicBezTo>
                  <a:lnTo>
                    <a:pt x="0" y="278"/>
                  </a:lnTo>
                  <a:lnTo>
                    <a:pt x="0" y="281"/>
                  </a:lnTo>
                  <a:cubicBezTo>
                    <a:pt x="70" y="285"/>
                    <a:pt x="140" y="292"/>
                    <a:pt x="210" y="302"/>
                  </a:cubicBezTo>
                  <a:lnTo>
                    <a:pt x="210" y="299"/>
                  </a:lnTo>
                  <a:cubicBezTo>
                    <a:pt x="207" y="281"/>
                    <a:pt x="203" y="267"/>
                    <a:pt x="200" y="250"/>
                  </a:cubicBezTo>
                  <a:lnTo>
                    <a:pt x="200" y="246"/>
                  </a:lnTo>
                  <a:cubicBezTo>
                    <a:pt x="196" y="232"/>
                    <a:pt x="193" y="218"/>
                    <a:pt x="189" y="204"/>
                  </a:cubicBezTo>
                  <a:lnTo>
                    <a:pt x="189" y="200"/>
                  </a:lnTo>
                  <a:cubicBezTo>
                    <a:pt x="186" y="186"/>
                    <a:pt x="182" y="176"/>
                    <a:pt x="175" y="162"/>
                  </a:cubicBezTo>
                  <a:lnTo>
                    <a:pt x="172" y="155"/>
                  </a:lnTo>
                  <a:cubicBezTo>
                    <a:pt x="168" y="144"/>
                    <a:pt x="165" y="134"/>
                    <a:pt x="158" y="123"/>
                  </a:cubicBezTo>
                  <a:lnTo>
                    <a:pt x="158" y="120"/>
                  </a:lnTo>
                  <a:cubicBezTo>
                    <a:pt x="151" y="109"/>
                    <a:pt x="147" y="102"/>
                    <a:pt x="144" y="95"/>
                  </a:cubicBezTo>
                  <a:lnTo>
                    <a:pt x="144" y="92"/>
                  </a:lnTo>
                  <a:cubicBezTo>
                    <a:pt x="140" y="81"/>
                    <a:pt x="133" y="74"/>
                    <a:pt x="130" y="67"/>
                  </a:cubicBezTo>
                  <a:lnTo>
                    <a:pt x="126" y="60"/>
                  </a:lnTo>
                  <a:lnTo>
                    <a:pt x="112" y="39"/>
                  </a:lnTo>
                  <a:lnTo>
                    <a:pt x="109" y="36"/>
                  </a:lnTo>
                  <a:lnTo>
                    <a:pt x="95" y="18"/>
                  </a:lnTo>
                  <a:lnTo>
                    <a:pt x="8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4" name="Google Shape;5661;p64">
              <a:extLst>
                <a:ext uri="{FF2B5EF4-FFF2-40B4-BE49-F238E27FC236}">
                  <a16:creationId xmlns:a16="http://schemas.microsoft.com/office/drawing/2014/main" id="{D7891BF6-5C9D-2EED-6B93-5C27EF7B2DBD}"/>
                </a:ext>
              </a:extLst>
            </p:cNvPr>
            <p:cNvSpPr/>
            <p:nvPr/>
          </p:nvSpPr>
          <p:spPr>
            <a:xfrm>
              <a:off x="2068873" y="1620273"/>
              <a:ext cx="26014" cy="18194"/>
            </a:xfrm>
            <a:custGeom>
              <a:avLst/>
              <a:gdLst/>
              <a:ahLst/>
              <a:cxnLst/>
              <a:rect l="l" t="t" r="r" b="b"/>
              <a:pathLst>
                <a:path w="1916" h="1340" extrusionOk="0">
                  <a:moveTo>
                    <a:pt x="1092" y="1"/>
                  </a:moveTo>
                  <a:cubicBezTo>
                    <a:pt x="1059" y="1"/>
                    <a:pt x="1025" y="13"/>
                    <a:pt x="998" y="36"/>
                  </a:cubicBezTo>
                  <a:cubicBezTo>
                    <a:pt x="890" y="148"/>
                    <a:pt x="624" y="218"/>
                    <a:pt x="463" y="229"/>
                  </a:cubicBezTo>
                  <a:lnTo>
                    <a:pt x="400" y="229"/>
                  </a:lnTo>
                  <a:lnTo>
                    <a:pt x="389" y="225"/>
                  </a:lnTo>
                  <a:lnTo>
                    <a:pt x="382" y="222"/>
                  </a:lnTo>
                  <a:lnTo>
                    <a:pt x="368" y="218"/>
                  </a:lnTo>
                  <a:lnTo>
                    <a:pt x="358" y="215"/>
                  </a:lnTo>
                  <a:lnTo>
                    <a:pt x="344" y="211"/>
                  </a:lnTo>
                  <a:lnTo>
                    <a:pt x="326" y="204"/>
                  </a:lnTo>
                  <a:lnTo>
                    <a:pt x="309" y="201"/>
                  </a:lnTo>
                  <a:lnTo>
                    <a:pt x="291" y="194"/>
                  </a:lnTo>
                  <a:lnTo>
                    <a:pt x="270" y="183"/>
                  </a:lnTo>
                  <a:lnTo>
                    <a:pt x="253" y="176"/>
                  </a:lnTo>
                  <a:lnTo>
                    <a:pt x="242" y="169"/>
                  </a:lnTo>
                  <a:cubicBezTo>
                    <a:pt x="165" y="215"/>
                    <a:pt x="85" y="253"/>
                    <a:pt x="1" y="285"/>
                  </a:cubicBezTo>
                  <a:lnTo>
                    <a:pt x="1" y="288"/>
                  </a:lnTo>
                  <a:cubicBezTo>
                    <a:pt x="4" y="299"/>
                    <a:pt x="8" y="306"/>
                    <a:pt x="8" y="316"/>
                  </a:cubicBezTo>
                  <a:cubicBezTo>
                    <a:pt x="25" y="376"/>
                    <a:pt x="57" y="432"/>
                    <a:pt x="99" y="474"/>
                  </a:cubicBezTo>
                  <a:cubicBezTo>
                    <a:pt x="113" y="460"/>
                    <a:pt x="134" y="449"/>
                    <a:pt x="155" y="446"/>
                  </a:cubicBezTo>
                  <a:cubicBezTo>
                    <a:pt x="159" y="445"/>
                    <a:pt x="163" y="445"/>
                    <a:pt x="167" y="445"/>
                  </a:cubicBezTo>
                  <a:cubicBezTo>
                    <a:pt x="228" y="445"/>
                    <a:pt x="281" y="495"/>
                    <a:pt x="340" y="554"/>
                  </a:cubicBezTo>
                  <a:cubicBezTo>
                    <a:pt x="375" y="589"/>
                    <a:pt x="410" y="617"/>
                    <a:pt x="449" y="645"/>
                  </a:cubicBezTo>
                  <a:cubicBezTo>
                    <a:pt x="477" y="659"/>
                    <a:pt x="515" y="677"/>
                    <a:pt x="557" y="698"/>
                  </a:cubicBezTo>
                  <a:cubicBezTo>
                    <a:pt x="690" y="757"/>
                    <a:pt x="806" y="810"/>
                    <a:pt x="820" y="897"/>
                  </a:cubicBezTo>
                  <a:cubicBezTo>
                    <a:pt x="834" y="992"/>
                    <a:pt x="862" y="1027"/>
                    <a:pt x="872" y="1034"/>
                  </a:cubicBezTo>
                  <a:cubicBezTo>
                    <a:pt x="876" y="1034"/>
                    <a:pt x="883" y="1034"/>
                    <a:pt x="886" y="1030"/>
                  </a:cubicBezTo>
                  <a:cubicBezTo>
                    <a:pt x="928" y="1009"/>
                    <a:pt x="967" y="981"/>
                    <a:pt x="1002" y="950"/>
                  </a:cubicBezTo>
                  <a:cubicBezTo>
                    <a:pt x="1054" y="906"/>
                    <a:pt x="1096" y="872"/>
                    <a:pt x="1139" y="872"/>
                  </a:cubicBezTo>
                  <a:cubicBezTo>
                    <a:pt x="1150" y="872"/>
                    <a:pt x="1162" y="875"/>
                    <a:pt x="1173" y="880"/>
                  </a:cubicBezTo>
                  <a:cubicBezTo>
                    <a:pt x="1205" y="897"/>
                    <a:pt x="1226" y="932"/>
                    <a:pt x="1222" y="967"/>
                  </a:cubicBezTo>
                  <a:cubicBezTo>
                    <a:pt x="1222" y="1037"/>
                    <a:pt x="1240" y="1125"/>
                    <a:pt x="1275" y="1153"/>
                  </a:cubicBezTo>
                  <a:cubicBezTo>
                    <a:pt x="1280" y="1158"/>
                    <a:pt x="1287" y="1161"/>
                    <a:pt x="1293" y="1161"/>
                  </a:cubicBezTo>
                  <a:cubicBezTo>
                    <a:pt x="1295" y="1161"/>
                    <a:pt x="1298" y="1161"/>
                    <a:pt x="1299" y="1160"/>
                  </a:cubicBezTo>
                  <a:cubicBezTo>
                    <a:pt x="1310" y="1156"/>
                    <a:pt x="1320" y="1156"/>
                    <a:pt x="1331" y="1156"/>
                  </a:cubicBezTo>
                  <a:lnTo>
                    <a:pt x="1345" y="1156"/>
                  </a:lnTo>
                  <a:cubicBezTo>
                    <a:pt x="1352" y="1156"/>
                    <a:pt x="1359" y="1156"/>
                    <a:pt x="1366" y="1160"/>
                  </a:cubicBezTo>
                  <a:lnTo>
                    <a:pt x="1376" y="1163"/>
                  </a:lnTo>
                  <a:cubicBezTo>
                    <a:pt x="1383" y="1163"/>
                    <a:pt x="1387" y="1167"/>
                    <a:pt x="1394" y="1170"/>
                  </a:cubicBezTo>
                  <a:lnTo>
                    <a:pt x="1405" y="1174"/>
                  </a:lnTo>
                  <a:cubicBezTo>
                    <a:pt x="1408" y="1177"/>
                    <a:pt x="1415" y="1181"/>
                    <a:pt x="1422" y="1184"/>
                  </a:cubicBezTo>
                  <a:lnTo>
                    <a:pt x="1429" y="1191"/>
                  </a:lnTo>
                  <a:lnTo>
                    <a:pt x="1443" y="1202"/>
                  </a:lnTo>
                  <a:lnTo>
                    <a:pt x="1450" y="1209"/>
                  </a:lnTo>
                  <a:lnTo>
                    <a:pt x="1464" y="1223"/>
                  </a:lnTo>
                  <a:lnTo>
                    <a:pt x="1471" y="1230"/>
                  </a:lnTo>
                  <a:lnTo>
                    <a:pt x="1485" y="1247"/>
                  </a:lnTo>
                  <a:lnTo>
                    <a:pt x="1489" y="1254"/>
                  </a:lnTo>
                  <a:lnTo>
                    <a:pt x="1506" y="1272"/>
                  </a:lnTo>
                  <a:cubicBezTo>
                    <a:pt x="1534" y="1313"/>
                    <a:pt x="1557" y="1340"/>
                    <a:pt x="1574" y="1340"/>
                  </a:cubicBezTo>
                  <a:cubicBezTo>
                    <a:pt x="1576" y="1340"/>
                    <a:pt x="1578" y="1339"/>
                    <a:pt x="1580" y="1339"/>
                  </a:cubicBezTo>
                  <a:cubicBezTo>
                    <a:pt x="1590" y="1339"/>
                    <a:pt x="1601" y="1335"/>
                    <a:pt x="1611" y="1335"/>
                  </a:cubicBezTo>
                  <a:lnTo>
                    <a:pt x="1611" y="1293"/>
                  </a:lnTo>
                  <a:cubicBezTo>
                    <a:pt x="1611" y="1290"/>
                    <a:pt x="1611" y="1290"/>
                    <a:pt x="1611" y="1286"/>
                  </a:cubicBezTo>
                  <a:cubicBezTo>
                    <a:pt x="1611" y="1268"/>
                    <a:pt x="1615" y="1254"/>
                    <a:pt x="1618" y="1240"/>
                  </a:cubicBezTo>
                  <a:cubicBezTo>
                    <a:pt x="1618" y="1233"/>
                    <a:pt x="1618" y="1230"/>
                    <a:pt x="1618" y="1223"/>
                  </a:cubicBezTo>
                  <a:cubicBezTo>
                    <a:pt x="1622" y="1219"/>
                    <a:pt x="1622" y="1205"/>
                    <a:pt x="1625" y="1195"/>
                  </a:cubicBezTo>
                  <a:cubicBezTo>
                    <a:pt x="1625" y="1184"/>
                    <a:pt x="1625" y="1184"/>
                    <a:pt x="1629" y="1177"/>
                  </a:cubicBezTo>
                  <a:cubicBezTo>
                    <a:pt x="1629" y="1174"/>
                    <a:pt x="1632" y="1163"/>
                    <a:pt x="1632" y="1153"/>
                  </a:cubicBezTo>
                  <a:lnTo>
                    <a:pt x="1636" y="1139"/>
                  </a:lnTo>
                  <a:cubicBezTo>
                    <a:pt x="1636" y="1132"/>
                    <a:pt x="1643" y="1121"/>
                    <a:pt x="1643" y="1114"/>
                  </a:cubicBezTo>
                  <a:lnTo>
                    <a:pt x="1650" y="1100"/>
                  </a:lnTo>
                  <a:cubicBezTo>
                    <a:pt x="1653" y="1093"/>
                    <a:pt x="1653" y="1086"/>
                    <a:pt x="1657" y="1079"/>
                  </a:cubicBezTo>
                  <a:lnTo>
                    <a:pt x="1664" y="1069"/>
                  </a:lnTo>
                  <a:cubicBezTo>
                    <a:pt x="1667" y="1062"/>
                    <a:pt x="1671" y="1055"/>
                    <a:pt x="1671" y="1048"/>
                  </a:cubicBezTo>
                  <a:lnTo>
                    <a:pt x="1678" y="1037"/>
                  </a:lnTo>
                  <a:cubicBezTo>
                    <a:pt x="1681" y="1030"/>
                    <a:pt x="1685" y="1023"/>
                    <a:pt x="1688" y="1016"/>
                  </a:cubicBezTo>
                  <a:lnTo>
                    <a:pt x="1692" y="1009"/>
                  </a:lnTo>
                  <a:cubicBezTo>
                    <a:pt x="1699" y="999"/>
                    <a:pt x="1706" y="992"/>
                    <a:pt x="1713" y="985"/>
                  </a:cubicBezTo>
                  <a:lnTo>
                    <a:pt x="1713" y="981"/>
                  </a:lnTo>
                  <a:cubicBezTo>
                    <a:pt x="1720" y="974"/>
                    <a:pt x="1723" y="967"/>
                    <a:pt x="1730" y="960"/>
                  </a:cubicBezTo>
                  <a:lnTo>
                    <a:pt x="1737" y="953"/>
                  </a:lnTo>
                  <a:lnTo>
                    <a:pt x="1748" y="939"/>
                  </a:lnTo>
                  <a:lnTo>
                    <a:pt x="1755" y="932"/>
                  </a:lnTo>
                  <a:lnTo>
                    <a:pt x="1769" y="922"/>
                  </a:lnTo>
                  <a:lnTo>
                    <a:pt x="1776" y="915"/>
                  </a:lnTo>
                  <a:lnTo>
                    <a:pt x="1790" y="904"/>
                  </a:lnTo>
                  <a:lnTo>
                    <a:pt x="1797" y="901"/>
                  </a:lnTo>
                  <a:lnTo>
                    <a:pt x="1811" y="890"/>
                  </a:lnTo>
                  <a:lnTo>
                    <a:pt x="1818" y="887"/>
                  </a:lnTo>
                  <a:lnTo>
                    <a:pt x="1821" y="883"/>
                  </a:lnTo>
                  <a:cubicBezTo>
                    <a:pt x="1825" y="880"/>
                    <a:pt x="1828" y="876"/>
                    <a:pt x="1832" y="873"/>
                  </a:cubicBezTo>
                  <a:lnTo>
                    <a:pt x="1839" y="859"/>
                  </a:lnTo>
                  <a:lnTo>
                    <a:pt x="1849" y="848"/>
                  </a:lnTo>
                  <a:lnTo>
                    <a:pt x="1860" y="834"/>
                  </a:lnTo>
                  <a:lnTo>
                    <a:pt x="1867" y="827"/>
                  </a:lnTo>
                  <a:cubicBezTo>
                    <a:pt x="1888" y="810"/>
                    <a:pt x="1905" y="785"/>
                    <a:pt x="1916" y="761"/>
                  </a:cubicBezTo>
                  <a:cubicBezTo>
                    <a:pt x="1902" y="722"/>
                    <a:pt x="1881" y="684"/>
                    <a:pt x="1856" y="652"/>
                  </a:cubicBezTo>
                  <a:lnTo>
                    <a:pt x="1839" y="624"/>
                  </a:lnTo>
                  <a:lnTo>
                    <a:pt x="1835" y="617"/>
                  </a:lnTo>
                  <a:lnTo>
                    <a:pt x="1821" y="596"/>
                  </a:lnTo>
                  <a:lnTo>
                    <a:pt x="1818" y="586"/>
                  </a:lnTo>
                  <a:lnTo>
                    <a:pt x="1807" y="568"/>
                  </a:lnTo>
                  <a:lnTo>
                    <a:pt x="1800" y="558"/>
                  </a:lnTo>
                  <a:lnTo>
                    <a:pt x="1793" y="540"/>
                  </a:lnTo>
                  <a:lnTo>
                    <a:pt x="1786" y="530"/>
                  </a:lnTo>
                  <a:lnTo>
                    <a:pt x="1779" y="516"/>
                  </a:lnTo>
                  <a:lnTo>
                    <a:pt x="1776" y="502"/>
                  </a:lnTo>
                  <a:cubicBezTo>
                    <a:pt x="1776" y="498"/>
                    <a:pt x="1772" y="491"/>
                    <a:pt x="1772" y="488"/>
                  </a:cubicBezTo>
                  <a:cubicBezTo>
                    <a:pt x="1772" y="481"/>
                    <a:pt x="1772" y="477"/>
                    <a:pt x="1769" y="474"/>
                  </a:cubicBezTo>
                  <a:cubicBezTo>
                    <a:pt x="1769" y="470"/>
                    <a:pt x="1769" y="463"/>
                    <a:pt x="1769" y="460"/>
                  </a:cubicBezTo>
                  <a:lnTo>
                    <a:pt x="1769" y="449"/>
                  </a:lnTo>
                  <a:lnTo>
                    <a:pt x="1769" y="446"/>
                  </a:lnTo>
                  <a:lnTo>
                    <a:pt x="1769" y="442"/>
                  </a:lnTo>
                  <a:cubicBezTo>
                    <a:pt x="1751" y="428"/>
                    <a:pt x="1737" y="418"/>
                    <a:pt x="1723" y="404"/>
                  </a:cubicBezTo>
                  <a:lnTo>
                    <a:pt x="1713" y="397"/>
                  </a:lnTo>
                  <a:cubicBezTo>
                    <a:pt x="1699" y="383"/>
                    <a:pt x="1685" y="372"/>
                    <a:pt x="1674" y="358"/>
                  </a:cubicBezTo>
                  <a:cubicBezTo>
                    <a:pt x="1608" y="295"/>
                    <a:pt x="1534" y="243"/>
                    <a:pt x="1450" y="204"/>
                  </a:cubicBezTo>
                  <a:cubicBezTo>
                    <a:pt x="1387" y="173"/>
                    <a:pt x="1327" y="134"/>
                    <a:pt x="1275" y="85"/>
                  </a:cubicBezTo>
                  <a:cubicBezTo>
                    <a:pt x="1236" y="47"/>
                    <a:pt x="1184" y="19"/>
                    <a:pt x="1124" y="5"/>
                  </a:cubicBezTo>
                  <a:cubicBezTo>
                    <a:pt x="1114" y="2"/>
                    <a:pt x="1103" y="1"/>
                    <a:pt x="109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5" name="Google Shape;5662;p64">
              <a:extLst>
                <a:ext uri="{FF2B5EF4-FFF2-40B4-BE49-F238E27FC236}">
                  <a16:creationId xmlns:a16="http://schemas.microsoft.com/office/drawing/2014/main" id="{D7604DFF-5E72-5ECC-2EE7-6A6A22E63C34}"/>
                </a:ext>
              </a:extLst>
            </p:cNvPr>
            <p:cNvSpPr/>
            <p:nvPr/>
          </p:nvSpPr>
          <p:spPr>
            <a:xfrm>
              <a:off x="2073244" y="162304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6" name="Google Shape;5663;p64">
              <a:extLst>
                <a:ext uri="{FF2B5EF4-FFF2-40B4-BE49-F238E27FC236}">
                  <a16:creationId xmlns:a16="http://schemas.microsoft.com/office/drawing/2014/main" id="{0DA4601D-30D7-3C51-80DF-9C8B1B45BCA8}"/>
                </a:ext>
              </a:extLst>
            </p:cNvPr>
            <p:cNvSpPr/>
            <p:nvPr/>
          </p:nvSpPr>
          <p:spPr>
            <a:xfrm>
              <a:off x="2091547" y="1625134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1" y="0"/>
                  </a:moveTo>
                  <a:cubicBezTo>
                    <a:pt x="11" y="14"/>
                    <a:pt x="25" y="25"/>
                    <a:pt x="39" y="39"/>
                  </a:cubicBezTo>
                  <a:cubicBezTo>
                    <a:pt x="25" y="25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7" name="Google Shape;5664;p64">
              <a:extLst>
                <a:ext uri="{FF2B5EF4-FFF2-40B4-BE49-F238E27FC236}">
                  <a16:creationId xmlns:a16="http://schemas.microsoft.com/office/drawing/2014/main" id="{03317185-72C2-508F-EFCF-9703C511FBC0}"/>
                </a:ext>
              </a:extLst>
            </p:cNvPr>
            <p:cNvSpPr/>
            <p:nvPr/>
          </p:nvSpPr>
          <p:spPr>
            <a:xfrm>
              <a:off x="2074480" y="16233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8" name="Google Shape;5665;p64">
              <a:extLst>
                <a:ext uri="{FF2B5EF4-FFF2-40B4-BE49-F238E27FC236}">
                  <a16:creationId xmlns:a16="http://schemas.microsoft.com/office/drawing/2014/main" id="{79A7B6CD-265B-4EE9-BE0A-ED290A55C71E}"/>
                </a:ext>
              </a:extLst>
            </p:cNvPr>
            <p:cNvSpPr/>
            <p:nvPr/>
          </p:nvSpPr>
          <p:spPr>
            <a:xfrm>
              <a:off x="2072769" y="162285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9" name="Google Shape;5666;p64">
              <a:extLst>
                <a:ext uri="{FF2B5EF4-FFF2-40B4-BE49-F238E27FC236}">
                  <a16:creationId xmlns:a16="http://schemas.microsoft.com/office/drawing/2014/main" id="{1A1F7F73-4A43-FB37-EF80-0D56D4573A43}"/>
                </a:ext>
              </a:extLst>
            </p:cNvPr>
            <p:cNvSpPr/>
            <p:nvPr/>
          </p:nvSpPr>
          <p:spPr>
            <a:xfrm>
              <a:off x="2072253" y="162260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0" name="Google Shape;5667;p64">
              <a:extLst>
                <a:ext uri="{FF2B5EF4-FFF2-40B4-BE49-F238E27FC236}">
                  <a16:creationId xmlns:a16="http://schemas.microsoft.com/office/drawing/2014/main" id="{5559AEDF-7C41-253A-30D6-D5F352A10CEA}"/>
                </a:ext>
              </a:extLst>
            </p:cNvPr>
            <p:cNvSpPr/>
            <p:nvPr/>
          </p:nvSpPr>
          <p:spPr>
            <a:xfrm>
              <a:off x="2074005" y="162327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1" name="Google Shape;5668;p64">
              <a:extLst>
                <a:ext uri="{FF2B5EF4-FFF2-40B4-BE49-F238E27FC236}">
                  <a16:creationId xmlns:a16="http://schemas.microsoft.com/office/drawing/2014/main" id="{646AC2DF-74FE-E077-C0DB-2EEC11E2E621}"/>
                </a:ext>
              </a:extLst>
            </p:cNvPr>
            <p:cNvSpPr/>
            <p:nvPr/>
          </p:nvSpPr>
          <p:spPr>
            <a:xfrm>
              <a:off x="2073679" y="162317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2" name="Google Shape;5669;p64">
              <a:extLst>
                <a:ext uri="{FF2B5EF4-FFF2-40B4-BE49-F238E27FC236}">
                  <a16:creationId xmlns:a16="http://schemas.microsoft.com/office/drawing/2014/main" id="{13F5992C-66DB-87A3-C3C5-8A1A10EEA86B}"/>
                </a:ext>
              </a:extLst>
            </p:cNvPr>
            <p:cNvSpPr/>
            <p:nvPr/>
          </p:nvSpPr>
          <p:spPr>
            <a:xfrm>
              <a:off x="2074249" y="162332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3" name="Google Shape;5670;p64">
              <a:extLst>
                <a:ext uri="{FF2B5EF4-FFF2-40B4-BE49-F238E27FC236}">
                  <a16:creationId xmlns:a16="http://schemas.microsoft.com/office/drawing/2014/main" id="{46730788-032A-907E-82D9-D790F181F374}"/>
                </a:ext>
              </a:extLst>
            </p:cNvPr>
            <p:cNvSpPr/>
            <p:nvPr/>
          </p:nvSpPr>
          <p:spPr>
            <a:xfrm>
              <a:off x="2092212" y="1625745"/>
              <a:ext cx="638" cy="543"/>
            </a:xfrm>
            <a:custGeom>
              <a:avLst/>
              <a:gdLst/>
              <a:ahLst/>
              <a:cxnLst/>
              <a:rect l="l" t="t" r="r" b="b"/>
              <a:pathLst>
                <a:path w="47" h="40" extrusionOk="0">
                  <a:moveTo>
                    <a:pt x="1" y="1"/>
                  </a:moveTo>
                  <a:cubicBezTo>
                    <a:pt x="15" y="15"/>
                    <a:pt x="29" y="25"/>
                    <a:pt x="46" y="39"/>
                  </a:cubicBezTo>
                  <a:cubicBezTo>
                    <a:pt x="29" y="25"/>
                    <a:pt x="1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4" name="Google Shape;5671;p64">
              <a:extLst>
                <a:ext uri="{FF2B5EF4-FFF2-40B4-BE49-F238E27FC236}">
                  <a16:creationId xmlns:a16="http://schemas.microsoft.com/office/drawing/2014/main" id="{12904A24-0E5A-4395-D88A-247766DA55E2}"/>
                </a:ext>
              </a:extLst>
            </p:cNvPr>
            <p:cNvSpPr/>
            <p:nvPr/>
          </p:nvSpPr>
          <p:spPr>
            <a:xfrm>
              <a:off x="2091031" y="16357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5" name="Google Shape;5672;p64">
              <a:extLst>
                <a:ext uri="{FF2B5EF4-FFF2-40B4-BE49-F238E27FC236}">
                  <a16:creationId xmlns:a16="http://schemas.microsoft.com/office/drawing/2014/main" id="{5571B48A-385F-BB17-1CD1-3198AB3CBB26}"/>
                </a:ext>
              </a:extLst>
            </p:cNvPr>
            <p:cNvSpPr/>
            <p:nvPr/>
          </p:nvSpPr>
          <p:spPr>
            <a:xfrm>
              <a:off x="2091167" y="163520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6" name="Google Shape;5673;p64">
              <a:extLst>
                <a:ext uri="{FF2B5EF4-FFF2-40B4-BE49-F238E27FC236}">
                  <a16:creationId xmlns:a16="http://schemas.microsoft.com/office/drawing/2014/main" id="{C268CA2F-D8A0-B14D-DDCA-676F7426912B}"/>
                </a:ext>
              </a:extLst>
            </p:cNvPr>
            <p:cNvSpPr/>
            <p:nvPr/>
          </p:nvSpPr>
          <p:spPr>
            <a:xfrm>
              <a:off x="2091547" y="163435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7" name="Google Shape;5674;p64">
              <a:extLst>
                <a:ext uri="{FF2B5EF4-FFF2-40B4-BE49-F238E27FC236}">
                  <a16:creationId xmlns:a16="http://schemas.microsoft.com/office/drawing/2014/main" id="{052F592C-9171-34EB-D14D-06676FDC9485}"/>
                </a:ext>
              </a:extLst>
            </p:cNvPr>
            <p:cNvSpPr/>
            <p:nvPr/>
          </p:nvSpPr>
          <p:spPr>
            <a:xfrm>
              <a:off x="2092362" y="16332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8" name="Google Shape;5675;p64">
              <a:extLst>
                <a:ext uri="{FF2B5EF4-FFF2-40B4-BE49-F238E27FC236}">
                  <a16:creationId xmlns:a16="http://schemas.microsoft.com/office/drawing/2014/main" id="{7C6AEBBD-2FAF-1078-87C0-F81D6374B9DC}"/>
                </a:ext>
              </a:extLst>
            </p:cNvPr>
            <p:cNvSpPr/>
            <p:nvPr/>
          </p:nvSpPr>
          <p:spPr>
            <a:xfrm>
              <a:off x="2092117" y="16335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9" name="Google Shape;5676;p64">
              <a:extLst>
                <a:ext uri="{FF2B5EF4-FFF2-40B4-BE49-F238E27FC236}">
                  <a16:creationId xmlns:a16="http://schemas.microsoft.com/office/drawing/2014/main" id="{EED2328B-0F39-7AFC-B1EC-2BE50DC3D630}"/>
                </a:ext>
              </a:extLst>
            </p:cNvPr>
            <p:cNvSpPr/>
            <p:nvPr/>
          </p:nvSpPr>
          <p:spPr>
            <a:xfrm>
              <a:off x="2092647" y="163292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0" name="Google Shape;5677;p64">
              <a:extLst>
                <a:ext uri="{FF2B5EF4-FFF2-40B4-BE49-F238E27FC236}">
                  <a16:creationId xmlns:a16="http://schemas.microsoft.com/office/drawing/2014/main" id="{1848F29D-1D86-E91A-BA4A-BD4C7EB33596}"/>
                </a:ext>
              </a:extLst>
            </p:cNvPr>
            <p:cNvSpPr/>
            <p:nvPr/>
          </p:nvSpPr>
          <p:spPr>
            <a:xfrm>
              <a:off x="2091832" y="163397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1" name="Google Shape;5678;p64">
              <a:extLst>
                <a:ext uri="{FF2B5EF4-FFF2-40B4-BE49-F238E27FC236}">
                  <a16:creationId xmlns:a16="http://schemas.microsoft.com/office/drawing/2014/main" id="{EF55D024-6404-C5BA-D1FB-F90273F159C7}"/>
                </a:ext>
              </a:extLst>
            </p:cNvPr>
            <p:cNvSpPr/>
            <p:nvPr/>
          </p:nvSpPr>
          <p:spPr>
            <a:xfrm>
              <a:off x="2090746" y="1637734"/>
              <a:ext cx="14" cy="95"/>
            </a:xfrm>
            <a:custGeom>
              <a:avLst/>
              <a:gdLst/>
              <a:ahLst/>
              <a:cxnLst/>
              <a:rect l="l" t="t" r="r" b="b"/>
              <a:pathLst>
                <a:path w="1" h="7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2" name="Google Shape;5679;p64">
              <a:extLst>
                <a:ext uri="{FF2B5EF4-FFF2-40B4-BE49-F238E27FC236}">
                  <a16:creationId xmlns:a16="http://schemas.microsoft.com/office/drawing/2014/main" id="{6DD7A40A-887C-4F26-95AF-FA274178287A}"/>
                </a:ext>
              </a:extLst>
            </p:cNvPr>
            <p:cNvSpPr/>
            <p:nvPr/>
          </p:nvSpPr>
          <p:spPr>
            <a:xfrm>
              <a:off x="2093448" y="163226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3" name="Google Shape;5680;p64">
              <a:extLst>
                <a:ext uri="{FF2B5EF4-FFF2-40B4-BE49-F238E27FC236}">
                  <a16:creationId xmlns:a16="http://schemas.microsoft.com/office/drawing/2014/main" id="{93460E74-6F03-64A4-B56F-D8F04151B586}"/>
                </a:ext>
              </a:extLst>
            </p:cNvPr>
            <p:cNvSpPr/>
            <p:nvPr/>
          </p:nvSpPr>
          <p:spPr>
            <a:xfrm>
              <a:off x="2090936" y="1636254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7"/>
                    <a:pt x="0" y="11"/>
                    <a:pt x="0" y="18"/>
                  </a:cubicBezTo>
                  <a:cubicBezTo>
                    <a:pt x="0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4" name="Google Shape;5681;p64">
              <a:extLst>
                <a:ext uri="{FF2B5EF4-FFF2-40B4-BE49-F238E27FC236}">
                  <a16:creationId xmlns:a16="http://schemas.microsoft.com/office/drawing/2014/main" id="{3506CC8A-903C-7ED4-5853-67147ADE41BF}"/>
                </a:ext>
              </a:extLst>
            </p:cNvPr>
            <p:cNvSpPr/>
            <p:nvPr/>
          </p:nvSpPr>
          <p:spPr>
            <a:xfrm>
              <a:off x="2090841" y="163691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cubicBezTo>
                    <a:pt x="0" y="4"/>
                    <a:pt x="0" y="7"/>
                    <a:pt x="0" y="14"/>
                  </a:cubicBezTo>
                  <a:cubicBezTo>
                    <a:pt x="0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5" name="Google Shape;5682;p64">
              <a:extLst>
                <a:ext uri="{FF2B5EF4-FFF2-40B4-BE49-F238E27FC236}">
                  <a16:creationId xmlns:a16="http://schemas.microsoft.com/office/drawing/2014/main" id="{B3F97FFB-0E05-883B-105F-FD5779039B37}"/>
                </a:ext>
              </a:extLst>
            </p:cNvPr>
            <p:cNvSpPr/>
            <p:nvPr/>
          </p:nvSpPr>
          <p:spPr>
            <a:xfrm>
              <a:off x="2091357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6" name="Google Shape;5683;p64">
              <a:extLst>
                <a:ext uri="{FF2B5EF4-FFF2-40B4-BE49-F238E27FC236}">
                  <a16:creationId xmlns:a16="http://schemas.microsoft.com/office/drawing/2014/main" id="{BA071140-2322-B107-2B6D-8A14891356C3}"/>
                </a:ext>
              </a:extLst>
            </p:cNvPr>
            <p:cNvSpPr/>
            <p:nvPr/>
          </p:nvSpPr>
          <p:spPr>
            <a:xfrm>
              <a:off x="2093163" y="163245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7" name="Google Shape;5684;p64">
              <a:extLst>
                <a:ext uri="{FF2B5EF4-FFF2-40B4-BE49-F238E27FC236}">
                  <a16:creationId xmlns:a16="http://schemas.microsoft.com/office/drawing/2014/main" id="{5ABF6B0E-21B1-7567-474A-084C1F4D6415}"/>
                </a:ext>
              </a:extLst>
            </p:cNvPr>
            <p:cNvSpPr/>
            <p:nvPr/>
          </p:nvSpPr>
          <p:spPr>
            <a:xfrm>
              <a:off x="2092878" y="1632683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8" name="Google Shape;5685;p64">
              <a:extLst>
                <a:ext uri="{FF2B5EF4-FFF2-40B4-BE49-F238E27FC236}">
                  <a16:creationId xmlns:a16="http://schemas.microsoft.com/office/drawing/2014/main" id="{3DD133A9-374B-7047-308D-1CB79539954F}"/>
                </a:ext>
              </a:extLst>
            </p:cNvPr>
            <p:cNvSpPr/>
            <p:nvPr/>
          </p:nvSpPr>
          <p:spPr>
            <a:xfrm>
              <a:off x="2199162" y="1650755"/>
              <a:ext cx="65131" cy="41439"/>
            </a:xfrm>
            <a:custGeom>
              <a:avLst/>
              <a:gdLst/>
              <a:ahLst/>
              <a:cxnLst/>
              <a:rect l="l" t="t" r="r" b="b"/>
              <a:pathLst>
                <a:path w="4797" h="3052" extrusionOk="0">
                  <a:moveTo>
                    <a:pt x="3319" y="0"/>
                  </a:moveTo>
                  <a:cubicBezTo>
                    <a:pt x="3260" y="18"/>
                    <a:pt x="3200" y="42"/>
                    <a:pt x="3148" y="77"/>
                  </a:cubicBezTo>
                  <a:cubicBezTo>
                    <a:pt x="3144" y="77"/>
                    <a:pt x="3144" y="81"/>
                    <a:pt x="3141" y="81"/>
                  </a:cubicBezTo>
                  <a:cubicBezTo>
                    <a:pt x="3134" y="95"/>
                    <a:pt x="3123" y="109"/>
                    <a:pt x="3109" y="119"/>
                  </a:cubicBezTo>
                  <a:cubicBezTo>
                    <a:pt x="3050" y="179"/>
                    <a:pt x="2980" y="224"/>
                    <a:pt x="2899" y="249"/>
                  </a:cubicBezTo>
                  <a:cubicBezTo>
                    <a:pt x="2882" y="256"/>
                    <a:pt x="2864" y="259"/>
                    <a:pt x="2847" y="263"/>
                  </a:cubicBezTo>
                  <a:cubicBezTo>
                    <a:pt x="2826" y="270"/>
                    <a:pt x="2801" y="273"/>
                    <a:pt x="2777" y="273"/>
                  </a:cubicBezTo>
                  <a:cubicBezTo>
                    <a:pt x="2749" y="273"/>
                    <a:pt x="2721" y="270"/>
                    <a:pt x="2689" y="266"/>
                  </a:cubicBezTo>
                  <a:cubicBezTo>
                    <a:pt x="2663" y="262"/>
                    <a:pt x="2641" y="259"/>
                    <a:pt x="2622" y="259"/>
                  </a:cubicBezTo>
                  <a:cubicBezTo>
                    <a:pt x="2593" y="259"/>
                    <a:pt x="2572" y="266"/>
                    <a:pt x="2553" y="287"/>
                  </a:cubicBezTo>
                  <a:cubicBezTo>
                    <a:pt x="2489" y="350"/>
                    <a:pt x="2403" y="393"/>
                    <a:pt x="2327" y="393"/>
                  </a:cubicBezTo>
                  <a:cubicBezTo>
                    <a:pt x="2285" y="393"/>
                    <a:pt x="2246" y="380"/>
                    <a:pt x="2217" y="350"/>
                  </a:cubicBezTo>
                  <a:cubicBezTo>
                    <a:pt x="2185" y="322"/>
                    <a:pt x="2048" y="273"/>
                    <a:pt x="1940" y="273"/>
                  </a:cubicBezTo>
                  <a:cubicBezTo>
                    <a:pt x="1828" y="263"/>
                    <a:pt x="1719" y="245"/>
                    <a:pt x="1611" y="217"/>
                  </a:cubicBezTo>
                  <a:cubicBezTo>
                    <a:pt x="1537" y="200"/>
                    <a:pt x="1464" y="186"/>
                    <a:pt x="1390" y="175"/>
                  </a:cubicBezTo>
                  <a:lnTo>
                    <a:pt x="1327" y="175"/>
                  </a:lnTo>
                  <a:lnTo>
                    <a:pt x="1296" y="179"/>
                  </a:lnTo>
                  <a:lnTo>
                    <a:pt x="1285" y="179"/>
                  </a:lnTo>
                  <a:lnTo>
                    <a:pt x="1254" y="182"/>
                  </a:lnTo>
                  <a:lnTo>
                    <a:pt x="1250" y="182"/>
                  </a:lnTo>
                  <a:cubicBezTo>
                    <a:pt x="1243" y="200"/>
                    <a:pt x="1236" y="217"/>
                    <a:pt x="1226" y="235"/>
                  </a:cubicBezTo>
                  <a:lnTo>
                    <a:pt x="1219" y="242"/>
                  </a:lnTo>
                  <a:lnTo>
                    <a:pt x="1212" y="252"/>
                  </a:lnTo>
                  <a:cubicBezTo>
                    <a:pt x="1208" y="259"/>
                    <a:pt x="1201" y="266"/>
                    <a:pt x="1198" y="270"/>
                  </a:cubicBezTo>
                  <a:lnTo>
                    <a:pt x="1191" y="277"/>
                  </a:lnTo>
                  <a:cubicBezTo>
                    <a:pt x="1184" y="284"/>
                    <a:pt x="1173" y="291"/>
                    <a:pt x="1166" y="294"/>
                  </a:cubicBezTo>
                  <a:lnTo>
                    <a:pt x="1142" y="315"/>
                  </a:lnTo>
                  <a:lnTo>
                    <a:pt x="1093" y="347"/>
                  </a:lnTo>
                  <a:cubicBezTo>
                    <a:pt x="1047" y="375"/>
                    <a:pt x="998" y="406"/>
                    <a:pt x="949" y="438"/>
                  </a:cubicBezTo>
                  <a:lnTo>
                    <a:pt x="914" y="455"/>
                  </a:lnTo>
                  <a:cubicBezTo>
                    <a:pt x="869" y="487"/>
                    <a:pt x="827" y="511"/>
                    <a:pt x="802" y="529"/>
                  </a:cubicBezTo>
                  <a:cubicBezTo>
                    <a:pt x="743" y="616"/>
                    <a:pt x="690" y="707"/>
                    <a:pt x="648" y="798"/>
                  </a:cubicBezTo>
                  <a:cubicBezTo>
                    <a:pt x="540" y="1005"/>
                    <a:pt x="417" y="1240"/>
                    <a:pt x="312" y="1345"/>
                  </a:cubicBezTo>
                  <a:cubicBezTo>
                    <a:pt x="235" y="1418"/>
                    <a:pt x="151" y="1481"/>
                    <a:pt x="56" y="1530"/>
                  </a:cubicBezTo>
                  <a:cubicBezTo>
                    <a:pt x="32" y="1544"/>
                    <a:pt x="11" y="1555"/>
                    <a:pt x="0" y="1565"/>
                  </a:cubicBezTo>
                  <a:lnTo>
                    <a:pt x="7" y="1576"/>
                  </a:lnTo>
                  <a:lnTo>
                    <a:pt x="11" y="1583"/>
                  </a:lnTo>
                  <a:lnTo>
                    <a:pt x="21" y="1597"/>
                  </a:lnTo>
                  <a:lnTo>
                    <a:pt x="25" y="1604"/>
                  </a:lnTo>
                  <a:lnTo>
                    <a:pt x="39" y="1618"/>
                  </a:lnTo>
                  <a:lnTo>
                    <a:pt x="42" y="1625"/>
                  </a:lnTo>
                  <a:lnTo>
                    <a:pt x="60" y="1642"/>
                  </a:lnTo>
                  <a:cubicBezTo>
                    <a:pt x="123" y="1716"/>
                    <a:pt x="186" y="1793"/>
                    <a:pt x="186" y="1866"/>
                  </a:cubicBezTo>
                  <a:cubicBezTo>
                    <a:pt x="186" y="1954"/>
                    <a:pt x="225" y="1996"/>
                    <a:pt x="302" y="1996"/>
                  </a:cubicBezTo>
                  <a:cubicBezTo>
                    <a:pt x="337" y="1996"/>
                    <a:pt x="368" y="2010"/>
                    <a:pt x="389" y="2034"/>
                  </a:cubicBezTo>
                  <a:cubicBezTo>
                    <a:pt x="438" y="2087"/>
                    <a:pt x="428" y="2174"/>
                    <a:pt x="417" y="2255"/>
                  </a:cubicBezTo>
                  <a:cubicBezTo>
                    <a:pt x="414" y="2286"/>
                    <a:pt x="410" y="2314"/>
                    <a:pt x="410" y="2342"/>
                  </a:cubicBezTo>
                  <a:cubicBezTo>
                    <a:pt x="435" y="2346"/>
                    <a:pt x="470" y="2353"/>
                    <a:pt x="505" y="2356"/>
                  </a:cubicBezTo>
                  <a:cubicBezTo>
                    <a:pt x="813" y="2402"/>
                    <a:pt x="1044" y="2444"/>
                    <a:pt x="1044" y="2584"/>
                  </a:cubicBezTo>
                  <a:cubicBezTo>
                    <a:pt x="1047" y="2619"/>
                    <a:pt x="1054" y="2650"/>
                    <a:pt x="1065" y="2682"/>
                  </a:cubicBezTo>
                  <a:cubicBezTo>
                    <a:pt x="1075" y="2713"/>
                    <a:pt x="1082" y="2745"/>
                    <a:pt x="1086" y="2776"/>
                  </a:cubicBezTo>
                  <a:lnTo>
                    <a:pt x="1093" y="2780"/>
                  </a:lnTo>
                  <a:lnTo>
                    <a:pt x="1103" y="2787"/>
                  </a:lnTo>
                  <a:lnTo>
                    <a:pt x="1124" y="2797"/>
                  </a:lnTo>
                  <a:lnTo>
                    <a:pt x="1131" y="2804"/>
                  </a:lnTo>
                  <a:cubicBezTo>
                    <a:pt x="1142" y="2808"/>
                    <a:pt x="1152" y="2815"/>
                    <a:pt x="1159" y="2822"/>
                  </a:cubicBezTo>
                  <a:lnTo>
                    <a:pt x="1163" y="2822"/>
                  </a:lnTo>
                  <a:cubicBezTo>
                    <a:pt x="1170" y="2829"/>
                    <a:pt x="1180" y="2836"/>
                    <a:pt x="1187" y="2843"/>
                  </a:cubicBezTo>
                  <a:lnTo>
                    <a:pt x="1198" y="2850"/>
                  </a:lnTo>
                  <a:lnTo>
                    <a:pt x="1215" y="2864"/>
                  </a:lnTo>
                  <a:lnTo>
                    <a:pt x="1222" y="2871"/>
                  </a:lnTo>
                  <a:lnTo>
                    <a:pt x="1240" y="2888"/>
                  </a:lnTo>
                  <a:lnTo>
                    <a:pt x="1247" y="2895"/>
                  </a:lnTo>
                  <a:lnTo>
                    <a:pt x="1268" y="2916"/>
                  </a:lnTo>
                  <a:cubicBezTo>
                    <a:pt x="1285" y="2934"/>
                    <a:pt x="1303" y="2951"/>
                    <a:pt x="1320" y="2965"/>
                  </a:cubicBezTo>
                  <a:cubicBezTo>
                    <a:pt x="1326" y="2965"/>
                    <a:pt x="1332" y="2965"/>
                    <a:pt x="1339" y="2965"/>
                  </a:cubicBezTo>
                  <a:cubicBezTo>
                    <a:pt x="1387" y="2965"/>
                    <a:pt x="1466" y="2976"/>
                    <a:pt x="1607" y="2997"/>
                  </a:cubicBezTo>
                  <a:cubicBezTo>
                    <a:pt x="1702" y="3018"/>
                    <a:pt x="1796" y="3028"/>
                    <a:pt x="1891" y="3032"/>
                  </a:cubicBezTo>
                  <a:lnTo>
                    <a:pt x="1915" y="3028"/>
                  </a:lnTo>
                  <a:lnTo>
                    <a:pt x="2038" y="3028"/>
                  </a:lnTo>
                  <a:cubicBezTo>
                    <a:pt x="2139" y="3028"/>
                    <a:pt x="2266" y="3035"/>
                    <a:pt x="2364" y="3042"/>
                  </a:cubicBezTo>
                  <a:lnTo>
                    <a:pt x="2402" y="3042"/>
                  </a:lnTo>
                  <a:lnTo>
                    <a:pt x="2437" y="3046"/>
                  </a:lnTo>
                  <a:lnTo>
                    <a:pt x="2441" y="3046"/>
                  </a:lnTo>
                  <a:lnTo>
                    <a:pt x="2465" y="3049"/>
                  </a:lnTo>
                  <a:lnTo>
                    <a:pt x="2493" y="3049"/>
                  </a:lnTo>
                  <a:cubicBezTo>
                    <a:pt x="2503" y="3051"/>
                    <a:pt x="2514" y="3052"/>
                    <a:pt x="2525" y="3052"/>
                  </a:cubicBezTo>
                  <a:cubicBezTo>
                    <a:pt x="2621" y="3052"/>
                    <a:pt x="2734" y="2997"/>
                    <a:pt x="2826" y="2909"/>
                  </a:cubicBezTo>
                  <a:cubicBezTo>
                    <a:pt x="2935" y="2797"/>
                    <a:pt x="3227" y="2771"/>
                    <a:pt x="3404" y="2771"/>
                  </a:cubicBezTo>
                  <a:cubicBezTo>
                    <a:pt x="3458" y="2771"/>
                    <a:pt x="3502" y="2773"/>
                    <a:pt x="3526" y="2776"/>
                  </a:cubicBezTo>
                  <a:lnTo>
                    <a:pt x="3529" y="2776"/>
                  </a:lnTo>
                  <a:cubicBezTo>
                    <a:pt x="3729" y="2801"/>
                    <a:pt x="3925" y="2832"/>
                    <a:pt x="3998" y="2920"/>
                  </a:cubicBezTo>
                  <a:cubicBezTo>
                    <a:pt x="4002" y="2923"/>
                    <a:pt x="4005" y="2930"/>
                    <a:pt x="4012" y="2937"/>
                  </a:cubicBezTo>
                  <a:cubicBezTo>
                    <a:pt x="4012" y="2941"/>
                    <a:pt x="4016" y="2941"/>
                    <a:pt x="4019" y="2944"/>
                  </a:cubicBezTo>
                  <a:lnTo>
                    <a:pt x="4023" y="2948"/>
                  </a:lnTo>
                  <a:lnTo>
                    <a:pt x="4033" y="2951"/>
                  </a:lnTo>
                  <a:lnTo>
                    <a:pt x="4040" y="2958"/>
                  </a:lnTo>
                  <a:lnTo>
                    <a:pt x="4054" y="2965"/>
                  </a:lnTo>
                  <a:lnTo>
                    <a:pt x="4065" y="2969"/>
                  </a:lnTo>
                  <a:lnTo>
                    <a:pt x="4086" y="2979"/>
                  </a:lnTo>
                  <a:lnTo>
                    <a:pt x="4096" y="2983"/>
                  </a:lnTo>
                  <a:lnTo>
                    <a:pt x="4124" y="2997"/>
                  </a:lnTo>
                  <a:lnTo>
                    <a:pt x="4135" y="3000"/>
                  </a:lnTo>
                  <a:lnTo>
                    <a:pt x="4180" y="3021"/>
                  </a:lnTo>
                  <a:lnTo>
                    <a:pt x="4187" y="3021"/>
                  </a:lnTo>
                  <a:lnTo>
                    <a:pt x="4229" y="3039"/>
                  </a:lnTo>
                  <a:cubicBezTo>
                    <a:pt x="4229" y="3018"/>
                    <a:pt x="4229" y="2993"/>
                    <a:pt x="4226" y="2972"/>
                  </a:cubicBezTo>
                  <a:cubicBezTo>
                    <a:pt x="4219" y="2927"/>
                    <a:pt x="4219" y="2885"/>
                    <a:pt x="4222" y="2839"/>
                  </a:cubicBezTo>
                  <a:cubicBezTo>
                    <a:pt x="4229" y="2647"/>
                    <a:pt x="4342" y="2353"/>
                    <a:pt x="4555" y="2332"/>
                  </a:cubicBezTo>
                  <a:lnTo>
                    <a:pt x="4576" y="2332"/>
                  </a:lnTo>
                  <a:cubicBezTo>
                    <a:pt x="4737" y="2318"/>
                    <a:pt x="4797" y="2314"/>
                    <a:pt x="4779" y="2108"/>
                  </a:cubicBezTo>
                  <a:lnTo>
                    <a:pt x="4769" y="2101"/>
                  </a:lnTo>
                  <a:lnTo>
                    <a:pt x="4758" y="2090"/>
                  </a:lnTo>
                  <a:lnTo>
                    <a:pt x="4741" y="2076"/>
                  </a:lnTo>
                  <a:lnTo>
                    <a:pt x="4730" y="2066"/>
                  </a:lnTo>
                  <a:lnTo>
                    <a:pt x="4716" y="2055"/>
                  </a:lnTo>
                  <a:lnTo>
                    <a:pt x="4706" y="2048"/>
                  </a:lnTo>
                  <a:lnTo>
                    <a:pt x="4695" y="2038"/>
                  </a:lnTo>
                  <a:lnTo>
                    <a:pt x="4688" y="2034"/>
                  </a:lnTo>
                  <a:lnTo>
                    <a:pt x="4678" y="2027"/>
                  </a:lnTo>
                  <a:lnTo>
                    <a:pt x="4671" y="2024"/>
                  </a:lnTo>
                  <a:lnTo>
                    <a:pt x="4664" y="2017"/>
                  </a:lnTo>
                  <a:lnTo>
                    <a:pt x="4660" y="2013"/>
                  </a:lnTo>
                  <a:lnTo>
                    <a:pt x="4653" y="2010"/>
                  </a:lnTo>
                  <a:lnTo>
                    <a:pt x="4646" y="2006"/>
                  </a:lnTo>
                  <a:cubicBezTo>
                    <a:pt x="4601" y="2024"/>
                    <a:pt x="4559" y="2045"/>
                    <a:pt x="4520" y="2066"/>
                  </a:cubicBezTo>
                  <a:cubicBezTo>
                    <a:pt x="4438" y="2112"/>
                    <a:pt x="4387" y="2136"/>
                    <a:pt x="4346" y="2136"/>
                  </a:cubicBezTo>
                  <a:cubicBezTo>
                    <a:pt x="4343" y="2136"/>
                    <a:pt x="4341" y="2136"/>
                    <a:pt x="4338" y="2136"/>
                  </a:cubicBezTo>
                  <a:lnTo>
                    <a:pt x="4335" y="2136"/>
                  </a:lnTo>
                  <a:cubicBezTo>
                    <a:pt x="4321" y="2136"/>
                    <a:pt x="4307" y="2132"/>
                    <a:pt x="4289" y="2129"/>
                  </a:cubicBezTo>
                  <a:cubicBezTo>
                    <a:pt x="4226" y="2118"/>
                    <a:pt x="4170" y="2097"/>
                    <a:pt x="4117" y="2062"/>
                  </a:cubicBezTo>
                  <a:lnTo>
                    <a:pt x="4110" y="2059"/>
                  </a:lnTo>
                  <a:cubicBezTo>
                    <a:pt x="4100" y="2052"/>
                    <a:pt x="4093" y="2045"/>
                    <a:pt x="4086" y="2034"/>
                  </a:cubicBezTo>
                  <a:cubicBezTo>
                    <a:pt x="4075" y="2027"/>
                    <a:pt x="4072" y="2017"/>
                    <a:pt x="4065" y="2006"/>
                  </a:cubicBezTo>
                  <a:cubicBezTo>
                    <a:pt x="4061" y="1999"/>
                    <a:pt x="4061" y="1989"/>
                    <a:pt x="4061" y="1982"/>
                  </a:cubicBezTo>
                  <a:lnTo>
                    <a:pt x="4061" y="1975"/>
                  </a:lnTo>
                  <a:cubicBezTo>
                    <a:pt x="4058" y="1968"/>
                    <a:pt x="4058" y="1961"/>
                    <a:pt x="4061" y="1957"/>
                  </a:cubicBezTo>
                  <a:lnTo>
                    <a:pt x="4061" y="1950"/>
                  </a:lnTo>
                  <a:cubicBezTo>
                    <a:pt x="4061" y="1947"/>
                    <a:pt x="4061" y="1940"/>
                    <a:pt x="4065" y="1933"/>
                  </a:cubicBezTo>
                  <a:cubicBezTo>
                    <a:pt x="4054" y="1919"/>
                    <a:pt x="4047" y="1901"/>
                    <a:pt x="4040" y="1887"/>
                  </a:cubicBezTo>
                  <a:cubicBezTo>
                    <a:pt x="4037" y="1884"/>
                    <a:pt x="4033" y="1880"/>
                    <a:pt x="4033" y="1873"/>
                  </a:cubicBezTo>
                  <a:cubicBezTo>
                    <a:pt x="4026" y="1863"/>
                    <a:pt x="4019" y="1852"/>
                    <a:pt x="4012" y="1838"/>
                  </a:cubicBezTo>
                  <a:cubicBezTo>
                    <a:pt x="4005" y="1824"/>
                    <a:pt x="4009" y="1824"/>
                    <a:pt x="4005" y="1817"/>
                  </a:cubicBezTo>
                  <a:cubicBezTo>
                    <a:pt x="4002" y="1814"/>
                    <a:pt x="3995" y="1796"/>
                    <a:pt x="3991" y="1786"/>
                  </a:cubicBezTo>
                  <a:cubicBezTo>
                    <a:pt x="3988" y="1772"/>
                    <a:pt x="3984" y="1772"/>
                    <a:pt x="3984" y="1761"/>
                  </a:cubicBezTo>
                  <a:cubicBezTo>
                    <a:pt x="3981" y="1754"/>
                    <a:pt x="3977" y="1740"/>
                    <a:pt x="3974" y="1730"/>
                  </a:cubicBezTo>
                  <a:cubicBezTo>
                    <a:pt x="3970" y="1716"/>
                    <a:pt x="3970" y="1712"/>
                    <a:pt x="3967" y="1705"/>
                  </a:cubicBezTo>
                  <a:cubicBezTo>
                    <a:pt x="3963" y="1698"/>
                    <a:pt x="3960" y="1684"/>
                    <a:pt x="3960" y="1670"/>
                  </a:cubicBezTo>
                  <a:cubicBezTo>
                    <a:pt x="3956" y="1660"/>
                    <a:pt x="3956" y="1656"/>
                    <a:pt x="3953" y="1649"/>
                  </a:cubicBezTo>
                  <a:cubicBezTo>
                    <a:pt x="3953" y="1642"/>
                    <a:pt x="3949" y="1625"/>
                    <a:pt x="3949" y="1614"/>
                  </a:cubicBezTo>
                  <a:cubicBezTo>
                    <a:pt x="3946" y="1600"/>
                    <a:pt x="3949" y="1600"/>
                    <a:pt x="3946" y="1597"/>
                  </a:cubicBezTo>
                  <a:cubicBezTo>
                    <a:pt x="3946" y="1579"/>
                    <a:pt x="3942" y="1562"/>
                    <a:pt x="3942" y="1544"/>
                  </a:cubicBezTo>
                  <a:cubicBezTo>
                    <a:pt x="3939" y="1467"/>
                    <a:pt x="3942" y="1327"/>
                    <a:pt x="4012" y="1257"/>
                  </a:cubicBezTo>
                  <a:cubicBezTo>
                    <a:pt x="4068" y="1201"/>
                    <a:pt x="3883" y="837"/>
                    <a:pt x="3662" y="581"/>
                  </a:cubicBezTo>
                  <a:lnTo>
                    <a:pt x="3648" y="564"/>
                  </a:lnTo>
                  <a:lnTo>
                    <a:pt x="3645" y="560"/>
                  </a:lnTo>
                  <a:lnTo>
                    <a:pt x="3638" y="546"/>
                  </a:lnTo>
                  <a:lnTo>
                    <a:pt x="3631" y="539"/>
                  </a:lnTo>
                  <a:lnTo>
                    <a:pt x="3620" y="525"/>
                  </a:lnTo>
                  <a:lnTo>
                    <a:pt x="3613" y="515"/>
                  </a:lnTo>
                  <a:lnTo>
                    <a:pt x="3606" y="501"/>
                  </a:lnTo>
                  <a:lnTo>
                    <a:pt x="3596" y="487"/>
                  </a:lnTo>
                  <a:lnTo>
                    <a:pt x="3589" y="476"/>
                  </a:lnTo>
                  <a:lnTo>
                    <a:pt x="3578" y="459"/>
                  </a:lnTo>
                  <a:lnTo>
                    <a:pt x="3568" y="445"/>
                  </a:lnTo>
                  <a:lnTo>
                    <a:pt x="3557" y="427"/>
                  </a:lnTo>
                  <a:lnTo>
                    <a:pt x="3547" y="413"/>
                  </a:lnTo>
                  <a:lnTo>
                    <a:pt x="3536" y="392"/>
                  </a:lnTo>
                  <a:lnTo>
                    <a:pt x="3526" y="375"/>
                  </a:lnTo>
                  <a:lnTo>
                    <a:pt x="3515" y="354"/>
                  </a:lnTo>
                  <a:lnTo>
                    <a:pt x="3505" y="336"/>
                  </a:lnTo>
                  <a:lnTo>
                    <a:pt x="3491" y="315"/>
                  </a:lnTo>
                  <a:lnTo>
                    <a:pt x="3480" y="294"/>
                  </a:lnTo>
                  <a:lnTo>
                    <a:pt x="3466" y="270"/>
                  </a:lnTo>
                  <a:lnTo>
                    <a:pt x="3452" y="249"/>
                  </a:lnTo>
                  <a:lnTo>
                    <a:pt x="3438" y="224"/>
                  </a:lnTo>
                  <a:lnTo>
                    <a:pt x="3428" y="200"/>
                  </a:lnTo>
                  <a:lnTo>
                    <a:pt x="3414" y="175"/>
                  </a:lnTo>
                  <a:lnTo>
                    <a:pt x="3396" y="144"/>
                  </a:lnTo>
                  <a:lnTo>
                    <a:pt x="3386" y="123"/>
                  </a:lnTo>
                  <a:lnTo>
                    <a:pt x="3365" y="84"/>
                  </a:lnTo>
                  <a:lnTo>
                    <a:pt x="3354" y="67"/>
                  </a:lnTo>
                  <a:lnTo>
                    <a:pt x="3330" y="21"/>
                  </a:lnTo>
                  <a:lnTo>
                    <a:pt x="3323" y="11"/>
                  </a:lnTo>
                  <a:lnTo>
                    <a:pt x="33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9" name="Google Shape;5686;p64">
              <a:extLst>
                <a:ext uri="{FF2B5EF4-FFF2-40B4-BE49-F238E27FC236}">
                  <a16:creationId xmlns:a16="http://schemas.microsoft.com/office/drawing/2014/main" id="{D97A5962-6F9E-A713-0FDF-4E804BCDDEE4}"/>
                </a:ext>
              </a:extLst>
            </p:cNvPr>
            <p:cNvSpPr/>
            <p:nvPr/>
          </p:nvSpPr>
          <p:spPr>
            <a:xfrm>
              <a:off x="2215795" y="1653321"/>
              <a:ext cx="353" cy="720"/>
            </a:xfrm>
            <a:custGeom>
              <a:avLst/>
              <a:gdLst/>
              <a:ahLst/>
              <a:cxnLst/>
              <a:rect l="l" t="t" r="r" b="b"/>
              <a:pathLst>
                <a:path w="26" h="53" extrusionOk="0">
                  <a:moveTo>
                    <a:pt x="1" y="53"/>
                  </a:moveTo>
                  <a:cubicBezTo>
                    <a:pt x="11" y="35"/>
                    <a:pt x="18" y="18"/>
                    <a:pt x="25" y="0"/>
                  </a:cubicBezTo>
                  <a:lnTo>
                    <a:pt x="25" y="0"/>
                  </a:lnTo>
                  <a:cubicBezTo>
                    <a:pt x="18" y="18"/>
                    <a:pt x="11" y="35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0" name="Google Shape;5687;p64">
              <a:extLst>
                <a:ext uri="{FF2B5EF4-FFF2-40B4-BE49-F238E27FC236}">
                  <a16:creationId xmlns:a16="http://schemas.microsoft.com/office/drawing/2014/main" id="{AACF053D-A765-79A5-2A3E-D34B874B4895}"/>
                </a:ext>
              </a:extLst>
            </p:cNvPr>
            <p:cNvSpPr/>
            <p:nvPr/>
          </p:nvSpPr>
          <p:spPr>
            <a:xfrm>
              <a:off x="2214654" y="1654841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1" name="Google Shape;5688;p64">
              <a:extLst>
                <a:ext uri="{FF2B5EF4-FFF2-40B4-BE49-F238E27FC236}">
                  <a16:creationId xmlns:a16="http://schemas.microsoft.com/office/drawing/2014/main" id="{09747B43-6722-50E2-423C-16B1C5352D61}"/>
                </a:ext>
              </a:extLst>
            </p:cNvPr>
            <p:cNvSpPr/>
            <p:nvPr/>
          </p:nvSpPr>
          <p:spPr>
            <a:xfrm>
              <a:off x="2199108" y="1671623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57" y="0"/>
                  </a:moveTo>
                  <a:cubicBezTo>
                    <a:pt x="36" y="14"/>
                    <a:pt x="15" y="25"/>
                    <a:pt x="1" y="35"/>
                  </a:cubicBezTo>
                  <a:cubicBezTo>
                    <a:pt x="15" y="25"/>
                    <a:pt x="39" y="14"/>
                    <a:pt x="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2" name="Google Shape;5689;p64">
              <a:extLst>
                <a:ext uri="{FF2B5EF4-FFF2-40B4-BE49-F238E27FC236}">
                  <a16:creationId xmlns:a16="http://schemas.microsoft.com/office/drawing/2014/main" id="{2D36F57E-915C-CFC3-35FD-E975CD9B14E8}"/>
                </a:ext>
              </a:extLst>
            </p:cNvPr>
            <p:cNvSpPr/>
            <p:nvPr/>
          </p:nvSpPr>
          <p:spPr>
            <a:xfrm>
              <a:off x="2215319" y="165450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3" name="Google Shape;5690;p64">
              <a:extLst>
                <a:ext uri="{FF2B5EF4-FFF2-40B4-BE49-F238E27FC236}">
                  <a16:creationId xmlns:a16="http://schemas.microsoft.com/office/drawing/2014/main" id="{D0D4D6DA-63E8-7BA2-61F6-0BC86C871376}"/>
                </a:ext>
              </a:extLst>
            </p:cNvPr>
            <p:cNvSpPr/>
            <p:nvPr/>
          </p:nvSpPr>
          <p:spPr>
            <a:xfrm>
              <a:off x="2213948" y="1655127"/>
              <a:ext cx="679" cy="434"/>
            </a:xfrm>
            <a:custGeom>
              <a:avLst/>
              <a:gdLst/>
              <a:ahLst/>
              <a:cxnLst/>
              <a:rect l="l" t="t" r="r" b="b"/>
              <a:pathLst>
                <a:path w="50" h="32" extrusionOk="0">
                  <a:moveTo>
                    <a:pt x="49" y="0"/>
                  </a:moveTo>
                  <a:lnTo>
                    <a:pt x="0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4" name="Google Shape;5691;p64">
              <a:extLst>
                <a:ext uri="{FF2B5EF4-FFF2-40B4-BE49-F238E27FC236}">
                  <a16:creationId xmlns:a16="http://schemas.microsoft.com/office/drawing/2014/main" id="{49F53293-F68F-47F6-5C73-896D45AF6B61}"/>
                </a:ext>
              </a:extLst>
            </p:cNvPr>
            <p:cNvSpPr/>
            <p:nvPr/>
          </p:nvSpPr>
          <p:spPr>
            <a:xfrm>
              <a:off x="2215659" y="165412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5" name="Google Shape;5692;p64">
              <a:extLst>
                <a:ext uri="{FF2B5EF4-FFF2-40B4-BE49-F238E27FC236}">
                  <a16:creationId xmlns:a16="http://schemas.microsoft.com/office/drawing/2014/main" id="{1F0B65CE-26EF-C051-02E8-AD0496307EAF}"/>
                </a:ext>
              </a:extLst>
            </p:cNvPr>
            <p:cNvSpPr/>
            <p:nvPr/>
          </p:nvSpPr>
          <p:spPr>
            <a:xfrm>
              <a:off x="2245977" y="1649234"/>
              <a:ext cx="20746" cy="26205"/>
            </a:xfrm>
            <a:custGeom>
              <a:avLst/>
              <a:gdLst/>
              <a:ahLst/>
              <a:cxnLst/>
              <a:rect l="l" t="t" r="r" b="b"/>
              <a:pathLst>
                <a:path w="1528" h="1930" extrusionOk="0">
                  <a:moveTo>
                    <a:pt x="316" y="0"/>
                  </a:moveTo>
                  <a:cubicBezTo>
                    <a:pt x="315" y="0"/>
                    <a:pt x="313" y="0"/>
                    <a:pt x="312" y="0"/>
                  </a:cubicBezTo>
                  <a:cubicBezTo>
                    <a:pt x="207" y="18"/>
                    <a:pt x="102" y="42"/>
                    <a:pt x="1" y="77"/>
                  </a:cubicBezTo>
                  <a:lnTo>
                    <a:pt x="11" y="98"/>
                  </a:lnTo>
                  <a:lnTo>
                    <a:pt x="25" y="126"/>
                  </a:lnTo>
                  <a:lnTo>
                    <a:pt x="43" y="158"/>
                  </a:lnTo>
                  <a:lnTo>
                    <a:pt x="57" y="179"/>
                  </a:lnTo>
                  <a:lnTo>
                    <a:pt x="81" y="228"/>
                  </a:lnTo>
                  <a:lnTo>
                    <a:pt x="95" y="252"/>
                  </a:lnTo>
                  <a:lnTo>
                    <a:pt x="109" y="273"/>
                  </a:lnTo>
                  <a:lnTo>
                    <a:pt x="120" y="298"/>
                  </a:lnTo>
                  <a:lnTo>
                    <a:pt x="134" y="319"/>
                  </a:lnTo>
                  <a:lnTo>
                    <a:pt x="144" y="340"/>
                  </a:lnTo>
                  <a:lnTo>
                    <a:pt x="158" y="361"/>
                  </a:lnTo>
                  <a:lnTo>
                    <a:pt x="169" y="382"/>
                  </a:lnTo>
                  <a:lnTo>
                    <a:pt x="179" y="399"/>
                  </a:lnTo>
                  <a:lnTo>
                    <a:pt x="190" y="417"/>
                  </a:lnTo>
                  <a:lnTo>
                    <a:pt x="200" y="434"/>
                  </a:lnTo>
                  <a:lnTo>
                    <a:pt x="211" y="452"/>
                  </a:lnTo>
                  <a:lnTo>
                    <a:pt x="218" y="469"/>
                  </a:lnTo>
                  <a:lnTo>
                    <a:pt x="228" y="483"/>
                  </a:lnTo>
                  <a:lnTo>
                    <a:pt x="239" y="497"/>
                  </a:lnTo>
                  <a:lnTo>
                    <a:pt x="246" y="511"/>
                  </a:lnTo>
                  <a:lnTo>
                    <a:pt x="256" y="525"/>
                  </a:lnTo>
                  <a:lnTo>
                    <a:pt x="263" y="539"/>
                  </a:lnTo>
                  <a:lnTo>
                    <a:pt x="270" y="550"/>
                  </a:lnTo>
                  <a:lnTo>
                    <a:pt x="277" y="560"/>
                  </a:lnTo>
                  <a:lnTo>
                    <a:pt x="284" y="574"/>
                  </a:lnTo>
                  <a:lnTo>
                    <a:pt x="291" y="581"/>
                  </a:lnTo>
                  <a:lnTo>
                    <a:pt x="298" y="592"/>
                  </a:lnTo>
                  <a:lnTo>
                    <a:pt x="302" y="599"/>
                  </a:lnTo>
                  <a:lnTo>
                    <a:pt x="312" y="609"/>
                  </a:lnTo>
                  <a:cubicBezTo>
                    <a:pt x="319" y="616"/>
                    <a:pt x="859" y="1261"/>
                    <a:pt x="655" y="1467"/>
                  </a:cubicBezTo>
                  <a:cubicBezTo>
                    <a:pt x="638" y="1485"/>
                    <a:pt x="617" y="1555"/>
                    <a:pt x="624" y="1653"/>
                  </a:cubicBezTo>
                  <a:cubicBezTo>
                    <a:pt x="624" y="1670"/>
                    <a:pt x="627" y="1684"/>
                    <a:pt x="627" y="1702"/>
                  </a:cubicBezTo>
                  <a:lnTo>
                    <a:pt x="627" y="1716"/>
                  </a:lnTo>
                  <a:cubicBezTo>
                    <a:pt x="631" y="1726"/>
                    <a:pt x="631" y="1737"/>
                    <a:pt x="634" y="1751"/>
                  </a:cubicBezTo>
                  <a:lnTo>
                    <a:pt x="634" y="1765"/>
                  </a:lnTo>
                  <a:cubicBezTo>
                    <a:pt x="638" y="1779"/>
                    <a:pt x="641" y="1793"/>
                    <a:pt x="645" y="1807"/>
                  </a:cubicBezTo>
                  <a:cubicBezTo>
                    <a:pt x="652" y="1821"/>
                    <a:pt x="655" y="1835"/>
                    <a:pt x="659" y="1852"/>
                  </a:cubicBezTo>
                  <a:lnTo>
                    <a:pt x="666" y="1863"/>
                  </a:lnTo>
                  <a:cubicBezTo>
                    <a:pt x="669" y="1870"/>
                    <a:pt x="673" y="1880"/>
                    <a:pt x="676" y="1891"/>
                  </a:cubicBezTo>
                  <a:lnTo>
                    <a:pt x="680" y="1901"/>
                  </a:lnTo>
                  <a:cubicBezTo>
                    <a:pt x="687" y="1912"/>
                    <a:pt x="690" y="1922"/>
                    <a:pt x="697" y="1929"/>
                  </a:cubicBezTo>
                  <a:cubicBezTo>
                    <a:pt x="911" y="1656"/>
                    <a:pt x="946" y="1572"/>
                    <a:pt x="950" y="1551"/>
                  </a:cubicBezTo>
                  <a:cubicBezTo>
                    <a:pt x="943" y="1471"/>
                    <a:pt x="964" y="1390"/>
                    <a:pt x="1002" y="1320"/>
                  </a:cubicBezTo>
                  <a:cubicBezTo>
                    <a:pt x="1016" y="1303"/>
                    <a:pt x="1030" y="1289"/>
                    <a:pt x="1048" y="1275"/>
                  </a:cubicBezTo>
                  <a:cubicBezTo>
                    <a:pt x="1085" y="1249"/>
                    <a:pt x="1128" y="1236"/>
                    <a:pt x="1172" y="1236"/>
                  </a:cubicBezTo>
                  <a:cubicBezTo>
                    <a:pt x="1195" y="1236"/>
                    <a:pt x="1218" y="1239"/>
                    <a:pt x="1240" y="1247"/>
                  </a:cubicBezTo>
                  <a:cubicBezTo>
                    <a:pt x="1300" y="1261"/>
                    <a:pt x="1356" y="1278"/>
                    <a:pt x="1405" y="1292"/>
                  </a:cubicBezTo>
                  <a:cubicBezTo>
                    <a:pt x="1443" y="1306"/>
                    <a:pt x="1492" y="1320"/>
                    <a:pt x="1527" y="1327"/>
                  </a:cubicBezTo>
                  <a:cubicBezTo>
                    <a:pt x="1513" y="1247"/>
                    <a:pt x="1471" y="1113"/>
                    <a:pt x="1422" y="1064"/>
                  </a:cubicBezTo>
                  <a:cubicBezTo>
                    <a:pt x="1335" y="977"/>
                    <a:pt x="1135" y="711"/>
                    <a:pt x="1065" y="487"/>
                  </a:cubicBezTo>
                  <a:cubicBezTo>
                    <a:pt x="1020" y="354"/>
                    <a:pt x="897" y="256"/>
                    <a:pt x="757" y="245"/>
                  </a:cubicBezTo>
                  <a:lnTo>
                    <a:pt x="739" y="245"/>
                  </a:lnTo>
                  <a:cubicBezTo>
                    <a:pt x="662" y="245"/>
                    <a:pt x="585" y="182"/>
                    <a:pt x="501" y="116"/>
                  </a:cubicBezTo>
                  <a:cubicBezTo>
                    <a:pt x="440" y="65"/>
                    <a:pt x="359" y="0"/>
                    <a:pt x="3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6" name="Google Shape;5693;p64">
              <a:extLst>
                <a:ext uri="{FF2B5EF4-FFF2-40B4-BE49-F238E27FC236}">
                  <a16:creationId xmlns:a16="http://schemas.microsoft.com/office/drawing/2014/main" id="{7C9DA3D1-8284-8F42-C3EF-0BBF6700E475}"/>
                </a:ext>
              </a:extLst>
            </p:cNvPr>
            <p:cNvSpPr/>
            <p:nvPr/>
          </p:nvSpPr>
          <p:spPr>
            <a:xfrm>
              <a:off x="2249548" y="165649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7" name="Google Shape;5694;p64">
              <a:extLst>
                <a:ext uri="{FF2B5EF4-FFF2-40B4-BE49-F238E27FC236}">
                  <a16:creationId xmlns:a16="http://schemas.microsoft.com/office/drawing/2014/main" id="{8C4A6D8F-1885-24E7-FCCB-405BFF7A1DCE}"/>
                </a:ext>
              </a:extLst>
            </p:cNvPr>
            <p:cNvSpPr/>
            <p:nvPr/>
          </p:nvSpPr>
          <p:spPr>
            <a:xfrm>
              <a:off x="2249304" y="1656172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8" name="Google Shape;5695;p64">
              <a:extLst>
                <a:ext uri="{FF2B5EF4-FFF2-40B4-BE49-F238E27FC236}">
                  <a16:creationId xmlns:a16="http://schemas.microsoft.com/office/drawing/2014/main" id="{F1F6E211-C1E6-A093-90CE-F05A897C9C69}"/>
                </a:ext>
              </a:extLst>
            </p:cNvPr>
            <p:cNvSpPr/>
            <p:nvPr/>
          </p:nvSpPr>
          <p:spPr>
            <a:xfrm>
              <a:off x="2254776" y="1673714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0" y="0"/>
                  </a:moveTo>
                  <a:cubicBezTo>
                    <a:pt x="4" y="18"/>
                    <a:pt x="11" y="32"/>
                    <a:pt x="14" y="42"/>
                  </a:cubicBezTo>
                  <a:cubicBezTo>
                    <a:pt x="11" y="28"/>
                    <a:pt x="7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9" name="Google Shape;5696;p64">
              <a:extLst>
                <a:ext uri="{FF2B5EF4-FFF2-40B4-BE49-F238E27FC236}">
                  <a16:creationId xmlns:a16="http://schemas.microsoft.com/office/drawing/2014/main" id="{5C1E6EDF-12BD-3E78-8502-D73F258B7114}"/>
                </a:ext>
              </a:extLst>
            </p:cNvPr>
            <p:cNvSpPr/>
            <p:nvPr/>
          </p:nvSpPr>
          <p:spPr>
            <a:xfrm>
              <a:off x="2254626" y="1673144"/>
              <a:ext cx="163" cy="625"/>
            </a:xfrm>
            <a:custGeom>
              <a:avLst/>
              <a:gdLst/>
              <a:ahLst/>
              <a:cxnLst/>
              <a:rect l="l" t="t" r="r" b="b"/>
              <a:pathLst>
                <a:path w="12" h="46" extrusionOk="0">
                  <a:moveTo>
                    <a:pt x="1" y="0"/>
                  </a:moveTo>
                  <a:lnTo>
                    <a:pt x="1" y="0"/>
                  </a:lnTo>
                  <a:cubicBezTo>
                    <a:pt x="4" y="14"/>
                    <a:pt x="8" y="32"/>
                    <a:pt x="11" y="46"/>
                  </a:cubicBezTo>
                  <a:cubicBezTo>
                    <a:pt x="8" y="28"/>
                    <a:pt x="4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0" name="Google Shape;5697;p64">
              <a:extLst>
                <a:ext uri="{FF2B5EF4-FFF2-40B4-BE49-F238E27FC236}">
                  <a16:creationId xmlns:a16="http://schemas.microsoft.com/office/drawing/2014/main" id="{56AEF205-A79E-5403-4FC8-1C78F17DD0BD}"/>
                </a:ext>
              </a:extLst>
            </p:cNvPr>
            <p:cNvSpPr/>
            <p:nvPr/>
          </p:nvSpPr>
          <p:spPr>
            <a:xfrm>
              <a:off x="2255251" y="1674950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1" y="0"/>
                  </a:moveTo>
                  <a:lnTo>
                    <a:pt x="1" y="0"/>
                  </a:lnTo>
                  <a:cubicBezTo>
                    <a:pt x="7" y="14"/>
                    <a:pt x="11" y="25"/>
                    <a:pt x="18" y="32"/>
                  </a:cubicBezTo>
                  <a:cubicBezTo>
                    <a:pt x="11" y="21"/>
                    <a:pt x="7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1" name="Google Shape;5698;p64">
              <a:extLst>
                <a:ext uri="{FF2B5EF4-FFF2-40B4-BE49-F238E27FC236}">
                  <a16:creationId xmlns:a16="http://schemas.microsoft.com/office/drawing/2014/main" id="{68AE4FCC-3BDA-6A98-14EA-C4E8F9F74D6A}"/>
                </a:ext>
              </a:extLst>
            </p:cNvPr>
            <p:cNvSpPr/>
            <p:nvPr/>
          </p:nvSpPr>
          <p:spPr>
            <a:xfrm>
              <a:off x="2254531" y="167247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1" y="0"/>
                  </a:moveTo>
                  <a:cubicBezTo>
                    <a:pt x="1" y="11"/>
                    <a:pt x="4" y="25"/>
                    <a:pt x="8" y="35"/>
                  </a:cubicBez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2" name="Google Shape;5699;p64">
              <a:extLst>
                <a:ext uri="{FF2B5EF4-FFF2-40B4-BE49-F238E27FC236}">
                  <a16:creationId xmlns:a16="http://schemas.microsoft.com/office/drawing/2014/main" id="{03E1C149-ED8B-244C-CB60-AD06500090D1}"/>
                </a:ext>
              </a:extLst>
            </p:cNvPr>
            <p:cNvSpPr/>
            <p:nvPr/>
          </p:nvSpPr>
          <p:spPr>
            <a:xfrm>
              <a:off x="2250119" y="165731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3" name="Google Shape;5700;p64">
              <a:extLst>
                <a:ext uri="{FF2B5EF4-FFF2-40B4-BE49-F238E27FC236}">
                  <a16:creationId xmlns:a16="http://schemas.microsoft.com/office/drawing/2014/main" id="{BAF048DD-1215-D318-DACB-A4B48DC1CD6D}"/>
                </a:ext>
              </a:extLst>
            </p:cNvPr>
            <p:cNvSpPr/>
            <p:nvPr/>
          </p:nvSpPr>
          <p:spPr>
            <a:xfrm>
              <a:off x="2249928" y="1657068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4" name="Google Shape;5701;p64">
              <a:extLst>
                <a:ext uri="{FF2B5EF4-FFF2-40B4-BE49-F238E27FC236}">
                  <a16:creationId xmlns:a16="http://schemas.microsoft.com/office/drawing/2014/main" id="{3A8046AC-6EC5-6250-0F29-CB4B87FDA2ED}"/>
                </a:ext>
              </a:extLst>
            </p:cNvPr>
            <p:cNvSpPr/>
            <p:nvPr/>
          </p:nvSpPr>
          <p:spPr>
            <a:xfrm>
              <a:off x="2254436" y="1671623"/>
              <a:ext cx="109" cy="679"/>
            </a:xfrm>
            <a:custGeom>
              <a:avLst/>
              <a:gdLst/>
              <a:ahLst/>
              <a:cxnLst/>
              <a:rect l="l" t="t" r="r" b="b"/>
              <a:pathLst>
                <a:path w="8" h="50" extrusionOk="0">
                  <a:moveTo>
                    <a:pt x="1" y="0"/>
                  </a:moveTo>
                  <a:cubicBezTo>
                    <a:pt x="4" y="18"/>
                    <a:pt x="4" y="35"/>
                    <a:pt x="8" y="49"/>
                  </a:cubicBezTo>
                  <a:cubicBezTo>
                    <a:pt x="8" y="35"/>
                    <a:pt x="4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5" name="Google Shape;5702;p64">
              <a:extLst>
                <a:ext uri="{FF2B5EF4-FFF2-40B4-BE49-F238E27FC236}">
                  <a16:creationId xmlns:a16="http://schemas.microsoft.com/office/drawing/2014/main" id="{B4BB9933-5F3E-9F9E-125F-6F94DBE93ABD}"/>
                </a:ext>
              </a:extLst>
            </p:cNvPr>
            <p:cNvSpPr/>
            <p:nvPr/>
          </p:nvSpPr>
          <p:spPr>
            <a:xfrm>
              <a:off x="2249738" y="1656837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6" name="Google Shape;5703;p64">
              <a:extLst>
                <a:ext uri="{FF2B5EF4-FFF2-40B4-BE49-F238E27FC236}">
                  <a16:creationId xmlns:a16="http://schemas.microsoft.com/office/drawing/2014/main" id="{208A3886-C316-B614-0362-1CCC3CC7F820}"/>
                </a:ext>
              </a:extLst>
            </p:cNvPr>
            <p:cNvSpPr/>
            <p:nvPr/>
          </p:nvSpPr>
          <p:spPr>
            <a:xfrm>
              <a:off x="2255006" y="167442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7" name="Google Shape;5704;p64">
              <a:extLst>
                <a:ext uri="{FF2B5EF4-FFF2-40B4-BE49-F238E27FC236}">
                  <a16:creationId xmlns:a16="http://schemas.microsoft.com/office/drawing/2014/main" id="{34CB1719-4624-9D62-6CF2-7A36CFE01F9A}"/>
                </a:ext>
              </a:extLst>
            </p:cNvPr>
            <p:cNvSpPr/>
            <p:nvPr/>
          </p:nvSpPr>
          <p:spPr>
            <a:xfrm>
              <a:off x="2247933" y="1653796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8" name="Google Shape;5705;p64">
              <a:extLst>
                <a:ext uri="{FF2B5EF4-FFF2-40B4-BE49-F238E27FC236}">
                  <a16:creationId xmlns:a16="http://schemas.microsoft.com/office/drawing/2014/main" id="{7456BE7D-034F-A8EB-4732-09A73E71AA28}"/>
                </a:ext>
              </a:extLst>
            </p:cNvPr>
            <p:cNvSpPr/>
            <p:nvPr/>
          </p:nvSpPr>
          <p:spPr>
            <a:xfrm>
              <a:off x="2255482" y="16754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9" name="Google Shape;5706;p64">
              <a:extLst>
                <a:ext uri="{FF2B5EF4-FFF2-40B4-BE49-F238E27FC236}">
                  <a16:creationId xmlns:a16="http://schemas.microsoft.com/office/drawing/2014/main" id="{9B2367CE-1D2A-D38F-419E-20D85ECD317B}"/>
                </a:ext>
              </a:extLst>
            </p:cNvPr>
            <p:cNvSpPr/>
            <p:nvPr/>
          </p:nvSpPr>
          <p:spPr>
            <a:xfrm>
              <a:off x="2248258" y="1654366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0" name="Google Shape;5707;p64">
              <a:extLst>
                <a:ext uri="{FF2B5EF4-FFF2-40B4-BE49-F238E27FC236}">
                  <a16:creationId xmlns:a16="http://schemas.microsoft.com/office/drawing/2014/main" id="{D7140784-6273-8601-DC66-10D7548D5D22}"/>
                </a:ext>
              </a:extLst>
            </p:cNvPr>
            <p:cNvSpPr/>
            <p:nvPr/>
          </p:nvSpPr>
          <p:spPr>
            <a:xfrm>
              <a:off x="2245977" y="1650225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1"/>
                  </a:moveTo>
                  <a:lnTo>
                    <a:pt x="11" y="2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1" name="Google Shape;5708;p64">
              <a:extLst>
                <a:ext uri="{FF2B5EF4-FFF2-40B4-BE49-F238E27FC236}">
                  <a16:creationId xmlns:a16="http://schemas.microsoft.com/office/drawing/2014/main" id="{E52D0E0C-8189-47CC-D655-9BC842D6367A}"/>
                </a:ext>
              </a:extLst>
            </p:cNvPr>
            <p:cNvSpPr/>
            <p:nvPr/>
          </p:nvSpPr>
          <p:spPr>
            <a:xfrm>
              <a:off x="2247593" y="165322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2" name="Google Shape;5709;p64">
              <a:extLst>
                <a:ext uri="{FF2B5EF4-FFF2-40B4-BE49-F238E27FC236}">
                  <a16:creationId xmlns:a16="http://schemas.microsoft.com/office/drawing/2014/main" id="{2FC1F287-ED2E-45E5-ADBE-CDBCD4DAF0B2}"/>
                </a:ext>
              </a:extLst>
            </p:cNvPr>
            <p:cNvSpPr/>
            <p:nvPr/>
          </p:nvSpPr>
          <p:spPr>
            <a:xfrm>
              <a:off x="2247267" y="1652601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11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3" name="Google Shape;5710;p64">
              <a:extLst>
                <a:ext uri="{FF2B5EF4-FFF2-40B4-BE49-F238E27FC236}">
                  <a16:creationId xmlns:a16="http://schemas.microsoft.com/office/drawing/2014/main" id="{7C32AFB4-DFD8-115B-95EC-2B6972EE3AED}"/>
                </a:ext>
              </a:extLst>
            </p:cNvPr>
            <p:cNvSpPr/>
            <p:nvPr/>
          </p:nvSpPr>
          <p:spPr>
            <a:xfrm>
              <a:off x="2246697" y="1651610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49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4" name="Google Shape;5711;p64">
              <a:extLst>
                <a:ext uri="{FF2B5EF4-FFF2-40B4-BE49-F238E27FC236}">
                  <a16:creationId xmlns:a16="http://schemas.microsoft.com/office/drawing/2014/main" id="{FADD7F60-7A35-E681-E1D1-B8A60AED6BF2}"/>
                </a:ext>
              </a:extLst>
            </p:cNvPr>
            <p:cNvSpPr/>
            <p:nvPr/>
          </p:nvSpPr>
          <p:spPr>
            <a:xfrm>
              <a:off x="2246317" y="165089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5" name="Google Shape;5712;p64">
              <a:extLst>
                <a:ext uri="{FF2B5EF4-FFF2-40B4-BE49-F238E27FC236}">
                  <a16:creationId xmlns:a16="http://schemas.microsoft.com/office/drawing/2014/main" id="{B6D337E6-59BE-BE69-6625-3CCC06CF9F16}"/>
                </a:ext>
              </a:extLst>
            </p:cNvPr>
            <p:cNvSpPr/>
            <p:nvPr/>
          </p:nvSpPr>
          <p:spPr>
            <a:xfrm>
              <a:off x="2249073" y="165579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6" name="Google Shape;5713;p64">
              <a:extLst>
                <a:ext uri="{FF2B5EF4-FFF2-40B4-BE49-F238E27FC236}">
                  <a16:creationId xmlns:a16="http://schemas.microsoft.com/office/drawing/2014/main" id="{AA6E8D11-0AE9-4DCF-6AC1-840B23B368C5}"/>
                </a:ext>
              </a:extLst>
            </p:cNvPr>
            <p:cNvSpPr/>
            <p:nvPr/>
          </p:nvSpPr>
          <p:spPr>
            <a:xfrm>
              <a:off x="2248829" y="165535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7" name="Google Shape;5714;p64">
              <a:extLst>
                <a:ext uri="{FF2B5EF4-FFF2-40B4-BE49-F238E27FC236}">
                  <a16:creationId xmlns:a16="http://schemas.microsoft.com/office/drawing/2014/main" id="{545C602B-372D-15CA-A2F9-7C2CF97FDCF5}"/>
                </a:ext>
              </a:extLst>
            </p:cNvPr>
            <p:cNvSpPr/>
            <p:nvPr/>
          </p:nvSpPr>
          <p:spPr>
            <a:xfrm>
              <a:off x="2248544" y="1654882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8" name="Google Shape;5715;p64">
              <a:extLst>
                <a:ext uri="{FF2B5EF4-FFF2-40B4-BE49-F238E27FC236}">
                  <a16:creationId xmlns:a16="http://schemas.microsoft.com/office/drawing/2014/main" id="{A81CCF85-F7C1-B6DF-345C-4096D0DDCD1D}"/>
                </a:ext>
              </a:extLst>
            </p:cNvPr>
            <p:cNvSpPr/>
            <p:nvPr/>
          </p:nvSpPr>
          <p:spPr>
            <a:xfrm>
              <a:off x="2212047" y="1690224"/>
              <a:ext cx="44073" cy="23516"/>
            </a:xfrm>
            <a:custGeom>
              <a:avLst/>
              <a:gdLst/>
              <a:ahLst/>
              <a:cxnLst/>
              <a:rect l="l" t="t" r="r" b="b"/>
              <a:pathLst>
                <a:path w="3246" h="1732" extrusionOk="0">
                  <a:moveTo>
                    <a:pt x="2473" y="1"/>
                  </a:moveTo>
                  <a:cubicBezTo>
                    <a:pt x="2300" y="1"/>
                    <a:pt x="2049" y="32"/>
                    <a:pt x="1978" y="100"/>
                  </a:cubicBezTo>
                  <a:cubicBezTo>
                    <a:pt x="1864" y="215"/>
                    <a:pt x="1722" y="283"/>
                    <a:pt x="1590" y="283"/>
                  </a:cubicBezTo>
                  <a:cubicBezTo>
                    <a:pt x="1572" y="283"/>
                    <a:pt x="1554" y="281"/>
                    <a:pt x="1537" y="279"/>
                  </a:cubicBezTo>
                  <a:cubicBezTo>
                    <a:pt x="1441" y="269"/>
                    <a:pt x="1234" y="259"/>
                    <a:pt x="1097" y="259"/>
                  </a:cubicBezTo>
                  <a:cubicBezTo>
                    <a:pt x="1041" y="259"/>
                    <a:pt x="996" y="261"/>
                    <a:pt x="977" y="265"/>
                  </a:cubicBezTo>
                  <a:cubicBezTo>
                    <a:pt x="968" y="266"/>
                    <a:pt x="957" y="267"/>
                    <a:pt x="945" y="267"/>
                  </a:cubicBezTo>
                  <a:cubicBezTo>
                    <a:pt x="886" y="267"/>
                    <a:pt x="790" y="253"/>
                    <a:pt x="648" y="230"/>
                  </a:cubicBezTo>
                  <a:cubicBezTo>
                    <a:pt x="564" y="212"/>
                    <a:pt x="480" y="202"/>
                    <a:pt x="396" y="198"/>
                  </a:cubicBezTo>
                  <a:cubicBezTo>
                    <a:pt x="388" y="200"/>
                    <a:pt x="381" y="201"/>
                    <a:pt x="374" y="201"/>
                  </a:cubicBezTo>
                  <a:cubicBezTo>
                    <a:pt x="324" y="201"/>
                    <a:pt x="280" y="160"/>
                    <a:pt x="231" y="111"/>
                  </a:cubicBezTo>
                  <a:lnTo>
                    <a:pt x="207" y="86"/>
                  </a:lnTo>
                  <a:lnTo>
                    <a:pt x="200" y="79"/>
                  </a:lnTo>
                  <a:cubicBezTo>
                    <a:pt x="189" y="69"/>
                    <a:pt x="179" y="62"/>
                    <a:pt x="168" y="51"/>
                  </a:cubicBezTo>
                  <a:lnTo>
                    <a:pt x="165" y="48"/>
                  </a:lnTo>
                  <a:cubicBezTo>
                    <a:pt x="158" y="41"/>
                    <a:pt x="147" y="34"/>
                    <a:pt x="137" y="27"/>
                  </a:cubicBezTo>
                  <a:lnTo>
                    <a:pt x="130" y="23"/>
                  </a:lnTo>
                  <a:cubicBezTo>
                    <a:pt x="123" y="16"/>
                    <a:pt x="112" y="9"/>
                    <a:pt x="102" y="6"/>
                  </a:cubicBezTo>
                  <a:lnTo>
                    <a:pt x="98" y="6"/>
                  </a:lnTo>
                  <a:cubicBezTo>
                    <a:pt x="91" y="9"/>
                    <a:pt x="88" y="13"/>
                    <a:pt x="81" y="20"/>
                  </a:cubicBezTo>
                  <a:cubicBezTo>
                    <a:pt x="77" y="23"/>
                    <a:pt x="70" y="27"/>
                    <a:pt x="63" y="30"/>
                  </a:cubicBezTo>
                  <a:cubicBezTo>
                    <a:pt x="28" y="58"/>
                    <a:pt x="7" y="97"/>
                    <a:pt x="4" y="142"/>
                  </a:cubicBezTo>
                  <a:cubicBezTo>
                    <a:pt x="0" y="202"/>
                    <a:pt x="25" y="261"/>
                    <a:pt x="70" y="304"/>
                  </a:cubicBezTo>
                  <a:cubicBezTo>
                    <a:pt x="140" y="370"/>
                    <a:pt x="333" y="594"/>
                    <a:pt x="291" y="710"/>
                  </a:cubicBezTo>
                  <a:cubicBezTo>
                    <a:pt x="274" y="746"/>
                    <a:pt x="243" y="769"/>
                    <a:pt x="204" y="769"/>
                  </a:cubicBezTo>
                  <a:cubicBezTo>
                    <a:pt x="202" y="769"/>
                    <a:pt x="199" y="769"/>
                    <a:pt x="196" y="769"/>
                  </a:cubicBezTo>
                  <a:cubicBezTo>
                    <a:pt x="165" y="773"/>
                    <a:pt x="137" y="790"/>
                    <a:pt x="119" y="815"/>
                  </a:cubicBezTo>
                  <a:cubicBezTo>
                    <a:pt x="95" y="839"/>
                    <a:pt x="77" y="874"/>
                    <a:pt x="77" y="909"/>
                  </a:cubicBezTo>
                  <a:cubicBezTo>
                    <a:pt x="81" y="958"/>
                    <a:pt x="77" y="1004"/>
                    <a:pt x="70" y="1049"/>
                  </a:cubicBezTo>
                  <a:cubicBezTo>
                    <a:pt x="70" y="1063"/>
                    <a:pt x="67" y="1081"/>
                    <a:pt x="67" y="1095"/>
                  </a:cubicBezTo>
                  <a:cubicBezTo>
                    <a:pt x="63" y="1109"/>
                    <a:pt x="63" y="1126"/>
                    <a:pt x="67" y="1140"/>
                  </a:cubicBezTo>
                  <a:lnTo>
                    <a:pt x="67" y="1147"/>
                  </a:lnTo>
                  <a:lnTo>
                    <a:pt x="67" y="1151"/>
                  </a:lnTo>
                  <a:lnTo>
                    <a:pt x="74" y="1154"/>
                  </a:lnTo>
                  <a:cubicBezTo>
                    <a:pt x="329" y="1406"/>
                    <a:pt x="371" y="1483"/>
                    <a:pt x="378" y="1529"/>
                  </a:cubicBezTo>
                  <a:cubicBezTo>
                    <a:pt x="378" y="1539"/>
                    <a:pt x="403" y="1557"/>
                    <a:pt x="417" y="1567"/>
                  </a:cubicBezTo>
                  <a:cubicBezTo>
                    <a:pt x="427" y="1578"/>
                    <a:pt x="434" y="1585"/>
                    <a:pt x="441" y="1592"/>
                  </a:cubicBezTo>
                  <a:cubicBezTo>
                    <a:pt x="452" y="1602"/>
                    <a:pt x="459" y="1613"/>
                    <a:pt x="466" y="1623"/>
                  </a:cubicBezTo>
                  <a:lnTo>
                    <a:pt x="557" y="1616"/>
                  </a:lnTo>
                  <a:lnTo>
                    <a:pt x="571" y="1616"/>
                  </a:lnTo>
                  <a:lnTo>
                    <a:pt x="662" y="1613"/>
                  </a:lnTo>
                  <a:lnTo>
                    <a:pt x="676" y="1613"/>
                  </a:lnTo>
                  <a:lnTo>
                    <a:pt x="767" y="1609"/>
                  </a:lnTo>
                  <a:lnTo>
                    <a:pt x="774" y="1609"/>
                  </a:lnTo>
                  <a:cubicBezTo>
                    <a:pt x="801" y="1609"/>
                    <a:pt x="829" y="1609"/>
                    <a:pt x="855" y="1609"/>
                  </a:cubicBezTo>
                  <a:cubicBezTo>
                    <a:pt x="1003" y="1609"/>
                    <a:pt x="1127" y="1618"/>
                    <a:pt x="1183" y="1644"/>
                  </a:cubicBezTo>
                  <a:lnTo>
                    <a:pt x="1201" y="1651"/>
                  </a:lnTo>
                  <a:cubicBezTo>
                    <a:pt x="1313" y="1683"/>
                    <a:pt x="1429" y="1704"/>
                    <a:pt x="1544" y="1714"/>
                  </a:cubicBezTo>
                  <a:lnTo>
                    <a:pt x="1565" y="1718"/>
                  </a:lnTo>
                  <a:lnTo>
                    <a:pt x="1576" y="1718"/>
                  </a:lnTo>
                  <a:cubicBezTo>
                    <a:pt x="1628" y="1725"/>
                    <a:pt x="1674" y="1728"/>
                    <a:pt x="1712" y="1732"/>
                  </a:cubicBezTo>
                  <a:lnTo>
                    <a:pt x="1737" y="1732"/>
                  </a:lnTo>
                  <a:cubicBezTo>
                    <a:pt x="1782" y="1732"/>
                    <a:pt x="1831" y="1721"/>
                    <a:pt x="1873" y="1700"/>
                  </a:cubicBezTo>
                  <a:cubicBezTo>
                    <a:pt x="1877" y="1700"/>
                    <a:pt x="1880" y="1697"/>
                    <a:pt x="1884" y="1690"/>
                  </a:cubicBezTo>
                  <a:cubicBezTo>
                    <a:pt x="1873" y="1662"/>
                    <a:pt x="1873" y="1627"/>
                    <a:pt x="1891" y="1599"/>
                  </a:cubicBezTo>
                  <a:cubicBezTo>
                    <a:pt x="1898" y="1592"/>
                    <a:pt x="1901" y="1585"/>
                    <a:pt x="1908" y="1578"/>
                  </a:cubicBezTo>
                  <a:lnTo>
                    <a:pt x="1912" y="1571"/>
                  </a:lnTo>
                  <a:cubicBezTo>
                    <a:pt x="1919" y="1567"/>
                    <a:pt x="1926" y="1560"/>
                    <a:pt x="1933" y="1557"/>
                  </a:cubicBezTo>
                  <a:lnTo>
                    <a:pt x="1936" y="1553"/>
                  </a:lnTo>
                  <a:cubicBezTo>
                    <a:pt x="1943" y="1550"/>
                    <a:pt x="1950" y="1543"/>
                    <a:pt x="1961" y="1539"/>
                  </a:cubicBezTo>
                  <a:lnTo>
                    <a:pt x="1968" y="1536"/>
                  </a:lnTo>
                  <a:lnTo>
                    <a:pt x="1989" y="1525"/>
                  </a:lnTo>
                  <a:lnTo>
                    <a:pt x="1996" y="1522"/>
                  </a:lnTo>
                  <a:lnTo>
                    <a:pt x="2024" y="1511"/>
                  </a:lnTo>
                  <a:lnTo>
                    <a:pt x="2031" y="1511"/>
                  </a:lnTo>
                  <a:lnTo>
                    <a:pt x="2055" y="1504"/>
                  </a:lnTo>
                  <a:lnTo>
                    <a:pt x="2062" y="1504"/>
                  </a:lnTo>
                  <a:lnTo>
                    <a:pt x="2094" y="1497"/>
                  </a:lnTo>
                  <a:lnTo>
                    <a:pt x="2097" y="1497"/>
                  </a:lnTo>
                  <a:lnTo>
                    <a:pt x="2122" y="1490"/>
                  </a:lnTo>
                  <a:lnTo>
                    <a:pt x="2125" y="1490"/>
                  </a:lnTo>
                  <a:cubicBezTo>
                    <a:pt x="2122" y="1473"/>
                    <a:pt x="2122" y="1455"/>
                    <a:pt x="2122" y="1434"/>
                  </a:cubicBezTo>
                  <a:lnTo>
                    <a:pt x="2122" y="1420"/>
                  </a:lnTo>
                  <a:cubicBezTo>
                    <a:pt x="2122" y="1413"/>
                    <a:pt x="2122" y="1406"/>
                    <a:pt x="2122" y="1399"/>
                  </a:cubicBezTo>
                  <a:cubicBezTo>
                    <a:pt x="2125" y="1392"/>
                    <a:pt x="2125" y="1385"/>
                    <a:pt x="2129" y="1382"/>
                  </a:cubicBezTo>
                  <a:cubicBezTo>
                    <a:pt x="2136" y="1368"/>
                    <a:pt x="2143" y="1357"/>
                    <a:pt x="2153" y="1350"/>
                  </a:cubicBezTo>
                  <a:lnTo>
                    <a:pt x="2157" y="1350"/>
                  </a:lnTo>
                  <a:cubicBezTo>
                    <a:pt x="2164" y="1347"/>
                    <a:pt x="2167" y="1343"/>
                    <a:pt x="2174" y="1340"/>
                  </a:cubicBezTo>
                  <a:cubicBezTo>
                    <a:pt x="2291" y="1308"/>
                    <a:pt x="2413" y="1294"/>
                    <a:pt x="2534" y="1294"/>
                  </a:cubicBezTo>
                  <a:cubicBezTo>
                    <a:pt x="2547" y="1294"/>
                    <a:pt x="2560" y="1294"/>
                    <a:pt x="2573" y="1294"/>
                  </a:cubicBezTo>
                  <a:cubicBezTo>
                    <a:pt x="2647" y="1298"/>
                    <a:pt x="2720" y="1312"/>
                    <a:pt x="2787" y="1340"/>
                  </a:cubicBezTo>
                  <a:cubicBezTo>
                    <a:pt x="2790" y="1343"/>
                    <a:pt x="2797" y="1343"/>
                    <a:pt x="2804" y="1347"/>
                  </a:cubicBezTo>
                  <a:lnTo>
                    <a:pt x="2846" y="1347"/>
                  </a:lnTo>
                  <a:lnTo>
                    <a:pt x="2864" y="1340"/>
                  </a:lnTo>
                  <a:lnTo>
                    <a:pt x="2867" y="1340"/>
                  </a:lnTo>
                  <a:lnTo>
                    <a:pt x="2885" y="1336"/>
                  </a:lnTo>
                  <a:lnTo>
                    <a:pt x="2899" y="1329"/>
                  </a:lnTo>
                  <a:cubicBezTo>
                    <a:pt x="2895" y="1315"/>
                    <a:pt x="2892" y="1305"/>
                    <a:pt x="2885" y="1291"/>
                  </a:cubicBezTo>
                  <a:cubicBezTo>
                    <a:pt x="2769" y="1263"/>
                    <a:pt x="2685" y="1021"/>
                    <a:pt x="2682" y="902"/>
                  </a:cubicBezTo>
                  <a:cubicBezTo>
                    <a:pt x="2678" y="787"/>
                    <a:pt x="2748" y="759"/>
                    <a:pt x="2776" y="752"/>
                  </a:cubicBezTo>
                  <a:cubicBezTo>
                    <a:pt x="2804" y="745"/>
                    <a:pt x="2867" y="650"/>
                    <a:pt x="2909" y="587"/>
                  </a:cubicBezTo>
                  <a:cubicBezTo>
                    <a:pt x="2993" y="465"/>
                    <a:pt x="3088" y="325"/>
                    <a:pt x="3207" y="286"/>
                  </a:cubicBezTo>
                  <a:cubicBezTo>
                    <a:pt x="3221" y="283"/>
                    <a:pt x="3235" y="276"/>
                    <a:pt x="3245" y="268"/>
                  </a:cubicBezTo>
                  <a:lnTo>
                    <a:pt x="3228" y="261"/>
                  </a:lnTo>
                  <a:lnTo>
                    <a:pt x="3207" y="251"/>
                  </a:lnTo>
                  <a:lnTo>
                    <a:pt x="3186" y="237"/>
                  </a:lnTo>
                  <a:lnTo>
                    <a:pt x="3168" y="230"/>
                  </a:lnTo>
                  <a:lnTo>
                    <a:pt x="3144" y="219"/>
                  </a:lnTo>
                  <a:lnTo>
                    <a:pt x="3130" y="216"/>
                  </a:lnTo>
                  <a:lnTo>
                    <a:pt x="3105" y="202"/>
                  </a:lnTo>
                  <a:lnTo>
                    <a:pt x="3095" y="198"/>
                  </a:lnTo>
                  <a:lnTo>
                    <a:pt x="3070" y="188"/>
                  </a:lnTo>
                  <a:lnTo>
                    <a:pt x="3060" y="184"/>
                  </a:lnTo>
                  <a:lnTo>
                    <a:pt x="3046" y="174"/>
                  </a:lnTo>
                  <a:lnTo>
                    <a:pt x="3035" y="170"/>
                  </a:lnTo>
                  <a:lnTo>
                    <a:pt x="3025" y="163"/>
                  </a:lnTo>
                  <a:lnTo>
                    <a:pt x="3018" y="160"/>
                  </a:lnTo>
                  <a:lnTo>
                    <a:pt x="3011" y="153"/>
                  </a:lnTo>
                  <a:lnTo>
                    <a:pt x="3004" y="149"/>
                  </a:lnTo>
                  <a:lnTo>
                    <a:pt x="2997" y="142"/>
                  </a:lnTo>
                  <a:lnTo>
                    <a:pt x="2990" y="139"/>
                  </a:lnTo>
                  <a:lnTo>
                    <a:pt x="2983" y="135"/>
                  </a:lnTo>
                  <a:lnTo>
                    <a:pt x="2979" y="132"/>
                  </a:lnTo>
                  <a:lnTo>
                    <a:pt x="2976" y="128"/>
                  </a:lnTo>
                  <a:lnTo>
                    <a:pt x="2972" y="125"/>
                  </a:lnTo>
                  <a:lnTo>
                    <a:pt x="2969" y="121"/>
                  </a:lnTo>
                  <a:lnTo>
                    <a:pt x="2965" y="118"/>
                  </a:lnTo>
                  <a:lnTo>
                    <a:pt x="2962" y="114"/>
                  </a:lnTo>
                  <a:lnTo>
                    <a:pt x="2962" y="111"/>
                  </a:lnTo>
                  <a:lnTo>
                    <a:pt x="2962" y="107"/>
                  </a:lnTo>
                  <a:lnTo>
                    <a:pt x="2962" y="104"/>
                  </a:lnTo>
                  <a:cubicBezTo>
                    <a:pt x="2948" y="83"/>
                    <a:pt x="2881" y="44"/>
                    <a:pt x="2577" y="6"/>
                  </a:cubicBezTo>
                  <a:cubicBezTo>
                    <a:pt x="2548" y="3"/>
                    <a:pt x="2513" y="1"/>
                    <a:pt x="24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9" name="Google Shape;5716;p64">
              <a:extLst>
                <a:ext uri="{FF2B5EF4-FFF2-40B4-BE49-F238E27FC236}">
                  <a16:creationId xmlns:a16="http://schemas.microsoft.com/office/drawing/2014/main" id="{ED91907C-ABF1-3D88-5F76-F3C03CE0D549}"/>
                </a:ext>
              </a:extLst>
            </p:cNvPr>
            <p:cNvSpPr/>
            <p:nvPr/>
          </p:nvSpPr>
          <p:spPr>
            <a:xfrm>
              <a:off x="2240994" y="1708500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0" y="29"/>
                  </a:moveTo>
                  <a:cubicBezTo>
                    <a:pt x="4" y="18"/>
                    <a:pt x="14" y="8"/>
                    <a:pt x="25" y="1"/>
                  </a:cubicBezTo>
                  <a:cubicBezTo>
                    <a:pt x="14" y="8"/>
                    <a:pt x="4" y="18"/>
                    <a:pt x="0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0" name="Google Shape;5717;p64">
              <a:extLst>
                <a:ext uri="{FF2B5EF4-FFF2-40B4-BE49-F238E27FC236}">
                  <a16:creationId xmlns:a16="http://schemas.microsoft.com/office/drawing/2014/main" id="{082C11E8-5B1B-E04B-F315-9433AA794780}"/>
                </a:ext>
              </a:extLst>
            </p:cNvPr>
            <p:cNvSpPr/>
            <p:nvPr/>
          </p:nvSpPr>
          <p:spPr>
            <a:xfrm>
              <a:off x="2250784" y="1708364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1" name="Google Shape;5718;p64">
              <a:extLst>
                <a:ext uri="{FF2B5EF4-FFF2-40B4-BE49-F238E27FC236}">
                  <a16:creationId xmlns:a16="http://schemas.microsoft.com/office/drawing/2014/main" id="{F48176AD-0DD9-8A58-1DF6-39FB5AE48CE3}"/>
                </a:ext>
              </a:extLst>
            </p:cNvPr>
            <p:cNvSpPr/>
            <p:nvPr/>
          </p:nvSpPr>
          <p:spPr>
            <a:xfrm>
              <a:off x="2240845" y="170960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2" name="Google Shape;5719;p64">
              <a:extLst>
                <a:ext uri="{FF2B5EF4-FFF2-40B4-BE49-F238E27FC236}">
                  <a16:creationId xmlns:a16="http://schemas.microsoft.com/office/drawing/2014/main" id="{A1110E32-528B-BF8F-9ECD-E16D38837F34}"/>
                </a:ext>
              </a:extLst>
            </p:cNvPr>
            <p:cNvSpPr/>
            <p:nvPr/>
          </p:nvSpPr>
          <p:spPr>
            <a:xfrm>
              <a:off x="2251015" y="17082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3" name="Google Shape;5720;p64">
              <a:extLst>
                <a:ext uri="{FF2B5EF4-FFF2-40B4-BE49-F238E27FC236}">
                  <a16:creationId xmlns:a16="http://schemas.microsoft.com/office/drawing/2014/main" id="{6D11C4FC-BEA7-8950-BFDB-7D471A49CC54}"/>
                </a:ext>
              </a:extLst>
            </p:cNvPr>
            <p:cNvSpPr/>
            <p:nvPr/>
          </p:nvSpPr>
          <p:spPr>
            <a:xfrm>
              <a:off x="2251259" y="17082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1"/>
                  </a:moveTo>
                  <a:lnTo>
                    <a:pt x="14" y="1"/>
                  </a:ln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4" name="Google Shape;5721;p64">
              <a:extLst>
                <a:ext uri="{FF2B5EF4-FFF2-40B4-BE49-F238E27FC236}">
                  <a16:creationId xmlns:a16="http://schemas.microsoft.com/office/drawing/2014/main" id="{B1810D28-D6C8-ED4E-43D8-62BA3217CF30}"/>
                </a:ext>
              </a:extLst>
            </p:cNvPr>
            <p:cNvSpPr/>
            <p:nvPr/>
          </p:nvSpPr>
          <p:spPr>
            <a:xfrm>
              <a:off x="2241605" y="1707644"/>
              <a:ext cx="5485" cy="679"/>
            </a:xfrm>
            <a:custGeom>
              <a:avLst/>
              <a:gdLst/>
              <a:ahLst/>
              <a:cxnLst/>
              <a:rect l="l" t="t" r="r" b="b"/>
              <a:pathLst>
                <a:path w="404" h="50" extrusionOk="0">
                  <a:moveTo>
                    <a:pt x="1" y="50"/>
                  </a:moveTo>
                  <a:lnTo>
                    <a:pt x="1" y="50"/>
                  </a:lnTo>
                  <a:cubicBezTo>
                    <a:pt x="134" y="15"/>
                    <a:pt x="267" y="1"/>
                    <a:pt x="403" y="4"/>
                  </a:cubicBezTo>
                  <a:cubicBezTo>
                    <a:pt x="267" y="1"/>
                    <a:pt x="134" y="15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5" name="Google Shape;5722;p64">
              <a:extLst>
                <a:ext uri="{FF2B5EF4-FFF2-40B4-BE49-F238E27FC236}">
                  <a16:creationId xmlns:a16="http://schemas.microsoft.com/office/drawing/2014/main" id="{08FD2616-A261-59B6-B4CE-36806E57F9FA}"/>
                </a:ext>
              </a:extLst>
            </p:cNvPr>
            <p:cNvSpPr/>
            <p:nvPr/>
          </p:nvSpPr>
          <p:spPr>
            <a:xfrm>
              <a:off x="2241375" y="1708310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6" name="Google Shape;5723;p64">
              <a:extLst>
                <a:ext uri="{FF2B5EF4-FFF2-40B4-BE49-F238E27FC236}">
                  <a16:creationId xmlns:a16="http://schemas.microsoft.com/office/drawing/2014/main" id="{A4B5BBB5-B6E4-39F2-AD08-0D3D7B4F72EA}"/>
                </a:ext>
              </a:extLst>
            </p:cNvPr>
            <p:cNvSpPr/>
            <p:nvPr/>
          </p:nvSpPr>
          <p:spPr>
            <a:xfrm>
              <a:off x="2250444" y="1708405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2" y="1"/>
                  </a:moveTo>
                  <a:cubicBezTo>
                    <a:pt x="15" y="4"/>
                    <a:pt x="8" y="4"/>
                    <a:pt x="1" y="1"/>
                  </a:cubicBezTo>
                  <a:cubicBezTo>
                    <a:pt x="8" y="4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7" name="Google Shape;5724;p64">
              <a:extLst>
                <a:ext uri="{FF2B5EF4-FFF2-40B4-BE49-F238E27FC236}">
                  <a16:creationId xmlns:a16="http://schemas.microsoft.com/office/drawing/2014/main" id="{D4E0099B-2379-9B3C-E8AC-F87FF3B1B3F9}"/>
                </a:ext>
              </a:extLst>
            </p:cNvPr>
            <p:cNvSpPr/>
            <p:nvPr/>
          </p:nvSpPr>
          <p:spPr>
            <a:xfrm>
              <a:off x="2250214" y="170845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8" name="Google Shape;5725;p64">
              <a:extLst>
                <a:ext uri="{FF2B5EF4-FFF2-40B4-BE49-F238E27FC236}">
                  <a16:creationId xmlns:a16="http://schemas.microsoft.com/office/drawing/2014/main" id="{2C7837BF-482A-5746-1CA4-F51B16784168}"/>
                </a:ext>
              </a:extLst>
            </p:cNvPr>
            <p:cNvSpPr/>
            <p:nvPr/>
          </p:nvSpPr>
          <p:spPr>
            <a:xfrm>
              <a:off x="2240899" y="170893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cubicBezTo>
                    <a:pt x="4" y="4"/>
                    <a:pt x="0" y="11"/>
                    <a:pt x="0" y="18"/>
                  </a:cubicBezTo>
                  <a:cubicBezTo>
                    <a:pt x="0" y="11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9" name="Google Shape;5726;p64">
              <a:extLst>
                <a:ext uri="{FF2B5EF4-FFF2-40B4-BE49-F238E27FC236}">
                  <a16:creationId xmlns:a16="http://schemas.microsoft.com/office/drawing/2014/main" id="{98CDC899-A8B2-135E-AA73-BDD617FC61D7}"/>
                </a:ext>
              </a:extLst>
            </p:cNvPr>
            <p:cNvSpPr/>
            <p:nvPr/>
          </p:nvSpPr>
          <p:spPr>
            <a:xfrm>
              <a:off x="2249928" y="170836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cubicBezTo>
                    <a:pt x="11" y="4"/>
                    <a:pt x="7" y="0"/>
                    <a:pt x="0" y="0"/>
                  </a:cubicBezTo>
                  <a:cubicBezTo>
                    <a:pt x="7" y="0"/>
                    <a:pt x="11" y="4"/>
                    <a:pt x="1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0" name="Google Shape;5727;p64">
              <a:extLst>
                <a:ext uri="{FF2B5EF4-FFF2-40B4-BE49-F238E27FC236}">
                  <a16:creationId xmlns:a16="http://schemas.microsoft.com/office/drawing/2014/main" id="{23C9FFAC-3FA1-4583-4F6C-68ABD60AAA3D}"/>
                </a:ext>
              </a:extLst>
            </p:cNvPr>
            <p:cNvSpPr/>
            <p:nvPr/>
          </p:nvSpPr>
          <p:spPr>
            <a:xfrm>
              <a:off x="2240845" y="170916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1"/>
                  </a:moveTo>
                  <a:cubicBezTo>
                    <a:pt x="1" y="8"/>
                    <a:pt x="1" y="15"/>
                    <a:pt x="1" y="22"/>
                  </a:cubicBezTo>
                  <a:cubicBezTo>
                    <a:pt x="1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1" name="Google Shape;5728;p64">
              <a:extLst>
                <a:ext uri="{FF2B5EF4-FFF2-40B4-BE49-F238E27FC236}">
                  <a16:creationId xmlns:a16="http://schemas.microsoft.com/office/drawing/2014/main" id="{E068458B-B9F5-97D6-3134-1E8A64A64780}"/>
                </a:ext>
              </a:extLst>
            </p:cNvPr>
            <p:cNvSpPr/>
            <p:nvPr/>
          </p:nvSpPr>
          <p:spPr>
            <a:xfrm>
              <a:off x="2255631" y="169357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2" name="Google Shape;5729;p64">
              <a:extLst>
                <a:ext uri="{FF2B5EF4-FFF2-40B4-BE49-F238E27FC236}">
                  <a16:creationId xmlns:a16="http://schemas.microsoft.com/office/drawing/2014/main" id="{8D4A72E1-3356-652B-741C-4E13F37B1677}"/>
                </a:ext>
              </a:extLst>
            </p:cNvPr>
            <p:cNvSpPr/>
            <p:nvPr/>
          </p:nvSpPr>
          <p:spPr>
            <a:xfrm>
              <a:off x="2238849" y="1689396"/>
              <a:ext cx="8187" cy="2200"/>
            </a:xfrm>
            <a:custGeom>
              <a:avLst/>
              <a:gdLst/>
              <a:ahLst/>
              <a:cxnLst/>
              <a:rect l="l" t="t" r="r" b="b"/>
              <a:pathLst>
                <a:path w="603" h="162" extrusionOk="0">
                  <a:moveTo>
                    <a:pt x="603" y="0"/>
                  </a:moveTo>
                  <a:lnTo>
                    <a:pt x="592" y="63"/>
                  </a:lnTo>
                  <a:cubicBezTo>
                    <a:pt x="565" y="60"/>
                    <a:pt x="531" y="58"/>
                    <a:pt x="492" y="58"/>
                  </a:cubicBezTo>
                  <a:cubicBezTo>
                    <a:pt x="395" y="58"/>
                    <a:pt x="271" y="69"/>
                    <a:pt x="169" y="91"/>
                  </a:cubicBezTo>
                  <a:lnTo>
                    <a:pt x="169" y="91"/>
                  </a:lnTo>
                  <a:cubicBezTo>
                    <a:pt x="265" y="70"/>
                    <a:pt x="382" y="60"/>
                    <a:pt x="478" y="60"/>
                  </a:cubicBezTo>
                  <a:cubicBezTo>
                    <a:pt x="523" y="60"/>
                    <a:pt x="564" y="63"/>
                    <a:pt x="596" y="67"/>
                  </a:cubicBezTo>
                  <a:lnTo>
                    <a:pt x="603" y="0"/>
                  </a:lnTo>
                  <a:close/>
                  <a:moveTo>
                    <a:pt x="169" y="91"/>
                  </a:moveTo>
                  <a:cubicBezTo>
                    <a:pt x="93" y="108"/>
                    <a:pt x="30" y="131"/>
                    <a:pt x="1" y="161"/>
                  </a:cubicBezTo>
                  <a:cubicBezTo>
                    <a:pt x="30" y="131"/>
                    <a:pt x="93" y="108"/>
                    <a:pt x="169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3" name="Google Shape;5730;p64">
              <a:extLst>
                <a:ext uri="{FF2B5EF4-FFF2-40B4-BE49-F238E27FC236}">
                  <a16:creationId xmlns:a16="http://schemas.microsoft.com/office/drawing/2014/main" id="{6CAC4083-5857-27EA-7CDC-BEE9983CC919}"/>
                </a:ext>
              </a:extLst>
            </p:cNvPr>
            <p:cNvSpPr/>
            <p:nvPr/>
          </p:nvSpPr>
          <p:spPr>
            <a:xfrm>
              <a:off x="2247023" y="1689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4" name="Google Shape;5731;p64">
              <a:extLst>
                <a:ext uri="{FF2B5EF4-FFF2-40B4-BE49-F238E27FC236}">
                  <a16:creationId xmlns:a16="http://schemas.microsoft.com/office/drawing/2014/main" id="{0C67C352-46FF-F914-E36B-5D1A70D01418}"/>
                </a:ext>
              </a:extLst>
            </p:cNvPr>
            <p:cNvSpPr/>
            <p:nvPr/>
          </p:nvSpPr>
          <p:spPr>
            <a:xfrm>
              <a:off x="2213283" y="169019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5" name="Google Shape;5732;p64">
              <a:extLst>
                <a:ext uri="{FF2B5EF4-FFF2-40B4-BE49-F238E27FC236}">
                  <a16:creationId xmlns:a16="http://schemas.microsoft.com/office/drawing/2014/main" id="{7BAF4912-579A-9A6C-E855-D740AB173A6B}"/>
                </a:ext>
              </a:extLst>
            </p:cNvPr>
            <p:cNvSpPr/>
            <p:nvPr/>
          </p:nvSpPr>
          <p:spPr>
            <a:xfrm>
              <a:off x="2253581" y="169266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6" name="Google Shape;5733;p64">
              <a:extLst>
                <a:ext uri="{FF2B5EF4-FFF2-40B4-BE49-F238E27FC236}">
                  <a16:creationId xmlns:a16="http://schemas.microsoft.com/office/drawing/2014/main" id="{CA593CBD-ACDC-0AB0-1860-51A732FEBFC5}"/>
                </a:ext>
              </a:extLst>
            </p:cNvPr>
            <p:cNvSpPr/>
            <p:nvPr/>
          </p:nvSpPr>
          <p:spPr>
            <a:xfrm>
              <a:off x="2214233" y="1690822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7" name="Google Shape;5734;p64">
              <a:extLst>
                <a:ext uri="{FF2B5EF4-FFF2-40B4-BE49-F238E27FC236}">
                  <a16:creationId xmlns:a16="http://schemas.microsoft.com/office/drawing/2014/main" id="{B1593571-BD5E-75B8-D830-66F668BD0BE4}"/>
                </a:ext>
              </a:extLst>
            </p:cNvPr>
            <p:cNvSpPr/>
            <p:nvPr/>
          </p:nvSpPr>
          <p:spPr>
            <a:xfrm>
              <a:off x="2253296" y="169253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8" name="Google Shape;5735;p64">
              <a:extLst>
                <a:ext uri="{FF2B5EF4-FFF2-40B4-BE49-F238E27FC236}">
                  <a16:creationId xmlns:a16="http://schemas.microsoft.com/office/drawing/2014/main" id="{2D0A714E-3CF7-62AF-89A5-E399CD48C832}"/>
                </a:ext>
              </a:extLst>
            </p:cNvPr>
            <p:cNvSpPr/>
            <p:nvPr/>
          </p:nvSpPr>
          <p:spPr>
            <a:xfrm>
              <a:off x="2254056" y="169291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0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9" name="Google Shape;5736;p64">
              <a:extLst>
                <a:ext uri="{FF2B5EF4-FFF2-40B4-BE49-F238E27FC236}">
                  <a16:creationId xmlns:a16="http://schemas.microsoft.com/office/drawing/2014/main" id="{64B04785-A0E2-2F96-BA1A-C7096C654149}"/>
                </a:ext>
              </a:extLst>
            </p:cNvPr>
            <p:cNvSpPr/>
            <p:nvPr/>
          </p:nvSpPr>
          <p:spPr>
            <a:xfrm>
              <a:off x="2253011" y="169238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0" name="Google Shape;5737;p64">
              <a:extLst>
                <a:ext uri="{FF2B5EF4-FFF2-40B4-BE49-F238E27FC236}">
                  <a16:creationId xmlns:a16="http://schemas.microsoft.com/office/drawing/2014/main" id="{52642F49-D050-1527-7359-859A0196100A}"/>
                </a:ext>
              </a:extLst>
            </p:cNvPr>
            <p:cNvSpPr/>
            <p:nvPr/>
          </p:nvSpPr>
          <p:spPr>
            <a:xfrm>
              <a:off x="2213758" y="169048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1" name="Google Shape;5738;p64">
              <a:extLst>
                <a:ext uri="{FF2B5EF4-FFF2-40B4-BE49-F238E27FC236}">
                  <a16:creationId xmlns:a16="http://schemas.microsoft.com/office/drawing/2014/main" id="{D8EE719C-800E-61A9-19AF-563578D6FACF}"/>
                </a:ext>
              </a:extLst>
            </p:cNvPr>
            <p:cNvSpPr/>
            <p:nvPr/>
          </p:nvSpPr>
          <p:spPr>
            <a:xfrm>
              <a:off x="2214708" y="169124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2" name="Google Shape;5739;p64">
              <a:extLst>
                <a:ext uri="{FF2B5EF4-FFF2-40B4-BE49-F238E27FC236}">
                  <a16:creationId xmlns:a16="http://schemas.microsoft.com/office/drawing/2014/main" id="{7D40A164-50CF-7EFF-64CA-1A65B2312D60}"/>
                </a:ext>
              </a:extLst>
            </p:cNvPr>
            <p:cNvSpPr/>
            <p:nvPr/>
          </p:nvSpPr>
          <p:spPr>
            <a:xfrm>
              <a:off x="2252820" y="169224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3" name="Google Shape;5740;p64">
              <a:extLst>
                <a:ext uri="{FF2B5EF4-FFF2-40B4-BE49-F238E27FC236}">
                  <a16:creationId xmlns:a16="http://schemas.microsoft.com/office/drawing/2014/main" id="{591D5B58-41A8-7B5A-4408-0014D2A32C62}"/>
                </a:ext>
              </a:extLst>
            </p:cNvPr>
            <p:cNvSpPr/>
            <p:nvPr/>
          </p:nvSpPr>
          <p:spPr>
            <a:xfrm>
              <a:off x="2254531" y="16931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4" name="Google Shape;5741;p64">
              <a:extLst>
                <a:ext uri="{FF2B5EF4-FFF2-40B4-BE49-F238E27FC236}">
                  <a16:creationId xmlns:a16="http://schemas.microsoft.com/office/drawing/2014/main" id="{8A9C138E-9AD1-6C87-1A7E-240276EF8BED}"/>
                </a:ext>
              </a:extLst>
            </p:cNvPr>
            <p:cNvSpPr/>
            <p:nvPr/>
          </p:nvSpPr>
          <p:spPr>
            <a:xfrm>
              <a:off x="2255061" y="1693334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5" name="Google Shape;5742;p64">
              <a:extLst>
                <a:ext uri="{FF2B5EF4-FFF2-40B4-BE49-F238E27FC236}">
                  <a16:creationId xmlns:a16="http://schemas.microsoft.com/office/drawing/2014/main" id="{DA602D9E-E802-884C-96C2-199CF26F20F8}"/>
                </a:ext>
              </a:extLst>
            </p:cNvPr>
            <p:cNvSpPr/>
            <p:nvPr/>
          </p:nvSpPr>
          <p:spPr>
            <a:xfrm>
              <a:off x="2252400" y="16918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6" name="Google Shape;5743;p64">
              <a:extLst>
                <a:ext uri="{FF2B5EF4-FFF2-40B4-BE49-F238E27FC236}">
                  <a16:creationId xmlns:a16="http://schemas.microsoft.com/office/drawing/2014/main" id="{EA66FEAA-2FB1-E7AF-0DE0-166CA40E2182}"/>
                </a:ext>
              </a:extLst>
            </p:cNvPr>
            <p:cNvSpPr/>
            <p:nvPr/>
          </p:nvSpPr>
          <p:spPr>
            <a:xfrm>
              <a:off x="2252495" y="169200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1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7" name="Google Shape;5744;p64">
              <a:extLst>
                <a:ext uri="{FF2B5EF4-FFF2-40B4-BE49-F238E27FC236}">
                  <a16:creationId xmlns:a16="http://schemas.microsoft.com/office/drawing/2014/main" id="{49D7D79D-7600-16A4-3C9B-1EFA18F5A6AC}"/>
                </a:ext>
              </a:extLst>
            </p:cNvPr>
            <p:cNvSpPr/>
            <p:nvPr/>
          </p:nvSpPr>
          <p:spPr>
            <a:xfrm>
              <a:off x="2252305" y="1691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8" name="Google Shape;5745;p64">
              <a:extLst>
                <a:ext uri="{FF2B5EF4-FFF2-40B4-BE49-F238E27FC236}">
                  <a16:creationId xmlns:a16="http://schemas.microsoft.com/office/drawing/2014/main" id="{19EFB080-C8D9-58CD-D6A7-76C8B75B55F1}"/>
                </a:ext>
              </a:extLst>
            </p:cNvPr>
            <p:cNvSpPr/>
            <p:nvPr/>
          </p:nvSpPr>
          <p:spPr>
            <a:xfrm>
              <a:off x="2252250" y="169171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9" name="Google Shape;5746;p64">
              <a:extLst>
                <a:ext uri="{FF2B5EF4-FFF2-40B4-BE49-F238E27FC236}">
                  <a16:creationId xmlns:a16="http://schemas.microsoft.com/office/drawing/2014/main" id="{A85691E7-AA3A-653C-DC95-79D8095483B1}"/>
                </a:ext>
              </a:extLst>
            </p:cNvPr>
            <p:cNvSpPr/>
            <p:nvPr/>
          </p:nvSpPr>
          <p:spPr>
            <a:xfrm>
              <a:off x="2252209" y="16916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0" name="Google Shape;5747;p64">
              <a:extLst>
                <a:ext uri="{FF2B5EF4-FFF2-40B4-BE49-F238E27FC236}">
                  <a16:creationId xmlns:a16="http://schemas.microsoft.com/office/drawing/2014/main" id="{D4611EF2-86C7-655D-51E0-A487EC94E1E7}"/>
                </a:ext>
              </a:extLst>
            </p:cNvPr>
            <p:cNvSpPr/>
            <p:nvPr/>
          </p:nvSpPr>
          <p:spPr>
            <a:xfrm>
              <a:off x="2252630" y="169209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1" name="Google Shape;5748;p64">
              <a:extLst>
                <a:ext uri="{FF2B5EF4-FFF2-40B4-BE49-F238E27FC236}">
                  <a16:creationId xmlns:a16="http://schemas.microsoft.com/office/drawing/2014/main" id="{D5AE30F0-4553-FB6A-57FB-07F65F47CC18}"/>
                </a:ext>
              </a:extLst>
            </p:cNvPr>
            <p:cNvSpPr/>
            <p:nvPr/>
          </p:nvSpPr>
          <p:spPr>
            <a:xfrm>
              <a:off x="2198782" y="1705988"/>
              <a:ext cx="18031" cy="12274"/>
            </a:xfrm>
            <a:custGeom>
              <a:avLst/>
              <a:gdLst/>
              <a:ahLst/>
              <a:cxnLst/>
              <a:rect l="l" t="t" r="r" b="b"/>
              <a:pathLst>
                <a:path w="1328" h="904" extrusionOk="0">
                  <a:moveTo>
                    <a:pt x="904" y="0"/>
                  </a:moveTo>
                  <a:cubicBezTo>
                    <a:pt x="837" y="11"/>
                    <a:pt x="764" y="25"/>
                    <a:pt x="694" y="35"/>
                  </a:cubicBezTo>
                  <a:lnTo>
                    <a:pt x="690" y="35"/>
                  </a:lnTo>
                  <a:lnTo>
                    <a:pt x="655" y="42"/>
                  </a:lnTo>
                  <a:lnTo>
                    <a:pt x="652" y="42"/>
                  </a:lnTo>
                  <a:lnTo>
                    <a:pt x="617" y="49"/>
                  </a:lnTo>
                  <a:lnTo>
                    <a:pt x="582" y="56"/>
                  </a:lnTo>
                  <a:cubicBezTo>
                    <a:pt x="305" y="105"/>
                    <a:pt x="49" y="158"/>
                    <a:pt x="46" y="158"/>
                  </a:cubicBezTo>
                  <a:lnTo>
                    <a:pt x="46" y="161"/>
                  </a:lnTo>
                  <a:cubicBezTo>
                    <a:pt x="39" y="182"/>
                    <a:pt x="35" y="203"/>
                    <a:pt x="28" y="221"/>
                  </a:cubicBezTo>
                  <a:lnTo>
                    <a:pt x="28" y="231"/>
                  </a:lnTo>
                  <a:cubicBezTo>
                    <a:pt x="25" y="252"/>
                    <a:pt x="21" y="273"/>
                    <a:pt x="18" y="291"/>
                  </a:cubicBezTo>
                  <a:lnTo>
                    <a:pt x="18" y="301"/>
                  </a:lnTo>
                  <a:cubicBezTo>
                    <a:pt x="14" y="319"/>
                    <a:pt x="11" y="340"/>
                    <a:pt x="7" y="361"/>
                  </a:cubicBezTo>
                  <a:lnTo>
                    <a:pt x="7" y="364"/>
                  </a:lnTo>
                  <a:cubicBezTo>
                    <a:pt x="7" y="382"/>
                    <a:pt x="4" y="403"/>
                    <a:pt x="0" y="424"/>
                  </a:cubicBezTo>
                  <a:cubicBezTo>
                    <a:pt x="0" y="445"/>
                    <a:pt x="0" y="462"/>
                    <a:pt x="0" y="480"/>
                  </a:cubicBezTo>
                  <a:lnTo>
                    <a:pt x="0" y="487"/>
                  </a:lnTo>
                  <a:lnTo>
                    <a:pt x="0" y="532"/>
                  </a:lnTo>
                  <a:lnTo>
                    <a:pt x="0" y="539"/>
                  </a:lnTo>
                  <a:cubicBezTo>
                    <a:pt x="0" y="553"/>
                    <a:pt x="0" y="567"/>
                    <a:pt x="4" y="581"/>
                  </a:cubicBezTo>
                  <a:lnTo>
                    <a:pt x="4" y="585"/>
                  </a:lnTo>
                  <a:cubicBezTo>
                    <a:pt x="4" y="599"/>
                    <a:pt x="7" y="609"/>
                    <a:pt x="11" y="620"/>
                  </a:cubicBezTo>
                  <a:cubicBezTo>
                    <a:pt x="14" y="634"/>
                    <a:pt x="18" y="644"/>
                    <a:pt x="25" y="658"/>
                  </a:cubicBezTo>
                  <a:cubicBezTo>
                    <a:pt x="25" y="662"/>
                    <a:pt x="28" y="665"/>
                    <a:pt x="32" y="669"/>
                  </a:cubicBezTo>
                  <a:cubicBezTo>
                    <a:pt x="32" y="676"/>
                    <a:pt x="39" y="686"/>
                    <a:pt x="42" y="693"/>
                  </a:cubicBezTo>
                  <a:cubicBezTo>
                    <a:pt x="49" y="700"/>
                    <a:pt x="49" y="704"/>
                    <a:pt x="53" y="707"/>
                  </a:cubicBezTo>
                  <a:cubicBezTo>
                    <a:pt x="56" y="711"/>
                    <a:pt x="63" y="721"/>
                    <a:pt x="70" y="728"/>
                  </a:cubicBezTo>
                  <a:lnTo>
                    <a:pt x="84" y="742"/>
                  </a:lnTo>
                  <a:lnTo>
                    <a:pt x="102" y="763"/>
                  </a:lnTo>
                  <a:lnTo>
                    <a:pt x="119" y="777"/>
                  </a:lnTo>
                  <a:lnTo>
                    <a:pt x="141" y="798"/>
                  </a:lnTo>
                  <a:lnTo>
                    <a:pt x="162" y="816"/>
                  </a:lnTo>
                  <a:lnTo>
                    <a:pt x="186" y="837"/>
                  </a:lnTo>
                  <a:lnTo>
                    <a:pt x="207" y="854"/>
                  </a:lnTo>
                  <a:lnTo>
                    <a:pt x="235" y="875"/>
                  </a:lnTo>
                  <a:lnTo>
                    <a:pt x="260" y="893"/>
                  </a:lnTo>
                  <a:lnTo>
                    <a:pt x="274" y="903"/>
                  </a:lnTo>
                  <a:cubicBezTo>
                    <a:pt x="288" y="900"/>
                    <a:pt x="302" y="900"/>
                    <a:pt x="316" y="896"/>
                  </a:cubicBezTo>
                  <a:lnTo>
                    <a:pt x="519" y="896"/>
                  </a:lnTo>
                  <a:cubicBezTo>
                    <a:pt x="536" y="896"/>
                    <a:pt x="550" y="896"/>
                    <a:pt x="564" y="893"/>
                  </a:cubicBezTo>
                  <a:cubicBezTo>
                    <a:pt x="578" y="889"/>
                    <a:pt x="592" y="886"/>
                    <a:pt x="606" y="882"/>
                  </a:cubicBezTo>
                  <a:cubicBezTo>
                    <a:pt x="655" y="868"/>
                    <a:pt x="701" y="837"/>
                    <a:pt x="732" y="795"/>
                  </a:cubicBezTo>
                  <a:cubicBezTo>
                    <a:pt x="760" y="764"/>
                    <a:pt x="803" y="718"/>
                    <a:pt x="859" y="718"/>
                  </a:cubicBezTo>
                  <a:cubicBezTo>
                    <a:pt x="873" y="718"/>
                    <a:pt x="888" y="721"/>
                    <a:pt x="904" y="728"/>
                  </a:cubicBezTo>
                  <a:lnTo>
                    <a:pt x="918" y="728"/>
                  </a:lnTo>
                  <a:cubicBezTo>
                    <a:pt x="995" y="718"/>
                    <a:pt x="1187" y="627"/>
                    <a:pt x="1282" y="560"/>
                  </a:cubicBezTo>
                  <a:lnTo>
                    <a:pt x="1285" y="560"/>
                  </a:lnTo>
                  <a:lnTo>
                    <a:pt x="1303" y="546"/>
                  </a:lnTo>
                  <a:lnTo>
                    <a:pt x="1306" y="543"/>
                  </a:lnTo>
                  <a:lnTo>
                    <a:pt x="1317" y="536"/>
                  </a:lnTo>
                  <a:lnTo>
                    <a:pt x="1324" y="529"/>
                  </a:lnTo>
                  <a:lnTo>
                    <a:pt x="1327" y="525"/>
                  </a:lnTo>
                  <a:lnTo>
                    <a:pt x="1324" y="525"/>
                  </a:lnTo>
                  <a:lnTo>
                    <a:pt x="1317" y="515"/>
                  </a:lnTo>
                  <a:lnTo>
                    <a:pt x="1313" y="511"/>
                  </a:lnTo>
                  <a:lnTo>
                    <a:pt x="1303" y="504"/>
                  </a:lnTo>
                  <a:cubicBezTo>
                    <a:pt x="1264" y="476"/>
                    <a:pt x="1236" y="434"/>
                    <a:pt x="1222" y="389"/>
                  </a:cubicBezTo>
                  <a:cubicBezTo>
                    <a:pt x="1219" y="378"/>
                    <a:pt x="1187" y="315"/>
                    <a:pt x="953" y="88"/>
                  </a:cubicBezTo>
                  <a:lnTo>
                    <a:pt x="939" y="74"/>
                  </a:lnTo>
                  <a:cubicBezTo>
                    <a:pt x="921" y="53"/>
                    <a:pt x="911" y="28"/>
                    <a:pt x="9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2" name="Google Shape;5749;p64">
              <a:extLst>
                <a:ext uri="{FF2B5EF4-FFF2-40B4-BE49-F238E27FC236}">
                  <a16:creationId xmlns:a16="http://schemas.microsoft.com/office/drawing/2014/main" id="{9300E852-EF2A-785D-52B8-44D1A80E9655}"/>
                </a:ext>
              </a:extLst>
            </p:cNvPr>
            <p:cNvSpPr/>
            <p:nvPr/>
          </p:nvSpPr>
          <p:spPr>
            <a:xfrm>
              <a:off x="2198823" y="171097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3" name="Google Shape;5750;p64">
              <a:extLst>
                <a:ext uri="{FF2B5EF4-FFF2-40B4-BE49-F238E27FC236}">
                  <a16:creationId xmlns:a16="http://schemas.microsoft.com/office/drawing/2014/main" id="{D70CD160-7E58-B9C8-6FA2-D08342952BF9}"/>
                </a:ext>
              </a:extLst>
            </p:cNvPr>
            <p:cNvSpPr/>
            <p:nvPr/>
          </p:nvSpPr>
          <p:spPr>
            <a:xfrm>
              <a:off x="2198728" y="17117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4" name="Google Shape;5751;p64">
              <a:extLst>
                <a:ext uri="{FF2B5EF4-FFF2-40B4-BE49-F238E27FC236}">
                  <a16:creationId xmlns:a16="http://schemas.microsoft.com/office/drawing/2014/main" id="{7618F8AA-429A-627E-A260-BB29CDE428D4}"/>
                </a:ext>
              </a:extLst>
            </p:cNvPr>
            <p:cNvSpPr/>
            <p:nvPr/>
          </p:nvSpPr>
          <p:spPr>
            <a:xfrm>
              <a:off x="2198728" y="171391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5" name="Google Shape;5752;p64">
              <a:extLst>
                <a:ext uri="{FF2B5EF4-FFF2-40B4-BE49-F238E27FC236}">
                  <a16:creationId xmlns:a16="http://schemas.microsoft.com/office/drawing/2014/main" id="{4B8B1DDA-D29E-9E85-2E48-5010BF7DE4FB}"/>
                </a:ext>
              </a:extLst>
            </p:cNvPr>
            <p:cNvSpPr/>
            <p:nvPr/>
          </p:nvSpPr>
          <p:spPr>
            <a:xfrm>
              <a:off x="2202204" y="171815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5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6" name="Google Shape;5753;p64">
              <a:extLst>
                <a:ext uri="{FF2B5EF4-FFF2-40B4-BE49-F238E27FC236}">
                  <a16:creationId xmlns:a16="http://schemas.microsoft.com/office/drawing/2014/main" id="{9E974752-FCD5-9E9D-F705-F715709BEFDD}"/>
                </a:ext>
              </a:extLst>
            </p:cNvPr>
            <p:cNvSpPr/>
            <p:nvPr/>
          </p:nvSpPr>
          <p:spPr>
            <a:xfrm>
              <a:off x="2199447" y="171562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cubicBezTo>
                    <a:pt x="11" y="15"/>
                    <a:pt x="4" y="8"/>
                    <a:pt x="0" y="1"/>
                  </a:cubicBezTo>
                  <a:cubicBezTo>
                    <a:pt x="4" y="8"/>
                    <a:pt x="11" y="15"/>
                    <a:pt x="14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7" name="Google Shape;5754;p64">
              <a:extLst>
                <a:ext uri="{FF2B5EF4-FFF2-40B4-BE49-F238E27FC236}">
                  <a16:creationId xmlns:a16="http://schemas.microsoft.com/office/drawing/2014/main" id="{BF78ED2D-F303-0011-F93F-AFBF6729D55D}"/>
                </a:ext>
              </a:extLst>
            </p:cNvPr>
            <p:cNvSpPr/>
            <p:nvPr/>
          </p:nvSpPr>
          <p:spPr>
            <a:xfrm>
              <a:off x="2198687" y="171249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ubicBezTo>
                    <a:pt x="0" y="1"/>
                    <a:pt x="0" y="8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8" name="Google Shape;5755;p64">
              <a:extLst>
                <a:ext uri="{FF2B5EF4-FFF2-40B4-BE49-F238E27FC236}">
                  <a16:creationId xmlns:a16="http://schemas.microsoft.com/office/drawing/2014/main" id="{012875E7-3F61-9AAA-3D2D-A2861A79293D}"/>
                </a:ext>
              </a:extLst>
            </p:cNvPr>
            <p:cNvSpPr/>
            <p:nvPr/>
          </p:nvSpPr>
          <p:spPr>
            <a:xfrm>
              <a:off x="2199828" y="1716103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9" name="Google Shape;5756;p64">
              <a:extLst>
                <a:ext uri="{FF2B5EF4-FFF2-40B4-BE49-F238E27FC236}">
                  <a16:creationId xmlns:a16="http://schemas.microsoft.com/office/drawing/2014/main" id="{822DDD90-283C-75A3-2674-7A8180668C23}"/>
                </a:ext>
              </a:extLst>
            </p:cNvPr>
            <p:cNvSpPr/>
            <p:nvPr/>
          </p:nvSpPr>
          <p:spPr>
            <a:xfrm>
              <a:off x="2198687" y="17133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0" name="Google Shape;5757;p64">
              <a:extLst>
                <a:ext uri="{FF2B5EF4-FFF2-40B4-BE49-F238E27FC236}">
                  <a16:creationId xmlns:a16="http://schemas.microsoft.com/office/drawing/2014/main" id="{75C6792F-EDFC-01B9-98A0-C2AAA10F29F9}"/>
                </a:ext>
              </a:extLst>
            </p:cNvPr>
            <p:cNvSpPr/>
            <p:nvPr/>
          </p:nvSpPr>
          <p:spPr>
            <a:xfrm>
              <a:off x="2201538" y="171758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9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1" name="Google Shape;5758;p64">
              <a:extLst>
                <a:ext uri="{FF2B5EF4-FFF2-40B4-BE49-F238E27FC236}">
                  <a16:creationId xmlns:a16="http://schemas.microsoft.com/office/drawing/2014/main" id="{EF442CCD-5781-C4E4-9B2C-4F326C57A3A8}"/>
                </a:ext>
              </a:extLst>
            </p:cNvPr>
            <p:cNvSpPr/>
            <p:nvPr/>
          </p:nvSpPr>
          <p:spPr>
            <a:xfrm>
              <a:off x="2198918" y="170998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2" name="Google Shape;5759;p64">
              <a:extLst>
                <a:ext uri="{FF2B5EF4-FFF2-40B4-BE49-F238E27FC236}">
                  <a16:creationId xmlns:a16="http://schemas.microsoft.com/office/drawing/2014/main" id="{630EB954-5FB9-B68B-1D13-87E8FAF9F2F0}"/>
                </a:ext>
              </a:extLst>
            </p:cNvPr>
            <p:cNvSpPr/>
            <p:nvPr/>
          </p:nvSpPr>
          <p:spPr>
            <a:xfrm>
              <a:off x="2200873" y="1717108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3" name="Google Shape;5760;p64">
              <a:extLst>
                <a:ext uri="{FF2B5EF4-FFF2-40B4-BE49-F238E27FC236}">
                  <a16:creationId xmlns:a16="http://schemas.microsoft.com/office/drawing/2014/main" id="{E90DAEB8-0E89-2ADD-049B-ABA4FCC17A2E}"/>
                </a:ext>
              </a:extLst>
            </p:cNvPr>
            <p:cNvSpPr/>
            <p:nvPr/>
          </p:nvSpPr>
          <p:spPr>
            <a:xfrm>
              <a:off x="2198823" y="1714447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15" y="39"/>
                  </a:moveTo>
                  <a:cubicBezTo>
                    <a:pt x="8" y="25"/>
                    <a:pt x="4" y="14"/>
                    <a:pt x="1" y="0"/>
                  </a:cubicBezTo>
                  <a:cubicBezTo>
                    <a:pt x="4" y="14"/>
                    <a:pt x="8" y="25"/>
                    <a:pt x="15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4" name="Google Shape;5761;p64">
              <a:extLst>
                <a:ext uri="{FF2B5EF4-FFF2-40B4-BE49-F238E27FC236}">
                  <a16:creationId xmlns:a16="http://schemas.microsoft.com/office/drawing/2014/main" id="{43E4BD5D-C635-36FC-ED85-F26D1A6E25C7}"/>
                </a:ext>
              </a:extLst>
            </p:cNvPr>
            <p:cNvSpPr/>
            <p:nvPr/>
          </p:nvSpPr>
          <p:spPr>
            <a:xfrm>
              <a:off x="2200343" y="1716578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5" name="Google Shape;5762;p64">
              <a:extLst>
                <a:ext uri="{FF2B5EF4-FFF2-40B4-BE49-F238E27FC236}">
                  <a16:creationId xmlns:a16="http://schemas.microsoft.com/office/drawing/2014/main" id="{59741876-B265-7653-611A-06C62D810C98}"/>
                </a:ext>
              </a:extLst>
            </p:cNvPr>
            <p:cNvSpPr/>
            <p:nvPr/>
          </p:nvSpPr>
          <p:spPr>
            <a:xfrm>
              <a:off x="2199108" y="170902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6" name="Google Shape;5763;p64">
              <a:extLst>
                <a:ext uri="{FF2B5EF4-FFF2-40B4-BE49-F238E27FC236}">
                  <a16:creationId xmlns:a16="http://schemas.microsoft.com/office/drawing/2014/main" id="{79D7E3C2-280A-36A3-9291-807B450B0B46}"/>
                </a:ext>
              </a:extLst>
            </p:cNvPr>
            <p:cNvSpPr/>
            <p:nvPr/>
          </p:nvSpPr>
          <p:spPr>
            <a:xfrm>
              <a:off x="2199108" y="17151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5" y="25"/>
                  </a:moveTo>
                  <a:cubicBezTo>
                    <a:pt x="8" y="18"/>
                    <a:pt x="4" y="7"/>
                    <a:pt x="1" y="0"/>
                  </a:cubicBezTo>
                  <a:cubicBezTo>
                    <a:pt x="4" y="7"/>
                    <a:pt x="8" y="18"/>
                    <a:pt x="1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7" name="Google Shape;5764;p64">
              <a:extLst>
                <a:ext uri="{FF2B5EF4-FFF2-40B4-BE49-F238E27FC236}">
                  <a16:creationId xmlns:a16="http://schemas.microsoft.com/office/drawing/2014/main" id="{29E38063-C627-7290-3C09-CEA36A786442}"/>
                </a:ext>
              </a:extLst>
            </p:cNvPr>
            <p:cNvSpPr/>
            <p:nvPr/>
          </p:nvSpPr>
          <p:spPr>
            <a:xfrm>
              <a:off x="2199352" y="1708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8" name="Google Shape;5765;p64">
              <a:extLst>
                <a:ext uri="{FF2B5EF4-FFF2-40B4-BE49-F238E27FC236}">
                  <a16:creationId xmlns:a16="http://schemas.microsoft.com/office/drawing/2014/main" id="{242C66C0-F04F-A3F6-FA57-4513104AC53F}"/>
                </a:ext>
              </a:extLst>
            </p:cNvPr>
            <p:cNvSpPr/>
            <p:nvPr/>
          </p:nvSpPr>
          <p:spPr>
            <a:xfrm>
              <a:off x="2216609" y="171296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9" name="Google Shape;5766;p64">
              <a:extLst>
                <a:ext uri="{FF2B5EF4-FFF2-40B4-BE49-F238E27FC236}">
                  <a16:creationId xmlns:a16="http://schemas.microsoft.com/office/drawing/2014/main" id="{3BC2A13F-F4EE-9FF4-DCC3-806464B19F47}"/>
                </a:ext>
              </a:extLst>
            </p:cNvPr>
            <p:cNvSpPr/>
            <p:nvPr/>
          </p:nvSpPr>
          <p:spPr>
            <a:xfrm>
              <a:off x="2216745" y="1713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0" name="Google Shape;5767;p64">
              <a:extLst>
                <a:ext uri="{FF2B5EF4-FFF2-40B4-BE49-F238E27FC236}">
                  <a16:creationId xmlns:a16="http://schemas.microsoft.com/office/drawing/2014/main" id="{F3322D13-5FF5-FCC5-4228-2531012A65ED}"/>
                </a:ext>
              </a:extLst>
            </p:cNvPr>
            <p:cNvSpPr/>
            <p:nvPr/>
          </p:nvSpPr>
          <p:spPr>
            <a:xfrm>
              <a:off x="2211097" y="1705988"/>
              <a:ext cx="434" cy="1005"/>
            </a:xfrm>
            <a:custGeom>
              <a:avLst/>
              <a:gdLst/>
              <a:ahLst/>
              <a:cxnLst/>
              <a:rect l="l" t="t" r="r" b="b"/>
              <a:pathLst>
                <a:path w="32" h="74" extrusionOk="0">
                  <a:moveTo>
                    <a:pt x="32" y="74"/>
                  </a:moveTo>
                  <a:cubicBezTo>
                    <a:pt x="14" y="53"/>
                    <a:pt x="4" y="28"/>
                    <a:pt x="0" y="0"/>
                  </a:cubicBezTo>
                  <a:lnTo>
                    <a:pt x="0" y="0"/>
                  </a:lnTo>
                  <a:cubicBezTo>
                    <a:pt x="4" y="28"/>
                    <a:pt x="14" y="53"/>
                    <a:pt x="32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1" name="Google Shape;5768;p64">
              <a:extLst>
                <a:ext uri="{FF2B5EF4-FFF2-40B4-BE49-F238E27FC236}">
                  <a16:creationId xmlns:a16="http://schemas.microsoft.com/office/drawing/2014/main" id="{3D763B4F-2EAA-C139-B0FF-45F26DCD40F7}"/>
                </a:ext>
              </a:extLst>
            </p:cNvPr>
            <p:cNvSpPr/>
            <p:nvPr/>
          </p:nvSpPr>
          <p:spPr>
            <a:xfrm>
              <a:off x="2211572" y="1611095"/>
              <a:ext cx="130385" cy="74283"/>
            </a:xfrm>
            <a:custGeom>
              <a:avLst/>
              <a:gdLst/>
              <a:ahLst/>
              <a:cxnLst/>
              <a:rect l="l" t="t" r="r" b="b"/>
              <a:pathLst>
                <a:path w="9603" h="5471" extrusionOk="0">
                  <a:moveTo>
                    <a:pt x="6047" y="1"/>
                  </a:moveTo>
                  <a:cubicBezTo>
                    <a:pt x="5989" y="1"/>
                    <a:pt x="5932" y="7"/>
                    <a:pt x="5896" y="19"/>
                  </a:cubicBezTo>
                  <a:lnTo>
                    <a:pt x="5885" y="23"/>
                  </a:lnTo>
                  <a:cubicBezTo>
                    <a:pt x="5868" y="30"/>
                    <a:pt x="5850" y="33"/>
                    <a:pt x="5833" y="37"/>
                  </a:cubicBezTo>
                  <a:cubicBezTo>
                    <a:pt x="5819" y="37"/>
                    <a:pt x="5805" y="38"/>
                    <a:pt x="5791" y="38"/>
                  </a:cubicBezTo>
                  <a:cubicBezTo>
                    <a:pt x="5754" y="38"/>
                    <a:pt x="5718" y="35"/>
                    <a:pt x="5682" y="30"/>
                  </a:cubicBezTo>
                  <a:cubicBezTo>
                    <a:pt x="5652" y="25"/>
                    <a:pt x="5613" y="21"/>
                    <a:pt x="5581" y="21"/>
                  </a:cubicBezTo>
                  <a:cubicBezTo>
                    <a:pt x="5558" y="21"/>
                    <a:pt x="5538" y="24"/>
                    <a:pt x="5528" y="30"/>
                  </a:cubicBezTo>
                  <a:cubicBezTo>
                    <a:pt x="5504" y="44"/>
                    <a:pt x="5483" y="58"/>
                    <a:pt x="5465" y="75"/>
                  </a:cubicBezTo>
                  <a:cubicBezTo>
                    <a:pt x="5405" y="135"/>
                    <a:pt x="5325" y="170"/>
                    <a:pt x="5241" y="173"/>
                  </a:cubicBezTo>
                  <a:cubicBezTo>
                    <a:pt x="5206" y="173"/>
                    <a:pt x="5174" y="170"/>
                    <a:pt x="5139" y="159"/>
                  </a:cubicBezTo>
                  <a:cubicBezTo>
                    <a:pt x="5115" y="152"/>
                    <a:pt x="5090" y="138"/>
                    <a:pt x="5069" y="121"/>
                  </a:cubicBezTo>
                  <a:lnTo>
                    <a:pt x="5038" y="142"/>
                  </a:lnTo>
                  <a:lnTo>
                    <a:pt x="5031" y="142"/>
                  </a:lnTo>
                  <a:lnTo>
                    <a:pt x="4992" y="152"/>
                  </a:lnTo>
                  <a:lnTo>
                    <a:pt x="4985" y="152"/>
                  </a:lnTo>
                  <a:lnTo>
                    <a:pt x="4947" y="159"/>
                  </a:lnTo>
                  <a:lnTo>
                    <a:pt x="4940" y="159"/>
                  </a:lnTo>
                  <a:lnTo>
                    <a:pt x="4901" y="166"/>
                  </a:lnTo>
                  <a:lnTo>
                    <a:pt x="4863" y="173"/>
                  </a:lnTo>
                  <a:lnTo>
                    <a:pt x="4859" y="173"/>
                  </a:lnTo>
                  <a:lnTo>
                    <a:pt x="4828" y="177"/>
                  </a:lnTo>
                  <a:lnTo>
                    <a:pt x="4821" y="177"/>
                  </a:lnTo>
                  <a:lnTo>
                    <a:pt x="4796" y="180"/>
                  </a:lnTo>
                  <a:lnTo>
                    <a:pt x="4772" y="180"/>
                  </a:lnTo>
                  <a:cubicBezTo>
                    <a:pt x="4625" y="299"/>
                    <a:pt x="4495" y="432"/>
                    <a:pt x="4488" y="474"/>
                  </a:cubicBezTo>
                  <a:cubicBezTo>
                    <a:pt x="4488" y="670"/>
                    <a:pt x="4436" y="712"/>
                    <a:pt x="4401" y="730"/>
                  </a:cubicBezTo>
                  <a:lnTo>
                    <a:pt x="4387" y="733"/>
                  </a:lnTo>
                  <a:lnTo>
                    <a:pt x="4341" y="733"/>
                  </a:lnTo>
                  <a:lnTo>
                    <a:pt x="4331" y="730"/>
                  </a:lnTo>
                  <a:lnTo>
                    <a:pt x="4324" y="726"/>
                  </a:lnTo>
                  <a:lnTo>
                    <a:pt x="4306" y="719"/>
                  </a:lnTo>
                  <a:lnTo>
                    <a:pt x="4303" y="712"/>
                  </a:lnTo>
                  <a:cubicBezTo>
                    <a:pt x="4292" y="709"/>
                    <a:pt x="4285" y="702"/>
                    <a:pt x="4278" y="695"/>
                  </a:cubicBezTo>
                  <a:cubicBezTo>
                    <a:pt x="4248" y="664"/>
                    <a:pt x="4134" y="649"/>
                    <a:pt x="4030" y="649"/>
                  </a:cubicBezTo>
                  <a:cubicBezTo>
                    <a:pt x="3955" y="649"/>
                    <a:pt x="3885" y="657"/>
                    <a:pt x="3858" y="674"/>
                  </a:cubicBezTo>
                  <a:cubicBezTo>
                    <a:pt x="3839" y="685"/>
                    <a:pt x="3820" y="689"/>
                    <a:pt x="3802" y="689"/>
                  </a:cubicBezTo>
                  <a:cubicBezTo>
                    <a:pt x="3749" y="689"/>
                    <a:pt x="3699" y="651"/>
                    <a:pt x="3655" y="618"/>
                  </a:cubicBezTo>
                  <a:cubicBezTo>
                    <a:pt x="3599" y="575"/>
                    <a:pt x="3564" y="552"/>
                    <a:pt x="3534" y="552"/>
                  </a:cubicBezTo>
                  <a:cubicBezTo>
                    <a:pt x="3522" y="552"/>
                    <a:pt x="3512" y="555"/>
                    <a:pt x="3501" y="562"/>
                  </a:cubicBezTo>
                  <a:cubicBezTo>
                    <a:pt x="3465" y="581"/>
                    <a:pt x="3428" y="589"/>
                    <a:pt x="3391" y="589"/>
                  </a:cubicBezTo>
                  <a:cubicBezTo>
                    <a:pt x="3316" y="589"/>
                    <a:pt x="3245" y="558"/>
                    <a:pt x="3193" y="537"/>
                  </a:cubicBezTo>
                  <a:lnTo>
                    <a:pt x="3161" y="523"/>
                  </a:lnTo>
                  <a:cubicBezTo>
                    <a:pt x="3151" y="537"/>
                    <a:pt x="3137" y="548"/>
                    <a:pt x="3123" y="558"/>
                  </a:cubicBezTo>
                  <a:cubicBezTo>
                    <a:pt x="3102" y="569"/>
                    <a:pt x="3075" y="574"/>
                    <a:pt x="3045" y="574"/>
                  </a:cubicBezTo>
                  <a:cubicBezTo>
                    <a:pt x="2942" y="574"/>
                    <a:pt x="2801" y="519"/>
                    <a:pt x="2717" y="481"/>
                  </a:cubicBezTo>
                  <a:cubicBezTo>
                    <a:pt x="2668" y="468"/>
                    <a:pt x="2616" y="461"/>
                    <a:pt x="2566" y="461"/>
                  </a:cubicBezTo>
                  <a:cubicBezTo>
                    <a:pt x="2548" y="461"/>
                    <a:pt x="2531" y="462"/>
                    <a:pt x="2514" y="464"/>
                  </a:cubicBezTo>
                  <a:cubicBezTo>
                    <a:pt x="2490" y="464"/>
                    <a:pt x="2466" y="465"/>
                    <a:pt x="2442" y="465"/>
                  </a:cubicBezTo>
                  <a:cubicBezTo>
                    <a:pt x="2344" y="465"/>
                    <a:pt x="2251" y="453"/>
                    <a:pt x="2192" y="383"/>
                  </a:cubicBezTo>
                  <a:cubicBezTo>
                    <a:pt x="2178" y="369"/>
                    <a:pt x="2118" y="331"/>
                    <a:pt x="1842" y="310"/>
                  </a:cubicBezTo>
                  <a:lnTo>
                    <a:pt x="1758" y="303"/>
                  </a:lnTo>
                  <a:cubicBezTo>
                    <a:pt x="1642" y="296"/>
                    <a:pt x="1495" y="292"/>
                    <a:pt x="1306" y="292"/>
                  </a:cubicBezTo>
                  <a:cubicBezTo>
                    <a:pt x="1166" y="292"/>
                    <a:pt x="1117" y="348"/>
                    <a:pt x="1050" y="425"/>
                  </a:cubicBezTo>
                  <a:cubicBezTo>
                    <a:pt x="1033" y="446"/>
                    <a:pt x="1015" y="464"/>
                    <a:pt x="998" y="485"/>
                  </a:cubicBezTo>
                  <a:cubicBezTo>
                    <a:pt x="984" y="495"/>
                    <a:pt x="973" y="506"/>
                    <a:pt x="959" y="516"/>
                  </a:cubicBezTo>
                  <a:lnTo>
                    <a:pt x="949" y="523"/>
                  </a:lnTo>
                  <a:cubicBezTo>
                    <a:pt x="942" y="527"/>
                    <a:pt x="931" y="534"/>
                    <a:pt x="924" y="537"/>
                  </a:cubicBezTo>
                  <a:lnTo>
                    <a:pt x="910" y="544"/>
                  </a:lnTo>
                  <a:lnTo>
                    <a:pt x="886" y="555"/>
                  </a:lnTo>
                  <a:lnTo>
                    <a:pt x="872" y="558"/>
                  </a:lnTo>
                  <a:lnTo>
                    <a:pt x="851" y="565"/>
                  </a:lnTo>
                  <a:lnTo>
                    <a:pt x="837" y="569"/>
                  </a:lnTo>
                  <a:lnTo>
                    <a:pt x="809" y="572"/>
                  </a:lnTo>
                  <a:lnTo>
                    <a:pt x="732" y="572"/>
                  </a:lnTo>
                  <a:cubicBezTo>
                    <a:pt x="735" y="597"/>
                    <a:pt x="746" y="625"/>
                    <a:pt x="756" y="649"/>
                  </a:cubicBezTo>
                  <a:cubicBezTo>
                    <a:pt x="795" y="705"/>
                    <a:pt x="826" y="758"/>
                    <a:pt x="854" y="803"/>
                  </a:cubicBezTo>
                  <a:cubicBezTo>
                    <a:pt x="1015" y="1083"/>
                    <a:pt x="1005" y="1188"/>
                    <a:pt x="984" y="1234"/>
                  </a:cubicBezTo>
                  <a:cubicBezTo>
                    <a:pt x="980" y="1237"/>
                    <a:pt x="980" y="1244"/>
                    <a:pt x="977" y="1251"/>
                  </a:cubicBezTo>
                  <a:cubicBezTo>
                    <a:pt x="938" y="1314"/>
                    <a:pt x="882" y="1363"/>
                    <a:pt x="816" y="1391"/>
                  </a:cubicBezTo>
                  <a:cubicBezTo>
                    <a:pt x="781" y="1405"/>
                    <a:pt x="753" y="1430"/>
                    <a:pt x="725" y="1454"/>
                  </a:cubicBezTo>
                  <a:cubicBezTo>
                    <a:pt x="697" y="1489"/>
                    <a:pt x="627" y="1556"/>
                    <a:pt x="539" y="1636"/>
                  </a:cubicBezTo>
                  <a:cubicBezTo>
                    <a:pt x="434" y="1738"/>
                    <a:pt x="259" y="1902"/>
                    <a:pt x="231" y="1952"/>
                  </a:cubicBezTo>
                  <a:cubicBezTo>
                    <a:pt x="235" y="1983"/>
                    <a:pt x="238" y="2018"/>
                    <a:pt x="245" y="2050"/>
                  </a:cubicBezTo>
                  <a:cubicBezTo>
                    <a:pt x="256" y="2113"/>
                    <a:pt x="263" y="2176"/>
                    <a:pt x="266" y="2239"/>
                  </a:cubicBezTo>
                  <a:lnTo>
                    <a:pt x="294" y="2242"/>
                  </a:lnTo>
                  <a:lnTo>
                    <a:pt x="249" y="2316"/>
                  </a:lnTo>
                  <a:cubicBezTo>
                    <a:pt x="245" y="2323"/>
                    <a:pt x="242" y="2330"/>
                    <a:pt x="238" y="2340"/>
                  </a:cubicBezTo>
                  <a:lnTo>
                    <a:pt x="224" y="2365"/>
                  </a:lnTo>
                  <a:lnTo>
                    <a:pt x="214" y="2365"/>
                  </a:lnTo>
                  <a:cubicBezTo>
                    <a:pt x="158" y="2410"/>
                    <a:pt x="18" y="2620"/>
                    <a:pt x="0" y="2697"/>
                  </a:cubicBezTo>
                  <a:cubicBezTo>
                    <a:pt x="0" y="2701"/>
                    <a:pt x="0" y="2708"/>
                    <a:pt x="0" y="2711"/>
                  </a:cubicBezTo>
                  <a:cubicBezTo>
                    <a:pt x="0" y="2718"/>
                    <a:pt x="4" y="2725"/>
                    <a:pt x="4" y="2732"/>
                  </a:cubicBezTo>
                  <a:lnTo>
                    <a:pt x="4" y="2739"/>
                  </a:lnTo>
                  <a:cubicBezTo>
                    <a:pt x="7" y="2746"/>
                    <a:pt x="11" y="2750"/>
                    <a:pt x="14" y="2757"/>
                  </a:cubicBezTo>
                  <a:lnTo>
                    <a:pt x="21" y="2767"/>
                  </a:lnTo>
                  <a:cubicBezTo>
                    <a:pt x="25" y="2774"/>
                    <a:pt x="28" y="2781"/>
                    <a:pt x="35" y="2792"/>
                  </a:cubicBezTo>
                  <a:lnTo>
                    <a:pt x="42" y="2802"/>
                  </a:lnTo>
                  <a:lnTo>
                    <a:pt x="56" y="2816"/>
                  </a:lnTo>
                  <a:lnTo>
                    <a:pt x="67" y="2830"/>
                  </a:lnTo>
                  <a:lnTo>
                    <a:pt x="70" y="2834"/>
                  </a:lnTo>
                  <a:lnTo>
                    <a:pt x="91" y="2851"/>
                  </a:lnTo>
                  <a:cubicBezTo>
                    <a:pt x="105" y="2865"/>
                    <a:pt x="123" y="2876"/>
                    <a:pt x="140" y="2886"/>
                  </a:cubicBezTo>
                  <a:lnTo>
                    <a:pt x="147" y="2893"/>
                  </a:lnTo>
                  <a:lnTo>
                    <a:pt x="165" y="2904"/>
                  </a:lnTo>
                  <a:cubicBezTo>
                    <a:pt x="175" y="2907"/>
                    <a:pt x="186" y="2911"/>
                    <a:pt x="196" y="2918"/>
                  </a:cubicBezTo>
                  <a:cubicBezTo>
                    <a:pt x="207" y="2921"/>
                    <a:pt x="217" y="2925"/>
                    <a:pt x="228" y="2928"/>
                  </a:cubicBezTo>
                  <a:lnTo>
                    <a:pt x="245" y="2939"/>
                  </a:lnTo>
                  <a:lnTo>
                    <a:pt x="252" y="2942"/>
                  </a:lnTo>
                  <a:cubicBezTo>
                    <a:pt x="266" y="2949"/>
                    <a:pt x="280" y="2960"/>
                    <a:pt x="294" y="2970"/>
                  </a:cubicBezTo>
                  <a:lnTo>
                    <a:pt x="340" y="2967"/>
                  </a:lnTo>
                  <a:lnTo>
                    <a:pt x="343" y="2967"/>
                  </a:lnTo>
                  <a:lnTo>
                    <a:pt x="389" y="2963"/>
                  </a:lnTo>
                  <a:lnTo>
                    <a:pt x="396" y="2963"/>
                  </a:lnTo>
                  <a:lnTo>
                    <a:pt x="434" y="2960"/>
                  </a:lnTo>
                  <a:lnTo>
                    <a:pt x="473" y="2960"/>
                  </a:lnTo>
                  <a:cubicBezTo>
                    <a:pt x="557" y="2967"/>
                    <a:pt x="641" y="2984"/>
                    <a:pt x="721" y="3005"/>
                  </a:cubicBezTo>
                  <a:cubicBezTo>
                    <a:pt x="819" y="3030"/>
                    <a:pt x="921" y="3047"/>
                    <a:pt x="1022" y="3058"/>
                  </a:cubicBezTo>
                  <a:cubicBezTo>
                    <a:pt x="1141" y="3058"/>
                    <a:pt x="1327" y="3107"/>
                    <a:pt x="1394" y="3173"/>
                  </a:cubicBezTo>
                  <a:cubicBezTo>
                    <a:pt x="1396" y="3176"/>
                    <a:pt x="1402" y="3177"/>
                    <a:pt x="1410" y="3177"/>
                  </a:cubicBezTo>
                  <a:cubicBezTo>
                    <a:pt x="1436" y="3177"/>
                    <a:pt x="1490" y="3161"/>
                    <a:pt x="1544" y="3107"/>
                  </a:cubicBezTo>
                  <a:cubicBezTo>
                    <a:pt x="1576" y="3075"/>
                    <a:pt x="1614" y="3054"/>
                    <a:pt x="1660" y="3047"/>
                  </a:cubicBezTo>
                  <a:cubicBezTo>
                    <a:pt x="1680" y="3044"/>
                    <a:pt x="1700" y="3042"/>
                    <a:pt x="1719" y="3042"/>
                  </a:cubicBezTo>
                  <a:cubicBezTo>
                    <a:pt x="1744" y="3042"/>
                    <a:pt x="1768" y="3045"/>
                    <a:pt x="1793" y="3051"/>
                  </a:cubicBezTo>
                  <a:cubicBezTo>
                    <a:pt x="1814" y="3054"/>
                    <a:pt x="1838" y="3054"/>
                    <a:pt x="1863" y="3058"/>
                  </a:cubicBezTo>
                  <a:cubicBezTo>
                    <a:pt x="1940" y="3058"/>
                    <a:pt x="2080" y="2984"/>
                    <a:pt x="2115" y="2925"/>
                  </a:cubicBezTo>
                  <a:cubicBezTo>
                    <a:pt x="2132" y="2897"/>
                    <a:pt x="2167" y="2865"/>
                    <a:pt x="2293" y="2813"/>
                  </a:cubicBezTo>
                  <a:lnTo>
                    <a:pt x="2304" y="2809"/>
                  </a:lnTo>
                  <a:lnTo>
                    <a:pt x="2339" y="2799"/>
                  </a:lnTo>
                  <a:lnTo>
                    <a:pt x="2374" y="2785"/>
                  </a:lnTo>
                  <a:cubicBezTo>
                    <a:pt x="2398" y="2778"/>
                    <a:pt x="2426" y="2771"/>
                    <a:pt x="2451" y="2760"/>
                  </a:cubicBezTo>
                  <a:lnTo>
                    <a:pt x="2468" y="2757"/>
                  </a:lnTo>
                  <a:lnTo>
                    <a:pt x="2521" y="2739"/>
                  </a:lnTo>
                  <a:cubicBezTo>
                    <a:pt x="2615" y="2711"/>
                    <a:pt x="2713" y="2690"/>
                    <a:pt x="2811" y="2673"/>
                  </a:cubicBezTo>
                  <a:lnTo>
                    <a:pt x="2825" y="2673"/>
                  </a:lnTo>
                  <a:cubicBezTo>
                    <a:pt x="2833" y="2672"/>
                    <a:pt x="2841" y="2671"/>
                    <a:pt x="2848" y="2671"/>
                  </a:cubicBezTo>
                  <a:cubicBezTo>
                    <a:pt x="2938" y="2671"/>
                    <a:pt x="3025" y="2745"/>
                    <a:pt x="3116" y="2813"/>
                  </a:cubicBezTo>
                  <a:cubicBezTo>
                    <a:pt x="3165" y="2855"/>
                    <a:pt x="3238" y="2914"/>
                    <a:pt x="3270" y="2914"/>
                  </a:cubicBezTo>
                  <a:cubicBezTo>
                    <a:pt x="3480" y="2918"/>
                    <a:pt x="3662" y="3058"/>
                    <a:pt x="3725" y="3257"/>
                  </a:cubicBezTo>
                  <a:cubicBezTo>
                    <a:pt x="3739" y="3299"/>
                    <a:pt x="3757" y="3341"/>
                    <a:pt x="3778" y="3383"/>
                  </a:cubicBezTo>
                  <a:cubicBezTo>
                    <a:pt x="3816" y="3460"/>
                    <a:pt x="3858" y="3534"/>
                    <a:pt x="3907" y="3604"/>
                  </a:cubicBezTo>
                  <a:cubicBezTo>
                    <a:pt x="3928" y="3635"/>
                    <a:pt x="3953" y="3663"/>
                    <a:pt x="3974" y="3691"/>
                  </a:cubicBezTo>
                  <a:lnTo>
                    <a:pt x="3995" y="3716"/>
                  </a:lnTo>
                  <a:cubicBezTo>
                    <a:pt x="4009" y="3733"/>
                    <a:pt x="4019" y="3751"/>
                    <a:pt x="4033" y="3761"/>
                  </a:cubicBezTo>
                  <a:lnTo>
                    <a:pt x="4047" y="3779"/>
                  </a:lnTo>
                  <a:cubicBezTo>
                    <a:pt x="4145" y="3877"/>
                    <a:pt x="4198" y="4105"/>
                    <a:pt x="4198" y="4182"/>
                  </a:cubicBezTo>
                  <a:cubicBezTo>
                    <a:pt x="4198" y="4210"/>
                    <a:pt x="4184" y="4234"/>
                    <a:pt x="4163" y="4252"/>
                  </a:cubicBezTo>
                  <a:cubicBezTo>
                    <a:pt x="4144" y="4265"/>
                    <a:pt x="4123" y="4271"/>
                    <a:pt x="4098" y="4271"/>
                  </a:cubicBezTo>
                  <a:cubicBezTo>
                    <a:pt x="4051" y="4271"/>
                    <a:pt x="3989" y="4251"/>
                    <a:pt x="3900" y="4224"/>
                  </a:cubicBezTo>
                  <a:cubicBezTo>
                    <a:pt x="3851" y="4210"/>
                    <a:pt x="3795" y="4192"/>
                    <a:pt x="3743" y="4182"/>
                  </a:cubicBezTo>
                  <a:cubicBezTo>
                    <a:pt x="3730" y="4177"/>
                    <a:pt x="3717" y="4174"/>
                    <a:pt x="3705" y="4174"/>
                  </a:cubicBezTo>
                  <a:cubicBezTo>
                    <a:pt x="3688" y="4174"/>
                    <a:pt x="3672" y="4179"/>
                    <a:pt x="3659" y="4189"/>
                  </a:cubicBezTo>
                  <a:cubicBezTo>
                    <a:pt x="3641" y="4203"/>
                    <a:pt x="3617" y="4241"/>
                    <a:pt x="3617" y="4360"/>
                  </a:cubicBezTo>
                  <a:cubicBezTo>
                    <a:pt x="3617" y="4437"/>
                    <a:pt x="3533" y="4574"/>
                    <a:pt x="3312" y="4857"/>
                  </a:cubicBezTo>
                  <a:lnTo>
                    <a:pt x="3294" y="4882"/>
                  </a:lnTo>
                  <a:lnTo>
                    <a:pt x="3308" y="4889"/>
                  </a:lnTo>
                  <a:lnTo>
                    <a:pt x="3315" y="4892"/>
                  </a:lnTo>
                  <a:cubicBezTo>
                    <a:pt x="3340" y="4903"/>
                    <a:pt x="3365" y="4910"/>
                    <a:pt x="3386" y="4913"/>
                  </a:cubicBezTo>
                  <a:lnTo>
                    <a:pt x="3389" y="4913"/>
                  </a:lnTo>
                  <a:cubicBezTo>
                    <a:pt x="3407" y="4917"/>
                    <a:pt x="3424" y="4920"/>
                    <a:pt x="3442" y="4924"/>
                  </a:cubicBezTo>
                  <a:cubicBezTo>
                    <a:pt x="3480" y="4910"/>
                    <a:pt x="3515" y="4892"/>
                    <a:pt x="3550" y="4871"/>
                  </a:cubicBezTo>
                  <a:cubicBezTo>
                    <a:pt x="3638" y="4822"/>
                    <a:pt x="3697" y="4794"/>
                    <a:pt x="3743" y="4794"/>
                  </a:cubicBezTo>
                  <a:lnTo>
                    <a:pt x="3760" y="4794"/>
                  </a:lnTo>
                  <a:lnTo>
                    <a:pt x="3771" y="4798"/>
                  </a:lnTo>
                  <a:lnTo>
                    <a:pt x="3774" y="4798"/>
                  </a:lnTo>
                  <a:lnTo>
                    <a:pt x="3785" y="4801"/>
                  </a:lnTo>
                  <a:lnTo>
                    <a:pt x="3799" y="4808"/>
                  </a:lnTo>
                  <a:lnTo>
                    <a:pt x="3802" y="4808"/>
                  </a:lnTo>
                  <a:lnTo>
                    <a:pt x="3820" y="4815"/>
                  </a:lnTo>
                  <a:lnTo>
                    <a:pt x="3823" y="4819"/>
                  </a:lnTo>
                  <a:lnTo>
                    <a:pt x="3841" y="4833"/>
                  </a:lnTo>
                  <a:lnTo>
                    <a:pt x="3844" y="4833"/>
                  </a:lnTo>
                  <a:lnTo>
                    <a:pt x="3865" y="4850"/>
                  </a:lnTo>
                  <a:lnTo>
                    <a:pt x="3869" y="4850"/>
                  </a:lnTo>
                  <a:cubicBezTo>
                    <a:pt x="3883" y="4728"/>
                    <a:pt x="3939" y="4682"/>
                    <a:pt x="4061" y="4595"/>
                  </a:cubicBezTo>
                  <a:cubicBezTo>
                    <a:pt x="4089" y="4574"/>
                    <a:pt x="4121" y="4553"/>
                    <a:pt x="4156" y="4525"/>
                  </a:cubicBezTo>
                  <a:cubicBezTo>
                    <a:pt x="4254" y="4451"/>
                    <a:pt x="4310" y="4346"/>
                    <a:pt x="4366" y="4245"/>
                  </a:cubicBezTo>
                  <a:cubicBezTo>
                    <a:pt x="4439" y="4115"/>
                    <a:pt x="4509" y="3992"/>
                    <a:pt x="4653" y="3964"/>
                  </a:cubicBezTo>
                  <a:cubicBezTo>
                    <a:pt x="4705" y="3950"/>
                    <a:pt x="4761" y="3936"/>
                    <a:pt x="4814" y="3919"/>
                  </a:cubicBezTo>
                  <a:cubicBezTo>
                    <a:pt x="4910" y="3880"/>
                    <a:pt x="5014" y="3861"/>
                    <a:pt x="5117" y="3861"/>
                  </a:cubicBezTo>
                  <a:cubicBezTo>
                    <a:pt x="5172" y="3861"/>
                    <a:pt x="5226" y="3866"/>
                    <a:pt x="5279" y="3877"/>
                  </a:cubicBezTo>
                  <a:cubicBezTo>
                    <a:pt x="5335" y="3884"/>
                    <a:pt x="5412" y="3901"/>
                    <a:pt x="5437" y="3964"/>
                  </a:cubicBezTo>
                  <a:cubicBezTo>
                    <a:pt x="5462" y="4028"/>
                    <a:pt x="5419" y="4091"/>
                    <a:pt x="5381" y="4140"/>
                  </a:cubicBezTo>
                  <a:cubicBezTo>
                    <a:pt x="5367" y="4161"/>
                    <a:pt x="5332" y="4206"/>
                    <a:pt x="5335" y="4220"/>
                  </a:cubicBezTo>
                  <a:cubicBezTo>
                    <a:pt x="5335" y="4220"/>
                    <a:pt x="5339" y="4227"/>
                    <a:pt x="5356" y="4238"/>
                  </a:cubicBezTo>
                  <a:cubicBezTo>
                    <a:pt x="5422" y="4270"/>
                    <a:pt x="5548" y="4277"/>
                    <a:pt x="5678" y="4277"/>
                  </a:cubicBezTo>
                  <a:cubicBezTo>
                    <a:pt x="5716" y="4277"/>
                    <a:pt x="5754" y="4277"/>
                    <a:pt x="5791" y="4276"/>
                  </a:cubicBezTo>
                  <a:cubicBezTo>
                    <a:pt x="5831" y="4276"/>
                    <a:pt x="5869" y="4275"/>
                    <a:pt x="5906" y="4275"/>
                  </a:cubicBezTo>
                  <a:cubicBezTo>
                    <a:pt x="6108" y="4275"/>
                    <a:pt x="6257" y="4291"/>
                    <a:pt x="6281" y="4413"/>
                  </a:cubicBezTo>
                  <a:cubicBezTo>
                    <a:pt x="6312" y="4563"/>
                    <a:pt x="6057" y="4654"/>
                    <a:pt x="5784" y="4756"/>
                  </a:cubicBezTo>
                  <a:cubicBezTo>
                    <a:pt x="5721" y="4777"/>
                    <a:pt x="5640" y="4808"/>
                    <a:pt x="5591" y="4829"/>
                  </a:cubicBezTo>
                  <a:cubicBezTo>
                    <a:pt x="5644" y="4854"/>
                    <a:pt x="5731" y="4885"/>
                    <a:pt x="5794" y="4906"/>
                  </a:cubicBezTo>
                  <a:cubicBezTo>
                    <a:pt x="5892" y="4938"/>
                    <a:pt x="5983" y="4976"/>
                    <a:pt x="6074" y="5025"/>
                  </a:cubicBezTo>
                  <a:cubicBezTo>
                    <a:pt x="6193" y="5102"/>
                    <a:pt x="6158" y="5242"/>
                    <a:pt x="6134" y="5347"/>
                  </a:cubicBezTo>
                  <a:cubicBezTo>
                    <a:pt x="6120" y="5382"/>
                    <a:pt x="6116" y="5421"/>
                    <a:pt x="6116" y="5459"/>
                  </a:cubicBezTo>
                  <a:cubicBezTo>
                    <a:pt x="6121" y="5466"/>
                    <a:pt x="6135" y="5470"/>
                    <a:pt x="6156" y="5470"/>
                  </a:cubicBezTo>
                  <a:cubicBezTo>
                    <a:pt x="6217" y="5470"/>
                    <a:pt x="6338" y="5435"/>
                    <a:pt x="6470" y="5340"/>
                  </a:cubicBezTo>
                  <a:cubicBezTo>
                    <a:pt x="6547" y="5288"/>
                    <a:pt x="6634" y="5249"/>
                    <a:pt x="6725" y="5228"/>
                  </a:cubicBezTo>
                  <a:cubicBezTo>
                    <a:pt x="6823" y="5207"/>
                    <a:pt x="6914" y="5165"/>
                    <a:pt x="6998" y="5113"/>
                  </a:cubicBezTo>
                  <a:cubicBezTo>
                    <a:pt x="7108" y="5039"/>
                    <a:pt x="7260" y="5027"/>
                    <a:pt x="7401" y="5027"/>
                  </a:cubicBezTo>
                  <a:cubicBezTo>
                    <a:pt x="7441" y="5027"/>
                    <a:pt x="7480" y="5028"/>
                    <a:pt x="7517" y="5029"/>
                  </a:cubicBezTo>
                  <a:cubicBezTo>
                    <a:pt x="7541" y="5030"/>
                    <a:pt x="7565" y="5031"/>
                    <a:pt x="7589" y="5031"/>
                  </a:cubicBezTo>
                  <a:cubicBezTo>
                    <a:pt x="7623" y="5031"/>
                    <a:pt x="7657" y="5029"/>
                    <a:pt x="7692" y="5025"/>
                  </a:cubicBezTo>
                  <a:cubicBezTo>
                    <a:pt x="7656" y="5006"/>
                    <a:pt x="7566" y="4976"/>
                    <a:pt x="7384" y="4976"/>
                  </a:cubicBezTo>
                  <a:cubicBezTo>
                    <a:pt x="7335" y="4976"/>
                    <a:pt x="7279" y="4978"/>
                    <a:pt x="7215" y="4983"/>
                  </a:cubicBezTo>
                  <a:cubicBezTo>
                    <a:pt x="7195" y="4986"/>
                    <a:pt x="7174" y="4987"/>
                    <a:pt x="7154" y="4987"/>
                  </a:cubicBezTo>
                  <a:cubicBezTo>
                    <a:pt x="7045" y="4987"/>
                    <a:pt x="6937" y="4948"/>
                    <a:pt x="6855" y="4875"/>
                  </a:cubicBezTo>
                  <a:cubicBezTo>
                    <a:pt x="6711" y="4745"/>
                    <a:pt x="6701" y="4532"/>
                    <a:pt x="6701" y="4472"/>
                  </a:cubicBezTo>
                  <a:cubicBezTo>
                    <a:pt x="6701" y="4332"/>
                    <a:pt x="7201" y="3992"/>
                    <a:pt x="7446" y="3971"/>
                  </a:cubicBezTo>
                  <a:cubicBezTo>
                    <a:pt x="7692" y="3947"/>
                    <a:pt x="7895" y="3873"/>
                    <a:pt x="8122" y="3765"/>
                  </a:cubicBezTo>
                  <a:cubicBezTo>
                    <a:pt x="8248" y="3712"/>
                    <a:pt x="8378" y="3674"/>
                    <a:pt x="8514" y="3649"/>
                  </a:cubicBezTo>
                  <a:lnTo>
                    <a:pt x="8511" y="3632"/>
                  </a:lnTo>
                  <a:lnTo>
                    <a:pt x="8507" y="3618"/>
                  </a:lnTo>
                  <a:cubicBezTo>
                    <a:pt x="8507" y="3607"/>
                    <a:pt x="8504" y="3593"/>
                    <a:pt x="8504" y="3583"/>
                  </a:cubicBezTo>
                  <a:lnTo>
                    <a:pt x="8504" y="3576"/>
                  </a:lnTo>
                  <a:cubicBezTo>
                    <a:pt x="8504" y="3569"/>
                    <a:pt x="8500" y="3558"/>
                    <a:pt x="8500" y="3548"/>
                  </a:cubicBezTo>
                  <a:cubicBezTo>
                    <a:pt x="8497" y="3541"/>
                    <a:pt x="8500" y="3541"/>
                    <a:pt x="8500" y="3537"/>
                  </a:cubicBezTo>
                  <a:lnTo>
                    <a:pt x="8500" y="3516"/>
                  </a:lnTo>
                  <a:lnTo>
                    <a:pt x="8500" y="3506"/>
                  </a:lnTo>
                  <a:lnTo>
                    <a:pt x="8500" y="3485"/>
                  </a:lnTo>
                  <a:lnTo>
                    <a:pt x="8500" y="3474"/>
                  </a:lnTo>
                  <a:cubicBezTo>
                    <a:pt x="8500" y="3467"/>
                    <a:pt x="8500" y="3460"/>
                    <a:pt x="8504" y="3457"/>
                  </a:cubicBezTo>
                  <a:cubicBezTo>
                    <a:pt x="8504" y="3453"/>
                    <a:pt x="8504" y="3450"/>
                    <a:pt x="8507" y="3446"/>
                  </a:cubicBezTo>
                  <a:cubicBezTo>
                    <a:pt x="8511" y="3439"/>
                    <a:pt x="8514" y="3429"/>
                    <a:pt x="8518" y="3422"/>
                  </a:cubicBezTo>
                  <a:cubicBezTo>
                    <a:pt x="8528" y="3411"/>
                    <a:pt x="8539" y="3401"/>
                    <a:pt x="8553" y="3390"/>
                  </a:cubicBezTo>
                  <a:lnTo>
                    <a:pt x="8556" y="3390"/>
                  </a:lnTo>
                  <a:cubicBezTo>
                    <a:pt x="8560" y="3387"/>
                    <a:pt x="8567" y="3383"/>
                    <a:pt x="8570" y="3383"/>
                  </a:cubicBezTo>
                  <a:lnTo>
                    <a:pt x="8581" y="3380"/>
                  </a:lnTo>
                  <a:lnTo>
                    <a:pt x="8595" y="3376"/>
                  </a:lnTo>
                  <a:cubicBezTo>
                    <a:pt x="8654" y="3341"/>
                    <a:pt x="8710" y="3299"/>
                    <a:pt x="8763" y="3250"/>
                  </a:cubicBezTo>
                  <a:cubicBezTo>
                    <a:pt x="8885" y="3149"/>
                    <a:pt x="8962" y="3086"/>
                    <a:pt x="9029" y="3086"/>
                  </a:cubicBezTo>
                  <a:lnTo>
                    <a:pt x="9053" y="3086"/>
                  </a:lnTo>
                  <a:cubicBezTo>
                    <a:pt x="9081" y="3086"/>
                    <a:pt x="9123" y="3093"/>
                    <a:pt x="9169" y="3096"/>
                  </a:cubicBezTo>
                  <a:cubicBezTo>
                    <a:pt x="9218" y="3103"/>
                    <a:pt x="9274" y="3110"/>
                    <a:pt x="9330" y="3117"/>
                  </a:cubicBezTo>
                  <a:cubicBezTo>
                    <a:pt x="9358" y="3121"/>
                    <a:pt x="9389" y="3121"/>
                    <a:pt x="9417" y="3121"/>
                  </a:cubicBezTo>
                  <a:cubicBezTo>
                    <a:pt x="9428" y="3082"/>
                    <a:pt x="9442" y="3044"/>
                    <a:pt x="9459" y="3005"/>
                  </a:cubicBezTo>
                  <a:cubicBezTo>
                    <a:pt x="9484" y="2960"/>
                    <a:pt x="9501" y="2907"/>
                    <a:pt x="9512" y="2855"/>
                  </a:cubicBezTo>
                  <a:cubicBezTo>
                    <a:pt x="9505" y="2844"/>
                    <a:pt x="9498" y="2834"/>
                    <a:pt x="9487" y="2823"/>
                  </a:cubicBezTo>
                  <a:lnTo>
                    <a:pt x="9470" y="2802"/>
                  </a:lnTo>
                  <a:cubicBezTo>
                    <a:pt x="9428" y="2764"/>
                    <a:pt x="9400" y="2715"/>
                    <a:pt x="9386" y="2659"/>
                  </a:cubicBezTo>
                  <a:cubicBezTo>
                    <a:pt x="9382" y="2648"/>
                    <a:pt x="9382" y="2641"/>
                    <a:pt x="9386" y="2631"/>
                  </a:cubicBezTo>
                  <a:cubicBezTo>
                    <a:pt x="9386" y="2624"/>
                    <a:pt x="9389" y="2613"/>
                    <a:pt x="9393" y="2603"/>
                  </a:cubicBezTo>
                  <a:cubicBezTo>
                    <a:pt x="9414" y="2550"/>
                    <a:pt x="9473" y="2529"/>
                    <a:pt x="9522" y="2508"/>
                  </a:cubicBezTo>
                  <a:cubicBezTo>
                    <a:pt x="9540" y="2501"/>
                    <a:pt x="9557" y="2494"/>
                    <a:pt x="9575" y="2487"/>
                  </a:cubicBezTo>
                  <a:cubicBezTo>
                    <a:pt x="9561" y="2477"/>
                    <a:pt x="9547" y="2463"/>
                    <a:pt x="9533" y="2452"/>
                  </a:cubicBezTo>
                  <a:cubicBezTo>
                    <a:pt x="9494" y="2424"/>
                    <a:pt x="9449" y="2393"/>
                    <a:pt x="9449" y="2337"/>
                  </a:cubicBezTo>
                  <a:cubicBezTo>
                    <a:pt x="9452" y="2295"/>
                    <a:pt x="9477" y="2256"/>
                    <a:pt x="9512" y="2228"/>
                  </a:cubicBezTo>
                  <a:lnTo>
                    <a:pt x="9526" y="2214"/>
                  </a:lnTo>
                  <a:cubicBezTo>
                    <a:pt x="9557" y="2190"/>
                    <a:pt x="9586" y="2162"/>
                    <a:pt x="9603" y="2127"/>
                  </a:cubicBezTo>
                  <a:cubicBezTo>
                    <a:pt x="9603" y="2123"/>
                    <a:pt x="9603" y="2120"/>
                    <a:pt x="9603" y="2116"/>
                  </a:cubicBezTo>
                  <a:cubicBezTo>
                    <a:pt x="9600" y="2088"/>
                    <a:pt x="9543" y="2067"/>
                    <a:pt x="9477" y="2043"/>
                  </a:cubicBezTo>
                  <a:cubicBezTo>
                    <a:pt x="9424" y="2022"/>
                    <a:pt x="9372" y="1997"/>
                    <a:pt x="9323" y="1973"/>
                  </a:cubicBezTo>
                  <a:cubicBezTo>
                    <a:pt x="9253" y="1937"/>
                    <a:pt x="9176" y="1916"/>
                    <a:pt x="9099" y="1913"/>
                  </a:cubicBezTo>
                  <a:cubicBezTo>
                    <a:pt x="9018" y="1906"/>
                    <a:pt x="8938" y="1885"/>
                    <a:pt x="8864" y="1850"/>
                  </a:cubicBezTo>
                  <a:cubicBezTo>
                    <a:pt x="8798" y="1818"/>
                    <a:pt x="8675" y="1815"/>
                    <a:pt x="8588" y="1811"/>
                  </a:cubicBezTo>
                  <a:cubicBezTo>
                    <a:pt x="8476" y="1808"/>
                    <a:pt x="8385" y="1804"/>
                    <a:pt x="8378" y="1731"/>
                  </a:cubicBezTo>
                  <a:cubicBezTo>
                    <a:pt x="8350" y="1692"/>
                    <a:pt x="8315" y="1654"/>
                    <a:pt x="8280" y="1619"/>
                  </a:cubicBezTo>
                  <a:cubicBezTo>
                    <a:pt x="8231" y="1573"/>
                    <a:pt x="8185" y="1517"/>
                    <a:pt x="8143" y="1461"/>
                  </a:cubicBezTo>
                  <a:cubicBezTo>
                    <a:pt x="8143" y="1458"/>
                    <a:pt x="8140" y="1454"/>
                    <a:pt x="8129" y="1451"/>
                  </a:cubicBezTo>
                  <a:cubicBezTo>
                    <a:pt x="8122" y="1449"/>
                    <a:pt x="8114" y="1448"/>
                    <a:pt x="8105" y="1448"/>
                  </a:cubicBezTo>
                  <a:cubicBezTo>
                    <a:pt x="8059" y="1448"/>
                    <a:pt x="7992" y="1471"/>
                    <a:pt x="7933" y="1507"/>
                  </a:cubicBezTo>
                  <a:cubicBezTo>
                    <a:pt x="7877" y="1544"/>
                    <a:pt x="7810" y="1578"/>
                    <a:pt x="7734" y="1578"/>
                  </a:cubicBezTo>
                  <a:cubicBezTo>
                    <a:pt x="7687" y="1578"/>
                    <a:pt x="7636" y="1565"/>
                    <a:pt x="7583" y="1531"/>
                  </a:cubicBezTo>
                  <a:cubicBezTo>
                    <a:pt x="7555" y="1517"/>
                    <a:pt x="7531" y="1496"/>
                    <a:pt x="7506" y="1479"/>
                  </a:cubicBezTo>
                  <a:cubicBezTo>
                    <a:pt x="7464" y="1444"/>
                    <a:pt x="7418" y="1412"/>
                    <a:pt x="7390" y="1412"/>
                  </a:cubicBezTo>
                  <a:cubicBezTo>
                    <a:pt x="7383" y="1412"/>
                    <a:pt x="7380" y="1416"/>
                    <a:pt x="7376" y="1416"/>
                  </a:cubicBezTo>
                  <a:cubicBezTo>
                    <a:pt x="7346" y="1429"/>
                    <a:pt x="7307" y="1437"/>
                    <a:pt x="7268" y="1437"/>
                  </a:cubicBezTo>
                  <a:cubicBezTo>
                    <a:pt x="7214" y="1437"/>
                    <a:pt x="7159" y="1422"/>
                    <a:pt x="7121" y="1388"/>
                  </a:cubicBezTo>
                  <a:cubicBezTo>
                    <a:pt x="7075" y="1349"/>
                    <a:pt x="7061" y="1286"/>
                    <a:pt x="7082" y="1227"/>
                  </a:cubicBezTo>
                  <a:cubicBezTo>
                    <a:pt x="7103" y="1150"/>
                    <a:pt x="6942" y="912"/>
                    <a:pt x="6876" y="884"/>
                  </a:cubicBezTo>
                  <a:cubicBezTo>
                    <a:pt x="6869" y="880"/>
                    <a:pt x="6862" y="880"/>
                    <a:pt x="6858" y="880"/>
                  </a:cubicBezTo>
                  <a:cubicBezTo>
                    <a:pt x="6827" y="877"/>
                    <a:pt x="6795" y="873"/>
                    <a:pt x="6764" y="873"/>
                  </a:cubicBezTo>
                  <a:cubicBezTo>
                    <a:pt x="6683" y="873"/>
                    <a:pt x="6589" y="870"/>
                    <a:pt x="6519" y="831"/>
                  </a:cubicBezTo>
                  <a:cubicBezTo>
                    <a:pt x="6501" y="821"/>
                    <a:pt x="6484" y="810"/>
                    <a:pt x="6470" y="793"/>
                  </a:cubicBezTo>
                  <a:cubicBezTo>
                    <a:pt x="6459" y="782"/>
                    <a:pt x="6449" y="768"/>
                    <a:pt x="6442" y="754"/>
                  </a:cubicBezTo>
                  <a:cubicBezTo>
                    <a:pt x="6424" y="723"/>
                    <a:pt x="6407" y="691"/>
                    <a:pt x="6386" y="660"/>
                  </a:cubicBezTo>
                  <a:cubicBezTo>
                    <a:pt x="6375" y="642"/>
                    <a:pt x="6365" y="628"/>
                    <a:pt x="6354" y="611"/>
                  </a:cubicBezTo>
                  <a:cubicBezTo>
                    <a:pt x="6309" y="541"/>
                    <a:pt x="6281" y="467"/>
                    <a:pt x="6323" y="390"/>
                  </a:cubicBezTo>
                  <a:cubicBezTo>
                    <a:pt x="6347" y="348"/>
                    <a:pt x="6323" y="208"/>
                    <a:pt x="6284" y="107"/>
                  </a:cubicBezTo>
                  <a:cubicBezTo>
                    <a:pt x="6274" y="86"/>
                    <a:pt x="6263" y="65"/>
                    <a:pt x="6253" y="44"/>
                  </a:cubicBezTo>
                  <a:cubicBezTo>
                    <a:pt x="6233" y="16"/>
                    <a:pt x="6139" y="1"/>
                    <a:pt x="60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2" name="Google Shape;5769;p64">
              <a:extLst>
                <a:ext uri="{FF2B5EF4-FFF2-40B4-BE49-F238E27FC236}">
                  <a16:creationId xmlns:a16="http://schemas.microsoft.com/office/drawing/2014/main" id="{CD58CA5C-F09E-3FEE-DB8F-E1ECFB4E0AE3}"/>
                </a:ext>
              </a:extLst>
            </p:cNvPr>
            <p:cNvSpPr/>
            <p:nvPr/>
          </p:nvSpPr>
          <p:spPr>
            <a:xfrm>
              <a:off x="2221782" y="1620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3" name="Google Shape;5770;p64">
              <a:extLst>
                <a:ext uri="{FF2B5EF4-FFF2-40B4-BE49-F238E27FC236}">
                  <a16:creationId xmlns:a16="http://schemas.microsoft.com/office/drawing/2014/main" id="{93521933-C461-B23B-D555-697B1DD09A34}"/>
                </a:ext>
              </a:extLst>
            </p:cNvPr>
            <p:cNvSpPr/>
            <p:nvPr/>
          </p:nvSpPr>
          <p:spPr>
            <a:xfrm>
              <a:off x="2214518" y="164296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0"/>
                  </a:moveTo>
                  <a:lnTo>
                    <a:pt x="18" y="4"/>
                  </a:lnTo>
                  <a:cubicBezTo>
                    <a:pt x="14" y="11"/>
                    <a:pt x="7" y="18"/>
                    <a:pt x="0" y="25"/>
                  </a:cubicBezTo>
                  <a:lnTo>
                    <a:pt x="0" y="28"/>
                  </a:lnTo>
                  <a:lnTo>
                    <a:pt x="11" y="28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4" name="Google Shape;5771;p64">
              <a:extLst>
                <a:ext uri="{FF2B5EF4-FFF2-40B4-BE49-F238E27FC236}">
                  <a16:creationId xmlns:a16="http://schemas.microsoft.com/office/drawing/2014/main" id="{02A5706D-D216-E2BA-C353-B230E8BFFB9F}"/>
                </a:ext>
              </a:extLst>
            </p:cNvPr>
            <p:cNvSpPr/>
            <p:nvPr/>
          </p:nvSpPr>
          <p:spPr>
            <a:xfrm>
              <a:off x="2223113" y="1622133"/>
              <a:ext cx="2200" cy="5865"/>
            </a:xfrm>
            <a:custGeom>
              <a:avLst/>
              <a:gdLst/>
              <a:ahLst/>
              <a:cxnLst/>
              <a:rect l="l" t="t" r="r" b="b"/>
              <a:pathLst>
                <a:path w="162" h="432" extrusionOk="0">
                  <a:moveTo>
                    <a:pt x="134" y="431"/>
                  </a:moveTo>
                  <a:cubicBezTo>
                    <a:pt x="151" y="389"/>
                    <a:pt x="162" y="281"/>
                    <a:pt x="1" y="1"/>
                  </a:cubicBezTo>
                  <a:cubicBezTo>
                    <a:pt x="162" y="281"/>
                    <a:pt x="151" y="389"/>
                    <a:pt x="134" y="4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5" name="Google Shape;5772;p64">
              <a:extLst>
                <a:ext uri="{FF2B5EF4-FFF2-40B4-BE49-F238E27FC236}">
                  <a16:creationId xmlns:a16="http://schemas.microsoft.com/office/drawing/2014/main" id="{39AF8A27-B9F4-E8B2-042C-6B0177259910}"/>
                </a:ext>
              </a:extLst>
            </p:cNvPr>
            <p:cNvSpPr/>
            <p:nvPr/>
          </p:nvSpPr>
          <p:spPr>
            <a:xfrm>
              <a:off x="2213609" y="165051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6" name="Google Shape;5773;p64">
              <a:extLst>
                <a:ext uri="{FF2B5EF4-FFF2-40B4-BE49-F238E27FC236}">
                  <a16:creationId xmlns:a16="http://schemas.microsoft.com/office/drawing/2014/main" id="{5404F20F-CD4A-2F5D-CEE2-72274E26A22E}"/>
                </a:ext>
              </a:extLst>
            </p:cNvPr>
            <p:cNvSpPr/>
            <p:nvPr/>
          </p:nvSpPr>
          <p:spPr>
            <a:xfrm>
              <a:off x="2212808" y="1649940"/>
              <a:ext cx="679" cy="489"/>
            </a:xfrm>
            <a:custGeom>
              <a:avLst/>
              <a:gdLst/>
              <a:ahLst/>
              <a:cxnLst/>
              <a:rect l="l" t="t" r="r" b="b"/>
              <a:pathLst>
                <a:path w="50" h="36" extrusionOk="0">
                  <a:moveTo>
                    <a:pt x="0" y="1"/>
                  </a:moveTo>
                  <a:lnTo>
                    <a:pt x="7" y="8"/>
                  </a:lnTo>
                  <a:cubicBezTo>
                    <a:pt x="21" y="18"/>
                    <a:pt x="35" y="29"/>
                    <a:pt x="49" y="36"/>
                  </a:cubicBezTo>
                  <a:cubicBezTo>
                    <a:pt x="32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7" name="Google Shape;5774;p64">
              <a:extLst>
                <a:ext uri="{FF2B5EF4-FFF2-40B4-BE49-F238E27FC236}">
                  <a16:creationId xmlns:a16="http://schemas.microsoft.com/office/drawing/2014/main" id="{4D060045-BC34-05B8-A35D-4C0354E7149C}"/>
                </a:ext>
              </a:extLst>
            </p:cNvPr>
            <p:cNvSpPr/>
            <p:nvPr/>
          </p:nvSpPr>
          <p:spPr>
            <a:xfrm>
              <a:off x="2214654" y="1650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8" name="Google Shape;5775;p64">
              <a:extLst>
                <a:ext uri="{FF2B5EF4-FFF2-40B4-BE49-F238E27FC236}">
                  <a16:creationId xmlns:a16="http://schemas.microsoft.com/office/drawing/2014/main" id="{84E52457-C1D5-88E8-58B3-96C4AF2C798A}"/>
                </a:ext>
              </a:extLst>
            </p:cNvPr>
            <p:cNvSpPr/>
            <p:nvPr/>
          </p:nvSpPr>
          <p:spPr>
            <a:xfrm>
              <a:off x="2214994" y="1651176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18" y="8"/>
                    <a:pt x="28" y="18"/>
                    <a:pt x="42" y="29"/>
                  </a:cubicBezTo>
                  <a:cubicBezTo>
                    <a:pt x="32" y="18"/>
                    <a:pt x="18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9" name="Google Shape;5776;p64">
              <a:extLst>
                <a:ext uri="{FF2B5EF4-FFF2-40B4-BE49-F238E27FC236}">
                  <a16:creationId xmlns:a16="http://schemas.microsoft.com/office/drawing/2014/main" id="{A6F8729A-592D-7A53-ED98-051260C8742D}"/>
                </a:ext>
              </a:extLst>
            </p:cNvPr>
            <p:cNvSpPr/>
            <p:nvPr/>
          </p:nvSpPr>
          <p:spPr>
            <a:xfrm>
              <a:off x="2212563" y="164965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lnTo>
                    <a:pt x="15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0" name="Google Shape;5777;p64">
              <a:extLst>
                <a:ext uri="{FF2B5EF4-FFF2-40B4-BE49-F238E27FC236}">
                  <a16:creationId xmlns:a16="http://schemas.microsoft.com/office/drawing/2014/main" id="{DDB3596E-695B-F522-32DD-E7C6271E7956}"/>
                </a:ext>
              </a:extLst>
            </p:cNvPr>
            <p:cNvSpPr/>
            <p:nvPr/>
          </p:nvSpPr>
          <p:spPr>
            <a:xfrm>
              <a:off x="2211762" y="1648664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1" name="Google Shape;5778;p64">
              <a:extLst>
                <a:ext uri="{FF2B5EF4-FFF2-40B4-BE49-F238E27FC236}">
                  <a16:creationId xmlns:a16="http://schemas.microsoft.com/office/drawing/2014/main" id="{E45FD0C9-C4CE-E5DF-2A41-8BD1830661A6}"/>
                </a:ext>
              </a:extLst>
            </p:cNvPr>
            <p:cNvSpPr/>
            <p:nvPr/>
          </p:nvSpPr>
          <p:spPr>
            <a:xfrm>
              <a:off x="2212332" y="164946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2" name="Google Shape;5779;p64">
              <a:extLst>
                <a:ext uri="{FF2B5EF4-FFF2-40B4-BE49-F238E27FC236}">
                  <a16:creationId xmlns:a16="http://schemas.microsoft.com/office/drawing/2014/main" id="{96AD898F-D490-5176-C9CA-4825843C7653}"/>
                </a:ext>
              </a:extLst>
            </p:cNvPr>
            <p:cNvSpPr/>
            <p:nvPr/>
          </p:nvSpPr>
          <p:spPr>
            <a:xfrm>
              <a:off x="2212047" y="164908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3" name="Google Shape;5780;p64">
              <a:extLst>
                <a:ext uri="{FF2B5EF4-FFF2-40B4-BE49-F238E27FC236}">
                  <a16:creationId xmlns:a16="http://schemas.microsoft.com/office/drawing/2014/main" id="{78B48B20-2F18-2962-F023-BC651D4E0E62}"/>
                </a:ext>
              </a:extLst>
            </p:cNvPr>
            <p:cNvSpPr/>
            <p:nvPr/>
          </p:nvSpPr>
          <p:spPr>
            <a:xfrm>
              <a:off x="2211667" y="164832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4" name="Google Shape;5781;p64">
              <a:extLst>
                <a:ext uri="{FF2B5EF4-FFF2-40B4-BE49-F238E27FC236}">
                  <a16:creationId xmlns:a16="http://schemas.microsoft.com/office/drawing/2014/main" id="{1C8F4D08-8290-C0B9-EBE5-5E71F3C80B01}"/>
                </a:ext>
              </a:extLst>
            </p:cNvPr>
            <p:cNvSpPr/>
            <p:nvPr/>
          </p:nvSpPr>
          <p:spPr>
            <a:xfrm>
              <a:off x="2214939" y="1641631"/>
              <a:ext cx="584" cy="1059"/>
            </a:xfrm>
            <a:custGeom>
              <a:avLst/>
              <a:gdLst/>
              <a:ahLst/>
              <a:cxnLst/>
              <a:rect l="l" t="t" r="r" b="b"/>
              <a:pathLst>
                <a:path w="43" h="78" extrusionOk="0">
                  <a:moveTo>
                    <a:pt x="15" y="0"/>
                  </a:moveTo>
                  <a:cubicBezTo>
                    <a:pt x="15" y="28"/>
                    <a:pt x="11" y="53"/>
                    <a:pt x="1" y="77"/>
                  </a:cubicBezTo>
                  <a:lnTo>
                    <a:pt x="43" y="4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5" name="Google Shape;5782;p64">
              <a:extLst>
                <a:ext uri="{FF2B5EF4-FFF2-40B4-BE49-F238E27FC236}">
                  <a16:creationId xmlns:a16="http://schemas.microsoft.com/office/drawing/2014/main" id="{39B1EC7E-9414-6D2A-15B7-A5D341F338C1}"/>
                </a:ext>
              </a:extLst>
            </p:cNvPr>
            <p:cNvSpPr/>
            <p:nvPr/>
          </p:nvSpPr>
          <p:spPr>
            <a:xfrm>
              <a:off x="2214518" y="1643056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cubicBezTo>
                    <a:pt x="14" y="7"/>
                    <a:pt x="7" y="11"/>
                    <a:pt x="0" y="18"/>
                  </a:cubicBezTo>
                  <a:cubicBezTo>
                    <a:pt x="7" y="14"/>
                    <a:pt x="14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6" name="Google Shape;5783;p64">
              <a:extLst>
                <a:ext uri="{FF2B5EF4-FFF2-40B4-BE49-F238E27FC236}">
                  <a16:creationId xmlns:a16="http://schemas.microsoft.com/office/drawing/2014/main" id="{2032F48D-2952-F37B-85E3-E0726673C026}"/>
                </a:ext>
              </a:extLst>
            </p:cNvPr>
            <p:cNvSpPr/>
            <p:nvPr/>
          </p:nvSpPr>
          <p:spPr>
            <a:xfrm>
              <a:off x="2212713" y="1649845"/>
              <a:ext cx="136" cy="136"/>
            </a:xfrm>
            <a:custGeom>
              <a:avLst/>
              <a:gdLst/>
              <a:ahLst/>
              <a:cxnLst/>
              <a:rect l="l" t="t" r="r" b="b"/>
              <a:pathLst>
                <a:path w="10" h="10" extrusionOk="0">
                  <a:moveTo>
                    <a:pt x="0" y="1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7" y="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7" name="Google Shape;5784;p64">
              <a:extLst>
                <a:ext uri="{FF2B5EF4-FFF2-40B4-BE49-F238E27FC236}">
                  <a16:creationId xmlns:a16="http://schemas.microsoft.com/office/drawing/2014/main" id="{86C4D8B7-E99E-A215-26D5-D0D23E375380}"/>
                </a:ext>
              </a:extLst>
            </p:cNvPr>
            <p:cNvSpPr/>
            <p:nvPr/>
          </p:nvSpPr>
          <p:spPr>
            <a:xfrm>
              <a:off x="2216270" y="165142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1" y="4"/>
                  </a:moveTo>
                  <a:lnTo>
                    <a:pt x="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8" name="Google Shape;5785;p64">
              <a:extLst>
                <a:ext uri="{FF2B5EF4-FFF2-40B4-BE49-F238E27FC236}">
                  <a16:creationId xmlns:a16="http://schemas.microsoft.com/office/drawing/2014/main" id="{B3F200E0-AB4E-28CB-1957-070E3B2904EF}"/>
                </a:ext>
              </a:extLst>
            </p:cNvPr>
            <p:cNvSpPr/>
            <p:nvPr/>
          </p:nvSpPr>
          <p:spPr>
            <a:xfrm>
              <a:off x="2217600" y="165136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9" name="Google Shape;5786;p64">
              <a:extLst>
                <a:ext uri="{FF2B5EF4-FFF2-40B4-BE49-F238E27FC236}">
                  <a16:creationId xmlns:a16="http://schemas.microsoft.com/office/drawing/2014/main" id="{4BC6DFC0-DDDA-C76C-B565-2C1F2732C2FE}"/>
                </a:ext>
              </a:extLst>
            </p:cNvPr>
            <p:cNvSpPr/>
            <p:nvPr/>
          </p:nvSpPr>
          <p:spPr>
            <a:xfrm>
              <a:off x="2242895" y="164937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0" name="Google Shape;5787;p64">
              <a:extLst>
                <a:ext uri="{FF2B5EF4-FFF2-40B4-BE49-F238E27FC236}">
                  <a16:creationId xmlns:a16="http://schemas.microsoft.com/office/drawing/2014/main" id="{6BF1E453-C301-8C15-9D4A-D126E4E2FD6F}"/>
                </a:ext>
              </a:extLst>
            </p:cNvPr>
            <p:cNvSpPr/>
            <p:nvPr/>
          </p:nvSpPr>
          <p:spPr>
            <a:xfrm>
              <a:off x="2244891" y="1648609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1" name="Google Shape;5788;p64">
              <a:extLst>
                <a:ext uri="{FF2B5EF4-FFF2-40B4-BE49-F238E27FC236}">
                  <a16:creationId xmlns:a16="http://schemas.microsoft.com/office/drawing/2014/main" id="{6EAD12DE-58F1-25E5-A246-611E224FFACF}"/>
                </a:ext>
              </a:extLst>
            </p:cNvPr>
            <p:cNvSpPr/>
            <p:nvPr/>
          </p:nvSpPr>
          <p:spPr>
            <a:xfrm>
              <a:off x="2216989" y="165136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2" name="Google Shape;5789;p64">
              <a:extLst>
                <a:ext uri="{FF2B5EF4-FFF2-40B4-BE49-F238E27FC236}">
                  <a16:creationId xmlns:a16="http://schemas.microsoft.com/office/drawing/2014/main" id="{1DFC7C32-6FA2-EA7B-3A0B-7C96A7F0DEEC}"/>
                </a:ext>
              </a:extLst>
            </p:cNvPr>
            <p:cNvSpPr/>
            <p:nvPr/>
          </p:nvSpPr>
          <p:spPr>
            <a:xfrm>
              <a:off x="2240329" y="1649424"/>
              <a:ext cx="2430" cy="1534"/>
            </a:xfrm>
            <a:custGeom>
              <a:avLst/>
              <a:gdLst/>
              <a:ahLst/>
              <a:cxnLst/>
              <a:rect l="l" t="t" r="r" b="b"/>
              <a:pathLst>
                <a:path w="179" h="113" extrusionOk="0">
                  <a:moveTo>
                    <a:pt x="179" y="0"/>
                  </a:moveTo>
                  <a:lnTo>
                    <a:pt x="179" y="0"/>
                  </a:lnTo>
                  <a:cubicBezTo>
                    <a:pt x="53" y="49"/>
                    <a:pt x="18" y="84"/>
                    <a:pt x="0" y="112"/>
                  </a:cubicBezTo>
                  <a:cubicBezTo>
                    <a:pt x="25" y="74"/>
                    <a:pt x="91" y="35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3" name="Google Shape;5790;p64">
              <a:extLst>
                <a:ext uri="{FF2B5EF4-FFF2-40B4-BE49-F238E27FC236}">
                  <a16:creationId xmlns:a16="http://schemas.microsoft.com/office/drawing/2014/main" id="{D577D394-B84B-3AAD-CDF0-11BF3D09AD2F}"/>
                </a:ext>
              </a:extLst>
            </p:cNvPr>
            <p:cNvSpPr/>
            <p:nvPr/>
          </p:nvSpPr>
          <p:spPr>
            <a:xfrm>
              <a:off x="2215564" y="1651515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0" y="4"/>
                  </a:moveTo>
                  <a:lnTo>
                    <a:pt x="4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4" name="Google Shape;5791;p64">
              <a:extLst>
                <a:ext uri="{FF2B5EF4-FFF2-40B4-BE49-F238E27FC236}">
                  <a16:creationId xmlns:a16="http://schemas.microsoft.com/office/drawing/2014/main" id="{7D6A668A-2532-EE3A-E438-345049CC57C4}"/>
                </a:ext>
              </a:extLst>
            </p:cNvPr>
            <p:cNvSpPr/>
            <p:nvPr/>
          </p:nvSpPr>
          <p:spPr>
            <a:xfrm>
              <a:off x="2234151" y="1652465"/>
              <a:ext cx="1819" cy="149"/>
            </a:xfrm>
            <a:custGeom>
              <a:avLst/>
              <a:gdLst/>
              <a:ahLst/>
              <a:cxnLst/>
              <a:rect l="l" t="t" r="r" b="b"/>
              <a:pathLst>
                <a:path w="134" h="11" extrusionOk="0">
                  <a:moveTo>
                    <a:pt x="133" y="11"/>
                  </a:moveTo>
                  <a:cubicBezTo>
                    <a:pt x="91" y="4"/>
                    <a:pt x="46" y="0"/>
                    <a:pt x="0" y="7"/>
                  </a:cubicBezTo>
                  <a:cubicBezTo>
                    <a:pt x="46" y="0"/>
                    <a:pt x="91" y="4"/>
                    <a:pt x="133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5" name="Google Shape;5792;p64">
              <a:extLst>
                <a:ext uri="{FF2B5EF4-FFF2-40B4-BE49-F238E27FC236}">
                  <a16:creationId xmlns:a16="http://schemas.microsoft.com/office/drawing/2014/main" id="{C00F7747-DA7D-8971-E0F2-41ACF931E8A7}"/>
                </a:ext>
              </a:extLst>
            </p:cNvPr>
            <p:cNvSpPr/>
            <p:nvPr/>
          </p:nvSpPr>
          <p:spPr>
            <a:xfrm>
              <a:off x="2263764" y="1676796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2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6" name="Google Shape;5793;p64">
              <a:extLst>
                <a:ext uri="{FF2B5EF4-FFF2-40B4-BE49-F238E27FC236}">
                  <a16:creationId xmlns:a16="http://schemas.microsoft.com/office/drawing/2014/main" id="{9EB8A5AC-E2BE-AD13-03B0-F6BD3D966C29}"/>
                </a:ext>
              </a:extLst>
            </p:cNvPr>
            <p:cNvSpPr/>
            <p:nvPr/>
          </p:nvSpPr>
          <p:spPr>
            <a:xfrm>
              <a:off x="2263479" y="1676606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7" name="Google Shape;5794;p64">
              <a:extLst>
                <a:ext uri="{FF2B5EF4-FFF2-40B4-BE49-F238E27FC236}">
                  <a16:creationId xmlns:a16="http://schemas.microsoft.com/office/drawing/2014/main" id="{BE8B6550-F19F-BA2E-C055-C611CD5A83A5}"/>
                </a:ext>
              </a:extLst>
            </p:cNvPr>
            <p:cNvSpPr/>
            <p:nvPr/>
          </p:nvSpPr>
          <p:spPr>
            <a:xfrm>
              <a:off x="2262528" y="167622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8" name="Google Shape;5795;p64">
              <a:extLst>
                <a:ext uri="{FF2B5EF4-FFF2-40B4-BE49-F238E27FC236}">
                  <a16:creationId xmlns:a16="http://schemas.microsoft.com/office/drawing/2014/main" id="{D56915D1-EA2F-1E65-DC8F-45728CDE8FD1}"/>
                </a:ext>
              </a:extLst>
            </p:cNvPr>
            <p:cNvSpPr/>
            <p:nvPr/>
          </p:nvSpPr>
          <p:spPr>
            <a:xfrm>
              <a:off x="2262623" y="1676226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9" name="Google Shape;5796;p64">
              <a:extLst>
                <a:ext uri="{FF2B5EF4-FFF2-40B4-BE49-F238E27FC236}">
                  <a16:creationId xmlns:a16="http://schemas.microsoft.com/office/drawing/2014/main" id="{83AA20C1-6BB9-B5EF-FBB9-0AEA547CE172}"/>
                </a:ext>
              </a:extLst>
            </p:cNvPr>
            <p:cNvSpPr/>
            <p:nvPr/>
          </p:nvSpPr>
          <p:spPr>
            <a:xfrm>
              <a:off x="2257532" y="167780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0" name="Google Shape;5797;p64">
              <a:extLst>
                <a:ext uri="{FF2B5EF4-FFF2-40B4-BE49-F238E27FC236}">
                  <a16:creationId xmlns:a16="http://schemas.microsoft.com/office/drawing/2014/main" id="{EA022571-C6A3-55F1-B117-E1BD4DE2A6FE}"/>
                </a:ext>
              </a:extLst>
            </p:cNvPr>
            <p:cNvSpPr/>
            <p:nvPr/>
          </p:nvSpPr>
          <p:spPr>
            <a:xfrm>
              <a:off x="2262814" y="167628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1" name="Google Shape;5798;p64">
              <a:extLst>
                <a:ext uri="{FF2B5EF4-FFF2-40B4-BE49-F238E27FC236}">
                  <a16:creationId xmlns:a16="http://schemas.microsoft.com/office/drawing/2014/main" id="{E2A3B16E-1E47-53C5-88EF-0559BE32CB5F}"/>
                </a:ext>
              </a:extLst>
            </p:cNvPr>
            <p:cNvSpPr/>
            <p:nvPr/>
          </p:nvSpPr>
          <p:spPr>
            <a:xfrm>
              <a:off x="2262949" y="167632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2" name="Google Shape;5799;p64">
              <a:extLst>
                <a:ext uri="{FF2B5EF4-FFF2-40B4-BE49-F238E27FC236}">
                  <a16:creationId xmlns:a16="http://schemas.microsoft.com/office/drawing/2014/main" id="{07E6BCFF-E87D-08B6-62D6-3078A2448A14}"/>
                </a:ext>
              </a:extLst>
            </p:cNvPr>
            <p:cNvSpPr/>
            <p:nvPr/>
          </p:nvSpPr>
          <p:spPr>
            <a:xfrm>
              <a:off x="2262474" y="167618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3" name="Google Shape;5800;p64">
              <a:extLst>
                <a:ext uri="{FF2B5EF4-FFF2-40B4-BE49-F238E27FC236}">
                  <a16:creationId xmlns:a16="http://schemas.microsoft.com/office/drawing/2014/main" id="{2FB848E3-8E6E-6AE4-9C00-C2E420AF4B90}"/>
                </a:ext>
              </a:extLst>
            </p:cNvPr>
            <p:cNvSpPr/>
            <p:nvPr/>
          </p:nvSpPr>
          <p:spPr>
            <a:xfrm>
              <a:off x="2256486" y="167746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4" name="Google Shape;5801;p64">
              <a:extLst>
                <a:ext uri="{FF2B5EF4-FFF2-40B4-BE49-F238E27FC236}">
                  <a16:creationId xmlns:a16="http://schemas.microsoft.com/office/drawing/2014/main" id="{C94721A0-6117-82E5-0C57-1C62A226A9DB}"/>
                </a:ext>
              </a:extLst>
            </p:cNvPr>
            <p:cNvSpPr/>
            <p:nvPr/>
          </p:nvSpPr>
          <p:spPr>
            <a:xfrm>
              <a:off x="2263194" y="1676470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5" name="Google Shape;5802;p64">
              <a:extLst>
                <a:ext uri="{FF2B5EF4-FFF2-40B4-BE49-F238E27FC236}">
                  <a16:creationId xmlns:a16="http://schemas.microsoft.com/office/drawing/2014/main" id="{6822A397-6683-C412-7D84-313CCA69E4CB}"/>
                </a:ext>
              </a:extLst>
            </p:cNvPr>
            <p:cNvSpPr/>
            <p:nvPr/>
          </p:nvSpPr>
          <p:spPr>
            <a:xfrm>
              <a:off x="2262148" y="1655317"/>
              <a:ext cx="720" cy="1724"/>
            </a:xfrm>
            <a:custGeom>
              <a:avLst/>
              <a:gdLst/>
              <a:ahLst/>
              <a:cxnLst/>
              <a:rect l="l" t="t" r="r" b="b"/>
              <a:pathLst>
                <a:path w="5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42"/>
                    <a:pt x="32" y="84"/>
                    <a:pt x="53" y="126"/>
                  </a:cubicBezTo>
                  <a:cubicBezTo>
                    <a:pt x="32" y="84"/>
                    <a:pt x="14" y="4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6" name="Google Shape;5803;p64">
              <a:extLst>
                <a:ext uri="{FF2B5EF4-FFF2-40B4-BE49-F238E27FC236}">
                  <a16:creationId xmlns:a16="http://schemas.microsoft.com/office/drawing/2014/main" id="{D4240468-64F3-B324-39F4-26D47F85A674}"/>
                </a:ext>
              </a:extLst>
            </p:cNvPr>
            <p:cNvSpPr/>
            <p:nvPr/>
          </p:nvSpPr>
          <p:spPr>
            <a:xfrm>
              <a:off x="2245842" y="1647469"/>
              <a:ext cx="3951" cy="964"/>
            </a:xfrm>
            <a:custGeom>
              <a:avLst/>
              <a:gdLst/>
              <a:ahLst/>
              <a:cxnLst/>
              <a:rect l="l" t="t" r="r" b="b"/>
              <a:pathLst>
                <a:path w="291" h="71" extrusionOk="0">
                  <a:moveTo>
                    <a:pt x="291" y="1"/>
                  </a:moveTo>
                  <a:lnTo>
                    <a:pt x="291" y="1"/>
                  </a:lnTo>
                  <a:cubicBezTo>
                    <a:pt x="276" y="3"/>
                    <a:pt x="252" y="7"/>
                    <a:pt x="223" y="13"/>
                  </a:cubicBezTo>
                  <a:lnTo>
                    <a:pt x="223" y="13"/>
                  </a:lnTo>
                  <a:cubicBezTo>
                    <a:pt x="246" y="9"/>
                    <a:pt x="268" y="5"/>
                    <a:pt x="291" y="1"/>
                  </a:cubicBezTo>
                  <a:close/>
                  <a:moveTo>
                    <a:pt x="223" y="13"/>
                  </a:moveTo>
                  <a:cubicBezTo>
                    <a:pt x="148" y="28"/>
                    <a:pt x="73" y="46"/>
                    <a:pt x="0" y="71"/>
                  </a:cubicBezTo>
                  <a:cubicBezTo>
                    <a:pt x="84" y="45"/>
                    <a:pt x="165" y="26"/>
                    <a:pt x="223" y="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7" name="Google Shape;5804;p64">
              <a:extLst>
                <a:ext uri="{FF2B5EF4-FFF2-40B4-BE49-F238E27FC236}">
                  <a16:creationId xmlns:a16="http://schemas.microsoft.com/office/drawing/2014/main" id="{E070F149-4FF9-3401-EF5A-6FBFAB67D611}"/>
                </a:ext>
              </a:extLst>
            </p:cNvPr>
            <p:cNvSpPr/>
            <p:nvPr/>
          </p:nvSpPr>
          <p:spPr>
            <a:xfrm>
              <a:off x="2264619" y="1659974"/>
              <a:ext cx="869" cy="1195"/>
            </a:xfrm>
            <a:custGeom>
              <a:avLst/>
              <a:gdLst/>
              <a:ahLst/>
              <a:cxnLst/>
              <a:rect l="l" t="t" r="r" b="b"/>
              <a:pathLst>
                <a:path w="64" h="88" extrusionOk="0">
                  <a:moveTo>
                    <a:pt x="0" y="0"/>
                  </a:moveTo>
                  <a:lnTo>
                    <a:pt x="0" y="0"/>
                  </a:lnTo>
                  <a:cubicBezTo>
                    <a:pt x="21" y="35"/>
                    <a:pt x="42" y="63"/>
                    <a:pt x="63" y="88"/>
                  </a:cubicBezTo>
                  <a:cubicBezTo>
                    <a:pt x="42" y="63"/>
                    <a:pt x="21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8" name="Google Shape;5805;p64">
              <a:extLst>
                <a:ext uri="{FF2B5EF4-FFF2-40B4-BE49-F238E27FC236}">
                  <a16:creationId xmlns:a16="http://schemas.microsoft.com/office/drawing/2014/main" id="{E80174D4-1DD9-AF82-915E-B1755D111C9D}"/>
                </a:ext>
              </a:extLst>
            </p:cNvPr>
            <p:cNvSpPr/>
            <p:nvPr/>
          </p:nvSpPr>
          <p:spPr>
            <a:xfrm>
              <a:off x="2243371" y="1648990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0" y="15"/>
                  </a:moveTo>
                  <a:lnTo>
                    <a:pt x="0" y="15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9" name="Google Shape;5806;p64">
              <a:extLst>
                <a:ext uri="{FF2B5EF4-FFF2-40B4-BE49-F238E27FC236}">
                  <a16:creationId xmlns:a16="http://schemas.microsoft.com/office/drawing/2014/main" id="{A23B13AF-3FAB-2C6C-5177-32352E7EE7C1}"/>
                </a:ext>
              </a:extLst>
            </p:cNvPr>
            <p:cNvSpPr/>
            <p:nvPr/>
          </p:nvSpPr>
          <p:spPr>
            <a:xfrm>
              <a:off x="2256242" y="1670238"/>
              <a:ext cx="4399" cy="7142"/>
            </a:xfrm>
            <a:custGeom>
              <a:avLst/>
              <a:gdLst/>
              <a:ahLst/>
              <a:cxnLst/>
              <a:rect l="l" t="t" r="r" b="b"/>
              <a:pathLst>
                <a:path w="324" h="526" extrusionOk="0">
                  <a:moveTo>
                    <a:pt x="323" y="1"/>
                  </a:moveTo>
                  <a:lnTo>
                    <a:pt x="323" y="1"/>
                  </a:lnTo>
                  <a:cubicBezTo>
                    <a:pt x="323" y="75"/>
                    <a:pt x="251" y="195"/>
                    <a:pt x="68" y="439"/>
                  </a:cubicBezTo>
                  <a:lnTo>
                    <a:pt x="68" y="439"/>
                  </a:lnTo>
                  <a:cubicBezTo>
                    <a:pt x="254" y="194"/>
                    <a:pt x="323" y="75"/>
                    <a:pt x="323" y="1"/>
                  </a:cubicBezTo>
                  <a:close/>
                  <a:moveTo>
                    <a:pt x="68" y="439"/>
                  </a:moveTo>
                  <a:lnTo>
                    <a:pt x="68" y="439"/>
                  </a:lnTo>
                  <a:cubicBezTo>
                    <a:pt x="53" y="460"/>
                    <a:pt x="36" y="482"/>
                    <a:pt x="18" y="505"/>
                  </a:cubicBezTo>
                  <a:lnTo>
                    <a:pt x="11" y="513"/>
                  </a:lnTo>
                  <a:lnTo>
                    <a:pt x="22" y="501"/>
                  </a:lnTo>
                  <a:cubicBezTo>
                    <a:pt x="38" y="480"/>
                    <a:pt x="54" y="459"/>
                    <a:pt x="68" y="439"/>
                  </a:cubicBezTo>
                  <a:close/>
                  <a:moveTo>
                    <a:pt x="11" y="513"/>
                  </a:moveTo>
                  <a:lnTo>
                    <a:pt x="1" y="526"/>
                  </a:lnTo>
                  <a:lnTo>
                    <a:pt x="4" y="522"/>
                  </a:lnTo>
                  <a:lnTo>
                    <a:pt x="11" y="51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0" name="Google Shape;5807;p64">
              <a:extLst>
                <a:ext uri="{FF2B5EF4-FFF2-40B4-BE49-F238E27FC236}">
                  <a16:creationId xmlns:a16="http://schemas.microsoft.com/office/drawing/2014/main" id="{2451AF05-F3EB-A8E1-6747-BDE0D786573A}"/>
                </a:ext>
              </a:extLst>
            </p:cNvPr>
            <p:cNvSpPr/>
            <p:nvPr/>
          </p:nvSpPr>
          <p:spPr>
            <a:xfrm>
              <a:off x="2256242" y="167732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1" name="Google Shape;5808;p64">
              <a:extLst>
                <a:ext uri="{FF2B5EF4-FFF2-40B4-BE49-F238E27FC236}">
                  <a16:creationId xmlns:a16="http://schemas.microsoft.com/office/drawing/2014/main" id="{AB6FE1A0-3670-70B1-A1A1-C25439FFCFD9}"/>
                </a:ext>
              </a:extLst>
            </p:cNvPr>
            <p:cNvSpPr/>
            <p:nvPr/>
          </p:nvSpPr>
          <p:spPr>
            <a:xfrm>
              <a:off x="2218985" y="1572222"/>
              <a:ext cx="67847" cy="47032"/>
            </a:xfrm>
            <a:custGeom>
              <a:avLst/>
              <a:gdLst/>
              <a:ahLst/>
              <a:cxnLst/>
              <a:rect l="l" t="t" r="r" b="b"/>
              <a:pathLst>
                <a:path w="4997" h="3464" extrusionOk="0">
                  <a:moveTo>
                    <a:pt x="2643" y="1"/>
                  </a:moveTo>
                  <a:cubicBezTo>
                    <a:pt x="2633" y="4"/>
                    <a:pt x="2622" y="8"/>
                    <a:pt x="2612" y="11"/>
                  </a:cubicBezTo>
                  <a:lnTo>
                    <a:pt x="2601" y="15"/>
                  </a:lnTo>
                  <a:lnTo>
                    <a:pt x="2580" y="25"/>
                  </a:lnTo>
                  <a:lnTo>
                    <a:pt x="2573" y="29"/>
                  </a:lnTo>
                  <a:cubicBezTo>
                    <a:pt x="2563" y="32"/>
                    <a:pt x="2556" y="36"/>
                    <a:pt x="2549" y="43"/>
                  </a:cubicBezTo>
                  <a:cubicBezTo>
                    <a:pt x="2528" y="64"/>
                    <a:pt x="2507" y="88"/>
                    <a:pt x="2493" y="116"/>
                  </a:cubicBezTo>
                  <a:cubicBezTo>
                    <a:pt x="2454" y="172"/>
                    <a:pt x="2405" y="253"/>
                    <a:pt x="2297" y="253"/>
                  </a:cubicBezTo>
                  <a:cubicBezTo>
                    <a:pt x="2269" y="253"/>
                    <a:pt x="2237" y="249"/>
                    <a:pt x="2206" y="246"/>
                  </a:cubicBezTo>
                  <a:cubicBezTo>
                    <a:pt x="2175" y="242"/>
                    <a:pt x="2145" y="239"/>
                    <a:pt x="2117" y="239"/>
                  </a:cubicBezTo>
                  <a:cubicBezTo>
                    <a:pt x="2065" y="239"/>
                    <a:pt x="2016" y="250"/>
                    <a:pt x="1964" y="288"/>
                  </a:cubicBezTo>
                  <a:cubicBezTo>
                    <a:pt x="1929" y="316"/>
                    <a:pt x="1901" y="351"/>
                    <a:pt x="1877" y="389"/>
                  </a:cubicBezTo>
                  <a:cubicBezTo>
                    <a:pt x="1852" y="424"/>
                    <a:pt x="1842" y="470"/>
                    <a:pt x="1849" y="515"/>
                  </a:cubicBezTo>
                  <a:lnTo>
                    <a:pt x="1849" y="519"/>
                  </a:lnTo>
                  <a:cubicBezTo>
                    <a:pt x="1859" y="585"/>
                    <a:pt x="1870" y="670"/>
                    <a:pt x="1838" y="729"/>
                  </a:cubicBezTo>
                  <a:cubicBezTo>
                    <a:pt x="1835" y="740"/>
                    <a:pt x="1831" y="747"/>
                    <a:pt x="1824" y="757"/>
                  </a:cubicBezTo>
                  <a:cubicBezTo>
                    <a:pt x="1796" y="785"/>
                    <a:pt x="1758" y="803"/>
                    <a:pt x="1719" y="803"/>
                  </a:cubicBezTo>
                  <a:cubicBezTo>
                    <a:pt x="1705" y="803"/>
                    <a:pt x="1705" y="803"/>
                    <a:pt x="1681" y="838"/>
                  </a:cubicBezTo>
                  <a:cubicBezTo>
                    <a:pt x="1656" y="887"/>
                    <a:pt x="1614" y="925"/>
                    <a:pt x="1562" y="946"/>
                  </a:cubicBezTo>
                  <a:cubicBezTo>
                    <a:pt x="1478" y="974"/>
                    <a:pt x="1341" y="1104"/>
                    <a:pt x="1331" y="1153"/>
                  </a:cubicBezTo>
                  <a:cubicBezTo>
                    <a:pt x="1327" y="1170"/>
                    <a:pt x="1324" y="1195"/>
                    <a:pt x="1320" y="1219"/>
                  </a:cubicBezTo>
                  <a:cubicBezTo>
                    <a:pt x="1306" y="1331"/>
                    <a:pt x="1292" y="1464"/>
                    <a:pt x="1184" y="1464"/>
                  </a:cubicBezTo>
                  <a:cubicBezTo>
                    <a:pt x="1107" y="1464"/>
                    <a:pt x="921" y="1503"/>
                    <a:pt x="879" y="1552"/>
                  </a:cubicBezTo>
                  <a:lnTo>
                    <a:pt x="862" y="1573"/>
                  </a:lnTo>
                  <a:lnTo>
                    <a:pt x="851" y="1587"/>
                  </a:lnTo>
                  <a:lnTo>
                    <a:pt x="841" y="1597"/>
                  </a:lnTo>
                  <a:cubicBezTo>
                    <a:pt x="813" y="1625"/>
                    <a:pt x="781" y="1653"/>
                    <a:pt x="750" y="1674"/>
                  </a:cubicBezTo>
                  <a:lnTo>
                    <a:pt x="732" y="1681"/>
                  </a:lnTo>
                  <a:lnTo>
                    <a:pt x="729" y="1681"/>
                  </a:lnTo>
                  <a:lnTo>
                    <a:pt x="711" y="1692"/>
                  </a:lnTo>
                  <a:lnTo>
                    <a:pt x="704" y="1692"/>
                  </a:lnTo>
                  <a:lnTo>
                    <a:pt x="686" y="1695"/>
                  </a:lnTo>
                  <a:lnTo>
                    <a:pt x="683" y="1695"/>
                  </a:lnTo>
                  <a:cubicBezTo>
                    <a:pt x="662" y="1702"/>
                    <a:pt x="641" y="1706"/>
                    <a:pt x="623" y="1706"/>
                  </a:cubicBezTo>
                  <a:lnTo>
                    <a:pt x="564" y="1706"/>
                  </a:lnTo>
                  <a:cubicBezTo>
                    <a:pt x="550" y="1706"/>
                    <a:pt x="539" y="1702"/>
                    <a:pt x="529" y="1699"/>
                  </a:cubicBezTo>
                  <a:lnTo>
                    <a:pt x="375" y="1699"/>
                  </a:lnTo>
                  <a:lnTo>
                    <a:pt x="273" y="1695"/>
                  </a:lnTo>
                  <a:lnTo>
                    <a:pt x="200" y="1695"/>
                  </a:lnTo>
                  <a:lnTo>
                    <a:pt x="200" y="1699"/>
                  </a:lnTo>
                  <a:cubicBezTo>
                    <a:pt x="175" y="1779"/>
                    <a:pt x="186" y="1863"/>
                    <a:pt x="221" y="1937"/>
                  </a:cubicBezTo>
                  <a:cubicBezTo>
                    <a:pt x="228" y="1947"/>
                    <a:pt x="235" y="1958"/>
                    <a:pt x="245" y="1968"/>
                  </a:cubicBezTo>
                  <a:cubicBezTo>
                    <a:pt x="252" y="1979"/>
                    <a:pt x="259" y="1986"/>
                    <a:pt x="266" y="1993"/>
                  </a:cubicBezTo>
                  <a:cubicBezTo>
                    <a:pt x="354" y="2070"/>
                    <a:pt x="396" y="2276"/>
                    <a:pt x="375" y="2413"/>
                  </a:cubicBezTo>
                  <a:cubicBezTo>
                    <a:pt x="361" y="2518"/>
                    <a:pt x="312" y="2560"/>
                    <a:pt x="277" y="2574"/>
                  </a:cubicBezTo>
                  <a:cubicBezTo>
                    <a:pt x="158" y="2626"/>
                    <a:pt x="14" y="2749"/>
                    <a:pt x="0" y="2795"/>
                  </a:cubicBezTo>
                  <a:cubicBezTo>
                    <a:pt x="18" y="2816"/>
                    <a:pt x="35" y="2837"/>
                    <a:pt x="60" y="2854"/>
                  </a:cubicBezTo>
                  <a:cubicBezTo>
                    <a:pt x="123" y="2907"/>
                    <a:pt x="210" y="2984"/>
                    <a:pt x="179" y="3092"/>
                  </a:cubicBezTo>
                  <a:cubicBezTo>
                    <a:pt x="161" y="3166"/>
                    <a:pt x="158" y="3239"/>
                    <a:pt x="165" y="3313"/>
                  </a:cubicBezTo>
                  <a:lnTo>
                    <a:pt x="252" y="3313"/>
                  </a:lnTo>
                  <a:lnTo>
                    <a:pt x="270" y="3309"/>
                  </a:lnTo>
                  <a:lnTo>
                    <a:pt x="277" y="3306"/>
                  </a:lnTo>
                  <a:lnTo>
                    <a:pt x="291" y="3302"/>
                  </a:lnTo>
                  <a:lnTo>
                    <a:pt x="301" y="3299"/>
                  </a:lnTo>
                  <a:lnTo>
                    <a:pt x="312" y="3295"/>
                  </a:lnTo>
                  <a:lnTo>
                    <a:pt x="326" y="3288"/>
                  </a:lnTo>
                  <a:lnTo>
                    <a:pt x="333" y="3281"/>
                  </a:lnTo>
                  <a:cubicBezTo>
                    <a:pt x="340" y="3278"/>
                    <a:pt x="347" y="3271"/>
                    <a:pt x="354" y="3264"/>
                  </a:cubicBezTo>
                  <a:cubicBezTo>
                    <a:pt x="371" y="3246"/>
                    <a:pt x="385" y="3229"/>
                    <a:pt x="403" y="3211"/>
                  </a:cubicBezTo>
                  <a:cubicBezTo>
                    <a:pt x="473" y="3127"/>
                    <a:pt x="557" y="3036"/>
                    <a:pt x="757" y="3036"/>
                  </a:cubicBezTo>
                  <a:cubicBezTo>
                    <a:pt x="1369" y="3036"/>
                    <a:pt x="1660" y="3075"/>
                    <a:pt x="1744" y="3169"/>
                  </a:cubicBezTo>
                  <a:cubicBezTo>
                    <a:pt x="1769" y="3199"/>
                    <a:pt x="1824" y="3206"/>
                    <a:pt x="1886" y="3206"/>
                  </a:cubicBezTo>
                  <a:cubicBezTo>
                    <a:pt x="1910" y="3206"/>
                    <a:pt x="1936" y="3205"/>
                    <a:pt x="1961" y="3204"/>
                  </a:cubicBezTo>
                  <a:cubicBezTo>
                    <a:pt x="1978" y="3203"/>
                    <a:pt x="1996" y="3202"/>
                    <a:pt x="2014" y="3202"/>
                  </a:cubicBezTo>
                  <a:cubicBezTo>
                    <a:pt x="2084" y="3202"/>
                    <a:pt x="2155" y="3213"/>
                    <a:pt x="2220" y="3236"/>
                  </a:cubicBezTo>
                  <a:cubicBezTo>
                    <a:pt x="2357" y="3294"/>
                    <a:pt x="2457" y="3317"/>
                    <a:pt x="2499" y="3317"/>
                  </a:cubicBezTo>
                  <a:cubicBezTo>
                    <a:pt x="2502" y="3317"/>
                    <a:pt x="2504" y="3316"/>
                    <a:pt x="2507" y="3316"/>
                  </a:cubicBezTo>
                  <a:cubicBezTo>
                    <a:pt x="2514" y="3295"/>
                    <a:pt x="2528" y="3278"/>
                    <a:pt x="2549" y="3267"/>
                  </a:cubicBezTo>
                  <a:cubicBezTo>
                    <a:pt x="2562" y="3259"/>
                    <a:pt x="2576" y="3256"/>
                    <a:pt x="2591" y="3256"/>
                  </a:cubicBezTo>
                  <a:cubicBezTo>
                    <a:pt x="2623" y="3256"/>
                    <a:pt x="2659" y="3271"/>
                    <a:pt x="2699" y="3288"/>
                  </a:cubicBezTo>
                  <a:cubicBezTo>
                    <a:pt x="2727" y="3302"/>
                    <a:pt x="2755" y="3313"/>
                    <a:pt x="2787" y="3320"/>
                  </a:cubicBezTo>
                  <a:lnTo>
                    <a:pt x="2797" y="3323"/>
                  </a:lnTo>
                  <a:lnTo>
                    <a:pt x="2801" y="3323"/>
                  </a:lnTo>
                  <a:cubicBezTo>
                    <a:pt x="2815" y="3327"/>
                    <a:pt x="2833" y="3330"/>
                    <a:pt x="2847" y="3330"/>
                  </a:cubicBezTo>
                  <a:lnTo>
                    <a:pt x="2868" y="3330"/>
                  </a:lnTo>
                  <a:cubicBezTo>
                    <a:pt x="2875" y="3327"/>
                    <a:pt x="2882" y="3323"/>
                    <a:pt x="2889" y="3320"/>
                  </a:cubicBezTo>
                  <a:cubicBezTo>
                    <a:pt x="2921" y="3302"/>
                    <a:pt x="2953" y="3295"/>
                    <a:pt x="2983" y="3295"/>
                  </a:cubicBezTo>
                  <a:cubicBezTo>
                    <a:pt x="3065" y="3295"/>
                    <a:pt x="3135" y="3349"/>
                    <a:pt x="3186" y="3390"/>
                  </a:cubicBezTo>
                  <a:cubicBezTo>
                    <a:pt x="3207" y="3404"/>
                    <a:pt x="3228" y="3421"/>
                    <a:pt x="3249" y="3432"/>
                  </a:cubicBezTo>
                  <a:cubicBezTo>
                    <a:pt x="3256" y="3428"/>
                    <a:pt x="3263" y="3425"/>
                    <a:pt x="3274" y="3425"/>
                  </a:cubicBezTo>
                  <a:lnTo>
                    <a:pt x="3281" y="3421"/>
                  </a:lnTo>
                  <a:lnTo>
                    <a:pt x="3298" y="3414"/>
                  </a:lnTo>
                  <a:lnTo>
                    <a:pt x="3309" y="3411"/>
                  </a:lnTo>
                  <a:lnTo>
                    <a:pt x="3326" y="3407"/>
                  </a:lnTo>
                  <a:lnTo>
                    <a:pt x="3340" y="3407"/>
                  </a:lnTo>
                  <a:lnTo>
                    <a:pt x="3358" y="3404"/>
                  </a:lnTo>
                  <a:lnTo>
                    <a:pt x="3372" y="3404"/>
                  </a:lnTo>
                  <a:lnTo>
                    <a:pt x="3393" y="3400"/>
                  </a:lnTo>
                  <a:lnTo>
                    <a:pt x="3589" y="3400"/>
                  </a:lnTo>
                  <a:lnTo>
                    <a:pt x="3610" y="3404"/>
                  </a:lnTo>
                  <a:lnTo>
                    <a:pt x="3631" y="3404"/>
                  </a:lnTo>
                  <a:lnTo>
                    <a:pt x="3652" y="3407"/>
                  </a:lnTo>
                  <a:lnTo>
                    <a:pt x="3669" y="3411"/>
                  </a:lnTo>
                  <a:lnTo>
                    <a:pt x="3690" y="3418"/>
                  </a:lnTo>
                  <a:lnTo>
                    <a:pt x="3708" y="3421"/>
                  </a:lnTo>
                  <a:lnTo>
                    <a:pt x="3729" y="3428"/>
                  </a:lnTo>
                  <a:lnTo>
                    <a:pt x="3743" y="3432"/>
                  </a:lnTo>
                  <a:lnTo>
                    <a:pt x="3764" y="3442"/>
                  </a:lnTo>
                  <a:lnTo>
                    <a:pt x="3774" y="3446"/>
                  </a:lnTo>
                  <a:cubicBezTo>
                    <a:pt x="3785" y="3449"/>
                    <a:pt x="3792" y="3456"/>
                    <a:pt x="3802" y="3463"/>
                  </a:cubicBezTo>
                  <a:cubicBezTo>
                    <a:pt x="3806" y="3425"/>
                    <a:pt x="3809" y="3386"/>
                    <a:pt x="3809" y="3348"/>
                  </a:cubicBezTo>
                  <a:cubicBezTo>
                    <a:pt x="3809" y="3236"/>
                    <a:pt x="4030" y="3047"/>
                    <a:pt x="4159" y="2942"/>
                  </a:cubicBezTo>
                  <a:lnTo>
                    <a:pt x="4177" y="2928"/>
                  </a:lnTo>
                  <a:lnTo>
                    <a:pt x="4345" y="2928"/>
                  </a:lnTo>
                  <a:lnTo>
                    <a:pt x="4369" y="2924"/>
                  </a:lnTo>
                  <a:lnTo>
                    <a:pt x="4373" y="2924"/>
                  </a:lnTo>
                  <a:lnTo>
                    <a:pt x="4394" y="2917"/>
                  </a:lnTo>
                  <a:lnTo>
                    <a:pt x="4404" y="2917"/>
                  </a:lnTo>
                  <a:lnTo>
                    <a:pt x="4422" y="2914"/>
                  </a:lnTo>
                  <a:lnTo>
                    <a:pt x="4429" y="2914"/>
                  </a:lnTo>
                  <a:lnTo>
                    <a:pt x="4446" y="2910"/>
                  </a:lnTo>
                  <a:lnTo>
                    <a:pt x="4453" y="2907"/>
                  </a:lnTo>
                  <a:lnTo>
                    <a:pt x="4460" y="2907"/>
                  </a:lnTo>
                  <a:cubicBezTo>
                    <a:pt x="4439" y="2851"/>
                    <a:pt x="4422" y="2791"/>
                    <a:pt x="4408" y="2731"/>
                  </a:cubicBezTo>
                  <a:cubicBezTo>
                    <a:pt x="4404" y="2714"/>
                    <a:pt x="4401" y="2696"/>
                    <a:pt x="4397" y="2682"/>
                  </a:cubicBezTo>
                  <a:cubicBezTo>
                    <a:pt x="4380" y="2616"/>
                    <a:pt x="4362" y="2560"/>
                    <a:pt x="4345" y="2507"/>
                  </a:cubicBezTo>
                  <a:cubicBezTo>
                    <a:pt x="4303" y="2360"/>
                    <a:pt x="4264" y="2248"/>
                    <a:pt x="4338" y="2161"/>
                  </a:cubicBezTo>
                  <a:cubicBezTo>
                    <a:pt x="4367" y="2128"/>
                    <a:pt x="4401" y="2116"/>
                    <a:pt x="4437" y="2116"/>
                  </a:cubicBezTo>
                  <a:cubicBezTo>
                    <a:pt x="4492" y="2116"/>
                    <a:pt x="4551" y="2143"/>
                    <a:pt x="4604" y="2164"/>
                  </a:cubicBezTo>
                  <a:cubicBezTo>
                    <a:pt x="4642" y="2185"/>
                    <a:pt x="4681" y="2199"/>
                    <a:pt x="4723" y="2206"/>
                  </a:cubicBezTo>
                  <a:cubicBezTo>
                    <a:pt x="4726" y="2208"/>
                    <a:pt x="4731" y="2209"/>
                    <a:pt x="4735" y="2209"/>
                  </a:cubicBezTo>
                  <a:cubicBezTo>
                    <a:pt x="4740" y="2209"/>
                    <a:pt x="4744" y="2208"/>
                    <a:pt x="4747" y="2206"/>
                  </a:cubicBezTo>
                  <a:cubicBezTo>
                    <a:pt x="4789" y="2189"/>
                    <a:pt x="4828" y="2171"/>
                    <a:pt x="4866" y="2150"/>
                  </a:cubicBezTo>
                  <a:cubicBezTo>
                    <a:pt x="4996" y="2073"/>
                    <a:pt x="4989" y="2028"/>
                    <a:pt x="4989" y="2028"/>
                  </a:cubicBezTo>
                  <a:cubicBezTo>
                    <a:pt x="4972" y="1947"/>
                    <a:pt x="4817" y="1818"/>
                    <a:pt x="4737" y="1797"/>
                  </a:cubicBezTo>
                  <a:cubicBezTo>
                    <a:pt x="4667" y="1779"/>
                    <a:pt x="4621" y="1716"/>
                    <a:pt x="4576" y="1650"/>
                  </a:cubicBezTo>
                  <a:cubicBezTo>
                    <a:pt x="4527" y="1583"/>
                    <a:pt x="4481" y="1517"/>
                    <a:pt x="4411" y="1492"/>
                  </a:cubicBezTo>
                  <a:cubicBezTo>
                    <a:pt x="4331" y="1457"/>
                    <a:pt x="4271" y="1391"/>
                    <a:pt x="4243" y="1310"/>
                  </a:cubicBezTo>
                  <a:lnTo>
                    <a:pt x="4233" y="1279"/>
                  </a:lnTo>
                  <a:cubicBezTo>
                    <a:pt x="4219" y="1230"/>
                    <a:pt x="4187" y="1181"/>
                    <a:pt x="4145" y="1149"/>
                  </a:cubicBezTo>
                  <a:cubicBezTo>
                    <a:pt x="4019" y="1069"/>
                    <a:pt x="4033" y="936"/>
                    <a:pt x="4047" y="827"/>
                  </a:cubicBezTo>
                  <a:cubicBezTo>
                    <a:pt x="4054" y="789"/>
                    <a:pt x="4054" y="750"/>
                    <a:pt x="4054" y="712"/>
                  </a:cubicBezTo>
                  <a:cubicBezTo>
                    <a:pt x="4051" y="663"/>
                    <a:pt x="4051" y="617"/>
                    <a:pt x="4054" y="568"/>
                  </a:cubicBezTo>
                  <a:cubicBezTo>
                    <a:pt x="4054" y="508"/>
                    <a:pt x="4058" y="410"/>
                    <a:pt x="4040" y="386"/>
                  </a:cubicBezTo>
                  <a:lnTo>
                    <a:pt x="4016" y="375"/>
                  </a:lnTo>
                  <a:cubicBezTo>
                    <a:pt x="3806" y="265"/>
                    <a:pt x="3694" y="236"/>
                    <a:pt x="3634" y="236"/>
                  </a:cubicBezTo>
                  <a:cubicBezTo>
                    <a:pt x="3615" y="236"/>
                    <a:pt x="3602" y="238"/>
                    <a:pt x="3592" y="242"/>
                  </a:cubicBezTo>
                  <a:lnTo>
                    <a:pt x="3578" y="249"/>
                  </a:lnTo>
                  <a:cubicBezTo>
                    <a:pt x="3509" y="279"/>
                    <a:pt x="3437" y="312"/>
                    <a:pt x="3370" y="312"/>
                  </a:cubicBezTo>
                  <a:cubicBezTo>
                    <a:pt x="3336" y="312"/>
                    <a:pt x="3303" y="304"/>
                    <a:pt x="3274" y="281"/>
                  </a:cubicBezTo>
                  <a:cubicBezTo>
                    <a:pt x="3270" y="277"/>
                    <a:pt x="3263" y="274"/>
                    <a:pt x="3260" y="270"/>
                  </a:cubicBezTo>
                  <a:lnTo>
                    <a:pt x="3253" y="263"/>
                  </a:lnTo>
                  <a:cubicBezTo>
                    <a:pt x="3239" y="249"/>
                    <a:pt x="3228" y="232"/>
                    <a:pt x="3218" y="214"/>
                  </a:cubicBezTo>
                  <a:cubicBezTo>
                    <a:pt x="3176" y="141"/>
                    <a:pt x="3134" y="106"/>
                    <a:pt x="3078" y="106"/>
                  </a:cubicBezTo>
                  <a:cubicBezTo>
                    <a:pt x="3064" y="106"/>
                    <a:pt x="3050" y="106"/>
                    <a:pt x="3036" y="109"/>
                  </a:cubicBezTo>
                  <a:cubicBezTo>
                    <a:pt x="3029" y="109"/>
                    <a:pt x="3022" y="109"/>
                    <a:pt x="3015" y="113"/>
                  </a:cubicBezTo>
                  <a:cubicBezTo>
                    <a:pt x="2983" y="120"/>
                    <a:pt x="2952" y="127"/>
                    <a:pt x="2920" y="127"/>
                  </a:cubicBezTo>
                  <a:cubicBezTo>
                    <a:pt x="2857" y="127"/>
                    <a:pt x="2790" y="106"/>
                    <a:pt x="2734" y="71"/>
                  </a:cubicBezTo>
                  <a:cubicBezTo>
                    <a:pt x="2710" y="53"/>
                    <a:pt x="2685" y="36"/>
                    <a:pt x="2661" y="15"/>
                  </a:cubicBezTo>
                  <a:cubicBezTo>
                    <a:pt x="2657" y="11"/>
                    <a:pt x="2650" y="4"/>
                    <a:pt x="26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2" name="Google Shape;5809;p64">
              <a:extLst>
                <a:ext uri="{FF2B5EF4-FFF2-40B4-BE49-F238E27FC236}">
                  <a16:creationId xmlns:a16="http://schemas.microsoft.com/office/drawing/2014/main" id="{5B52F40D-63AF-4E91-FEE8-30F3273A9E9B}"/>
                </a:ext>
              </a:extLst>
            </p:cNvPr>
            <p:cNvSpPr/>
            <p:nvPr/>
          </p:nvSpPr>
          <p:spPr>
            <a:xfrm>
              <a:off x="2221972" y="1598508"/>
              <a:ext cx="353" cy="448"/>
            </a:xfrm>
            <a:custGeom>
              <a:avLst/>
              <a:gdLst/>
              <a:ahLst/>
              <a:cxnLst/>
              <a:rect l="l" t="t" r="r" b="b"/>
              <a:pathLst>
                <a:path w="26" h="33" extrusionOk="0">
                  <a:moveTo>
                    <a:pt x="25" y="32"/>
                  </a:moveTo>
                  <a:cubicBezTo>
                    <a:pt x="15" y="22"/>
                    <a:pt x="8" y="11"/>
                    <a:pt x="1" y="1"/>
                  </a:cubicBezTo>
                  <a:cubicBezTo>
                    <a:pt x="8" y="11"/>
                    <a:pt x="15" y="22"/>
                    <a:pt x="25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3" name="Google Shape;5810;p64">
              <a:extLst>
                <a:ext uri="{FF2B5EF4-FFF2-40B4-BE49-F238E27FC236}">
                  <a16:creationId xmlns:a16="http://schemas.microsoft.com/office/drawing/2014/main" id="{446990F1-9085-9165-8819-791CD02C0105}"/>
                </a:ext>
              </a:extLst>
            </p:cNvPr>
            <p:cNvSpPr/>
            <p:nvPr/>
          </p:nvSpPr>
          <p:spPr>
            <a:xfrm>
              <a:off x="2221212" y="1594666"/>
              <a:ext cx="828" cy="3856"/>
            </a:xfrm>
            <a:custGeom>
              <a:avLst/>
              <a:gdLst/>
              <a:ahLst/>
              <a:cxnLst/>
              <a:rect l="l" t="t" r="r" b="b"/>
              <a:pathLst>
                <a:path w="61" h="284" extrusionOk="0">
                  <a:moveTo>
                    <a:pt x="39" y="0"/>
                  </a:moveTo>
                  <a:lnTo>
                    <a:pt x="39" y="0"/>
                  </a:lnTo>
                  <a:cubicBezTo>
                    <a:pt x="1" y="91"/>
                    <a:pt x="8" y="200"/>
                    <a:pt x="60" y="284"/>
                  </a:cubicBezTo>
                  <a:cubicBezTo>
                    <a:pt x="8" y="200"/>
                    <a:pt x="1" y="91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4" name="Google Shape;5811;p64">
              <a:extLst>
                <a:ext uri="{FF2B5EF4-FFF2-40B4-BE49-F238E27FC236}">
                  <a16:creationId xmlns:a16="http://schemas.microsoft.com/office/drawing/2014/main" id="{9335B3BA-4BBF-DA7A-EFB5-4FBAB8861F3C}"/>
                </a:ext>
              </a:extLst>
            </p:cNvPr>
            <p:cNvSpPr/>
            <p:nvPr/>
          </p:nvSpPr>
          <p:spPr>
            <a:xfrm>
              <a:off x="2277355" y="161173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5" name="Google Shape;5812;p64">
              <a:extLst>
                <a:ext uri="{FF2B5EF4-FFF2-40B4-BE49-F238E27FC236}">
                  <a16:creationId xmlns:a16="http://schemas.microsoft.com/office/drawing/2014/main" id="{F5A3449D-6FDA-C39A-7EB1-3E0577475FE0}"/>
                </a:ext>
              </a:extLst>
            </p:cNvPr>
            <p:cNvSpPr/>
            <p:nvPr/>
          </p:nvSpPr>
          <p:spPr>
            <a:xfrm>
              <a:off x="2222923" y="1617001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6" name="Google Shape;5813;p64">
              <a:extLst>
                <a:ext uri="{FF2B5EF4-FFF2-40B4-BE49-F238E27FC236}">
                  <a16:creationId xmlns:a16="http://schemas.microsoft.com/office/drawing/2014/main" id="{C4B3FF43-2E55-7217-8BBF-CD4EAFB22E6A}"/>
                </a:ext>
              </a:extLst>
            </p:cNvPr>
            <p:cNvSpPr/>
            <p:nvPr/>
          </p:nvSpPr>
          <p:spPr>
            <a:xfrm>
              <a:off x="2223547" y="1616526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8"/>
                  </a:moveTo>
                  <a:cubicBezTo>
                    <a:pt x="4" y="11"/>
                    <a:pt x="11" y="4"/>
                    <a:pt x="18" y="1"/>
                  </a:cubicBezTo>
                  <a:cubicBezTo>
                    <a:pt x="11" y="4"/>
                    <a:pt x="4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7" name="Google Shape;5814;p64">
              <a:extLst>
                <a:ext uri="{FF2B5EF4-FFF2-40B4-BE49-F238E27FC236}">
                  <a16:creationId xmlns:a16="http://schemas.microsoft.com/office/drawing/2014/main" id="{4F7FD372-F8BE-6907-9F37-43077171168D}"/>
                </a:ext>
              </a:extLst>
            </p:cNvPr>
            <p:cNvSpPr/>
            <p:nvPr/>
          </p:nvSpPr>
          <p:spPr>
            <a:xfrm>
              <a:off x="2223208" y="161681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8" name="Google Shape;5815;p64">
              <a:extLst>
                <a:ext uri="{FF2B5EF4-FFF2-40B4-BE49-F238E27FC236}">
                  <a16:creationId xmlns:a16="http://schemas.microsoft.com/office/drawing/2014/main" id="{C713505E-7915-C64E-E5B4-73C89D49B48E}"/>
                </a:ext>
              </a:extLst>
            </p:cNvPr>
            <p:cNvSpPr/>
            <p:nvPr/>
          </p:nvSpPr>
          <p:spPr>
            <a:xfrm>
              <a:off x="2276785" y="161177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9" name="Google Shape;5816;p64">
              <a:extLst>
                <a:ext uri="{FF2B5EF4-FFF2-40B4-BE49-F238E27FC236}">
                  <a16:creationId xmlns:a16="http://schemas.microsoft.com/office/drawing/2014/main" id="{D76604E4-A704-5F24-A1B5-2B2852E33A7F}"/>
                </a:ext>
              </a:extLst>
            </p:cNvPr>
            <p:cNvSpPr/>
            <p:nvPr/>
          </p:nvSpPr>
          <p:spPr>
            <a:xfrm>
              <a:off x="2277016" y="161177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0" name="Google Shape;5817;p64">
              <a:extLst>
                <a:ext uri="{FF2B5EF4-FFF2-40B4-BE49-F238E27FC236}">
                  <a16:creationId xmlns:a16="http://schemas.microsoft.com/office/drawing/2014/main" id="{E0065574-1840-DA45-EEB9-7E94FAF3B620}"/>
                </a:ext>
              </a:extLst>
            </p:cNvPr>
            <p:cNvSpPr/>
            <p:nvPr/>
          </p:nvSpPr>
          <p:spPr>
            <a:xfrm>
              <a:off x="2263425" y="161857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1" name="Google Shape;5818;p64">
              <a:extLst>
                <a:ext uri="{FF2B5EF4-FFF2-40B4-BE49-F238E27FC236}">
                  <a16:creationId xmlns:a16="http://schemas.microsoft.com/office/drawing/2014/main" id="{B9346D36-398F-4547-B3FB-2432CE941ADE}"/>
                </a:ext>
              </a:extLst>
            </p:cNvPr>
            <p:cNvSpPr/>
            <p:nvPr/>
          </p:nvSpPr>
          <p:spPr>
            <a:xfrm>
              <a:off x="2257776" y="1617381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cubicBezTo>
                    <a:pt x="4" y="1"/>
                    <a:pt x="7" y="1"/>
                    <a:pt x="11" y="1"/>
                  </a:cubicBezTo>
                  <a:cubicBezTo>
                    <a:pt x="7" y="1"/>
                    <a:pt x="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2" name="Google Shape;5819;p64">
              <a:extLst>
                <a:ext uri="{FF2B5EF4-FFF2-40B4-BE49-F238E27FC236}">
                  <a16:creationId xmlns:a16="http://schemas.microsoft.com/office/drawing/2014/main" id="{7ECBAA9F-CE3B-3757-CE42-6C63229B15B9}"/>
                </a:ext>
              </a:extLst>
            </p:cNvPr>
            <p:cNvSpPr/>
            <p:nvPr/>
          </p:nvSpPr>
          <p:spPr>
            <a:xfrm>
              <a:off x="2256812" y="1617286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3" name="Google Shape;5820;p64">
              <a:extLst>
                <a:ext uri="{FF2B5EF4-FFF2-40B4-BE49-F238E27FC236}">
                  <a16:creationId xmlns:a16="http://schemas.microsoft.com/office/drawing/2014/main" id="{21981201-13A9-E0CB-4F98-B7CF9BEA17FD}"/>
                </a:ext>
              </a:extLst>
            </p:cNvPr>
            <p:cNvSpPr/>
            <p:nvPr/>
          </p:nvSpPr>
          <p:spPr>
            <a:xfrm>
              <a:off x="2222638" y="1617096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4" name="Google Shape;5821;p64">
              <a:extLst>
                <a:ext uri="{FF2B5EF4-FFF2-40B4-BE49-F238E27FC236}">
                  <a16:creationId xmlns:a16="http://schemas.microsoft.com/office/drawing/2014/main" id="{1EA1210B-43C1-B309-FE59-5873BFFA2FF6}"/>
                </a:ext>
              </a:extLst>
            </p:cNvPr>
            <p:cNvSpPr/>
            <p:nvPr/>
          </p:nvSpPr>
          <p:spPr>
            <a:xfrm>
              <a:off x="2278305" y="161148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5" name="Google Shape;5822;p64">
              <a:extLst>
                <a:ext uri="{FF2B5EF4-FFF2-40B4-BE49-F238E27FC236}">
                  <a16:creationId xmlns:a16="http://schemas.microsoft.com/office/drawing/2014/main" id="{243F0F64-0263-458B-3CA4-F1021D659D46}"/>
                </a:ext>
              </a:extLst>
            </p:cNvPr>
            <p:cNvSpPr/>
            <p:nvPr/>
          </p:nvSpPr>
          <p:spPr>
            <a:xfrm>
              <a:off x="2277966" y="1611584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4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6" name="Google Shape;5823;p64">
              <a:extLst>
                <a:ext uri="{FF2B5EF4-FFF2-40B4-BE49-F238E27FC236}">
                  <a16:creationId xmlns:a16="http://schemas.microsoft.com/office/drawing/2014/main" id="{EA9F4508-6583-E504-5C60-EA06E7D71810}"/>
                </a:ext>
              </a:extLst>
            </p:cNvPr>
            <p:cNvSpPr/>
            <p:nvPr/>
          </p:nvSpPr>
          <p:spPr>
            <a:xfrm>
              <a:off x="2270227" y="1618902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"/>
                  </a:moveTo>
                  <a:cubicBezTo>
                    <a:pt x="11" y="4"/>
                    <a:pt x="18" y="8"/>
                    <a:pt x="28" y="15"/>
                  </a:cubicBezTo>
                  <a:cubicBezTo>
                    <a:pt x="18" y="8"/>
                    <a:pt x="11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7" name="Google Shape;5824;p64">
              <a:extLst>
                <a:ext uri="{FF2B5EF4-FFF2-40B4-BE49-F238E27FC236}">
                  <a16:creationId xmlns:a16="http://schemas.microsoft.com/office/drawing/2014/main" id="{394D8898-EED2-94F4-18C1-FB68A748227A}"/>
                </a:ext>
              </a:extLst>
            </p:cNvPr>
            <p:cNvSpPr/>
            <p:nvPr/>
          </p:nvSpPr>
          <p:spPr>
            <a:xfrm>
              <a:off x="2277640" y="16116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8" name="Google Shape;5825;p64">
              <a:extLst>
                <a:ext uri="{FF2B5EF4-FFF2-40B4-BE49-F238E27FC236}">
                  <a16:creationId xmlns:a16="http://schemas.microsoft.com/office/drawing/2014/main" id="{39E08ECC-955C-36D2-3B0B-2FCC10612E2E}"/>
                </a:ext>
              </a:extLst>
            </p:cNvPr>
            <p:cNvSpPr/>
            <p:nvPr/>
          </p:nvSpPr>
          <p:spPr>
            <a:xfrm>
              <a:off x="2222353" y="16171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9" name="Google Shape;5826;p64">
              <a:extLst>
                <a:ext uri="{FF2B5EF4-FFF2-40B4-BE49-F238E27FC236}">
                  <a16:creationId xmlns:a16="http://schemas.microsoft.com/office/drawing/2014/main" id="{93E9314B-5D07-EF5E-CD28-2CC78A4B3D85}"/>
                </a:ext>
              </a:extLst>
            </p:cNvPr>
            <p:cNvSpPr/>
            <p:nvPr/>
          </p:nvSpPr>
          <p:spPr>
            <a:xfrm>
              <a:off x="2221972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0" name="Google Shape;5827;p64">
              <a:extLst>
                <a:ext uri="{FF2B5EF4-FFF2-40B4-BE49-F238E27FC236}">
                  <a16:creationId xmlns:a16="http://schemas.microsoft.com/office/drawing/2014/main" id="{ABD29F98-DC5A-98C2-D9FB-29688D6882F4}"/>
                </a:ext>
              </a:extLst>
            </p:cNvPr>
            <p:cNvSpPr/>
            <p:nvPr/>
          </p:nvSpPr>
          <p:spPr>
            <a:xfrm>
              <a:off x="2268272" y="161833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1" name="Google Shape;5828;p64">
              <a:extLst>
                <a:ext uri="{FF2B5EF4-FFF2-40B4-BE49-F238E27FC236}">
                  <a16:creationId xmlns:a16="http://schemas.microsoft.com/office/drawing/2014/main" id="{B483C8CA-4094-7451-CD72-08D7387A4F68}"/>
                </a:ext>
              </a:extLst>
            </p:cNvPr>
            <p:cNvSpPr/>
            <p:nvPr/>
          </p:nvSpPr>
          <p:spPr>
            <a:xfrm>
              <a:off x="2267701" y="1618291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2" name="Google Shape;5829;p64">
              <a:extLst>
                <a:ext uri="{FF2B5EF4-FFF2-40B4-BE49-F238E27FC236}">
                  <a16:creationId xmlns:a16="http://schemas.microsoft.com/office/drawing/2014/main" id="{53A683F5-2346-513B-7A96-1096CA4EFA6B}"/>
                </a:ext>
              </a:extLst>
            </p:cNvPr>
            <p:cNvSpPr/>
            <p:nvPr/>
          </p:nvSpPr>
          <p:spPr>
            <a:xfrm>
              <a:off x="2276024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3" name="Google Shape;5830;p64">
              <a:extLst>
                <a:ext uri="{FF2B5EF4-FFF2-40B4-BE49-F238E27FC236}">
                  <a16:creationId xmlns:a16="http://schemas.microsoft.com/office/drawing/2014/main" id="{877135C5-0E90-98E3-4CB1-5C49FFA811E7}"/>
                </a:ext>
              </a:extLst>
            </p:cNvPr>
            <p:cNvSpPr/>
            <p:nvPr/>
          </p:nvSpPr>
          <p:spPr>
            <a:xfrm>
              <a:off x="2278726" y="1611448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4" name="Google Shape;5831;p64">
              <a:extLst>
                <a:ext uri="{FF2B5EF4-FFF2-40B4-BE49-F238E27FC236}">
                  <a16:creationId xmlns:a16="http://schemas.microsoft.com/office/drawing/2014/main" id="{EBF4B146-1B60-638A-F4D2-1D18C189CBEE}"/>
                </a:ext>
              </a:extLst>
            </p:cNvPr>
            <p:cNvSpPr/>
            <p:nvPr/>
          </p:nvSpPr>
          <p:spPr>
            <a:xfrm>
              <a:off x="2266520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5" name="Google Shape;5832;p64">
              <a:extLst>
                <a:ext uri="{FF2B5EF4-FFF2-40B4-BE49-F238E27FC236}">
                  <a16:creationId xmlns:a16="http://schemas.microsoft.com/office/drawing/2014/main" id="{4C4E7698-9BED-038C-21B9-5E2AAF8AC006}"/>
                </a:ext>
              </a:extLst>
            </p:cNvPr>
            <p:cNvSpPr/>
            <p:nvPr/>
          </p:nvSpPr>
          <p:spPr>
            <a:xfrm>
              <a:off x="2267131" y="161823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1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6" name="Google Shape;5833;p64">
              <a:extLst>
                <a:ext uri="{FF2B5EF4-FFF2-40B4-BE49-F238E27FC236}">
                  <a16:creationId xmlns:a16="http://schemas.microsoft.com/office/drawing/2014/main" id="{BB6D0102-5199-FE29-D630-BA64C4600B07}"/>
                </a:ext>
              </a:extLst>
            </p:cNvPr>
            <p:cNvSpPr/>
            <p:nvPr/>
          </p:nvSpPr>
          <p:spPr>
            <a:xfrm>
              <a:off x="2269792" y="1618712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7" name="Google Shape;5834;p64">
              <a:extLst>
                <a:ext uri="{FF2B5EF4-FFF2-40B4-BE49-F238E27FC236}">
                  <a16:creationId xmlns:a16="http://schemas.microsoft.com/office/drawing/2014/main" id="{F9DF4795-CB5B-AA2E-DE29-0C8B65E8BA6F}"/>
                </a:ext>
              </a:extLst>
            </p:cNvPr>
            <p:cNvSpPr/>
            <p:nvPr/>
          </p:nvSpPr>
          <p:spPr>
            <a:xfrm>
              <a:off x="2269317" y="161857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0"/>
                  </a:moveTo>
                  <a:lnTo>
                    <a:pt x="22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8" name="Google Shape;5835;p64">
              <a:extLst>
                <a:ext uri="{FF2B5EF4-FFF2-40B4-BE49-F238E27FC236}">
                  <a16:creationId xmlns:a16="http://schemas.microsoft.com/office/drawing/2014/main" id="{7D0F1EDA-7C8A-1475-7D4F-E7D48A382EDE}"/>
                </a:ext>
              </a:extLst>
            </p:cNvPr>
            <p:cNvSpPr/>
            <p:nvPr/>
          </p:nvSpPr>
          <p:spPr>
            <a:xfrm>
              <a:off x="2263764" y="161842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4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9" name="Google Shape;5836;p64">
              <a:extLst>
                <a:ext uri="{FF2B5EF4-FFF2-40B4-BE49-F238E27FC236}">
                  <a16:creationId xmlns:a16="http://schemas.microsoft.com/office/drawing/2014/main" id="{6D4C8F5E-710F-98E7-3E13-FAC921C2BD3A}"/>
                </a:ext>
              </a:extLst>
            </p:cNvPr>
            <p:cNvSpPr/>
            <p:nvPr/>
          </p:nvSpPr>
          <p:spPr>
            <a:xfrm>
              <a:off x="2268801" y="161842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0" name="Google Shape;5837;p64">
              <a:extLst>
                <a:ext uri="{FF2B5EF4-FFF2-40B4-BE49-F238E27FC236}">
                  <a16:creationId xmlns:a16="http://schemas.microsoft.com/office/drawing/2014/main" id="{88414117-437F-2C91-4B5D-6EBE7358CFEF}"/>
                </a:ext>
              </a:extLst>
            </p:cNvPr>
            <p:cNvSpPr/>
            <p:nvPr/>
          </p:nvSpPr>
          <p:spPr>
            <a:xfrm>
              <a:off x="2264565" y="161833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1" name="Google Shape;5838;p64">
              <a:extLst>
                <a:ext uri="{FF2B5EF4-FFF2-40B4-BE49-F238E27FC236}">
                  <a16:creationId xmlns:a16="http://schemas.microsoft.com/office/drawing/2014/main" id="{4BBB47DF-94CD-131D-092B-55DAF7444458}"/>
                </a:ext>
              </a:extLst>
            </p:cNvPr>
            <p:cNvSpPr/>
            <p:nvPr/>
          </p:nvSpPr>
          <p:spPr>
            <a:xfrm>
              <a:off x="227644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2" name="Google Shape;5839;p64">
              <a:extLst>
                <a:ext uri="{FF2B5EF4-FFF2-40B4-BE49-F238E27FC236}">
                  <a16:creationId xmlns:a16="http://schemas.microsoft.com/office/drawing/2014/main" id="{F037994C-C9A0-C355-5883-9D57998C36CB}"/>
                </a:ext>
              </a:extLst>
            </p:cNvPr>
            <p:cNvSpPr/>
            <p:nvPr/>
          </p:nvSpPr>
          <p:spPr>
            <a:xfrm>
              <a:off x="2264144" y="161838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3" name="Google Shape;5840;p64">
              <a:extLst>
                <a:ext uri="{FF2B5EF4-FFF2-40B4-BE49-F238E27FC236}">
                  <a16:creationId xmlns:a16="http://schemas.microsoft.com/office/drawing/2014/main" id="{20CCF8C6-1161-E044-23FB-C7EF644D7F32}"/>
                </a:ext>
              </a:extLst>
            </p:cNvPr>
            <p:cNvSpPr/>
            <p:nvPr/>
          </p:nvSpPr>
          <p:spPr>
            <a:xfrm>
              <a:off x="2265570" y="161823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4" name="Google Shape;5841;p64">
              <a:extLst>
                <a:ext uri="{FF2B5EF4-FFF2-40B4-BE49-F238E27FC236}">
                  <a16:creationId xmlns:a16="http://schemas.microsoft.com/office/drawing/2014/main" id="{CC98D25C-5726-1702-2946-2A4ADEC1B26B}"/>
                </a:ext>
              </a:extLst>
            </p:cNvPr>
            <p:cNvSpPr/>
            <p:nvPr/>
          </p:nvSpPr>
          <p:spPr>
            <a:xfrm>
              <a:off x="2266086" y="16181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5" name="Google Shape;5842;p64">
              <a:extLst>
                <a:ext uri="{FF2B5EF4-FFF2-40B4-BE49-F238E27FC236}">
                  <a16:creationId xmlns:a16="http://schemas.microsoft.com/office/drawing/2014/main" id="{9010D55C-7909-0B0B-CC09-310DDF4CBB45}"/>
                </a:ext>
              </a:extLst>
            </p:cNvPr>
            <p:cNvSpPr/>
            <p:nvPr/>
          </p:nvSpPr>
          <p:spPr>
            <a:xfrm>
              <a:off x="2276255" y="16118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6" name="Google Shape;5843;p64">
              <a:extLst>
                <a:ext uri="{FF2B5EF4-FFF2-40B4-BE49-F238E27FC236}">
                  <a16:creationId xmlns:a16="http://schemas.microsoft.com/office/drawing/2014/main" id="{60E5DA99-9A36-EBC2-6C3E-F86F62F50FE5}"/>
                </a:ext>
              </a:extLst>
            </p:cNvPr>
            <p:cNvSpPr/>
            <p:nvPr/>
          </p:nvSpPr>
          <p:spPr>
            <a:xfrm>
              <a:off x="2276119" y="161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7" name="Google Shape;5844;p64">
              <a:extLst>
                <a:ext uri="{FF2B5EF4-FFF2-40B4-BE49-F238E27FC236}">
                  <a16:creationId xmlns:a16="http://schemas.microsoft.com/office/drawing/2014/main" id="{939CC021-544D-7B55-0AE1-DE8F6A006DE1}"/>
                </a:ext>
              </a:extLst>
            </p:cNvPr>
            <p:cNvSpPr/>
            <p:nvPr/>
          </p:nvSpPr>
          <p:spPr>
            <a:xfrm>
              <a:off x="2265040" y="161829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8" name="Google Shape;5845;p64">
              <a:extLst>
                <a:ext uri="{FF2B5EF4-FFF2-40B4-BE49-F238E27FC236}">
                  <a16:creationId xmlns:a16="http://schemas.microsoft.com/office/drawing/2014/main" id="{B5DCF2AD-63F9-97FA-B307-51BD03F958AE}"/>
                </a:ext>
              </a:extLst>
            </p:cNvPr>
            <p:cNvSpPr/>
            <p:nvPr/>
          </p:nvSpPr>
          <p:spPr>
            <a:xfrm>
              <a:off x="222130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9" name="Google Shape;5846;p64">
              <a:extLst>
                <a:ext uri="{FF2B5EF4-FFF2-40B4-BE49-F238E27FC236}">
                  <a16:creationId xmlns:a16="http://schemas.microsoft.com/office/drawing/2014/main" id="{F5B98806-2B0F-4F7A-5EA9-BA4002A6DF4F}"/>
                </a:ext>
              </a:extLst>
            </p:cNvPr>
            <p:cNvSpPr/>
            <p:nvPr/>
          </p:nvSpPr>
          <p:spPr>
            <a:xfrm>
              <a:off x="2257002" y="1617340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7" y="4"/>
                  </a:moveTo>
                  <a:cubicBezTo>
                    <a:pt x="33" y="4"/>
                    <a:pt x="15" y="4"/>
                    <a:pt x="1" y="0"/>
                  </a:cubicBezTo>
                  <a:cubicBezTo>
                    <a:pt x="15" y="4"/>
                    <a:pt x="33" y="4"/>
                    <a:pt x="4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0" name="Google Shape;5847;p64">
              <a:extLst>
                <a:ext uri="{FF2B5EF4-FFF2-40B4-BE49-F238E27FC236}">
                  <a16:creationId xmlns:a16="http://schemas.microsoft.com/office/drawing/2014/main" id="{48D34833-5647-63B7-BFBC-72AD36395D92}"/>
                </a:ext>
              </a:extLst>
            </p:cNvPr>
            <p:cNvSpPr/>
            <p:nvPr/>
          </p:nvSpPr>
          <p:spPr>
            <a:xfrm>
              <a:off x="2221687" y="16171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1" name="Google Shape;5848;p64">
              <a:extLst>
                <a:ext uri="{FF2B5EF4-FFF2-40B4-BE49-F238E27FC236}">
                  <a16:creationId xmlns:a16="http://schemas.microsoft.com/office/drawing/2014/main" id="{11B4BBAE-367F-0AA5-95E7-289903B09776}"/>
                </a:ext>
              </a:extLst>
            </p:cNvPr>
            <p:cNvSpPr/>
            <p:nvPr/>
          </p:nvSpPr>
          <p:spPr>
            <a:xfrm>
              <a:off x="2279446" y="161129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2" name="Google Shape;5849;p64">
              <a:extLst>
                <a:ext uri="{FF2B5EF4-FFF2-40B4-BE49-F238E27FC236}">
                  <a16:creationId xmlns:a16="http://schemas.microsoft.com/office/drawing/2014/main" id="{282AE121-C401-9AC9-BED0-36608C781C3C}"/>
                </a:ext>
              </a:extLst>
            </p:cNvPr>
            <p:cNvSpPr/>
            <p:nvPr/>
          </p:nvSpPr>
          <p:spPr>
            <a:xfrm>
              <a:off x="2279107" y="1611353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3" name="Google Shape;5850;p64">
              <a:extLst>
                <a:ext uri="{FF2B5EF4-FFF2-40B4-BE49-F238E27FC236}">
                  <a16:creationId xmlns:a16="http://schemas.microsoft.com/office/drawing/2014/main" id="{34DD68D0-82BF-F598-3F05-151625992EB0}"/>
                </a:ext>
              </a:extLst>
            </p:cNvPr>
            <p:cNvSpPr/>
            <p:nvPr/>
          </p:nvSpPr>
          <p:spPr>
            <a:xfrm>
              <a:off x="2201348" y="1551829"/>
              <a:ext cx="52776" cy="23503"/>
            </a:xfrm>
            <a:custGeom>
              <a:avLst/>
              <a:gdLst/>
              <a:ahLst/>
              <a:cxnLst/>
              <a:rect l="l" t="t" r="r" b="b"/>
              <a:pathLst>
                <a:path w="3887" h="1731" extrusionOk="0">
                  <a:moveTo>
                    <a:pt x="2070" y="1"/>
                  </a:moveTo>
                  <a:lnTo>
                    <a:pt x="2038" y="4"/>
                  </a:lnTo>
                  <a:lnTo>
                    <a:pt x="2017" y="4"/>
                  </a:lnTo>
                  <a:lnTo>
                    <a:pt x="1982" y="8"/>
                  </a:lnTo>
                  <a:lnTo>
                    <a:pt x="1957" y="8"/>
                  </a:lnTo>
                  <a:lnTo>
                    <a:pt x="1919" y="11"/>
                  </a:lnTo>
                  <a:lnTo>
                    <a:pt x="1901" y="11"/>
                  </a:lnTo>
                  <a:cubicBezTo>
                    <a:pt x="1842" y="89"/>
                    <a:pt x="1852" y="152"/>
                    <a:pt x="1866" y="260"/>
                  </a:cubicBezTo>
                  <a:cubicBezTo>
                    <a:pt x="1880" y="334"/>
                    <a:pt x="1887" y="411"/>
                    <a:pt x="1884" y="491"/>
                  </a:cubicBezTo>
                  <a:cubicBezTo>
                    <a:pt x="1887" y="565"/>
                    <a:pt x="1859" y="635"/>
                    <a:pt x="1807" y="687"/>
                  </a:cubicBezTo>
                  <a:cubicBezTo>
                    <a:pt x="1733" y="753"/>
                    <a:pt x="1625" y="767"/>
                    <a:pt x="1527" y="767"/>
                  </a:cubicBezTo>
                  <a:cubicBezTo>
                    <a:pt x="1495" y="767"/>
                    <a:pt x="1464" y="766"/>
                    <a:pt x="1436" y="764"/>
                  </a:cubicBezTo>
                  <a:lnTo>
                    <a:pt x="1376" y="764"/>
                  </a:lnTo>
                  <a:cubicBezTo>
                    <a:pt x="1233" y="764"/>
                    <a:pt x="1079" y="547"/>
                    <a:pt x="911" y="285"/>
                  </a:cubicBezTo>
                  <a:cubicBezTo>
                    <a:pt x="879" y="236"/>
                    <a:pt x="855" y="194"/>
                    <a:pt x="837" y="173"/>
                  </a:cubicBezTo>
                  <a:cubicBezTo>
                    <a:pt x="835" y="171"/>
                    <a:pt x="831" y="171"/>
                    <a:pt x="828" y="171"/>
                  </a:cubicBezTo>
                  <a:cubicBezTo>
                    <a:pt x="776" y="171"/>
                    <a:pt x="625" y="278"/>
                    <a:pt x="550" y="330"/>
                  </a:cubicBezTo>
                  <a:cubicBezTo>
                    <a:pt x="498" y="365"/>
                    <a:pt x="445" y="404"/>
                    <a:pt x="400" y="432"/>
                  </a:cubicBezTo>
                  <a:cubicBezTo>
                    <a:pt x="323" y="477"/>
                    <a:pt x="312" y="551"/>
                    <a:pt x="295" y="635"/>
                  </a:cubicBezTo>
                  <a:cubicBezTo>
                    <a:pt x="277" y="715"/>
                    <a:pt x="263" y="799"/>
                    <a:pt x="186" y="862"/>
                  </a:cubicBezTo>
                  <a:cubicBezTo>
                    <a:pt x="109" y="925"/>
                    <a:pt x="1" y="1065"/>
                    <a:pt x="116" y="1289"/>
                  </a:cubicBezTo>
                  <a:lnTo>
                    <a:pt x="130" y="1289"/>
                  </a:lnTo>
                  <a:lnTo>
                    <a:pt x="162" y="1286"/>
                  </a:lnTo>
                  <a:lnTo>
                    <a:pt x="193" y="1282"/>
                  </a:lnTo>
                  <a:lnTo>
                    <a:pt x="221" y="1275"/>
                  </a:lnTo>
                  <a:lnTo>
                    <a:pt x="249" y="1272"/>
                  </a:lnTo>
                  <a:lnTo>
                    <a:pt x="277" y="1268"/>
                  </a:lnTo>
                  <a:lnTo>
                    <a:pt x="305" y="1261"/>
                  </a:lnTo>
                  <a:lnTo>
                    <a:pt x="326" y="1254"/>
                  </a:lnTo>
                  <a:lnTo>
                    <a:pt x="351" y="1247"/>
                  </a:lnTo>
                  <a:lnTo>
                    <a:pt x="372" y="1244"/>
                  </a:lnTo>
                  <a:lnTo>
                    <a:pt x="396" y="1233"/>
                  </a:lnTo>
                  <a:lnTo>
                    <a:pt x="410" y="1226"/>
                  </a:lnTo>
                  <a:lnTo>
                    <a:pt x="435" y="1216"/>
                  </a:lnTo>
                  <a:lnTo>
                    <a:pt x="445" y="1212"/>
                  </a:lnTo>
                  <a:cubicBezTo>
                    <a:pt x="456" y="1205"/>
                    <a:pt x="466" y="1198"/>
                    <a:pt x="473" y="1195"/>
                  </a:cubicBezTo>
                  <a:cubicBezTo>
                    <a:pt x="544" y="1144"/>
                    <a:pt x="649" y="1128"/>
                    <a:pt x="763" y="1128"/>
                  </a:cubicBezTo>
                  <a:cubicBezTo>
                    <a:pt x="885" y="1128"/>
                    <a:pt x="1019" y="1147"/>
                    <a:pt x="1131" y="1163"/>
                  </a:cubicBezTo>
                  <a:cubicBezTo>
                    <a:pt x="1187" y="1170"/>
                    <a:pt x="1247" y="1177"/>
                    <a:pt x="1303" y="1181"/>
                  </a:cubicBezTo>
                  <a:cubicBezTo>
                    <a:pt x="1348" y="1181"/>
                    <a:pt x="1408" y="1188"/>
                    <a:pt x="1478" y="1195"/>
                  </a:cubicBezTo>
                  <a:cubicBezTo>
                    <a:pt x="1561" y="1204"/>
                    <a:pt x="1661" y="1215"/>
                    <a:pt x="1755" y="1215"/>
                  </a:cubicBezTo>
                  <a:cubicBezTo>
                    <a:pt x="1836" y="1215"/>
                    <a:pt x="1913" y="1207"/>
                    <a:pt x="1971" y="1184"/>
                  </a:cubicBezTo>
                  <a:cubicBezTo>
                    <a:pt x="2007" y="1171"/>
                    <a:pt x="2039" y="1166"/>
                    <a:pt x="2067" y="1166"/>
                  </a:cubicBezTo>
                  <a:cubicBezTo>
                    <a:pt x="2163" y="1166"/>
                    <a:pt x="2216" y="1227"/>
                    <a:pt x="2252" y="1265"/>
                  </a:cubicBezTo>
                  <a:cubicBezTo>
                    <a:pt x="2278" y="1298"/>
                    <a:pt x="2288" y="1308"/>
                    <a:pt x="2298" y="1308"/>
                  </a:cubicBezTo>
                  <a:cubicBezTo>
                    <a:pt x="2300" y="1308"/>
                    <a:pt x="2302" y="1307"/>
                    <a:pt x="2304" y="1307"/>
                  </a:cubicBezTo>
                  <a:cubicBezTo>
                    <a:pt x="2315" y="1303"/>
                    <a:pt x="2329" y="1303"/>
                    <a:pt x="2339" y="1303"/>
                  </a:cubicBezTo>
                  <a:lnTo>
                    <a:pt x="2371" y="1303"/>
                  </a:lnTo>
                  <a:cubicBezTo>
                    <a:pt x="2385" y="1303"/>
                    <a:pt x="2395" y="1307"/>
                    <a:pt x="2406" y="1310"/>
                  </a:cubicBezTo>
                  <a:lnTo>
                    <a:pt x="2423" y="1314"/>
                  </a:lnTo>
                  <a:lnTo>
                    <a:pt x="2444" y="1321"/>
                  </a:lnTo>
                  <a:lnTo>
                    <a:pt x="2465" y="1328"/>
                  </a:lnTo>
                  <a:lnTo>
                    <a:pt x="2483" y="1335"/>
                  </a:lnTo>
                  <a:lnTo>
                    <a:pt x="2504" y="1345"/>
                  </a:lnTo>
                  <a:lnTo>
                    <a:pt x="2521" y="1352"/>
                  </a:lnTo>
                  <a:lnTo>
                    <a:pt x="2546" y="1363"/>
                  </a:lnTo>
                  <a:lnTo>
                    <a:pt x="2560" y="1370"/>
                  </a:lnTo>
                  <a:lnTo>
                    <a:pt x="2584" y="1384"/>
                  </a:lnTo>
                  <a:lnTo>
                    <a:pt x="2598" y="1394"/>
                  </a:lnTo>
                  <a:lnTo>
                    <a:pt x="2623" y="1408"/>
                  </a:lnTo>
                  <a:lnTo>
                    <a:pt x="2637" y="1415"/>
                  </a:lnTo>
                  <a:lnTo>
                    <a:pt x="2661" y="1433"/>
                  </a:lnTo>
                  <a:lnTo>
                    <a:pt x="2675" y="1440"/>
                  </a:lnTo>
                  <a:lnTo>
                    <a:pt x="2700" y="1457"/>
                  </a:lnTo>
                  <a:lnTo>
                    <a:pt x="2710" y="1464"/>
                  </a:lnTo>
                  <a:lnTo>
                    <a:pt x="2735" y="1482"/>
                  </a:lnTo>
                  <a:lnTo>
                    <a:pt x="2745" y="1489"/>
                  </a:lnTo>
                  <a:lnTo>
                    <a:pt x="2766" y="1506"/>
                  </a:lnTo>
                  <a:lnTo>
                    <a:pt x="2780" y="1513"/>
                  </a:lnTo>
                  <a:lnTo>
                    <a:pt x="2798" y="1527"/>
                  </a:lnTo>
                  <a:lnTo>
                    <a:pt x="2812" y="1538"/>
                  </a:lnTo>
                  <a:lnTo>
                    <a:pt x="2829" y="1552"/>
                  </a:lnTo>
                  <a:lnTo>
                    <a:pt x="2843" y="1562"/>
                  </a:lnTo>
                  <a:lnTo>
                    <a:pt x="2854" y="1573"/>
                  </a:lnTo>
                  <a:lnTo>
                    <a:pt x="2878" y="1590"/>
                  </a:lnTo>
                  <a:cubicBezTo>
                    <a:pt x="2892" y="1604"/>
                    <a:pt x="2910" y="1618"/>
                    <a:pt x="2927" y="1629"/>
                  </a:cubicBezTo>
                  <a:lnTo>
                    <a:pt x="2948" y="1646"/>
                  </a:lnTo>
                  <a:lnTo>
                    <a:pt x="2983" y="1667"/>
                  </a:lnTo>
                  <a:lnTo>
                    <a:pt x="3011" y="1685"/>
                  </a:lnTo>
                  <a:lnTo>
                    <a:pt x="3043" y="1706"/>
                  </a:lnTo>
                  <a:lnTo>
                    <a:pt x="3078" y="1723"/>
                  </a:lnTo>
                  <a:lnTo>
                    <a:pt x="3088" y="1730"/>
                  </a:lnTo>
                  <a:cubicBezTo>
                    <a:pt x="3116" y="1702"/>
                    <a:pt x="3148" y="1674"/>
                    <a:pt x="3179" y="1653"/>
                  </a:cubicBezTo>
                  <a:cubicBezTo>
                    <a:pt x="3245" y="1604"/>
                    <a:pt x="3324" y="1579"/>
                    <a:pt x="3405" y="1579"/>
                  </a:cubicBezTo>
                  <a:cubicBezTo>
                    <a:pt x="3415" y="1579"/>
                    <a:pt x="3425" y="1579"/>
                    <a:pt x="3435" y="1580"/>
                  </a:cubicBezTo>
                  <a:cubicBezTo>
                    <a:pt x="3463" y="1580"/>
                    <a:pt x="3487" y="1583"/>
                    <a:pt x="3512" y="1587"/>
                  </a:cubicBezTo>
                  <a:cubicBezTo>
                    <a:pt x="3536" y="1590"/>
                    <a:pt x="3564" y="1590"/>
                    <a:pt x="3589" y="1590"/>
                  </a:cubicBezTo>
                  <a:cubicBezTo>
                    <a:pt x="3624" y="1590"/>
                    <a:pt x="3638" y="1573"/>
                    <a:pt x="3673" y="1517"/>
                  </a:cubicBezTo>
                  <a:cubicBezTo>
                    <a:pt x="3697" y="1478"/>
                    <a:pt x="3725" y="1443"/>
                    <a:pt x="3760" y="1412"/>
                  </a:cubicBezTo>
                  <a:cubicBezTo>
                    <a:pt x="3771" y="1405"/>
                    <a:pt x="3785" y="1398"/>
                    <a:pt x="3795" y="1391"/>
                  </a:cubicBezTo>
                  <a:lnTo>
                    <a:pt x="3806" y="1384"/>
                  </a:lnTo>
                  <a:cubicBezTo>
                    <a:pt x="3816" y="1377"/>
                    <a:pt x="3827" y="1373"/>
                    <a:pt x="3837" y="1366"/>
                  </a:cubicBezTo>
                  <a:lnTo>
                    <a:pt x="3848" y="1363"/>
                  </a:lnTo>
                  <a:cubicBezTo>
                    <a:pt x="3858" y="1359"/>
                    <a:pt x="3872" y="1356"/>
                    <a:pt x="3886" y="1349"/>
                  </a:cubicBezTo>
                  <a:cubicBezTo>
                    <a:pt x="3879" y="1328"/>
                    <a:pt x="3876" y="1303"/>
                    <a:pt x="3869" y="1275"/>
                  </a:cubicBezTo>
                  <a:cubicBezTo>
                    <a:pt x="3855" y="1212"/>
                    <a:pt x="3837" y="1135"/>
                    <a:pt x="3809" y="1107"/>
                  </a:cubicBezTo>
                  <a:cubicBezTo>
                    <a:pt x="3711" y="1009"/>
                    <a:pt x="3603" y="876"/>
                    <a:pt x="3613" y="764"/>
                  </a:cubicBezTo>
                  <a:cubicBezTo>
                    <a:pt x="3613" y="747"/>
                    <a:pt x="3617" y="733"/>
                    <a:pt x="3624" y="719"/>
                  </a:cubicBezTo>
                  <a:cubicBezTo>
                    <a:pt x="3631" y="705"/>
                    <a:pt x="3634" y="687"/>
                    <a:pt x="3638" y="670"/>
                  </a:cubicBezTo>
                  <a:cubicBezTo>
                    <a:pt x="3652" y="603"/>
                    <a:pt x="3627" y="533"/>
                    <a:pt x="3578" y="488"/>
                  </a:cubicBezTo>
                  <a:cubicBezTo>
                    <a:pt x="3571" y="481"/>
                    <a:pt x="3564" y="474"/>
                    <a:pt x="3561" y="467"/>
                  </a:cubicBezTo>
                  <a:lnTo>
                    <a:pt x="3550" y="460"/>
                  </a:lnTo>
                  <a:cubicBezTo>
                    <a:pt x="3526" y="428"/>
                    <a:pt x="3505" y="397"/>
                    <a:pt x="3487" y="362"/>
                  </a:cubicBezTo>
                  <a:lnTo>
                    <a:pt x="3459" y="358"/>
                  </a:lnTo>
                  <a:lnTo>
                    <a:pt x="3442" y="358"/>
                  </a:lnTo>
                  <a:lnTo>
                    <a:pt x="3389" y="351"/>
                  </a:lnTo>
                  <a:lnTo>
                    <a:pt x="3379" y="351"/>
                  </a:lnTo>
                  <a:lnTo>
                    <a:pt x="3326" y="348"/>
                  </a:lnTo>
                  <a:lnTo>
                    <a:pt x="3323" y="348"/>
                  </a:lnTo>
                  <a:lnTo>
                    <a:pt x="3270" y="341"/>
                  </a:lnTo>
                  <a:cubicBezTo>
                    <a:pt x="3221" y="334"/>
                    <a:pt x="3169" y="330"/>
                    <a:pt x="3119" y="330"/>
                  </a:cubicBezTo>
                  <a:cubicBezTo>
                    <a:pt x="3091" y="330"/>
                    <a:pt x="3063" y="331"/>
                    <a:pt x="3036" y="334"/>
                  </a:cubicBezTo>
                  <a:lnTo>
                    <a:pt x="3022" y="334"/>
                  </a:lnTo>
                  <a:cubicBezTo>
                    <a:pt x="3013" y="336"/>
                    <a:pt x="3004" y="337"/>
                    <a:pt x="2994" y="337"/>
                  </a:cubicBezTo>
                  <a:cubicBezTo>
                    <a:pt x="2912" y="337"/>
                    <a:pt x="2771" y="267"/>
                    <a:pt x="2444" y="18"/>
                  </a:cubicBezTo>
                  <a:lnTo>
                    <a:pt x="242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4" name="Google Shape;5851;p64">
              <a:extLst>
                <a:ext uri="{FF2B5EF4-FFF2-40B4-BE49-F238E27FC236}">
                  <a16:creationId xmlns:a16="http://schemas.microsoft.com/office/drawing/2014/main" id="{35D9F3AA-99BF-637F-44CC-BBD39C30793E}"/>
                </a:ext>
              </a:extLst>
            </p:cNvPr>
            <p:cNvSpPr/>
            <p:nvPr/>
          </p:nvSpPr>
          <p:spPr>
            <a:xfrm>
              <a:off x="2244511" y="1573173"/>
              <a:ext cx="3476" cy="1113"/>
            </a:xfrm>
            <a:custGeom>
              <a:avLst/>
              <a:gdLst/>
              <a:ahLst/>
              <a:cxnLst/>
              <a:rect l="l" t="t" r="r" b="b"/>
              <a:pathLst>
                <a:path w="256" h="82" extrusionOk="0">
                  <a:moveTo>
                    <a:pt x="256" y="8"/>
                  </a:moveTo>
                  <a:cubicBezTo>
                    <a:pt x="165" y="1"/>
                    <a:pt x="74" y="25"/>
                    <a:pt x="0" y="81"/>
                  </a:cubicBezTo>
                  <a:cubicBezTo>
                    <a:pt x="74" y="25"/>
                    <a:pt x="165" y="1"/>
                    <a:pt x="256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5" name="Google Shape;5852;p64">
              <a:extLst>
                <a:ext uri="{FF2B5EF4-FFF2-40B4-BE49-F238E27FC236}">
                  <a16:creationId xmlns:a16="http://schemas.microsoft.com/office/drawing/2014/main" id="{66E29787-645D-DF10-B09C-D3E2882CF549}"/>
                </a:ext>
              </a:extLst>
            </p:cNvPr>
            <p:cNvSpPr/>
            <p:nvPr/>
          </p:nvSpPr>
          <p:spPr>
            <a:xfrm>
              <a:off x="2243316" y="1574273"/>
              <a:ext cx="1208" cy="1154"/>
            </a:xfrm>
            <a:custGeom>
              <a:avLst/>
              <a:gdLst/>
              <a:ahLst/>
              <a:cxnLst/>
              <a:rect l="l" t="t" r="r" b="b"/>
              <a:pathLst>
                <a:path w="89" h="85" extrusionOk="0">
                  <a:moveTo>
                    <a:pt x="88" y="0"/>
                  </a:moveTo>
                  <a:cubicBezTo>
                    <a:pt x="57" y="25"/>
                    <a:pt x="25" y="53"/>
                    <a:pt x="1" y="84"/>
                  </a:cubicBezTo>
                  <a:lnTo>
                    <a:pt x="1" y="84"/>
                  </a:lnTo>
                  <a:cubicBezTo>
                    <a:pt x="25" y="53"/>
                    <a:pt x="57" y="25"/>
                    <a:pt x="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6" name="Google Shape;5853;p64">
              <a:extLst>
                <a:ext uri="{FF2B5EF4-FFF2-40B4-BE49-F238E27FC236}">
                  <a16:creationId xmlns:a16="http://schemas.microsoft.com/office/drawing/2014/main" id="{B9C3BFEF-8F45-E4D1-820A-99CAF6324E6C}"/>
                </a:ext>
              </a:extLst>
            </p:cNvPr>
            <p:cNvSpPr/>
            <p:nvPr/>
          </p:nvSpPr>
          <p:spPr>
            <a:xfrm>
              <a:off x="2252820" y="1570607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7" name="Google Shape;5854;p64">
              <a:extLst>
                <a:ext uri="{FF2B5EF4-FFF2-40B4-BE49-F238E27FC236}">
                  <a16:creationId xmlns:a16="http://schemas.microsoft.com/office/drawing/2014/main" id="{096BA45B-CAC6-F77B-D125-CD50B61372C4}"/>
                </a:ext>
              </a:extLst>
            </p:cNvPr>
            <p:cNvSpPr/>
            <p:nvPr/>
          </p:nvSpPr>
          <p:spPr>
            <a:xfrm>
              <a:off x="2253445" y="157032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8" name="Google Shape;5855;p64">
              <a:extLst>
                <a:ext uri="{FF2B5EF4-FFF2-40B4-BE49-F238E27FC236}">
                  <a16:creationId xmlns:a16="http://schemas.microsoft.com/office/drawing/2014/main" id="{FD2A0F94-1921-23DB-A6D4-05E1D3121B45}"/>
                </a:ext>
              </a:extLst>
            </p:cNvPr>
            <p:cNvSpPr/>
            <p:nvPr/>
          </p:nvSpPr>
          <p:spPr>
            <a:xfrm>
              <a:off x="2201973" y="1568516"/>
              <a:ext cx="40502" cy="24372"/>
            </a:xfrm>
            <a:custGeom>
              <a:avLst/>
              <a:gdLst/>
              <a:ahLst/>
              <a:cxnLst/>
              <a:rect l="l" t="t" r="r" b="b"/>
              <a:pathLst>
                <a:path w="2983" h="1795" extrusionOk="0">
                  <a:moveTo>
                    <a:pt x="709" y="0"/>
                  </a:moveTo>
                  <a:cubicBezTo>
                    <a:pt x="622" y="0"/>
                    <a:pt x="546" y="11"/>
                    <a:pt x="501" y="43"/>
                  </a:cubicBezTo>
                  <a:cubicBezTo>
                    <a:pt x="490" y="53"/>
                    <a:pt x="480" y="60"/>
                    <a:pt x="466" y="67"/>
                  </a:cubicBezTo>
                  <a:lnTo>
                    <a:pt x="455" y="74"/>
                  </a:lnTo>
                  <a:lnTo>
                    <a:pt x="427" y="88"/>
                  </a:lnTo>
                  <a:lnTo>
                    <a:pt x="410" y="95"/>
                  </a:lnTo>
                  <a:lnTo>
                    <a:pt x="382" y="106"/>
                  </a:lnTo>
                  <a:lnTo>
                    <a:pt x="361" y="113"/>
                  </a:lnTo>
                  <a:lnTo>
                    <a:pt x="329" y="123"/>
                  </a:lnTo>
                  <a:lnTo>
                    <a:pt x="308" y="127"/>
                  </a:lnTo>
                  <a:lnTo>
                    <a:pt x="270" y="137"/>
                  </a:lnTo>
                  <a:lnTo>
                    <a:pt x="252" y="141"/>
                  </a:lnTo>
                  <a:cubicBezTo>
                    <a:pt x="231" y="144"/>
                    <a:pt x="210" y="148"/>
                    <a:pt x="189" y="151"/>
                  </a:cubicBezTo>
                  <a:lnTo>
                    <a:pt x="126" y="162"/>
                  </a:lnTo>
                  <a:cubicBezTo>
                    <a:pt x="200" y="358"/>
                    <a:pt x="161" y="578"/>
                    <a:pt x="25" y="739"/>
                  </a:cubicBezTo>
                  <a:cubicBezTo>
                    <a:pt x="18" y="750"/>
                    <a:pt x="7" y="760"/>
                    <a:pt x="0" y="771"/>
                  </a:cubicBezTo>
                  <a:lnTo>
                    <a:pt x="18" y="781"/>
                  </a:lnTo>
                  <a:lnTo>
                    <a:pt x="46" y="778"/>
                  </a:lnTo>
                  <a:lnTo>
                    <a:pt x="88" y="774"/>
                  </a:lnTo>
                  <a:lnTo>
                    <a:pt x="98" y="774"/>
                  </a:lnTo>
                  <a:lnTo>
                    <a:pt x="144" y="771"/>
                  </a:lnTo>
                  <a:lnTo>
                    <a:pt x="238" y="771"/>
                  </a:lnTo>
                  <a:cubicBezTo>
                    <a:pt x="298" y="771"/>
                    <a:pt x="350" y="799"/>
                    <a:pt x="385" y="841"/>
                  </a:cubicBezTo>
                  <a:cubicBezTo>
                    <a:pt x="427" y="901"/>
                    <a:pt x="553" y="946"/>
                    <a:pt x="609" y="946"/>
                  </a:cubicBezTo>
                  <a:cubicBezTo>
                    <a:pt x="618" y="946"/>
                    <a:pt x="625" y="945"/>
                    <a:pt x="630" y="943"/>
                  </a:cubicBezTo>
                  <a:lnTo>
                    <a:pt x="634" y="939"/>
                  </a:lnTo>
                  <a:cubicBezTo>
                    <a:pt x="652" y="931"/>
                    <a:pt x="672" y="928"/>
                    <a:pt x="692" y="928"/>
                  </a:cubicBezTo>
                  <a:cubicBezTo>
                    <a:pt x="709" y="928"/>
                    <a:pt x="726" y="931"/>
                    <a:pt x="742" y="936"/>
                  </a:cubicBezTo>
                  <a:lnTo>
                    <a:pt x="760" y="939"/>
                  </a:lnTo>
                  <a:cubicBezTo>
                    <a:pt x="802" y="950"/>
                    <a:pt x="840" y="967"/>
                    <a:pt x="879" y="992"/>
                  </a:cubicBezTo>
                  <a:lnTo>
                    <a:pt x="882" y="995"/>
                  </a:lnTo>
                  <a:cubicBezTo>
                    <a:pt x="935" y="1027"/>
                    <a:pt x="1026" y="1093"/>
                    <a:pt x="1026" y="1181"/>
                  </a:cubicBezTo>
                  <a:cubicBezTo>
                    <a:pt x="1026" y="1216"/>
                    <a:pt x="1019" y="1261"/>
                    <a:pt x="1012" y="1317"/>
                  </a:cubicBezTo>
                  <a:cubicBezTo>
                    <a:pt x="1005" y="1380"/>
                    <a:pt x="1001" y="1447"/>
                    <a:pt x="1001" y="1510"/>
                  </a:cubicBezTo>
                  <a:cubicBezTo>
                    <a:pt x="1106" y="1534"/>
                    <a:pt x="1208" y="1573"/>
                    <a:pt x="1302" y="1632"/>
                  </a:cubicBezTo>
                  <a:lnTo>
                    <a:pt x="1313" y="1664"/>
                  </a:lnTo>
                  <a:lnTo>
                    <a:pt x="1337" y="1678"/>
                  </a:lnTo>
                  <a:lnTo>
                    <a:pt x="1358" y="1695"/>
                  </a:lnTo>
                  <a:cubicBezTo>
                    <a:pt x="1386" y="1713"/>
                    <a:pt x="1407" y="1737"/>
                    <a:pt x="1428" y="1762"/>
                  </a:cubicBezTo>
                  <a:cubicBezTo>
                    <a:pt x="1432" y="1772"/>
                    <a:pt x="1439" y="1779"/>
                    <a:pt x="1442" y="1790"/>
                  </a:cubicBezTo>
                  <a:lnTo>
                    <a:pt x="1810" y="1790"/>
                  </a:lnTo>
                  <a:cubicBezTo>
                    <a:pt x="1824" y="1793"/>
                    <a:pt x="1838" y="1795"/>
                    <a:pt x="1851" y="1795"/>
                  </a:cubicBezTo>
                  <a:cubicBezTo>
                    <a:pt x="1916" y="1795"/>
                    <a:pt x="1964" y="1751"/>
                    <a:pt x="2020" y="1681"/>
                  </a:cubicBezTo>
                  <a:cubicBezTo>
                    <a:pt x="2101" y="1580"/>
                    <a:pt x="2332" y="1552"/>
                    <a:pt x="2409" y="1545"/>
                  </a:cubicBezTo>
                  <a:cubicBezTo>
                    <a:pt x="2419" y="1503"/>
                    <a:pt x="2430" y="1457"/>
                    <a:pt x="2433" y="1415"/>
                  </a:cubicBezTo>
                  <a:cubicBezTo>
                    <a:pt x="2433" y="1387"/>
                    <a:pt x="2437" y="1359"/>
                    <a:pt x="2444" y="1338"/>
                  </a:cubicBezTo>
                  <a:cubicBezTo>
                    <a:pt x="2465" y="1230"/>
                    <a:pt x="2647" y="1069"/>
                    <a:pt x="2762" y="1030"/>
                  </a:cubicBezTo>
                  <a:cubicBezTo>
                    <a:pt x="2783" y="1023"/>
                    <a:pt x="2794" y="1009"/>
                    <a:pt x="2811" y="981"/>
                  </a:cubicBezTo>
                  <a:cubicBezTo>
                    <a:pt x="2836" y="921"/>
                    <a:pt x="2895" y="883"/>
                    <a:pt x="2958" y="883"/>
                  </a:cubicBezTo>
                  <a:lnTo>
                    <a:pt x="2965" y="883"/>
                  </a:lnTo>
                  <a:cubicBezTo>
                    <a:pt x="2965" y="883"/>
                    <a:pt x="2983" y="858"/>
                    <a:pt x="2958" y="750"/>
                  </a:cubicBezTo>
                  <a:cubicBezTo>
                    <a:pt x="2948" y="697"/>
                    <a:pt x="2955" y="641"/>
                    <a:pt x="2976" y="589"/>
                  </a:cubicBezTo>
                  <a:lnTo>
                    <a:pt x="2965" y="585"/>
                  </a:lnTo>
                  <a:lnTo>
                    <a:pt x="2930" y="561"/>
                  </a:lnTo>
                  <a:lnTo>
                    <a:pt x="2892" y="540"/>
                  </a:lnTo>
                  <a:lnTo>
                    <a:pt x="2864" y="522"/>
                  </a:lnTo>
                  <a:lnTo>
                    <a:pt x="2822" y="494"/>
                  </a:lnTo>
                  <a:lnTo>
                    <a:pt x="2801" y="480"/>
                  </a:lnTo>
                  <a:cubicBezTo>
                    <a:pt x="2783" y="466"/>
                    <a:pt x="2762" y="452"/>
                    <a:pt x="2745" y="438"/>
                  </a:cubicBezTo>
                  <a:cubicBezTo>
                    <a:pt x="2560" y="283"/>
                    <a:pt x="2372" y="178"/>
                    <a:pt x="2293" y="178"/>
                  </a:cubicBezTo>
                  <a:cubicBezTo>
                    <a:pt x="2288" y="178"/>
                    <a:pt x="2283" y="179"/>
                    <a:pt x="2279" y="179"/>
                  </a:cubicBezTo>
                  <a:cubicBezTo>
                    <a:pt x="2269" y="181"/>
                    <a:pt x="2259" y="182"/>
                    <a:pt x="2249" y="182"/>
                  </a:cubicBezTo>
                  <a:cubicBezTo>
                    <a:pt x="2179" y="182"/>
                    <a:pt x="2131" y="130"/>
                    <a:pt x="2101" y="99"/>
                  </a:cubicBezTo>
                  <a:lnTo>
                    <a:pt x="2087" y="81"/>
                  </a:lnTo>
                  <a:cubicBezTo>
                    <a:pt x="2069" y="57"/>
                    <a:pt x="2045" y="43"/>
                    <a:pt x="2013" y="43"/>
                  </a:cubicBezTo>
                  <a:cubicBezTo>
                    <a:pt x="1999" y="43"/>
                    <a:pt x="1985" y="46"/>
                    <a:pt x="1971" y="53"/>
                  </a:cubicBezTo>
                  <a:cubicBezTo>
                    <a:pt x="1929" y="67"/>
                    <a:pt x="1887" y="78"/>
                    <a:pt x="1841" y="81"/>
                  </a:cubicBezTo>
                  <a:cubicBezTo>
                    <a:pt x="1808" y="86"/>
                    <a:pt x="1773" y="90"/>
                    <a:pt x="1739" y="90"/>
                  </a:cubicBezTo>
                  <a:cubicBezTo>
                    <a:pt x="1726" y="90"/>
                    <a:pt x="1714" y="89"/>
                    <a:pt x="1701" y="88"/>
                  </a:cubicBezTo>
                  <a:cubicBezTo>
                    <a:pt x="1603" y="88"/>
                    <a:pt x="1505" y="78"/>
                    <a:pt x="1418" y="71"/>
                  </a:cubicBezTo>
                  <a:cubicBezTo>
                    <a:pt x="1351" y="64"/>
                    <a:pt x="1295" y="57"/>
                    <a:pt x="1253" y="57"/>
                  </a:cubicBezTo>
                  <a:cubicBezTo>
                    <a:pt x="1190" y="53"/>
                    <a:pt x="1127" y="46"/>
                    <a:pt x="1064" y="36"/>
                  </a:cubicBezTo>
                  <a:cubicBezTo>
                    <a:pt x="960" y="20"/>
                    <a:pt x="825" y="0"/>
                    <a:pt x="7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9" name="Google Shape;5856;p64">
              <a:extLst>
                <a:ext uri="{FF2B5EF4-FFF2-40B4-BE49-F238E27FC236}">
                  <a16:creationId xmlns:a16="http://schemas.microsoft.com/office/drawing/2014/main" id="{A65F3C79-55BC-DC1C-8A11-12237C7E8DB7}"/>
                </a:ext>
              </a:extLst>
            </p:cNvPr>
            <p:cNvSpPr/>
            <p:nvPr/>
          </p:nvSpPr>
          <p:spPr>
            <a:xfrm>
              <a:off x="2219786" y="15910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0" name="Google Shape;5857;p64">
              <a:extLst>
                <a:ext uri="{FF2B5EF4-FFF2-40B4-BE49-F238E27FC236}">
                  <a16:creationId xmlns:a16="http://schemas.microsoft.com/office/drawing/2014/main" id="{CC287521-8891-6A81-47DC-78A830EF6245}"/>
                </a:ext>
              </a:extLst>
            </p:cNvPr>
            <p:cNvSpPr/>
            <p:nvPr/>
          </p:nvSpPr>
          <p:spPr>
            <a:xfrm>
              <a:off x="2220072" y="1591285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1" name="Google Shape;5858;p64">
              <a:extLst>
                <a:ext uri="{FF2B5EF4-FFF2-40B4-BE49-F238E27FC236}">
                  <a16:creationId xmlns:a16="http://schemas.microsoft.com/office/drawing/2014/main" id="{6FF3C0E4-CA9C-81DD-8894-EE35E4C63D6B}"/>
                </a:ext>
              </a:extLst>
            </p:cNvPr>
            <p:cNvSpPr/>
            <p:nvPr/>
          </p:nvSpPr>
          <p:spPr>
            <a:xfrm>
              <a:off x="2220411" y="1591530"/>
              <a:ext cx="1154" cy="1290"/>
            </a:xfrm>
            <a:custGeom>
              <a:avLst/>
              <a:gdLst/>
              <a:ahLst/>
              <a:cxnLst/>
              <a:rect l="l" t="t" r="r" b="b"/>
              <a:pathLst>
                <a:path w="85" h="95" extrusionOk="0">
                  <a:moveTo>
                    <a:pt x="0" y="0"/>
                  </a:moveTo>
                  <a:cubicBezTo>
                    <a:pt x="12" y="9"/>
                    <a:pt x="22" y="17"/>
                    <a:pt x="31" y="26"/>
                  </a:cubicBezTo>
                  <a:lnTo>
                    <a:pt x="31" y="26"/>
                  </a:lnTo>
                  <a:cubicBezTo>
                    <a:pt x="21" y="16"/>
                    <a:pt x="11" y="8"/>
                    <a:pt x="0" y="0"/>
                  </a:cubicBezTo>
                  <a:close/>
                  <a:moveTo>
                    <a:pt x="31" y="26"/>
                  </a:moveTo>
                  <a:cubicBezTo>
                    <a:pt x="52" y="46"/>
                    <a:pt x="70" y="71"/>
                    <a:pt x="84" y="95"/>
                  </a:cubicBezTo>
                  <a:cubicBezTo>
                    <a:pt x="81" y="88"/>
                    <a:pt x="74" y="77"/>
                    <a:pt x="70" y="70"/>
                  </a:cubicBezTo>
                  <a:cubicBezTo>
                    <a:pt x="58" y="53"/>
                    <a:pt x="45" y="39"/>
                    <a:pt x="31" y="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2" name="Google Shape;5859;p64">
              <a:extLst>
                <a:ext uri="{FF2B5EF4-FFF2-40B4-BE49-F238E27FC236}">
                  <a16:creationId xmlns:a16="http://schemas.microsoft.com/office/drawing/2014/main" id="{753DD215-AB5E-733C-46DC-3098A4C2D68B}"/>
                </a:ext>
              </a:extLst>
            </p:cNvPr>
            <p:cNvSpPr/>
            <p:nvPr/>
          </p:nvSpPr>
          <p:spPr>
            <a:xfrm>
              <a:off x="2223547" y="1592901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3" name="Google Shape;5860;p64">
              <a:extLst>
                <a:ext uri="{FF2B5EF4-FFF2-40B4-BE49-F238E27FC236}">
                  <a16:creationId xmlns:a16="http://schemas.microsoft.com/office/drawing/2014/main" id="{EF0DB4CC-B3C7-BB8C-FF38-8EE81040E47D}"/>
                </a:ext>
              </a:extLst>
            </p:cNvPr>
            <p:cNvSpPr/>
            <p:nvPr/>
          </p:nvSpPr>
          <p:spPr>
            <a:xfrm>
              <a:off x="2222312" y="159286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0" y="0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4" name="Google Shape;5861;p64">
              <a:extLst>
                <a:ext uri="{FF2B5EF4-FFF2-40B4-BE49-F238E27FC236}">
                  <a16:creationId xmlns:a16="http://schemas.microsoft.com/office/drawing/2014/main" id="{F2F79920-4EFF-F88E-0ABD-8453608831D8}"/>
                </a:ext>
              </a:extLst>
            </p:cNvPr>
            <p:cNvSpPr/>
            <p:nvPr/>
          </p:nvSpPr>
          <p:spPr>
            <a:xfrm>
              <a:off x="2224878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5" name="Google Shape;5862;p64">
              <a:extLst>
                <a:ext uri="{FF2B5EF4-FFF2-40B4-BE49-F238E27FC236}">
                  <a16:creationId xmlns:a16="http://schemas.microsoft.com/office/drawing/2014/main" id="{4B6D473A-2DE9-0EF4-2A85-0CDA76921E61}"/>
                </a:ext>
              </a:extLst>
            </p:cNvPr>
            <p:cNvSpPr/>
            <p:nvPr/>
          </p:nvSpPr>
          <p:spPr>
            <a:xfrm>
              <a:off x="2222923" y="159286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6" name="Google Shape;5863;p64">
              <a:extLst>
                <a:ext uri="{FF2B5EF4-FFF2-40B4-BE49-F238E27FC236}">
                  <a16:creationId xmlns:a16="http://schemas.microsoft.com/office/drawing/2014/main" id="{B4C46AC0-F5B3-2ABF-7CF6-B64A5F0B9FE3}"/>
                </a:ext>
              </a:extLst>
            </p:cNvPr>
            <p:cNvSpPr/>
            <p:nvPr/>
          </p:nvSpPr>
          <p:spPr>
            <a:xfrm>
              <a:off x="2224023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7" name="Google Shape;5864;p64">
              <a:extLst>
                <a:ext uri="{FF2B5EF4-FFF2-40B4-BE49-F238E27FC236}">
                  <a16:creationId xmlns:a16="http://schemas.microsoft.com/office/drawing/2014/main" id="{CE12C795-01F0-1C46-06FB-9D1DBA5A5566}"/>
                </a:ext>
              </a:extLst>
            </p:cNvPr>
            <p:cNvSpPr/>
            <p:nvPr/>
          </p:nvSpPr>
          <p:spPr>
            <a:xfrm>
              <a:off x="2221592" y="159280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1" y="1"/>
                  </a:moveTo>
                  <a:lnTo>
                    <a:pt x="4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8" name="Google Shape;5865;p64">
              <a:extLst>
                <a:ext uri="{FF2B5EF4-FFF2-40B4-BE49-F238E27FC236}">
                  <a16:creationId xmlns:a16="http://schemas.microsoft.com/office/drawing/2014/main" id="{B3876D7E-AE64-D527-5C1A-9019915C225A}"/>
                </a:ext>
              </a:extLst>
            </p:cNvPr>
            <p:cNvSpPr/>
            <p:nvPr/>
          </p:nvSpPr>
          <p:spPr>
            <a:xfrm>
              <a:off x="2224444" y="15929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9" name="Google Shape;5866;p64">
              <a:extLst>
                <a:ext uri="{FF2B5EF4-FFF2-40B4-BE49-F238E27FC236}">
                  <a16:creationId xmlns:a16="http://schemas.microsoft.com/office/drawing/2014/main" id="{48F82D9A-E44C-8AFB-55FB-7E70328E33FA}"/>
                </a:ext>
              </a:extLst>
            </p:cNvPr>
            <p:cNvSpPr/>
            <p:nvPr/>
          </p:nvSpPr>
          <p:spPr>
            <a:xfrm>
              <a:off x="2225204" y="159299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0" name="Google Shape;5867;p64">
              <a:extLst>
                <a:ext uri="{FF2B5EF4-FFF2-40B4-BE49-F238E27FC236}">
                  <a16:creationId xmlns:a16="http://schemas.microsoft.com/office/drawing/2014/main" id="{284B4F11-F72F-F5B6-A72D-7E9718699881}"/>
                </a:ext>
              </a:extLst>
            </p:cNvPr>
            <p:cNvSpPr/>
            <p:nvPr/>
          </p:nvSpPr>
          <p:spPr>
            <a:xfrm>
              <a:off x="2242081" y="1576934"/>
              <a:ext cx="353" cy="2200"/>
            </a:xfrm>
            <a:custGeom>
              <a:avLst/>
              <a:gdLst/>
              <a:ahLst/>
              <a:cxnLst/>
              <a:rect l="l" t="t" r="r" b="b"/>
              <a:pathLst>
                <a:path w="26" h="162" extrusionOk="0">
                  <a:moveTo>
                    <a:pt x="25" y="0"/>
                  </a:moveTo>
                  <a:lnTo>
                    <a:pt x="25" y="0"/>
                  </a:lnTo>
                  <a:cubicBezTo>
                    <a:pt x="4" y="53"/>
                    <a:pt x="1" y="109"/>
                    <a:pt x="11" y="161"/>
                  </a:cubicBezTo>
                  <a:cubicBezTo>
                    <a:pt x="1" y="109"/>
                    <a:pt x="4" y="53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1" name="Google Shape;5868;p64">
              <a:extLst>
                <a:ext uri="{FF2B5EF4-FFF2-40B4-BE49-F238E27FC236}">
                  <a16:creationId xmlns:a16="http://schemas.microsoft.com/office/drawing/2014/main" id="{3E45799F-5521-A589-F233-372F96D845CC}"/>
                </a:ext>
              </a:extLst>
            </p:cNvPr>
            <p:cNvSpPr/>
            <p:nvPr/>
          </p:nvSpPr>
          <p:spPr>
            <a:xfrm>
              <a:off x="2225489" y="159305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2" name="Google Shape;5869;p64">
              <a:extLst>
                <a:ext uri="{FF2B5EF4-FFF2-40B4-BE49-F238E27FC236}">
                  <a16:creationId xmlns:a16="http://schemas.microsoft.com/office/drawing/2014/main" id="{E17455B4-AE3C-1003-DC05-A8F975C9B3D2}"/>
                </a:ext>
              </a:extLst>
            </p:cNvPr>
            <p:cNvSpPr/>
            <p:nvPr/>
          </p:nvSpPr>
          <p:spPr>
            <a:xfrm>
              <a:off x="2226494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3" name="Google Shape;5870;p64">
              <a:extLst>
                <a:ext uri="{FF2B5EF4-FFF2-40B4-BE49-F238E27FC236}">
                  <a16:creationId xmlns:a16="http://schemas.microsoft.com/office/drawing/2014/main" id="{6857BE8A-75ED-4BF1-792B-3E25EC6AD021}"/>
                </a:ext>
              </a:extLst>
            </p:cNvPr>
            <p:cNvSpPr/>
            <p:nvPr/>
          </p:nvSpPr>
          <p:spPr>
            <a:xfrm>
              <a:off x="2226439" y="159318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4" name="Google Shape;5871;p64">
              <a:extLst>
                <a:ext uri="{FF2B5EF4-FFF2-40B4-BE49-F238E27FC236}">
                  <a16:creationId xmlns:a16="http://schemas.microsoft.com/office/drawing/2014/main" id="{8A0006D0-05C6-DBB5-920B-2E74C2A6ACED}"/>
                </a:ext>
              </a:extLst>
            </p:cNvPr>
            <p:cNvSpPr/>
            <p:nvPr/>
          </p:nvSpPr>
          <p:spPr>
            <a:xfrm>
              <a:off x="2226154" y="159314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5" name="Google Shape;5872;p64">
              <a:extLst>
                <a:ext uri="{FF2B5EF4-FFF2-40B4-BE49-F238E27FC236}">
                  <a16:creationId xmlns:a16="http://schemas.microsoft.com/office/drawing/2014/main" id="{CB29DA2A-A3C7-5068-3ED0-507016741BFA}"/>
                </a:ext>
              </a:extLst>
            </p:cNvPr>
            <p:cNvSpPr/>
            <p:nvPr/>
          </p:nvSpPr>
          <p:spPr>
            <a:xfrm>
              <a:off x="2226304" y="159314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6" name="Google Shape;5873;p64">
              <a:extLst>
                <a:ext uri="{FF2B5EF4-FFF2-40B4-BE49-F238E27FC236}">
                  <a16:creationId xmlns:a16="http://schemas.microsoft.com/office/drawing/2014/main" id="{E028D261-325C-C74D-4F8A-7FFF3AB87EB9}"/>
                </a:ext>
              </a:extLst>
            </p:cNvPr>
            <p:cNvSpPr/>
            <p:nvPr/>
          </p:nvSpPr>
          <p:spPr>
            <a:xfrm>
              <a:off x="222596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7" name="Google Shape;5874;p64">
              <a:extLst>
                <a:ext uri="{FF2B5EF4-FFF2-40B4-BE49-F238E27FC236}">
                  <a16:creationId xmlns:a16="http://schemas.microsoft.com/office/drawing/2014/main" id="{532EFAE6-2D6F-A7ED-9F15-A9156818E45A}"/>
                </a:ext>
              </a:extLst>
            </p:cNvPr>
            <p:cNvSpPr/>
            <p:nvPr/>
          </p:nvSpPr>
          <p:spPr>
            <a:xfrm>
              <a:off x="2225774" y="159309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8" name="Google Shape;5875;p64">
              <a:extLst>
                <a:ext uri="{FF2B5EF4-FFF2-40B4-BE49-F238E27FC236}">
                  <a16:creationId xmlns:a16="http://schemas.microsoft.com/office/drawing/2014/main" id="{713D9F26-A205-9BF0-6CB6-BB344FE0C34D}"/>
                </a:ext>
              </a:extLst>
            </p:cNvPr>
            <p:cNvSpPr/>
            <p:nvPr/>
          </p:nvSpPr>
          <p:spPr>
            <a:xfrm>
              <a:off x="2240044" y="157545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"/>
                  </a:moveTo>
                  <a:lnTo>
                    <a:pt x="2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9" name="Google Shape;5876;p64">
              <a:extLst>
                <a:ext uri="{FF2B5EF4-FFF2-40B4-BE49-F238E27FC236}">
                  <a16:creationId xmlns:a16="http://schemas.microsoft.com/office/drawing/2014/main" id="{C264AB99-A6B0-8167-DE4E-55EA2C3188F9}"/>
                </a:ext>
              </a:extLst>
            </p:cNvPr>
            <p:cNvSpPr/>
            <p:nvPr/>
          </p:nvSpPr>
          <p:spPr>
            <a:xfrm>
              <a:off x="2206195" y="1570566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0" name="Google Shape;5877;p64">
              <a:extLst>
                <a:ext uri="{FF2B5EF4-FFF2-40B4-BE49-F238E27FC236}">
                  <a16:creationId xmlns:a16="http://schemas.microsoft.com/office/drawing/2014/main" id="{CD0DE99A-50BB-FE7C-9BFC-4DC66E000310}"/>
                </a:ext>
              </a:extLst>
            </p:cNvPr>
            <p:cNvSpPr/>
            <p:nvPr/>
          </p:nvSpPr>
          <p:spPr>
            <a:xfrm>
              <a:off x="2208151" y="1569806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1" name="Google Shape;5878;p64">
              <a:extLst>
                <a:ext uri="{FF2B5EF4-FFF2-40B4-BE49-F238E27FC236}">
                  <a16:creationId xmlns:a16="http://schemas.microsoft.com/office/drawing/2014/main" id="{24A8BCE1-8A08-C643-CB86-1789727B7804}"/>
                </a:ext>
              </a:extLst>
            </p:cNvPr>
            <p:cNvSpPr/>
            <p:nvPr/>
          </p:nvSpPr>
          <p:spPr>
            <a:xfrm>
              <a:off x="2225109" y="1570036"/>
              <a:ext cx="1914" cy="109"/>
            </a:xfrm>
            <a:custGeom>
              <a:avLst/>
              <a:gdLst/>
              <a:ahLst/>
              <a:cxnLst/>
              <a:rect l="l" t="t" r="r" b="b"/>
              <a:pathLst>
                <a:path w="141" h="8" extrusionOk="0">
                  <a:moveTo>
                    <a:pt x="141" y="1"/>
                  </a:moveTo>
                  <a:cubicBezTo>
                    <a:pt x="92" y="4"/>
                    <a:pt x="46" y="8"/>
                    <a:pt x="1" y="8"/>
                  </a:cubicBezTo>
                  <a:cubicBezTo>
                    <a:pt x="46" y="8"/>
                    <a:pt x="92" y="4"/>
                    <a:pt x="14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2" name="Google Shape;5879;p64">
              <a:extLst>
                <a:ext uri="{FF2B5EF4-FFF2-40B4-BE49-F238E27FC236}">
                  <a16:creationId xmlns:a16="http://schemas.microsoft.com/office/drawing/2014/main" id="{561F3BBE-65AC-02EF-D90B-DB7CA6C6CDB1}"/>
                </a:ext>
              </a:extLst>
            </p:cNvPr>
            <p:cNvSpPr/>
            <p:nvPr/>
          </p:nvSpPr>
          <p:spPr>
            <a:xfrm>
              <a:off x="2207526" y="1570091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3" name="Google Shape;5880;p64">
              <a:extLst>
                <a:ext uri="{FF2B5EF4-FFF2-40B4-BE49-F238E27FC236}">
                  <a16:creationId xmlns:a16="http://schemas.microsoft.com/office/drawing/2014/main" id="{6035746C-07AB-01E3-D9AF-269BCA2A0EB8}"/>
                </a:ext>
              </a:extLst>
            </p:cNvPr>
            <p:cNvSpPr/>
            <p:nvPr/>
          </p:nvSpPr>
          <p:spPr>
            <a:xfrm>
              <a:off x="2240899" y="1576024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0" y="1"/>
                  </a:moveTo>
                  <a:lnTo>
                    <a:pt x="2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4" name="Google Shape;5881;p64">
              <a:extLst>
                <a:ext uri="{FF2B5EF4-FFF2-40B4-BE49-F238E27FC236}">
                  <a16:creationId xmlns:a16="http://schemas.microsoft.com/office/drawing/2014/main" id="{7429761A-1468-8403-B10C-EDD789882943}"/>
                </a:ext>
              </a:extLst>
            </p:cNvPr>
            <p:cNvSpPr/>
            <p:nvPr/>
          </p:nvSpPr>
          <p:spPr>
            <a:xfrm>
              <a:off x="2206915" y="157032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8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5" name="Google Shape;5882;p64">
              <a:extLst>
                <a:ext uri="{FF2B5EF4-FFF2-40B4-BE49-F238E27FC236}">
                  <a16:creationId xmlns:a16="http://schemas.microsoft.com/office/drawing/2014/main" id="{C1780C56-7694-7DC2-B3D3-127366C7BE92}"/>
                </a:ext>
              </a:extLst>
            </p:cNvPr>
            <p:cNvSpPr/>
            <p:nvPr/>
          </p:nvSpPr>
          <p:spPr>
            <a:xfrm>
              <a:off x="2241755" y="1576554"/>
              <a:ext cx="530" cy="299"/>
            </a:xfrm>
            <a:custGeom>
              <a:avLst/>
              <a:gdLst/>
              <a:ahLst/>
              <a:cxnLst/>
              <a:rect l="l" t="t" r="r" b="b"/>
              <a:pathLst>
                <a:path w="39" h="22" extrusionOk="0">
                  <a:moveTo>
                    <a:pt x="0" y="0"/>
                  </a:moveTo>
                  <a:lnTo>
                    <a:pt x="39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6" name="Google Shape;5883;p64">
              <a:extLst>
                <a:ext uri="{FF2B5EF4-FFF2-40B4-BE49-F238E27FC236}">
                  <a16:creationId xmlns:a16="http://schemas.microsoft.com/office/drawing/2014/main" id="{12A0FF23-EA90-9821-855F-57B9D020D8D3}"/>
                </a:ext>
              </a:extLst>
            </p:cNvPr>
            <p:cNvSpPr/>
            <p:nvPr/>
          </p:nvSpPr>
          <p:spPr>
            <a:xfrm>
              <a:off x="2204539" y="157094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7" name="Google Shape;5884;p64">
              <a:extLst>
                <a:ext uri="{FF2B5EF4-FFF2-40B4-BE49-F238E27FC236}">
                  <a16:creationId xmlns:a16="http://schemas.microsoft.com/office/drawing/2014/main" id="{D2E6622A-AE4D-54F1-B8FB-FA5B02A8602A}"/>
                </a:ext>
              </a:extLst>
            </p:cNvPr>
            <p:cNvSpPr/>
            <p:nvPr/>
          </p:nvSpPr>
          <p:spPr>
            <a:xfrm>
              <a:off x="2229345" y="1569466"/>
              <a:ext cx="1018" cy="543"/>
            </a:xfrm>
            <a:custGeom>
              <a:avLst/>
              <a:gdLst/>
              <a:ahLst/>
              <a:cxnLst/>
              <a:rect l="l" t="t" r="r" b="b"/>
              <a:pathLst>
                <a:path w="75" h="40" extrusionOk="0">
                  <a:moveTo>
                    <a:pt x="74" y="39"/>
                  </a:moveTo>
                  <a:cubicBezTo>
                    <a:pt x="57" y="15"/>
                    <a:pt x="29" y="1"/>
                    <a:pt x="1" y="1"/>
                  </a:cubicBezTo>
                  <a:cubicBezTo>
                    <a:pt x="29" y="1"/>
                    <a:pt x="57" y="15"/>
                    <a:pt x="74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8" name="Google Shape;5885;p64">
              <a:extLst>
                <a:ext uri="{FF2B5EF4-FFF2-40B4-BE49-F238E27FC236}">
                  <a16:creationId xmlns:a16="http://schemas.microsoft.com/office/drawing/2014/main" id="{CC4B25BE-12AC-C076-6876-9EDBFBDD6B7C}"/>
                </a:ext>
              </a:extLst>
            </p:cNvPr>
            <p:cNvSpPr/>
            <p:nvPr/>
          </p:nvSpPr>
          <p:spPr>
            <a:xfrm>
              <a:off x="2205394" y="157075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9" name="Google Shape;5886;p64">
              <a:extLst>
                <a:ext uri="{FF2B5EF4-FFF2-40B4-BE49-F238E27FC236}">
                  <a16:creationId xmlns:a16="http://schemas.microsoft.com/office/drawing/2014/main" id="{A2CD48A7-BB8D-CBB4-73A1-707741C94FAB}"/>
                </a:ext>
              </a:extLst>
            </p:cNvPr>
            <p:cNvSpPr/>
            <p:nvPr/>
          </p:nvSpPr>
          <p:spPr>
            <a:xfrm>
              <a:off x="2095783" y="1657326"/>
              <a:ext cx="30481" cy="15641"/>
            </a:xfrm>
            <a:custGeom>
              <a:avLst/>
              <a:gdLst/>
              <a:ahLst/>
              <a:cxnLst/>
              <a:rect l="l" t="t" r="r" b="b"/>
              <a:pathLst>
                <a:path w="2245" h="1152" extrusionOk="0">
                  <a:moveTo>
                    <a:pt x="1318" y="1"/>
                  </a:moveTo>
                  <a:cubicBezTo>
                    <a:pt x="1265" y="1"/>
                    <a:pt x="1219" y="15"/>
                    <a:pt x="1159" y="45"/>
                  </a:cubicBezTo>
                  <a:lnTo>
                    <a:pt x="1155" y="48"/>
                  </a:lnTo>
                  <a:lnTo>
                    <a:pt x="1148" y="48"/>
                  </a:lnTo>
                  <a:lnTo>
                    <a:pt x="1138" y="52"/>
                  </a:lnTo>
                  <a:lnTo>
                    <a:pt x="1127" y="55"/>
                  </a:lnTo>
                  <a:lnTo>
                    <a:pt x="1124" y="55"/>
                  </a:lnTo>
                  <a:lnTo>
                    <a:pt x="1113" y="59"/>
                  </a:lnTo>
                  <a:lnTo>
                    <a:pt x="1106" y="59"/>
                  </a:lnTo>
                  <a:lnTo>
                    <a:pt x="1096" y="62"/>
                  </a:lnTo>
                  <a:lnTo>
                    <a:pt x="1089" y="62"/>
                  </a:lnTo>
                  <a:lnTo>
                    <a:pt x="1075" y="66"/>
                  </a:lnTo>
                  <a:lnTo>
                    <a:pt x="714" y="66"/>
                  </a:lnTo>
                  <a:cubicBezTo>
                    <a:pt x="697" y="104"/>
                    <a:pt x="658" y="132"/>
                    <a:pt x="613" y="139"/>
                  </a:cubicBezTo>
                  <a:lnTo>
                    <a:pt x="595" y="139"/>
                  </a:lnTo>
                  <a:cubicBezTo>
                    <a:pt x="494" y="153"/>
                    <a:pt x="413" y="220"/>
                    <a:pt x="382" y="318"/>
                  </a:cubicBezTo>
                  <a:cubicBezTo>
                    <a:pt x="364" y="395"/>
                    <a:pt x="301" y="447"/>
                    <a:pt x="228" y="514"/>
                  </a:cubicBezTo>
                  <a:lnTo>
                    <a:pt x="196" y="542"/>
                  </a:lnTo>
                  <a:cubicBezTo>
                    <a:pt x="123" y="598"/>
                    <a:pt x="63" y="675"/>
                    <a:pt x="28" y="763"/>
                  </a:cubicBezTo>
                  <a:cubicBezTo>
                    <a:pt x="14" y="798"/>
                    <a:pt x="7" y="833"/>
                    <a:pt x="0" y="868"/>
                  </a:cubicBezTo>
                  <a:cubicBezTo>
                    <a:pt x="7" y="857"/>
                    <a:pt x="18" y="850"/>
                    <a:pt x="28" y="840"/>
                  </a:cubicBezTo>
                  <a:lnTo>
                    <a:pt x="35" y="833"/>
                  </a:lnTo>
                  <a:cubicBezTo>
                    <a:pt x="42" y="829"/>
                    <a:pt x="49" y="822"/>
                    <a:pt x="56" y="819"/>
                  </a:cubicBezTo>
                  <a:lnTo>
                    <a:pt x="63" y="812"/>
                  </a:lnTo>
                  <a:cubicBezTo>
                    <a:pt x="74" y="805"/>
                    <a:pt x="84" y="801"/>
                    <a:pt x="91" y="798"/>
                  </a:cubicBezTo>
                  <a:lnTo>
                    <a:pt x="98" y="794"/>
                  </a:lnTo>
                  <a:cubicBezTo>
                    <a:pt x="105" y="791"/>
                    <a:pt x="112" y="787"/>
                    <a:pt x="123" y="787"/>
                  </a:cubicBezTo>
                  <a:lnTo>
                    <a:pt x="130" y="784"/>
                  </a:lnTo>
                  <a:cubicBezTo>
                    <a:pt x="137" y="784"/>
                    <a:pt x="144" y="780"/>
                    <a:pt x="154" y="780"/>
                  </a:cubicBezTo>
                  <a:lnTo>
                    <a:pt x="210" y="780"/>
                  </a:lnTo>
                  <a:cubicBezTo>
                    <a:pt x="221" y="780"/>
                    <a:pt x="228" y="784"/>
                    <a:pt x="238" y="787"/>
                  </a:cubicBezTo>
                  <a:cubicBezTo>
                    <a:pt x="305" y="812"/>
                    <a:pt x="347" y="875"/>
                    <a:pt x="347" y="948"/>
                  </a:cubicBezTo>
                  <a:cubicBezTo>
                    <a:pt x="347" y="966"/>
                    <a:pt x="357" y="980"/>
                    <a:pt x="382" y="1008"/>
                  </a:cubicBezTo>
                  <a:lnTo>
                    <a:pt x="396" y="1022"/>
                  </a:lnTo>
                  <a:lnTo>
                    <a:pt x="399" y="1025"/>
                  </a:lnTo>
                  <a:lnTo>
                    <a:pt x="410" y="1039"/>
                  </a:lnTo>
                  <a:lnTo>
                    <a:pt x="413" y="1046"/>
                  </a:lnTo>
                  <a:cubicBezTo>
                    <a:pt x="417" y="1050"/>
                    <a:pt x="424" y="1057"/>
                    <a:pt x="427" y="1064"/>
                  </a:cubicBezTo>
                  <a:lnTo>
                    <a:pt x="427" y="1067"/>
                  </a:lnTo>
                  <a:cubicBezTo>
                    <a:pt x="431" y="1074"/>
                    <a:pt x="434" y="1081"/>
                    <a:pt x="438" y="1088"/>
                  </a:cubicBezTo>
                  <a:lnTo>
                    <a:pt x="441" y="1095"/>
                  </a:lnTo>
                  <a:cubicBezTo>
                    <a:pt x="441" y="1102"/>
                    <a:pt x="445" y="1109"/>
                    <a:pt x="445" y="1116"/>
                  </a:cubicBezTo>
                  <a:lnTo>
                    <a:pt x="445" y="1123"/>
                  </a:lnTo>
                  <a:cubicBezTo>
                    <a:pt x="448" y="1130"/>
                    <a:pt x="448" y="1141"/>
                    <a:pt x="448" y="1151"/>
                  </a:cubicBezTo>
                  <a:lnTo>
                    <a:pt x="553" y="1141"/>
                  </a:lnTo>
                  <a:lnTo>
                    <a:pt x="585" y="1141"/>
                  </a:lnTo>
                  <a:lnTo>
                    <a:pt x="655" y="1137"/>
                  </a:lnTo>
                  <a:lnTo>
                    <a:pt x="837" y="1137"/>
                  </a:lnTo>
                  <a:cubicBezTo>
                    <a:pt x="875" y="1127"/>
                    <a:pt x="952" y="969"/>
                    <a:pt x="980" y="910"/>
                  </a:cubicBezTo>
                  <a:cubicBezTo>
                    <a:pt x="1026" y="822"/>
                    <a:pt x="1043" y="780"/>
                    <a:pt x="1075" y="759"/>
                  </a:cubicBezTo>
                  <a:cubicBezTo>
                    <a:pt x="1088" y="751"/>
                    <a:pt x="1104" y="746"/>
                    <a:pt x="1120" y="746"/>
                  </a:cubicBezTo>
                  <a:cubicBezTo>
                    <a:pt x="1126" y="746"/>
                    <a:pt x="1132" y="747"/>
                    <a:pt x="1138" y="749"/>
                  </a:cubicBezTo>
                  <a:cubicBezTo>
                    <a:pt x="1187" y="759"/>
                    <a:pt x="1225" y="812"/>
                    <a:pt x="1299" y="924"/>
                  </a:cubicBezTo>
                  <a:cubicBezTo>
                    <a:pt x="1344" y="1001"/>
                    <a:pt x="1400" y="1071"/>
                    <a:pt x="1463" y="1134"/>
                  </a:cubicBezTo>
                  <a:cubicBezTo>
                    <a:pt x="1467" y="1141"/>
                    <a:pt x="1470" y="1144"/>
                    <a:pt x="1477" y="1148"/>
                  </a:cubicBezTo>
                  <a:cubicBezTo>
                    <a:pt x="1495" y="1095"/>
                    <a:pt x="1502" y="1043"/>
                    <a:pt x="1499" y="990"/>
                  </a:cubicBezTo>
                  <a:cubicBezTo>
                    <a:pt x="1499" y="938"/>
                    <a:pt x="1523" y="892"/>
                    <a:pt x="1562" y="861"/>
                  </a:cubicBezTo>
                  <a:cubicBezTo>
                    <a:pt x="1606" y="827"/>
                    <a:pt x="1660" y="808"/>
                    <a:pt x="1715" y="808"/>
                  </a:cubicBezTo>
                  <a:cubicBezTo>
                    <a:pt x="1734" y="808"/>
                    <a:pt x="1753" y="811"/>
                    <a:pt x="1772" y="815"/>
                  </a:cubicBezTo>
                  <a:cubicBezTo>
                    <a:pt x="1830" y="827"/>
                    <a:pt x="1871" y="831"/>
                    <a:pt x="1898" y="831"/>
                  </a:cubicBezTo>
                  <a:cubicBezTo>
                    <a:pt x="1940" y="831"/>
                    <a:pt x="1950" y="822"/>
                    <a:pt x="1950" y="822"/>
                  </a:cubicBezTo>
                  <a:cubicBezTo>
                    <a:pt x="1950" y="819"/>
                    <a:pt x="1950" y="815"/>
                    <a:pt x="1950" y="815"/>
                  </a:cubicBezTo>
                  <a:cubicBezTo>
                    <a:pt x="1950" y="773"/>
                    <a:pt x="1964" y="731"/>
                    <a:pt x="1996" y="703"/>
                  </a:cubicBezTo>
                  <a:cubicBezTo>
                    <a:pt x="2025" y="683"/>
                    <a:pt x="2060" y="672"/>
                    <a:pt x="2096" y="672"/>
                  </a:cubicBezTo>
                  <a:cubicBezTo>
                    <a:pt x="2111" y="672"/>
                    <a:pt x="2127" y="674"/>
                    <a:pt x="2143" y="679"/>
                  </a:cubicBezTo>
                  <a:cubicBezTo>
                    <a:pt x="2153" y="679"/>
                    <a:pt x="2164" y="682"/>
                    <a:pt x="2171" y="686"/>
                  </a:cubicBezTo>
                  <a:cubicBezTo>
                    <a:pt x="2185" y="661"/>
                    <a:pt x="2192" y="637"/>
                    <a:pt x="2195" y="612"/>
                  </a:cubicBezTo>
                  <a:lnTo>
                    <a:pt x="2199" y="587"/>
                  </a:lnTo>
                  <a:lnTo>
                    <a:pt x="2244" y="545"/>
                  </a:lnTo>
                  <a:lnTo>
                    <a:pt x="2244" y="538"/>
                  </a:lnTo>
                  <a:cubicBezTo>
                    <a:pt x="2234" y="535"/>
                    <a:pt x="2223" y="535"/>
                    <a:pt x="2213" y="531"/>
                  </a:cubicBezTo>
                  <a:lnTo>
                    <a:pt x="2150" y="531"/>
                  </a:lnTo>
                  <a:cubicBezTo>
                    <a:pt x="2139" y="535"/>
                    <a:pt x="2132" y="535"/>
                    <a:pt x="2122" y="542"/>
                  </a:cubicBezTo>
                  <a:lnTo>
                    <a:pt x="2115" y="545"/>
                  </a:lnTo>
                  <a:cubicBezTo>
                    <a:pt x="2094" y="553"/>
                    <a:pt x="2071" y="557"/>
                    <a:pt x="2047" y="557"/>
                  </a:cubicBezTo>
                  <a:cubicBezTo>
                    <a:pt x="1995" y="557"/>
                    <a:pt x="1938" y="538"/>
                    <a:pt x="1880" y="500"/>
                  </a:cubicBezTo>
                  <a:cubicBezTo>
                    <a:pt x="1859" y="486"/>
                    <a:pt x="1751" y="412"/>
                    <a:pt x="1751" y="335"/>
                  </a:cubicBezTo>
                  <a:cubicBezTo>
                    <a:pt x="1751" y="328"/>
                    <a:pt x="1751" y="318"/>
                    <a:pt x="1747" y="304"/>
                  </a:cubicBezTo>
                  <a:cubicBezTo>
                    <a:pt x="1740" y="248"/>
                    <a:pt x="1740" y="195"/>
                    <a:pt x="1744" y="143"/>
                  </a:cubicBezTo>
                  <a:lnTo>
                    <a:pt x="1730" y="136"/>
                  </a:lnTo>
                  <a:lnTo>
                    <a:pt x="1702" y="122"/>
                  </a:lnTo>
                  <a:lnTo>
                    <a:pt x="1684" y="115"/>
                  </a:lnTo>
                  <a:lnTo>
                    <a:pt x="1660" y="104"/>
                  </a:lnTo>
                  <a:lnTo>
                    <a:pt x="1646" y="94"/>
                  </a:lnTo>
                  <a:lnTo>
                    <a:pt x="1625" y="87"/>
                  </a:lnTo>
                  <a:lnTo>
                    <a:pt x="1607" y="80"/>
                  </a:lnTo>
                  <a:lnTo>
                    <a:pt x="1586" y="69"/>
                  </a:lnTo>
                  <a:lnTo>
                    <a:pt x="1572" y="62"/>
                  </a:lnTo>
                  <a:lnTo>
                    <a:pt x="1555" y="55"/>
                  </a:lnTo>
                  <a:lnTo>
                    <a:pt x="1541" y="52"/>
                  </a:lnTo>
                  <a:lnTo>
                    <a:pt x="1520" y="45"/>
                  </a:lnTo>
                  <a:lnTo>
                    <a:pt x="1509" y="41"/>
                  </a:lnTo>
                  <a:lnTo>
                    <a:pt x="1484" y="31"/>
                  </a:lnTo>
                  <a:cubicBezTo>
                    <a:pt x="1415" y="11"/>
                    <a:pt x="1364" y="1"/>
                    <a:pt x="13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0" name="Google Shape;5887;p64">
              <a:extLst>
                <a:ext uri="{FF2B5EF4-FFF2-40B4-BE49-F238E27FC236}">
                  <a16:creationId xmlns:a16="http://schemas.microsoft.com/office/drawing/2014/main" id="{5ABFF78D-0494-D01E-803C-4F65BD93C3CF}"/>
                </a:ext>
              </a:extLst>
            </p:cNvPr>
            <p:cNvSpPr/>
            <p:nvPr/>
          </p:nvSpPr>
          <p:spPr>
            <a:xfrm>
              <a:off x="2124445" y="1664672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1" name="Google Shape;5888;p64">
              <a:extLst>
                <a:ext uri="{FF2B5EF4-FFF2-40B4-BE49-F238E27FC236}">
                  <a16:creationId xmlns:a16="http://schemas.microsoft.com/office/drawing/2014/main" id="{7495531B-6D09-2EA4-BB77-9E4F3E0EBEDA}"/>
                </a:ext>
              </a:extLst>
            </p:cNvPr>
            <p:cNvSpPr/>
            <p:nvPr/>
          </p:nvSpPr>
          <p:spPr>
            <a:xfrm>
              <a:off x="2126292" y="1664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2" name="Google Shape;5889;p64">
              <a:extLst>
                <a:ext uri="{FF2B5EF4-FFF2-40B4-BE49-F238E27FC236}">
                  <a16:creationId xmlns:a16="http://schemas.microsoft.com/office/drawing/2014/main" id="{3AF83CF9-FC1C-9624-3C30-B65A57AE699B}"/>
                </a:ext>
              </a:extLst>
            </p:cNvPr>
            <p:cNvSpPr/>
            <p:nvPr/>
          </p:nvSpPr>
          <p:spPr>
            <a:xfrm>
              <a:off x="2119422" y="1659349"/>
              <a:ext cx="136" cy="2539"/>
            </a:xfrm>
            <a:custGeom>
              <a:avLst/>
              <a:gdLst/>
              <a:ahLst/>
              <a:cxnLst/>
              <a:rect l="l" t="t" r="r" b="b"/>
              <a:pathLst>
                <a:path w="10" h="187" extrusionOk="0">
                  <a:moveTo>
                    <a:pt x="2" y="0"/>
                  </a:moveTo>
                  <a:cubicBezTo>
                    <a:pt x="1" y="20"/>
                    <a:pt x="0" y="40"/>
                    <a:pt x="0" y="59"/>
                  </a:cubicBezTo>
                  <a:lnTo>
                    <a:pt x="0" y="59"/>
                  </a:lnTo>
                  <a:cubicBezTo>
                    <a:pt x="0" y="40"/>
                    <a:pt x="1" y="20"/>
                    <a:pt x="2" y="0"/>
                  </a:cubicBezTo>
                  <a:close/>
                  <a:moveTo>
                    <a:pt x="0" y="59"/>
                  </a:moveTo>
                  <a:lnTo>
                    <a:pt x="0" y="59"/>
                  </a:lnTo>
                  <a:cubicBezTo>
                    <a:pt x="0" y="90"/>
                    <a:pt x="2" y="122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lnTo>
                    <a:pt x="6" y="155"/>
                  </a:lnTo>
                  <a:cubicBezTo>
                    <a:pt x="6" y="154"/>
                    <a:pt x="6" y="153"/>
                    <a:pt x="6" y="151"/>
                  </a:cubicBezTo>
                  <a:cubicBezTo>
                    <a:pt x="2" y="121"/>
                    <a:pt x="0" y="90"/>
                    <a:pt x="0" y="59"/>
                  </a:cubicBezTo>
                  <a:close/>
                  <a:moveTo>
                    <a:pt x="6" y="155"/>
                  </a:moveTo>
                  <a:cubicBezTo>
                    <a:pt x="7" y="170"/>
                    <a:pt x="10" y="180"/>
                    <a:pt x="10" y="186"/>
                  </a:cubicBezTo>
                  <a:cubicBezTo>
                    <a:pt x="10" y="179"/>
                    <a:pt x="10" y="169"/>
                    <a:pt x="6" y="15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3" name="Google Shape;5890;p64">
              <a:extLst>
                <a:ext uri="{FF2B5EF4-FFF2-40B4-BE49-F238E27FC236}">
                  <a16:creationId xmlns:a16="http://schemas.microsoft.com/office/drawing/2014/main" id="{8E9660B3-AA3E-0975-331A-4048A5BD0E13}"/>
                </a:ext>
              </a:extLst>
            </p:cNvPr>
            <p:cNvSpPr/>
            <p:nvPr/>
          </p:nvSpPr>
          <p:spPr>
            <a:xfrm>
              <a:off x="2125681" y="166453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4" name="Google Shape;5891;p64">
              <a:extLst>
                <a:ext uri="{FF2B5EF4-FFF2-40B4-BE49-F238E27FC236}">
                  <a16:creationId xmlns:a16="http://schemas.microsoft.com/office/drawing/2014/main" id="{F8F26EE0-F35B-5270-F76D-2A3494036DDF}"/>
                </a:ext>
              </a:extLst>
            </p:cNvPr>
            <p:cNvSpPr/>
            <p:nvPr/>
          </p:nvSpPr>
          <p:spPr>
            <a:xfrm>
              <a:off x="2125206" y="1664536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5" name="Google Shape;5892;p64">
              <a:extLst>
                <a:ext uri="{FF2B5EF4-FFF2-40B4-BE49-F238E27FC236}">
                  <a16:creationId xmlns:a16="http://schemas.microsoft.com/office/drawing/2014/main" id="{75262503-97E9-374B-502F-2B6012A94BF0}"/>
                </a:ext>
              </a:extLst>
            </p:cNvPr>
            <p:cNvSpPr/>
            <p:nvPr/>
          </p:nvSpPr>
          <p:spPr>
            <a:xfrm>
              <a:off x="2124581" y="166453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cubicBezTo>
                    <a:pt x="11" y="4"/>
                    <a:pt x="18" y="4"/>
                    <a:pt x="29" y="0"/>
                  </a:cubicBezTo>
                  <a:cubicBezTo>
                    <a:pt x="18" y="4"/>
                    <a:pt x="11" y="4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6" name="Google Shape;5893;p64">
              <a:extLst>
                <a:ext uri="{FF2B5EF4-FFF2-40B4-BE49-F238E27FC236}">
                  <a16:creationId xmlns:a16="http://schemas.microsoft.com/office/drawing/2014/main" id="{0957918C-7CA0-0ABF-DAB9-31E3356FF772}"/>
                </a:ext>
              </a:extLst>
            </p:cNvPr>
            <p:cNvSpPr/>
            <p:nvPr/>
          </p:nvSpPr>
          <p:spPr>
            <a:xfrm>
              <a:off x="2094588" y="1586533"/>
              <a:ext cx="64181" cy="72259"/>
            </a:xfrm>
            <a:custGeom>
              <a:avLst/>
              <a:gdLst/>
              <a:ahLst/>
              <a:cxnLst/>
              <a:rect l="l" t="t" r="r" b="b"/>
              <a:pathLst>
                <a:path w="4727" h="5322" extrusionOk="0">
                  <a:moveTo>
                    <a:pt x="1488" y="1"/>
                  </a:moveTo>
                  <a:cubicBezTo>
                    <a:pt x="1534" y="74"/>
                    <a:pt x="1555" y="151"/>
                    <a:pt x="1516" y="221"/>
                  </a:cubicBezTo>
                  <a:cubicBezTo>
                    <a:pt x="1478" y="291"/>
                    <a:pt x="1516" y="372"/>
                    <a:pt x="1597" y="508"/>
                  </a:cubicBezTo>
                  <a:cubicBezTo>
                    <a:pt x="1618" y="547"/>
                    <a:pt x="1643" y="585"/>
                    <a:pt x="1664" y="627"/>
                  </a:cubicBezTo>
                  <a:cubicBezTo>
                    <a:pt x="1692" y="673"/>
                    <a:pt x="1699" y="729"/>
                    <a:pt x="1678" y="778"/>
                  </a:cubicBezTo>
                  <a:cubicBezTo>
                    <a:pt x="1646" y="841"/>
                    <a:pt x="1576" y="855"/>
                    <a:pt x="1513" y="865"/>
                  </a:cubicBezTo>
                  <a:cubicBezTo>
                    <a:pt x="1485" y="865"/>
                    <a:pt x="1460" y="872"/>
                    <a:pt x="1436" y="883"/>
                  </a:cubicBezTo>
                  <a:cubicBezTo>
                    <a:pt x="1432" y="921"/>
                    <a:pt x="1411" y="956"/>
                    <a:pt x="1376" y="977"/>
                  </a:cubicBezTo>
                  <a:cubicBezTo>
                    <a:pt x="1356" y="989"/>
                    <a:pt x="1329" y="995"/>
                    <a:pt x="1295" y="995"/>
                  </a:cubicBezTo>
                  <a:cubicBezTo>
                    <a:pt x="1212" y="995"/>
                    <a:pt x="1091" y="957"/>
                    <a:pt x="935" y="879"/>
                  </a:cubicBezTo>
                  <a:cubicBezTo>
                    <a:pt x="913" y="868"/>
                    <a:pt x="872" y="863"/>
                    <a:pt x="825" y="863"/>
                  </a:cubicBezTo>
                  <a:cubicBezTo>
                    <a:pt x="746" y="863"/>
                    <a:pt x="653" y="877"/>
                    <a:pt x="620" y="897"/>
                  </a:cubicBezTo>
                  <a:cubicBezTo>
                    <a:pt x="620" y="932"/>
                    <a:pt x="617" y="967"/>
                    <a:pt x="606" y="1002"/>
                  </a:cubicBezTo>
                  <a:cubicBezTo>
                    <a:pt x="610" y="1012"/>
                    <a:pt x="610" y="1019"/>
                    <a:pt x="613" y="1030"/>
                  </a:cubicBezTo>
                  <a:cubicBezTo>
                    <a:pt x="617" y="1040"/>
                    <a:pt x="620" y="1054"/>
                    <a:pt x="620" y="1065"/>
                  </a:cubicBezTo>
                  <a:cubicBezTo>
                    <a:pt x="624" y="1075"/>
                    <a:pt x="627" y="1089"/>
                    <a:pt x="627" y="1100"/>
                  </a:cubicBezTo>
                  <a:cubicBezTo>
                    <a:pt x="631" y="1114"/>
                    <a:pt x="634" y="1121"/>
                    <a:pt x="634" y="1131"/>
                  </a:cubicBezTo>
                  <a:cubicBezTo>
                    <a:pt x="638" y="1138"/>
                    <a:pt x="638" y="1152"/>
                    <a:pt x="641" y="1166"/>
                  </a:cubicBezTo>
                  <a:cubicBezTo>
                    <a:pt x="641" y="1177"/>
                    <a:pt x="641" y="1184"/>
                    <a:pt x="641" y="1191"/>
                  </a:cubicBezTo>
                  <a:cubicBezTo>
                    <a:pt x="645" y="1198"/>
                    <a:pt x="641" y="1212"/>
                    <a:pt x="641" y="1222"/>
                  </a:cubicBezTo>
                  <a:lnTo>
                    <a:pt x="641" y="1243"/>
                  </a:lnTo>
                  <a:lnTo>
                    <a:pt x="641" y="1275"/>
                  </a:lnTo>
                  <a:lnTo>
                    <a:pt x="641" y="1292"/>
                  </a:lnTo>
                  <a:cubicBezTo>
                    <a:pt x="641" y="1299"/>
                    <a:pt x="641" y="1313"/>
                    <a:pt x="638" y="1320"/>
                  </a:cubicBezTo>
                  <a:cubicBezTo>
                    <a:pt x="638" y="1331"/>
                    <a:pt x="638" y="1331"/>
                    <a:pt x="634" y="1338"/>
                  </a:cubicBezTo>
                  <a:cubicBezTo>
                    <a:pt x="634" y="1345"/>
                    <a:pt x="631" y="1355"/>
                    <a:pt x="627" y="1362"/>
                  </a:cubicBezTo>
                  <a:cubicBezTo>
                    <a:pt x="627" y="1366"/>
                    <a:pt x="624" y="1369"/>
                    <a:pt x="624" y="1373"/>
                  </a:cubicBezTo>
                  <a:cubicBezTo>
                    <a:pt x="620" y="1387"/>
                    <a:pt x="613" y="1397"/>
                    <a:pt x="606" y="1408"/>
                  </a:cubicBezTo>
                  <a:cubicBezTo>
                    <a:pt x="550" y="1488"/>
                    <a:pt x="477" y="1558"/>
                    <a:pt x="389" y="1607"/>
                  </a:cubicBezTo>
                  <a:lnTo>
                    <a:pt x="365" y="1625"/>
                  </a:lnTo>
                  <a:lnTo>
                    <a:pt x="361" y="1625"/>
                  </a:lnTo>
                  <a:lnTo>
                    <a:pt x="372" y="1639"/>
                  </a:lnTo>
                  <a:cubicBezTo>
                    <a:pt x="456" y="1727"/>
                    <a:pt x="571" y="1849"/>
                    <a:pt x="512" y="1954"/>
                  </a:cubicBezTo>
                  <a:cubicBezTo>
                    <a:pt x="491" y="1986"/>
                    <a:pt x="463" y="2014"/>
                    <a:pt x="431" y="2031"/>
                  </a:cubicBezTo>
                  <a:cubicBezTo>
                    <a:pt x="410" y="2042"/>
                    <a:pt x="407" y="2045"/>
                    <a:pt x="407" y="2098"/>
                  </a:cubicBezTo>
                  <a:cubicBezTo>
                    <a:pt x="407" y="2231"/>
                    <a:pt x="291" y="2301"/>
                    <a:pt x="67" y="2308"/>
                  </a:cubicBezTo>
                  <a:lnTo>
                    <a:pt x="71" y="2329"/>
                  </a:lnTo>
                  <a:cubicBezTo>
                    <a:pt x="88" y="2395"/>
                    <a:pt x="85" y="2465"/>
                    <a:pt x="60" y="2528"/>
                  </a:cubicBezTo>
                  <a:cubicBezTo>
                    <a:pt x="57" y="2539"/>
                    <a:pt x="53" y="2553"/>
                    <a:pt x="50" y="2563"/>
                  </a:cubicBezTo>
                  <a:cubicBezTo>
                    <a:pt x="29" y="2647"/>
                    <a:pt x="18" y="2735"/>
                    <a:pt x="15" y="2822"/>
                  </a:cubicBezTo>
                  <a:cubicBezTo>
                    <a:pt x="15" y="2850"/>
                    <a:pt x="8" y="2896"/>
                    <a:pt x="4" y="2927"/>
                  </a:cubicBezTo>
                  <a:cubicBezTo>
                    <a:pt x="1" y="2955"/>
                    <a:pt x="46" y="3022"/>
                    <a:pt x="71" y="3064"/>
                  </a:cubicBezTo>
                  <a:cubicBezTo>
                    <a:pt x="120" y="3137"/>
                    <a:pt x="162" y="3204"/>
                    <a:pt x="148" y="3270"/>
                  </a:cubicBezTo>
                  <a:cubicBezTo>
                    <a:pt x="134" y="3319"/>
                    <a:pt x="106" y="3365"/>
                    <a:pt x="71" y="3400"/>
                  </a:cubicBezTo>
                  <a:lnTo>
                    <a:pt x="50" y="3421"/>
                  </a:lnTo>
                  <a:lnTo>
                    <a:pt x="46" y="3428"/>
                  </a:lnTo>
                  <a:cubicBezTo>
                    <a:pt x="43" y="3431"/>
                    <a:pt x="39" y="3438"/>
                    <a:pt x="36" y="3442"/>
                  </a:cubicBezTo>
                  <a:lnTo>
                    <a:pt x="43" y="3456"/>
                  </a:lnTo>
                  <a:lnTo>
                    <a:pt x="53" y="3473"/>
                  </a:lnTo>
                  <a:lnTo>
                    <a:pt x="71" y="3494"/>
                  </a:lnTo>
                  <a:lnTo>
                    <a:pt x="74" y="3501"/>
                  </a:lnTo>
                  <a:lnTo>
                    <a:pt x="78" y="3508"/>
                  </a:lnTo>
                  <a:lnTo>
                    <a:pt x="85" y="3515"/>
                  </a:lnTo>
                  <a:lnTo>
                    <a:pt x="88" y="3526"/>
                  </a:lnTo>
                  <a:lnTo>
                    <a:pt x="95" y="3533"/>
                  </a:lnTo>
                  <a:lnTo>
                    <a:pt x="102" y="3543"/>
                  </a:lnTo>
                  <a:lnTo>
                    <a:pt x="106" y="3554"/>
                  </a:lnTo>
                  <a:lnTo>
                    <a:pt x="113" y="3561"/>
                  </a:lnTo>
                  <a:lnTo>
                    <a:pt x="120" y="3575"/>
                  </a:lnTo>
                  <a:lnTo>
                    <a:pt x="123" y="3585"/>
                  </a:lnTo>
                  <a:lnTo>
                    <a:pt x="130" y="3596"/>
                  </a:lnTo>
                  <a:lnTo>
                    <a:pt x="134" y="3606"/>
                  </a:lnTo>
                  <a:lnTo>
                    <a:pt x="141" y="3620"/>
                  </a:lnTo>
                  <a:lnTo>
                    <a:pt x="144" y="3631"/>
                  </a:lnTo>
                  <a:lnTo>
                    <a:pt x="151" y="3645"/>
                  </a:lnTo>
                  <a:lnTo>
                    <a:pt x="158" y="3659"/>
                  </a:lnTo>
                  <a:lnTo>
                    <a:pt x="162" y="3673"/>
                  </a:lnTo>
                  <a:lnTo>
                    <a:pt x="165" y="3687"/>
                  </a:lnTo>
                  <a:lnTo>
                    <a:pt x="172" y="3704"/>
                  </a:lnTo>
                  <a:lnTo>
                    <a:pt x="176" y="3718"/>
                  </a:lnTo>
                  <a:lnTo>
                    <a:pt x="183" y="3739"/>
                  </a:lnTo>
                  <a:lnTo>
                    <a:pt x="186" y="3753"/>
                  </a:lnTo>
                  <a:cubicBezTo>
                    <a:pt x="186" y="3761"/>
                    <a:pt x="190" y="3768"/>
                    <a:pt x="190" y="3775"/>
                  </a:cubicBezTo>
                  <a:lnTo>
                    <a:pt x="193" y="3789"/>
                  </a:lnTo>
                  <a:cubicBezTo>
                    <a:pt x="193" y="3796"/>
                    <a:pt x="197" y="3806"/>
                    <a:pt x="197" y="3813"/>
                  </a:cubicBezTo>
                  <a:lnTo>
                    <a:pt x="200" y="3827"/>
                  </a:lnTo>
                  <a:cubicBezTo>
                    <a:pt x="200" y="3838"/>
                    <a:pt x="204" y="3848"/>
                    <a:pt x="204" y="3859"/>
                  </a:cubicBezTo>
                  <a:lnTo>
                    <a:pt x="204" y="3869"/>
                  </a:lnTo>
                  <a:lnTo>
                    <a:pt x="228" y="3880"/>
                  </a:lnTo>
                  <a:lnTo>
                    <a:pt x="235" y="3883"/>
                  </a:lnTo>
                  <a:cubicBezTo>
                    <a:pt x="267" y="3894"/>
                    <a:pt x="295" y="3915"/>
                    <a:pt x="319" y="3943"/>
                  </a:cubicBezTo>
                  <a:cubicBezTo>
                    <a:pt x="375" y="4020"/>
                    <a:pt x="463" y="4069"/>
                    <a:pt x="557" y="4083"/>
                  </a:cubicBezTo>
                  <a:cubicBezTo>
                    <a:pt x="578" y="4086"/>
                    <a:pt x="596" y="4086"/>
                    <a:pt x="617" y="4086"/>
                  </a:cubicBezTo>
                  <a:cubicBezTo>
                    <a:pt x="697" y="4086"/>
                    <a:pt x="778" y="4114"/>
                    <a:pt x="844" y="4160"/>
                  </a:cubicBezTo>
                  <a:cubicBezTo>
                    <a:pt x="862" y="4170"/>
                    <a:pt x="879" y="4181"/>
                    <a:pt x="897" y="4184"/>
                  </a:cubicBezTo>
                  <a:cubicBezTo>
                    <a:pt x="905" y="4183"/>
                    <a:pt x="915" y="4182"/>
                    <a:pt x="925" y="4182"/>
                  </a:cubicBezTo>
                  <a:cubicBezTo>
                    <a:pt x="993" y="4182"/>
                    <a:pt x="1098" y="4213"/>
                    <a:pt x="1131" y="4286"/>
                  </a:cubicBezTo>
                  <a:cubicBezTo>
                    <a:pt x="1149" y="4324"/>
                    <a:pt x="1163" y="4398"/>
                    <a:pt x="1058" y="4482"/>
                  </a:cubicBezTo>
                  <a:cubicBezTo>
                    <a:pt x="932" y="4590"/>
                    <a:pt x="904" y="4713"/>
                    <a:pt x="872" y="4856"/>
                  </a:cubicBezTo>
                  <a:lnTo>
                    <a:pt x="862" y="4895"/>
                  </a:lnTo>
                  <a:cubicBezTo>
                    <a:pt x="851" y="4947"/>
                    <a:pt x="844" y="4996"/>
                    <a:pt x="841" y="5049"/>
                  </a:cubicBezTo>
                  <a:cubicBezTo>
                    <a:pt x="841" y="5084"/>
                    <a:pt x="837" y="5119"/>
                    <a:pt x="830" y="5154"/>
                  </a:cubicBezTo>
                  <a:lnTo>
                    <a:pt x="1184" y="5154"/>
                  </a:lnTo>
                  <a:cubicBezTo>
                    <a:pt x="1265" y="5113"/>
                    <a:pt x="1333" y="5096"/>
                    <a:pt x="1402" y="5096"/>
                  </a:cubicBezTo>
                  <a:cubicBezTo>
                    <a:pt x="1464" y="5096"/>
                    <a:pt x="1528" y="5110"/>
                    <a:pt x="1604" y="5133"/>
                  </a:cubicBezTo>
                  <a:cubicBezTo>
                    <a:pt x="1618" y="5136"/>
                    <a:pt x="1636" y="5143"/>
                    <a:pt x="1653" y="5150"/>
                  </a:cubicBezTo>
                  <a:lnTo>
                    <a:pt x="1664" y="5154"/>
                  </a:lnTo>
                  <a:lnTo>
                    <a:pt x="1716" y="5175"/>
                  </a:lnTo>
                  <a:lnTo>
                    <a:pt x="1730" y="5178"/>
                  </a:lnTo>
                  <a:lnTo>
                    <a:pt x="1793" y="5206"/>
                  </a:lnTo>
                  <a:lnTo>
                    <a:pt x="1800" y="5210"/>
                  </a:lnTo>
                  <a:lnTo>
                    <a:pt x="1870" y="5245"/>
                  </a:lnTo>
                  <a:cubicBezTo>
                    <a:pt x="1888" y="5227"/>
                    <a:pt x="1909" y="5213"/>
                    <a:pt x="1933" y="5210"/>
                  </a:cubicBezTo>
                  <a:cubicBezTo>
                    <a:pt x="1940" y="5206"/>
                    <a:pt x="1947" y="5206"/>
                    <a:pt x="1951" y="5206"/>
                  </a:cubicBezTo>
                  <a:lnTo>
                    <a:pt x="1996" y="5206"/>
                  </a:lnTo>
                  <a:lnTo>
                    <a:pt x="2014" y="5210"/>
                  </a:lnTo>
                  <a:lnTo>
                    <a:pt x="2021" y="5210"/>
                  </a:lnTo>
                  <a:lnTo>
                    <a:pt x="2035" y="5217"/>
                  </a:lnTo>
                  <a:lnTo>
                    <a:pt x="2045" y="5220"/>
                  </a:lnTo>
                  <a:lnTo>
                    <a:pt x="2059" y="5227"/>
                  </a:lnTo>
                  <a:lnTo>
                    <a:pt x="2066" y="5231"/>
                  </a:lnTo>
                  <a:lnTo>
                    <a:pt x="2080" y="5238"/>
                  </a:lnTo>
                  <a:lnTo>
                    <a:pt x="2087" y="5245"/>
                  </a:lnTo>
                  <a:lnTo>
                    <a:pt x="2101" y="5252"/>
                  </a:lnTo>
                  <a:lnTo>
                    <a:pt x="2112" y="5259"/>
                  </a:lnTo>
                  <a:lnTo>
                    <a:pt x="2140" y="5280"/>
                  </a:lnTo>
                  <a:cubicBezTo>
                    <a:pt x="2164" y="5297"/>
                    <a:pt x="2189" y="5311"/>
                    <a:pt x="2217" y="5322"/>
                  </a:cubicBezTo>
                  <a:lnTo>
                    <a:pt x="2220" y="5318"/>
                  </a:lnTo>
                  <a:cubicBezTo>
                    <a:pt x="2273" y="5230"/>
                    <a:pt x="2363" y="5198"/>
                    <a:pt x="2451" y="5198"/>
                  </a:cubicBezTo>
                  <a:cubicBezTo>
                    <a:pt x="2520" y="5198"/>
                    <a:pt x="2588" y="5217"/>
                    <a:pt x="2637" y="5245"/>
                  </a:cubicBezTo>
                  <a:cubicBezTo>
                    <a:pt x="2649" y="5253"/>
                    <a:pt x="2698" y="5279"/>
                    <a:pt x="2755" y="5279"/>
                  </a:cubicBezTo>
                  <a:cubicBezTo>
                    <a:pt x="2793" y="5279"/>
                    <a:pt x="2835" y="5267"/>
                    <a:pt x="2871" y="5231"/>
                  </a:cubicBezTo>
                  <a:cubicBezTo>
                    <a:pt x="2959" y="5145"/>
                    <a:pt x="3217" y="5092"/>
                    <a:pt x="3382" y="5092"/>
                  </a:cubicBezTo>
                  <a:cubicBezTo>
                    <a:pt x="3433" y="5092"/>
                    <a:pt x="3476" y="5098"/>
                    <a:pt x="3501" y="5108"/>
                  </a:cubicBezTo>
                  <a:cubicBezTo>
                    <a:pt x="3576" y="5142"/>
                    <a:pt x="3611" y="5151"/>
                    <a:pt x="3629" y="5151"/>
                  </a:cubicBezTo>
                  <a:cubicBezTo>
                    <a:pt x="3637" y="5151"/>
                    <a:pt x="3642" y="5149"/>
                    <a:pt x="3645" y="5147"/>
                  </a:cubicBezTo>
                  <a:cubicBezTo>
                    <a:pt x="3645" y="5147"/>
                    <a:pt x="3659" y="5122"/>
                    <a:pt x="3631" y="5031"/>
                  </a:cubicBezTo>
                  <a:cubicBezTo>
                    <a:pt x="3561" y="4786"/>
                    <a:pt x="3708" y="4720"/>
                    <a:pt x="3789" y="4685"/>
                  </a:cubicBezTo>
                  <a:cubicBezTo>
                    <a:pt x="3813" y="4678"/>
                    <a:pt x="3848" y="4660"/>
                    <a:pt x="3852" y="4653"/>
                  </a:cubicBezTo>
                  <a:cubicBezTo>
                    <a:pt x="3855" y="4639"/>
                    <a:pt x="3859" y="4629"/>
                    <a:pt x="3866" y="4618"/>
                  </a:cubicBezTo>
                  <a:cubicBezTo>
                    <a:pt x="3904" y="4559"/>
                    <a:pt x="3981" y="4524"/>
                    <a:pt x="4058" y="4485"/>
                  </a:cubicBezTo>
                  <a:cubicBezTo>
                    <a:pt x="4086" y="4475"/>
                    <a:pt x="4114" y="4461"/>
                    <a:pt x="4146" y="4443"/>
                  </a:cubicBezTo>
                  <a:lnTo>
                    <a:pt x="4132" y="4429"/>
                  </a:lnTo>
                  <a:cubicBezTo>
                    <a:pt x="4062" y="4373"/>
                    <a:pt x="3992" y="4317"/>
                    <a:pt x="3915" y="4268"/>
                  </a:cubicBezTo>
                  <a:lnTo>
                    <a:pt x="3883" y="4247"/>
                  </a:lnTo>
                  <a:lnTo>
                    <a:pt x="3880" y="4247"/>
                  </a:lnTo>
                  <a:lnTo>
                    <a:pt x="3852" y="4226"/>
                  </a:lnTo>
                  <a:lnTo>
                    <a:pt x="3845" y="4219"/>
                  </a:lnTo>
                  <a:lnTo>
                    <a:pt x="3820" y="4205"/>
                  </a:lnTo>
                  <a:lnTo>
                    <a:pt x="3764" y="4167"/>
                  </a:lnTo>
                  <a:lnTo>
                    <a:pt x="3743" y="4153"/>
                  </a:lnTo>
                  <a:lnTo>
                    <a:pt x="3740" y="4149"/>
                  </a:lnTo>
                  <a:lnTo>
                    <a:pt x="3715" y="4135"/>
                  </a:lnTo>
                  <a:cubicBezTo>
                    <a:pt x="3673" y="4107"/>
                    <a:pt x="3638" y="4083"/>
                    <a:pt x="3613" y="4065"/>
                  </a:cubicBezTo>
                  <a:cubicBezTo>
                    <a:pt x="3515" y="3999"/>
                    <a:pt x="3484" y="3859"/>
                    <a:pt x="3456" y="3736"/>
                  </a:cubicBezTo>
                  <a:cubicBezTo>
                    <a:pt x="3445" y="3683"/>
                    <a:pt x="3431" y="3631"/>
                    <a:pt x="3410" y="3582"/>
                  </a:cubicBezTo>
                  <a:cubicBezTo>
                    <a:pt x="3400" y="3564"/>
                    <a:pt x="3389" y="3543"/>
                    <a:pt x="3375" y="3522"/>
                  </a:cubicBezTo>
                  <a:cubicBezTo>
                    <a:pt x="3323" y="3442"/>
                    <a:pt x="3270" y="3358"/>
                    <a:pt x="3302" y="3281"/>
                  </a:cubicBezTo>
                  <a:cubicBezTo>
                    <a:pt x="3323" y="3235"/>
                    <a:pt x="3368" y="3200"/>
                    <a:pt x="3417" y="3193"/>
                  </a:cubicBezTo>
                  <a:lnTo>
                    <a:pt x="3438" y="3190"/>
                  </a:lnTo>
                  <a:cubicBezTo>
                    <a:pt x="3589" y="3155"/>
                    <a:pt x="3845" y="3095"/>
                    <a:pt x="3960" y="2990"/>
                  </a:cubicBezTo>
                  <a:cubicBezTo>
                    <a:pt x="4044" y="2913"/>
                    <a:pt x="4163" y="2875"/>
                    <a:pt x="4261" y="2847"/>
                  </a:cubicBezTo>
                  <a:cubicBezTo>
                    <a:pt x="4310" y="2833"/>
                    <a:pt x="4359" y="2815"/>
                    <a:pt x="4405" y="2787"/>
                  </a:cubicBezTo>
                  <a:cubicBezTo>
                    <a:pt x="4436" y="2754"/>
                    <a:pt x="4475" y="2744"/>
                    <a:pt x="4514" y="2744"/>
                  </a:cubicBezTo>
                  <a:cubicBezTo>
                    <a:pt x="4553" y="2744"/>
                    <a:pt x="4592" y="2754"/>
                    <a:pt x="4625" y="2763"/>
                  </a:cubicBezTo>
                  <a:lnTo>
                    <a:pt x="4660" y="2773"/>
                  </a:lnTo>
                  <a:lnTo>
                    <a:pt x="4664" y="2773"/>
                  </a:lnTo>
                  <a:lnTo>
                    <a:pt x="4678" y="2777"/>
                  </a:lnTo>
                  <a:lnTo>
                    <a:pt x="4692" y="2777"/>
                  </a:lnTo>
                  <a:cubicBezTo>
                    <a:pt x="4699" y="2763"/>
                    <a:pt x="4702" y="2749"/>
                    <a:pt x="4709" y="2738"/>
                  </a:cubicBezTo>
                  <a:cubicBezTo>
                    <a:pt x="4720" y="2710"/>
                    <a:pt x="4727" y="2682"/>
                    <a:pt x="4727" y="2654"/>
                  </a:cubicBezTo>
                  <a:lnTo>
                    <a:pt x="4727" y="2640"/>
                  </a:lnTo>
                  <a:lnTo>
                    <a:pt x="4727" y="2630"/>
                  </a:lnTo>
                  <a:cubicBezTo>
                    <a:pt x="4727" y="2623"/>
                    <a:pt x="4727" y="2619"/>
                    <a:pt x="4727" y="2612"/>
                  </a:cubicBezTo>
                  <a:lnTo>
                    <a:pt x="4727" y="2605"/>
                  </a:lnTo>
                  <a:cubicBezTo>
                    <a:pt x="4727" y="2598"/>
                    <a:pt x="4723" y="2591"/>
                    <a:pt x="4720" y="2588"/>
                  </a:cubicBezTo>
                  <a:lnTo>
                    <a:pt x="4720" y="2581"/>
                  </a:lnTo>
                  <a:cubicBezTo>
                    <a:pt x="4716" y="2574"/>
                    <a:pt x="4713" y="2567"/>
                    <a:pt x="4709" y="2560"/>
                  </a:cubicBezTo>
                  <a:cubicBezTo>
                    <a:pt x="4622" y="2458"/>
                    <a:pt x="4573" y="2297"/>
                    <a:pt x="4559" y="2084"/>
                  </a:cubicBezTo>
                  <a:cubicBezTo>
                    <a:pt x="4559" y="2024"/>
                    <a:pt x="4545" y="1965"/>
                    <a:pt x="4517" y="1909"/>
                  </a:cubicBezTo>
                  <a:cubicBezTo>
                    <a:pt x="4496" y="1874"/>
                    <a:pt x="4485" y="1832"/>
                    <a:pt x="4485" y="1793"/>
                  </a:cubicBezTo>
                  <a:cubicBezTo>
                    <a:pt x="4485" y="1713"/>
                    <a:pt x="4457" y="1618"/>
                    <a:pt x="4398" y="1579"/>
                  </a:cubicBezTo>
                  <a:cubicBezTo>
                    <a:pt x="4342" y="1558"/>
                    <a:pt x="4303" y="1516"/>
                    <a:pt x="4282" y="1460"/>
                  </a:cubicBezTo>
                  <a:cubicBezTo>
                    <a:pt x="4272" y="1408"/>
                    <a:pt x="4286" y="1348"/>
                    <a:pt x="4338" y="1271"/>
                  </a:cubicBezTo>
                  <a:cubicBezTo>
                    <a:pt x="4408" y="1163"/>
                    <a:pt x="4377" y="848"/>
                    <a:pt x="4342" y="760"/>
                  </a:cubicBezTo>
                  <a:cubicBezTo>
                    <a:pt x="4338" y="750"/>
                    <a:pt x="4338" y="739"/>
                    <a:pt x="4335" y="729"/>
                  </a:cubicBezTo>
                  <a:lnTo>
                    <a:pt x="4335" y="722"/>
                  </a:lnTo>
                  <a:lnTo>
                    <a:pt x="4335" y="701"/>
                  </a:lnTo>
                  <a:cubicBezTo>
                    <a:pt x="4314" y="680"/>
                    <a:pt x="4296" y="648"/>
                    <a:pt x="4293" y="617"/>
                  </a:cubicBezTo>
                  <a:cubicBezTo>
                    <a:pt x="4279" y="547"/>
                    <a:pt x="4251" y="491"/>
                    <a:pt x="4034" y="491"/>
                  </a:cubicBezTo>
                  <a:cubicBezTo>
                    <a:pt x="4009" y="491"/>
                    <a:pt x="3936" y="491"/>
                    <a:pt x="3908" y="435"/>
                  </a:cubicBezTo>
                  <a:cubicBezTo>
                    <a:pt x="3880" y="379"/>
                    <a:pt x="3922" y="316"/>
                    <a:pt x="3967" y="256"/>
                  </a:cubicBezTo>
                  <a:cubicBezTo>
                    <a:pt x="3992" y="225"/>
                    <a:pt x="4013" y="190"/>
                    <a:pt x="4027" y="155"/>
                  </a:cubicBezTo>
                  <a:lnTo>
                    <a:pt x="4027" y="155"/>
                  </a:lnTo>
                  <a:cubicBezTo>
                    <a:pt x="3992" y="169"/>
                    <a:pt x="3960" y="190"/>
                    <a:pt x="3929" y="211"/>
                  </a:cubicBezTo>
                  <a:cubicBezTo>
                    <a:pt x="3848" y="258"/>
                    <a:pt x="3755" y="315"/>
                    <a:pt x="3658" y="315"/>
                  </a:cubicBezTo>
                  <a:cubicBezTo>
                    <a:pt x="3632" y="315"/>
                    <a:pt x="3605" y="311"/>
                    <a:pt x="3578" y="302"/>
                  </a:cubicBezTo>
                  <a:cubicBezTo>
                    <a:pt x="3567" y="298"/>
                    <a:pt x="3555" y="297"/>
                    <a:pt x="3542" y="297"/>
                  </a:cubicBezTo>
                  <a:cubicBezTo>
                    <a:pt x="3429" y="297"/>
                    <a:pt x="3278" y="429"/>
                    <a:pt x="3155" y="536"/>
                  </a:cubicBezTo>
                  <a:cubicBezTo>
                    <a:pt x="3109" y="578"/>
                    <a:pt x="3064" y="617"/>
                    <a:pt x="3022" y="648"/>
                  </a:cubicBezTo>
                  <a:cubicBezTo>
                    <a:pt x="2971" y="690"/>
                    <a:pt x="2911" y="710"/>
                    <a:pt x="2850" y="710"/>
                  </a:cubicBezTo>
                  <a:cubicBezTo>
                    <a:pt x="2784" y="710"/>
                    <a:pt x="2718" y="687"/>
                    <a:pt x="2665" y="641"/>
                  </a:cubicBezTo>
                  <a:cubicBezTo>
                    <a:pt x="2584" y="564"/>
                    <a:pt x="2577" y="449"/>
                    <a:pt x="2647" y="351"/>
                  </a:cubicBezTo>
                  <a:cubicBezTo>
                    <a:pt x="2654" y="333"/>
                    <a:pt x="2665" y="319"/>
                    <a:pt x="2672" y="305"/>
                  </a:cubicBezTo>
                  <a:lnTo>
                    <a:pt x="2672" y="305"/>
                  </a:lnTo>
                  <a:cubicBezTo>
                    <a:pt x="2623" y="316"/>
                    <a:pt x="2577" y="330"/>
                    <a:pt x="2528" y="351"/>
                  </a:cubicBezTo>
                  <a:cubicBezTo>
                    <a:pt x="2476" y="369"/>
                    <a:pt x="2421" y="378"/>
                    <a:pt x="2367" y="378"/>
                  </a:cubicBezTo>
                  <a:cubicBezTo>
                    <a:pt x="2277" y="378"/>
                    <a:pt x="2189" y="352"/>
                    <a:pt x="2126" y="302"/>
                  </a:cubicBezTo>
                  <a:cubicBezTo>
                    <a:pt x="2059" y="253"/>
                    <a:pt x="2024" y="169"/>
                    <a:pt x="2038" y="85"/>
                  </a:cubicBezTo>
                  <a:cubicBezTo>
                    <a:pt x="2042" y="67"/>
                    <a:pt x="2038" y="53"/>
                    <a:pt x="2035" y="39"/>
                  </a:cubicBezTo>
                  <a:cubicBezTo>
                    <a:pt x="2002" y="42"/>
                    <a:pt x="1972" y="44"/>
                    <a:pt x="1942" y="44"/>
                  </a:cubicBezTo>
                  <a:cubicBezTo>
                    <a:pt x="1930" y="44"/>
                    <a:pt x="1917" y="44"/>
                    <a:pt x="1905" y="43"/>
                  </a:cubicBezTo>
                  <a:lnTo>
                    <a:pt x="1860" y="43"/>
                  </a:lnTo>
                  <a:lnTo>
                    <a:pt x="1849" y="39"/>
                  </a:lnTo>
                  <a:lnTo>
                    <a:pt x="1825" y="32"/>
                  </a:lnTo>
                  <a:lnTo>
                    <a:pt x="1821" y="32"/>
                  </a:lnTo>
                  <a:lnTo>
                    <a:pt x="1793" y="25"/>
                  </a:lnTo>
                  <a:lnTo>
                    <a:pt x="1790" y="25"/>
                  </a:lnTo>
                  <a:lnTo>
                    <a:pt x="1758" y="22"/>
                  </a:lnTo>
                  <a:lnTo>
                    <a:pt x="1755" y="22"/>
                  </a:lnTo>
                  <a:lnTo>
                    <a:pt x="1716" y="15"/>
                  </a:lnTo>
                  <a:lnTo>
                    <a:pt x="1709" y="15"/>
                  </a:lnTo>
                  <a:lnTo>
                    <a:pt x="1667" y="11"/>
                  </a:lnTo>
                  <a:lnTo>
                    <a:pt x="1618" y="8"/>
                  </a:lnTo>
                  <a:lnTo>
                    <a:pt x="1611" y="8"/>
                  </a:lnTo>
                  <a:lnTo>
                    <a:pt x="1562" y="4"/>
                  </a:lnTo>
                  <a:lnTo>
                    <a:pt x="1551" y="4"/>
                  </a:lnTo>
                  <a:lnTo>
                    <a:pt x="14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7" name="Google Shape;5894;p64">
              <a:extLst>
                <a:ext uri="{FF2B5EF4-FFF2-40B4-BE49-F238E27FC236}">
                  <a16:creationId xmlns:a16="http://schemas.microsoft.com/office/drawing/2014/main" id="{3D7FF8F6-FAF9-FD6B-12BC-4A3D15CC784F}"/>
                </a:ext>
              </a:extLst>
            </p:cNvPr>
            <p:cNvSpPr/>
            <p:nvPr/>
          </p:nvSpPr>
          <p:spPr>
            <a:xfrm>
              <a:off x="2158525" y="1622418"/>
              <a:ext cx="299" cy="1113"/>
            </a:xfrm>
            <a:custGeom>
              <a:avLst/>
              <a:gdLst/>
              <a:ahLst/>
              <a:cxnLst/>
              <a:rect l="l" t="t" r="r" b="b"/>
              <a:pathLst>
                <a:path w="22" h="82" extrusionOk="0">
                  <a:moveTo>
                    <a:pt x="21" y="1"/>
                  </a:moveTo>
                  <a:cubicBezTo>
                    <a:pt x="19" y="16"/>
                    <a:pt x="16" y="30"/>
                    <a:pt x="13" y="45"/>
                  </a:cubicBezTo>
                  <a:lnTo>
                    <a:pt x="13" y="45"/>
                  </a:lnTo>
                  <a:cubicBezTo>
                    <a:pt x="16" y="31"/>
                    <a:pt x="19" y="16"/>
                    <a:pt x="21" y="1"/>
                  </a:cubicBezTo>
                  <a:close/>
                  <a:moveTo>
                    <a:pt x="13" y="45"/>
                  </a:moveTo>
                  <a:lnTo>
                    <a:pt x="13" y="45"/>
                  </a:lnTo>
                  <a:cubicBezTo>
                    <a:pt x="10" y="54"/>
                    <a:pt x="8" y="62"/>
                    <a:pt x="5" y="70"/>
                  </a:cubicBezTo>
                  <a:lnTo>
                    <a:pt x="5" y="70"/>
                  </a:lnTo>
                  <a:lnTo>
                    <a:pt x="7" y="64"/>
                  </a:lnTo>
                  <a:cubicBezTo>
                    <a:pt x="9" y="58"/>
                    <a:pt x="11" y="51"/>
                    <a:pt x="13" y="45"/>
                  </a:cubicBezTo>
                  <a:close/>
                  <a:moveTo>
                    <a:pt x="5" y="70"/>
                  </a:moveTo>
                  <a:lnTo>
                    <a:pt x="0" y="81"/>
                  </a:lnTo>
                  <a:cubicBezTo>
                    <a:pt x="2" y="78"/>
                    <a:pt x="3" y="74"/>
                    <a:pt x="5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8" name="Google Shape;5895;p64">
              <a:extLst>
                <a:ext uri="{FF2B5EF4-FFF2-40B4-BE49-F238E27FC236}">
                  <a16:creationId xmlns:a16="http://schemas.microsoft.com/office/drawing/2014/main" id="{421A847C-E49C-F93C-77A6-B081D03086D9}"/>
                </a:ext>
              </a:extLst>
            </p:cNvPr>
            <p:cNvSpPr/>
            <p:nvPr/>
          </p:nvSpPr>
          <p:spPr>
            <a:xfrm>
              <a:off x="2158620" y="16214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9" name="Google Shape;5896;p64">
              <a:extLst>
                <a:ext uri="{FF2B5EF4-FFF2-40B4-BE49-F238E27FC236}">
                  <a16:creationId xmlns:a16="http://schemas.microsoft.com/office/drawing/2014/main" id="{00165433-CF3B-6F20-EF52-1535A17CA547}"/>
                </a:ext>
              </a:extLst>
            </p:cNvPr>
            <p:cNvSpPr/>
            <p:nvPr/>
          </p:nvSpPr>
          <p:spPr>
            <a:xfrm>
              <a:off x="2158756" y="16220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11"/>
                  </a:lnTo>
                  <a:cubicBezTo>
                    <a:pt x="4" y="7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0" name="Google Shape;5897;p64">
              <a:extLst>
                <a:ext uri="{FF2B5EF4-FFF2-40B4-BE49-F238E27FC236}">
                  <a16:creationId xmlns:a16="http://schemas.microsoft.com/office/drawing/2014/main" id="{6BA12D13-B5B0-00C0-B881-04FF48E272D2}"/>
                </a:ext>
              </a:extLst>
            </p:cNvPr>
            <p:cNvSpPr/>
            <p:nvPr/>
          </p:nvSpPr>
          <p:spPr>
            <a:xfrm>
              <a:off x="2153433" y="159584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1" name="Google Shape;5898;p64">
              <a:extLst>
                <a:ext uri="{FF2B5EF4-FFF2-40B4-BE49-F238E27FC236}">
                  <a16:creationId xmlns:a16="http://schemas.microsoft.com/office/drawing/2014/main" id="{A01E79D0-7794-E602-241A-3DA1D740D5A0}"/>
                </a:ext>
              </a:extLst>
            </p:cNvPr>
            <p:cNvSpPr/>
            <p:nvPr/>
          </p:nvSpPr>
          <p:spPr>
            <a:xfrm>
              <a:off x="2158756" y="162175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2" name="Google Shape;5899;p64">
              <a:extLst>
                <a:ext uri="{FF2B5EF4-FFF2-40B4-BE49-F238E27FC236}">
                  <a16:creationId xmlns:a16="http://schemas.microsoft.com/office/drawing/2014/main" id="{CDB182A5-876F-331E-6573-1404AE8D4DFB}"/>
                </a:ext>
              </a:extLst>
            </p:cNvPr>
            <p:cNvSpPr/>
            <p:nvPr/>
          </p:nvSpPr>
          <p:spPr>
            <a:xfrm>
              <a:off x="2153433" y="159622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32"/>
                  </a:moveTo>
                  <a:cubicBezTo>
                    <a:pt x="4" y="22"/>
                    <a:pt x="1" y="11"/>
                    <a:pt x="1" y="1"/>
                  </a:cubicBezTo>
                  <a:cubicBezTo>
                    <a:pt x="1" y="11"/>
                    <a:pt x="4" y="22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3" name="Google Shape;5900;p64">
              <a:extLst>
                <a:ext uri="{FF2B5EF4-FFF2-40B4-BE49-F238E27FC236}">
                  <a16:creationId xmlns:a16="http://schemas.microsoft.com/office/drawing/2014/main" id="{2F480D21-78C8-4B89-3EB8-E2C738E78EED}"/>
                </a:ext>
              </a:extLst>
            </p:cNvPr>
            <p:cNvSpPr/>
            <p:nvPr/>
          </p:nvSpPr>
          <p:spPr>
            <a:xfrm>
              <a:off x="2147160" y="1646763"/>
              <a:ext cx="3775" cy="2390"/>
            </a:xfrm>
            <a:custGeom>
              <a:avLst/>
              <a:gdLst/>
              <a:ahLst/>
              <a:cxnLst/>
              <a:rect l="l" t="t" r="r" b="b"/>
              <a:pathLst>
                <a:path w="278" h="176" extrusionOk="0">
                  <a:moveTo>
                    <a:pt x="277" y="0"/>
                  </a:moveTo>
                  <a:cubicBezTo>
                    <a:pt x="249" y="14"/>
                    <a:pt x="218" y="28"/>
                    <a:pt x="190" y="42"/>
                  </a:cubicBezTo>
                  <a:cubicBezTo>
                    <a:pt x="113" y="77"/>
                    <a:pt x="36" y="116"/>
                    <a:pt x="1" y="175"/>
                  </a:cubicBezTo>
                  <a:cubicBezTo>
                    <a:pt x="39" y="116"/>
                    <a:pt x="116" y="77"/>
                    <a:pt x="193" y="42"/>
                  </a:cubicBezTo>
                  <a:cubicBezTo>
                    <a:pt x="221" y="28"/>
                    <a:pt x="249" y="14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4" name="Google Shape;5901;p64">
              <a:extLst>
                <a:ext uri="{FF2B5EF4-FFF2-40B4-BE49-F238E27FC236}">
                  <a16:creationId xmlns:a16="http://schemas.microsoft.com/office/drawing/2014/main" id="{FB8E1871-329C-77ED-F52E-28E8CE5D34C0}"/>
                </a:ext>
              </a:extLst>
            </p:cNvPr>
            <p:cNvSpPr/>
            <p:nvPr/>
          </p:nvSpPr>
          <p:spPr>
            <a:xfrm>
              <a:off x="2121445" y="16570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5" name="Google Shape;5902;p64">
              <a:extLst>
                <a:ext uri="{FF2B5EF4-FFF2-40B4-BE49-F238E27FC236}">
                  <a16:creationId xmlns:a16="http://schemas.microsoft.com/office/drawing/2014/main" id="{10B8890B-167D-4FDD-60F8-1D634F69E99F}"/>
                </a:ext>
              </a:extLst>
            </p:cNvPr>
            <p:cNvSpPr/>
            <p:nvPr/>
          </p:nvSpPr>
          <p:spPr>
            <a:xfrm>
              <a:off x="2120073" y="1657123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cubicBezTo>
                    <a:pt x="39" y="4"/>
                    <a:pt x="14" y="14"/>
                    <a:pt x="0" y="35"/>
                  </a:cubicBezTo>
                  <a:cubicBezTo>
                    <a:pt x="14" y="18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6" name="Google Shape;5903;p64">
              <a:extLst>
                <a:ext uri="{FF2B5EF4-FFF2-40B4-BE49-F238E27FC236}">
                  <a16:creationId xmlns:a16="http://schemas.microsoft.com/office/drawing/2014/main" id="{AA9AEC23-8AB3-6807-93B6-2492DDE88056}"/>
                </a:ext>
              </a:extLst>
            </p:cNvPr>
            <p:cNvSpPr/>
            <p:nvPr/>
          </p:nvSpPr>
          <p:spPr>
            <a:xfrm>
              <a:off x="2121159" y="16570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7" name="Google Shape;5904;p64">
              <a:extLst>
                <a:ext uri="{FF2B5EF4-FFF2-40B4-BE49-F238E27FC236}">
                  <a16:creationId xmlns:a16="http://schemas.microsoft.com/office/drawing/2014/main" id="{512AA28D-FEE1-2102-CB85-72CDA87370E9}"/>
                </a:ext>
              </a:extLst>
            </p:cNvPr>
            <p:cNvSpPr/>
            <p:nvPr/>
          </p:nvSpPr>
          <p:spPr>
            <a:xfrm>
              <a:off x="2122069" y="165712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8" name="Google Shape;5905;p64">
              <a:extLst>
                <a:ext uri="{FF2B5EF4-FFF2-40B4-BE49-F238E27FC236}">
                  <a16:creationId xmlns:a16="http://schemas.microsoft.com/office/drawing/2014/main" id="{43E67E51-135F-994D-82D6-1CEBDA2F0279}"/>
                </a:ext>
              </a:extLst>
            </p:cNvPr>
            <p:cNvSpPr/>
            <p:nvPr/>
          </p:nvSpPr>
          <p:spPr>
            <a:xfrm>
              <a:off x="2123020" y="1657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9" name="Google Shape;5906;p64">
              <a:extLst>
                <a:ext uri="{FF2B5EF4-FFF2-40B4-BE49-F238E27FC236}">
                  <a16:creationId xmlns:a16="http://schemas.microsoft.com/office/drawing/2014/main" id="{7EB4164F-F05C-5F45-C89C-46F0A80CAE3F}"/>
                </a:ext>
              </a:extLst>
            </p:cNvPr>
            <p:cNvSpPr/>
            <p:nvPr/>
          </p:nvSpPr>
          <p:spPr>
            <a:xfrm>
              <a:off x="2122680" y="165740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0" name="Google Shape;5907;p64">
              <a:extLst>
                <a:ext uri="{FF2B5EF4-FFF2-40B4-BE49-F238E27FC236}">
                  <a16:creationId xmlns:a16="http://schemas.microsoft.com/office/drawing/2014/main" id="{2628CE50-AE63-A6F4-C84B-A970433ECB87}"/>
                </a:ext>
              </a:extLst>
            </p:cNvPr>
            <p:cNvSpPr/>
            <p:nvPr/>
          </p:nvSpPr>
          <p:spPr>
            <a:xfrm>
              <a:off x="2122395" y="16572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1"/>
                  </a:moveTo>
                  <a:lnTo>
                    <a:pt x="1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1" name="Google Shape;5908;p64">
              <a:extLst>
                <a:ext uri="{FF2B5EF4-FFF2-40B4-BE49-F238E27FC236}">
                  <a16:creationId xmlns:a16="http://schemas.microsoft.com/office/drawing/2014/main" id="{32C1F44B-B043-CAB3-F291-22DC9B9450C3}"/>
                </a:ext>
              </a:extLst>
            </p:cNvPr>
            <p:cNvSpPr/>
            <p:nvPr/>
          </p:nvSpPr>
          <p:spPr>
            <a:xfrm>
              <a:off x="2121730" y="165706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2" name="Google Shape;5909;p64">
              <a:extLst>
                <a:ext uri="{FF2B5EF4-FFF2-40B4-BE49-F238E27FC236}">
                  <a16:creationId xmlns:a16="http://schemas.microsoft.com/office/drawing/2014/main" id="{8059CCEA-1E8F-80FC-F4AE-119AA9ED9EF7}"/>
                </a:ext>
              </a:extLst>
            </p:cNvPr>
            <p:cNvSpPr/>
            <p:nvPr/>
          </p:nvSpPr>
          <p:spPr>
            <a:xfrm>
              <a:off x="2123305" y="1657788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0"/>
                  </a:moveTo>
                  <a:lnTo>
                    <a:pt x="3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3" name="Google Shape;5910;p64">
              <a:extLst>
                <a:ext uri="{FF2B5EF4-FFF2-40B4-BE49-F238E27FC236}">
                  <a16:creationId xmlns:a16="http://schemas.microsoft.com/office/drawing/2014/main" id="{35F8A53F-C5F6-53B7-19C9-E74A5643B6B0}"/>
                </a:ext>
              </a:extLst>
            </p:cNvPr>
            <p:cNvSpPr/>
            <p:nvPr/>
          </p:nvSpPr>
          <p:spPr>
            <a:xfrm>
              <a:off x="2146454" y="164343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4" name="Google Shape;5911;p64">
              <a:extLst>
                <a:ext uri="{FF2B5EF4-FFF2-40B4-BE49-F238E27FC236}">
                  <a16:creationId xmlns:a16="http://schemas.microsoft.com/office/drawing/2014/main" id="{13984616-353A-98EB-2ED7-62908517EF2B}"/>
                </a:ext>
              </a:extLst>
            </p:cNvPr>
            <p:cNvSpPr/>
            <p:nvPr/>
          </p:nvSpPr>
          <p:spPr>
            <a:xfrm>
              <a:off x="2146780" y="164366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5" name="Google Shape;5912;p64">
              <a:extLst>
                <a:ext uri="{FF2B5EF4-FFF2-40B4-BE49-F238E27FC236}">
                  <a16:creationId xmlns:a16="http://schemas.microsoft.com/office/drawing/2014/main" id="{7F259EB4-A78F-14B5-84FE-D5391A463A80}"/>
                </a:ext>
              </a:extLst>
            </p:cNvPr>
            <p:cNvSpPr/>
            <p:nvPr/>
          </p:nvSpPr>
          <p:spPr>
            <a:xfrm>
              <a:off x="2150867" y="16467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6" name="Google Shape;5913;p64">
              <a:extLst>
                <a:ext uri="{FF2B5EF4-FFF2-40B4-BE49-F238E27FC236}">
                  <a16:creationId xmlns:a16="http://schemas.microsoft.com/office/drawing/2014/main" id="{98C148C4-0E37-C9DB-CDF7-57DF7FD402AC}"/>
                </a:ext>
              </a:extLst>
            </p:cNvPr>
            <p:cNvSpPr/>
            <p:nvPr/>
          </p:nvSpPr>
          <p:spPr>
            <a:xfrm>
              <a:off x="2158280" y="1623559"/>
              <a:ext cx="258" cy="543"/>
            </a:xfrm>
            <a:custGeom>
              <a:avLst/>
              <a:gdLst/>
              <a:ahLst/>
              <a:cxnLst/>
              <a:rect l="l" t="t" r="r" b="b"/>
              <a:pathLst>
                <a:path w="19" h="40" extrusionOk="0">
                  <a:moveTo>
                    <a:pt x="18" y="1"/>
                  </a:moveTo>
                  <a:lnTo>
                    <a:pt x="15" y="12"/>
                  </a:lnTo>
                  <a:lnTo>
                    <a:pt x="15" y="12"/>
                  </a:lnTo>
                  <a:cubicBezTo>
                    <a:pt x="16" y="8"/>
                    <a:pt x="17" y="5"/>
                    <a:pt x="18" y="1"/>
                  </a:cubicBezTo>
                  <a:close/>
                  <a:moveTo>
                    <a:pt x="15" y="12"/>
                  </a:moveTo>
                  <a:cubicBezTo>
                    <a:pt x="12" y="18"/>
                    <a:pt x="9" y="23"/>
                    <a:pt x="6" y="29"/>
                  </a:cubicBezTo>
                  <a:lnTo>
                    <a:pt x="6" y="29"/>
                  </a:lnTo>
                  <a:cubicBezTo>
                    <a:pt x="8" y="26"/>
                    <a:pt x="10" y="23"/>
                    <a:pt x="11" y="22"/>
                  </a:cubicBezTo>
                  <a:lnTo>
                    <a:pt x="15" y="12"/>
                  </a:lnTo>
                  <a:close/>
                  <a:moveTo>
                    <a:pt x="6" y="29"/>
                  </a:moveTo>
                  <a:cubicBezTo>
                    <a:pt x="4" y="32"/>
                    <a:pt x="3" y="36"/>
                    <a:pt x="1" y="39"/>
                  </a:cubicBezTo>
                  <a:cubicBezTo>
                    <a:pt x="3" y="36"/>
                    <a:pt x="4" y="32"/>
                    <a:pt x="6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7" name="Google Shape;5914;p64">
              <a:extLst>
                <a:ext uri="{FF2B5EF4-FFF2-40B4-BE49-F238E27FC236}">
                  <a16:creationId xmlns:a16="http://schemas.microsoft.com/office/drawing/2014/main" id="{C933982E-4BC9-581D-D146-B3725D3910AF}"/>
                </a:ext>
              </a:extLst>
            </p:cNvPr>
            <p:cNvSpPr/>
            <p:nvPr/>
          </p:nvSpPr>
          <p:spPr>
            <a:xfrm>
              <a:off x="2150731" y="16465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8" name="Google Shape;5915;p64">
              <a:extLst>
                <a:ext uri="{FF2B5EF4-FFF2-40B4-BE49-F238E27FC236}">
                  <a16:creationId xmlns:a16="http://schemas.microsoft.com/office/drawing/2014/main" id="{D3558056-29EB-ACBA-6C46-37BB23EC99D1}"/>
                </a:ext>
              </a:extLst>
            </p:cNvPr>
            <p:cNvSpPr/>
            <p:nvPr/>
          </p:nvSpPr>
          <p:spPr>
            <a:xfrm>
              <a:off x="2157859" y="162399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9" name="Google Shape;5916;p64">
              <a:extLst>
                <a:ext uri="{FF2B5EF4-FFF2-40B4-BE49-F238E27FC236}">
                  <a16:creationId xmlns:a16="http://schemas.microsoft.com/office/drawing/2014/main" id="{3F07DE8C-8778-B408-2C78-8CCC97AD3D51}"/>
                </a:ext>
              </a:extLst>
            </p:cNvPr>
            <p:cNvSpPr/>
            <p:nvPr/>
          </p:nvSpPr>
          <p:spPr>
            <a:xfrm>
              <a:off x="2158090" y="162403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0" name="Google Shape;5917;p64">
              <a:extLst>
                <a:ext uri="{FF2B5EF4-FFF2-40B4-BE49-F238E27FC236}">
                  <a16:creationId xmlns:a16="http://schemas.microsoft.com/office/drawing/2014/main" id="{4F0A0869-B733-F76E-F417-2F1CBB0B4A04}"/>
                </a:ext>
              </a:extLst>
            </p:cNvPr>
            <p:cNvSpPr/>
            <p:nvPr/>
          </p:nvSpPr>
          <p:spPr>
            <a:xfrm>
              <a:off x="2147310" y="164404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1" name="Google Shape;5918;p64">
              <a:extLst>
                <a:ext uri="{FF2B5EF4-FFF2-40B4-BE49-F238E27FC236}">
                  <a16:creationId xmlns:a16="http://schemas.microsoft.com/office/drawing/2014/main" id="{30C25561-86CD-D0FE-EE1C-EBBB11445D7B}"/>
                </a:ext>
              </a:extLst>
            </p:cNvPr>
            <p:cNvSpPr/>
            <p:nvPr/>
          </p:nvSpPr>
          <p:spPr>
            <a:xfrm>
              <a:off x="2147785" y="164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2" name="Google Shape;5919;p64">
              <a:extLst>
                <a:ext uri="{FF2B5EF4-FFF2-40B4-BE49-F238E27FC236}">
                  <a16:creationId xmlns:a16="http://schemas.microsoft.com/office/drawing/2014/main" id="{31C30AF8-BF47-7D29-4F57-F80D699DAE0B}"/>
                </a:ext>
              </a:extLst>
            </p:cNvPr>
            <p:cNvSpPr/>
            <p:nvPr/>
          </p:nvSpPr>
          <p:spPr>
            <a:xfrm>
              <a:off x="2145409" y="1642717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3" name="Google Shape;5920;p64">
              <a:extLst>
                <a:ext uri="{FF2B5EF4-FFF2-40B4-BE49-F238E27FC236}">
                  <a16:creationId xmlns:a16="http://schemas.microsoft.com/office/drawing/2014/main" id="{FE1D522F-9178-4770-9EB5-F1858AFB3756}"/>
                </a:ext>
              </a:extLst>
            </p:cNvPr>
            <p:cNvSpPr/>
            <p:nvPr/>
          </p:nvSpPr>
          <p:spPr>
            <a:xfrm>
              <a:off x="2145069" y="164248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4" name="Google Shape;5921;p64">
              <a:extLst>
                <a:ext uri="{FF2B5EF4-FFF2-40B4-BE49-F238E27FC236}">
                  <a16:creationId xmlns:a16="http://schemas.microsoft.com/office/drawing/2014/main" id="{456AA3C2-12D9-1718-316B-9469B99CC0E5}"/>
                </a:ext>
              </a:extLst>
            </p:cNvPr>
            <p:cNvSpPr/>
            <p:nvPr/>
          </p:nvSpPr>
          <p:spPr>
            <a:xfrm>
              <a:off x="2158430" y="1623274"/>
              <a:ext cx="204" cy="543"/>
            </a:xfrm>
            <a:custGeom>
              <a:avLst/>
              <a:gdLst/>
              <a:ahLst/>
              <a:cxnLst/>
              <a:rect l="l" t="t" r="r" b="b"/>
              <a:pathLst>
                <a:path w="15" h="40" extrusionOk="0">
                  <a:moveTo>
                    <a:pt x="14" y="1"/>
                  </a:moveTo>
                  <a:lnTo>
                    <a:pt x="7" y="18"/>
                  </a:lnTo>
                  <a:lnTo>
                    <a:pt x="7" y="22"/>
                  </a:lnTo>
                  <a:lnTo>
                    <a:pt x="0" y="39"/>
                  </a:lnTo>
                  <a:cubicBezTo>
                    <a:pt x="7" y="25"/>
                    <a:pt x="11" y="15"/>
                    <a:pt x="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5" name="Google Shape;5922;p64">
              <a:extLst>
                <a:ext uri="{FF2B5EF4-FFF2-40B4-BE49-F238E27FC236}">
                  <a16:creationId xmlns:a16="http://schemas.microsoft.com/office/drawing/2014/main" id="{6562BC0F-9A83-F2FB-2C69-EC5937DFAEEA}"/>
                </a:ext>
              </a:extLst>
            </p:cNvPr>
            <p:cNvSpPr/>
            <p:nvPr/>
          </p:nvSpPr>
          <p:spPr>
            <a:xfrm>
              <a:off x="2150921" y="16467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6" name="Google Shape;5923;p64">
              <a:extLst>
                <a:ext uri="{FF2B5EF4-FFF2-40B4-BE49-F238E27FC236}">
                  <a16:creationId xmlns:a16="http://schemas.microsoft.com/office/drawing/2014/main" id="{2E0D2510-3CF9-C5AF-3049-77D02DA03B04}"/>
                </a:ext>
              </a:extLst>
            </p:cNvPr>
            <p:cNvSpPr/>
            <p:nvPr/>
          </p:nvSpPr>
          <p:spPr>
            <a:xfrm>
              <a:off x="2102911" y="1600219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7" y="36"/>
                  </a:moveTo>
                  <a:cubicBezTo>
                    <a:pt x="7" y="25"/>
                    <a:pt x="4" y="15"/>
                    <a:pt x="0" y="1"/>
                  </a:cubicBezTo>
                  <a:cubicBezTo>
                    <a:pt x="4" y="15"/>
                    <a:pt x="7" y="25"/>
                    <a:pt x="7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7" name="Google Shape;5924;p64">
              <a:extLst>
                <a:ext uri="{FF2B5EF4-FFF2-40B4-BE49-F238E27FC236}">
                  <a16:creationId xmlns:a16="http://schemas.microsoft.com/office/drawing/2014/main" id="{C5332C0E-1DEA-180B-F8C6-C68F475B7B86}"/>
                </a:ext>
              </a:extLst>
            </p:cNvPr>
            <p:cNvSpPr/>
            <p:nvPr/>
          </p:nvSpPr>
          <p:spPr>
            <a:xfrm>
              <a:off x="2103101" y="1604741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0" y="4"/>
                    <a:pt x="0" y="7"/>
                    <a:pt x="0" y="11"/>
                  </a:cubicBezTo>
                  <a:cubicBezTo>
                    <a:pt x="0" y="7"/>
                    <a:pt x="0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8" name="Google Shape;5925;p64">
              <a:extLst>
                <a:ext uri="{FF2B5EF4-FFF2-40B4-BE49-F238E27FC236}">
                  <a16:creationId xmlns:a16="http://schemas.microsoft.com/office/drawing/2014/main" id="{AE9987A3-627D-2B03-4FCE-5C3F5535804D}"/>
                </a:ext>
              </a:extLst>
            </p:cNvPr>
            <p:cNvSpPr/>
            <p:nvPr/>
          </p:nvSpPr>
          <p:spPr>
            <a:xfrm>
              <a:off x="2103142" y="1601224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28"/>
                  </a:moveTo>
                  <a:cubicBezTo>
                    <a:pt x="4" y="18"/>
                    <a:pt x="1" y="7"/>
                    <a:pt x="1" y="0"/>
                  </a:cubicBezTo>
                  <a:cubicBezTo>
                    <a:pt x="1" y="7"/>
                    <a:pt x="4" y="18"/>
                    <a:pt x="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9" name="Google Shape;5926;p64">
              <a:extLst>
                <a:ext uri="{FF2B5EF4-FFF2-40B4-BE49-F238E27FC236}">
                  <a16:creationId xmlns:a16="http://schemas.microsoft.com/office/drawing/2014/main" id="{8384ED16-FD4A-C788-7D4E-EEFC84F0851A}"/>
                </a:ext>
              </a:extLst>
            </p:cNvPr>
            <p:cNvSpPr/>
            <p:nvPr/>
          </p:nvSpPr>
          <p:spPr>
            <a:xfrm>
              <a:off x="2103291" y="1602079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28"/>
                  </a:moveTo>
                  <a:cubicBezTo>
                    <a:pt x="0" y="18"/>
                    <a:pt x="0" y="11"/>
                    <a:pt x="0" y="0"/>
                  </a:cubicBezTo>
                  <a:cubicBezTo>
                    <a:pt x="0" y="7"/>
                    <a:pt x="0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0" name="Google Shape;5927;p64">
              <a:extLst>
                <a:ext uri="{FF2B5EF4-FFF2-40B4-BE49-F238E27FC236}">
                  <a16:creationId xmlns:a16="http://schemas.microsoft.com/office/drawing/2014/main" id="{152F5130-B8EB-06E8-1C34-B6ED0150EF27}"/>
                </a:ext>
              </a:extLst>
            </p:cNvPr>
            <p:cNvSpPr/>
            <p:nvPr/>
          </p:nvSpPr>
          <p:spPr>
            <a:xfrm>
              <a:off x="2103332" y="1602840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0"/>
                  </a:moveTo>
                  <a:lnTo>
                    <a:pt x="1" y="25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1" name="Google Shape;5928;p64">
              <a:extLst>
                <a:ext uri="{FF2B5EF4-FFF2-40B4-BE49-F238E27FC236}">
                  <a16:creationId xmlns:a16="http://schemas.microsoft.com/office/drawing/2014/main" id="{7B04F006-DBC4-F1CA-5EE3-7B50F9969795}"/>
                </a:ext>
              </a:extLst>
            </p:cNvPr>
            <p:cNvSpPr/>
            <p:nvPr/>
          </p:nvSpPr>
          <p:spPr>
            <a:xfrm>
              <a:off x="2103237" y="1604170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1" y="18"/>
                  </a:cubicBezTo>
                  <a:cubicBezTo>
                    <a:pt x="1" y="11"/>
                    <a:pt x="1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2" name="Google Shape;5929;p64">
              <a:extLst>
                <a:ext uri="{FF2B5EF4-FFF2-40B4-BE49-F238E27FC236}">
                  <a16:creationId xmlns:a16="http://schemas.microsoft.com/office/drawing/2014/main" id="{5FC28D1F-C942-927E-D5A3-F1C3747FA553}"/>
                </a:ext>
              </a:extLst>
            </p:cNvPr>
            <p:cNvSpPr/>
            <p:nvPr/>
          </p:nvSpPr>
          <p:spPr>
            <a:xfrm>
              <a:off x="2103332" y="160354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8"/>
                  </a:moveTo>
                  <a:lnTo>
                    <a:pt x="1" y="1"/>
                  </a:lnTo>
                  <a:cubicBezTo>
                    <a:pt x="1" y="8"/>
                    <a:pt x="1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3" name="Google Shape;5930;p64">
              <a:extLst>
                <a:ext uri="{FF2B5EF4-FFF2-40B4-BE49-F238E27FC236}">
                  <a16:creationId xmlns:a16="http://schemas.microsoft.com/office/drawing/2014/main" id="{A3091C6C-A548-96BA-D0BD-9D5169D56C53}"/>
                </a:ext>
              </a:extLst>
            </p:cNvPr>
            <p:cNvSpPr/>
            <p:nvPr/>
          </p:nvSpPr>
          <p:spPr>
            <a:xfrm>
              <a:off x="2095308" y="1620572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cubicBezTo>
                    <a:pt x="4" y="25"/>
                    <a:pt x="7" y="11"/>
                    <a:pt x="11" y="0"/>
                  </a:cubicBezTo>
                  <a:cubicBezTo>
                    <a:pt x="7" y="11"/>
                    <a:pt x="4" y="25"/>
                    <a:pt x="0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4" name="Google Shape;5931;p64">
              <a:extLst>
                <a:ext uri="{FF2B5EF4-FFF2-40B4-BE49-F238E27FC236}">
                  <a16:creationId xmlns:a16="http://schemas.microsoft.com/office/drawing/2014/main" id="{E11F093A-4786-DA7B-3777-E0AE68789424}"/>
                </a:ext>
              </a:extLst>
            </p:cNvPr>
            <p:cNvSpPr/>
            <p:nvPr/>
          </p:nvSpPr>
          <p:spPr>
            <a:xfrm>
              <a:off x="2095593" y="163406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5" name="Google Shape;5932;p64">
              <a:extLst>
                <a:ext uri="{FF2B5EF4-FFF2-40B4-BE49-F238E27FC236}">
                  <a16:creationId xmlns:a16="http://schemas.microsoft.com/office/drawing/2014/main" id="{17CED97C-11EC-637F-0D75-081088B332B8}"/>
                </a:ext>
              </a:extLst>
            </p:cNvPr>
            <p:cNvSpPr/>
            <p:nvPr/>
          </p:nvSpPr>
          <p:spPr>
            <a:xfrm>
              <a:off x="2095308" y="1633688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6" name="Google Shape;5933;p64">
              <a:extLst>
                <a:ext uri="{FF2B5EF4-FFF2-40B4-BE49-F238E27FC236}">
                  <a16:creationId xmlns:a16="http://schemas.microsoft.com/office/drawing/2014/main" id="{B0DA7B25-0393-20E6-EB03-08C43083000F}"/>
                </a:ext>
              </a:extLst>
            </p:cNvPr>
            <p:cNvSpPr/>
            <p:nvPr/>
          </p:nvSpPr>
          <p:spPr>
            <a:xfrm>
              <a:off x="2095159" y="1633443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7" name="Google Shape;5934;p64">
              <a:extLst>
                <a:ext uri="{FF2B5EF4-FFF2-40B4-BE49-F238E27FC236}">
                  <a16:creationId xmlns:a16="http://schemas.microsoft.com/office/drawing/2014/main" id="{C098EF9D-D12F-2366-FA0A-43F30E9D267E}"/>
                </a:ext>
              </a:extLst>
            </p:cNvPr>
            <p:cNvSpPr/>
            <p:nvPr/>
          </p:nvSpPr>
          <p:spPr>
            <a:xfrm>
              <a:off x="2097345" y="163896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8" name="Google Shape;5935;p64">
              <a:extLst>
                <a:ext uri="{FF2B5EF4-FFF2-40B4-BE49-F238E27FC236}">
                  <a16:creationId xmlns:a16="http://schemas.microsoft.com/office/drawing/2014/main" id="{86117980-9613-7383-A788-90B2BFE84E2F}"/>
                </a:ext>
              </a:extLst>
            </p:cNvPr>
            <p:cNvSpPr/>
            <p:nvPr/>
          </p:nvSpPr>
          <p:spPr>
            <a:xfrm>
              <a:off x="2096163" y="163505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lnTo>
                    <a:pt x="7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9" name="Google Shape;5936;p64">
              <a:extLst>
                <a:ext uri="{FF2B5EF4-FFF2-40B4-BE49-F238E27FC236}">
                  <a16:creationId xmlns:a16="http://schemas.microsoft.com/office/drawing/2014/main" id="{D33A092E-A69A-E965-157E-7499A1471A22}"/>
                </a:ext>
              </a:extLst>
            </p:cNvPr>
            <p:cNvSpPr/>
            <p:nvPr/>
          </p:nvSpPr>
          <p:spPr>
            <a:xfrm>
              <a:off x="2096014" y="16347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0" name="Google Shape;5937;p64">
              <a:extLst>
                <a:ext uri="{FF2B5EF4-FFF2-40B4-BE49-F238E27FC236}">
                  <a16:creationId xmlns:a16="http://schemas.microsoft.com/office/drawing/2014/main" id="{63A6EC67-27ED-720A-5DAA-452ACE123B24}"/>
                </a:ext>
              </a:extLst>
            </p:cNvPr>
            <p:cNvSpPr/>
            <p:nvPr/>
          </p:nvSpPr>
          <p:spPr>
            <a:xfrm>
              <a:off x="2097249" y="1638345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1" name="Google Shape;5938;p64">
              <a:extLst>
                <a:ext uri="{FF2B5EF4-FFF2-40B4-BE49-F238E27FC236}">
                  <a16:creationId xmlns:a16="http://schemas.microsoft.com/office/drawing/2014/main" id="{FBE825A8-A921-C62A-D32C-3A0734CAAEAC}"/>
                </a:ext>
              </a:extLst>
            </p:cNvPr>
            <p:cNvSpPr/>
            <p:nvPr/>
          </p:nvSpPr>
          <p:spPr>
            <a:xfrm>
              <a:off x="2097059" y="163729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2" name="Google Shape;5939;p64">
              <a:extLst>
                <a:ext uri="{FF2B5EF4-FFF2-40B4-BE49-F238E27FC236}">
                  <a16:creationId xmlns:a16="http://schemas.microsoft.com/office/drawing/2014/main" id="{EC781C54-3F9F-C59E-0B97-BE15CA287848}"/>
                </a:ext>
              </a:extLst>
            </p:cNvPr>
            <p:cNvSpPr/>
            <p:nvPr/>
          </p:nvSpPr>
          <p:spPr>
            <a:xfrm>
              <a:off x="2096774" y="1636444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3" name="Google Shape;5940;p64">
              <a:extLst>
                <a:ext uri="{FF2B5EF4-FFF2-40B4-BE49-F238E27FC236}">
                  <a16:creationId xmlns:a16="http://schemas.microsoft.com/office/drawing/2014/main" id="{4A782585-FBED-3E8C-C69B-96AC76178D34}"/>
                </a:ext>
              </a:extLst>
            </p:cNvPr>
            <p:cNvSpPr/>
            <p:nvPr/>
          </p:nvSpPr>
          <p:spPr>
            <a:xfrm>
              <a:off x="2096639" y="163600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4" name="Google Shape;5941;p64">
              <a:extLst>
                <a:ext uri="{FF2B5EF4-FFF2-40B4-BE49-F238E27FC236}">
                  <a16:creationId xmlns:a16="http://schemas.microsoft.com/office/drawing/2014/main" id="{E9327493-CD1B-65C1-7BAC-0DAF34245CA0}"/>
                </a:ext>
              </a:extLst>
            </p:cNvPr>
            <p:cNvSpPr/>
            <p:nvPr/>
          </p:nvSpPr>
          <p:spPr>
            <a:xfrm>
              <a:off x="2097154" y="1637775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5" name="Google Shape;5942;p64">
              <a:extLst>
                <a:ext uri="{FF2B5EF4-FFF2-40B4-BE49-F238E27FC236}">
                  <a16:creationId xmlns:a16="http://schemas.microsoft.com/office/drawing/2014/main" id="{F36C8A27-8EA4-76A2-D68B-AF2EBDA61F32}"/>
                </a:ext>
              </a:extLst>
            </p:cNvPr>
            <p:cNvSpPr/>
            <p:nvPr/>
          </p:nvSpPr>
          <p:spPr>
            <a:xfrm>
              <a:off x="2096924" y="163682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0"/>
                  </a:moveTo>
                  <a:lnTo>
                    <a:pt x="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6" name="Google Shape;5943;p64">
              <a:extLst>
                <a:ext uri="{FF2B5EF4-FFF2-40B4-BE49-F238E27FC236}">
                  <a16:creationId xmlns:a16="http://schemas.microsoft.com/office/drawing/2014/main" id="{261BCE3C-2A3E-0C93-7653-488570821961}"/>
                </a:ext>
              </a:extLst>
            </p:cNvPr>
            <p:cNvSpPr/>
            <p:nvPr/>
          </p:nvSpPr>
          <p:spPr>
            <a:xfrm>
              <a:off x="2096353" y="163534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7" name="Google Shape;5944;p64">
              <a:extLst>
                <a:ext uri="{FF2B5EF4-FFF2-40B4-BE49-F238E27FC236}">
                  <a16:creationId xmlns:a16="http://schemas.microsoft.com/office/drawing/2014/main" id="{74897161-8660-02F0-7B5A-955F33C76F95}"/>
                </a:ext>
              </a:extLst>
            </p:cNvPr>
            <p:cNvSpPr/>
            <p:nvPr/>
          </p:nvSpPr>
          <p:spPr>
            <a:xfrm>
              <a:off x="2096489" y="1635724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8" name="Google Shape;5945;p64">
              <a:extLst>
                <a:ext uri="{FF2B5EF4-FFF2-40B4-BE49-F238E27FC236}">
                  <a16:creationId xmlns:a16="http://schemas.microsoft.com/office/drawing/2014/main" id="{906C1B74-C955-E25C-ABCF-E7163FF4120F}"/>
                </a:ext>
              </a:extLst>
            </p:cNvPr>
            <p:cNvSpPr/>
            <p:nvPr/>
          </p:nvSpPr>
          <p:spPr>
            <a:xfrm>
              <a:off x="2095878" y="163454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9" name="Google Shape;5946;p64">
              <a:extLst>
                <a:ext uri="{FF2B5EF4-FFF2-40B4-BE49-F238E27FC236}">
                  <a16:creationId xmlns:a16="http://schemas.microsoft.com/office/drawing/2014/main" id="{A7A47E85-EFE5-67E0-2F2C-9FD1E8E46CF7}"/>
                </a:ext>
              </a:extLst>
            </p:cNvPr>
            <p:cNvSpPr/>
            <p:nvPr/>
          </p:nvSpPr>
          <p:spPr>
            <a:xfrm>
              <a:off x="2095729" y="163429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0" name="Google Shape;5947;p64">
              <a:extLst>
                <a:ext uri="{FF2B5EF4-FFF2-40B4-BE49-F238E27FC236}">
                  <a16:creationId xmlns:a16="http://schemas.microsoft.com/office/drawing/2014/main" id="{8AA045EF-F70D-17A5-56CB-6F4C4F5A752B}"/>
                </a:ext>
              </a:extLst>
            </p:cNvPr>
            <p:cNvSpPr/>
            <p:nvPr/>
          </p:nvSpPr>
          <p:spPr>
            <a:xfrm>
              <a:off x="2095254" y="16329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1" name="Google Shape;5948;p64">
              <a:extLst>
                <a:ext uri="{FF2B5EF4-FFF2-40B4-BE49-F238E27FC236}">
                  <a16:creationId xmlns:a16="http://schemas.microsoft.com/office/drawing/2014/main" id="{04A579F6-5550-9F19-BFD2-184DDAEB01FF}"/>
                </a:ext>
              </a:extLst>
            </p:cNvPr>
            <p:cNvSpPr/>
            <p:nvPr/>
          </p:nvSpPr>
          <p:spPr>
            <a:xfrm>
              <a:off x="2095064" y="1633063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4"/>
                    <a:pt x="3" y="9"/>
                    <a:pt x="1" y="14"/>
                  </a:cubicBezTo>
                  <a:lnTo>
                    <a:pt x="1" y="14"/>
                  </a:lnTo>
                  <a:cubicBezTo>
                    <a:pt x="5" y="10"/>
                    <a:pt x="8" y="4"/>
                    <a:pt x="11" y="1"/>
                  </a:cubicBezTo>
                  <a:close/>
                  <a:moveTo>
                    <a:pt x="1" y="14"/>
                  </a:moveTo>
                  <a:lnTo>
                    <a:pt x="1" y="14"/>
                  </a:lnTo>
                  <a:cubicBezTo>
                    <a:pt x="1" y="14"/>
                    <a:pt x="1" y="15"/>
                    <a:pt x="1" y="15"/>
                  </a:cubicBezTo>
                  <a:lnTo>
                    <a:pt x="1" y="18"/>
                  </a:lnTo>
                  <a:cubicBezTo>
                    <a:pt x="1" y="17"/>
                    <a:pt x="1" y="15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2" name="Google Shape;5949;p64">
              <a:extLst>
                <a:ext uri="{FF2B5EF4-FFF2-40B4-BE49-F238E27FC236}">
                  <a16:creationId xmlns:a16="http://schemas.microsoft.com/office/drawing/2014/main" id="{165CE58B-BB3B-DE62-71B7-74DC88D78965}"/>
                </a:ext>
              </a:extLst>
            </p:cNvPr>
            <p:cNvSpPr/>
            <p:nvPr/>
          </p:nvSpPr>
          <p:spPr>
            <a:xfrm>
              <a:off x="2094588" y="1626274"/>
              <a:ext cx="964" cy="1860"/>
            </a:xfrm>
            <a:custGeom>
              <a:avLst/>
              <a:gdLst/>
              <a:ahLst/>
              <a:cxnLst/>
              <a:rect l="l" t="t" r="r" b="b"/>
              <a:pathLst>
                <a:path w="71" h="137" extrusionOk="0">
                  <a:moveTo>
                    <a:pt x="71" y="137"/>
                  </a:moveTo>
                  <a:cubicBezTo>
                    <a:pt x="46" y="95"/>
                    <a:pt x="1" y="28"/>
                    <a:pt x="4" y="0"/>
                  </a:cubicBezTo>
                  <a:lnTo>
                    <a:pt x="4" y="0"/>
                  </a:lnTo>
                  <a:cubicBezTo>
                    <a:pt x="1" y="28"/>
                    <a:pt x="46" y="95"/>
                    <a:pt x="71" y="1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3" name="Google Shape;5950;p64">
              <a:extLst>
                <a:ext uri="{FF2B5EF4-FFF2-40B4-BE49-F238E27FC236}">
                  <a16:creationId xmlns:a16="http://schemas.microsoft.com/office/drawing/2014/main" id="{16D8F384-AF3B-5A30-D7AA-3C2908032104}"/>
                </a:ext>
              </a:extLst>
            </p:cNvPr>
            <p:cNvSpPr/>
            <p:nvPr/>
          </p:nvSpPr>
          <p:spPr>
            <a:xfrm>
              <a:off x="2095064" y="16333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4" name="Google Shape;5951;p64">
              <a:extLst>
                <a:ext uri="{FF2B5EF4-FFF2-40B4-BE49-F238E27FC236}">
                  <a16:creationId xmlns:a16="http://schemas.microsoft.com/office/drawing/2014/main" id="{B8F1E94E-F225-4088-CF31-9F19243E6CA9}"/>
                </a:ext>
              </a:extLst>
            </p:cNvPr>
            <p:cNvSpPr/>
            <p:nvPr/>
          </p:nvSpPr>
          <p:spPr>
            <a:xfrm>
              <a:off x="2109944" y="165649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5" name="Google Shape;5952;p64">
              <a:extLst>
                <a:ext uri="{FF2B5EF4-FFF2-40B4-BE49-F238E27FC236}">
                  <a16:creationId xmlns:a16="http://schemas.microsoft.com/office/drawing/2014/main" id="{A0482601-233F-98BE-3867-76264377F5E0}"/>
                </a:ext>
              </a:extLst>
            </p:cNvPr>
            <p:cNvSpPr/>
            <p:nvPr/>
          </p:nvSpPr>
          <p:spPr>
            <a:xfrm>
              <a:off x="2110555" y="165636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6" name="Google Shape;5953;p64">
              <a:extLst>
                <a:ext uri="{FF2B5EF4-FFF2-40B4-BE49-F238E27FC236}">
                  <a16:creationId xmlns:a16="http://schemas.microsoft.com/office/drawing/2014/main" id="{6CCA35AF-0132-D2F1-4FEE-5B09695E800D}"/>
                </a:ext>
              </a:extLst>
            </p:cNvPr>
            <p:cNvSpPr/>
            <p:nvPr/>
          </p:nvSpPr>
          <p:spPr>
            <a:xfrm>
              <a:off x="2118118" y="1656647"/>
              <a:ext cx="869" cy="394"/>
            </a:xfrm>
            <a:custGeom>
              <a:avLst/>
              <a:gdLst/>
              <a:ahLst/>
              <a:cxnLst/>
              <a:rect l="l" t="t" r="r" b="b"/>
              <a:pathLst>
                <a:path w="64" h="29" extrusionOk="0">
                  <a:moveTo>
                    <a:pt x="1" y="0"/>
                  </a:moveTo>
                  <a:lnTo>
                    <a:pt x="6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7" name="Google Shape;5954;p64">
              <a:extLst>
                <a:ext uri="{FF2B5EF4-FFF2-40B4-BE49-F238E27FC236}">
                  <a16:creationId xmlns:a16="http://schemas.microsoft.com/office/drawing/2014/main" id="{DF0D36A4-E6FB-4252-2BBC-4966C092EAAD}"/>
                </a:ext>
              </a:extLst>
            </p:cNvPr>
            <p:cNvSpPr/>
            <p:nvPr/>
          </p:nvSpPr>
          <p:spPr>
            <a:xfrm>
              <a:off x="2109374" y="165655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8" name="Google Shape;5955;p64">
              <a:extLst>
                <a:ext uri="{FF2B5EF4-FFF2-40B4-BE49-F238E27FC236}">
                  <a16:creationId xmlns:a16="http://schemas.microsoft.com/office/drawing/2014/main" id="{B6ECFC37-D160-05AA-0CA2-02022D876A86}"/>
                </a:ext>
              </a:extLst>
            </p:cNvPr>
            <p:cNvSpPr/>
            <p:nvPr/>
          </p:nvSpPr>
          <p:spPr>
            <a:xfrm>
              <a:off x="2110325" y="16564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9" name="Google Shape;5956;p64">
              <a:extLst>
                <a:ext uri="{FF2B5EF4-FFF2-40B4-BE49-F238E27FC236}">
                  <a16:creationId xmlns:a16="http://schemas.microsoft.com/office/drawing/2014/main" id="{DAEB61A4-47A6-5EEC-F031-DE5037622E0D}"/>
                </a:ext>
              </a:extLst>
            </p:cNvPr>
            <p:cNvSpPr/>
            <p:nvPr/>
          </p:nvSpPr>
          <p:spPr>
            <a:xfrm>
              <a:off x="2117222" y="165630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0" y="1"/>
                  </a:moveTo>
                  <a:lnTo>
                    <a:pt x="56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0" name="Google Shape;5957;p64">
              <a:extLst>
                <a:ext uri="{FF2B5EF4-FFF2-40B4-BE49-F238E27FC236}">
                  <a16:creationId xmlns:a16="http://schemas.microsoft.com/office/drawing/2014/main" id="{78AE8567-905E-0E42-92A6-B3A9C566F1D1}"/>
                </a:ext>
              </a:extLst>
            </p:cNvPr>
            <p:cNvSpPr/>
            <p:nvPr/>
          </p:nvSpPr>
          <p:spPr>
            <a:xfrm>
              <a:off x="2110650" y="165630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1" name="Google Shape;5958;p64">
              <a:extLst>
                <a:ext uri="{FF2B5EF4-FFF2-40B4-BE49-F238E27FC236}">
                  <a16:creationId xmlns:a16="http://schemas.microsoft.com/office/drawing/2014/main" id="{DC2BE1E8-DF83-372F-AE0E-47ED2C34BFAB}"/>
                </a:ext>
              </a:extLst>
            </p:cNvPr>
            <p:cNvSpPr/>
            <p:nvPr/>
          </p:nvSpPr>
          <p:spPr>
            <a:xfrm>
              <a:off x="2110135" y="165645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2" name="Google Shape;5959;p64">
              <a:extLst>
                <a:ext uri="{FF2B5EF4-FFF2-40B4-BE49-F238E27FC236}">
                  <a16:creationId xmlns:a16="http://schemas.microsoft.com/office/drawing/2014/main" id="{62815AEB-5AD0-0A7B-AD5C-6BFCF3B60534}"/>
                </a:ext>
              </a:extLst>
            </p:cNvPr>
            <p:cNvSpPr/>
            <p:nvPr/>
          </p:nvSpPr>
          <p:spPr>
            <a:xfrm>
              <a:off x="2119069" y="1657123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1" y="0"/>
                  </a:moveTo>
                  <a:lnTo>
                    <a:pt x="7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3" name="Google Shape;5960;p64">
              <a:extLst>
                <a:ext uri="{FF2B5EF4-FFF2-40B4-BE49-F238E27FC236}">
                  <a16:creationId xmlns:a16="http://schemas.microsoft.com/office/drawing/2014/main" id="{C50B5472-A46A-088D-772E-E9C7BCABDB10}"/>
                </a:ext>
              </a:extLst>
            </p:cNvPr>
            <p:cNvSpPr/>
            <p:nvPr/>
          </p:nvSpPr>
          <p:spPr>
            <a:xfrm>
              <a:off x="2108994" y="1656593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4" name="Google Shape;5961;p64">
              <a:extLst>
                <a:ext uri="{FF2B5EF4-FFF2-40B4-BE49-F238E27FC236}">
                  <a16:creationId xmlns:a16="http://schemas.microsoft.com/office/drawing/2014/main" id="{670428D2-FCD4-4912-5695-0284C6A88C1D}"/>
                </a:ext>
              </a:extLst>
            </p:cNvPr>
            <p:cNvSpPr/>
            <p:nvPr/>
          </p:nvSpPr>
          <p:spPr>
            <a:xfrm>
              <a:off x="2109659" y="165649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5" name="Google Shape;5962;p64">
              <a:extLst>
                <a:ext uri="{FF2B5EF4-FFF2-40B4-BE49-F238E27FC236}">
                  <a16:creationId xmlns:a16="http://schemas.microsoft.com/office/drawing/2014/main" id="{01C74656-E15B-8F28-6D57-AFDA8A5B7779}"/>
                </a:ext>
              </a:extLst>
            </p:cNvPr>
            <p:cNvSpPr/>
            <p:nvPr/>
          </p:nvSpPr>
          <p:spPr>
            <a:xfrm>
              <a:off x="2116407" y="1656023"/>
              <a:ext cx="679" cy="258"/>
            </a:xfrm>
            <a:custGeom>
              <a:avLst/>
              <a:gdLst/>
              <a:ahLst/>
              <a:cxnLst/>
              <a:rect l="l" t="t" r="r" b="b"/>
              <a:pathLst>
                <a:path w="50" h="19" extrusionOk="0">
                  <a:moveTo>
                    <a:pt x="1" y="1"/>
                  </a:moveTo>
                  <a:cubicBezTo>
                    <a:pt x="15" y="4"/>
                    <a:pt x="32" y="11"/>
                    <a:pt x="50" y="18"/>
                  </a:cubicBezTo>
                  <a:cubicBezTo>
                    <a:pt x="32" y="11"/>
                    <a:pt x="15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6" name="Google Shape;5963;p64">
              <a:extLst>
                <a:ext uri="{FF2B5EF4-FFF2-40B4-BE49-F238E27FC236}">
                  <a16:creationId xmlns:a16="http://schemas.microsoft.com/office/drawing/2014/main" id="{9CDCA8E5-6691-178C-9907-0C10A45AA20F}"/>
                </a:ext>
              </a:extLst>
            </p:cNvPr>
            <p:cNvSpPr/>
            <p:nvPr/>
          </p:nvSpPr>
          <p:spPr>
            <a:xfrm>
              <a:off x="2106428" y="1656552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7" name="Google Shape;5964;p64">
              <a:extLst>
                <a:ext uri="{FF2B5EF4-FFF2-40B4-BE49-F238E27FC236}">
                  <a16:creationId xmlns:a16="http://schemas.microsoft.com/office/drawing/2014/main" id="{B4C8CF1C-B186-B1B8-F85E-833F759AB72C}"/>
                </a:ext>
              </a:extLst>
            </p:cNvPr>
            <p:cNvSpPr/>
            <p:nvPr/>
          </p:nvSpPr>
          <p:spPr>
            <a:xfrm>
              <a:off x="2105898" y="165649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8" name="Google Shape;5965;p64">
              <a:extLst>
                <a:ext uri="{FF2B5EF4-FFF2-40B4-BE49-F238E27FC236}">
                  <a16:creationId xmlns:a16="http://schemas.microsoft.com/office/drawing/2014/main" id="{9288FD7F-25FC-F1AA-7F99-B206B8730E34}"/>
                </a:ext>
              </a:extLst>
            </p:cNvPr>
            <p:cNvSpPr/>
            <p:nvPr/>
          </p:nvSpPr>
          <p:spPr>
            <a:xfrm>
              <a:off x="2110460" y="165640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9" name="Google Shape;5966;p64">
              <a:extLst>
                <a:ext uri="{FF2B5EF4-FFF2-40B4-BE49-F238E27FC236}">
                  <a16:creationId xmlns:a16="http://schemas.microsoft.com/office/drawing/2014/main" id="{56C1C94E-DC2A-6F05-6CD4-7FBBF1733BC4}"/>
                </a:ext>
              </a:extLst>
            </p:cNvPr>
            <p:cNvSpPr/>
            <p:nvPr/>
          </p:nvSpPr>
          <p:spPr>
            <a:xfrm>
              <a:off x="2107039" y="1656593"/>
              <a:ext cx="1969" cy="14"/>
            </a:xfrm>
            <a:custGeom>
              <a:avLst/>
              <a:gdLst/>
              <a:ahLst/>
              <a:cxnLst/>
              <a:rect l="l" t="t" r="r" b="b"/>
              <a:pathLst>
                <a:path w="145" h="1" extrusionOk="0">
                  <a:moveTo>
                    <a:pt x="144" y="1"/>
                  </a:moveTo>
                  <a:lnTo>
                    <a:pt x="1" y="1"/>
                  </a:lnTo>
                  <a:cubicBezTo>
                    <a:pt x="60" y="1"/>
                    <a:pt x="106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0" name="Google Shape;5967;p64">
              <a:extLst>
                <a:ext uri="{FF2B5EF4-FFF2-40B4-BE49-F238E27FC236}">
                  <a16:creationId xmlns:a16="http://schemas.microsoft.com/office/drawing/2014/main" id="{0F078F75-EFB1-13E8-8A23-D883E8DC9914}"/>
                </a:ext>
              </a:extLst>
            </p:cNvPr>
            <p:cNvSpPr/>
            <p:nvPr/>
          </p:nvSpPr>
          <p:spPr>
            <a:xfrm>
              <a:off x="2203154" y="1406808"/>
              <a:ext cx="75925" cy="121342"/>
            </a:xfrm>
            <a:custGeom>
              <a:avLst/>
              <a:gdLst/>
              <a:ahLst/>
              <a:cxnLst/>
              <a:rect l="l" t="t" r="r" b="b"/>
              <a:pathLst>
                <a:path w="5592" h="8937" extrusionOk="0">
                  <a:moveTo>
                    <a:pt x="3667" y="1"/>
                  </a:moveTo>
                  <a:cubicBezTo>
                    <a:pt x="3594" y="1"/>
                    <a:pt x="3523" y="29"/>
                    <a:pt x="3473" y="81"/>
                  </a:cubicBezTo>
                  <a:cubicBezTo>
                    <a:pt x="3421" y="155"/>
                    <a:pt x="3298" y="155"/>
                    <a:pt x="3158" y="155"/>
                  </a:cubicBezTo>
                  <a:cubicBezTo>
                    <a:pt x="3088" y="155"/>
                    <a:pt x="2962" y="155"/>
                    <a:pt x="2938" y="176"/>
                  </a:cubicBezTo>
                  <a:cubicBezTo>
                    <a:pt x="2938" y="288"/>
                    <a:pt x="2840" y="344"/>
                    <a:pt x="2749" y="397"/>
                  </a:cubicBezTo>
                  <a:cubicBezTo>
                    <a:pt x="2658" y="446"/>
                    <a:pt x="2602" y="484"/>
                    <a:pt x="2602" y="537"/>
                  </a:cubicBezTo>
                  <a:cubicBezTo>
                    <a:pt x="2605" y="589"/>
                    <a:pt x="2612" y="638"/>
                    <a:pt x="2626" y="691"/>
                  </a:cubicBezTo>
                  <a:cubicBezTo>
                    <a:pt x="2647" y="813"/>
                    <a:pt x="2675" y="939"/>
                    <a:pt x="2602" y="1016"/>
                  </a:cubicBezTo>
                  <a:cubicBezTo>
                    <a:pt x="2566" y="1052"/>
                    <a:pt x="2517" y="1070"/>
                    <a:pt x="2468" y="1070"/>
                  </a:cubicBezTo>
                  <a:cubicBezTo>
                    <a:pt x="2460" y="1070"/>
                    <a:pt x="2452" y="1070"/>
                    <a:pt x="2444" y="1069"/>
                  </a:cubicBezTo>
                  <a:lnTo>
                    <a:pt x="2406" y="1069"/>
                  </a:lnTo>
                  <a:cubicBezTo>
                    <a:pt x="2395" y="1067"/>
                    <a:pt x="2385" y="1066"/>
                    <a:pt x="2374" y="1066"/>
                  </a:cubicBezTo>
                  <a:cubicBezTo>
                    <a:pt x="2364" y="1066"/>
                    <a:pt x="2353" y="1067"/>
                    <a:pt x="2343" y="1069"/>
                  </a:cubicBezTo>
                  <a:cubicBezTo>
                    <a:pt x="2343" y="1083"/>
                    <a:pt x="2339" y="1093"/>
                    <a:pt x="2339" y="1104"/>
                  </a:cubicBezTo>
                  <a:cubicBezTo>
                    <a:pt x="2339" y="1195"/>
                    <a:pt x="2308" y="1282"/>
                    <a:pt x="2252" y="1356"/>
                  </a:cubicBezTo>
                  <a:cubicBezTo>
                    <a:pt x="2224" y="1398"/>
                    <a:pt x="2171" y="1450"/>
                    <a:pt x="2108" y="1450"/>
                  </a:cubicBezTo>
                  <a:cubicBezTo>
                    <a:pt x="2045" y="1450"/>
                    <a:pt x="2007" y="1398"/>
                    <a:pt x="1979" y="1356"/>
                  </a:cubicBezTo>
                  <a:cubicBezTo>
                    <a:pt x="1945" y="1308"/>
                    <a:pt x="1931" y="1298"/>
                    <a:pt x="1918" y="1298"/>
                  </a:cubicBezTo>
                  <a:cubicBezTo>
                    <a:pt x="1915" y="1298"/>
                    <a:pt x="1912" y="1299"/>
                    <a:pt x="1909" y="1300"/>
                  </a:cubicBezTo>
                  <a:cubicBezTo>
                    <a:pt x="1883" y="1308"/>
                    <a:pt x="1859" y="1312"/>
                    <a:pt x="1834" y="1312"/>
                  </a:cubicBezTo>
                  <a:cubicBezTo>
                    <a:pt x="1767" y="1312"/>
                    <a:pt x="1703" y="1285"/>
                    <a:pt x="1646" y="1265"/>
                  </a:cubicBezTo>
                  <a:cubicBezTo>
                    <a:pt x="1590" y="1242"/>
                    <a:pt x="1563" y="1234"/>
                    <a:pt x="1548" y="1234"/>
                  </a:cubicBezTo>
                  <a:cubicBezTo>
                    <a:pt x="1537" y="1234"/>
                    <a:pt x="1533" y="1238"/>
                    <a:pt x="1530" y="1244"/>
                  </a:cubicBezTo>
                  <a:cubicBezTo>
                    <a:pt x="1487" y="1315"/>
                    <a:pt x="1415" y="1339"/>
                    <a:pt x="1328" y="1339"/>
                  </a:cubicBezTo>
                  <a:cubicBezTo>
                    <a:pt x="1239" y="1339"/>
                    <a:pt x="1134" y="1314"/>
                    <a:pt x="1026" y="1289"/>
                  </a:cubicBezTo>
                  <a:cubicBezTo>
                    <a:pt x="974" y="1275"/>
                    <a:pt x="918" y="1261"/>
                    <a:pt x="862" y="1251"/>
                  </a:cubicBezTo>
                  <a:cubicBezTo>
                    <a:pt x="708" y="1219"/>
                    <a:pt x="596" y="1097"/>
                    <a:pt x="498" y="988"/>
                  </a:cubicBezTo>
                  <a:cubicBezTo>
                    <a:pt x="421" y="901"/>
                    <a:pt x="347" y="820"/>
                    <a:pt x="270" y="810"/>
                  </a:cubicBezTo>
                  <a:lnTo>
                    <a:pt x="232" y="810"/>
                  </a:lnTo>
                  <a:cubicBezTo>
                    <a:pt x="221" y="813"/>
                    <a:pt x="211" y="813"/>
                    <a:pt x="200" y="817"/>
                  </a:cubicBezTo>
                  <a:lnTo>
                    <a:pt x="193" y="817"/>
                  </a:lnTo>
                  <a:cubicBezTo>
                    <a:pt x="183" y="820"/>
                    <a:pt x="172" y="824"/>
                    <a:pt x="162" y="831"/>
                  </a:cubicBezTo>
                  <a:lnTo>
                    <a:pt x="158" y="831"/>
                  </a:lnTo>
                  <a:cubicBezTo>
                    <a:pt x="134" y="841"/>
                    <a:pt x="113" y="859"/>
                    <a:pt x="92" y="876"/>
                  </a:cubicBezTo>
                  <a:cubicBezTo>
                    <a:pt x="81" y="887"/>
                    <a:pt x="71" y="897"/>
                    <a:pt x="60" y="908"/>
                  </a:cubicBezTo>
                  <a:lnTo>
                    <a:pt x="57" y="908"/>
                  </a:lnTo>
                  <a:cubicBezTo>
                    <a:pt x="46" y="918"/>
                    <a:pt x="39" y="932"/>
                    <a:pt x="29" y="943"/>
                  </a:cubicBezTo>
                  <a:lnTo>
                    <a:pt x="25" y="946"/>
                  </a:lnTo>
                  <a:cubicBezTo>
                    <a:pt x="18" y="960"/>
                    <a:pt x="8" y="974"/>
                    <a:pt x="1" y="985"/>
                  </a:cubicBezTo>
                  <a:cubicBezTo>
                    <a:pt x="64" y="1030"/>
                    <a:pt x="123" y="1083"/>
                    <a:pt x="176" y="1128"/>
                  </a:cubicBezTo>
                  <a:cubicBezTo>
                    <a:pt x="256" y="1202"/>
                    <a:pt x="340" y="1268"/>
                    <a:pt x="431" y="1328"/>
                  </a:cubicBezTo>
                  <a:cubicBezTo>
                    <a:pt x="466" y="1349"/>
                    <a:pt x="501" y="1366"/>
                    <a:pt x="540" y="1384"/>
                  </a:cubicBezTo>
                  <a:cubicBezTo>
                    <a:pt x="599" y="1412"/>
                    <a:pt x="669" y="1440"/>
                    <a:pt x="746" y="1471"/>
                  </a:cubicBezTo>
                  <a:cubicBezTo>
                    <a:pt x="1072" y="1601"/>
                    <a:pt x="1383" y="1727"/>
                    <a:pt x="1355" y="1919"/>
                  </a:cubicBezTo>
                  <a:cubicBezTo>
                    <a:pt x="1352" y="1954"/>
                    <a:pt x="1345" y="1989"/>
                    <a:pt x="1338" y="2024"/>
                  </a:cubicBezTo>
                  <a:cubicBezTo>
                    <a:pt x="1313" y="2157"/>
                    <a:pt x="1282" y="2332"/>
                    <a:pt x="1348" y="2374"/>
                  </a:cubicBezTo>
                  <a:cubicBezTo>
                    <a:pt x="1446" y="2430"/>
                    <a:pt x="1439" y="2557"/>
                    <a:pt x="1436" y="2665"/>
                  </a:cubicBezTo>
                  <a:cubicBezTo>
                    <a:pt x="1436" y="2753"/>
                    <a:pt x="1432" y="2844"/>
                    <a:pt x="1474" y="2868"/>
                  </a:cubicBezTo>
                  <a:cubicBezTo>
                    <a:pt x="1600" y="2928"/>
                    <a:pt x="1628" y="3113"/>
                    <a:pt x="1593" y="3267"/>
                  </a:cubicBezTo>
                  <a:cubicBezTo>
                    <a:pt x="1569" y="3376"/>
                    <a:pt x="1513" y="3442"/>
                    <a:pt x="1443" y="3456"/>
                  </a:cubicBezTo>
                  <a:cubicBezTo>
                    <a:pt x="1474" y="3519"/>
                    <a:pt x="1520" y="3579"/>
                    <a:pt x="1569" y="3631"/>
                  </a:cubicBezTo>
                  <a:cubicBezTo>
                    <a:pt x="1576" y="3638"/>
                    <a:pt x="1583" y="3645"/>
                    <a:pt x="1590" y="3656"/>
                  </a:cubicBezTo>
                  <a:cubicBezTo>
                    <a:pt x="1590" y="3659"/>
                    <a:pt x="1593" y="3663"/>
                    <a:pt x="1597" y="3666"/>
                  </a:cubicBezTo>
                  <a:cubicBezTo>
                    <a:pt x="1597" y="3673"/>
                    <a:pt x="1604" y="3680"/>
                    <a:pt x="1604" y="3687"/>
                  </a:cubicBezTo>
                  <a:lnTo>
                    <a:pt x="1614" y="3705"/>
                  </a:lnTo>
                  <a:cubicBezTo>
                    <a:pt x="1614" y="3708"/>
                    <a:pt x="1618" y="3715"/>
                    <a:pt x="1621" y="3722"/>
                  </a:cubicBezTo>
                  <a:lnTo>
                    <a:pt x="1625" y="3740"/>
                  </a:lnTo>
                  <a:cubicBezTo>
                    <a:pt x="1628" y="3747"/>
                    <a:pt x="1632" y="3754"/>
                    <a:pt x="1632" y="3764"/>
                  </a:cubicBezTo>
                  <a:cubicBezTo>
                    <a:pt x="1635" y="3771"/>
                    <a:pt x="1635" y="3775"/>
                    <a:pt x="1639" y="3782"/>
                  </a:cubicBezTo>
                  <a:cubicBezTo>
                    <a:pt x="1639" y="3785"/>
                    <a:pt x="1642" y="3799"/>
                    <a:pt x="1642" y="3806"/>
                  </a:cubicBezTo>
                  <a:lnTo>
                    <a:pt x="1646" y="3820"/>
                  </a:lnTo>
                  <a:cubicBezTo>
                    <a:pt x="1649" y="3834"/>
                    <a:pt x="1653" y="3848"/>
                    <a:pt x="1653" y="3859"/>
                  </a:cubicBezTo>
                  <a:lnTo>
                    <a:pt x="1653" y="3873"/>
                  </a:lnTo>
                  <a:cubicBezTo>
                    <a:pt x="1653" y="3880"/>
                    <a:pt x="1656" y="3887"/>
                    <a:pt x="1656" y="3894"/>
                  </a:cubicBezTo>
                  <a:cubicBezTo>
                    <a:pt x="1761" y="3925"/>
                    <a:pt x="1863" y="3967"/>
                    <a:pt x="1958" y="4016"/>
                  </a:cubicBezTo>
                  <a:cubicBezTo>
                    <a:pt x="1993" y="4034"/>
                    <a:pt x="2028" y="4051"/>
                    <a:pt x="2063" y="4065"/>
                  </a:cubicBezTo>
                  <a:cubicBezTo>
                    <a:pt x="2290" y="4167"/>
                    <a:pt x="2294" y="4328"/>
                    <a:pt x="2294" y="4475"/>
                  </a:cubicBezTo>
                  <a:lnTo>
                    <a:pt x="2294" y="4545"/>
                  </a:lnTo>
                  <a:lnTo>
                    <a:pt x="2294" y="4559"/>
                  </a:lnTo>
                  <a:cubicBezTo>
                    <a:pt x="2301" y="4699"/>
                    <a:pt x="2304" y="4780"/>
                    <a:pt x="2241" y="4818"/>
                  </a:cubicBezTo>
                  <a:cubicBezTo>
                    <a:pt x="2224" y="4828"/>
                    <a:pt x="2207" y="4832"/>
                    <a:pt x="2191" y="4832"/>
                  </a:cubicBezTo>
                  <a:cubicBezTo>
                    <a:pt x="2149" y="4832"/>
                    <a:pt x="2113" y="4807"/>
                    <a:pt x="2098" y="4797"/>
                  </a:cubicBezTo>
                  <a:cubicBezTo>
                    <a:pt x="2083" y="4785"/>
                    <a:pt x="2066" y="4780"/>
                    <a:pt x="2048" y="4780"/>
                  </a:cubicBezTo>
                  <a:cubicBezTo>
                    <a:pt x="2040" y="4780"/>
                    <a:pt x="2032" y="4781"/>
                    <a:pt x="2024" y="4783"/>
                  </a:cubicBezTo>
                  <a:cubicBezTo>
                    <a:pt x="2000" y="4794"/>
                    <a:pt x="1940" y="4832"/>
                    <a:pt x="1895" y="5000"/>
                  </a:cubicBezTo>
                  <a:cubicBezTo>
                    <a:pt x="1824" y="5263"/>
                    <a:pt x="1495" y="5581"/>
                    <a:pt x="1278" y="5599"/>
                  </a:cubicBezTo>
                  <a:cubicBezTo>
                    <a:pt x="1212" y="5606"/>
                    <a:pt x="1187" y="5637"/>
                    <a:pt x="1142" y="5700"/>
                  </a:cubicBezTo>
                  <a:cubicBezTo>
                    <a:pt x="1107" y="5770"/>
                    <a:pt x="1040" y="5823"/>
                    <a:pt x="967" y="5847"/>
                  </a:cubicBezTo>
                  <a:cubicBezTo>
                    <a:pt x="851" y="5879"/>
                    <a:pt x="718" y="5942"/>
                    <a:pt x="722" y="6082"/>
                  </a:cubicBezTo>
                  <a:cubicBezTo>
                    <a:pt x="729" y="6138"/>
                    <a:pt x="708" y="6190"/>
                    <a:pt x="669" y="6232"/>
                  </a:cubicBezTo>
                  <a:cubicBezTo>
                    <a:pt x="582" y="6323"/>
                    <a:pt x="414" y="6334"/>
                    <a:pt x="277" y="6334"/>
                  </a:cubicBezTo>
                  <a:cubicBezTo>
                    <a:pt x="246" y="6334"/>
                    <a:pt x="228" y="6369"/>
                    <a:pt x="197" y="6463"/>
                  </a:cubicBezTo>
                  <a:cubicBezTo>
                    <a:pt x="172" y="6540"/>
                    <a:pt x="144" y="6628"/>
                    <a:pt x="67" y="6674"/>
                  </a:cubicBezTo>
                  <a:cubicBezTo>
                    <a:pt x="22" y="6698"/>
                    <a:pt x="22" y="6719"/>
                    <a:pt x="18" y="6726"/>
                  </a:cubicBezTo>
                  <a:cubicBezTo>
                    <a:pt x="11" y="6758"/>
                    <a:pt x="39" y="6814"/>
                    <a:pt x="102" y="6894"/>
                  </a:cubicBezTo>
                  <a:cubicBezTo>
                    <a:pt x="165" y="6978"/>
                    <a:pt x="186" y="7083"/>
                    <a:pt x="165" y="7188"/>
                  </a:cubicBezTo>
                  <a:cubicBezTo>
                    <a:pt x="158" y="7220"/>
                    <a:pt x="158" y="7255"/>
                    <a:pt x="165" y="7290"/>
                  </a:cubicBezTo>
                  <a:cubicBezTo>
                    <a:pt x="172" y="7304"/>
                    <a:pt x="183" y="7325"/>
                    <a:pt x="197" y="7353"/>
                  </a:cubicBezTo>
                  <a:cubicBezTo>
                    <a:pt x="260" y="7475"/>
                    <a:pt x="375" y="7706"/>
                    <a:pt x="263" y="7955"/>
                  </a:cubicBezTo>
                  <a:cubicBezTo>
                    <a:pt x="141" y="8221"/>
                    <a:pt x="95" y="8361"/>
                    <a:pt x="88" y="8424"/>
                  </a:cubicBezTo>
                  <a:cubicBezTo>
                    <a:pt x="155" y="8427"/>
                    <a:pt x="228" y="8473"/>
                    <a:pt x="312" y="8525"/>
                  </a:cubicBezTo>
                  <a:cubicBezTo>
                    <a:pt x="392" y="8572"/>
                    <a:pt x="487" y="8631"/>
                    <a:pt x="551" y="8631"/>
                  </a:cubicBezTo>
                  <a:cubicBezTo>
                    <a:pt x="554" y="8631"/>
                    <a:pt x="557" y="8631"/>
                    <a:pt x="561" y="8630"/>
                  </a:cubicBezTo>
                  <a:cubicBezTo>
                    <a:pt x="568" y="8630"/>
                    <a:pt x="575" y="8629"/>
                    <a:pt x="582" y="8629"/>
                  </a:cubicBezTo>
                  <a:cubicBezTo>
                    <a:pt x="681" y="8629"/>
                    <a:pt x="739" y="8697"/>
                    <a:pt x="785" y="8750"/>
                  </a:cubicBezTo>
                  <a:cubicBezTo>
                    <a:pt x="821" y="8794"/>
                    <a:pt x="840" y="8812"/>
                    <a:pt x="862" y="8812"/>
                  </a:cubicBezTo>
                  <a:cubicBezTo>
                    <a:pt x="867" y="8812"/>
                    <a:pt x="873" y="8811"/>
                    <a:pt x="879" y="8809"/>
                  </a:cubicBezTo>
                  <a:cubicBezTo>
                    <a:pt x="900" y="8802"/>
                    <a:pt x="921" y="8799"/>
                    <a:pt x="946" y="8799"/>
                  </a:cubicBezTo>
                  <a:cubicBezTo>
                    <a:pt x="995" y="8802"/>
                    <a:pt x="1044" y="8820"/>
                    <a:pt x="1086" y="8848"/>
                  </a:cubicBezTo>
                  <a:cubicBezTo>
                    <a:pt x="1150" y="8886"/>
                    <a:pt x="1238" y="8936"/>
                    <a:pt x="1438" y="8936"/>
                  </a:cubicBezTo>
                  <a:cubicBezTo>
                    <a:pt x="1456" y="8936"/>
                    <a:pt x="1475" y="8936"/>
                    <a:pt x="1495" y="8935"/>
                  </a:cubicBezTo>
                  <a:cubicBezTo>
                    <a:pt x="1712" y="8928"/>
                    <a:pt x="2052" y="8827"/>
                    <a:pt x="2381" y="8732"/>
                  </a:cubicBezTo>
                  <a:cubicBezTo>
                    <a:pt x="2710" y="8637"/>
                    <a:pt x="3011" y="8546"/>
                    <a:pt x="3193" y="8546"/>
                  </a:cubicBezTo>
                  <a:cubicBezTo>
                    <a:pt x="3206" y="8547"/>
                    <a:pt x="3219" y="8547"/>
                    <a:pt x="3232" y="8547"/>
                  </a:cubicBezTo>
                  <a:cubicBezTo>
                    <a:pt x="3373" y="8547"/>
                    <a:pt x="3510" y="8530"/>
                    <a:pt x="3645" y="8501"/>
                  </a:cubicBezTo>
                  <a:cubicBezTo>
                    <a:pt x="3704" y="8410"/>
                    <a:pt x="3767" y="8326"/>
                    <a:pt x="3837" y="8245"/>
                  </a:cubicBezTo>
                  <a:lnTo>
                    <a:pt x="3865" y="8217"/>
                  </a:lnTo>
                  <a:lnTo>
                    <a:pt x="3869" y="8210"/>
                  </a:lnTo>
                  <a:lnTo>
                    <a:pt x="3900" y="8179"/>
                  </a:lnTo>
                  <a:cubicBezTo>
                    <a:pt x="4009" y="8081"/>
                    <a:pt x="4132" y="7993"/>
                    <a:pt x="4261" y="7920"/>
                  </a:cubicBezTo>
                  <a:cubicBezTo>
                    <a:pt x="4457" y="7801"/>
                    <a:pt x="4657" y="7678"/>
                    <a:pt x="4727" y="7521"/>
                  </a:cubicBezTo>
                  <a:lnTo>
                    <a:pt x="4734" y="7510"/>
                  </a:lnTo>
                  <a:cubicBezTo>
                    <a:pt x="4793" y="7384"/>
                    <a:pt x="4916" y="7276"/>
                    <a:pt x="5052" y="7174"/>
                  </a:cubicBezTo>
                  <a:lnTo>
                    <a:pt x="5101" y="7139"/>
                  </a:lnTo>
                  <a:lnTo>
                    <a:pt x="5171" y="7090"/>
                  </a:lnTo>
                  <a:cubicBezTo>
                    <a:pt x="5329" y="6975"/>
                    <a:pt x="5493" y="6856"/>
                    <a:pt x="5535" y="6747"/>
                  </a:cubicBezTo>
                  <a:cubicBezTo>
                    <a:pt x="5577" y="6635"/>
                    <a:pt x="5591" y="6596"/>
                    <a:pt x="5402" y="6376"/>
                  </a:cubicBezTo>
                  <a:cubicBezTo>
                    <a:pt x="5304" y="6264"/>
                    <a:pt x="5140" y="6166"/>
                    <a:pt x="5000" y="6082"/>
                  </a:cubicBezTo>
                  <a:cubicBezTo>
                    <a:pt x="4828" y="5980"/>
                    <a:pt x="4702" y="5907"/>
                    <a:pt x="4692" y="5809"/>
                  </a:cubicBezTo>
                  <a:cubicBezTo>
                    <a:pt x="4678" y="5697"/>
                    <a:pt x="4786" y="5648"/>
                    <a:pt x="4884" y="5606"/>
                  </a:cubicBezTo>
                  <a:cubicBezTo>
                    <a:pt x="4951" y="5574"/>
                    <a:pt x="5031" y="5536"/>
                    <a:pt x="5028" y="5501"/>
                  </a:cubicBezTo>
                  <a:cubicBezTo>
                    <a:pt x="5024" y="5441"/>
                    <a:pt x="4986" y="5417"/>
                    <a:pt x="4912" y="5375"/>
                  </a:cubicBezTo>
                  <a:cubicBezTo>
                    <a:pt x="4846" y="5343"/>
                    <a:pt x="4790" y="5294"/>
                    <a:pt x="4748" y="5235"/>
                  </a:cubicBezTo>
                  <a:cubicBezTo>
                    <a:pt x="4671" y="5116"/>
                    <a:pt x="4751" y="5018"/>
                    <a:pt x="4790" y="4965"/>
                  </a:cubicBezTo>
                  <a:cubicBezTo>
                    <a:pt x="4797" y="4958"/>
                    <a:pt x="4804" y="4951"/>
                    <a:pt x="4811" y="4944"/>
                  </a:cubicBezTo>
                  <a:cubicBezTo>
                    <a:pt x="4783" y="4930"/>
                    <a:pt x="4758" y="4920"/>
                    <a:pt x="4734" y="4909"/>
                  </a:cubicBezTo>
                  <a:cubicBezTo>
                    <a:pt x="4646" y="4874"/>
                    <a:pt x="4559" y="4839"/>
                    <a:pt x="4545" y="4762"/>
                  </a:cubicBezTo>
                  <a:cubicBezTo>
                    <a:pt x="4524" y="4675"/>
                    <a:pt x="4604" y="4636"/>
                    <a:pt x="4643" y="4619"/>
                  </a:cubicBezTo>
                  <a:cubicBezTo>
                    <a:pt x="4653" y="4612"/>
                    <a:pt x="4664" y="4608"/>
                    <a:pt x="4671" y="4601"/>
                  </a:cubicBezTo>
                  <a:cubicBezTo>
                    <a:pt x="4660" y="4580"/>
                    <a:pt x="4650" y="4556"/>
                    <a:pt x="4636" y="4531"/>
                  </a:cubicBezTo>
                  <a:cubicBezTo>
                    <a:pt x="4580" y="4426"/>
                    <a:pt x="4492" y="4268"/>
                    <a:pt x="4604" y="4125"/>
                  </a:cubicBezTo>
                  <a:cubicBezTo>
                    <a:pt x="4650" y="4072"/>
                    <a:pt x="4716" y="4034"/>
                    <a:pt x="4786" y="4023"/>
                  </a:cubicBezTo>
                  <a:cubicBezTo>
                    <a:pt x="4800" y="4020"/>
                    <a:pt x="4814" y="4016"/>
                    <a:pt x="4828" y="4009"/>
                  </a:cubicBezTo>
                  <a:cubicBezTo>
                    <a:pt x="4821" y="3960"/>
                    <a:pt x="4804" y="3915"/>
                    <a:pt x="4776" y="3873"/>
                  </a:cubicBezTo>
                  <a:cubicBezTo>
                    <a:pt x="4615" y="3582"/>
                    <a:pt x="4373" y="3222"/>
                    <a:pt x="4282" y="3085"/>
                  </a:cubicBezTo>
                  <a:lnTo>
                    <a:pt x="4261" y="3054"/>
                  </a:lnTo>
                  <a:cubicBezTo>
                    <a:pt x="4233" y="3012"/>
                    <a:pt x="4226" y="2963"/>
                    <a:pt x="4237" y="2914"/>
                  </a:cubicBezTo>
                  <a:cubicBezTo>
                    <a:pt x="4261" y="2826"/>
                    <a:pt x="4310" y="2749"/>
                    <a:pt x="4377" y="2690"/>
                  </a:cubicBezTo>
                  <a:cubicBezTo>
                    <a:pt x="4398" y="2672"/>
                    <a:pt x="4419" y="2655"/>
                    <a:pt x="4440" y="2641"/>
                  </a:cubicBezTo>
                  <a:cubicBezTo>
                    <a:pt x="4545" y="2560"/>
                    <a:pt x="4639" y="2465"/>
                    <a:pt x="4716" y="2360"/>
                  </a:cubicBezTo>
                  <a:cubicBezTo>
                    <a:pt x="4734" y="2339"/>
                    <a:pt x="4744" y="2315"/>
                    <a:pt x="4751" y="2290"/>
                  </a:cubicBezTo>
                  <a:cubicBezTo>
                    <a:pt x="4741" y="2231"/>
                    <a:pt x="4492" y="2000"/>
                    <a:pt x="4394" y="1940"/>
                  </a:cubicBezTo>
                  <a:cubicBezTo>
                    <a:pt x="4370" y="1930"/>
                    <a:pt x="4342" y="1919"/>
                    <a:pt x="4317" y="1916"/>
                  </a:cubicBezTo>
                  <a:cubicBezTo>
                    <a:pt x="4230" y="1891"/>
                    <a:pt x="4114" y="1863"/>
                    <a:pt x="4044" y="1744"/>
                  </a:cubicBezTo>
                  <a:cubicBezTo>
                    <a:pt x="4041" y="1737"/>
                    <a:pt x="4034" y="1730"/>
                    <a:pt x="4030" y="1720"/>
                  </a:cubicBezTo>
                  <a:cubicBezTo>
                    <a:pt x="4009" y="1681"/>
                    <a:pt x="3988" y="1646"/>
                    <a:pt x="3971" y="1618"/>
                  </a:cubicBezTo>
                  <a:cubicBezTo>
                    <a:pt x="3918" y="1531"/>
                    <a:pt x="3869" y="1450"/>
                    <a:pt x="3956" y="1342"/>
                  </a:cubicBezTo>
                  <a:cubicBezTo>
                    <a:pt x="4023" y="1265"/>
                    <a:pt x="4023" y="1184"/>
                    <a:pt x="4023" y="1093"/>
                  </a:cubicBezTo>
                  <a:cubicBezTo>
                    <a:pt x="4023" y="1083"/>
                    <a:pt x="4023" y="1069"/>
                    <a:pt x="4027" y="1058"/>
                  </a:cubicBezTo>
                  <a:cubicBezTo>
                    <a:pt x="4034" y="1041"/>
                    <a:pt x="4041" y="1027"/>
                    <a:pt x="4055" y="1013"/>
                  </a:cubicBezTo>
                  <a:cubicBezTo>
                    <a:pt x="4083" y="988"/>
                    <a:pt x="4118" y="974"/>
                    <a:pt x="4156" y="967"/>
                  </a:cubicBezTo>
                  <a:cubicBezTo>
                    <a:pt x="4198" y="960"/>
                    <a:pt x="4216" y="953"/>
                    <a:pt x="4226" y="939"/>
                  </a:cubicBezTo>
                  <a:cubicBezTo>
                    <a:pt x="4230" y="932"/>
                    <a:pt x="4233" y="925"/>
                    <a:pt x="4233" y="918"/>
                  </a:cubicBezTo>
                  <a:cubicBezTo>
                    <a:pt x="4233" y="908"/>
                    <a:pt x="4240" y="897"/>
                    <a:pt x="4244" y="890"/>
                  </a:cubicBezTo>
                  <a:cubicBezTo>
                    <a:pt x="4247" y="880"/>
                    <a:pt x="4247" y="876"/>
                    <a:pt x="4247" y="873"/>
                  </a:cubicBezTo>
                  <a:lnTo>
                    <a:pt x="4251" y="862"/>
                  </a:lnTo>
                  <a:cubicBezTo>
                    <a:pt x="4275" y="803"/>
                    <a:pt x="4310" y="750"/>
                    <a:pt x="4356" y="705"/>
                  </a:cubicBezTo>
                  <a:cubicBezTo>
                    <a:pt x="4356" y="677"/>
                    <a:pt x="4356" y="649"/>
                    <a:pt x="4356" y="621"/>
                  </a:cubicBezTo>
                  <a:cubicBezTo>
                    <a:pt x="4366" y="561"/>
                    <a:pt x="4370" y="502"/>
                    <a:pt x="4370" y="446"/>
                  </a:cubicBezTo>
                  <a:cubicBezTo>
                    <a:pt x="4363" y="400"/>
                    <a:pt x="4240" y="347"/>
                    <a:pt x="4146" y="305"/>
                  </a:cubicBezTo>
                  <a:cubicBezTo>
                    <a:pt x="4009" y="246"/>
                    <a:pt x="3869" y="186"/>
                    <a:pt x="3806" y="74"/>
                  </a:cubicBezTo>
                  <a:cubicBezTo>
                    <a:pt x="3781" y="29"/>
                    <a:pt x="3732" y="1"/>
                    <a:pt x="3680" y="1"/>
                  </a:cubicBezTo>
                  <a:cubicBezTo>
                    <a:pt x="3676" y="1"/>
                    <a:pt x="3671" y="1"/>
                    <a:pt x="366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1" name="Google Shape;5968;p64">
              <a:extLst>
                <a:ext uri="{FF2B5EF4-FFF2-40B4-BE49-F238E27FC236}">
                  <a16:creationId xmlns:a16="http://schemas.microsoft.com/office/drawing/2014/main" id="{5DE85AA6-2FD8-0D0A-1B55-F37ECDE02623}"/>
                </a:ext>
              </a:extLst>
            </p:cNvPr>
            <p:cNvSpPr/>
            <p:nvPr/>
          </p:nvSpPr>
          <p:spPr>
            <a:xfrm>
              <a:off x="2302786" y="1795464"/>
              <a:ext cx="154498" cy="123284"/>
            </a:xfrm>
            <a:custGeom>
              <a:avLst/>
              <a:gdLst/>
              <a:ahLst/>
              <a:cxnLst/>
              <a:rect l="l" t="t" r="r" b="b"/>
              <a:pathLst>
                <a:path w="11379" h="9080" extrusionOk="0">
                  <a:moveTo>
                    <a:pt x="2656" y="1"/>
                  </a:moveTo>
                  <a:cubicBezTo>
                    <a:pt x="2639" y="1"/>
                    <a:pt x="2622" y="1"/>
                    <a:pt x="2605" y="2"/>
                  </a:cubicBezTo>
                  <a:lnTo>
                    <a:pt x="2552" y="6"/>
                  </a:lnTo>
                  <a:cubicBezTo>
                    <a:pt x="2524" y="6"/>
                    <a:pt x="2493" y="9"/>
                    <a:pt x="2458" y="9"/>
                  </a:cubicBezTo>
                  <a:lnTo>
                    <a:pt x="2346" y="9"/>
                  </a:lnTo>
                  <a:cubicBezTo>
                    <a:pt x="2341" y="9"/>
                    <a:pt x="2337" y="9"/>
                    <a:pt x="2333" y="9"/>
                  </a:cubicBezTo>
                  <a:cubicBezTo>
                    <a:pt x="2284" y="9"/>
                    <a:pt x="2234" y="26"/>
                    <a:pt x="2199" y="58"/>
                  </a:cubicBezTo>
                  <a:cubicBezTo>
                    <a:pt x="2132" y="107"/>
                    <a:pt x="2052" y="167"/>
                    <a:pt x="1789" y="181"/>
                  </a:cubicBezTo>
                  <a:cubicBezTo>
                    <a:pt x="1478" y="198"/>
                    <a:pt x="1306" y="349"/>
                    <a:pt x="1278" y="405"/>
                  </a:cubicBezTo>
                  <a:cubicBezTo>
                    <a:pt x="1408" y="461"/>
                    <a:pt x="1733" y="730"/>
                    <a:pt x="1747" y="888"/>
                  </a:cubicBezTo>
                  <a:cubicBezTo>
                    <a:pt x="1751" y="930"/>
                    <a:pt x="1726" y="976"/>
                    <a:pt x="1684" y="997"/>
                  </a:cubicBezTo>
                  <a:cubicBezTo>
                    <a:pt x="1646" y="1021"/>
                    <a:pt x="1611" y="1056"/>
                    <a:pt x="1586" y="1098"/>
                  </a:cubicBezTo>
                  <a:cubicBezTo>
                    <a:pt x="1534" y="1172"/>
                    <a:pt x="1467" y="1263"/>
                    <a:pt x="1331" y="1263"/>
                  </a:cubicBezTo>
                  <a:cubicBezTo>
                    <a:pt x="1145" y="1263"/>
                    <a:pt x="1051" y="1291"/>
                    <a:pt x="1051" y="1350"/>
                  </a:cubicBezTo>
                  <a:cubicBezTo>
                    <a:pt x="1051" y="1424"/>
                    <a:pt x="1002" y="1515"/>
                    <a:pt x="911" y="1595"/>
                  </a:cubicBezTo>
                  <a:cubicBezTo>
                    <a:pt x="897" y="1609"/>
                    <a:pt x="883" y="1620"/>
                    <a:pt x="869" y="1630"/>
                  </a:cubicBezTo>
                  <a:lnTo>
                    <a:pt x="855" y="1641"/>
                  </a:lnTo>
                  <a:cubicBezTo>
                    <a:pt x="848" y="1648"/>
                    <a:pt x="837" y="1655"/>
                    <a:pt x="827" y="1662"/>
                  </a:cubicBezTo>
                  <a:lnTo>
                    <a:pt x="809" y="1669"/>
                  </a:lnTo>
                  <a:cubicBezTo>
                    <a:pt x="802" y="1676"/>
                    <a:pt x="792" y="1683"/>
                    <a:pt x="781" y="1686"/>
                  </a:cubicBezTo>
                  <a:lnTo>
                    <a:pt x="767" y="1693"/>
                  </a:lnTo>
                  <a:lnTo>
                    <a:pt x="735" y="1707"/>
                  </a:lnTo>
                  <a:lnTo>
                    <a:pt x="721" y="1714"/>
                  </a:lnTo>
                  <a:lnTo>
                    <a:pt x="690" y="1725"/>
                  </a:lnTo>
                  <a:lnTo>
                    <a:pt x="676" y="1728"/>
                  </a:lnTo>
                  <a:lnTo>
                    <a:pt x="644" y="1735"/>
                  </a:lnTo>
                  <a:lnTo>
                    <a:pt x="630" y="1735"/>
                  </a:lnTo>
                  <a:cubicBezTo>
                    <a:pt x="620" y="1735"/>
                    <a:pt x="613" y="1739"/>
                    <a:pt x="602" y="1739"/>
                  </a:cubicBezTo>
                  <a:lnTo>
                    <a:pt x="546" y="1739"/>
                  </a:lnTo>
                  <a:cubicBezTo>
                    <a:pt x="438" y="1718"/>
                    <a:pt x="333" y="1679"/>
                    <a:pt x="238" y="1623"/>
                  </a:cubicBezTo>
                  <a:lnTo>
                    <a:pt x="210" y="1613"/>
                  </a:lnTo>
                  <a:lnTo>
                    <a:pt x="196" y="1606"/>
                  </a:lnTo>
                  <a:cubicBezTo>
                    <a:pt x="151" y="1581"/>
                    <a:pt x="98" y="1557"/>
                    <a:pt x="46" y="1525"/>
                  </a:cubicBezTo>
                  <a:lnTo>
                    <a:pt x="18" y="1606"/>
                  </a:lnTo>
                  <a:lnTo>
                    <a:pt x="0" y="1732"/>
                  </a:lnTo>
                  <a:cubicBezTo>
                    <a:pt x="14" y="1809"/>
                    <a:pt x="18" y="1889"/>
                    <a:pt x="14" y="1966"/>
                  </a:cubicBezTo>
                  <a:cubicBezTo>
                    <a:pt x="14" y="2061"/>
                    <a:pt x="21" y="2260"/>
                    <a:pt x="49" y="2299"/>
                  </a:cubicBezTo>
                  <a:cubicBezTo>
                    <a:pt x="133" y="2330"/>
                    <a:pt x="189" y="2411"/>
                    <a:pt x="266" y="2526"/>
                  </a:cubicBezTo>
                  <a:cubicBezTo>
                    <a:pt x="340" y="2642"/>
                    <a:pt x="424" y="2754"/>
                    <a:pt x="518" y="2859"/>
                  </a:cubicBezTo>
                  <a:cubicBezTo>
                    <a:pt x="774" y="3136"/>
                    <a:pt x="1320" y="3913"/>
                    <a:pt x="1327" y="4126"/>
                  </a:cubicBezTo>
                  <a:cubicBezTo>
                    <a:pt x="1334" y="4256"/>
                    <a:pt x="1380" y="4452"/>
                    <a:pt x="1719" y="4683"/>
                  </a:cubicBezTo>
                  <a:cubicBezTo>
                    <a:pt x="1873" y="4788"/>
                    <a:pt x="1996" y="4935"/>
                    <a:pt x="2076" y="5103"/>
                  </a:cubicBezTo>
                  <a:cubicBezTo>
                    <a:pt x="2108" y="5177"/>
                    <a:pt x="2157" y="5243"/>
                    <a:pt x="2216" y="5299"/>
                  </a:cubicBezTo>
                  <a:cubicBezTo>
                    <a:pt x="2381" y="5422"/>
                    <a:pt x="2381" y="5569"/>
                    <a:pt x="2377" y="5793"/>
                  </a:cubicBezTo>
                  <a:lnTo>
                    <a:pt x="2377" y="5957"/>
                  </a:lnTo>
                  <a:cubicBezTo>
                    <a:pt x="2384" y="6255"/>
                    <a:pt x="2517" y="6657"/>
                    <a:pt x="2790" y="6822"/>
                  </a:cubicBezTo>
                  <a:cubicBezTo>
                    <a:pt x="3130" y="7028"/>
                    <a:pt x="3319" y="7246"/>
                    <a:pt x="3449" y="7575"/>
                  </a:cubicBezTo>
                  <a:cubicBezTo>
                    <a:pt x="3585" y="7918"/>
                    <a:pt x="3757" y="8208"/>
                    <a:pt x="3935" y="8387"/>
                  </a:cubicBezTo>
                  <a:cubicBezTo>
                    <a:pt x="4019" y="8464"/>
                    <a:pt x="4072" y="8569"/>
                    <a:pt x="4082" y="8681"/>
                  </a:cubicBezTo>
                  <a:cubicBezTo>
                    <a:pt x="4082" y="8730"/>
                    <a:pt x="4096" y="8775"/>
                    <a:pt x="4124" y="8814"/>
                  </a:cubicBezTo>
                  <a:cubicBezTo>
                    <a:pt x="4187" y="8898"/>
                    <a:pt x="4240" y="8985"/>
                    <a:pt x="4285" y="9080"/>
                  </a:cubicBezTo>
                  <a:lnTo>
                    <a:pt x="4310" y="9069"/>
                  </a:lnTo>
                  <a:lnTo>
                    <a:pt x="4320" y="9062"/>
                  </a:lnTo>
                  <a:lnTo>
                    <a:pt x="4352" y="9048"/>
                  </a:lnTo>
                  <a:lnTo>
                    <a:pt x="4362" y="9041"/>
                  </a:lnTo>
                  <a:lnTo>
                    <a:pt x="4380" y="9034"/>
                  </a:lnTo>
                  <a:lnTo>
                    <a:pt x="4390" y="9027"/>
                  </a:lnTo>
                  <a:lnTo>
                    <a:pt x="4401" y="9020"/>
                  </a:lnTo>
                  <a:lnTo>
                    <a:pt x="4411" y="9017"/>
                  </a:lnTo>
                  <a:lnTo>
                    <a:pt x="4422" y="9013"/>
                  </a:lnTo>
                  <a:lnTo>
                    <a:pt x="4425" y="9010"/>
                  </a:lnTo>
                  <a:lnTo>
                    <a:pt x="4436" y="9003"/>
                  </a:lnTo>
                  <a:lnTo>
                    <a:pt x="4439" y="8999"/>
                  </a:lnTo>
                  <a:lnTo>
                    <a:pt x="4446" y="8996"/>
                  </a:lnTo>
                  <a:cubicBezTo>
                    <a:pt x="4443" y="8968"/>
                    <a:pt x="4439" y="8940"/>
                    <a:pt x="4432" y="8912"/>
                  </a:cubicBezTo>
                  <a:cubicBezTo>
                    <a:pt x="4411" y="8835"/>
                    <a:pt x="4394" y="8754"/>
                    <a:pt x="4439" y="8695"/>
                  </a:cubicBezTo>
                  <a:cubicBezTo>
                    <a:pt x="4488" y="8628"/>
                    <a:pt x="4590" y="8506"/>
                    <a:pt x="4705" y="8471"/>
                  </a:cubicBezTo>
                  <a:cubicBezTo>
                    <a:pt x="4723" y="8465"/>
                    <a:pt x="4740" y="8462"/>
                    <a:pt x="4758" y="8462"/>
                  </a:cubicBezTo>
                  <a:cubicBezTo>
                    <a:pt x="4800" y="8462"/>
                    <a:pt x="4843" y="8477"/>
                    <a:pt x="4887" y="8492"/>
                  </a:cubicBezTo>
                  <a:cubicBezTo>
                    <a:pt x="4947" y="8520"/>
                    <a:pt x="5011" y="8532"/>
                    <a:pt x="5076" y="8532"/>
                  </a:cubicBezTo>
                  <a:cubicBezTo>
                    <a:pt x="5091" y="8532"/>
                    <a:pt x="5107" y="8532"/>
                    <a:pt x="5122" y="8530"/>
                  </a:cubicBezTo>
                  <a:cubicBezTo>
                    <a:pt x="5169" y="8523"/>
                    <a:pt x="5232" y="8520"/>
                    <a:pt x="5303" y="8520"/>
                  </a:cubicBezTo>
                  <a:cubicBezTo>
                    <a:pt x="5507" y="8520"/>
                    <a:pt x="5769" y="8549"/>
                    <a:pt x="5840" y="8604"/>
                  </a:cubicBezTo>
                  <a:cubicBezTo>
                    <a:pt x="5910" y="8614"/>
                    <a:pt x="5983" y="8621"/>
                    <a:pt x="6053" y="8625"/>
                  </a:cubicBezTo>
                  <a:cubicBezTo>
                    <a:pt x="6312" y="8639"/>
                    <a:pt x="6515" y="8656"/>
                    <a:pt x="6610" y="8730"/>
                  </a:cubicBezTo>
                  <a:cubicBezTo>
                    <a:pt x="6640" y="8760"/>
                    <a:pt x="6680" y="8777"/>
                    <a:pt x="6724" y="8777"/>
                  </a:cubicBezTo>
                  <a:cubicBezTo>
                    <a:pt x="6731" y="8777"/>
                    <a:pt x="6739" y="8776"/>
                    <a:pt x="6746" y="8775"/>
                  </a:cubicBezTo>
                  <a:cubicBezTo>
                    <a:pt x="6795" y="8761"/>
                    <a:pt x="6844" y="8705"/>
                    <a:pt x="6883" y="8614"/>
                  </a:cubicBezTo>
                  <a:cubicBezTo>
                    <a:pt x="6988" y="8366"/>
                    <a:pt x="7671" y="7890"/>
                    <a:pt x="7758" y="7848"/>
                  </a:cubicBezTo>
                  <a:cubicBezTo>
                    <a:pt x="7814" y="7820"/>
                    <a:pt x="7951" y="7816"/>
                    <a:pt x="8210" y="7816"/>
                  </a:cubicBezTo>
                  <a:cubicBezTo>
                    <a:pt x="8444" y="7816"/>
                    <a:pt x="8707" y="7813"/>
                    <a:pt x="8850" y="7781"/>
                  </a:cubicBezTo>
                  <a:lnTo>
                    <a:pt x="8878" y="7774"/>
                  </a:lnTo>
                  <a:cubicBezTo>
                    <a:pt x="8941" y="7757"/>
                    <a:pt x="9078" y="7718"/>
                    <a:pt x="9376" y="7627"/>
                  </a:cubicBezTo>
                  <a:lnTo>
                    <a:pt x="9379" y="7627"/>
                  </a:lnTo>
                  <a:cubicBezTo>
                    <a:pt x="10055" y="7417"/>
                    <a:pt x="10825" y="7162"/>
                    <a:pt x="11000" y="7088"/>
                  </a:cubicBezTo>
                  <a:lnTo>
                    <a:pt x="11003" y="7088"/>
                  </a:lnTo>
                  <a:lnTo>
                    <a:pt x="11014" y="7085"/>
                  </a:lnTo>
                  <a:lnTo>
                    <a:pt x="11028" y="7078"/>
                  </a:lnTo>
                  <a:cubicBezTo>
                    <a:pt x="11070" y="6997"/>
                    <a:pt x="11105" y="6913"/>
                    <a:pt x="11133" y="6822"/>
                  </a:cubicBezTo>
                  <a:lnTo>
                    <a:pt x="11150" y="6780"/>
                  </a:lnTo>
                  <a:lnTo>
                    <a:pt x="11172" y="6713"/>
                  </a:lnTo>
                  <a:cubicBezTo>
                    <a:pt x="11186" y="6675"/>
                    <a:pt x="11200" y="6633"/>
                    <a:pt x="11214" y="6591"/>
                  </a:cubicBezTo>
                  <a:lnTo>
                    <a:pt x="11221" y="6573"/>
                  </a:lnTo>
                  <a:cubicBezTo>
                    <a:pt x="11273" y="6405"/>
                    <a:pt x="11322" y="6237"/>
                    <a:pt x="11350" y="6122"/>
                  </a:cubicBezTo>
                  <a:lnTo>
                    <a:pt x="11350" y="6118"/>
                  </a:lnTo>
                  <a:cubicBezTo>
                    <a:pt x="11361" y="6073"/>
                    <a:pt x="11368" y="6041"/>
                    <a:pt x="11375" y="6017"/>
                  </a:cubicBezTo>
                  <a:cubicBezTo>
                    <a:pt x="11375" y="6006"/>
                    <a:pt x="11375" y="5999"/>
                    <a:pt x="11378" y="5989"/>
                  </a:cubicBezTo>
                  <a:cubicBezTo>
                    <a:pt x="11361" y="5877"/>
                    <a:pt x="11308" y="5775"/>
                    <a:pt x="11228" y="5691"/>
                  </a:cubicBezTo>
                  <a:cubicBezTo>
                    <a:pt x="11214" y="5677"/>
                    <a:pt x="11193" y="5663"/>
                    <a:pt x="11168" y="5663"/>
                  </a:cubicBezTo>
                  <a:cubicBezTo>
                    <a:pt x="11156" y="5665"/>
                    <a:pt x="11143" y="5666"/>
                    <a:pt x="11131" y="5666"/>
                  </a:cubicBezTo>
                  <a:cubicBezTo>
                    <a:pt x="11119" y="5666"/>
                    <a:pt x="11107" y="5665"/>
                    <a:pt x="11094" y="5663"/>
                  </a:cubicBezTo>
                  <a:lnTo>
                    <a:pt x="11021" y="5663"/>
                  </a:lnTo>
                  <a:lnTo>
                    <a:pt x="10954" y="5660"/>
                  </a:lnTo>
                  <a:cubicBezTo>
                    <a:pt x="10884" y="5653"/>
                    <a:pt x="10797" y="5646"/>
                    <a:pt x="10699" y="5639"/>
                  </a:cubicBezTo>
                  <a:cubicBezTo>
                    <a:pt x="10363" y="5607"/>
                    <a:pt x="9950" y="5558"/>
                    <a:pt x="9803" y="5520"/>
                  </a:cubicBezTo>
                  <a:lnTo>
                    <a:pt x="9796" y="5520"/>
                  </a:lnTo>
                  <a:lnTo>
                    <a:pt x="9782" y="5513"/>
                  </a:lnTo>
                  <a:lnTo>
                    <a:pt x="9775" y="5509"/>
                  </a:lnTo>
                  <a:lnTo>
                    <a:pt x="9764" y="5509"/>
                  </a:lnTo>
                  <a:lnTo>
                    <a:pt x="9754" y="5502"/>
                  </a:lnTo>
                  <a:lnTo>
                    <a:pt x="9733" y="5488"/>
                  </a:lnTo>
                  <a:lnTo>
                    <a:pt x="9722" y="5481"/>
                  </a:lnTo>
                  <a:lnTo>
                    <a:pt x="9708" y="5471"/>
                  </a:lnTo>
                  <a:lnTo>
                    <a:pt x="9694" y="5460"/>
                  </a:lnTo>
                  <a:lnTo>
                    <a:pt x="9680" y="5450"/>
                  </a:lnTo>
                  <a:lnTo>
                    <a:pt x="9666" y="5439"/>
                  </a:lnTo>
                  <a:lnTo>
                    <a:pt x="9649" y="5425"/>
                  </a:lnTo>
                  <a:lnTo>
                    <a:pt x="9635" y="5411"/>
                  </a:lnTo>
                  <a:lnTo>
                    <a:pt x="9617" y="5397"/>
                  </a:lnTo>
                  <a:lnTo>
                    <a:pt x="9600" y="5380"/>
                  </a:lnTo>
                  <a:lnTo>
                    <a:pt x="9582" y="5362"/>
                  </a:lnTo>
                  <a:lnTo>
                    <a:pt x="9565" y="5345"/>
                  </a:lnTo>
                  <a:lnTo>
                    <a:pt x="9547" y="5327"/>
                  </a:lnTo>
                  <a:lnTo>
                    <a:pt x="9530" y="5310"/>
                  </a:lnTo>
                  <a:lnTo>
                    <a:pt x="9512" y="5289"/>
                  </a:lnTo>
                  <a:lnTo>
                    <a:pt x="9498" y="5268"/>
                  </a:lnTo>
                  <a:lnTo>
                    <a:pt x="9477" y="5247"/>
                  </a:lnTo>
                  <a:lnTo>
                    <a:pt x="9463" y="5226"/>
                  </a:lnTo>
                  <a:lnTo>
                    <a:pt x="9446" y="5201"/>
                  </a:lnTo>
                  <a:lnTo>
                    <a:pt x="9432" y="5180"/>
                  </a:lnTo>
                  <a:lnTo>
                    <a:pt x="9414" y="5156"/>
                  </a:lnTo>
                  <a:lnTo>
                    <a:pt x="9400" y="5131"/>
                  </a:lnTo>
                  <a:cubicBezTo>
                    <a:pt x="9397" y="5121"/>
                    <a:pt x="9393" y="5114"/>
                    <a:pt x="9386" y="5103"/>
                  </a:cubicBezTo>
                  <a:cubicBezTo>
                    <a:pt x="9383" y="5096"/>
                    <a:pt x="9379" y="5089"/>
                    <a:pt x="9376" y="5079"/>
                  </a:cubicBezTo>
                  <a:cubicBezTo>
                    <a:pt x="9372" y="5072"/>
                    <a:pt x="9365" y="5061"/>
                    <a:pt x="9362" y="5051"/>
                  </a:cubicBezTo>
                  <a:cubicBezTo>
                    <a:pt x="9358" y="5040"/>
                    <a:pt x="9355" y="5033"/>
                    <a:pt x="9351" y="5026"/>
                  </a:cubicBezTo>
                  <a:cubicBezTo>
                    <a:pt x="9348" y="5016"/>
                    <a:pt x="9344" y="5005"/>
                    <a:pt x="9341" y="4995"/>
                  </a:cubicBezTo>
                  <a:cubicBezTo>
                    <a:pt x="9337" y="4988"/>
                    <a:pt x="9334" y="4977"/>
                    <a:pt x="9330" y="4970"/>
                  </a:cubicBezTo>
                  <a:cubicBezTo>
                    <a:pt x="9330" y="4959"/>
                    <a:pt x="9327" y="4949"/>
                    <a:pt x="9323" y="4938"/>
                  </a:cubicBezTo>
                  <a:cubicBezTo>
                    <a:pt x="9320" y="4928"/>
                    <a:pt x="9320" y="4921"/>
                    <a:pt x="9316" y="4910"/>
                  </a:cubicBezTo>
                  <a:cubicBezTo>
                    <a:pt x="9316" y="4903"/>
                    <a:pt x="9313" y="4900"/>
                    <a:pt x="9313" y="4893"/>
                  </a:cubicBezTo>
                  <a:cubicBezTo>
                    <a:pt x="9218" y="4805"/>
                    <a:pt x="9145" y="4697"/>
                    <a:pt x="9099" y="4578"/>
                  </a:cubicBezTo>
                  <a:lnTo>
                    <a:pt x="9029" y="4578"/>
                  </a:lnTo>
                  <a:lnTo>
                    <a:pt x="9004" y="4574"/>
                  </a:lnTo>
                  <a:lnTo>
                    <a:pt x="8976" y="4567"/>
                  </a:lnTo>
                  <a:lnTo>
                    <a:pt x="8973" y="4567"/>
                  </a:lnTo>
                  <a:lnTo>
                    <a:pt x="8945" y="4560"/>
                  </a:lnTo>
                  <a:lnTo>
                    <a:pt x="8941" y="4560"/>
                  </a:lnTo>
                  <a:lnTo>
                    <a:pt x="8913" y="4550"/>
                  </a:lnTo>
                  <a:lnTo>
                    <a:pt x="8910" y="4546"/>
                  </a:lnTo>
                  <a:lnTo>
                    <a:pt x="8885" y="4536"/>
                  </a:lnTo>
                  <a:lnTo>
                    <a:pt x="8875" y="4532"/>
                  </a:lnTo>
                  <a:lnTo>
                    <a:pt x="8854" y="4518"/>
                  </a:lnTo>
                  <a:lnTo>
                    <a:pt x="8843" y="4511"/>
                  </a:lnTo>
                  <a:lnTo>
                    <a:pt x="8822" y="4497"/>
                  </a:lnTo>
                  <a:lnTo>
                    <a:pt x="8812" y="4487"/>
                  </a:lnTo>
                  <a:lnTo>
                    <a:pt x="8794" y="4473"/>
                  </a:lnTo>
                  <a:lnTo>
                    <a:pt x="8780" y="4462"/>
                  </a:lnTo>
                  <a:lnTo>
                    <a:pt x="8763" y="4445"/>
                  </a:lnTo>
                  <a:lnTo>
                    <a:pt x="8752" y="4431"/>
                  </a:lnTo>
                  <a:lnTo>
                    <a:pt x="8735" y="4410"/>
                  </a:lnTo>
                  <a:lnTo>
                    <a:pt x="8721" y="4392"/>
                  </a:lnTo>
                  <a:lnTo>
                    <a:pt x="8707" y="4375"/>
                  </a:lnTo>
                  <a:lnTo>
                    <a:pt x="8696" y="4354"/>
                  </a:lnTo>
                  <a:lnTo>
                    <a:pt x="8682" y="4333"/>
                  </a:lnTo>
                  <a:cubicBezTo>
                    <a:pt x="8679" y="4322"/>
                    <a:pt x="8675" y="4315"/>
                    <a:pt x="8668" y="4308"/>
                  </a:cubicBezTo>
                  <a:cubicBezTo>
                    <a:pt x="8665" y="4298"/>
                    <a:pt x="8661" y="4291"/>
                    <a:pt x="8658" y="4284"/>
                  </a:cubicBezTo>
                  <a:cubicBezTo>
                    <a:pt x="8654" y="4277"/>
                    <a:pt x="8651" y="4266"/>
                    <a:pt x="8644" y="4256"/>
                  </a:cubicBezTo>
                  <a:cubicBezTo>
                    <a:pt x="8640" y="4249"/>
                    <a:pt x="8640" y="4245"/>
                    <a:pt x="8637" y="4238"/>
                  </a:cubicBezTo>
                  <a:cubicBezTo>
                    <a:pt x="8535" y="4151"/>
                    <a:pt x="8336" y="3881"/>
                    <a:pt x="8315" y="3706"/>
                  </a:cubicBezTo>
                  <a:cubicBezTo>
                    <a:pt x="8308" y="3657"/>
                    <a:pt x="8318" y="3605"/>
                    <a:pt x="8350" y="3566"/>
                  </a:cubicBezTo>
                  <a:cubicBezTo>
                    <a:pt x="8430" y="3479"/>
                    <a:pt x="8290" y="3230"/>
                    <a:pt x="8112" y="3069"/>
                  </a:cubicBezTo>
                  <a:lnTo>
                    <a:pt x="8038" y="2999"/>
                  </a:lnTo>
                  <a:cubicBezTo>
                    <a:pt x="7783" y="2771"/>
                    <a:pt x="7548" y="2551"/>
                    <a:pt x="7534" y="2379"/>
                  </a:cubicBezTo>
                  <a:cubicBezTo>
                    <a:pt x="7524" y="2320"/>
                    <a:pt x="7506" y="2260"/>
                    <a:pt x="7485" y="2204"/>
                  </a:cubicBezTo>
                  <a:lnTo>
                    <a:pt x="7069" y="2180"/>
                  </a:lnTo>
                  <a:lnTo>
                    <a:pt x="6788" y="1942"/>
                  </a:lnTo>
                  <a:lnTo>
                    <a:pt x="6519" y="1889"/>
                  </a:lnTo>
                  <a:lnTo>
                    <a:pt x="6470" y="1882"/>
                  </a:lnTo>
                  <a:lnTo>
                    <a:pt x="6186" y="1847"/>
                  </a:lnTo>
                  <a:lnTo>
                    <a:pt x="6151" y="1847"/>
                  </a:lnTo>
                  <a:lnTo>
                    <a:pt x="6001" y="1830"/>
                  </a:lnTo>
                  <a:lnTo>
                    <a:pt x="5952" y="1826"/>
                  </a:lnTo>
                  <a:lnTo>
                    <a:pt x="5843" y="1826"/>
                  </a:lnTo>
                  <a:cubicBezTo>
                    <a:pt x="5696" y="1826"/>
                    <a:pt x="5360" y="1777"/>
                    <a:pt x="5154" y="1592"/>
                  </a:cubicBezTo>
                  <a:cubicBezTo>
                    <a:pt x="4965" y="1424"/>
                    <a:pt x="4019" y="716"/>
                    <a:pt x="3851" y="629"/>
                  </a:cubicBezTo>
                  <a:cubicBezTo>
                    <a:pt x="3788" y="601"/>
                    <a:pt x="3676" y="524"/>
                    <a:pt x="3529" y="429"/>
                  </a:cubicBezTo>
                  <a:cubicBezTo>
                    <a:pt x="3281" y="268"/>
                    <a:pt x="2906" y="23"/>
                    <a:pt x="2794" y="9"/>
                  </a:cubicBezTo>
                  <a:cubicBezTo>
                    <a:pt x="2748" y="4"/>
                    <a:pt x="2702" y="1"/>
                    <a:pt x="26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2" name="Google Shape;5969;p64">
              <a:extLst>
                <a:ext uri="{FF2B5EF4-FFF2-40B4-BE49-F238E27FC236}">
                  <a16:creationId xmlns:a16="http://schemas.microsoft.com/office/drawing/2014/main" id="{FE4FD14A-DEB4-B1D0-77D8-A1D89590A764}"/>
                </a:ext>
              </a:extLst>
            </p:cNvPr>
            <p:cNvSpPr/>
            <p:nvPr/>
          </p:nvSpPr>
          <p:spPr>
            <a:xfrm>
              <a:off x="2303017" y="1816074"/>
              <a:ext cx="394" cy="1059"/>
            </a:xfrm>
            <a:custGeom>
              <a:avLst/>
              <a:gdLst/>
              <a:ahLst/>
              <a:cxnLst/>
              <a:rect l="l" t="t" r="r" b="b"/>
              <a:pathLst>
                <a:path w="29" h="78" extrusionOk="0">
                  <a:moveTo>
                    <a:pt x="29" y="0"/>
                  </a:moveTo>
                  <a:lnTo>
                    <a:pt x="1" y="7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3" name="Google Shape;5970;p64">
              <a:extLst>
                <a:ext uri="{FF2B5EF4-FFF2-40B4-BE49-F238E27FC236}">
                  <a16:creationId xmlns:a16="http://schemas.microsoft.com/office/drawing/2014/main" id="{92B520BE-2D87-7800-22A5-A4985A12341A}"/>
                </a:ext>
              </a:extLst>
            </p:cNvPr>
            <p:cNvSpPr/>
            <p:nvPr/>
          </p:nvSpPr>
          <p:spPr>
            <a:xfrm>
              <a:off x="2334625" y="1795491"/>
              <a:ext cx="1534" cy="14"/>
            </a:xfrm>
            <a:custGeom>
              <a:avLst/>
              <a:gdLst/>
              <a:ahLst/>
              <a:cxnLst/>
              <a:rect l="l" t="t" r="r" b="b"/>
              <a:pathLst>
                <a:path w="113" h="1" extrusionOk="0">
                  <a:moveTo>
                    <a:pt x="113" y="0"/>
                  </a:moveTo>
                  <a:lnTo>
                    <a:pt x="113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4" name="Google Shape;5971;p64">
              <a:extLst>
                <a:ext uri="{FF2B5EF4-FFF2-40B4-BE49-F238E27FC236}">
                  <a16:creationId xmlns:a16="http://schemas.microsoft.com/office/drawing/2014/main" id="{9AEAC99E-A738-2C16-8F56-945A197F4AAA}"/>
                </a:ext>
              </a:extLst>
            </p:cNvPr>
            <p:cNvSpPr/>
            <p:nvPr/>
          </p:nvSpPr>
          <p:spPr>
            <a:xfrm>
              <a:off x="2312765" y="1818355"/>
              <a:ext cx="434" cy="204"/>
            </a:xfrm>
            <a:custGeom>
              <a:avLst/>
              <a:gdLst/>
              <a:ahLst/>
              <a:cxnLst/>
              <a:rect l="l" t="t" r="r" b="b"/>
              <a:pathLst>
                <a:path w="32" h="15" extrusionOk="0">
                  <a:moveTo>
                    <a:pt x="32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5" name="Google Shape;5972;p64">
              <a:extLst>
                <a:ext uri="{FF2B5EF4-FFF2-40B4-BE49-F238E27FC236}">
                  <a16:creationId xmlns:a16="http://schemas.microsoft.com/office/drawing/2014/main" id="{210CD710-690C-48A2-A9E3-95EAC521897A}"/>
                </a:ext>
              </a:extLst>
            </p:cNvPr>
            <p:cNvSpPr/>
            <p:nvPr/>
          </p:nvSpPr>
          <p:spPr>
            <a:xfrm>
              <a:off x="2311530" y="1818776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6" name="Google Shape;5973;p64">
              <a:extLst>
                <a:ext uri="{FF2B5EF4-FFF2-40B4-BE49-F238E27FC236}">
                  <a16:creationId xmlns:a16="http://schemas.microsoft.com/office/drawing/2014/main" id="{30ACC0BD-8C12-F5D2-19C9-1DC36C4B836B}"/>
                </a:ext>
              </a:extLst>
            </p:cNvPr>
            <p:cNvSpPr/>
            <p:nvPr/>
          </p:nvSpPr>
          <p:spPr>
            <a:xfrm>
              <a:off x="2314571" y="1817025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43" y="0"/>
                  </a:moveTo>
                  <a:cubicBezTo>
                    <a:pt x="29" y="14"/>
                    <a:pt x="15" y="25"/>
                    <a:pt x="1" y="35"/>
                  </a:cubicBezTo>
                  <a:cubicBezTo>
                    <a:pt x="15" y="25"/>
                    <a:pt x="29" y="14"/>
                    <a:pt x="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7" name="Google Shape;5974;p64">
              <a:extLst>
                <a:ext uri="{FF2B5EF4-FFF2-40B4-BE49-F238E27FC236}">
                  <a16:creationId xmlns:a16="http://schemas.microsoft.com/office/drawing/2014/main" id="{EC18B2A0-7183-F39A-2AED-17CB439DC0DB}"/>
                </a:ext>
              </a:extLst>
            </p:cNvPr>
            <p:cNvSpPr/>
            <p:nvPr/>
          </p:nvSpPr>
          <p:spPr>
            <a:xfrm>
              <a:off x="2310959" y="1818926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8" y="0"/>
                  </a:moveTo>
                  <a:cubicBezTo>
                    <a:pt x="18" y="0"/>
                    <a:pt x="11" y="0"/>
                    <a:pt x="0" y="4"/>
                  </a:cubicBezTo>
                  <a:cubicBezTo>
                    <a:pt x="11" y="0"/>
                    <a:pt x="18" y="0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8" name="Google Shape;5975;p64">
              <a:extLst>
                <a:ext uri="{FF2B5EF4-FFF2-40B4-BE49-F238E27FC236}">
                  <a16:creationId xmlns:a16="http://schemas.microsoft.com/office/drawing/2014/main" id="{7C046610-6E50-FB60-FBD5-421911E473CF}"/>
                </a:ext>
              </a:extLst>
            </p:cNvPr>
            <p:cNvSpPr/>
            <p:nvPr/>
          </p:nvSpPr>
          <p:spPr>
            <a:xfrm>
              <a:off x="2313376" y="1818016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33" y="1"/>
                  </a:moveTo>
                  <a:cubicBezTo>
                    <a:pt x="22" y="8"/>
                    <a:pt x="12" y="11"/>
                    <a:pt x="1" y="18"/>
                  </a:cubicBezTo>
                  <a:cubicBezTo>
                    <a:pt x="12" y="11"/>
                    <a:pt x="22" y="8"/>
                    <a:pt x="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9" name="Google Shape;5976;p64">
              <a:extLst>
                <a:ext uri="{FF2B5EF4-FFF2-40B4-BE49-F238E27FC236}">
                  <a16:creationId xmlns:a16="http://schemas.microsoft.com/office/drawing/2014/main" id="{BCC9CBBF-3F95-AEC6-6A7A-33F6F6EA94CA}"/>
                </a:ext>
              </a:extLst>
            </p:cNvPr>
            <p:cNvSpPr/>
            <p:nvPr/>
          </p:nvSpPr>
          <p:spPr>
            <a:xfrm>
              <a:off x="2314001" y="1817595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0"/>
                  </a:moveTo>
                  <a:cubicBezTo>
                    <a:pt x="18" y="7"/>
                    <a:pt x="11" y="14"/>
                    <a:pt x="1" y="21"/>
                  </a:cubicBezTo>
                  <a:cubicBezTo>
                    <a:pt x="11" y="18"/>
                    <a:pt x="22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0" name="Google Shape;5977;p64">
              <a:extLst>
                <a:ext uri="{FF2B5EF4-FFF2-40B4-BE49-F238E27FC236}">
                  <a16:creationId xmlns:a16="http://schemas.microsoft.com/office/drawing/2014/main" id="{8290D8F8-3D30-2EEB-B38E-8D7324FF2E53}"/>
                </a:ext>
              </a:extLst>
            </p:cNvPr>
            <p:cNvSpPr/>
            <p:nvPr/>
          </p:nvSpPr>
          <p:spPr>
            <a:xfrm>
              <a:off x="2305963" y="1817405"/>
              <a:ext cx="4250" cy="1534"/>
            </a:xfrm>
            <a:custGeom>
              <a:avLst/>
              <a:gdLst/>
              <a:ahLst/>
              <a:cxnLst/>
              <a:rect l="l" t="t" r="r" b="b"/>
              <a:pathLst>
                <a:path w="313" h="113" extrusionOk="0">
                  <a:moveTo>
                    <a:pt x="312" y="112"/>
                  </a:moveTo>
                  <a:cubicBezTo>
                    <a:pt x="204" y="91"/>
                    <a:pt x="99" y="53"/>
                    <a:pt x="1" y="0"/>
                  </a:cubicBezTo>
                  <a:cubicBezTo>
                    <a:pt x="99" y="53"/>
                    <a:pt x="204" y="91"/>
                    <a:pt x="312" y="11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1" name="Google Shape;5978;p64">
              <a:extLst>
                <a:ext uri="{FF2B5EF4-FFF2-40B4-BE49-F238E27FC236}">
                  <a16:creationId xmlns:a16="http://schemas.microsoft.com/office/drawing/2014/main" id="{F374A181-7A19-48CF-9B40-2D87C94DA639}"/>
                </a:ext>
              </a:extLst>
            </p:cNvPr>
            <p:cNvSpPr/>
            <p:nvPr/>
          </p:nvSpPr>
          <p:spPr>
            <a:xfrm>
              <a:off x="2312141" y="1818586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3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2" name="Google Shape;5979;p64">
              <a:extLst>
                <a:ext uri="{FF2B5EF4-FFF2-40B4-BE49-F238E27FC236}">
                  <a16:creationId xmlns:a16="http://schemas.microsoft.com/office/drawing/2014/main" id="{E1215579-DFD9-B1A3-CE3E-4D9B88E5669D}"/>
                </a:ext>
              </a:extLst>
            </p:cNvPr>
            <p:cNvSpPr/>
            <p:nvPr/>
          </p:nvSpPr>
          <p:spPr>
            <a:xfrm>
              <a:off x="2305447" y="18171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3" name="Google Shape;5980;p64">
              <a:extLst>
                <a:ext uri="{FF2B5EF4-FFF2-40B4-BE49-F238E27FC236}">
                  <a16:creationId xmlns:a16="http://schemas.microsoft.com/office/drawing/2014/main" id="{D7798E25-B74D-0295-C141-0A144DDA989C}"/>
                </a:ext>
              </a:extLst>
            </p:cNvPr>
            <p:cNvSpPr/>
            <p:nvPr/>
          </p:nvSpPr>
          <p:spPr>
            <a:xfrm>
              <a:off x="2310199" y="1818966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35" y="1"/>
                  </a:moveTo>
                  <a:lnTo>
                    <a:pt x="42" y="1"/>
                  </a:lnTo>
                  <a:cubicBezTo>
                    <a:pt x="28" y="1"/>
                    <a:pt x="14" y="1"/>
                    <a:pt x="0" y="1"/>
                  </a:cubicBezTo>
                  <a:cubicBezTo>
                    <a:pt x="11" y="1"/>
                    <a:pt x="25" y="1"/>
                    <a:pt x="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4" name="Google Shape;5981;p64">
              <a:extLst>
                <a:ext uri="{FF2B5EF4-FFF2-40B4-BE49-F238E27FC236}">
                  <a16:creationId xmlns:a16="http://schemas.microsoft.com/office/drawing/2014/main" id="{ACA2542C-DEB6-BBB1-68EA-A3136F90C483}"/>
                </a:ext>
              </a:extLst>
            </p:cNvPr>
            <p:cNvSpPr/>
            <p:nvPr/>
          </p:nvSpPr>
          <p:spPr>
            <a:xfrm>
              <a:off x="2431555" y="1853331"/>
              <a:ext cx="57338" cy="63991"/>
            </a:xfrm>
            <a:custGeom>
              <a:avLst/>
              <a:gdLst/>
              <a:ahLst/>
              <a:cxnLst/>
              <a:rect l="l" t="t" r="r" b="b"/>
              <a:pathLst>
                <a:path w="4223" h="4713" extrusionOk="0">
                  <a:moveTo>
                    <a:pt x="2451" y="1"/>
                  </a:moveTo>
                  <a:lnTo>
                    <a:pt x="2318" y="74"/>
                  </a:lnTo>
                  <a:lnTo>
                    <a:pt x="2160" y="74"/>
                  </a:lnTo>
                  <a:lnTo>
                    <a:pt x="2160" y="445"/>
                  </a:lnTo>
                  <a:lnTo>
                    <a:pt x="1807" y="894"/>
                  </a:lnTo>
                  <a:lnTo>
                    <a:pt x="1659" y="1258"/>
                  </a:lnTo>
                  <a:lnTo>
                    <a:pt x="1673" y="1258"/>
                  </a:lnTo>
                  <a:cubicBezTo>
                    <a:pt x="1680" y="1257"/>
                    <a:pt x="1686" y="1256"/>
                    <a:pt x="1692" y="1256"/>
                  </a:cubicBezTo>
                  <a:cubicBezTo>
                    <a:pt x="1712" y="1256"/>
                    <a:pt x="1732" y="1260"/>
                    <a:pt x="1751" y="1268"/>
                  </a:cubicBezTo>
                  <a:cubicBezTo>
                    <a:pt x="1761" y="1272"/>
                    <a:pt x="1775" y="1279"/>
                    <a:pt x="1786" y="1282"/>
                  </a:cubicBezTo>
                  <a:lnTo>
                    <a:pt x="1789" y="1282"/>
                  </a:lnTo>
                  <a:cubicBezTo>
                    <a:pt x="1803" y="1293"/>
                    <a:pt x="1821" y="1303"/>
                    <a:pt x="1835" y="1317"/>
                  </a:cubicBezTo>
                  <a:cubicBezTo>
                    <a:pt x="1940" y="1412"/>
                    <a:pt x="2027" y="1611"/>
                    <a:pt x="2027" y="1713"/>
                  </a:cubicBezTo>
                  <a:cubicBezTo>
                    <a:pt x="2027" y="1804"/>
                    <a:pt x="1733" y="2819"/>
                    <a:pt x="1624" y="2903"/>
                  </a:cubicBezTo>
                  <a:lnTo>
                    <a:pt x="1617" y="2910"/>
                  </a:lnTo>
                  <a:lnTo>
                    <a:pt x="1614" y="2914"/>
                  </a:lnTo>
                  <a:lnTo>
                    <a:pt x="1610" y="2914"/>
                  </a:lnTo>
                  <a:cubicBezTo>
                    <a:pt x="1456" y="2994"/>
                    <a:pt x="445" y="3320"/>
                    <a:pt x="0" y="3456"/>
                  </a:cubicBezTo>
                  <a:cubicBezTo>
                    <a:pt x="119" y="3698"/>
                    <a:pt x="266" y="4006"/>
                    <a:pt x="417" y="4314"/>
                  </a:cubicBezTo>
                  <a:lnTo>
                    <a:pt x="441" y="4363"/>
                  </a:lnTo>
                  <a:lnTo>
                    <a:pt x="455" y="4391"/>
                  </a:lnTo>
                  <a:lnTo>
                    <a:pt x="609" y="4713"/>
                  </a:lnTo>
                  <a:cubicBezTo>
                    <a:pt x="634" y="4702"/>
                    <a:pt x="658" y="4688"/>
                    <a:pt x="683" y="4674"/>
                  </a:cubicBezTo>
                  <a:cubicBezTo>
                    <a:pt x="893" y="4555"/>
                    <a:pt x="1113" y="4548"/>
                    <a:pt x="1306" y="4545"/>
                  </a:cubicBezTo>
                  <a:cubicBezTo>
                    <a:pt x="1400" y="4545"/>
                    <a:pt x="1495" y="4534"/>
                    <a:pt x="1589" y="4517"/>
                  </a:cubicBezTo>
                  <a:cubicBezTo>
                    <a:pt x="1663" y="4496"/>
                    <a:pt x="1659" y="4478"/>
                    <a:pt x="1659" y="4398"/>
                  </a:cubicBezTo>
                  <a:cubicBezTo>
                    <a:pt x="1656" y="4317"/>
                    <a:pt x="1652" y="4202"/>
                    <a:pt x="1775" y="4100"/>
                  </a:cubicBezTo>
                  <a:cubicBezTo>
                    <a:pt x="1881" y="4012"/>
                    <a:pt x="2006" y="3993"/>
                    <a:pt x="2118" y="3993"/>
                  </a:cubicBezTo>
                  <a:cubicBezTo>
                    <a:pt x="2162" y="3993"/>
                    <a:pt x="2203" y="3996"/>
                    <a:pt x="2241" y="3999"/>
                  </a:cubicBezTo>
                  <a:cubicBezTo>
                    <a:pt x="2261" y="4002"/>
                    <a:pt x="2282" y="4004"/>
                    <a:pt x="2304" y="4004"/>
                  </a:cubicBezTo>
                  <a:cubicBezTo>
                    <a:pt x="2330" y="4004"/>
                    <a:pt x="2357" y="4001"/>
                    <a:pt x="2384" y="3995"/>
                  </a:cubicBezTo>
                  <a:cubicBezTo>
                    <a:pt x="2409" y="3981"/>
                    <a:pt x="2454" y="3894"/>
                    <a:pt x="2482" y="3831"/>
                  </a:cubicBezTo>
                  <a:cubicBezTo>
                    <a:pt x="2549" y="3694"/>
                    <a:pt x="2622" y="3544"/>
                    <a:pt x="2745" y="3491"/>
                  </a:cubicBezTo>
                  <a:cubicBezTo>
                    <a:pt x="2808" y="3470"/>
                    <a:pt x="2871" y="3453"/>
                    <a:pt x="2937" y="3442"/>
                  </a:cubicBezTo>
                  <a:cubicBezTo>
                    <a:pt x="3060" y="3421"/>
                    <a:pt x="3060" y="3414"/>
                    <a:pt x="3053" y="3386"/>
                  </a:cubicBezTo>
                  <a:cubicBezTo>
                    <a:pt x="3032" y="3243"/>
                    <a:pt x="3053" y="2619"/>
                    <a:pt x="3291" y="2574"/>
                  </a:cubicBezTo>
                  <a:cubicBezTo>
                    <a:pt x="3455" y="2542"/>
                    <a:pt x="3676" y="2378"/>
                    <a:pt x="3683" y="2325"/>
                  </a:cubicBezTo>
                  <a:cubicBezTo>
                    <a:pt x="3690" y="2259"/>
                    <a:pt x="3764" y="2157"/>
                    <a:pt x="3935" y="1944"/>
                  </a:cubicBezTo>
                  <a:cubicBezTo>
                    <a:pt x="4012" y="1853"/>
                    <a:pt x="4082" y="1758"/>
                    <a:pt x="4145" y="1660"/>
                  </a:cubicBezTo>
                  <a:cubicBezTo>
                    <a:pt x="4222" y="1527"/>
                    <a:pt x="4215" y="1492"/>
                    <a:pt x="4212" y="1485"/>
                  </a:cubicBezTo>
                  <a:cubicBezTo>
                    <a:pt x="4208" y="1478"/>
                    <a:pt x="4191" y="1468"/>
                    <a:pt x="4152" y="1461"/>
                  </a:cubicBezTo>
                  <a:cubicBezTo>
                    <a:pt x="3970" y="1433"/>
                    <a:pt x="3735" y="1027"/>
                    <a:pt x="3644" y="852"/>
                  </a:cubicBezTo>
                  <a:cubicBezTo>
                    <a:pt x="3630" y="831"/>
                    <a:pt x="3522" y="813"/>
                    <a:pt x="3445" y="799"/>
                  </a:cubicBezTo>
                  <a:cubicBezTo>
                    <a:pt x="3249" y="768"/>
                    <a:pt x="2986" y="722"/>
                    <a:pt x="2748" y="533"/>
                  </a:cubicBezTo>
                  <a:cubicBezTo>
                    <a:pt x="2619" y="435"/>
                    <a:pt x="2521" y="260"/>
                    <a:pt x="245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5" name="Google Shape;5982;p64">
              <a:extLst>
                <a:ext uri="{FF2B5EF4-FFF2-40B4-BE49-F238E27FC236}">
                  <a16:creationId xmlns:a16="http://schemas.microsoft.com/office/drawing/2014/main" id="{C457E734-8793-4885-FF45-1DDFF30F402C}"/>
                </a:ext>
              </a:extLst>
            </p:cNvPr>
            <p:cNvSpPr/>
            <p:nvPr/>
          </p:nvSpPr>
          <p:spPr>
            <a:xfrm>
              <a:off x="2455845" y="1870778"/>
              <a:ext cx="625" cy="489"/>
            </a:xfrm>
            <a:custGeom>
              <a:avLst/>
              <a:gdLst/>
              <a:ahLst/>
              <a:cxnLst/>
              <a:rect l="l" t="t" r="r" b="b"/>
              <a:pathLst>
                <a:path w="46" h="36" extrusionOk="0">
                  <a:moveTo>
                    <a:pt x="0" y="1"/>
                  </a:moveTo>
                  <a:cubicBezTo>
                    <a:pt x="18" y="11"/>
                    <a:pt x="32" y="22"/>
                    <a:pt x="46" y="36"/>
                  </a:cubicBezTo>
                  <a:cubicBezTo>
                    <a:pt x="32" y="22"/>
                    <a:pt x="18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6" name="Google Shape;5983;p64">
              <a:extLst>
                <a:ext uri="{FF2B5EF4-FFF2-40B4-BE49-F238E27FC236}">
                  <a16:creationId xmlns:a16="http://schemas.microsoft.com/office/drawing/2014/main" id="{A73385F9-6128-6ED4-C6E4-67BC8C1918A1}"/>
                </a:ext>
              </a:extLst>
            </p:cNvPr>
            <p:cNvSpPr/>
            <p:nvPr/>
          </p:nvSpPr>
          <p:spPr>
            <a:xfrm>
              <a:off x="2453550" y="189278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7" name="Google Shape;5984;p64">
              <a:extLst>
                <a:ext uri="{FF2B5EF4-FFF2-40B4-BE49-F238E27FC236}">
                  <a16:creationId xmlns:a16="http://schemas.microsoft.com/office/drawing/2014/main" id="{047CD59B-0C2E-2A82-3EEB-915CB8E0BD29}"/>
                </a:ext>
              </a:extLst>
            </p:cNvPr>
            <p:cNvSpPr/>
            <p:nvPr/>
          </p:nvSpPr>
          <p:spPr>
            <a:xfrm>
              <a:off x="2455791" y="1870737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8" name="Google Shape;5985;p64">
              <a:extLst>
                <a:ext uri="{FF2B5EF4-FFF2-40B4-BE49-F238E27FC236}">
                  <a16:creationId xmlns:a16="http://schemas.microsoft.com/office/drawing/2014/main" id="{894D134D-55DB-F61C-F4CD-9FE0AE4ED163}"/>
                </a:ext>
              </a:extLst>
            </p:cNvPr>
            <p:cNvSpPr/>
            <p:nvPr/>
          </p:nvSpPr>
          <p:spPr>
            <a:xfrm>
              <a:off x="2453414" y="189288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9" name="Google Shape;5986;p64">
              <a:extLst>
                <a:ext uri="{FF2B5EF4-FFF2-40B4-BE49-F238E27FC236}">
                  <a16:creationId xmlns:a16="http://schemas.microsoft.com/office/drawing/2014/main" id="{A2E3F362-239B-8787-8C4F-1D986FB9F9DD}"/>
                </a:ext>
              </a:extLst>
            </p:cNvPr>
            <p:cNvSpPr/>
            <p:nvPr/>
          </p:nvSpPr>
          <p:spPr>
            <a:xfrm>
              <a:off x="2454270" y="1870357"/>
              <a:ext cx="1059" cy="204"/>
            </a:xfrm>
            <a:custGeom>
              <a:avLst/>
              <a:gdLst/>
              <a:ahLst/>
              <a:cxnLst/>
              <a:rect l="l" t="t" r="r" b="b"/>
              <a:pathLst>
                <a:path w="78" h="15" extrusionOk="0">
                  <a:moveTo>
                    <a:pt x="78" y="14"/>
                  </a:moveTo>
                  <a:cubicBezTo>
                    <a:pt x="53" y="4"/>
                    <a:pt x="25" y="0"/>
                    <a:pt x="0" y="4"/>
                  </a:cubicBezTo>
                  <a:lnTo>
                    <a:pt x="0" y="4"/>
                  </a:lnTo>
                  <a:cubicBezTo>
                    <a:pt x="25" y="0"/>
                    <a:pt x="53" y="4"/>
                    <a:pt x="78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0" name="Google Shape;5987;p64">
              <a:extLst>
                <a:ext uri="{FF2B5EF4-FFF2-40B4-BE49-F238E27FC236}">
                  <a16:creationId xmlns:a16="http://schemas.microsoft.com/office/drawing/2014/main" id="{E590C38B-57D2-BE3A-FD04-634FBC1CCE92}"/>
                </a:ext>
              </a:extLst>
            </p:cNvPr>
            <p:cNvSpPr/>
            <p:nvPr/>
          </p:nvSpPr>
          <p:spPr>
            <a:xfrm>
              <a:off x="2422037" y="1845619"/>
              <a:ext cx="5961" cy="9912"/>
            </a:xfrm>
            <a:custGeom>
              <a:avLst/>
              <a:gdLst/>
              <a:ahLst/>
              <a:cxnLst/>
              <a:rect l="l" t="t" r="r" b="b"/>
              <a:pathLst>
                <a:path w="439" h="730" extrusionOk="0">
                  <a:moveTo>
                    <a:pt x="266" y="0"/>
                  </a:moveTo>
                  <a:cubicBezTo>
                    <a:pt x="243" y="0"/>
                    <a:pt x="221" y="9"/>
                    <a:pt x="204" y="26"/>
                  </a:cubicBezTo>
                  <a:cubicBezTo>
                    <a:pt x="88" y="114"/>
                    <a:pt x="15" y="383"/>
                    <a:pt x="15" y="474"/>
                  </a:cubicBezTo>
                  <a:cubicBezTo>
                    <a:pt x="15" y="492"/>
                    <a:pt x="8" y="509"/>
                    <a:pt x="1" y="523"/>
                  </a:cubicBezTo>
                  <a:lnTo>
                    <a:pt x="8" y="537"/>
                  </a:lnTo>
                  <a:lnTo>
                    <a:pt x="11" y="548"/>
                  </a:lnTo>
                  <a:cubicBezTo>
                    <a:pt x="22" y="569"/>
                    <a:pt x="36" y="586"/>
                    <a:pt x="53" y="607"/>
                  </a:cubicBezTo>
                  <a:lnTo>
                    <a:pt x="57" y="614"/>
                  </a:lnTo>
                  <a:cubicBezTo>
                    <a:pt x="64" y="621"/>
                    <a:pt x="71" y="628"/>
                    <a:pt x="74" y="635"/>
                  </a:cubicBezTo>
                  <a:lnTo>
                    <a:pt x="78" y="639"/>
                  </a:lnTo>
                  <a:cubicBezTo>
                    <a:pt x="88" y="646"/>
                    <a:pt x="95" y="653"/>
                    <a:pt x="102" y="660"/>
                  </a:cubicBezTo>
                  <a:cubicBezTo>
                    <a:pt x="109" y="667"/>
                    <a:pt x="116" y="674"/>
                    <a:pt x="127" y="677"/>
                  </a:cubicBezTo>
                  <a:lnTo>
                    <a:pt x="130" y="681"/>
                  </a:lnTo>
                  <a:cubicBezTo>
                    <a:pt x="137" y="684"/>
                    <a:pt x="144" y="691"/>
                    <a:pt x="151" y="695"/>
                  </a:cubicBezTo>
                  <a:cubicBezTo>
                    <a:pt x="162" y="698"/>
                    <a:pt x="169" y="702"/>
                    <a:pt x="176" y="709"/>
                  </a:cubicBezTo>
                  <a:lnTo>
                    <a:pt x="200" y="716"/>
                  </a:lnTo>
                  <a:lnTo>
                    <a:pt x="204" y="716"/>
                  </a:lnTo>
                  <a:cubicBezTo>
                    <a:pt x="221" y="719"/>
                    <a:pt x="239" y="726"/>
                    <a:pt x="253" y="726"/>
                  </a:cubicBezTo>
                  <a:lnTo>
                    <a:pt x="277" y="730"/>
                  </a:lnTo>
                  <a:lnTo>
                    <a:pt x="284" y="730"/>
                  </a:lnTo>
                  <a:cubicBezTo>
                    <a:pt x="284" y="688"/>
                    <a:pt x="295" y="642"/>
                    <a:pt x="316" y="607"/>
                  </a:cubicBezTo>
                  <a:cubicBezTo>
                    <a:pt x="393" y="488"/>
                    <a:pt x="439" y="229"/>
                    <a:pt x="383" y="93"/>
                  </a:cubicBezTo>
                  <a:cubicBezTo>
                    <a:pt x="369" y="51"/>
                    <a:pt x="337" y="16"/>
                    <a:pt x="295" y="5"/>
                  </a:cubicBezTo>
                  <a:cubicBezTo>
                    <a:pt x="286" y="2"/>
                    <a:pt x="276" y="0"/>
                    <a:pt x="26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1" name="Google Shape;5988;p64">
              <a:extLst>
                <a:ext uri="{FF2B5EF4-FFF2-40B4-BE49-F238E27FC236}">
                  <a16:creationId xmlns:a16="http://schemas.microsoft.com/office/drawing/2014/main" id="{3A384390-3E7F-0972-25CC-293196321E39}"/>
                </a:ext>
              </a:extLst>
            </p:cNvPr>
            <p:cNvSpPr/>
            <p:nvPr/>
          </p:nvSpPr>
          <p:spPr>
            <a:xfrm>
              <a:off x="2425553" y="185557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2" name="Google Shape;5989;p64">
              <a:extLst>
                <a:ext uri="{FF2B5EF4-FFF2-40B4-BE49-F238E27FC236}">
                  <a16:creationId xmlns:a16="http://schemas.microsoft.com/office/drawing/2014/main" id="{8C885DC2-2514-53BE-BE63-7C66D6EB6AEE}"/>
                </a:ext>
              </a:extLst>
            </p:cNvPr>
            <p:cNvSpPr/>
            <p:nvPr/>
          </p:nvSpPr>
          <p:spPr>
            <a:xfrm>
              <a:off x="2422852" y="185395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1"/>
                  </a:moveTo>
                  <a:cubicBezTo>
                    <a:pt x="11" y="14"/>
                    <a:pt x="4" y="7"/>
                    <a:pt x="0" y="0"/>
                  </a:cubicBezTo>
                  <a:cubicBezTo>
                    <a:pt x="4" y="7"/>
                    <a:pt x="11" y="14"/>
                    <a:pt x="18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3" name="Google Shape;5990;p64">
              <a:extLst>
                <a:ext uri="{FF2B5EF4-FFF2-40B4-BE49-F238E27FC236}">
                  <a16:creationId xmlns:a16="http://schemas.microsoft.com/office/drawing/2014/main" id="{0B82BAE7-DBD1-B268-6730-0971D3D83A2D}"/>
                </a:ext>
              </a:extLst>
            </p:cNvPr>
            <p:cNvSpPr/>
            <p:nvPr/>
          </p:nvSpPr>
          <p:spPr>
            <a:xfrm>
              <a:off x="2422037" y="185276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lnTo>
                    <a:pt x="8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4" name="Google Shape;5991;p64">
              <a:extLst>
                <a:ext uri="{FF2B5EF4-FFF2-40B4-BE49-F238E27FC236}">
                  <a16:creationId xmlns:a16="http://schemas.microsoft.com/office/drawing/2014/main" id="{8D8B5A90-F0E7-A579-E963-3515356A8FB6}"/>
                </a:ext>
              </a:extLst>
            </p:cNvPr>
            <p:cNvSpPr/>
            <p:nvPr/>
          </p:nvSpPr>
          <p:spPr>
            <a:xfrm>
              <a:off x="2422186" y="1853046"/>
              <a:ext cx="584" cy="869"/>
            </a:xfrm>
            <a:custGeom>
              <a:avLst/>
              <a:gdLst/>
              <a:ahLst/>
              <a:cxnLst/>
              <a:rect l="l" t="t" r="r" b="b"/>
              <a:pathLst>
                <a:path w="43" h="64" extrusionOk="0">
                  <a:moveTo>
                    <a:pt x="42" y="64"/>
                  </a:moveTo>
                  <a:cubicBezTo>
                    <a:pt x="28" y="43"/>
                    <a:pt x="14" y="22"/>
                    <a:pt x="0" y="1"/>
                  </a:cubicBezTo>
                  <a:cubicBezTo>
                    <a:pt x="14" y="22"/>
                    <a:pt x="28" y="43"/>
                    <a:pt x="42" y="6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5" name="Google Shape;5992;p64">
              <a:extLst>
                <a:ext uri="{FF2B5EF4-FFF2-40B4-BE49-F238E27FC236}">
                  <a16:creationId xmlns:a16="http://schemas.microsoft.com/office/drawing/2014/main" id="{10626FDE-62A9-7CBF-BDF4-DB44E7EDE5F0}"/>
                </a:ext>
              </a:extLst>
            </p:cNvPr>
            <p:cNvSpPr/>
            <p:nvPr/>
          </p:nvSpPr>
          <p:spPr>
            <a:xfrm>
              <a:off x="2425988" y="18556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6" name="Google Shape;5993;p64">
              <a:extLst>
                <a:ext uri="{FF2B5EF4-FFF2-40B4-BE49-F238E27FC236}">
                  <a16:creationId xmlns:a16="http://schemas.microsoft.com/office/drawing/2014/main" id="{796C0150-132B-03B9-6A34-38104C85E22E}"/>
                </a:ext>
              </a:extLst>
            </p:cNvPr>
            <p:cNvSpPr/>
            <p:nvPr/>
          </p:nvSpPr>
          <p:spPr>
            <a:xfrm>
              <a:off x="2424508" y="1855286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2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7" name="Google Shape;5994;p64">
              <a:extLst>
                <a:ext uri="{FF2B5EF4-FFF2-40B4-BE49-F238E27FC236}">
                  <a16:creationId xmlns:a16="http://schemas.microsoft.com/office/drawing/2014/main" id="{7E826A17-44D5-852D-73EC-AECCDD4093CC}"/>
                </a:ext>
              </a:extLst>
            </p:cNvPr>
            <p:cNvSpPr/>
            <p:nvPr/>
          </p:nvSpPr>
          <p:spPr>
            <a:xfrm>
              <a:off x="2424141" y="1855096"/>
              <a:ext cx="380" cy="149"/>
            </a:xfrm>
            <a:custGeom>
              <a:avLst/>
              <a:gdLst/>
              <a:ahLst/>
              <a:cxnLst/>
              <a:rect l="l" t="t" r="r" b="b"/>
              <a:pathLst>
                <a:path w="28" h="11" extrusionOk="0">
                  <a:moveTo>
                    <a:pt x="0" y="0"/>
                  </a:moveTo>
                  <a:cubicBezTo>
                    <a:pt x="10" y="4"/>
                    <a:pt x="17" y="7"/>
                    <a:pt x="28" y="11"/>
                  </a:cubicBezTo>
                  <a:cubicBezTo>
                    <a:pt x="21" y="7"/>
                    <a:pt x="1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8" name="Google Shape;5995;p64">
              <a:extLst>
                <a:ext uri="{FF2B5EF4-FFF2-40B4-BE49-F238E27FC236}">
                  <a16:creationId xmlns:a16="http://schemas.microsoft.com/office/drawing/2014/main" id="{B30F1521-541F-782F-845E-88A72869E3D7}"/>
                </a:ext>
              </a:extLst>
            </p:cNvPr>
            <p:cNvSpPr/>
            <p:nvPr/>
          </p:nvSpPr>
          <p:spPr>
            <a:xfrm>
              <a:off x="2423137" y="1854281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cubicBezTo>
                    <a:pt x="14" y="18"/>
                    <a:pt x="7" y="11"/>
                    <a:pt x="0" y="1"/>
                  </a:cubicBezTo>
                  <a:cubicBezTo>
                    <a:pt x="7" y="11"/>
                    <a:pt x="14" y="18"/>
                    <a:pt x="2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9" name="Google Shape;5996;p64">
              <a:extLst>
                <a:ext uri="{FF2B5EF4-FFF2-40B4-BE49-F238E27FC236}">
                  <a16:creationId xmlns:a16="http://schemas.microsoft.com/office/drawing/2014/main" id="{AC03DC88-5A49-5079-09DE-023C562003B7}"/>
                </a:ext>
              </a:extLst>
            </p:cNvPr>
            <p:cNvSpPr/>
            <p:nvPr/>
          </p:nvSpPr>
          <p:spPr>
            <a:xfrm>
              <a:off x="2423843" y="1854906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7"/>
                    <a:pt x="8" y="4"/>
                    <a:pt x="1" y="0"/>
                  </a:cubicBezTo>
                  <a:cubicBezTo>
                    <a:pt x="8" y="4"/>
                    <a:pt x="15" y="7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0" name="Google Shape;5997;p64">
              <a:extLst>
                <a:ext uri="{FF2B5EF4-FFF2-40B4-BE49-F238E27FC236}">
                  <a16:creationId xmlns:a16="http://schemas.microsoft.com/office/drawing/2014/main" id="{BF002030-4897-5183-EDE5-632B13F5564A}"/>
                </a:ext>
              </a:extLst>
            </p:cNvPr>
            <p:cNvSpPr/>
            <p:nvPr/>
          </p:nvSpPr>
          <p:spPr>
            <a:xfrm>
              <a:off x="2423422" y="1854621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cubicBezTo>
                    <a:pt x="18" y="11"/>
                    <a:pt x="11" y="4"/>
                    <a:pt x="0" y="0"/>
                  </a:cubicBezTo>
                  <a:cubicBezTo>
                    <a:pt x="11" y="4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1" name="Google Shape;5998;p64">
              <a:extLst>
                <a:ext uri="{FF2B5EF4-FFF2-40B4-BE49-F238E27FC236}">
                  <a16:creationId xmlns:a16="http://schemas.microsoft.com/office/drawing/2014/main" id="{762BA9A6-424C-A0FB-E4D5-6691308EA549}"/>
                </a:ext>
              </a:extLst>
            </p:cNvPr>
            <p:cNvSpPr/>
            <p:nvPr/>
          </p:nvSpPr>
          <p:spPr>
            <a:xfrm>
              <a:off x="2424847" y="1855381"/>
              <a:ext cx="720" cy="204"/>
            </a:xfrm>
            <a:custGeom>
              <a:avLst/>
              <a:gdLst/>
              <a:ahLst/>
              <a:cxnLst/>
              <a:rect l="l" t="t" r="r" b="b"/>
              <a:pathLst>
                <a:path w="53" h="15" extrusionOk="0">
                  <a:moveTo>
                    <a:pt x="53" y="14"/>
                  </a:moveTo>
                  <a:cubicBezTo>
                    <a:pt x="35" y="11"/>
                    <a:pt x="18" y="7"/>
                    <a:pt x="0" y="0"/>
                  </a:cubicBezTo>
                  <a:cubicBezTo>
                    <a:pt x="18" y="7"/>
                    <a:pt x="35" y="11"/>
                    <a:pt x="53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2" name="Google Shape;5999;p64">
              <a:extLst>
                <a:ext uri="{FF2B5EF4-FFF2-40B4-BE49-F238E27FC236}">
                  <a16:creationId xmlns:a16="http://schemas.microsoft.com/office/drawing/2014/main" id="{BD2AC622-517B-EBFB-9B60-EA0D82F8DC32}"/>
                </a:ext>
              </a:extLst>
            </p:cNvPr>
            <p:cNvSpPr/>
            <p:nvPr/>
          </p:nvSpPr>
          <p:spPr>
            <a:xfrm>
              <a:off x="2431365" y="1843827"/>
              <a:ext cx="33048" cy="26544"/>
            </a:xfrm>
            <a:custGeom>
              <a:avLst/>
              <a:gdLst/>
              <a:ahLst/>
              <a:cxnLst/>
              <a:rect l="l" t="t" r="r" b="b"/>
              <a:pathLst>
                <a:path w="2434" h="1955" extrusionOk="0">
                  <a:moveTo>
                    <a:pt x="2332" y="1"/>
                  </a:moveTo>
                  <a:cubicBezTo>
                    <a:pt x="2216" y="71"/>
                    <a:pt x="1905" y="410"/>
                    <a:pt x="1765" y="687"/>
                  </a:cubicBezTo>
                  <a:cubicBezTo>
                    <a:pt x="1602" y="1000"/>
                    <a:pt x="1194" y="1222"/>
                    <a:pt x="815" y="1222"/>
                  </a:cubicBezTo>
                  <a:cubicBezTo>
                    <a:pt x="762" y="1222"/>
                    <a:pt x="709" y="1217"/>
                    <a:pt x="658" y="1208"/>
                  </a:cubicBezTo>
                  <a:cubicBezTo>
                    <a:pt x="593" y="1196"/>
                    <a:pt x="535" y="1191"/>
                    <a:pt x="484" y="1191"/>
                  </a:cubicBezTo>
                  <a:cubicBezTo>
                    <a:pt x="286" y="1191"/>
                    <a:pt x="186" y="1270"/>
                    <a:pt x="109" y="1331"/>
                  </a:cubicBezTo>
                  <a:cubicBezTo>
                    <a:pt x="91" y="1345"/>
                    <a:pt x="74" y="1355"/>
                    <a:pt x="60" y="1366"/>
                  </a:cubicBezTo>
                  <a:cubicBezTo>
                    <a:pt x="42" y="1380"/>
                    <a:pt x="21" y="1387"/>
                    <a:pt x="0" y="1387"/>
                  </a:cubicBezTo>
                  <a:cubicBezTo>
                    <a:pt x="4" y="1397"/>
                    <a:pt x="7" y="1405"/>
                    <a:pt x="11" y="1412"/>
                  </a:cubicBezTo>
                  <a:lnTo>
                    <a:pt x="18" y="1426"/>
                  </a:lnTo>
                  <a:cubicBezTo>
                    <a:pt x="21" y="1440"/>
                    <a:pt x="28" y="1454"/>
                    <a:pt x="35" y="1468"/>
                  </a:cubicBezTo>
                  <a:lnTo>
                    <a:pt x="42" y="1478"/>
                  </a:lnTo>
                  <a:cubicBezTo>
                    <a:pt x="49" y="1489"/>
                    <a:pt x="53" y="1499"/>
                    <a:pt x="60" y="1510"/>
                  </a:cubicBezTo>
                  <a:lnTo>
                    <a:pt x="70" y="1527"/>
                  </a:lnTo>
                  <a:lnTo>
                    <a:pt x="88" y="1552"/>
                  </a:lnTo>
                  <a:lnTo>
                    <a:pt x="98" y="1566"/>
                  </a:lnTo>
                  <a:lnTo>
                    <a:pt x="112" y="1587"/>
                  </a:lnTo>
                  <a:lnTo>
                    <a:pt x="126" y="1601"/>
                  </a:lnTo>
                  <a:lnTo>
                    <a:pt x="144" y="1625"/>
                  </a:lnTo>
                  <a:lnTo>
                    <a:pt x="154" y="1636"/>
                  </a:lnTo>
                  <a:lnTo>
                    <a:pt x="175" y="1660"/>
                  </a:lnTo>
                  <a:lnTo>
                    <a:pt x="182" y="1667"/>
                  </a:lnTo>
                  <a:lnTo>
                    <a:pt x="210" y="1695"/>
                  </a:lnTo>
                  <a:lnTo>
                    <a:pt x="221" y="1706"/>
                  </a:lnTo>
                  <a:lnTo>
                    <a:pt x="238" y="1723"/>
                  </a:lnTo>
                  <a:lnTo>
                    <a:pt x="249" y="1734"/>
                  </a:lnTo>
                  <a:lnTo>
                    <a:pt x="263" y="1748"/>
                  </a:lnTo>
                  <a:lnTo>
                    <a:pt x="277" y="1755"/>
                  </a:lnTo>
                  <a:lnTo>
                    <a:pt x="291" y="1765"/>
                  </a:lnTo>
                  <a:lnTo>
                    <a:pt x="298" y="1776"/>
                  </a:lnTo>
                  <a:lnTo>
                    <a:pt x="312" y="1786"/>
                  </a:lnTo>
                  <a:lnTo>
                    <a:pt x="319" y="1790"/>
                  </a:lnTo>
                  <a:lnTo>
                    <a:pt x="336" y="1800"/>
                  </a:lnTo>
                  <a:lnTo>
                    <a:pt x="340" y="1804"/>
                  </a:lnTo>
                  <a:lnTo>
                    <a:pt x="350" y="1811"/>
                  </a:lnTo>
                  <a:cubicBezTo>
                    <a:pt x="434" y="1832"/>
                    <a:pt x="518" y="1849"/>
                    <a:pt x="602" y="1856"/>
                  </a:cubicBezTo>
                  <a:cubicBezTo>
                    <a:pt x="833" y="1888"/>
                    <a:pt x="1183" y="1926"/>
                    <a:pt x="1425" y="1947"/>
                  </a:cubicBezTo>
                  <a:lnTo>
                    <a:pt x="1540" y="1954"/>
                  </a:lnTo>
                  <a:lnTo>
                    <a:pt x="1709" y="1527"/>
                  </a:lnTo>
                  <a:lnTo>
                    <a:pt x="2048" y="1100"/>
                  </a:lnTo>
                  <a:lnTo>
                    <a:pt x="2048" y="645"/>
                  </a:lnTo>
                  <a:lnTo>
                    <a:pt x="2304" y="645"/>
                  </a:lnTo>
                  <a:lnTo>
                    <a:pt x="2433" y="568"/>
                  </a:lnTo>
                  <a:cubicBezTo>
                    <a:pt x="2405" y="445"/>
                    <a:pt x="2388" y="319"/>
                    <a:pt x="2370" y="218"/>
                  </a:cubicBezTo>
                  <a:cubicBezTo>
                    <a:pt x="2360" y="137"/>
                    <a:pt x="2346" y="50"/>
                    <a:pt x="23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3" name="Google Shape;6000;p64">
              <a:extLst>
                <a:ext uri="{FF2B5EF4-FFF2-40B4-BE49-F238E27FC236}">
                  <a16:creationId xmlns:a16="http://schemas.microsoft.com/office/drawing/2014/main" id="{50A97CE2-B6EB-5B90-BEB4-297879482595}"/>
                </a:ext>
              </a:extLst>
            </p:cNvPr>
            <p:cNvSpPr/>
            <p:nvPr/>
          </p:nvSpPr>
          <p:spPr>
            <a:xfrm>
              <a:off x="2435682" y="1868117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4" name="Google Shape;6001;p64">
              <a:extLst>
                <a:ext uri="{FF2B5EF4-FFF2-40B4-BE49-F238E27FC236}">
                  <a16:creationId xmlns:a16="http://schemas.microsoft.com/office/drawing/2014/main" id="{4C407E37-EA6B-B5CD-C86D-84455C283F60}"/>
                </a:ext>
              </a:extLst>
            </p:cNvPr>
            <p:cNvSpPr/>
            <p:nvPr/>
          </p:nvSpPr>
          <p:spPr>
            <a:xfrm>
              <a:off x="2432695" y="186503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5" name="Google Shape;6002;p64">
              <a:extLst>
                <a:ext uri="{FF2B5EF4-FFF2-40B4-BE49-F238E27FC236}">
                  <a16:creationId xmlns:a16="http://schemas.microsoft.com/office/drawing/2014/main" id="{1B06156A-2C6E-A747-687C-08F86BDFEB28}"/>
                </a:ext>
              </a:extLst>
            </p:cNvPr>
            <p:cNvSpPr/>
            <p:nvPr/>
          </p:nvSpPr>
          <p:spPr>
            <a:xfrm>
              <a:off x="2435397" y="186788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6" name="Google Shape;6003;p64">
              <a:extLst>
                <a:ext uri="{FF2B5EF4-FFF2-40B4-BE49-F238E27FC236}">
                  <a16:creationId xmlns:a16="http://schemas.microsoft.com/office/drawing/2014/main" id="{96B5763E-542A-DBD1-E582-F7AEF5F25456}"/>
                </a:ext>
              </a:extLst>
            </p:cNvPr>
            <p:cNvSpPr/>
            <p:nvPr/>
          </p:nvSpPr>
          <p:spPr>
            <a:xfrm>
              <a:off x="2439538" y="1869027"/>
              <a:ext cx="11174" cy="1249"/>
            </a:xfrm>
            <a:custGeom>
              <a:avLst/>
              <a:gdLst/>
              <a:ahLst/>
              <a:cxnLst/>
              <a:rect l="l" t="t" r="r" b="b"/>
              <a:pathLst>
                <a:path w="823" h="92" extrusionOk="0">
                  <a:moveTo>
                    <a:pt x="0" y="0"/>
                  </a:moveTo>
                  <a:lnTo>
                    <a:pt x="0" y="0"/>
                  </a:lnTo>
                  <a:cubicBezTo>
                    <a:pt x="231" y="32"/>
                    <a:pt x="571" y="70"/>
                    <a:pt x="823" y="91"/>
                  </a:cubicBezTo>
                  <a:cubicBezTo>
                    <a:pt x="581" y="70"/>
                    <a:pt x="235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7" name="Google Shape;6004;p64">
              <a:extLst>
                <a:ext uri="{FF2B5EF4-FFF2-40B4-BE49-F238E27FC236}">
                  <a16:creationId xmlns:a16="http://schemas.microsoft.com/office/drawing/2014/main" id="{C97EFB3C-2663-2FD6-F874-127FFE5AC834}"/>
                </a:ext>
              </a:extLst>
            </p:cNvPr>
            <p:cNvSpPr/>
            <p:nvPr/>
          </p:nvSpPr>
          <p:spPr>
            <a:xfrm>
              <a:off x="2435967" y="186826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11"/>
                  </a:moveTo>
                  <a:lnTo>
                    <a:pt x="11" y="1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8" name="Google Shape;6005;p64">
              <a:extLst>
                <a:ext uri="{FF2B5EF4-FFF2-40B4-BE49-F238E27FC236}">
                  <a16:creationId xmlns:a16="http://schemas.microsoft.com/office/drawing/2014/main" id="{C5169D1D-CDA7-0D9B-C385-E4069FAACD09}"/>
                </a:ext>
              </a:extLst>
            </p:cNvPr>
            <p:cNvSpPr/>
            <p:nvPr/>
          </p:nvSpPr>
          <p:spPr>
            <a:xfrm>
              <a:off x="2432315" y="1864505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9" name="Google Shape;6006;p64">
              <a:extLst>
                <a:ext uri="{FF2B5EF4-FFF2-40B4-BE49-F238E27FC236}">
                  <a16:creationId xmlns:a16="http://schemas.microsoft.com/office/drawing/2014/main" id="{8F371E51-C1D6-0C66-7785-7EC0D00D8801}"/>
                </a:ext>
              </a:extLst>
            </p:cNvPr>
            <p:cNvSpPr/>
            <p:nvPr/>
          </p:nvSpPr>
          <p:spPr>
            <a:xfrm>
              <a:off x="2431365" y="1862645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cubicBezTo>
                    <a:pt x="4" y="8"/>
                    <a:pt x="7" y="15"/>
                    <a:pt x="11" y="26"/>
                  </a:cubicBezTo>
                  <a:cubicBezTo>
                    <a:pt x="7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0" name="Google Shape;6007;p64">
              <a:extLst>
                <a:ext uri="{FF2B5EF4-FFF2-40B4-BE49-F238E27FC236}">
                  <a16:creationId xmlns:a16="http://schemas.microsoft.com/office/drawing/2014/main" id="{C057242E-126D-1C0B-E7D5-A3A3689BBB71}"/>
                </a:ext>
              </a:extLst>
            </p:cNvPr>
            <p:cNvSpPr/>
            <p:nvPr/>
          </p:nvSpPr>
          <p:spPr>
            <a:xfrm>
              <a:off x="2435071" y="1867601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1" name="Google Shape;6008;p64">
              <a:extLst>
                <a:ext uri="{FF2B5EF4-FFF2-40B4-BE49-F238E27FC236}">
                  <a16:creationId xmlns:a16="http://schemas.microsoft.com/office/drawing/2014/main" id="{7455938B-92AD-2BD7-89CE-506BA6098DAB}"/>
                </a:ext>
              </a:extLst>
            </p:cNvPr>
            <p:cNvSpPr/>
            <p:nvPr/>
          </p:nvSpPr>
          <p:spPr>
            <a:xfrm>
              <a:off x="2433021" y="186555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2" name="Google Shape;6009;p64">
              <a:extLst>
                <a:ext uri="{FF2B5EF4-FFF2-40B4-BE49-F238E27FC236}">
                  <a16:creationId xmlns:a16="http://schemas.microsoft.com/office/drawing/2014/main" id="{FBBDF816-22A1-6994-02B6-5EE19AE572D4}"/>
                </a:ext>
              </a:extLst>
            </p:cNvPr>
            <p:cNvSpPr/>
            <p:nvPr/>
          </p:nvSpPr>
          <p:spPr>
            <a:xfrm>
              <a:off x="2434732" y="18673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3" name="Google Shape;6010;p64">
              <a:extLst>
                <a:ext uri="{FF2B5EF4-FFF2-40B4-BE49-F238E27FC236}">
                  <a16:creationId xmlns:a16="http://schemas.microsoft.com/office/drawing/2014/main" id="{6883C916-E7F1-B7DC-9AF0-883B255B9098}"/>
                </a:ext>
              </a:extLst>
            </p:cNvPr>
            <p:cNvSpPr/>
            <p:nvPr/>
          </p:nvSpPr>
          <p:spPr>
            <a:xfrm>
              <a:off x="2433456" y="1865985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1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4" name="Google Shape;6011;p64">
              <a:extLst>
                <a:ext uri="{FF2B5EF4-FFF2-40B4-BE49-F238E27FC236}">
                  <a16:creationId xmlns:a16="http://schemas.microsoft.com/office/drawing/2014/main" id="{AC41C0FF-3944-17B8-6C96-76B539310B1B}"/>
                </a:ext>
              </a:extLst>
            </p:cNvPr>
            <p:cNvSpPr/>
            <p:nvPr/>
          </p:nvSpPr>
          <p:spPr>
            <a:xfrm>
              <a:off x="2434352" y="1866936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5" name="Google Shape;6012;p64">
              <a:extLst>
                <a:ext uri="{FF2B5EF4-FFF2-40B4-BE49-F238E27FC236}">
                  <a16:creationId xmlns:a16="http://schemas.microsoft.com/office/drawing/2014/main" id="{6AC113EC-CC4E-5D7B-CCD3-E1CC076AB5B5}"/>
                </a:ext>
              </a:extLst>
            </p:cNvPr>
            <p:cNvSpPr/>
            <p:nvPr/>
          </p:nvSpPr>
          <p:spPr>
            <a:xfrm>
              <a:off x="2431935" y="1863840"/>
              <a:ext cx="244" cy="448"/>
            </a:xfrm>
            <a:custGeom>
              <a:avLst/>
              <a:gdLst/>
              <a:ahLst/>
              <a:cxnLst/>
              <a:rect l="l" t="t" r="r" b="b"/>
              <a:pathLst>
                <a:path w="18" h="33" extrusionOk="0">
                  <a:moveTo>
                    <a:pt x="18" y="32"/>
                  </a:moveTo>
                  <a:cubicBezTo>
                    <a:pt x="11" y="22"/>
                    <a:pt x="7" y="11"/>
                    <a:pt x="0" y="1"/>
                  </a:cubicBezTo>
                  <a:cubicBezTo>
                    <a:pt x="7" y="11"/>
                    <a:pt x="11" y="22"/>
                    <a:pt x="1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6" name="Google Shape;6013;p64">
              <a:extLst>
                <a:ext uri="{FF2B5EF4-FFF2-40B4-BE49-F238E27FC236}">
                  <a16:creationId xmlns:a16="http://schemas.microsoft.com/office/drawing/2014/main" id="{6CDEDF49-754B-BB06-5C8B-5E5B3C786473}"/>
                </a:ext>
              </a:extLst>
            </p:cNvPr>
            <p:cNvSpPr/>
            <p:nvPr/>
          </p:nvSpPr>
          <p:spPr>
            <a:xfrm>
              <a:off x="2433836" y="186646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7" name="Google Shape;6014;p64">
              <a:extLst>
                <a:ext uri="{FF2B5EF4-FFF2-40B4-BE49-F238E27FC236}">
                  <a16:creationId xmlns:a16="http://schemas.microsoft.com/office/drawing/2014/main" id="{B5A597AB-DFDF-C73A-EC06-BEDB16959809}"/>
                </a:ext>
              </a:extLst>
            </p:cNvPr>
            <p:cNvSpPr/>
            <p:nvPr/>
          </p:nvSpPr>
          <p:spPr>
            <a:xfrm>
              <a:off x="2431595" y="1863134"/>
              <a:ext cx="258" cy="625"/>
            </a:xfrm>
            <a:custGeom>
              <a:avLst/>
              <a:gdLst/>
              <a:ahLst/>
              <a:cxnLst/>
              <a:rect l="l" t="t" r="r" b="b"/>
              <a:pathLst>
                <a:path w="19" h="46" extrusionOk="0">
                  <a:moveTo>
                    <a:pt x="18" y="46"/>
                  </a:moveTo>
                  <a:cubicBezTo>
                    <a:pt x="11" y="32"/>
                    <a:pt x="4" y="14"/>
                    <a:pt x="1" y="0"/>
                  </a:cubicBezTo>
                  <a:cubicBezTo>
                    <a:pt x="4" y="14"/>
                    <a:pt x="11" y="32"/>
                    <a:pt x="18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8" name="Google Shape;6015;p64">
              <a:extLst>
                <a:ext uri="{FF2B5EF4-FFF2-40B4-BE49-F238E27FC236}">
                  <a16:creationId xmlns:a16="http://schemas.microsoft.com/office/drawing/2014/main" id="{441F213C-E075-30F4-B1CF-8120F3CD8625}"/>
                </a:ext>
              </a:extLst>
            </p:cNvPr>
            <p:cNvSpPr/>
            <p:nvPr/>
          </p:nvSpPr>
          <p:spPr>
            <a:xfrm>
              <a:off x="2452274" y="1864560"/>
              <a:ext cx="2295" cy="5811"/>
            </a:xfrm>
            <a:custGeom>
              <a:avLst/>
              <a:gdLst/>
              <a:ahLst/>
              <a:cxnLst/>
              <a:rect l="l" t="t" r="r" b="b"/>
              <a:pathLst>
                <a:path w="169" h="428" extrusionOk="0">
                  <a:moveTo>
                    <a:pt x="0" y="427"/>
                  </a:moveTo>
                  <a:lnTo>
                    <a:pt x="16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9" name="Google Shape;6016;p64">
              <a:extLst>
                <a:ext uri="{FF2B5EF4-FFF2-40B4-BE49-F238E27FC236}">
                  <a16:creationId xmlns:a16="http://schemas.microsoft.com/office/drawing/2014/main" id="{2AB54FDE-B56C-E00C-1155-DE1375977A5F}"/>
                </a:ext>
              </a:extLst>
            </p:cNvPr>
            <p:cNvSpPr/>
            <p:nvPr/>
          </p:nvSpPr>
          <p:spPr>
            <a:xfrm>
              <a:off x="2782384" y="1996356"/>
              <a:ext cx="29246" cy="38139"/>
            </a:xfrm>
            <a:custGeom>
              <a:avLst/>
              <a:gdLst/>
              <a:ahLst/>
              <a:cxnLst/>
              <a:rect l="l" t="t" r="r" b="b"/>
              <a:pathLst>
                <a:path w="2154" h="2809" extrusionOk="0">
                  <a:moveTo>
                    <a:pt x="1" y="1"/>
                  </a:moveTo>
                  <a:cubicBezTo>
                    <a:pt x="102" y="267"/>
                    <a:pt x="116" y="536"/>
                    <a:pt x="123" y="775"/>
                  </a:cubicBezTo>
                  <a:cubicBezTo>
                    <a:pt x="123" y="967"/>
                    <a:pt x="312" y="1244"/>
                    <a:pt x="463" y="1468"/>
                  </a:cubicBezTo>
                  <a:cubicBezTo>
                    <a:pt x="561" y="1608"/>
                    <a:pt x="641" y="1727"/>
                    <a:pt x="673" y="1811"/>
                  </a:cubicBezTo>
                  <a:cubicBezTo>
                    <a:pt x="725" y="1968"/>
                    <a:pt x="820" y="2035"/>
                    <a:pt x="1034" y="2182"/>
                  </a:cubicBezTo>
                  <a:cubicBezTo>
                    <a:pt x="1076" y="2210"/>
                    <a:pt x="1121" y="2245"/>
                    <a:pt x="1174" y="2283"/>
                  </a:cubicBezTo>
                  <a:cubicBezTo>
                    <a:pt x="1541" y="2546"/>
                    <a:pt x="2031" y="2809"/>
                    <a:pt x="2150" y="2809"/>
                  </a:cubicBezTo>
                  <a:cubicBezTo>
                    <a:pt x="2154" y="2714"/>
                    <a:pt x="1947" y="2318"/>
                    <a:pt x="1776" y="2140"/>
                  </a:cubicBezTo>
                  <a:cubicBezTo>
                    <a:pt x="1629" y="1986"/>
                    <a:pt x="1671" y="1702"/>
                    <a:pt x="1713" y="1401"/>
                  </a:cubicBezTo>
                  <a:cubicBezTo>
                    <a:pt x="1730" y="1279"/>
                    <a:pt x="1744" y="1160"/>
                    <a:pt x="1748" y="1041"/>
                  </a:cubicBezTo>
                  <a:cubicBezTo>
                    <a:pt x="1751" y="866"/>
                    <a:pt x="1667" y="810"/>
                    <a:pt x="1555" y="736"/>
                  </a:cubicBezTo>
                  <a:cubicBezTo>
                    <a:pt x="1468" y="680"/>
                    <a:pt x="1373" y="617"/>
                    <a:pt x="1331" y="487"/>
                  </a:cubicBezTo>
                  <a:cubicBezTo>
                    <a:pt x="1296" y="382"/>
                    <a:pt x="1261" y="372"/>
                    <a:pt x="1216" y="358"/>
                  </a:cubicBezTo>
                  <a:cubicBezTo>
                    <a:pt x="1142" y="347"/>
                    <a:pt x="1083" y="291"/>
                    <a:pt x="1065" y="218"/>
                  </a:cubicBezTo>
                  <a:cubicBezTo>
                    <a:pt x="1062" y="214"/>
                    <a:pt x="1062" y="211"/>
                    <a:pt x="1058" y="207"/>
                  </a:cubicBezTo>
                  <a:lnTo>
                    <a:pt x="1055" y="207"/>
                  </a:lnTo>
                  <a:lnTo>
                    <a:pt x="1044" y="218"/>
                  </a:lnTo>
                  <a:lnTo>
                    <a:pt x="1041" y="221"/>
                  </a:lnTo>
                  <a:cubicBezTo>
                    <a:pt x="1037" y="225"/>
                    <a:pt x="1034" y="228"/>
                    <a:pt x="1034" y="232"/>
                  </a:cubicBezTo>
                  <a:lnTo>
                    <a:pt x="1030" y="235"/>
                  </a:lnTo>
                  <a:cubicBezTo>
                    <a:pt x="1027" y="239"/>
                    <a:pt x="1023" y="242"/>
                    <a:pt x="1023" y="249"/>
                  </a:cubicBezTo>
                  <a:cubicBezTo>
                    <a:pt x="1020" y="253"/>
                    <a:pt x="1020" y="256"/>
                    <a:pt x="1016" y="263"/>
                  </a:cubicBezTo>
                  <a:lnTo>
                    <a:pt x="1016" y="267"/>
                  </a:lnTo>
                  <a:cubicBezTo>
                    <a:pt x="1016" y="270"/>
                    <a:pt x="1016" y="274"/>
                    <a:pt x="1016" y="277"/>
                  </a:cubicBezTo>
                  <a:lnTo>
                    <a:pt x="1016" y="284"/>
                  </a:lnTo>
                  <a:lnTo>
                    <a:pt x="1013" y="298"/>
                  </a:lnTo>
                  <a:cubicBezTo>
                    <a:pt x="1006" y="330"/>
                    <a:pt x="995" y="393"/>
                    <a:pt x="932" y="403"/>
                  </a:cubicBezTo>
                  <a:lnTo>
                    <a:pt x="915" y="403"/>
                  </a:lnTo>
                  <a:lnTo>
                    <a:pt x="901" y="407"/>
                  </a:lnTo>
                  <a:lnTo>
                    <a:pt x="897" y="407"/>
                  </a:lnTo>
                  <a:lnTo>
                    <a:pt x="876" y="410"/>
                  </a:lnTo>
                  <a:lnTo>
                    <a:pt x="845" y="410"/>
                  </a:lnTo>
                  <a:lnTo>
                    <a:pt x="820" y="414"/>
                  </a:lnTo>
                  <a:lnTo>
                    <a:pt x="810" y="414"/>
                  </a:lnTo>
                  <a:lnTo>
                    <a:pt x="782" y="417"/>
                  </a:lnTo>
                  <a:lnTo>
                    <a:pt x="617" y="417"/>
                  </a:lnTo>
                  <a:lnTo>
                    <a:pt x="596" y="414"/>
                  </a:lnTo>
                  <a:lnTo>
                    <a:pt x="582" y="410"/>
                  </a:lnTo>
                  <a:lnTo>
                    <a:pt x="561" y="407"/>
                  </a:lnTo>
                  <a:lnTo>
                    <a:pt x="547" y="403"/>
                  </a:lnTo>
                  <a:lnTo>
                    <a:pt x="529" y="400"/>
                  </a:lnTo>
                  <a:lnTo>
                    <a:pt x="519" y="396"/>
                  </a:lnTo>
                  <a:lnTo>
                    <a:pt x="501" y="386"/>
                  </a:lnTo>
                  <a:lnTo>
                    <a:pt x="491" y="382"/>
                  </a:lnTo>
                  <a:cubicBezTo>
                    <a:pt x="484" y="379"/>
                    <a:pt x="477" y="372"/>
                    <a:pt x="470" y="368"/>
                  </a:cubicBezTo>
                  <a:cubicBezTo>
                    <a:pt x="442" y="347"/>
                    <a:pt x="424" y="316"/>
                    <a:pt x="424" y="281"/>
                  </a:cubicBezTo>
                  <a:cubicBezTo>
                    <a:pt x="431" y="151"/>
                    <a:pt x="337" y="39"/>
                    <a:pt x="211" y="22"/>
                  </a:cubicBezTo>
                  <a:cubicBezTo>
                    <a:pt x="179" y="18"/>
                    <a:pt x="148" y="11"/>
                    <a:pt x="116" y="8"/>
                  </a:cubicBezTo>
                  <a:lnTo>
                    <a:pt x="88" y="8"/>
                  </a:lnTo>
                  <a:cubicBezTo>
                    <a:pt x="67" y="8"/>
                    <a:pt x="46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0" name="Google Shape;6017;p64">
              <a:extLst>
                <a:ext uri="{FF2B5EF4-FFF2-40B4-BE49-F238E27FC236}">
                  <a16:creationId xmlns:a16="http://schemas.microsoft.com/office/drawing/2014/main" id="{795CB5CA-238F-C058-8DD3-AF91A21684E8}"/>
                </a:ext>
              </a:extLst>
            </p:cNvPr>
            <p:cNvSpPr/>
            <p:nvPr/>
          </p:nvSpPr>
          <p:spPr>
            <a:xfrm>
              <a:off x="2853543" y="1995460"/>
              <a:ext cx="70169" cy="41954"/>
            </a:xfrm>
            <a:custGeom>
              <a:avLst/>
              <a:gdLst/>
              <a:ahLst/>
              <a:cxnLst/>
              <a:rect l="l" t="t" r="r" b="b"/>
              <a:pathLst>
                <a:path w="5168" h="3090" extrusionOk="0">
                  <a:moveTo>
                    <a:pt x="3859" y="0"/>
                  </a:moveTo>
                  <a:cubicBezTo>
                    <a:pt x="3718" y="0"/>
                    <a:pt x="3501" y="340"/>
                    <a:pt x="3487" y="494"/>
                  </a:cubicBezTo>
                  <a:cubicBezTo>
                    <a:pt x="3477" y="599"/>
                    <a:pt x="3386" y="648"/>
                    <a:pt x="3316" y="690"/>
                  </a:cubicBezTo>
                  <a:cubicBezTo>
                    <a:pt x="3221" y="743"/>
                    <a:pt x="3186" y="774"/>
                    <a:pt x="3193" y="848"/>
                  </a:cubicBezTo>
                  <a:cubicBezTo>
                    <a:pt x="3211" y="932"/>
                    <a:pt x="3165" y="1016"/>
                    <a:pt x="3088" y="1047"/>
                  </a:cubicBezTo>
                  <a:lnTo>
                    <a:pt x="3088" y="1054"/>
                  </a:lnTo>
                  <a:cubicBezTo>
                    <a:pt x="3092" y="1072"/>
                    <a:pt x="3099" y="1093"/>
                    <a:pt x="3102" y="1110"/>
                  </a:cubicBezTo>
                  <a:lnTo>
                    <a:pt x="3102" y="1117"/>
                  </a:lnTo>
                  <a:cubicBezTo>
                    <a:pt x="3106" y="1135"/>
                    <a:pt x="3109" y="1152"/>
                    <a:pt x="3109" y="1166"/>
                  </a:cubicBezTo>
                  <a:lnTo>
                    <a:pt x="3109" y="1170"/>
                  </a:lnTo>
                  <a:cubicBezTo>
                    <a:pt x="3113" y="1187"/>
                    <a:pt x="3116" y="1201"/>
                    <a:pt x="3116" y="1215"/>
                  </a:cubicBezTo>
                  <a:lnTo>
                    <a:pt x="3116" y="1219"/>
                  </a:lnTo>
                  <a:cubicBezTo>
                    <a:pt x="3116" y="1233"/>
                    <a:pt x="3120" y="1243"/>
                    <a:pt x="3120" y="1257"/>
                  </a:cubicBezTo>
                  <a:lnTo>
                    <a:pt x="3120" y="1261"/>
                  </a:lnTo>
                  <a:cubicBezTo>
                    <a:pt x="3120" y="1271"/>
                    <a:pt x="3120" y="1282"/>
                    <a:pt x="3120" y="1292"/>
                  </a:cubicBezTo>
                  <a:lnTo>
                    <a:pt x="3120" y="1296"/>
                  </a:lnTo>
                  <a:cubicBezTo>
                    <a:pt x="3120" y="1306"/>
                    <a:pt x="3116" y="1313"/>
                    <a:pt x="3116" y="1324"/>
                  </a:cubicBezTo>
                  <a:lnTo>
                    <a:pt x="3116" y="1327"/>
                  </a:lnTo>
                  <a:cubicBezTo>
                    <a:pt x="3113" y="1334"/>
                    <a:pt x="3109" y="1341"/>
                    <a:pt x="3106" y="1348"/>
                  </a:cubicBezTo>
                  <a:lnTo>
                    <a:pt x="3106" y="1352"/>
                  </a:lnTo>
                  <a:cubicBezTo>
                    <a:pt x="3102" y="1355"/>
                    <a:pt x="3099" y="1362"/>
                    <a:pt x="3092" y="1369"/>
                  </a:cubicBezTo>
                  <a:cubicBezTo>
                    <a:pt x="3073" y="1388"/>
                    <a:pt x="3049" y="1396"/>
                    <a:pt x="3024" y="1396"/>
                  </a:cubicBezTo>
                  <a:cubicBezTo>
                    <a:pt x="3016" y="1396"/>
                    <a:pt x="3008" y="1395"/>
                    <a:pt x="3001" y="1394"/>
                  </a:cubicBezTo>
                  <a:cubicBezTo>
                    <a:pt x="2993" y="1391"/>
                    <a:pt x="2986" y="1390"/>
                    <a:pt x="2980" y="1390"/>
                  </a:cubicBezTo>
                  <a:cubicBezTo>
                    <a:pt x="2960" y="1390"/>
                    <a:pt x="2943" y="1402"/>
                    <a:pt x="2906" y="1429"/>
                  </a:cubicBezTo>
                  <a:cubicBezTo>
                    <a:pt x="2836" y="1488"/>
                    <a:pt x="2749" y="1523"/>
                    <a:pt x="2658" y="1523"/>
                  </a:cubicBezTo>
                  <a:lnTo>
                    <a:pt x="2626" y="1523"/>
                  </a:lnTo>
                  <a:lnTo>
                    <a:pt x="2616" y="1520"/>
                  </a:lnTo>
                  <a:lnTo>
                    <a:pt x="2609" y="1516"/>
                  </a:lnTo>
                  <a:lnTo>
                    <a:pt x="2598" y="1513"/>
                  </a:lnTo>
                  <a:lnTo>
                    <a:pt x="2591" y="1509"/>
                  </a:lnTo>
                  <a:lnTo>
                    <a:pt x="2584" y="1502"/>
                  </a:lnTo>
                  <a:lnTo>
                    <a:pt x="2574" y="1499"/>
                  </a:lnTo>
                  <a:lnTo>
                    <a:pt x="2567" y="1488"/>
                  </a:lnTo>
                  <a:lnTo>
                    <a:pt x="2556" y="1481"/>
                  </a:lnTo>
                  <a:lnTo>
                    <a:pt x="2546" y="1474"/>
                  </a:lnTo>
                  <a:lnTo>
                    <a:pt x="2539" y="1464"/>
                  </a:lnTo>
                  <a:lnTo>
                    <a:pt x="2528" y="1453"/>
                  </a:lnTo>
                  <a:lnTo>
                    <a:pt x="2518" y="1443"/>
                  </a:lnTo>
                  <a:lnTo>
                    <a:pt x="2507" y="1429"/>
                  </a:lnTo>
                  <a:lnTo>
                    <a:pt x="2497" y="1418"/>
                  </a:lnTo>
                  <a:lnTo>
                    <a:pt x="2486" y="1401"/>
                  </a:lnTo>
                  <a:lnTo>
                    <a:pt x="2476" y="1387"/>
                  </a:lnTo>
                  <a:lnTo>
                    <a:pt x="2462" y="1369"/>
                  </a:lnTo>
                  <a:lnTo>
                    <a:pt x="2451" y="1352"/>
                  </a:lnTo>
                  <a:lnTo>
                    <a:pt x="2437" y="1331"/>
                  </a:lnTo>
                  <a:lnTo>
                    <a:pt x="2423" y="1313"/>
                  </a:lnTo>
                  <a:lnTo>
                    <a:pt x="2409" y="1289"/>
                  </a:lnTo>
                  <a:lnTo>
                    <a:pt x="2395" y="1268"/>
                  </a:lnTo>
                  <a:lnTo>
                    <a:pt x="2378" y="1240"/>
                  </a:lnTo>
                  <a:lnTo>
                    <a:pt x="2367" y="1219"/>
                  </a:lnTo>
                  <a:lnTo>
                    <a:pt x="2350" y="1187"/>
                  </a:lnTo>
                  <a:lnTo>
                    <a:pt x="2336" y="1163"/>
                  </a:lnTo>
                  <a:lnTo>
                    <a:pt x="2329" y="1152"/>
                  </a:lnTo>
                  <a:cubicBezTo>
                    <a:pt x="2227" y="1215"/>
                    <a:pt x="1989" y="1565"/>
                    <a:pt x="1930" y="1849"/>
                  </a:cubicBezTo>
                  <a:cubicBezTo>
                    <a:pt x="1870" y="2129"/>
                    <a:pt x="1635" y="2136"/>
                    <a:pt x="1362" y="2136"/>
                  </a:cubicBezTo>
                  <a:cubicBezTo>
                    <a:pt x="1278" y="2136"/>
                    <a:pt x="1180" y="2136"/>
                    <a:pt x="1079" y="2143"/>
                  </a:cubicBezTo>
                  <a:cubicBezTo>
                    <a:pt x="848" y="2160"/>
                    <a:pt x="830" y="2300"/>
                    <a:pt x="820" y="2528"/>
                  </a:cubicBezTo>
                  <a:cubicBezTo>
                    <a:pt x="823" y="2622"/>
                    <a:pt x="806" y="2714"/>
                    <a:pt x="774" y="2801"/>
                  </a:cubicBezTo>
                  <a:cubicBezTo>
                    <a:pt x="757" y="2840"/>
                    <a:pt x="725" y="2868"/>
                    <a:pt x="687" y="2885"/>
                  </a:cubicBezTo>
                  <a:cubicBezTo>
                    <a:pt x="665" y="2893"/>
                    <a:pt x="641" y="2896"/>
                    <a:pt x="616" y="2896"/>
                  </a:cubicBezTo>
                  <a:cubicBezTo>
                    <a:pt x="499" y="2896"/>
                    <a:pt x="347" y="2824"/>
                    <a:pt x="186" y="2752"/>
                  </a:cubicBezTo>
                  <a:cubicBezTo>
                    <a:pt x="123" y="2721"/>
                    <a:pt x="57" y="2689"/>
                    <a:pt x="1" y="2664"/>
                  </a:cubicBezTo>
                  <a:lnTo>
                    <a:pt x="1" y="2664"/>
                  </a:lnTo>
                  <a:cubicBezTo>
                    <a:pt x="4" y="2682"/>
                    <a:pt x="8" y="2696"/>
                    <a:pt x="11" y="2710"/>
                  </a:cubicBezTo>
                  <a:lnTo>
                    <a:pt x="11" y="2717"/>
                  </a:lnTo>
                  <a:cubicBezTo>
                    <a:pt x="18" y="2728"/>
                    <a:pt x="22" y="2742"/>
                    <a:pt x="25" y="2752"/>
                  </a:cubicBezTo>
                  <a:lnTo>
                    <a:pt x="25" y="2756"/>
                  </a:lnTo>
                  <a:cubicBezTo>
                    <a:pt x="29" y="2766"/>
                    <a:pt x="32" y="2773"/>
                    <a:pt x="36" y="2784"/>
                  </a:cubicBezTo>
                  <a:cubicBezTo>
                    <a:pt x="39" y="2791"/>
                    <a:pt x="43" y="2798"/>
                    <a:pt x="46" y="2805"/>
                  </a:cubicBezTo>
                  <a:lnTo>
                    <a:pt x="46" y="2808"/>
                  </a:lnTo>
                  <a:lnTo>
                    <a:pt x="53" y="2826"/>
                  </a:lnTo>
                  <a:lnTo>
                    <a:pt x="60" y="2836"/>
                  </a:lnTo>
                  <a:lnTo>
                    <a:pt x="67" y="2843"/>
                  </a:lnTo>
                  <a:lnTo>
                    <a:pt x="71" y="2847"/>
                  </a:lnTo>
                  <a:cubicBezTo>
                    <a:pt x="144" y="2850"/>
                    <a:pt x="218" y="2913"/>
                    <a:pt x="295" y="2980"/>
                  </a:cubicBezTo>
                  <a:cubicBezTo>
                    <a:pt x="349" y="3025"/>
                    <a:pt x="420" y="3089"/>
                    <a:pt x="458" y="3089"/>
                  </a:cubicBezTo>
                  <a:cubicBezTo>
                    <a:pt x="464" y="3089"/>
                    <a:pt x="469" y="3088"/>
                    <a:pt x="473" y="3085"/>
                  </a:cubicBezTo>
                  <a:cubicBezTo>
                    <a:pt x="537" y="3036"/>
                    <a:pt x="637" y="3025"/>
                    <a:pt x="749" y="3025"/>
                  </a:cubicBezTo>
                  <a:cubicBezTo>
                    <a:pt x="792" y="3025"/>
                    <a:pt x="837" y="3027"/>
                    <a:pt x="883" y="3029"/>
                  </a:cubicBezTo>
                  <a:lnTo>
                    <a:pt x="970" y="3029"/>
                  </a:lnTo>
                  <a:cubicBezTo>
                    <a:pt x="990" y="3030"/>
                    <a:pt x="1010" y="3031"/>
                    <a:pt x="1031" y="3031"/>
                  </a:cubicBezTo>
                  <a:cubicBezTo>
                    <a:pt x="1088" y="3031"/>
                    <a:pt x="1147" y="3024"/>
                    <a:pt x="1201" y="3011"/>
                  </a:cubicBezTo>
                  <a:cubicBezTo>
                    <a:pt x="1243" y="2994"/>
                    <a:pt x="1282" y="2976"/>
                    <a:pt x="1320" y="2948"/>
                  </a:cubicBezTo>
                  <a:lnTo>
                    <a:pt x="1355" y="2924"/>
                  </a:lnTo>
                  <a:cubicBezTo>
                    <a:pt x="1464" y="2831"/>
                    <a:pt x="1604" y="2779"/>
                    <a:pt x="1748" y="2779"/>
                  </a:cubicBezTo>
                  <a:cubicBezTo>
                    <a:pt x="1757" y="2779"/>
                    <a:pt x="1766" y="2780"/>
                    <a:pt x="1776" y="2780"/>
                  </a:cubicBezTo>
                  <a:cubicBezTo>
                    <a:pt x="1783" y="2780"/>
                    <a:pt x="1791" y="2779"/>
                    <a:pt x="1798" y="2779"/>
                  </a:cubicBezTo>
                  <a:cubicBezTo>
                    <a:pt x="1896" y="2779"/>
                    <a:pt x="1994" y="2821"/>
                    <a:pt x="2063" y="2892"/>
                  </a:cubicBezTo>
                  <a:cubicBezTo>
                    <a:pt x="2086" y="2916"/>
                    <a:pt x="2102" y="2931"/>
                    <a:pt x="2131" y="2931"/>
                  </a:cubicBezTo>
                  <a:cubicBezTo>
                    <a:pt x="2158" y="2931"/>
                    <a:pt x="2196" y="2917"/>
                    <a:pt x="2262" y="2885"/>
                  </a:cubicBezTo>
                  <a:cubicBezTo>
                    <a:pt x="2360" y="2836"/>
                    <a:pt x="2465" y="2801"/>
                    <a:pt x="2574" y="2784"/>
                  </a:cubicBezTo>
                  <a:cubicBezTo>
                    <a:pt x="2710" y="2756"/>
                    <a:pt x="2724" y="2752"/>
                    <a:pt x="2710" y="2626"/>
                  </a:cubicBezTo>
                  <a:cubicBezTo>
                    <a:pt x="2693" y="2503"/>
                    <a:pt x="2731" y="2381"/>
                    <a:pt x="2812" y="2286"/>
                  </a:cubicBezTo>
                  <a:cubicBezTo>
                    <a:pt x="2857" y="2230"/>
                    <a:pt x="2885" y="2192"/>
                    <a:pt x="2871" y="2111"/>
                  </a:cubicBezTo>
                  <a:cubicBezTo>
                    <a:pt x="2850" y="1964"/>
                    <a:pt x="2959" y="1919"/>
                    <a:pt x="3036" y="1887"/>
                  </a:cubicBezTo>
                  <a:cubicBezTo>
                    <a:pt x="3130" y="1849"/>
                    <a:pt x="3211" y="1817"/>
                    <a:pt x="3197" y="1621"/>
                  </a:cubicBezTo>
                  <a:cubicBezTo>
                    <a:pt x="3183" y="1523"/>
                    <a:pt x="3214" y="1425"/>
                    <a:pt x="3284" y="1352"/>
                  </a:cubicBezTo>
                  <a:cubicBezTo>
                    <a:pt x="3417" y="1211"/>
                    <a:pt x="3670" y="1193"/>
                    <a:pt x="3880" y="1193"/>
                  </a:cubicBezTo>
                  <a:cubicBezTo>
                    <a:pt x="3926" y="1193"/>
                    <a:pt x="3969" y="1194"/>
                    <a:pt x="4009" y="1194"/>
                  </a:cubicBezTo>
                  <a:lnTo>
                    <a:pt x="4135" y="1194"/>
                  </a:lnTo>
                  <a:lnTo>
                    <a:pt x="4156" y="1198"/>
                  </a:lnTo>
                  <a:lnTo>
                    <a:pt x="4167" y="1198"/>
                  </a:lnTo>
                  <a:lnTo>
                    <a:pt x="4184" y="1205"/>
                  </a:lnTo>
                  <a:lnTo>
                    <a:pt x="4198" y="1208"/>
                  </a:lnTo>
                  <a:lnTo>
                    <a:pt x="4219" y="1215"/>
                  </a:lnTo>
                  <a:lnTo>
                    <a:pt x="4233" y="1219"/>
                  </a:lnTo>
                  <a:lnTo>
                    <a:pt x="4254" y="1226"/>
                  </a:lnTo>
                  <a:lnTo>
                    <a:pt x="4272" y="1233"/>
                  </a:lnTo>
                  <a:lnTo>
                    <a:pt x="4289" y="1240"/>
                  </a:lnTo>
                  <a:lnTo>
                    <a:pt x="4310" y="1250"/>
                  </a:lnTo>
                  <a:lnTo>
                    <a:pt x="4331" y="1257"/>
                  </a:lnTo>
                  <a:lnTo>
                    <a:pt x="4352" y="1268"/>
                  </a:lnTo>
                  <a:lnTo>
                    <a:pt x="4363" y="1271"/>
                  </a:lnTo>
                  <a:lnTo>
                    <a:pt x="4380" y="1275"/>
                  </a:lnTo>
                  <a:cubicBezTo>
                    <a:pt x="4461" y="1236"/>
                    <a:pt x="4678" y="1128"/>
                    <a:pt x="4681" y="1079"/>
                  </a:cubicBezTo>
                  <a:cubicBezTo>
                    <a:pt x="4678" y="1075"/>
                    <a:pt x="4674" y="1072"/>
                    <a:pt x="4671" y="1068"/>
                  </a:cubicBezTo>
                  <a:cubicBezTo>
                    <a:pt x="4636" y="1044"/>
                    <a:pt x="4618" y="998"/>
                    <a:pt x="4632" y="960"/>
                  </a:cubicBezTo>
                  <a:cubicBezTo>
                    <a:pt x="4653" y="893"/>
                    <a:pt x="4734" y="886"/>
                    <a:pt x="4853" y="876"/>
                  </a:cubicBezTo>
                  <a:cubicBezTo>
                    <a:pt x="4958" y="865"/>
                    <a:pt x="5133" y="851"/>
                    <a:pt x="5154" y="788"/>
                  </a:cubicBezTo>
                  <a:cubicBezTo>
                    <a:pt x="5168" y="739"/>
                    <a:pt x="5154" y="690"/>
                    <a:pt x="5115" y="655"/>
                  </a:cubicBezTo>
                  <a:cubicBezTo>
                    <a:pt x="5054" y="588"/>
                    <a:pt x="4953" y="547"/>
                    <a:pt x="4887" y="547"/>
                  </a:cubicBezTo>
                  <a:cubicBezTo>
                    <a:pt x="4877" y="547"/>
                    <a:pt x="4868" y="548"/>
                    <a:pt x="4860" y="550"/>
                  </a:cubicBezTo>
                  <a:cubicBezTo>
                    <a:pt x="4820" y="559"/>
                    <a:pt x="4759" y="566"/>
                    <a:pt x="4691" y="566"/>
                  </a:cubicBezTo>
                  <a:cubicBezTo>
                    <a:pt x="4574" y="566"/>
                    <a:pt x="4437" y="546"/>
                    <a:pt x="4359" y="483"/>
                  </a:cubicBezTo>
                  <a:cubicBezTo>
                    <a:pt x="4317" y="452"/>
                    <a:pt x="4296" y="406"/>
                    <a:pt x="4296" y="357"/>
                  </a:cubicBezTo>
                  <a:cubicBezTo>
                    <a:pt x="4296" y="256"/>
                    <a:pt x="4027" y="0"/>
                    <a:pt x="38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1" name="Google Shape;6018;p64">
              <a:extLst>
                <a:ext uri="{FF2B5EF4-FFF2-40B4-BE49-F238E27FC236}">
                  <a16:creationId xmlns:a16="http://schemas.microsoft.com/office/drawing/2014/main" id="{EC68AEA9-FC1F-6BA8-DB5E-FD0B636669B8}"/>
                </a:ext>
              </a:extLst>
            </p:cNvPr>
            <p:cNvSpPr/>
            <p:nvPr/>
          </p:nvSpPr>
          <p:spPr>
            <a:xfrm>
              <a:off x="2791942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2" name="Google Shape;6019;p64">
              <a:extLst>
                <a:ext uri="{FF2B5EF4-FFF2-40B4-BE49-F238E27FC236}">
                  <a16:creationId xmlns:a16="http://schemas.microsoft.com/office/drawing/2014/main" id="{9AFB8635-9BC6-49CC-6577-F9156893D702}"/>
                </a:ext>
              </a:extLst>
            </p:cNvPr>
            <p:cNvSpPr/>
            <p:nvPr/>
          </p:nvSpPr>
          <p:spPr>
            <a:xfrm>
              <a:off x="2790367" y="2002059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1"/>
                  </a:moveTo>
                  <a:lnTo>
                    <a:pt x="2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3" name="Google Shape;6020;p64">
              <a:extLst>
                <a:ext uri="{FF2B5EF4-FFF2-40B4-BE49-F238E27FC236}">
                  <a16:creationId xmlns:a16="http://schemas.microsoft.com/office/drawing/2014/main" id="{19FA0109-0629-7734-E471-894B0CA68C67}"/>
                </a:ext>
              </a:extLst>
            </p:cNvPr>
            <p:cNvSpPr/>
            <p:nvPr/>
          </p:nvSpPr>
          <p:spPr>
            <a:xfrm>
              <a:off x="2792458" y="200215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4" name="Google Shape;6021;p64">
              <a:extLst>
                <a:ext uri="{FF2B5EF4-FFF2-40B4-BE49-F238E27FC236}">
                  <a16:creationId xmlns:a16="http://schemas.microsoft.com/office/drawing/2014/main" id="{9C7539FA-8EB1-39DF-7A3C-9B81575FF82F}"/>
                </a:ext>
              </a:extLst>
            </p:cNvPr>
            <p:cNvSpPr/>
            <p:nvPr/>
          </p:nvSpPr>
          <p:spPr>
            <a:xfrm>
              <a:off x="2790843" y="200211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0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5" name="Google Shape;6022;p64">
              <a:extLst>
                <a:ext uri="{FF2B5EF4-FFF2-40B4-BE49-F238E27FC236}">
                  <a16:creationId xmlns:a16="http://schemas.microsoft.com/office/drawing/2014/main" id="{494BAC25-E798-2AD5-6E7C-34454EB693D2}"/>
                </a:ext>
              </a:extLst>
            </p:cNvPr>
            <p:cNvSpPr/>
            <p:nvPr/>
          </p:nvSpPr>
          <p:spPr>
            <a:xfrm>
              <a:off x="2793463" y="2002059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1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6" name="Google Shape;6023;p64">
              <a:extLst>
                <a:ext uri="{FF2B5EF4-FFF2-40B4-BE49-F238E27FC236}">
                  <a16:creationId xmlns:a16="http://schemas.microsoft.com/office/drawing/2014/main" id="{B80D97D1-E84E-8C03-9E76-4A28E8958F9A}"/>
                </a:ext>
              </a:extLst>
            </p:cNvPr>
            <p:cNvSpPr/>
            <p:nvPr/>
          </p:nvSpPr>
          <p:spPr>
            <a:xfrm>
              <a:off x="2792947" y="2002113"/>
              <a:ext cx="380" cy="14"/>
            </a:xfrm>
            <a:custGeom>
              <a:avLst/>
              <a:gdLst/>
              <a:ahLst/>
              <a:cxnLst/>
              <a:rect l="l" t="t" r="r" b="b"/>
              <a:pathLst>
                <a:path w="28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7" name="Google Shape;6024;p64">
              <a:extLst>
                <a:ext uri="{FF2B5EF4-FFF2-40B4-BE49-F238E27FC236}">
                  <a16:creationId xmlns:a16="http://schemas.microsoft.com/office/drawing/2014/main" id="{FDCD8785-2FCA-BE06-9C09-8CE32E0A205A}"/>
                </a:ext>
              </a:extLst>
            </p:cNvPr>
            <p:cNvSpPr/>
            <p:nvPr/>
          </p:nvSpPr>
          <p:spPr>
            <a:xfrm>
              <a:off x="2793938" y="2002018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8" name="Google Shape;6025;p64">
              <a:extLst>
                <a:ext uri="{FF2B5EF4-FFF2-40B4-BE49-F238E27FC236}">
                  <a16:creationId xmlns:a16="http://schemas.microsoft.com/office/drawing/2014/main" id="{679C0DAA-2677-FF89-E04D-016E444DA1AB}"/>
                </a:ext>
              </a:extLst>
            </p:cNvPr>
            <p:cNvSpPr/>
            <p:nvPr/>
          </p:nvSpPr>
          <p:spPr>
            <a:xfrm>
              <a:off x="2788657" y="2001448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0"/>
                  </a:moveTo>
                  <a:cubicBezTo>
                    <a:pt x="8" y="7"/>
                    <a:pt x="15" y="11"/>
                    <a:pt x="25" y="18"/>
                  </a:cubicBezTo>
                  <a:cubicBezTo>
                    <a:pt x="15" y="11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9" name="Google Shape;6026;p64">
              <a:extLst>
                <a:ext uri="{FF2B5EF4-FFF2-40B4-BE49-F238E27FC236}">
                  <a16:creationId xmlns:a16="http://schemas.microsoft.com/office/drawing/2014/main" id="{D9AA847A-0057-DE51-B333-D8A9D6B33B93}"/>
                </a:ext>
              </a:extLst>
            </p:cNvPr>
            <p:cNvSpPr/>
            <p:nvPr/>
          </p:nvSpPr>
          <p:spPr>
            <a:xfrm>
              <a:off x="2783524" y="199654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1" y="1"/>
                  </a:moveTo>
                  <a:lnTo>
                    <a:pt x="29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0" name="Google Shape;6027;p64">
              <a:extLst>
                <a:ext uri="{FF2B5EF4-FFF2-40B4-BE49-F238E27FC236}">
                  <a16:creationId xmlns:a16="http://schemas.microsoft.com/office/drawing/2014/main" id="{31FE3F00-98FA-C5EC-6EC3-173672D5129A}"/>
                </a:ext>
              </a:extLst>
            </p:cNvPr>
            <p:cNvSpPr/>
            <p:nvPr/>
          </p:nvSpPr>
          <p:spPr>
            <a:xfrm>
              <a:off x="2782343" y="199650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1" name="Google Shape;6028;p64">
              <a:extLst>
                <a:ext uri="{FF2B5EF4-FFF2-40B4-BE49-F238E27FC236}">
                  <a16:creationId xmlns:a16="http://schemas.microsoft.com/office/drawing/2014/main" id="{169D2A73-1742-FAA1-FF2F-4096DEC082F0}"/>
                </a:ext>
              </a:extLst>
            </p:cNvPr>
            <p:cNvSpPr/>
            <p:nvPr/>
          </p:nvSpPr>
          <p:spPr>
            <a:xfrm>
              <a:off x="2789471" y="200186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lnTo>
                    <a:pt x="2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2" name="Google Shape;6029;p64">
              <a:extLst>
                <a:ext uri="{FF2B5EF4-FFF2-40B4-BE49-F238E27FC236}">
                  <a16:creationId xmlns:a16="http://schemas.microsoft.com/office/drawing/2014/main" id="{F5D6AECC-375F-C8A0-E074-8B394A609CF5}"/>
                </a:ext>
              </a:extLst>
            </p:cNvPr>
            <p:cNvSpPr/>
            <p:nvPr/>
          </p:nvSpPr>
          <p:spPr>
            <a:xfrm>
              <a:off x="2789091" y="200173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3" name="Google Shape;6030;p64">
              <a:extLst>
                <a:ext uri="{FF2B5EF4-FFF2-40B4-BE49-F238E27FC236}">
                  <a16:creationId xmlns:a16="http://schemas.microsoft.com/office/drawing/2014/main" id="{27BBAB39-8EBD-F1B0-381A-73D783A0E564}"/>
                </a:ext>
              </a:extLst>
            </p:cNvPr>
            <p:cNvSpPr/>
            <p:nvPr/>
          </p:nvSpPr>
          <p:spPr>
            <a:xfrm>
              <a:off x="2789892" y="200196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lnTo>
                    <a:pt x="2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4" name="Google Shape;6031;p64">
              <a:extLst>
                <a:ext uri="{FF2B5EF4-FFF2-40B4-BE49-F238E27FC236}">
                  <a16:creationId xmlns:a16="http://schemas.microsoft.com/office/drawing/2014/main" id="{B26F29C2-E9CF-6135-D1EF-75DEFC3D8A0E}"/>
                </a:ext>
              </a:extLst>
            </p:cNvPr>
            <p:cNvSpPr/>
            <p:nvPr/>
          </p:nvSpPr>
          <p:spPr>
            <a:xfrm>
              <a:off x="2794943" y="20018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5" name="Google Shape;6032;p64">
              <a:extLst>
                <a:ext uri="{FF2B5EF4-FFF2-40B4-BE49-F238E27FC236}">
                  <a16:creationId xmlns:a16="http://schemas.microsoft.com/office/drawing/2014/main" id="{9F224DB2-6AD5-7878-216A-2FD9FDCB9DD6}"/>
                </a:ext>
              </a:extLst>
            </p:cNvPr>
            <p:cNvSpPr/>
            <p:nvPr/>
          </p:nvSpPr>
          <p:spPr>
            <a:xfrm>
              <a:off x="2796083" y="200025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6" name="Google Shape;6033;p64">
              <a:extLst>
                <a:ext uri="{FF2B5EF4-FFF2-40B4-BE49-F238E27FC236}">
                  <a16:creationId xmlns:a16="http://schemas.microsoft.com/office/drawing/2014/main" id="{92531E8B-94D0-EC7C-168E-FD6E4A208BFF}"/>
                </a:ext>
              </a:extLst>
            </p:cNvPr>
            <p:cNvSpPr/>
            <p:nvPr/>
          </p:nvSpPr>
          <p:spPr>
            <a:xfrm>
              <a:off x="2791847" y="2002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7" name="Google Shape;6034;p64">
              <a:extLst>
                <a:ext uri="{FF2B5EF4-FFF2-40B4-BE49-F238E27FC236}">
                  <a16:creationId xmlns:a16="http://schemas.microsoft.com/office/drawing/2014/main" id="{8497F4C9-338C-5F5C-10C9-8A8CF6BB1E73}"/>
                </a:ext>
              </a:extLst>
            </p:cNvPr>
            <p:cNvSpPr/>
            <p:nvPr/>
          </p:nvSpPr>
          <p:spPr>
            <a:xfrm>
              <a:off x="2794563" y="2001923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8" name="Google Shape;6035;p64">
              <a:extLst>
                <a:ext uri="{FF2B5EF4-FFF2-40B4-BE49-F238E27FC236}">
                  <a16:creationId xmlns:a16="http://schemas.microsoft.com/office/drawing/2014/main" id="{9EBAF6BB-B866-4870-62C3-72334731CC9B}"/>
                </a:ext>
              </a:extLst>
            </p:cNvPr>
            <p:cNvSpPr/>
            <p:nvPr/>
          </p:nvSpPr>
          <p:spPr>
            <a:xfrm>
              <a:off x="2794794" y="200192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9" name="Google Shape;6036;p64">
              <a:extLst>
                <a:ext uri="{FF2B5EF4-FFF2-40B4-BE49-F238E27FC236}">
                  <a16:creationId xmlns:a16="http://schemas.microsoft.com/office/drawing/2014/main" id="{EF767AA7-6714-AEB8-95AE-A8A0CC82323F}"/>
                </a:ext>
              </a:extLst>
            </p:cNvPr>
            <p:cNvSpPr/>
            <p:nvPr/>
          </p:nvSpPr>
          <p:spPr>
            <a:xfrm>
              <a:off x="2796124" y="2000022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11"/>
                  </a:moveTo>
                  <a:cubicBezTo>
                    <a:pt x="1" y="7"/>
                    <a:pt x="1" y="4"/>
                    <a:pt x="4" y="0"/>
                  </a:cubicBez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0" name="Google Shape;6037;p64">
              <a:extLst>
                <a:ext uri="{FF2B5EF4-FFF2-40B4-BE49-F238E27FC236}">
                  <a16:creationId xmlns:a16="http://schemas.microsoft.com/office/drawing/2014/main" id="{C626CAE9-6774-A5BC-1184-3E87906D7A9B}"/>
                </a:ext>
              </a:extLst>
            </p:cNvPr>
            <p:cNvSpPr/>
            <p:nvPr/>
          </p:nvSpPr>
          <p:spPr>
            <a:xfrm>
              <a:off x="2796749" y="19991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1" name="Google Shape;6038;p64">
              <a:extLst>
                <a:ext uri="{FF2B5EF4-FFF2-40B4-BE49-F238E27FC236}">
                  <a16:creationId xmlns:a16="http://schemas.microsoft.com/office/drawing/2014/main" id="{FE2F1509-C9F4-CD6A-6837-BFF3A1E814C6}"/>
                </a:ext>
              </a:extLst>
            </p:cNvPr>
            <p:cNvSpPr/>
            <p:nvPr/>
          </p:nvSpPr>
          <p:spPr>
            <a:xfrm>
              <a:off x="2796559" y="199920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2" name="Google Shape;6039;p64">
              <a:extLst>
                <a:ext uri="{FF2B5EF4-FFF2-40B4-BE49-F238E27FC236}">
                  <a16:creationId xmlns:a16="http://schemas.microsoft.com/office/drawing/2014/main" id="{F3F83607-E0CE-835F-21BF-9A4A7C9B771B}"/>
                </a:ext>
              </a:extLst>
            </p:cNvPr>
            <p:cNvSpPr/>
            <p:nvPr/>
          </p:nvSpPr>
          <p:spPr>
            <a:xfrm>
              <a:off x="2796178" y="1999737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4"/>
                  </a:moveTo>
                  <a:cubicBezTo>
                    <a:pt x="0" y="11"/>
                    <a:pt x="4" y="7"/>
                    <a:pt x="4" y="0"/>
                  </a:cubicBezTo>
                  <a:cubicBezTo>
                    <a:pt x="4" y="7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3" name="Google Shape;6040;p64">
              <a:extLst>
                <a:ext uri="{FF2B5EF4-FFF2-40B4-BE49-F238E27FC236}">
                  <a16:creationId xmlns:a16="http://schemas.microsoft.com/office/drawing/2014/main" id="{C1D85767-2AB8-023B-2C44-E85AB435E426}"/>
                </a:ext>
              </a:extLst>
            </p:cNvPr>
            <p:cNvSpPr/>
            <p:nvPr/>
          </p:nvSpPr>
          <p:spPr>
            <a:xfrm>
              <a:off x="2796369" y="19993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8"/>
                  </a:moveTo>
                  <a:cubicBezTo>
                    <a:pt x="4" y="4"/>
                    <a:pt x="7" y="1"/>
                    <a:pt x="11" y="1"/>
                  </a:cubicBezTo>
                  <a:cubicBezTo>
                    <a:pt x="7" y="1"/>
                    <a:pt x="4" y="4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4" name="Google Shape;6041;p64">
              <a:extLst>
                <a:ext uri="{FF2B5EF4-FFF2-40B4-BE49-F238E27FC236}">
                  <a16:creationId xmlns:a16="http://schemas.microsoft.com/office/drawing/2014/main" id="{9878A420-E784-14BA-3179-FF0043E86B5D}"/>
                </a:ext>
              </a:extLst>
            </p:cNvPr>
            <p:cNvSpPr/>
            <p:nvPr/>
          </p:nvSpPr>
          <p:spPr>
            <a:xfrm>
              <a:off x="2796274" y="199954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cubicBezTo>
                    <a:pt x="0" y="11"/>
                    <a:pt x="4" y="4"/>
                    <a:pt x="7" y="0"/>
                  </a:cubicBezTo>
                  <a:cubicBezTo>
                    <a:pt x="4" y="4"/>
                    <a:pt x="0" y="11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5" name="Google Shape;6042;p64">
              <a:extLst>
                <a:ext uri="{FF2B5EF4-FFF2-40B4-BE49-F238E27FC236}">
                  <a16:creationId xmlns:a16="http://schemas.microsoft.com/office/drawing/2014/main" id="{C71F227F-D698-900B-F5F1-CB0BBEEF583F}"/>
                </a:ext>
              </a:extLst>
            </p:cNvPr>
            <p:cNvSpPr/>
            <p:nvPr/>
          </p:nvSpPr>
          <p:spPr>
            <a:xfrm>
              <a:off x="2794223" y="2001964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1" y="4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6" name="Google Shape;6043;p64">
              <a:extLst>
                <a:ext uri="{FF2B5EF4-FFF2-40B4-BE49-F238E27FC236}">
                  <a16:creationId xmlns:a16="http://schemas.microsoft.com/office/drawing/2014/main" id="{53ED6E1E-8EB5-73EB-76D8-09B2B2BB779A}"/>
                </a:ext>
              </a:extLst>
            </p:cNvPr>
            <p:cNvSpPr/>
            <p:nvPr/>
          </p:nvSpPr>
          <p:spPr>
            <a:xfrm>
              <a:off x="2887582" y="2010097"/>
              <a:ext cx="6572" cy="4100"/>
            </a:xfrm>
            <a:custGeom>
              <a:avLst/>
              <a:gdLst/>
              <a:ahLst/>
              <a:cxnLst/>
              <a:rect l="l" t="t" r="r" b="b"/>
              <a:pathLst>
                <a:path w="484" h="302" extrusionOk="0">
                  <a:moveTo>
                    <a:pt x="459" y="1"/>
                  </a:moveTo>
                  <a:lnTo>
                    <a:pt x="420" y="8"/>
                  </a:lnTo>
                  <a:cubicBezTo>
                    <a:pt x="378" y="18"/>
                    <a:pt x="336" y="32"/>
                    <a:pt x="301" y="57"/>
                  </a:cubicBezTo>
                  <a:cubicBezTo>
                    <a:pt x="305" y="95"/>
                    <a:pt x="287" y="134"/>
                    <a:pt x="252" y="155"/>
                  </a:cubicBezTo>
                  <a:cubicBezTo>
                    <a:pt x="234" y="166"/>
                    <a:pt x="214" y="170"/>
                    <a:pt x="193" y="170"/>
                  </a:cubicBezTo>
                  <a:cubicBezTo>
                    <a:pt x="140" y="170"/>
                    <a:pt x="77" y="142"/>
                    <a:pt x="7" y="109"/>
                  </a:cubicBezTo>
                  <a:lnTo>
                    <a:pt x="0" y="106"/>
                  </a:lnTo>
                  <a:lnTo>
                    <a:pt x="21" y="137"/>
                  </a:lnTo>
                  <a:lnTo>
                    <a:pt x="25" y="148"/>
                  </a:lnTo>
                  <a:lnTo>
                    <a:pt x="39" y="169"/>
                  </a:lnTo>
                  <a:lnTo>
                    <a:pt x="46" y="179"/>
                  </a:lnTo>
                  <a:lnTo>
                    <a:pt x="60" y="197"/>
                  </a:lnTo>
                  <a:lnTo>
                    <a:pt x="63" y="204"/>
                  </a:lnTo>
                  <a:lnTo>
                    <a:pt x="77" y="221"/>
                  </a:lnTo>
                  <a:lnTo>
                    <a:pt x="81" y="225"/>
                  </a:lnTo>
                  <a:lnTo>
                    <a:pt x="95" y="246"/>
                  </a:lnTo>
                  <a:lnTo>
                    <a:pt x="98" y="249"/>
                  </a:lnTo>
                  <a:lnTo>
                    <a:pt x="109" y="260"/>
                  </a:lnTo>
                  <a:lnTo>
                    <a:pt x="112" y="267"/>
                  </a:lnTo>
                  <a:lnTo>
                    <a:pt x="119" y="274"/>
                  </a:lnTo>
                  <a:lnTo>
                    <a:pt x="123" y="277"/>
                  </a:lnTo>
                  <a:lnTo>
                    <a:pt x="130" y="284"/>
                  </a:lnTo>
                  <a:lnTo>
                    <a:pt x="130" y="288"/>
                  </a:lnTo>
                  <a:lnTo>
                    <a:pt x="140" y="295"/>
                  </a:lnTo>
                  <a:lnTo>
                    <a:pt x="144" y="298"/>
                  </a:lnTo>
                  <a:lnTo>
                    <a:pt x="151" y="302"/>
                  </a:lnTo>
                  <a:lnTo>
                    <a:pt x="154" y="302"/>
                  </a:lnTo>
                  <a:cubicBezTo>
                    <a:pt x="214" y="302"/>
                    <a:pt x="273" y="277"/>
                    <a:pt x="319" y="235"/>
                  </a:cubicBezTo>
                  <a:cubicBezTo>
                    <a:pt x="364" y="193"/>
                    <a:pt x="424" y="169"/>
                    <a:pt x="483" y="169"/>
                  </a:cubicBezTo>
                  <a:cubicBezTo>
                    <a:pt x="483" y="162"/>
                    <a:pt x="483" y="155"/>
                    <a:pt x="483" y="148"/>
                  </a:cubicBezTo>
                  <a:lnTo>
                    <a:pt x="483" y="141"/>
                  </a:lnTo>
                  <a:cubicBezTo>
                    <a:pt x="483" y="134"/>
                    <a:pt x="480" y="123"/>
                    <a:pt x="480" y="116"/>
                  </a:cubicBezTo>
                  <a:lnTo>
                    <a:pt x="480" y="113"/>
                  </a:lnTo>
                  <a:cubicBezTo>
                    <a:pt x="480" y="102"/>
                    <a:pt x="476" y="95"/>
                    <a:pt x="473" y="85"/>
                  </a:cubicBezTo>
                  <a:lnTo>
                    <a:pt x="473" y="74"/>
                  </a:lnTo>
                  <a:lnTo>
                    <a:pt x="469" y="53"/>
                  </a:lnTo>
                  <a:lnTo>
                    <a:pt x="466" y="43"/>
                  </a:lnTo>
                  <a:lnTo>
                    <a:pt x="462" y="18"/>
                  </a:lnTo>
                  <a:lnTo>
                    <a:pt x="459" y="8"/>
                  </a:lnTo>
                  <a:lnTo>
                    <a:pt x="45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7" name="Google Shape;6044;p64">
              <a:extLst>
                <a:ext uri="{FF2B5EF4-FFF2-40B4-BE49-F238E27FC236}">
                  <a16:creationId xmlns:a16="http://schemas.microsoft.com/office/drawing/2014/main" id="{9FF08A33-1110-9168-E308-E01192DE934E}"/>
                </a:ext>
              </a:extLst>
            </p:cNvPr>
            <p:cNvSpPr/>
            <p:nvPr/>
          </p:nvSpPr>
          <p:spPr>
            <a:xfrm>
              <a:off x="2888668" y="2013192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8" name="Google Shape;6045;p64">
              <a:extLst>
                <a:ext uri="{FF2B5EF4-FFF2-40B4-BE49-F238E27FC236}">
                  <a16:creationId xmlns:a16="http://schemas.microsoft.com/office/drawing/2014/main" id="{4E54715C-FB26-643A-1C1A-F344843F8185}"/>
                </a:ext>
              </a:extLst>
            </p:cNvPr>
            <p:cNvSpPr/>
            <p:nvPr/>
          </p:nvSpPr>
          <p:spPr>
            <a:xfrm>
              <a:off x="2888913" y="201347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9" name="Google Shape;6046;p64">
              <a:extLst>
                <a:ext uri="{FF2B5EF4-FFF2-40B4-BE49-F238E27FC236}">
                  <a16:creationId xmlns:a16="http://schemas.microsoft.com/office/drawing/2014/main" id="{4BD24ACF-EAD5-1BB0-D6D4-F3A12B6FE997}"/>
                </a:ext>
              </a:extLst>
            </p:cNvPr>
            <p:cNvSpPr/>
            <p:nvPr/>
          </p:nvSpPr>
          <p:spPr>
            <a:xfrm>
              <a:off x="2888438" y="201290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0" name="Google Shape;6047;p64">
              <a:extLst>
                <a:ext uri="{FF2B5EF4-FFF2-40B4-BE49-F238E27FC236}">
                  <a16:creationId xmlns:a16="http://schemas.microsoft.com/office/drawing/2014/main" id="{B31AADB6-9450-C548-8FD2-F5B8BBBC084C}"/>
                </a:ext>
              </a:extLst>
            </p:cNvPr>
            <p:cNvSpPr/>
            <p:nvPr/>
          </p:nvSpPr>
          <p:spPr>
            <a:xfrm>
              <a:off x="2889049" y="2013708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1" name="Google Shape;6048;p64">
              <a:extLst>
                <a:ext uri="{FF2B5EF4-FFF2-40B4-BE49-F238E27FC236}">
                  <a16:creationId xmlns:a16="http://schemas.microsoft.com/office/drawing/2014/main" id="{BD0AC089-8E57-E4FA-FCBE-513BE0EA14DE}"/>
                </a:ext>
              </a:extLst>
            </p:cNvPr>
            <p:cNvSpPr/>
            <p:nvPr/>
          </p:nvSpPr>
          <p:spPr>
            <a:xfrm>
              <a:off x="2887582" y="20115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2" name="Google Shape;6049;p64">
              <a:extLst>
                <a:ext uri="{FF2B5EF4-FFF2-40B4-BE49-F238E27FC236}">
                  <a16:creationId xmlns:a16="http://schemas.microsoft.com/office/drawing/2014/main" id="{68CAF7CC-D071-831F-D862-8835F231CA70}"/>
                </a:ext>
              </a:extLst>
            </p:cNvPr>
            <p:cNvSpPr/>
            <p:nvPr/>
          </p:nvSpPr>
          <p:spPr>
            <a:xfrm>
              <a:off x="2888247" y="2012568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3" name="Google Shape;6050;p64">
              <a:extLst>
                <a:ext uri="{FF2B5EF4-FFF2-40B4-BE49-F238E27FC236}">
                  <a16:creationId xmlns:a16="http://schemas.microsoft.com/office/drawing/2014/main" id="{A75F3E53-E131-8003-FD87-F94B6B0DD594}"/>
                </a:ext>
              </a:extLst>
            </p:cNvPr>
            <p:cNvSpPr/>
            <p:nvPr/>
          </p:nvSpPr>
          <p:spPr>
            <a:xfrm>
              <a:off x="2889239" y="201389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4" name="Google Shape;6051;p64">
              <a:extLst>
                <a:ext uri="{FF2B5EF4-FFF2-40B4-BE49-F238E27FC236}">
                  <a16:creationId xmlns:a16="http://schemas.microsoft.com/office/drawing/2014/main" id="{B4D20F0C-5291-7976-2A92-D457C05F70CE}"/>
                </a:ext>
              </a:extLst>
            </p:cNvPr>
            <p:cNvSpPr/>
            <p:nvPr/>
          </p:nvSpPr>
          <p:spPr>
            <a:xfrm>
              <a:off x="2887908" y="2012093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5" name="Google Shape;6052;p64">
              <a:extLst>
                <a:ext uri="{FF2B5EF4-FFF2-40B4-BE49-F238E27FC236}">
                  <a16:creationId xmlns:a16="http://schemas.microsoft.com/office/drawing/2014/main" id="{16B15F4E-1EEE-BE63-2F21-00884C798C84}"/>
                </a:ext>
              </a:extLst>
            </p:cNvPr>
            <p:cNvSpPr/>
            <p:nvPr/>
          </p:nvSpPr>
          <p:spPr>
            <a:xfrm>
              <a:off x="2889334" y="20140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6" name="Google Shape;6053;p64">
              <a:extLst>
                <a:ext uri="{FF2B5EF4-FFF2-40B4-BE49-F238E27FC236}">
                  <a16:creationId xmlns:a16="http://schemas.microsoft.com/office/drawing/2014/main" id="{EE343693-359A-1560-578D-79C3E96C2A55}"/>
                </a:ext>
              </a:extLst>
            </p:cNvPr>
            <p:cNvSpPr/>
            <p:nvPr/>
          </p:nvSpPr>
          <p:spPr>
            <a:xfrm>
              <a:off x="2893801" y="201024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0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7" name="Google Shape;6054;p64">
              <a:extLst>
                <a:ext uri="{FF2B5EF4-FFF2-40B4-BE49-F238E27FC236}">
                  <a16:creationId xmlns:a16="http://schemas.microsoft.com/office/drawing/2014/main" id="{BDC7E170-1104-5E86-6CA2-AC84EDBF327B}"/>
                </a:ext>
              </a:extLst>
            </p:cNvPr>
            <p:cNvSpPr/>
            <p:nvPr/>
          </p:nvSpPr>
          <p:spPr>
            <a:xfrm>
              <a:off x="2889483" y="201414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8" name="Google Shape;6055;p64">
              <a:extLst>
                <a:ext uri="{FF2B5EF4-FFF2-40B4-BE49-F238E27FC236}">
                  <a16:creationId xmlns:a16="http://schemas.microsoft.com/office/drawing/2014/main" id="{32F01FF6-C126-05B2-FC94-9D30170E1168}"/>
                </a:ext>
              </a:extLst>
            </p:cNvPr>
            <p:cNvSpPr/>
            <p:nvPr/>
          </p:nvSpPr>
          <p:spPr>
            <a:xfrm>
              <a:off x="2889578" y="201423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9" name="Google Shape;6056;p64">
              <a:extLst>
                <a:ext uri="{FF2B5EF4-FFF2-40B4-BE49-F238E27FC236}">
                  <a16:creationId xmlns:a16="http://schemas.microsoft.com/office/drawing/2014/main" id="{9AA5CE7B-CDC0-F8D4-55A2-986EC81C3F13}"/>
                </a:ext>
              </a:extLst>
            </p:cNvPr>
            <p:cNvSpPr/>
            <p:nvPr/>
          </p:nvSpPr>
          <p:spPr>
            <a:xfrm>
              <a:off x="2889619" y="2014279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0" name="Google Shape;6057;p64">
              <a:extLst>
                <a:ext uri="{FF2B5EF4-FFF2-40B4-BE49-F238E27FC236}">
                  <a16:creationId xmlns:a16="http://schemas.microsoft.com/office/drawing/2014/main" id="{7D5B8A54-DA2B-747B-CA78-FF65DFD5A988}"/>
                </a:ext>
              </a:extLst>
            </p:cNvPr>
            <p:cNvSpPr/>
            <p:nvPr/>
          </p:nvSpPr>
          <p:spPr>
            <a:xfrm>
              <a:off x="2894181" y="2012188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11"/>
                    <a:pt x="1" y="18"/>
                    <a:pt x="4" y="25"/>
                  </a:cubicBezTo>
                  <a:cubicBezTo>
                    <a:pt x="1" y="18"/>
                    <a:pt x="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1" name="Google Shape;6058;p64">
              <a:extLst>
                <a:ext uri="{FF2B5EF4-FFF2-40B4-BE49-F238E27FC236}">
                  <a16:creationId xmlns:a16="http://schemas.microsoft.com/office/drawing/2014/main" id="{7CD3B5CA-3233-FFCC-364C-FF5BDC448EEF}"/>
                </a:ext>
              </a:extLst>
            </p:cNvPr>
            <p:cNvSpPr/>
            <p:nvPr/>
          </p:nvSpPr>
          <p:spPr>
            <a:xfrm>
              <a:off x="2893950" y="201095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lnTo>
                    <a:pt x="4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2" name="Google Shape;6059;p64">
              <a:extLst>
                <a:ext uri="{FF2B5EF4-FFF2-40B4-BE49-F238E27FC236}">
                  <a16:creationId xmlns:a16="http://schemas.microsoft.com/office/drawing/2014/main" id="{16A04A4B-7447-1FEA-F001-0441117DBD4A}"/>
                </a:ext>
              </a:extLst>
            </p:cNvPr>
            <p:cNvSpPr/>
            <p:nvPr/>
          </p:nvSpPr>
          <p:spPr>
            <a:xfrm>
              <a:off x="2894045" y="2011387"/>
              <a:ext cx="54" cy="394"/>
            </a:xfrm>
            <a:custGeom>
              <a:avLst/>
              <a:gdLst/>
              <a:ahLst/>
              <a:cxnLst/>
              <a:rect l="l" t="t" r="r" b="b"/>
              <a:pathLst>
                <a:path w="4" h="29" extrusionOk="0">
                  <a:moveTo>
                    <a:pt x="0" y="0"/>
                  </a:moveTo>
                  <a:cubicBezTo>
                    <a:pt x="0" y="3"/>
                    <a:pt x="1" y="6"/>
                    <a:pt x="2" y="10"/>
                  </a:cubicBezTo>
                  <a:lnTo>
                    <a:pt x="2" y="10"/>
                  </a:lnTo>
                  <a:lnTo>
                    <a:pt x="0" y="0"/>
                  </a:lnTo>
                  <a:close/>
                  <a:moveTo>
                    <a:pt x="2" y="10"/>
                  </a:moveTo>
                  <a:lnTo>
                    <a:pt x="4" y="28"/>
                  </a:lnTo>
                  <a:cubicBezTo>
                    <a:pt x="4" y="22"/>
                    <a:pt x="3" y="16"/>
                    <a:pt x="2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3" name="Google Shape;6060;p64">
              <a:extLst>
                <a:ext uri="{FF2B5EF4-FFF2-40B4-BE49-F238E27FC236}">
                  <a16:creationId xmlns:a16="http://schemas.microsoft.com/office/drawing/2014/main" id="{7FA7EA8C-A66D-2F7F-012A-B3FC5FB4E702}"/>
                </a:ext>
              </a:extLst>
            </p:cNvPr>
            <p:cNvSpPr/>
            <p:nvPr/>
          </p:nvSpPr>
          <p:spPr>
            <a:xfrm>
              <a:off x="2894140" y="201180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cubicBezTo>
                    <a:pt x="0" y="8"/>
                    <a:pt x="0" y="15"/>
                    <a:pt x="4" y="25"/>
                  </a:cubicBez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4" name="Google Shape;6061;p64">
              <a:extLst>
                <a:ext uri="{FF2B5EF4-FFF2-40B4-BE49-F238E27FC236}">
                  <a16:creationId xmlns:a16="http://schemas.microsoft.com/office/drawing/2014/main" id="{5FE4333D-AA3B-CE97-B4F0-000B54DDA91F}"/>
                </a:ext>
              </a:extLst>
            </p:cNvPr>
            <p:cNvSpPr/>
            <p:nvPr/>
          </p:nvSpPr>
          <p:spPr>
            <a:xfrm>
              <a:off x="2889714" y="20143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5" name="Google Shape;6062;p64">
              <a:extLst>
                <a:ext uri="{FF2B5EF4-FFF2-40B4-BE49-F238E27FC236}">
                  <a16:creationId xmlns:a16="http://schemas.microsoft.com/office/drawing/2014/main" id="{023FD359-9A7E-3124-DFE1-19E1F3BE269C}"/>
                </a:ext>
              </a:extLst>
            </p:cNvPr>
            <p:cNvSpPr/>
            <p:nvPr/>
          </p:nvSpPr>
          <p:spPr>
            <a:xfrm>
              <a:off x="2893855" y="2010477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1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6" name="Google Shape;6063;p64">
              <a:extLst>
                <a:ext uri="{FF2B5EF4-FFF2-40B4-BE49-F238E27FC236}">
                  <a16:creationId xmlns:a16="http://schemas.microsoft.com/office/drawing/2014/main" id="{83D5A135-9E0C-0579-6D93-11930AC1ABD2}"/>
                </a:ext>
              </a:extLst>
            </p:cNvPr>
            <p:cNvSpPr/>
            <p:nvPr/>
          </p:nvSpPr>
          <p:spPr>
            <a:xfrm>
              <a:off x="2333674" y="1750386"/>
              <a:ext cx="69992" cy="68689"/>
            </a:xfrm>
            <a:custGeom>
              <a:avLst/>
              <a:gdLst/>
              <a:ahLst/>
              <a:cxnLst/>
              <a:rect l="l" t="t" r="r" b="b"/>
              <a:pathLst>
                <a:path w="5155" h="5059" extrusionOk="0">
                  <a:moveTo>
                    <a:pt x="2194" y="1"/>
                  </a:moveTo>
                  <a:cubicBezTo>
                    <a:pt x="2179" y="1"/>
                    <a:pt x="2163" y="2"/>
                    <a:pt x="2147" y="4"/>
                  </a:cubicBezTo>
                  <a:cubicBezTo>
                    <a:pt x="2087" y="4"/>
                    <a:pt x="2035" y="39"/>
                    <a:pt x="2010" y="91"/>
                  </a:cubicBezTo>
                  <a:lnTo>
                    <a:pt x="2052" y="102"/>
                  </a:lnTo>
                  <a:lnTo>
                    <a:pt x="1615" y="424"/>
                  </a:lnTo>
                  <a:lnTo>
                    <a:pt x="1604" y="427"/>
                  </a:lnTo>
                  <a:cubicBezTo>
                    <a:pt x="1534" y="448"/>
                    <a:pt x="1345" y="529"/>
                    <a:pt x="1303" y="648"/>
                  </a:cubicBezTo>
                  <a:cubicBezTo>
                    <a:pt x="1279" y="711"/>
                    <a:pt x="1303" y="777"/>
                    <a:pt x="1331" y="851"/>
                  </a:cubicBezTo>
                  <a:cubicBezTo>
                    <a:pt x="1366" y="938"/>
                    <a:pt x="1401" y="1036"/>
                    <a:pt x="1335" y="1117"/>
                  </a:cubicBezTo>
                  <a:cubicBezTo>
                    <a:pt x="1268" y="1201"/>
                    <a:pt x="1282" y="1400"/>
                    <a:pt x="1303" y="1491"/>
                  </a:cubicBezTo>
                  <a:cubicBezTo>
                    <a:pt x="1331" y="1596"/>
                    <a:pt x="1216" y="1789"/>
                    <a:pt x="1167" y="1869"/>
                  </a:cubicBezTo>
                  <a:lnTo>
                    <a:pt x="1156" y="1883"/>
                  </a:lnTo>
                  <a:lnTo>
                    <a:pt x="1142" y="1890"/>
                  </a:lnTo>
                  <a:lnTo>
                    <a:pt x="1139" y="1890"/>
                  </a:lnTo>
                  <a:cubicBezTo>
                    <a:pt x="974" y="1978"/>
                    <a:pt x="456" y="2255"/>
                    <a:pt x="1" y="2489"/>
                  </a:cubicBezTo>
                  <a:cubicBezTo>
                    <a:pt x="4" y="2510"/>
                    <a:pt x="4" y="2535"/>
                    <a:pt x="8" y="2549"/>
                  </a:cubicBezTo>
                  <a:lnTo>
                    <a:pt x="8" y="2552"/>
                  </a:lnTo>
                  <a:cubicBezTo>
                    <a:pt x="11" y="2573"/>
                    <a:pt x="15" y="2591"/>
                    <a:pt x="15" y="2605"/>
                  </a:cubicBezTo>
                  <a:lnTo>
                    <a:pt x="15" y="2612"/>
                  </a:lnTo>
                  <a:cubicBezTo>
                    <a:pt x="18" y="2629"/>
                    <a:pt x="22" y="2643"/>
                    <a:pt x="25" y="2657"/>
                  </a:cubicBezTo>
                  <a:lnTo>
                    <a:pt x="25" y="2661"/>
                  </a:lnTo>
                  <a:cubicBezTo>
                    <a:pt x="29" y="2675"/>
                    <a:pt x="32" y="2689"/>
                    <a:pt x="36" y="2699"/>
                  </a:cubicBezTo>
                  <a:cubicBezTo>
                    <a:pt x="39" y="2713"/>
                    <a:pt x="43" y="2727"/>
                    <a:pt x="46" y="2745"/>
                  </a:cubicBezTo>
                  <a:lnTo>
                    <a:pt x="46" y="2748"/>
                  </a:lnTo>
                  <a:lnTo>
                    <a:pt x="60" y="2797"/>
                  </a:lnTo>
                  <a:lnTo>
                    <a:pt x="74" y="2857"/>
                  </a:lnTo>
                  <a:cubicBezTo>
                    <a:pt x="99" y="2958"/>
                    <a:pt x="127" y="3081"/>
                    <a:pt x="151" y="3186"/>
                  </a:cubicBezTo>
                  <a:cubicBezTo>
                    <a:pt x="193" y="3186"/>
                    <a:pt x="232" y="3182"/>
                    <a:pt x="263" y="3182"/>
                  </a:cubicBezTo>
                  <a:lnTo>
                    <a:pt x="368" y="3182"/>
                  </a:lnTo>
                  <a:cubicBezTo>
                    <a:pt x="417" y="3182"/>
                    <a:pt x="466" y="3182"/>
                    <a:pt x="515" y="3189"/>
                  </a:cubicBezTo>
                  <a:lnTo>
                    <a:pt x="529" y="3189"/>
                  </a:lnTo>
                  <a:cubicBezTo>
                    <a:pt x="575" y="3196"/>
                    <a:pt x="617" y="3210"/>
                    <a:pt x="659" y="3231"/>
                  </a:cubicBezTo>
                  <a:lnTo>
                    <a:pt x="687" y="3242"/>
                  </a:lnTo>
                  <a:lnTo>
                    <a:pt x="701" y="3249"/>
                  </a:lnTo>
                  <a:lnTo>
                    <a:pt x="705" y="3252"/>
                  </a:lnTo>
                  <a:cubicBezTo>
                    <a:pt x="726" y="3263"/>
                    <a:pt x="747" y="3273"/>
                    <a:pt x="768" y="3284"/>
                  </a:cubicBezTo>
                  <a:cubicBezTo>
                    <a:pt x="855" y="3329"/>
                    <a:pt x="953" y="3392"/>
                    <a:pt x="1065" y="3459"/>
                  </a:cubicBezTo>
                  <a:cubicBezTo>
                    <a:pt x="1125" y="3497"/>
                    <a:pt x="1191" y="3539"/>
                    <a:pt x="1258" y="3585"/>
                  </a:cubicBezTo>
                  <a:lnTo>
                    <a:pt x="1324" y="3627"/>
                  </a:lnTo>
                  <a:cubicBezTo>
                    <a:pt x="1461" y="3714"/>
                    <a:pt x="1576" y="3791"/>
                    <a:pt x="1632" y="3819"/>
                  </a:cubicBezTo>
                  <a:cubicBezTo>
                    <a:pt x="1706" y="3861"/>
                    <a:pt x="1776" y="3907"/>
                    <a:pt x="1846" y="3956"/>
                  </a:cubicBezTo>
                  <a:lnTo>
                    <a:pt x="1933" y="4019"/>
                  </a:lnTo>
                  <a:lnTo>
                    <a:pt x="2028" y="4089"/>
                  </a:lnTo>
                  <a:cubicBezTo>
                    <a:pt x="2378" y="4338"/>
                    <a:pt x="2833" y="4688"/>
                    <a:pt x="2963" y="4800"/>
                  </a:cubicBezTo>
                  <a:cubicBezTo>
                    <a:pt x="3092" y="4915"/>
                    <a:pt x="3278" y="4968"/>
                    <a:pt x="3414" y="4989"/>
                  </a:cubicBezTo>
                  <a:cubicBezTo>
                    <a:pt x="3467" y="4996"/>
                    <a:pt x="3516" y="4999"/>
                    <a:pt x="3565" y="4999"/>
                  </a:cubicBezTo>
                  <a:lnTo>
                    <a:pt x="3582" y="4999"/>
                  </a:lnTo>
                  <a:cubicBezTo>
                    <a:pt x="3635" y="4999"/>
                    <a:pt x="3743" y="5013"/>
                    <a:pt x="3908" y="5031"/>
                  </a:cubicBezTo>
                  <a:lnTo>
                    <a:pt x="4160" y="5059"/>
                  </a:lnTo>
                  <a:lnTo>
                    <a:pt x="4167" y="5034"/>
                  </a:lnTo>
                  <a:lnTo>
                    <a:pt x="4174" y="5020"/>
                  </a:lnTo>
                  <a:lnTo>
                    <a:pt x="4198" y="4968"/>
                  </a:lnTo>
                  <a:lnTo>
                    <a:pt x="4205" y="4950"/>
                  </a:lnTo>
                  <a:lnTo>
                    <a:pt x="4223" y="4905"/>
                  </a:lnTo>
                  <a:lnTo>
                    <a:pt x="4230" y="4887"/>
                  </a:lnTo>
                  <a:lnTo>
                    <a:pt x="4247" y="4852"/>
                  </a:lnTo>
                  <a:lnTo>
                    <a:pt x="4254" y="4835"/>
                  </a:lnTo>
                  <a:lnTo>
                    <a:pt x="4268" y="4807"/>
                  </a:lnTo>
                  <a:lnTo>
                    <a:pt x="4275" y="4789"/>
                  </a:lnTo>
                  <a:lnTo>
                    <a:pt x="4286" y="4768"/>
                  </a:lnTo>
                  <a:lnTo>
                    <a:pt x="4293" y="4751"/>
                  </a:lnTo>
                  <a:lnTo>
                    <a:pt x="4303" y="4733"/>
                  </a:lnTo>
                  <a:lnTo>
                    <a:pt x="4310" y="4719"/>
                  </a:lnTo>
                  <a:lnTo>
                    <a:pt x="4317" y="4705"/>
                  </a:lnTo>
                  <a:lnTo>
                    <a:pt x="4324" y="4691"/>
                  </a:lnTo>
                  <a:lnTo>
                    <a:pt x="4328" y="4681"/>
                  </a:lnTo>
                  <a:lnTo>
                    <a:pt x="4335" y="4670"/>
                  </a:lnTo>
                  <a:lnTo>
                    <a:pt x="4342" y="4660"/>
                  </a:lnTo>
                  <a:lnTo>
                    <a:pt x="4345" y="4649"/>
                  </a:lnTo>
                  <a:lnTo>
                    <a:pt x="4349" y="4642"/>
                  </a:lnTo>
                  <a:lnTo>
                    <a:pt x="4356" y="4635"/>
                  </a:lnTo>
                  <a:lnTo>
                    <a:pt x="4359" y="4632"/>
                  </a:lnTo>
                  <a:lnTo>
                    <a:pt x="4363" y="4625"/>
                  </a:lnTo>
                  <a:lnTo>
                    <a:pt x="4363" y="4621"/>
                  </a:lnTo>
                  <a:lnTo>
                    <a:pt x="4366" y="4614"/>
                  </a:lnTo>
                  <a:lnTo>
                    <a:pt x="4370" y="4611"/>
                  </a:lnTo>
                  <a:lnTo>
                    <a:pt x="4373" y="4607"/>
                  </a:lnTo>
                  <a:lnTo>
                    <a:pt x="4377" y="4604"/>
                  </a:lnTo>
                  <a:cubicBezTo>
                    <a:pt x="4391" y="4586"/>
                    <a:pt x="4405" y="4569"/>
                    <a:pt x="4419" y="4548"/>
                  </a:cubicBezTo>
                  <a:cubicBezTo>
                    <a:pt x="4468" y="4457"/>
                    <a:pt x="4559" y="4394"/>
                    <a:pt x="4664" y="4383"/>
                  </a:cubicBezTo>
                  <a:cubicBezTo>
                    <a:pt x="4681" y="4380"/>
                    <a:pt x="4700" y="4378"/>
                    <a:pt x="4718" y="4378"/>
                  </a:cubicBezTo>
                  <a:cubicBezTo>
                    <a:pt x="4737" y="4378"/>
                    <a:pt x="4755" y="4380"/>
                    <a:pt x="4773" y="4383"/>
                  </a:cubicBezTo>
                  <a:lnTo>
                    <a:pt x="4797" y="4390"/>
                  </a:lnTo>
                  <a:lnTo>
                    <a:pt x="4818" y="4397"/>
                  </a:lnTo>
                  <a:lnTo>
                    <a:pt x="4822" y="4397"/>
                  </a:lnTo>
                  <a:lnTo>
                    <a:pt x="4843" y="4408"/>
                  </a:lnTo>
                  <a:lnTo>
                    <a:pt x="4846" y="4408"/>
                  </a:lnTo>
                  <a:lnTo>
                    <a:pt x="4864" y="4418"/>
                  </a:lnTo>
                  <a:lnTo>
                    <a:pt x="4867" y="4422"/>
                  </a:lnTo>
                  <a:lnTo>
                    <a:pt x="4888" y="4432"/>
                  </a:lnTo>
                  <a:lnTo>
                    <a:pt x="4892" y="4436"/>
                  </a:lnTo>
                  <a:lnTo>
                    <a:pt x="4909" y="4450"/>
                  </a:lnTo>
                  <a:lnTo>
                    <a:pt x="4916" y="4453"/>
                  </a:lnTo>
                  <a:lnTo>
                    <a:pt x="4930" y="4464"/>
                  </a:lnTo>
                  <a:lnTo>
                    <a:pt x="4937" y="4471"/>
                  </a:lnTo>
                  <a:lnTo>
                    <a:pt x="4955" y="4485"/>
                  </a:lnTo>
                  <a:lnTo>
                    <a:pt x="4962" y="4492"/>
                  </a:lnTo>
                  <a:lnTo>
                    <a:pt x="4976" y="4502"/>
                  </a:lnTo>
                  <a:lnTo>
                    <a:pt x="4986" y="4513"/>
                  </a:lnTo>
                  <a:lnTo>
                    <a:pt x="4997" y="4523"/>
                  </a:lnTo>
                  <a:lnTo>
                    <a:pt x="5011" y="4534"/>
                  </a:lnTo>
                  <a:lnTo>
                    <a:pt x="5021" y="4544"/>
                  </a:lnTo>
                  <a:lnTo>
                    <a:pt x="5035" y="4558"/>
                  </a:lnTo>
                  <a:cubicBezTo>
                    <a:pt x="5074" y="4530"/>
                    <a:pt x="5112" y="4509"/>
                    <a:pt x="5154" y="4488"/>
                  </a:cubicBezTo>
                  <a:lnTo>
                    <a:pt x="5144" y="4478"/>
                  </a:lnTo>
                  <a:lnTo>
                    <a:pt x="5130" y="4464"/>
                  </a:lnTo>
                  <a:lnTo>
                    <a:pt x="5112" y="4446"/>
                  </a:lnTo>
                  <a:lnTo>
                    <a:pt x="5098" y="4429"/>
                  </a:lnTo>
                  <a:lnTo>
                    <a:pt x="5081" y="4411"/>
                  </a:lnTo>
                  <a:lnTo>
                    <a:pt x="5070" y="4397"/>
                  </a:lnTo>
                  <a:lnTo>
                    <a:pt x="5049" y="4376"/>
                  </a:lnTo>
                  <a:lnTo>
                    <a:pt x="5035" y="4359"/>
                  </a:lnTo>
                  <a:lnTo>
                    <a:pt x="5018" y="4338"/>
                  </a:lnTo>
                  <a:lnTo>
                    <a:pt x="5007" y="4327"/>
                  </a:lnTo>
                  <a:lnTo>
                    <a:pt x="4997" y="4310"/>
                  </a:lnTo>
                  <a:lnTo>
                    <a:pt x="4986" y="4299"/>
                  </a:lnTo>
                  <a:lnTo>
                    <a:pt x="4976" y="4282"/>
                  </a:lnTo>
                  <a:lnTo>
                    <a:pt x="4965" y="4271"/>
                  </a:lnTo>
                  <a:lnTo>
                    <a:pt x="4958" y="4257"/>
                  </a:lnTo>
                  <a:lnTo>
                    <a:pt x="4948" y="4243"/>
                  </a:lnTo>
                  <a:lnTo>
                    <a:pt x="4941" y="4229"/>
                  </a:lnTo>
                  <a:lnTo>
                    <a:pt x="4934" y="4219"/>
                  </a:lnTo>
                  <a:lnTo>
                    <a:pt x="4927" y="4205"/>
                  </a:lnTo>
                  <a:lnTo>
                    <a:pt x="4920" y="4194"/>
                  </a:lnTo>
                  <a:lnTo>
                    <a:pt x="4916" y="4180"/>
                  </a:lnTo>
                  <a:lnTo>
                    <a:pt x="4913" y="4170"/>
                  </a:lnTo>
                  <a:cubicBezTo>
                    <a:pt x="4913" y="4166"/>
                    <a:pt x="4909" y="4163"/>
                    <a:pt x="4906" y="4156"/>
                  </a:cubicBezTo>
                  <a:lnTo>
                    <a:pt x="4902" y="4145"/>
                  </a:lnTo>
                  <a:cubicBezTo>
                    <a:pt x="4902" y="4142"/>
                    <a:pt x="4902" y="4138"/>
                    <a:pt x="4902" y="4131"/>
                  </a:cubicBezTo>
                  <a:cubicBezTo>
                    <a:pt x="4899" y="4127"/>
                    <a:pt x="4902" y="4127"/>
                    <a:pt x="4902" y="4124"/>
                  </a:cubicBezTo>
                  <a:lnTo>
                    <a:pt x="4902" y="4110"/>
                  </a:lnTo>
                  <a:lnTo>
                    <a:pt x="4902" y="4099"/>
                  </a:lnTo>
                  <a:cubicBezTo>
                    <a:pt x="4899" y="4092"/>
                    <a:pt x="4899" y="4085"/>
                    <a:pt x="4902" y="4078"/>
                  </a:cubicBezTo>
                  <a:cubicBezTo>
                    <a:pt x="4909" y="4005"/>
                    <a:pt x="4860" y="3949"/>
                    <a:pt x="4804" y="3889"/>
                  </a:cubicBezTo>
                  <a:cubicBezTo>
                    <a:pt x="4759" y="3847"/>
                    <a:pt x="4723" y="3791"/>
                    <a:pt x="4706" y="3732"/>
                  </a:cubicBezTo>
                  <a:cubicBezTo>
                    <a:pt x="4702" y="3665"/>
                    <a:pt x="4713" y="3599"/>
                    <a:pt x="4745" y="3536"/>
                  </a:cubicBezTo>
                  <a:cubicBezTo>
                    <a:pt x="4766" y="3483"/>
                    <a:pt x="4787" y="3420"/>
                    <a:pt x="4769" y="3399"/>
                  </a:cubicBezTo>
                  <a:cubicBezTo>
                    <a:pt x="4730" y="3354"/>
                    <a:pt x="4699" y="3305"/>
                    <a:pt x="4678" y="3249"/>
                  </a:cubicBezTo>
                  <a:cubicBezTo>
                    <a:pt x="4632" y="3161"/>
                    <a:pt x="4604" y="3102"/>
                    <a:pt x="4545" y="3095"/>
                  </a:cubicBezTo>
                  <a:cubicBezTo>
                    <a:pt x="4457" y="3081"/>
                    <a:pt x="4293" y="3011"/>
                    <a:pt x="4153" y="2927"/>
                  </a:cubicBezTo>
                  <a:cubicBezTo>
                    <a:pt x="3960" y="2815"/>
                    <a:pt x="3869" y="2706"/>
                    <a:pt x="3883" y="2608"/>
                  </a:cubicBezTo>
                  <a:cubicBezTo>
                    <a:pt x="3894" y="2535"/>
                    <a:pt x="3813" y="2451"/>
                    <a:pt x="3659" y="2374"/>
                  </a:cubicBezTo>
                  <a:cubicBezTo>
                    <a:pt x="3565" y="2328"/>
                    <a:pt x="3516" y="2118"/>
                    <a:pt x="3509" y="1988"/>
                  </a:cubicBezTo>
                  <a:cubicBezTo>
                    <a:pt x="3505" y="1873"/>
                    <a:pt x="3533" y="1799"/>
                    <a:pt x="3593" y="1764"/>
                  </a:cubicBezTo>
                  <a:cubicBezTo>
                    <a:pt x="3600" y="1757"/>
                    <a:pt x="3607" y="1747"/>
                    <a:pt x="3610" y="1736"/>
                  </a:cubicBezTo>
                  <a:cubicBezTo>
                    <a:pt x="3628" y="1691"/>
                    <a:pt x="3642" y="1638"/>
                    <a:pt x="3652" y="1589"/>
                  </a:cubicBezTo>
                  <a:cubicBezTo>
                    <a:pt x="3677" y="1495"/>
                    <a:pt x="3701" y="1393"/>
                    <a:pt x="3764" y="1344"/>
                  </a:cubicBezTo>
                  <a:cubicBezTo>
                    <a:pt x="3783" y="1332"/>
                    <a:pt x="3806" y="1323"/>
                    <a:pt x="3830" y="1323"/>
                  </a:cubicBezTo>
                  <a:cubicBezTo>
                    <a:pt x="3834" y="1323"/>
                    <a:pt x="3838" y="1323"/>
                    <a:pt x="3841" y="1323"/>
                  </a:cubicBezTo>
                  <a:cubicBezTo>
                    <a:pt x="3841" y="1295"/>
                    <a:pt x="3838" y="1267"/>
                    <a:pt x="3834" y="1239"/>
                  </a:cubicBezTo>
                  <a:cubicBezTo>
                    <a:pt x="3824" y="1176"/>
                    <a:pt x="3824" y="1106"/>
                    <a:pt x="3841" y="1043"/>
                  </a:cubicBezTo>
                  <a:cubicBezTo>
                    <a:pt x="3848" y="1026"/>
                    <a:pt x="3848" y="1008"/>
                    <a:pt x="3838" y="991"/>
                  </a:cubicBezTo>
                  <a:cubicBezTo>
                    <a:pt x="3799" y="955"/>
                    <a:pt x="3751" y="934"/>
                    <a:pt x="3699" y="934"/>
                  </a:cubicBezTo>
                  <a:cubicBezTo>
                    <a:pt x="3695" y="934"/>
                    <a:pt x="3691" y="934"/>
                    <a:pt x="3687" y="935"/>
                  </a:cubicBezTo>
                  <a:cubicBezTo>
                    <a:pt x="3540" y="935"/>
                    <a:pt x="3320" y="728"/>
                    <a:pt x="3320" y="546"/>
                  </a:cubicBezTo>
                  <a:cubicBezTo>
                    <a:pt x="3320" y="480"/>
                    <a:pt x="3260" y="385"/>
                    <a:pt x="3211" y="308"/>
                  </a:cubicBezTo>
                  <a:lnTo>
                    <a:pt x="3183" y="263"/>
                  </a:lnTo>
                  <a:lnTo>
                    <a:pt x="3180" y="256"/>
                  </a:lnTo>
                  <a:lnTo>
                    <a:pt x="3183" y="273"/>
                  </a:lnTo>
                  <a:cubicBezTo>
                    <a:pt x="3162" y="283"/>
                    <a:pt x="3139" y="288"/>
                    <a:pt x="3115" y="288"/>
                  </a:cubicBezTo>
                  <a:cubicBezTo>
                    <a:pt x="3034" y="288"/>
                    <a:pt x="2941" y="235"/>
                    <a:pt x="2844" y="179"/>
                  </a:cubicBezTo>
                  <a:cubicBezTo>
                    <a:pt x="2787" y="146"/>
                    <a:pt x="2694" y="94"/>
                    <a:pt x="2660" y="94"/>
                  </a:cubicBezTo>
                  <a:cubicBezTo>
                    <a:pt x="2658" y="94"/>
                    <a:pt x="2656" y="94"/>
                    <a:pt x="2654" y="95"/>
                  </a:cubicBezTo>
                  <a:cubicBezTo>
                    <a:pt x="2627" y="108"/>
                    <a:pt x="2600" y="113"/>
                    <a:pt x="2574" y="113"/>
                  </a:cubicBezTo>
                  <a:cubicBezTo>
                    <a:pt x="2516" y="113"/>
                    <a:pt x="2461" y="87"/>
                    <a:pt x="2413" y="63"/>
                  </a:cubicBezTo>
                  <a:cubicBezTo>
                    <a:pt x="2346" y="22"/>
                    <a:pt x="2272" y="1"/>
                    <a:pt x="219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7" name="Google Shape;6064;p64">
              <a:extLst>
                <a:ext uri="{FF2B5EF4-FFF2-40B4-BE49-F238E27FC236}">
                  <a16:creationId xmlns:a16="http://schemas.microsoft.com/office/drawing/2014/main" id="{F63856DE-6CFF-02CD-945B-1BEDF6AE758C}"/>
                </a:ext>
              </a:extLst>
            </p:cNvPr>
            <p:cNvSpPr/>
            <p:nvPr/>
          </p:nvSpPr>
          <p:spPr>
            <a:xfrm>
              <a:off x="2360965" y="1751568"/>
              <a:ext cx="584" cy="204"/>
            </a:xfrm>
            <a:custGeom>
              <a:avLst/>
              <a:gdLst/>
              <a:ahLst/>
              <a:cxnLst/>
              <a:rect l="l" t="t" r="r" b="b"/>
              <a:pathLst>
                <a:path w="43" h="15" extrusionOk="0">
                  <a:moveTo>
                    <a:pt x="0" y="1"/>
                  </a:moveTo>
                  <a:lnTo>
                    <a:pt x="42" y="15"/>
                  </a:lnTo>
                  <a:lnTo>
                    <a:pt x="42" y="15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8" name="Google Shape;6065;p64">
              <a:extLst>
                <a:ext uri="{FF2B5EF4-FFF2-40B4-BE49-F238E27FC236}">
                  <a16:creationId xmlns:a16="http://schemas.microsoft.com/office/drawing/2014/main" id="{17986FD7-919B-E159-7DAA-986A8661B140}"/>
                </a:ext>
              </a:extLst>
            </p:cNvPr>
            <p:cNvSpPr/>
            <p:nvPr/>
          </p:nvSpPr>
          <p:spPr>
            <a:xfrm>
              <a:off x="2333674" y="1776048"/>
              <a:ext cx="15465" cy="8147"/>
            </a:xfrm>
            <a:custGeom>
              <a:avLst/>
              <a:gdLst/>
              <a:ahLst/>
              <a:cxnLst/>
              <a:rect l="l" t="t" r="r" b="b"/>
              <a:pathLst>
                <a:path w="1139" h="600" extrusionOk="0">
                  <a:moveTo>
                    <a:pt x="1139" y="0"/>
                  </a:moveTo>
                  <a:cubicBezTo>
                    <a:pt x="1086" y="28"/>
                    <a:pt x="501" y="340"/>
                    <a:pt x="1" y="599"/>
                  </a:cubicBezTo>
                  <a:cubicBezTo>
                    <a:pt x="452" y="368"/>
                    <a:pt x="971" y="91"/>
                    <a:pt x="1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9" name="Google Shape;6066;p64">
              <a:extLst>
                <a:ext uri="{FF2B5EF4-FFF2-40B4-BE49-F238E27FC236}">
                  <a16:creationId xmlns:a16="http://schemas.microsoft.com/office/drawing/2014/main" id="{491FE053-61F5-B98B-5FE7-F436013C4F73}"/>
                </a:ext>
              </a:extLst>
            </p:cNvPr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0" name="Google Shape;6067;p64">
              <a:extLst>
                <a:ext uri="{FF2B5EF4-FFF2-40B4-BE49-F238E27FC236}">
                  <a16:creationId xmlns:a16="http://schemas.microsoft.com/office/drawing/2014/main" id="{46F12783-A958-5561-AB52-157E829513CF}"/>
                </a:ext>
              </a:extLst>
            </p:cNvPr>
            <p:cNvSpPr/>
            <p:nvPr/>
          </p:nvSpPr>
          <p:spPr>
            <a:xfrm>
              <a:off x="2334720" y="1789218"/>
              <a:ext cx="1059" cy="4481"/>
            </a:xfrm>
            <a:custGeom>
              <a:avLst/>
              <a:gdLst/>
              <a:ahLst/>
              <a:cxnLst/>
              <a:rect l="l" t="t" r="r" b="b"/>
              <a:pathLst>
                <a:path w="78" h="330" extrusionOk="0">
                  <a:moveTo>
                    <a:pt x="78" y="329"/>
                  </a:moveTo>
                  <a:cubicBezTo>
                    <a:pt x="53" y="224"/>
                    <a:pt x="25" y="105"/>
                    <a:pt x="1" y="0"/>
                  </a:cubicBezTo>
                  <a:cubicBezTo>
                    <a:pt x="25" y="105"/>
                    <a:pt x="53" y="224"/>
                    <a:pt x="78" y="3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1" name="Google Shape;6068;p64">
              <a:extLst>
                <a:ext uri="{FF2B5EF4-FFF2-40B4-BE49-F238E27FC236}">
                  <a16:creationId xmlns:a16="http://schemas.microsoft.com/office/drawing/2014/main" id="{BA948BFA-55C8-2D0C-0212-FBBA0E701E2E}"/>
                </a:ext>
              </a:extLst>
            </p:cNvPr>
            <p:cNvSpPr/>
            <p:nvPr/>
          </p:nvSpPr>
          <p:spPr>
            <a:xfrm>
              <a:off x="2334530" y="1788403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1"/>
                  </a:moveTo>
                  <a:lnTo>
                    <a:pt x="15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2" name="Google Shape;6069;p64">
              <a:extLst>
                <a:ext uri="{FF2B5EF4-FFF2-40B4-BE49-F238E27FC236}">
                  <a16:creationId xmlns:a16="http://schemas.microsoft.com/office/drawing/2014/main" id="{73B0368B-86C0-3216-DDD3-C677447ACC50}"/>
                </a:ext>
              </a:extLst>
            </p:cNvPr>
            <p:cNvSpPr/>
            <p:nvPr/>
          </p:nvSpPr>
          <p:spPr>
            <a:xfrm>
              <a:off x="2334340" y="1787697"/>
              <a:ext cx="204" cy="720"/>
            </a:xfrm>
            <a:custGeom>
              <a:avLst/>
              <a:gdLst/>
              <a:ahLst/>
              <a:cxnLst/>
              <a:rect l="l" t="t" r="r" b="b"/>
              <a:pathLst>
                <a:path w="15" h="53" extrusionOk="0">
                  <a:moveTo>
                    <a:pt x="1" y="0"/>
                  </a:moveTo>
                  <a:lnTo>
                    <a:pt x="15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3" name="Google Shape;6070;p64">
              <a:extLst>
                <a:ext uri="{FF2B5EF4-FFF2-40B4-BE49-F238E27FC236}">
                  <a16:creationId xmlns:a16="http://schemas.microsoft.com/office/drawing/2014/main" id="{50103DEB-A382-24F5-9B26-84717423E304}"/>
                </a:ext>
              </a:extLst>
            </p:cNvPr>
            <p:cNvSpPr/>
            <p:nvPr/>
          </p:nvSpPr>
          <p:spPr>
            <a:xfrm>
              <a:off x="2333770" y="17850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4" name="Google Shape;6071;p64">
              <a:extLst>
                <a:ext uri="{FF2B5EF4-FFF2-40B4-BE49-F238E27FC236}">
                  <a16:creationId xmlns:a16="http://schemas.microsoft.com/office/drawing/2014/main" id="{5AF75CC4-9113-FE79-4576-B93591C89492}"/>
                </a:ext>
              </a:extLst>
            </p:cNvPr>
            <p:cNvSpPr/>
            <p:nvPr/>
          </p:nvSpPr>
          <p:spPr>
            <a:xfrm>
              <a:off x="2334150" y="1787073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1"/>
                  </a:moveTo>
                  <a:cubicBezTo>
                    <a:pt x="4" y="11"/>
                    <a:pt x="8" y="29"/>
                    <a:pt x="15" y="43"/>
                  </a:cubicBezTo>
                  <a:cubicBezTo>
                    <a:pt x="8" y="29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5" name="Google Shape;6072;p64">
              <a:extLst>
                <a:ext uri="{FF2B5EF4-FFF2-40B4-BE49-F238E27FC236}">
                  <a16:creationId xmlns:a16="http://schemas.microsoft.com/office/drawing/2014/main" id="{393547F1-764E-2192-F875-9DFF1FBD0BE7}"/>
                </a:ext>
              </a:extLst>
            </p:cNvPr>
            <p:cNvSpPr/>
            <p:nvPr/>
          </p:nvSpPr>
          <p:spPr>
            <a:xfrm>
              <a:off x="2333865" y="178574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6" name="Google Shape;6073;p64">
              <a:extLst>
                <a:ext uri="{FF2B5EF4-FFF2-40B4-BE49-F238E27FC236}">
                  <a16:creationId xmlns:a16="http://schemas.microsoft.com/office/drawing/2014/main" id="{10775F1E-8F2F-43B5-4C6F-02E50F2D2170}"/>
                </a:ext>
              </a:extLst>
            </p:cNvPr>
            <p:cNvSpPr/>
            <p:nvPr/>
          </p:nvSpPr>
          <p:spPr>
            <a:xfrm>
              <a:off x="2334055" y="17864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7" name="Google Shape;6074;p64">
              <a:extLst>
                <a:ext uri="{FF2B5EF4-FFF2-40B4-BE49-F238E27FC236}">
                  <a16:creationId xmlns:a16="http://schemas.microsoft.com/office/drawing/2014/main" id="{BBFB744A-0244-8A90-50F7-3CA0691EC22B}"/>
                </a:ext>
              </a:extLst>
            </p:cNvPr>
            <p:cNvSpPr/>
            <p:nvPr/>
          </p:nvSpPr>
          <p:spPr>
            <a:xfrm>
              <a:off x="2333674" y="17841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8" name="Google Shape;6075;p64">
              <a:extLst>
                <a:ext uri="{FF2B5EF4-FFF2-40B4-BE49-F238E27FC236}">
                  <a16:creationId xmlns:a16="http://schemas.microsoft.com/office/drawing/2014/main" id="{1F0F73FC-0B49-4BCF-D3BC-88F626731085}"/>
                </a:ext>
              </a:extLst>
            </p:cNvPr>
            <p:cNvSpPr/>
            <p:nvPr/>
          </p:nvSpPr>
          <p:spPr>
            <a:xfrm>
              <a:off x="2369709" y="1751568"/>
              <a:ext cx="2580" cy="1249"/>
            </a:xfrm>
            <a:custGeom>
              <a:avLst/>
              <a:gdLst/>
              <a:ahLst/>
              <a:cxnLst/>
              <a:rect l="l" t="t" r="r" b="b"/>
              <a:pathLst>
                <a:path w="190" h="92" extrusionOk="0">
                  <a:moveTo>
                    <a:pt x="0" y="8"/>
                  </a:moveTo>
                  <a:cubicBezTo>
                    <a:pt x="29" y="1"/>
                    <a:pt x="130" y="57"/>
                    <a:pt x="190" y="92"/>
                  </a:cubicBezTo>
                  <a:cubicBezTo>
                    <a:pt x="130" y="57"/>
                    <a:pt x="29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9" name="Google Shape;6076;p64">
              <a:extLst>
                <a:ext uri="{FF2B5EF4-FFF2-40B4-BE49-F238E27FC236}">
                  <a16:creationId xmlns:a16="http://schemas.microsoft.com/office/drawing/2014/main" id="{AA01A5DA-513F-3E13-A787-849C38E0B570}"/>
                </a:ext>
              </a:extLst>
            </p:cNvPr>
            <p:cNvSpPr/>
            <p:nvPr/>
          </p:nvSpPr>
          <p:spPr>
            <a:xfrm>
              <a:off x="2348135" y="1797392"/>
              <a:ext cx="2620" cy="1724"/>
            </a:xfrm>
            <a:custGeom>
              <a:avLst/>
              <a:gdLst/>
              <a:ahLst/>
              <a:cxnLst/>
              <a:rect l="l" t="t" r="r" b="b"/>
              <a:pathLst>
                <a:path w="193" h="127" extrusionOk="0">
                  <a:moveTo>
                    <a:pt x="0" y="0"/>
                  </a:moveTo>
                  <a:lnTo>
                    <a:pt x="0" y="0"/>
                  </a:lnTo>
                  <a:cubicBezTo>
                    <a:pt x="63" y="39"/>
                    <a:pt x="126" y="84"/>
                    <a:pt x="193" y="126"/>
                  </a:cubicBezTo>
                  <a:cubicBezTo>
                    <a:pt x="126" y="81"/>
                    <a:pt x="63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0" name="Google Shape;6077;p64">
              <a:extLst>
                <a:ext uri="{FF2B5EF4-FFF2-40B4-BE49-F238E27FC236}">
                  <a16:creationId xmlns:a16="http://schemas.microsoft.com/office/drawing/2014/main" id="{DFE0D094-FE21-C9F5-9E9A-CDCC2D79F735}"/>
                </a:ext>
              </a:extLst>
            </p:cNvPr>
            <p:cNvSpPr/>
            <p:nvPr/>
          </p:nvSpPr>
          <p:spPr>
            <a:xfrm>
              <a:off x="2337666" y="179363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1" name="Google Shape;6078;p64">
              <a:extLst>
                <a:ext uri="{FF2B5EF4-FFF2-40B4-BE49-F238E27FC236}">
                  <a16:creationId xmlns:a16="http://schemas.microsoft.com/office/drawing/2014/main" id="{8A6FC277-1679-794A-7405-3F640F1A1747}"/>
                </a:ext>
              </a:extLst>
            </p:cNvPr>
            <p:cNvSpPr/>
            <p:nvPr/>
          </p:nvSpPr>
          <p:spPr>
            <a:xfrm>
              <a:off x="2338046" y="1793590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1" y="0"/>
                  </a:moveTo>
                  <a:lnTo>
                    <a:pt x="5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2" name="Google Shape;6079;p64">
              <a:extLst>
                <a:ext uri="{FF2B5EF4-FFF2-40B4-BE49-F238E27FC236}">
                  <a16:creationId xmlns:a16="http://schemas.microsoft.com/office/drawing/2014/main" id="{24631083-2717-9968-A80A-3648208C600D}"/>
                </a:ext>
              </a:extLst>
            </p:cNvPr>
            <p:cNvSpPr/>
            <p:nvPr/>
          </p:nvSpPr>
          <p:spPr>
            <a:xfrm>
              <a:off x="2342663" y="1794255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0"/>
                  </a:moveTo>
                  <a:lnTo>
                    <a:pt x="25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3" name="Google Shape;6080;p64">
              <a:extLst>
                <a:ext uri="{FF2B5EF4-FFF2-40B4-BE49-F238E27FC236}">
                  <a16:creationId xmlns:a16="http://schemas.microsoft.com/office/drawing/2014/main" id="{7D83FBFB-E343-EB9C-F9DE-D0B67DE013B6}"/>
                </a:ext>
              </a:extLst>
            </p:cNvPr>
            <p:cNvSpPr/>
            <p:nvPr/>
          </p:nvSpPr>
          <p:spPr>
            <a:xfrm>
              <a:off x="2344088" y="1795016"/>
              <a:ext cx="4060" cy="2390"/>
            </a:xfrm>
            <a:custGeom>
              <a:avLst/>
              <a:gdLst/>
              <a:ahLst/>
              <a:cxnLst/>
              <a:rect l="l" t="t" r="r" b="b"/>
              <a:pathLst>
                <a:path w="299" h="176" extrusionOk="0">
                  <a:moveTo>
                    <a:pt x="1" y="0"/>
                  </a:moveTo>
                  <a:cubicBezTo>
                    <a:pt x="88" y="46"/>
                    <a:pt x="186" y="105"/>
                    <a:pt x="298" y="175"/>
                  </a:cubicBezTo>
                  <a:cubicBezTo>
                    <a:pt x="186" y="105"/>
                    <a:pt x="88" y="46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4" name="Google Shape;6081;p64">
              <a:extLst>
                <a:ext uri="{FF2B5EF4-FFF2-40B4-BE49-F238E27FC236}">
                  <a16:creationId xmlns:a16="http://schemas.microsoft.com/office/drawing/2014/main" id="{7FADDDCB-A9CA-F8D6-DB77-DC3A3AAE8DC8}"/>
                </a:ext>
              </a:extLst>
            </p:cNvPr>
            <p:cNvSpPr/>
            <p:nvPr/>
          </p:nvSpPr>
          <p:spPr>
            <a:xfrm>
              <a:off x="2343192" y="17945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5" name="Google Shape;6082;p64">
              <a:extLst>
                <a:ext uri="{FF2B5EF4-FFF2-40B4-BE49-F238E27FC236}">
                  <a16:creationId xmlns:a16="http://schemas.microsoft.com/office/drawing/2014/main" id="{7B0B6943-3576-904B-9735-559F1D212755}"/>
                </a:ext>
              </a:extLst>
            </p:cNvPr>
            <p:cNvSpPr/>
            <p:nvPr/>
          </p:nvSpPr>
          <p:spPr>
            <a:xfrm>
              <a:off x="2338712" y="1793590"/>
              <a:ext cx="2009" cy="109"/>
            </a:xfrm>
            <a:custGeom>
              <a:avLst/>
              <a:gdLst/>
              <a:ahLst/>
              <a:cxnLst/>
              <a:rect l="l" t="t" r="r" b="b"/>
              <a:pathLst>
                <a:path w="148" h="8" extrusionOk="0">
                  <a:moveTo>
                    <a:pt x="1" y="0"/>
                  </a:moveTo>
                  <a:cubicBezTo>
                    <a:pt x="50" y="0"/>
                    <a:pt x="99" y="4"/>
                    <a:pt x="148" y="7"/>
                  </a:cubicBezTo>
                  <a:cubicBezTo>
                    <a:pt x="99" y="4"/>
                    <a:pt x="50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6" name="Google Shape;6083;p64">
              <a:extLst>
                <a:ext uri="{FF2B5EF4-FFF2-40B4-BE49-F238E27FC236}">
                  <a16:creationId xmlns:a16="http://schemas.microsoft.com/office/drawing/2014/main" id="{8A3626B8-E845-DE62-92FE-ACB1B380C9CB}"/>
                </a:ext>
              </a:extLst>
            </p:cNvPr>
            <p:cNvSpPr/>
            <p:nvPr/>
          </p:nvSpPr>
          <p:spPr>
            <a:xfrm>
              <a:off x="238230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7" name="Google Shape;6084;p64">
              <a:extLst>
                <a:ext uri="{FF2B5EF4-FFF2-40B4-BE49-F238E27FC236}">
                  <a16:creationId xmlns:a16="http://schemas.microsoft.com/office/drawing/2014/main" id="{17000117-3033-9D9D-CE73-2EBAF0317AB2}"/>
                </a:ext>
              </a:extLst>
            </p:cNvPr>
            <p:cNvSpPr/>
            <p:nvPr/>
          </p:nvSpPr>
          <p:spPr>
            <a:xfrm>
              <a:off x="2386776" y="1818776"/>
              <a:ext cx="3435" cy="394"/>
            </a:xfrm>
            <a:custGeom>
              <a:avLst/>
              <a:gdLst/>
              <a:ahLst/>
              <a:cxnLst/>
              <a:rect l="l" t="t" r="r" b="b"/>
              <a:pathLst>
                <a:path w="253" h="29" extrusionOk="0">
                  <a:moveTo>
                    <a:pt x="252" y="29"/>
                  </a:moveTo>
                  <a:lnTo>
                    <a:pt x="0" y="1"/>
                  </a:lnTo>
                  <a:lnTo>
                    <a:pt x="252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8" name="Google Shape;6085;p64">
              <a:extLst>
                <a:ext uri="{FF2B5EF4-FFF2-40B4-BE49-F238E27FC236}">
                  <a16:creationId xmlns:a16="http://schemas.microsoft.com/office/drawing/2014/main" id="{ECD5DBC5-6C73-1B18-248E-B97330BC8A8E}"/>
                </a:ext>
              </a:extLst>
            </p:cNvPr>
            <p:cNvSpPr/>
            <p:nvPr/>
          </p:nvSpPr>
          <p:spPr>
            <a:xfrm>
              <a:off x="2392098" y="1811662"/>
              <a:ext cx="11663" cy="11554"/>
            </a:xfrm>
            <a:custGeom>
              <a:avLst/>
              <a:gdLst/>
              <a:ahLst/>
              <a:cxnLst/>
              <a:rect l="l" t="t" r="r" b="b"/>
              <a:pathLst>
                <a:path w="859" h="851" extrusionOk="0">
                  <a:moveTo>
                    <a:pt x="408" y="0"/>
                  </a:moveTo>
                  <a:cubicBezTo>
                    <a:pt x="403" y="0"/>
                    <a:pt x="398" y="1"/>
                    <a:pt x="392" y="3"/>
                  </a:cubicBezTo>
                  <a:cubicBezTo>
                    <a:pt x="322" y="7"/>
                    <a:pt x="263" y="49"/>
                    <a:pt x="235" y="112"/>
                  </a:cubicBezTo>
                  <a:cubicBezTo>
                    <a:pt x="217" y="136"/>
                    <a:pt x="200" y="161"/>
                    <a:pt x="179" y="182"/>
                  </a:cubicBezTo>
                  <a:lnTo>
                    <a:pt x="175" y="185"/>
                  </a:lnTo>
                  <a:lnTo>
                    <a:pt x="172" y="192"/>
                  </a:lnTo>
                  <a:lnTo>
                    <a:pt x="168" y="196"/>
                  </a:lnTo>
                  <a:lnTo>
                    <a:pt x="165" y="199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58" y="217"/>
                  </a:lnTo>
                  <a:lnTo>
                    <a:pt x="158" y="220"/>
                  </a:lnTo>
                  <a:lnTo>
                    <a:pt x="151" y="234"/>
                  </a:lnTo>
                  <a:lnTo>
                    <a:pt x="147" y="238"/>
                  </a:lnTo>
                  <a:lnTo>
                    <a:pt x="140" y="252"/>
                  </a:lnTo>
                  <a:lnTo>
                    <a:pt x="140" y="255"/>
                  </a:lnTo>
                  <a:lnTo>
                    <a:pt x="130" y="273"/>
                  </a:lnTo>
                  <a:lnTo>
                    <a:pt x="126" y="280"/>
                  </a:lnTo>
                  <a:lnTo>
                    <a:pt x="119" y="301"/>
                  </a:lnTo>
                  <a:lnTo>
                    <a:pt x="116" y="308"/>
                  </a:lnTo>
                  <a:lnTo>
                    <a:pt x="102" y="332"/>
                  </a:lnTo>
                  <a:lnTo>
                    <a:pt x="102" y="336"/>
                  </a:lnTo>
                  <a:lnTo>
                    <a:pt x="88" y="367"/>
                  </a:lnTo>
                  <a:lnTo>
                    <a:pt x="88" y="371"/>
                  </a:lnTo>
                  <a:cubicBezTo>
                    <a:pt x="63" y="420"/>
                    <a:pt x="35" y="486"/>
                    <a:pt x="0" y="567"/>
                  </a:cubicBezTo>
                  <a:lnTo>
                    <a:pt x="252" y="598"/>
                  </a:lnTo>
                  <a:lnTo>
                    <a:pt x="270" y="598"/>
                  </a:lnTo>
                  <a:lnTo>
                    <a:pt x="550" y="833"/>
                  </a:lnTo>
                  <a:lnTo>
                    <a:pt x="858" y="850"/>
                  </a:lnTo>
                  <a:cubicBezTo>
                    <a:pt x="837" y="791"/>
                    <a:pt x="809" y="728"/>
                    <a:pt x="785" y="668"/>
                  </a:cubicBezTo>
                  <a:cubicBezTo>
                    <a:pt x="687" y="434"/>
                    <a:pt x="631" y="297"/>
                    <a:pt x="631" y="231"/>
                  </a:cubicBezTo>
                  <a:cubicBezTo>
                    <a:pt x="631" y="199"/>
                    <a:pt x="638" y="171"/>
                    <a:pt x="655" y="143"/>
                  </a:cubicBezTo>
                  <a:lnTo>
                    <a:pt x="641" y="133"/>
                  </a:lnTo>
                  <a:lnTo>
                    <a:pt x="620" y="112"/>
                  </a:lnTo>
                  <a:lnTo>
                    <a:pt x="599" y="94"/>
                  </a:lnTo>
                  <a:lnTo>
                    <a:pt x="582" y="77"/>
                  </a:lnTo>
                  <a:lnTo>
                    <a:pt x="564" y="63"/>
                  </a:lnTo>
                  <a:lnTo>
                    <a:pt x="543" y="49"/>
                  </a:lnTo>
                  <a:lnTo>
                    <a:pt x="529" y="38"/>
                  </a:lnTo>
                  <a:lnTo>
                    <a:pt x="512" y="28"/>
                  </a:lnTo>
                  <a:lnTo>
                    <a:pt x="498" y="21"/>
                  </a:lnTo>
                  <a:lnTo>
                    <a:pt x="484" y="10"/>
                  </a:lnTo>
                  <a:lnTo>
                    <a:pt x="470" y="7"/>
                  </a:lnTo>
                  <a:cubicBezTo>
                    <a:pt x="463" y="7"/>
                    <a:pt x="459" y="3"/>
                    <a:pt x="452" y="3"/>
                  </a:cubicBezTo>
                  <a:lnTo>
                    <a:pt x="424" y="3"/>
                  </a:lnTo>
                  <a:cubicBezTo>
                    <a:pt x="419" y="1"/>
                    <a:pt x="413" y="0"/>
                    <a:pt x="4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9" name="Google Shape;6086;p64">
              <a:extLst>
                <a:ext uri="{FF2B5EF4-FFF2-40B4-BE49-F238E27FC236}">
                  <a16:creationId xmlns:a16="http://schemas.microsoft.com/office/drawing/2014/main" id="{5688BF3E-F180-CED4-6953-E5A12BDCB6F9}"/>
                </a:ext>
              </a:extLst>
            </p:cNvPr>
            <p:cNvSpPr/>
            <p:nvPr/>
          </p:nvSpPr>
          <p:spPr>
            <a:xfrm>
              <a:off x="2392003" y="1819401"/>
              <a:ext cx="3435" cy="434"/>
            </a:xfrm>
            <a:custGeom>
              <a:avLst/>
              <a:gdLst/>
              <a:ahLst/>
              <a:cxnLst/>
              <a:rect l="l" t="t" r="r" b="b"/>
              <a:pathLst>
                <a:path w="253" h="32" extrusionOk="0">
                  <a:moveTo>
                    <a:pt x="0" y="0"/>
                  </a:moveTo>
                  <a:lnTo>
                    <a:pt x="0" y="0"/>
                  </a:lnTo>
                  <a:lnTo>
                    <a:pt x="252" y="32"/>
                  </a:lnTo>
                  <a:lnTo>
                    <a:pt x="25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0" name="Google Shape;6087;p64">
              <a:extLst>
                <a:ext uri="{FF2B5EF4-FFF2-40B4-BE49-F238E27FC236}">
                  <a16:creationId xmlns:a16="http://schemas.microsoft.com/office/drawing/2014/main" id="{F1E8FDE3-BF30-F89D-AE17-ECE373B79311}"/>
                </a:ext>
              </a:extLst>
            </p:cNvPr>
            <p:cNvSpPr/>
            <p:nvPr/>
          </p:nvSpPr>
          <p:spPr>
            <a:xfrm>
              <a:off x="2399471" y="1823053"/>
              <a:ext cx="4236" cy="204"/>
            </a:xfrm>
            <a:custGeom>
              <a:avLst/>
              <a:gdLst/>
              <a:ahLst/>
              <a:cxnLst/>
              <a:rect l="l" t="t" r="r" b="b"/>
              <a:pathLst>
                <a:path w="312" h="15" extrusionOk="0">
                  <a:moveTo>
                    <a:pt x="312" y="15"/>
                  </a:moveTo>
                  <a:lnTo>
                    <a:pt x="312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1" name="Google Shape;6088;p64">
              <a:extLst>
                <a:ext uri="{FF2B5EF4-FFF2-40B4-BE49-F238E27FC236}">
                  <a16:creationId xmlns:a16="http://schemas.microsoft.com/office/drawing/2014/main" id="{D1689188-3906-1FF8-2D45-216551E4D81A}"/>
                </a:ext>
              </a:extLst>
            </p:cNvPr>
            <p:cNvSpPr/>
            <p:nvPr/>
          </p:nvSpPr>
          <p:spPr>
            <a:xfrm>
              <a:off x="2397991" y="181174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2" name="Google Shape;6089;p64">
              <a:extLst>
                <a:ext uri="{FF2B5EF4-FFF2-40B4-BE49-F238E27FC236}">
                  <a16:creationId xmlns:a16="http://schemas.microsoft.com/office/drawing/2014/main" id="{35083B85-853E-65D1-84DC-0CF92F619377}"/>
                </a:ext>
              </a:extLst>
            </p:cNvPr>
            <p:cNvSpPr/>
            <p:nvPr/>
          </p:nvSpPr>
          <p:spPr>
            <a:xfrm>
              <a:off x="2393185" y="1816685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3" name="Google Shape;6090;p64">
              <a:extLst>
                <a:ext uri="{FF2B5EF4-FFF2-40B4-BE49-F238E27FC236}">
                  <a16:creationId xmlns:a16="http://schemas.microsoft.com/office/drawing/2014/main" id="{7BACD179-5B06-EE8A-7D36-6D7540BE0255}"/>
                </a:ext>
              </a:extLst>
            </p:cNvPr>
            <p:cNvSpPr/>
            <p:nvPr/>
          </p:nvSpPr>
          <p:spPr>
            <a:xfrm>
              <a:off x="2399702" y="181259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"/>
                  </a:moveTo>
                  <a:lnTo>
                    <a:pt x="15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4" name="Google Shape;6091;p64">
              <a:extLst>
                <a:ext uri="{FF2B5EF4-FFF2-40B4-BE49-F238E27FC236}">
                  <a16:creationId xmlns:a16="http://schemas.microsoft.com/office/drawing/2014/main" id="{920052BA-20BE-D9FE-9E4A-FB8072787D1E}"/>
                </a:ext>
              </a:extLst>
            </p:cNvPr>
            <p:cNvSpPr/>
            <p:nvPr/>
          </p:nvSpPr>
          <p:spPr>
            <a:xfrm>
              <a:off x="2399227" y="181227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5" name="Google Shape;6092;p64">
              <a:extLst>
                <a:ext uri="{FF2B5EF4-FFF2-40B4-BE49-F238E27FC236}">
                  <a16:creationId xmlns:a16="http://schemas.microsoft.com/office/drawing/2014/main" id="{D95327A7-E003-789E-3175-5A25B903AF16}"/>
                </a:ext>
              </a:extLst>
            </p:cNvPr>
            <p:cNvSpPr/>
            <p:nvPr/>
          </p:nvSpPr>
          <p:spPr>
            <a:xfrm>
              <a:off x="2398426" y="181183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1"/>
                  </a:move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6" name="Google Shape;6093;p64">
              <a:extLst>
                <a:ext uri="{FF2B5EF4-FFF2-40B4-BE49-F238E27FC236}">
                  <a16:creationId xmlns:a16="http://schemas.microsoft.com/office/drawing/2014/main" id="{46189F21-BD3A-886E-E925-10FE402F39CD}"/>
                </a:ext>
              </a:extLst>
            </p:cNvPr>
            <p:cNvSpPr/>
            <p:nvPr/>
          </p:nvSpPr>
          <p:spPr>
            <a:xfrm>
              <a:off x="2397367" y="1811743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cubicBezTo>
                    <a:pt x="8" y="1"/>
                    <a:pt x="18" y="1"/>
                    <a:pt x="29" y="1"/>
                  </a:cubicBezTo>
                  <a:cubicBezTo>
                    <a:pt x="18" y="1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7" name="Google Shape;6094;p64">
              <a:extLst>
                <a:ext uri="{FF2B5EF4-FFF2-40B4-BE49-F238E27FC236}">
                  <a16:creationId xmlns:a16="http://schemas.microsoft.com/office/drawing/2014/main" id="{ECF848C2-D50F-5FB7-16B6-C0A5DA4F827F}"/>
                </a:ext>
              </a:extLst>
            </p:cNvPr>
            <p:cNvSpPr/>
            <p:nvPr/>
          </p:nvSpPr>
          <p:spPr>
            <a:xfrm>
              <a:off x="2393755" y="181540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8" name="Google Shape;6095;p64">
              <a:extLst>
                <a:ext uri="{FF2B5EF4-FFF2-40B4-BE49-F238E27FC236}">
                  <a16:creationId xmlns:a16="http://schemas.microsoft.com/office/drawing/2014/main" id="{92F63C3D-F8EB-EDE0-0E3C-6AFFCC3330B4}"/>
                </a:ext>
              </a:extLst>
            </p:cNvPr>
            <p:cNvSpPr/>
            <p:nvPr/>
          </p:nvSpPr>
          <p:spPr>
            <a:xfrm>
              <a:off x="2400747" y="181354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9" name="Google Shape;6096;p64">
              <a:extLst>
                <a:ext uri="{FF2B5EF4-FFF2-40B4-BE49-F238E27FC236}">
                  <a16:creationId xmlns:a16="http://schemas.microsoft.com/office/drawing/2014/main" id="{B2527A4B-B539-229E-6DD0-F9ACBFC76313}"/>
                </a:ext>
              </a:extLst>
            </p:cNvPr>
            <p:cNvSpPr/>
            <p:nvPr/>
          </p:nvSpPr>
          <p:spPr>
            <a:xfrm>
              <a:off x="2393375" y="181616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0" name="Google Shape;6097;p64">
              <a:extLst>
                <a:ext uri="{FF2B5EF4-FFF2-40B4-BE49-F238E27FC236}">
                  <a16:creationId xmlns:a16="http://schemas.microsoft.com/office/drawing/2014/main" id="{494FF7C8-EB2F-A248-A04A-8745A1C017C8}"/>
                </a:ext>
              </a:extLst>
            </p:cNvPr>
            <p:cNvSpPr/>
            <p:nvPr/>
          </p:nvSpPr>
          <p:spPr>
            <a:xfrm>
              <a:off x="2400177" y="181303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0"/>
                  </a:moveTo>
                  <a:lnTo>
                    <a:pt x="2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1" name="Google Shape;6098;p64">
              <a:extLst>
                <a:ext uri="{FF2B5EF4-FFF2-40B4-BE49-F238E27FC236}">
                  <a16:creationId xmlns:a16="http://schemas.microsoft.com/office/drawing/2014/main" id="{56D66533-C71F-150E-7FB5-4441CA0109A6}"/>
                </a:ext>
              </a:extLst>
            </p:cNvPr>
            <p:cNvSpPr/>
            <p:nvPr/>
          </p:nvSpPr>
          <p:spPr>
            <a:xfrm>
              <a:off x="2393565" y="1815735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2" name="Google Shape;6099;p64">
              <a:extLst>
                <a:ext uri="{FF2B5EF4-FFF2-40B4-BE49-F238E27FC236}">
                  <a16:creationId xmlns:a16="http://schemas.microsoft.com/office/drawing/2014/main" id="{C46A2F12-93A6-9FAC-74EE-BDCB99EA2A2F}"/>
                </a:ext>
              </a:extLst>
            </p:cNvPr>
            <p:cNvSpPr/>
            <p:nvPr/>
          </p:nvSpPr>
          <p:spPr>
            <a:xfrm>
              <a:off x="2398806" y="181202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3" name="Google Shape;6100;p64">
              <a:extLst>
                <a:ext uri="{FF2B5EF4-FFF2-40B4-BE49-F238E27FC236}">
                  <a16:creationId xmlns:a16="http://schemas.microsoft.com/office/drawing/2014/main" id="{ECAEAED2-1A6E-23FF-EDC6-BDCB6EAA0F93}"/>
                </a:ext>
              </a:extLst>
            </p:cNvPr>
            <p:cNvSpPr/>
            <p:nvPr/>
          </p:nvSpPr>
          <p:spPr>
            <a:xfrm>
              <a:off x="2394420" y="181426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4" name="Google Shape;6101;p64">
              <a:extLst>
                <a:ext uri="{FF2B5EF4-FFF2-40B4-BE49-F238E27FC236}">
                  <a16:creationId xmlns:a16="http://schemas.microsoft.com/office/drawing/2014/main" id="{2704B4CF-E2D4-F8F6-268C-C6FDE0EB1EC5}"/>
                </a:ext>
              </a:extLst>
            </p:cNvPr>
            <p:cNvSpPr/>
            <p:nvPr/>
          </p:nvSpPr>
          <p:spPr>
            <a:xfrm>
              <a:off x="2394040" y="181483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5" name="Google Shape;6102;p64">
              <a:extLst>
                <a:ext uri="{FF2B5EF4-FFF2-40B4-BE49-F238E27FC236}">
                  <a16:creationId xmlns:a16="http://schemas.microsoft.com/office/drawing/2014/main" id="{3DFCB776-2CED-EFA1-8900-5F10563A2F78}"/>
                </a:ext>
              </a:extLst>
            </p:cNvPr>
            <p:cNvSpPr/>
            <p:nvPr/>
          </p:nvSpPr>
          <p:spPr>
            <a:xfrm>
              <a:off x="2394135" y="18146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6" name="Google Shape;6103;p64">
              <a:extLst>
                <a:ext uri="{FF2B5EF4-FFF2-40B4-BE49-F238E27FC236}">
                  <a16:creationId xmlns:a16="http://schemas.microsoft.com/office/drawing/2014/main" id="{39FB95BF-E965-4865-514C-D7801A914153}"/>
                </a:ext>
              </a:extLst>
            </p:cNvPr>
            <p:cNvSpPr/>
            <p:nvPr/>
          </p:nvSpPr>
          <p:spPr>
            <a:xfrm>
              <a:off x="2394230" y="181449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7" name="Google Shape;6104;p64">
              <a:extLst>
                <a:ext uri="{FF2B5EF4-FFF2-40B4-BE49-F238E27FC236}">
                  <a16:creationId xmlns:a16="http://schemas.microsoft.com/office/drawing/2014/main" id="{46138892-DDEB-BF97-9924-99212D3702D5}"/>
                </a:ext>
              </a:extLst>
            </p:cNvPr>
            <p:cNvSpPr/>
            <p:nvPr/>
          </p:nvSpPr>
          <p:spPr>
            <a:xfrm>
              <a:off x="2394380" y="18143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8" name="Google Shape;6105;p64">
              <a:extLst>
                <a:ext uri="{FF2B5EF4-FFF2-40B4-BE49-F238E27FC236}">
                  <a16:creationId xmlns:a16="http://schemas.microsoft.com/office/drawing/2014/main" id="{C76A7031-CF22-21E7-CFC0-B8EC1F92F234}"/>
                </a:ext>
              </a:extLst>
            </p:cNvPr>
            <p:cNvSpPr/>
            <p:nvPr/>
          </p:nvSpPr>
          <p:spPr>
            <a:xfrm>
              <a:off x="2394325" y="18144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9" name="Google Shape;6106;p64">
              <a:extLst>
                <a:ext uri="{FF2B5EF4-FFF2-40B4-BE49-F238E27FC236}">
                  <a16:creationId xmlns:a16="http://schemas.microsoft.com/office/drawing/2014/main" id="{3A1BA34A-2E21-929A-27C9-2888A5F436F0}"/>
                </a:ext>
              </a:extLst>
            </p:cNvPr>
            <p:cNvSpPr/>
            <p:nvPr/>
          </p:nvSpPr>
          <p:spPr>
            <a:xfrm>
              <a:off x="2393904" y="181507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0" name="Google Shape;6107;p64">
              <a:extLst>
                <a:ext uri="{FF2B5EF4-FFF2-40B4-BE49-F238E27FC236}">
                  <a16:creationId xmlns:a16="http://schemas.microsoft.com/office/drawing/2014/main" id="{1061CC94-0BFD-A4B9-3CC4-0F0732943F31}"/>
                </a:ext>
              </a:extLst>
            </p:cNvPr>
            <p:cNvSpPr/>
            <p:nvPr/>
          </p:nvSpPr>
          <p:spPr>
            <a:xfrm>
              <a:off x="2013313" y="1624754"/>
              <a:ext cx="94975" cy="80080"/>
            </a:xfrm>
            <a:custGeom>
              <a:avLst/>
              <a:gdLst/>
              <a:ahLst/>
              <a:cxnLst/>
              <a:rect l="l" t="t" r="r" b="b"/>
              <a:pathLst>
                <a:path w="6995" h="5898" extrusionOk="0">
                  <a:moveTo>
                    <a:pt x="3942" y="0"/>
                  </a:moveTo>
                  <a:cubicBezTo>
                    <a:pt x="3907" y="7"/>
                    <a:pt x="3872" y="7"/>
                    <a:pt x="3837" y="7"/>
                  </a:cubicBezTo>
                  <a:cubicBezTo>
                    <a:pt x="3830" y="7"/>
                    <a:pt x="3823" y="6"/>
                    <a:pt x="3816" y="6"/>
                  </a:cubicBezTo>
                  <a:cubicBezTo>
                    <a:pt x="3753" y="6"/>
                    <a:pt x="3692" y="33"/>
                    <a:pt x="3652" y="77"/>
                  </a:cubicBezTo>
                  <a:cubicBezTo>
                    <a:pt x="3585" y="147"/>
                    <a:pt x="3557" y="259"/>
                    <a:pt x="3571" y="403"/>
                  </a:cubicBezTo>
                  <a:cubicBezTo>
                    <a:pt x="3589" y="504"/>
                    <a:pt x="3564" y="606"/>
                    <a:pt x="3501" y="686"/>
                  </a:cubicBezTo>
                  <a:cubicBezTo>
                    <a:pt x="3392" y="812"/>
                    <a:pt x="3196" y="837"/>
                    <a:pt x="2944" y="854"/>
                  </a:cubicBezTo>
                  <a:cubicBezTo>
                    <a:pt x="2780" y="868"/>
                    <a:pt x="2762" y="935"/>
                    <a:pt x="2731" y="1037"/>
                  </a:cubicBezTo>
                  <a:cubicBezTo>
                    <a:pt x="2720" y="1114"/>
                    <a:pt x="2682" y="1180"/>
                    <a:pt x="2626" y="1229"/>
                  </a:cubicBezTo>
                  <a:cubicBezTo>
                    <a:pt x="2580" y="1265"/>
                    <a:pt x="2517" y="1276"/>
                    <a:pt x="2454" y="1276"/>
                  </a:cubicBezTo>
                  <a:cubicBezTo>
                    <a:pt x="2368" y="1276"/>
                    <a:pt x="2282" y="1255"/>
                    <a:pt x="2234" y="1243"/>
                  </a:cubicBezTo>
                  <a:cubicBezTo>
                    <a:pt x="2080" y="1198"/>
                    <a:pt x="1884" y="1100"/>
                    <a:pt x="1835" y="967"/>
                  </a:cubicBezTo>
                  <a:cubicBezTo>
                    <a:pt x="1831" y="949"/>
                    <a:pt x="1810" y="938"/>
                    <a:pt x="1782" y="935"/>
                  </a:cubicBezTo>
                  <a:cubicBezTo>
                    <a:pt x="1712" y="935"/>
                    <a:pt x="1646" y="967"/>
                    <a:pt x="1607" y="1023"/>
                  </a:cubicBezTo>
                  <a:cubicBezTo>
                    <a:pt x="1604" y="1037"/>
                    <a:pt x="1590" y="1065"/>
                    <a:pt x="1632" y="1110"/>
                  </a:cubicBezTo>
                  <a:cubicBezTo>
                    <a:pt x="1747" y="1240"/>
                    <a:pt x="1803" y="1408"/>
                    <a:pt x="1793" y="1579"/>
                  </a:cubicBezTo>
                  <a:cubicBezTo>
                    <a:pt x="1789" y="1660"/>
                    <a:pt x="1754" y="1737"/>
                    <a:pt x="1695" y="1789"/>
                  </a:cubicBezTo>
                  <a:cubicBezTo>
                    <a:pt x="1663" y="1814"/>
                    <a:pt x="1628" y="1823"/>
                    <a:pt x="1591" y="1823"/>
                  </a:cubicBezTo>
                  <a:cubicBezTo>
                    <a:pt x="1538" y="1823"/>
                    <a:pt x="1482" y="1804"/>
                    <a:pt x="1429" y="1786"/>
                  </a:cubicBezTo>
                  <a:cubicBezTo>
                    <a:pt x="1369" y="1765"/>
                    <a:pt x="1317" y="1749"/>
                    <a:pt x="1275" y="1749"/>
                  </a:cubicBezTo>
                  <a:cubicBezTo>
                    <a:pt x="1252" y="1749"/>
                    <a:pt x="1232" y="1754"/>
                    <a:pt x="1215" y="1765"/>
                  </a:cubicBezTo>
                  <a:cubicBezTo>
                    <a:pt x="1173" y="1797"/>
                    <a:pt x="1136" y="1809"/>
                    <a:pt x="1104" y="1809"/>
                  </a:cubicBezTo>
                  <a:cubicBezTo>
                    <a:pt x="1036" y="1809"/>
                    <a:pt x="988" y="1756"/>
                    <a:pt x="952" y="1716"/>
                  </a:cubicBezTo>
                  <a:cubicBezTo>
                    <a:pt x="921" y="1670"/>
                    <a:pt x="875" y="1635"/>
                    <a:pt x="823" y="1614"/>
                  </a:cubicBezTo>
                  <a:cubicBezTo>
                    <a:pt x="798" y="1605"/>
                    <a:pt x="777" y="1601"/>
                    <a:pt x="756" y="1601"/>
                  </a:cubicBezTo>
                  <a:cubicBezTo>
                    <a:pt x="719" y="1601"/>
                    <a:pt x="684" y="1613"/>
                    <a:pt x="637" y="1628"/>
                  </a:cubicBezTo>
                  <a:cubicBezTo>
                    <a:pt x="557" y="1658"/>
                    <a:pt x="472" y="1675"/>
                    <a:pt x="386" y="1675"/>
                  </a:cubicBezTo>
                  <a:cubicBezTo>
                    <a:pt x="360" y="1675"/>
                    <a:pt x="334" y="1673"/>
                    <a:pt x="308" y="1670"/>
                  </a:cubicBezTo>
                  <a:cubicBezTo>
                    <a:pt x="291" y="1669"/>
                    <a:pt x="275" y="1668"/>
                    <a:pt x="260" y="1668"/>
                  </a:cubicBezTo>
                  <a:cubicBezTo>
                    <a:pt x="115" y="1668"/>
                    <a:pt x="33" y="1724"/>
                    <a:pt x="14" y="1765"/>
                  </a:cubicBezTo>
                  <a:cubicBezTo>
                    <a:pt x="0" y="1782"/>
                    <a:pt x="7" y="1807"/>
                    <a:pt x="25" y="1821"/>
                  </a:cubicBezTo>
                  <a:cubicBezTo>
                    <a:pt x="77" y="1887"/>
                    <a:pt x="98" y="1978"/>
                    <a:pt x="77" y="2059"/>
                  </a:cubicBezTo>
                  <a:cubicBezTo>
                    <a:pt x="74" y="2111"/>
                    <a:pt x="70" y="2139"/>
                    <a:pt x="91" y="2164"/>
                  </a:cubicBezTo>
                  <a:cubicBezTo>
                    <a:pt x="112" y="2192"/>
                    <a:pt x="235" y="2220"/>
                    <a:pt x="340" y="2241"/>
                  </a:cubicBezTo>
                  <a:cubicBezTo>
                    <a:pt x="476" y="2269"/>
                    <a:pt x="651" y="2304"/>
                    <a:pt x="795" y="2381"/>
                  </a:cubicBezTo>
                  <a:cubicBezTo>
                    <a:pt x="874" y="2427"/>
                    <a:pt x="963" y="2455"/>
                    <a:pt x="1055" y="2455"/>
                  </a:cubicBezTo>
                  <a:cubicBezTo>
                    <a:pt x="1060" y="2455"/>
                    <a:pt x="1066" y="2455"/>
                    <a:pt x="1071" y="2454"/>
                  </a:cubicBezTo>
                  <a:cubicBezTo>
                    <a:pt x="1080" y="2454"/>
                    <a:pt x="1089" y="2453"/>
                    <a:pt x="1097" y="2453"/>
                  </a:cubicBezTo>
                  <a:cubicBezTo>
                    <a:pt x="1165" y="2453"/>
                    <a:pt x="1229" y="2477"/>
                    <a:pt x="1281" y="2517"/>
                  </a:cubicBezTo>
                  <a:cubicBezTo>
                    <a:pt x="1309" y="2538"/>
                    <a:pt x="1341" y="2556"/>
                    <a:pt x="1369" y="2570"/>
                  </a:cubicBezTo>
                  <a:cubicBezTo>
                    <a:pt x="1457" y="2615"/>
                    <a:pt x="1481" y="2650"/>
                    <a:pt x="1488" y="2808"/>
                  </a:cubicBezTo>
                  <a:cubicBezTo>
                    <a:pt x="1495" y="2997"/>
                    <a:pt x="1646" y="3155"/>
                    <a:pt x="1870" y="3218"/>
                  </a:cubicBezTo>
                  <a:cubicBezTo>
                    <a:pt x="2090" y="3277"/>
                    <a:pt x="2066" y="3424"/>
                    <a:pt x="2052" y="3519"/>
                  </a:cubicBezTo>
                  <a:cubicBezTo>
                    <a:pt x="2038" y="3575"/>
                    <a:pt x="2038" y="3631"/>
                    <a:pt x="2055" y="3683"/>
                  </a:cubicBezTo>
                  <a:cubicBezTo>
                    <a:pt x="2108" y="3799"/>
                    <a:pt x="2069" y="3932"/>
                    <a:pt x="2027" y="4061"/>
                  </a:cubicBezTo>
                  <a:cubicBezTo>
                    <a:pt x="1996" y="4159"/>
                    <a:pt x="1964" y="4264"/>
                    <a:pt x="1982" y="4352"/>
                  </a:cubicBezTo>
                  <a:cubicBezTo>
                    <a:pt x="2017" y="4548"/>
                    <a:pt x="1898" y="5140"/>
                    <a:pt x="1751" y="5346"/>
                  </a:cubicBezTo>
                  <a:lnTo>
                    <a:pt x="1779" y="5357"/>
                  </a:lnTo>
                  <a:cubicBezTo>
                    <a:pt x="1845" y="5388"/>
                    <a:pt x="1908" y="5420"/>
                    <a:pt x="1971" y="5455"/>
                  </a:cubicBezTo>
                  <a:cubicBezTo>
                    <a:pt x="2045" y="5500"/>
                    <a:pt x="2125" y="5535"/>
                    <a:pt x="2206" y="5567"/>
                  </a:cubicBezTo>
                  <a:cubicBezTo>
                    <a:pt x="2307" y="5609"/>
                    <a:pt x="2405" y="5654"/>
                    <a:pt x="2503" y="5710"/>
                  </a:cubicBezTo>
                  <a:cubicBezTo>
                    <a:pt x="2560" y="5746"/>
                    <a:pt x="2640" y="5763"/>
                    <a:pt x="2708" y="5763"/>
                  </a:cubicBezTo>
                  <a:cubicBezTo>
                    <a:pt x="2753" y="5763"/>
                    <a:pt x="2793" y="5756"/>
                    <a:pt x="2818" y="5742"/>
                  </a:cubicBezTo>
                  <a:cubicBezTo>
                    <a:pt x="2818" y="5742"/>
                    <a:pt x="2832" y="5731"/>
                    <a:pt x="2832" y="5728"/>
                  </a:cubicBezTo>
                  <a:cubicBezTo>
                    <a:pt x="2829" y="5679"/>
                    <a:pt x="2857" y="5630"/>
                    <a:pt x="2902" y="5612"/>
                  </a:cubicBezTo>
                  <a:cubicBezTo>
                    <a:pt x="2909" y="5609"/>
                    <a:pt x="2916" y="5605"/>
                    <a:pt x="2923" y="5605"/>
                  </a:cubicBezTo>
                  <a:lnTo>
                    <a:pt x="2951" y="5605"/>
                  </a:lnTo>
                  <a:cubicBezTo>
                    <a:pt x="2962" y="5605"/>
                    <a:pt x="2972" y="5605"/>
                    <a:pt x="2983" y="5609"/>
                  </a:cubicBezTo>
                  <a:lnTo>
                    <a:pt x="2986" y="5609"/>
                  </a:lnTo>
                  <a:cubicBezTo>
                    <a:pt x="2997" y="5609"/>
                    <a:pt x="3007" y="5612"/>
                    <a:pt x="3014" y="5616"/>
                  </a:cubicBezTo>
                  <a:lnTo>
                    <a:pt x="3021" y="5616"/>
                  </a:lnTo>
                  <a:cubicBezTo>
                    <a:pt x="3032" y="5619"/>
                    <a:pt x="3039" y="5623"/>
                    <a:pt x="3049" y="5630"/>
                  </a:cubicBezTo>
                  <a:lnTo>
                    <a:pt x="3056" y="5633"/>
                  </a:lnTo>
                  <a:cubicBezTo>
                    <a:pt x="3067" y="5637"/>
                    <a:pt x="3077" y="5644"/>
                    <a:pt x="3084" y="5647"/>
                  </a:cubicBezTo>
                  <a:lnTo>
                    <a:pt x="3091" y="5651"/>
                  </a:lnTo>
                  <a:lnTo>
                    <a:pt x="3119" y="5668"/>
                  </a:lnTo>
                  <a:lnTo>
                    <a:pt x="3123" y="5672"/>
                  </a:lnTo>
                  <a:lnTo>
                    <a:pt x="3147" y="5689"/>
                  </a:lnTo>
                  <a:lnTo>
                    <a:pt x="3154" y="5696"/>
                  </a:lnTo>
                  <a:lnTo>
                    <a:pt x="3179" y="5714"/>
                  </a:lnTo>
                  <a:lnTo>
                    <a:pt x="3182" y="5717"/>
                  </a:lnTo>
                  <a:lnTo>
                    <a:pt x="3203" y="5738"/>
                  </a:lnTo>
                  <a:cubicBezTo>
                    <a:pt x="3256" y="5794"/>
                    <a:pt x="3480" y="5826"/>
                    <a:pt x="3624" y="5847"/>
                  </a:cubicBezTo>
                  <a:cubicBezTo>
                    <a:pt x="3697" y="5857"/>
                    <a:pt x="3767" y="5864"/>
                    <a:pt x="3820" y="5878"/>
                  </a:cubicBezTo>
                  <a:cubicBezTo>
                    <a:pt x="3900" y="5890"/>
                    <a:pt x="3981" y="5897"/>
                    <a:pt x="4062" y="5897"/>
                  </a:cubicBezTo>
                  <a:cubicBezTo>
                    <a:pt x="4100" y="5897"/>
                    <a:pt x="4139" y="5896"/>
                    <a:pt x="4177" y="5892"/>
                  </a:cubicBezTo>
                  <a:lnTo>
                    <a:pt x="4285" y="5892"/>
                  </a:lnTo>
                  <a:cubicBezTo>
                    <a:pt x="4282" y="5875"/>
                    <a:pt x="4278" y="5857"/>
                    <a:pt x="4271" y="5840"/>
                  </a:cubicBezTo>
                  <a:cubicBezTo>
                    <a:pt x="4229" y="5721"/>
                    <a:pt x="4243" y="5588"/>
                    <a:pt x="4310" y="5483"/>
                  </a:cubicBezTo>
                  <a:cubicBezTo>
                    <a:pt x="4397" y="5343"/>
                    <a:pt x="4572" y="5245"/>
                    <a:pt x="4775" y="5213"/>
                  </a:cubicBezTo>
                  <a:cubicBezTo>
                    <a:pt x="4809" y="5208"/>
                    <a:pt x="4846" y="5206"/>
                    <a:pt x="4886" y="5206"/>
                  </a:cubicBezTo>
                  <a:cubicBezTo>
                    <a:pt x="5199" y="5206"/>
                    <a:pt x="5683" y="5351"/>
                    <a:pt x="5826" y="5441"/>
                  </a:cubicBezTo>
                  <a:cubicBezTo>
                    <a:pt x="5868" y="5468"/>
                    <a:pt x="5914" y="5482"/>
                    <a:pt x="5963" y="5482"/>
                  </a:cubicBezTo>
                  <a:cubicBezTo>
                    <a:pt x="6083" y="5482"/>
                    <a:pt x="6220" y="5400"/>
                    <a:pt x="6372" y="5241"/>
                  </a:cubicBezTo>
                  <a:cubicBezTo>
                    <a:pt x="6463" y="5136"/>
                    <a:pt x="6578" y="5059"/>
                    <a:pt x="6704" y="5010"/>
                  </a:cubicBezTo>
                  <a:lnTo>
                    <a:pt x="6704" y="5006"/>
                  </a:lnTo>
                  <a:cubicBezTo>
                    <a:pt x="6711" y="4989"/>
                    <a:pt x="6715" y="4975"/>
                    <a:pt x="6722" y="4957"/>
                  </a:cubicBezTo>
                  <a:lnTo>
                    <a:pt x="6725" y="4943"/>
                  </a:lnTo>
                  <a:cubicBezTo>
                    <a:pt x="6732" y="4926"/>
                    <a:pt x="6739" y="4912"/>
                    <a:pt x="6746" y="4894"/>
                  </a:cubicBezTo>
                  <a:lnTo>
                    <a:pt x="6757" y="4870"/>
                  </a:lnTo>
                  <a:cubicBezTo>
                    <a:pt x="6722" y="4863"/>
                    <a:pt x="6687" y="4863"/>
                    <a:pt x="6655" y="4863"/>
                  </a:cubicBezTo>
                  <a:cubicBezTo>
                    <a:pt x="6624" y="4863"/>
                    <a:pt x="6592" y="4863"/>
                    <a:pt x="6561" y="4856"/>
                  </a:cubicBezTo>
                  <a:cubicBezTo>
                    <a:pt x="6480" y="4849"/>
                    <a:pt x="6407" y="4800"/>
                    <a:pt x="6368" y="4726"/>
                  </a:cubicBezTo>
                  <a:cubicBezTo>
                    <a:pt x="6333" y="4649"/>
                    <a:pt x="6344" y="4558"/>
                    <a:pt x="6393" y="4488"/>
                  </a:cubicBezTo>
                  <a:cubicBezTo>
                    <a:pt x="6414" y="4453"/>
                    <a:pt x="6414" y="4453"/>
                    <a:pt x="6354" y="4404"/>
                  </a:cubicBezTo>
                  <a:cubicBezTo>
                    <a:pt x="6305" y="4369"/>
                    <a:pt x="6267" y="4327"/>
                    <a:pt x="6235" y="4278"/>
                  </a:cubicBezTo>
                  <a:cubicBezTo>
                    <a:pt x="6207" y="4236"/>
                    <a:pt x="6179" y="4184"/>
                    <a:pt x="6204" y="4135"/>
                  </a:cubicBezTo>
                  <a:cubicBezTo>
                    <a:pt x="6228" y="4093"/>
                    <a:pt x="6270" y="4065"/>
                    <a:pt x="6319" y="4065"/>
                  </a:cubicBezTo>
                  <a:cubicBezTo>
                    <a:pt x="6337" y="4061"/>
                    <a:pt x="6354" y="4058"/>
                    <a:pt x="6368" y="4051"/>
                  </a:cubicBezTo>
                  <a:cubicBezTo>
                    <a:pt x="6393" y="4037"/>
                    <a:pt x="6414" y="4016"/>
                    <a:pt x="6431" y="3991"/>
                  </a:cubicBezTo>
                  <a:cubicBezTo>
                    <a:pt x="6442" y="3974"/>
                    <a:pt x="6452" y="3956"/>
                    <a:pt x="6459" y="3939"/>
                  </a:cubicBezTo>
                  <a:cubicBezTo>
                    <a:pt x="6410" y="3900"/>
                    <a:pt x="6319" y="3802"/>
                    <a:pt x="6382" y="3603"/>
                  </a:cubicBezTo>
                  <a:cubicBezTo>
                    <a:pt x="6400" y="3554"/>
                    <a:pt x="6389" y="3540"/>
                    <a:pt x="6354" y="3501"/>
                  </a:cubicBezTo>
                  <a:cubicBezTo>
                    <a:pt x="6312" y="3463"/>
                    <a:pt x="6288" y="3410"/>
                    <a:pt x="6284" y="3354"/>
                  </a:cubicBezTo>
                  <a:cubicBezTo>
                    <a:pt x="6284" y="3337"/>
                    <a:pt x="6277" y="3323"/>
                    <a:pt x="6263" y="3316"/>
                  </a:cubicBezTo>
                  <a:cubicBezTo>
                    <a:pt x="6259" y="3314"/>
                    <a:pt x="6254" y="3313"/>
                    <a:pt x="6248" y="3313"/>
                  </a:cubicBezTo>
                  <a:cubicBezTo>
                    <a:pt x="6225" y="3313"/>
                    <a:pt x="6192" y="3327"/>
                    <a:pt x="6158" y="3372"/>
                  </a:cubicBezTo>
                  <a:cubicBezTo>
                    <a:pt x="6112" y="3428"/>
                    <a:pt x="6068" y="3456"/>
                    <a:pt x="6027" y="3456"/>
                  </a:cubicBezTo>
                  <a:cubicBezTo>
                    <a:pt x="6012" y="3456"/>
                    <a:pt x="5997" y="3453"/>
                    <a:pt x="5983" y="3445"/>
                  </a:cubicBezTo>
                  <a:cubicBezTo>
                    <a:pt x="5966" y="3435"/>
                    <a:pt x="5952" y="3421"/>
                    <a:pt x="5945" y="3403"/>
                  </a:cubicBezTo>
                  <a:cubicBezTo>
                    <a:pt x="5941" y="3400"/>
                    <a:pt x="5941" y="3396"/>
                    <a:pt x="5941" y="3389"/>
                  </a:cubicBezTo>
                  <a:cubicBezTo>
                    <a:pt x="5938" y="3386"/>
                    <a:pt x="5934" y="3379"/>
                    <a:pt x="5934" y="3375"/>
                  </a:cubicBezTo>
                  <a:cubicBezTo>
                    <a:pt x="5920" y="3319"/>
                    <a:pt x="5934" y="3235"/>
                    <a:pt x="5969" y="3127"/>
                  </a:cubicBezTo>
                  <a:cubicBezTo>
                    <a:pt x="6008" y="3032"/>
                    <a:pt x="6064" y="2948"/>
                    <a:pt x="6141" y="2881"/>
                  </a:cubicBezTo>
                  <a:cubicBezTo>
                    <a:pt x="6165" y="2857"/>
                    <a:pt x="6186" y="2839"/>
                    <a:pt x="6207" y="2822"/>
                  </a:cubicBezTo>
                  <a:cubicBezTo>
                    <a:pt x="6260" y="2776"/>
                    <a:pt x="6312" y="2727"/>
                    <a:pt x="6319" y="2696"/>
                  </a:cubicBezTo>
                  <a:cubicBezTo>
                    <a:pt x="6323" y="2689"/>
                    <a:pt x="6323" y="2678"/>
                    <a:pt x="6326" y="2668"/>
                  </a:cubicBezTo>
                  <a:lnTo>
                    <a:pt x="6326" y="2664"/>
                  </a:lnTo>
                  <a:cubicBezTo>
                    <a:pt x="6330" y="2657"/>
                    <a:pt x="6333" y="2650"/>
                    <a:pt x="6337" y="2643"/>
                  </a:cubicBezTo>
                  <a:lnTo>
                    <a:pt x="6337" y="2640"/>
                  </a:lnTo>
                  <a:cubicBezTo>
                    <a:pt x="6340" y="2633"/>
                    <a:pt x="6344" y="2622"/>
                    <a:pt x="6347" y="2615"/>
                  </a:cubicBezTo>
                  <a:lnTo>
                    <a:pt x="6351" y="2608"/>
                  </a:lnTo>
                  <a:cubicBezTo>
                    <a:pt x="6354" y="2605"/>
                    <a:pt x="6358" y="2598"/>
                    <a:pt x="6361" y="2591"/>
                  </a:cubicBezTo>
                  <a:lnTo>
                    <a:pt x="6365" y="2584"/>
                  </a:lnTo>
                  <a:cubicBezTo>
                    <a:pt x="6368" y="2580"/>
                    <a:pt x="6375" y="2573"/>
                    <a:pt x="6379" y="2566"/>
                  </a:cubicBezTo>
                  <a:lnTo>
                    <a:pt x="6382" y="2559"/>
                  </a:lnTo>
                  <a:lnTo>
                    <a:pt x="6396" y="2545"/>
                  </a:lnTo>
                  <a:lnTo>
                    <a:pt x="6403" y="2538"/>
                  </a:lnTo>
                  <a:lnTo>
                    <a:pt x="6421" y="2521"/>
                  </a:lnTo>
                  <a:lnTo>
                    <a:pt x="6428" y="2514"/>
                  </a:lnTo>
                  <a:lnTo>
                    <a:pt x="6442" y="2500"/>
                  </a:lnTo>
                  <a:lnTo>
                    <a:pt x="6452" y="2496"/>
                  </a:lnTo>
                  <a:lnTo>
                    <a:pt x="6466" y="2482"/>
                  </a:lnTo>
                  <a:lnTo>
                    <a:pt x="6477" y="2475"/>
                  </a:lnTo>
                  <a:lnTo>
                    <a:pt x="6491" y="2465"/>
                  </a:lnTo>
                  <a:lnTo>
                    <a:pt x="6501" y="2458"/>
                  </a:lnTo>
                  <a:lnTo>
                    <a:pt x="6519" y="2451"/>
                  </a:lnTo>
                  <a:lnTo>
                    <a:pt x="6529" y="2444"/>
                  </a:lnTo>
                  <a:lnTo>
                    <a:pt x="6547" y="2437"/>
                  </a:lnTo>
                  <a:lnTo>
                    <a:pt x="6557" y="2433"/>
                  </a:lnTo>
                  <a:lnTo>
                    <a:pt x="6575" y="2426"/>
                  </a:lnTo>
                  <a:lnTo>
                    <a:pt x="6585" y="2423"/>
                  </a:lnTo>
                  <a:lnTo>
                    <a:pt x="6603" y="2419"/>
                  </a:lnTo>
                  <a:lnTo>
                    <a:pt x="6655" y="2419"/>
                  </a:lnTo>
                  <a:cubicBezTo>
                    <a:pt x="6662" y="2409"/>
                    <a:pt x="6666" y="2398"/>
                    <a:pt x="6669" y="2384"/>
                  </a:cubicBezTo>
                  <a:cubicBezTo>
                    <a:pt x="6683" y="2332"/>
                    <a:pt x="6690" y="2279"/>
                    <a:pt x="6694" y="2227"/>
                  </a:cubicBezTo>
                  <a:cubicBezTo>
                    <a:pt x="6697" y="2174"/>
                    <a:pt x="6704" y="2122"/>
                    <a:pt x="6715" y="2069"/>
                  </a:cubicBezTo>
                  <a:cubicBezTo>
                    <a:pt x="6715" y="2066"/>
                    <a:pt x="6715" y="2062"/>
                    <a:pt x="6715" y="2055"/>
                  </a:cubicBezTo>
                  <a:lnTo>
                    <a:pt x="6725" y="2020"/>
                  </a:lnTo>
                  <a:cubicBezTo>
                    <a:pt x="6760" y="1866"/>
                    <a:pt x="6795" y="1709"/>
                    <a:pt x="6956" y="1572"/>
                  </a:cubicBezTo>
                  <a:cubicBezTo>
                    <a:pt x="6991" y="1544"/>
                    <a:pt x="6995" y="1530"/>
                    <a:pt x="6995" y="1530"/>
                  </a:cubicBezTo>
                  <a:cubicBezTo>
                    <a:pt x="6967" y="1513"/>
                    <a:pt x="6935" y="1506"/>
                    <a:pt x="6907" y="1506"/>
                  </a:cubicBezTo>
                  <a:cubicBezTo>
                    <a:pt x="6902" y="1506"/>
                    <a:pt x="6897" y="1506"/>
                    <a:pt x="6892" y="1506"/>
                  </a:cubicBezTo>
                  <a:cubicBezTo>
                    <a:pt x="6845" y="1506"/>
                    <a:pt x="6799" y="1492"/>
                    <a:pt x="6764" y="1460"/>
                  </a:cubicBezTo>
                  <a:cubicBezTo>
                    <a:pt x="6718" y="1429"/>
                    <a:pt x="6662" y="1411"/>
                    <a:pt x="6603" y="1408"/>
                  </a:cubicBezTo>
                  <a:cubicBezTo>
                    <a:pt x="6599" y="1408"/>
                    <a:pt x="6596" y="1408"/>
                    <a:pt x="6592" y="1408"/>
                  </a:cubicBezTo>
                  <a:cubicBezTo>
                    <a:pt x="6438" y="1408"/>
                    <a:pt x="6293" y="1335"/>
                    <a:pt x="6200" y="1212"/>
                  </a:cubicBezTo>
                  <a:cubicBezTo>
                    <a:pt x="6197" y="1212"/>
                    <a:pt x="6197" y="1208"/>
                    <a:pt x="6193" y="1208"/>
                  </a:cubicBezTo>
                  <a:cubicBezTo>
                    <a:pt x="6169" y="1191"/>
                    <a:pt x="6141" y="1177"/>
                    <a:pt x="6113" y="1173"/>
                  </a:cubicBezTo>
                  <a:cubicBezTo>
                    <a:pt x="6014" y="1145"/>
                    <a:pt x="5913" y="1134"/>
                    <a:pt x="5814" y="1134"/>
                  </a:cubicBezTo>
                  <a:cubicBezTo>
                    <a:pt x="5800" y="1134"/>
                    <a:pt x="5787" y="1134"/>
                    <a:pt x="5773" y="1135"/>
                  </a:cubicBezTo>
                  <a:cubicBezTo>
                    <a:pt x="5745" y="1135"/>
                    <a:pt x="5721" y="1135"/>
                    <a:pt x="5693" y="1142"/>
                  </a:cubicBezTo>
                  <a:lnTo>
                    <a:pt x="5654" y="1142"/>
                  </a:lnTo>
                  <a:cubicBezTo>
                    <a:pt x="5647" y="1142"/>
                    <a:pt x="5637" y="1142"/>
                    <a:pt x="5630" y="1138"/>
                  </a:cubicBezTo>
                  <a:lnTo>
                    <a:pt x="5623" y="1138"/>
                  </a:lnTo>
                  <a:cubicBezTo>
                    <a:pt x="5616" y="1138"/>
                    <a:pt x="5609" y="1135"/>
                    <a:pt x="5602" y="1131"/>
                  </a:cubicBezTo>
                  <a:lnTo>
                    <a:pt x="5595" y="1128"/>
                  </a:lnTo>
                  <a:cubicBezTo>
                    <a:pt x="5588" y="1124"/>
                    <a:pt x="5581" y="1121"/>
                    <a:pt x="5574" y="1117"/>
                  </a:cubicBezTo>
                  <a:lnTo>
                    <a:pt x="5567" y="1110"/>
                  </a:lnTo>
                  <a:lnTo>
                    <a:pt x="5553" y="1096"/>
                  </a:lnTo>
                  <a:lnTo>
                    <a:pt x="5546" y="1093"/>
                  </a:lnTo>
                  <a:lnTo>
                    <a:pt x="5532" y="1075"/>
                  </a:lnTo>
                  <a:lnTo>
                    <a:pt x="5525" y="1072"/>
                  </a:lnTo>
                  <a:lnTo>
                    <a:pt x="5511" y="1054"/>
                  </a:lnTo>
                  <a:lnTo>
                    <a:pt x="5507" y="1047"/>
                  </a:lnTo>
                  <a:lnTo>
                    <a:pt x="5490" y="1026"/>
                  </a:lnTo>
                  <a:cubicBezTo>
                    <a:pt x="5460" y="986"/>
                    <a:pt x="5439" y="959"/>
                    <a:pt x="5420" y="959"/>
                  </a:cubicBezTo>
                  <a:cubicBezTo>
                    <a:pt x="5418" y="959"/>
                    <a:pt x="5417" y="959"/>
                    <a:pt x="5416" y="960"/>
                  </a:cubicBezTo>
                  <a:cubicBezTo>
                    <a:pt x="5404" y="962"/>
                    <a:pt x="5391" y="963"/>
                    <a:pt x="5379" y="963"/>
                  </a:cubicBezTo>
                  <a:cubicBezTo>
                    <a:pt x="5343" y="963"/>
                    <a:pt x="5309" y="952"/>
                    <a:pt x="5283" y="928"/>
                  </a:cubicBezTo>
                  <a:cubicBezTo>
                    <a:pt x="5265" y="917"/>
                    <a:pt x="5251" y="900"/>
                    <a:pt x="5241" y="886"/>
                  </a:cubicBezTo>
                  <a:cubicBezTo>
                    <a:pt x="5209" y="833"/>
                    <a:pt x="5192" y="777"/>
                    <a:pt x="5185" y="718"/>
                  </a:cubicBezTo>
                  <a:lnTo>
                    <a:pt x="5174" y="728"/>
                  </a:lnTo>
                  <a:cubicBezTo>
                    <a:pt x="5129" y="767"/>
                    <a:pt x="5080" y="798"/>
                    <a:pt x="5031" y="826"/>
                  </a:cubicBezTo>
                  <a:cubicBezTo>
                    <a:pt x="5011" y="836"/>
                    <a:pt x="4989" y="840"/>
                    <a:pt x="4968" y="840"/>
                  </a:cubicBezTo>
                  <a:cubicBezTo>
                    <a:pt x="4949" y="840"/>
                    <a:pt x="4930" y="837"/>
                    <a:pt x="4912" y="830"/>
                  </a:cubicBezTo>
                  <a:lnTo>
                    <a:pt x="4898" y="823"/>
                  </a:lnTo>
                  <a:cubicBezTo>
                    <a:pt x="4849" y="791"/>
                    <a:pt x="4814" y="739"/>
                    <a:pt x="4800" y="679"/>
                  </a:cubicBezTo>
                  <a:cubicBezTo>
                    <a:pt x="4793" y="651"/>
                    <a:pt x="4786" y="627"/>
                    <a:pt x="4782" y="599"/>
                  </a:cubicBezTo>
                  <a:cubicBezTo>
                    <a:pt x="4761" y="571"/>
                    <a:pt x="4649" y="518"/>
                    <a:pt x="4590" y="490"/>
                  </a:cubicBezTo>
                  <a:cubicBezTo>
                    <a:pt x="4548" y="473"/>
                    <a:pt x="4506" y="452"/>
                    <a:pt x="4474" y="434"/>
                  </a:cubicBezTo>
                  <a:cubicBezTo>
                    <a:pt x="4425" y="403"/>
                    <a:pt x="4380" y="368"/>
                    <a:pt x="4338" y="322"/>
                  </a:cubicBezTo>
                  <a:cubicBezTo>
                    <a:pt x="4317" y="301"/>
                    <a:pt x="4292" y="280"/>
                    <a:pt x="4268" y="259"/>
                  </a:cubicBezTo>
                  <a:cubicBezTo>
                    <a:pt x="4251" y="282"/>
                    <a:pt x="4225" y="293"/>
                    <a:pt x="4198" y="293"/>
                  </a:cubicBezTo>
                  <a:cubicBezTo>
                    <a:pt x="4191" y="293"/>
                    <a:pt x="4184" y="292"/>
                    <a:pt x="4177" y="291"/>
                  </a:cubicBezTo>
                  <a:cubicBezTo>
                    <a:pt x="4079" y="273"/>
                    <a:pt x="3981" y="95"/>
                    <a:pt x="3967" y="11"/>
                  </a:cubicBezTo>
                  <a:lnTo>
                    <a:pt x="3956" y="7"/>
                  </a:lnTo>
                  <a:lnTo>
                    <a:pt x="3953" y="4"/>
                  </a:lnTo>
                  <a:lnTo>
                    <a:pt x="3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1" name="Google Shape;6108;p64">
              <a:extLst>
                <a:ext uri="{FF2B5EF4-FFF2-40B4-BE49-F238E27FC236}">
                  <a16:creationId xmlns:a16="http://schemas.microsoft.com/office/drawing/2014/main" id="{3070010E-4EC1-0138-F0B1-0F1034A2CC40}"/>
                </a:ext>
              </a:extLst>
            </p:cNvPr>
            <p:cNvSpPr/>
            <p:nvPr/>
          </p:nvSpPr>
          <p:spPr>
            <a:xfrm>
              <a:off x="2113407" y="1701277"/>
              <a:ext cx="5580" cy="11812"/>
            </a:xfrm>
            <a:custGeom>
              <a:avLst/>
              <a:gdLst/>
              <a:ahLst/>
              <a:cxnLst/>
              <a:rect l="l" t="t" r="r" b="b"/>
              <a:pathLst>
                <a:path w="411" h="870" extrusionOk="0">
                  <a:moveTo>
                    <a:pt x="362" y="1"/>
                  </a:moveTo>
                  <a:lnTo>
                    <a:pt x="362" y="1"/>
                  </a:lnTo>
                  <a:cubicBezTo>
                    <a:pt x="351" y="11"/>
                    <a:pt x="337" y="29"/>
                    <a:pt x="327" y="39"/>
                  </a:cubicBezTo>
                  <a:cubicBezTo>
                    <a:pt x="260" y="130"/>
                    <a:pt x="176" y="204"/>
                    <a:pt x="81" y="263"/>
                  </a:cubicBezTo>
                  <a:cubicBezTo>
                    <a:pt x="1" y="312"/>
                    <a:pt x="8" y="484"/>
                    <a:pt x="57" y="624"/>
                  </a:cubicBezTo>
                  <a:cubicBezTo>
                    <a:pt x="107" y="761"/>
                    <a:pt x="196" y="870"/>
                    <a:pt x="259" y="870"/>
                  </a:cubicBezTo>
                  <a:cubicBezTo>
                    <a:pt x="261" y="870"/>
                    <a:pt x="264" y="869"/>
                    <a:pt x="267" y="869"/>
                  </a:cubicBezTo>
                  <a:cubicBezTo>
                    <a:pt x="281" y="869"/>
                    <a:pt x="302" y="844"/>
                    <a:pt x="320" y="809"/>
                  </a:cubicBezTo>
                  <a:cubicBezTo>
                    <a:pt x="411" y="610"/>
                    <a:pt x="397" y="141"/>
                    <a:pt x="36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2" name="Google Shape;6109;p64">
              <a:extLst>
                <a:ext uri="{FF2B5EF4-FFF2-40B4-BE49-F238E27FC236}">
                  <a16:creationId xmlns:a16="http://schemas.microsoft.com/office/drawing/2014/main" id="{F91BDB3B-5261-4141-1B40-E27751C73893}"/>
                </a:ext>
              </a:extLst>
            </p:cNvPr>
            <p:cNvSpPr/>
            <p:nvPr/>
          </p:nvSpPr>
          <p:spPr>
            <a:xfrm>
              <a:off x="2091696" y="1640056"/>
              <a:ext cx="4616" cy="543"/>
            </a:xfrm>
            <a:custGeom>
              <a:avLst/>
              <a:gdLst/>
              <a:ahLst/>
              <a:cxnLst/>
              <a:rect l="l" t="t" r="r" b="b"/>
              <a:pathLst>
                <a:path w="340" h="40" extrusionOk="0">
                  <a:moveTo>
                    <a:pt x="34" y="0"/>
                  </a:moveTo>
                  <a:cubicBezTo>
                    <a:pt x="23" y="0"/>
                    <a:pt x="11" y="0"/>
                    <a:pt x="0" y="1"/>
                  </a:cubicBezTo>
                  <a:lnTo>
                    <a:pt x="46" y="1"/>
                  </a:lnTo>
                  <a:cubicBezTo>
                    <a:pt x="133" y="4"/>
                    <a:pt x="221" y="11"/>
                    <a:pt x="305" y="32"/>
                  </a:cubicBezTo>
                  <a:lnTo>
                    <a:pt x="340" y="39"/>
                  </a:lnTo>
                  <a:cubicBezTo>
                    <a:pt x="239" y="14"/>
                    <a:pt x="135" y="0"/>
                    <a:pt x="3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3" name="Google Shape;6110;p64">
              <a:extLst>
                <a:ext uri="{FF2B5EF4-FFF2-40B4-BE49-F238E27FC236}">
                  <a16:creationId xmlns:a16="http://schemas.microsoft.com/office/drawing/2014/main" id="{9B6CC5E2-1948-AB92-DE0C-D961B1BB9ED3}"/>
                </a:ext>
              </a:extLst>
            </p:cNvPr>
            <p:cNvSpPr/>
            <p:nvPr/>
          </p:nvSpPr>
          <p:spPr>
            <a:xfrm>
              <a:off x="2083563" y="163439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4" name="Google Shape;6111;p64">
              <a:extLst>
                <a:ext uri="{FF2B5EF4-FFF2-40B4-BE49-F238E27FC236}">
                  <a16:creationId xmlns:a16="http://schemas.microsoft.com/office/drawing/2014/main" id="{5D24D20F-0EE3-2E48-EFFC-82A5FC24460C}"/>
                </a:ext>
              </a:extLst>
            </p:cNvPr>
            <p:cNvSpPr/>
            <p:nvPr/>
          </p:nvSpPr>
          <p:spPr>
            <a:xfrm>
              <a:off x="2066972" y="1624699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5" name="Google Shape;6112;p64">
              <a:extLst>
                <a:ext uri="{FF2B5EF4-FFF2-40B4-BE49-F238E27FC236}">
                  <a16:creationId xmlns:a16="http://schemas.microsoft.com/office/drawing/2014/main" id="{CD4D465A-879C-4962-7AEA-0095859D62E7}"/>
                </a:ext>
              </a:extLst>
            </p:cNvPr>
            <p:cNvSpPr/>
            <p:nvPr/>
          </p:nvSpPr>
          <p:spPr>
            <a:xfrm>
              <a:off x="2087840" y="1638630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6" name="Google Shape;6113;p64">
              <a:extLst>
                <a:ext uri="{FF2B5EF4-FFF2-40B4-BE49-F238E27FC236}">
                  <a16:creationId xmlns:a16="http://schemas.microsoft.com/office/drawing/2014/main" id="{9269D4EC-6D0C-6970-E17D-8DB5BF4F9B7B}"/>
                </a:ext>
              </a:extLst>
            </p:cNvPr>
            <p:cNvSpPr/>
            <p:nvPr/>
          </p:nvSpPr>
          <p:spPr>
            <a:xfrm>
              <a:off x="2089741" y="1640151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7" name="Google Shape;6114;p64">
              <a:extLst>
                <a:ext uri="{FF2B5EF4-FFF2-40B4-BE49-F238E27FC236}">
                  <a16:creationId xmlns:a16="http://schemas.microsoft.com/office/drawing/2014/main" id="{86246D78-8A91-D1D8-8861-913D78772A15}"/>
                </a:ext>
              </a:extLst>
            </p:cNvPr>
            <p:cNvSpPr/>
            <p:nvPr/>
          </p:nvSpPr>
          <p:spPr>
            <a:xfrm>
              <a:off x="2089361" y="164001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8" name="Google Shape;6115;p64">
              <a:extLst>
                <a:ext uri="{FF2B5EF4-FFF2-40B4-BE49-F238E27FC236}">
                  <a16:creationId xmlns:a16="http://schemas.microsoft.com/office/drawing/2014/main" id="{A2A9254D-65F1-032F-E677-A2FA68E13CF4}"/>
                </a:ext>
              </a:extLst>
            </p:cNvPr>
            <p:cNvSpPr/>
            <p:nvPr/>
          </p:nvSpPr>
          <p:spPr>
            <a:xfrm>
              <a:off x="2079992" y="1635819"/>
              <a:ext cx="1629" cy="299"/>
            </a:xfrm>
            <a:custGeom>
              <a:avLst/>
              <a:gdLst/>
              <a:ahLst/>
              <a:cxnLst/>
              <a:rect l="l" t="t" r="r" b="b"/>
              <a:pathLst>
                <a:path w="120" h="22" extrusionOk="0">
                  <a:moveTo>
                    <a:pt x="120" y="1"/>
                  </a:moveTo>
                  <a:cubicBezTo>
                    <a:pt x="81" y="22"/>
                    <a:pt x="39" y="22"/>
                    <a:pt x="1" y="8"/>
                  </a:cubicBezTo>
                  <a:cubicBezTo>
                    <a:pt x="39" y="22"/>
                    <a:pt x="81" y="22"/>
                    <a:pt x="1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9" name="Google Shape;6116;p64">
              <a:extLst>
                <a:ext uri="{FF2B5EF4-FFF2-40B4-BE49-F238E27FC236}">
                  <a16:creationId xmlns:a16="http://schemas.microsoft.com/office/drawing/2014/main" id="{014059C3-99E8-09C1-1877-3F6894841022}"/>
                </a:ext>
              </a:extLst>
            </p:cNvPr>
            <p:cNvSpPr/>
            <p:nvPr/>
          </p:nvSpPr>
          <p:spPr>
            <a:xfrm>
              <a:off x="2088411" y="1639295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0" name="Google Shape;6117;p64">
              <a:extLst>
                <a:ext uri="{FF2B5EF4-FFF2-40B4-BE49-F238E27FC236}">
                  <a16:creationId xmlns:a16="http://schemas.microsoft.com/office/drawing/2014/main" id="{8CB567A0-3AA0-128F-746B-80CB57153CB8}"/>
                </a:ext>
              </a:extLst>
            </p:cNvPr>
            <p:cNvSpPr/>
            <p:nvPr/>
          </p:nvSpPr>
          <p:spPr>
            <a:xfrm>
              <a:off x="2088981" y="1639825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0"/>
                  </a:moveTo>
                  <a:cubicBezTo>
                    <a:pt x="8" y="4"/>
                    <a:pt x="15" y="7"/>
                    <a:pt x="22" y="11"/>
                  </a:cubicBezTo>
                  <a:cubicBezTo>
                    <a:pt x="15" y="7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1" name="Google Shape;6118;p64">
              <a:extLst>
                <a:ext uri="{FF2B5EF4-FFF2-40B4-BE49-F238E27FC236}">
                  <a16:creationId xmlns:a16="http://schemas.microsoft.com/office/drawing/2014/main" id="{EF89F605-C809-A829-AB06-AA0A73A20C17}"/>
                </a:ext>
              </a:extLst>
            </p:cNvPr>
            <p:cNvSpPr/>
            <p:nvPr/>
          </p:nvSpPr>
          <p:spPr>
            <a:xfrm>
              <a:off x="2090121" y="1640110"/>
              <a:ext cx="1589" cy="109"/>
            </a:xfrm>
            <a:custGeom>
              <a:avLst/>
              <a:gdLst/>
              <a:ahLst/>
              <a:cxnLst/>
              <a:rect l="l" t="t" r="r" b="b"/>
              <a:pathLst>
                <a:path w="117" h="8" extrusionOk="0">
                  <a:moveTo>
                    <a:pt x="81" y="0"/>
                  </a:moveTo>
                  <a:cubicBezTo>
                    <a:pt x="67" y="0"/>
                    <a:pt x="53" y="4"/>
                    <a:pt x="36" y="4"/>
                  </a:cubicBezTo>
                  <a:cubicBezTo>
                    <a:pt x="25" y="7"/>
                    <a:pt x="15" y="7"/>
                    <a:pt x="1" y="7"/>
                  </a:cubicBezTo>
                  <a:lnTo>
                    <a:pt x="39" y="7"/>
                  </a:lnTo>
                  <a:cubicBezTo>
                    <a:pt x="64" y="4"/>
                    <a:pt x="88" y="0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2" name="Google Shape;6119;p64">
              <a:extLst>
                <a:ext uri="{FF2B5EF4-FFF2-40B4-BE49-F238E27FC236}">
                  <a16:creationId xmlns:a16="http://schemas.microsoft.com/office/drawing/2014/main" id="{B1E35F87-28AF-E78A-3927-6BE121AAE3B9}"/>
                </a:ext>
              </a:extLst>
            </p:cNvPr>
            <p:cNvSpPr/>
            <p:nvPr/>
          </p:nvSpPr>
          <p:spPr>
            <a:xfrm>
              <a:off x="2088125" y="16389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0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3" name="Google Shape;6120;p64">
              <a:extLst>
                <a:ext uri="{FF2B5EF4-FFF2-40B4-BE49-F238E27FC236}">
                  <a16:creationId xmlns:a16="http://schemas.microsoft.com/office/drawing/2014/main" id="{A8B8F8E6-CE1E-7B99-5F71-2E7A69E22197}"/>
                </a:ext>
              </a:extLst>
            </p:cNvPr>
            <p:cNvSpPr/>
            <p:nvPr/>
          </p:nvSpPr>
          <p:spPr>
            <a:xfrm>
              <a:off x="2088696" y="163958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"/>
                  </a:moveTo>
                  <a:lnTo>
                    <a:pt x="18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4" name="Google Shape;6121;p64">
              <a:extLst>
                <a:ext uri="{FF2B5EF4-FFF2-40B4-BE49-F238E27FC236}">
                  <a16:creationId xmlns:a16="http://schemas.microsoft.com/office/drawing/2014/main" id="{DB79894C-3E8A-465A-BE04-FBE70A7F4466}"/>
                </a:ext>
              </a:extLst>
            </p:cNvPr>
            <p:cNvSpPr/>
            <p:nvPr/>
          </p:nvSpPr>
          <p:spPr>
            <a:xfrm>
              <a:off x="2091221" y="1640056"/>
              <a:ext cx="1100" cy="68"/>
            </a:xfrm>
            <a:custGeom>
              <a:avLst/>
              <a:gdLst/>
              <a:ahLst/>
              <a:cxnLst/>
              <a:rect l="l" t="t" r="r" b="b"/>
              <a:pathLst>
                <a:path w="81" h="5" extrusionOk="0">
                  <a:moveTo>
                    <a:pt x="81" y="1"/>
                  </a:moveTo>
                  <a:cubicBezTo>
                    <a:pt x="56" y="1"/>
                    <a:pt x="28" y="1"/>
                    <a:pt x="0" y="4"/>
                  </a:cubicBezTo>
                  <a:lnTo>
                    <a:pt x="35" y="4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5" name="Google Shape;6122;p64">
              <a:extLst>
                <a:ext uri="{FF2B5EF4-FFF2-40B4-BE49-F238E27FC236}">
                  <a16:creationId xmlns:a16="http://schemas.microsoft.com/office/drawing/2014/main" id="{FF7CDEDA-898F-3426-757A-1D40C645EF97}"/>
                </a:ext>
              </a:extLst>
            </p:cNvPr>
            <p:cNvSpPr/>
            <p:nvPr/>
          </p:nvSpPr>
          <p:spPr>
            <a:xfrm>
              <a:off x="2093923" y="1670524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6" name="Google Shape;6123;p64">
              <a:extLst>
                <a:ext uri="{FF2B5EF4-FFF2-40B4-BE49-F238E27FC236}">
                  <a16:creationId xmlns:a16="http://schemas.microsoft.com/office/drawing/2014/main" id="{F565D2D1-B1D8-1D53-EC98-6500EF114CBD}"/>
                </a:ext>
              </a:extLst>
            </p:cNvPr>
            <p:cNvSpPr/>
            <p:nvPr/>
          </p:nvSpPr>
          <p:spPr>
            <a:xfrm>
              <a:off x="2103767" y="1657068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4" y="1"/>
                  </a:moveTo>
                  <a:lnTo>
                    <a:pt x="9" y="18"/>
                  </a:lnTo>
                  <a:lnTo>
                    <a:pt x="9" y="18"/>
                  </a:lnTo>
                  <a:cubicBezTo>
                    <a:pt x="11" y="12"/>
                    <a:pt x="13" y="6"/>
                    <a:pt x="14" y="1"/>
                  </a:cubicBezTo>
                  <a:close/>
                  <a:moveTo>
                    <a:pt x="9" y="18"/>
                  </a:moveTo>
                  <a:cubicBezTo>
                    <a:pt x="6" y="24"/>
                    <a:pt x="4" y="29"/>
                    <a:pt x="0" y="32"/>
                  </a:cubicBezTo>
                  <a:cubicBezTo>
                    <a:pt x="4" y="29"/>
                    <a:pt x="7" y="25"/>
                    <a:pt x="7" y="22"/>
                  </a:cubicBezTo>
                  <a:lnTo>
                    <a:pt x="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7" name="Google Shape;6124;p64">
              <a:extLst>
                <a:ext uri="{FF2B5EF4-FFF2-40B4-BE49-F238E27FC236}">
                  <a16:creationId xmlns:a16="http://schemas.microsoft.com/office/drawing/2014/main" id="{66EE4189-305A-27EA-A66E-F7DFD82DCFBB}"/>
                </a:ext>
              </a:extLst>
            </p:cNvPr>
            <p:cNvSpPr/>
            <p:nvPr/>
          </p:nvSpPr>
          <p:spPr>
            <a:xfrm>
              <a:off x="2101676" y="165801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8" name="Google Shape;6125;p64">
              <a:extLst>
                <a:ext uri="{FF2B5EF4-FFF2-40B4-BE49-F238E27FC236}">
                  <a16:creationId xmlns:a16="http://schemas.microsoft.com/office/drawing/2014/main" id="{6293BFF7-D6C8-6678-9F4D-95E7CAE5DD1A}"/>
                </a:ext>
              </a:extLst>
            </p:cNvPr>
            <p:cNvSpPr/>
            <p:nvPr/>
          </p:nvSpPr>
          <p:spPr>
            <a:xfrm>
              <a:off x="2099585" y="1672289"/>
              <a:ext cx="502" cy="1385"/>
            </a:xfrm>
            <a:custGeom>
              <a:avLst/>
              <a:gdLst/>
              <a:ahLst/>
              <a:cxnLst/>
              <a:rect l="l" t="t" r="r" b="b"/>
              <a:pathLst>
                <a:path w="37" h="102" extrusionOk="0">
                  <a:moveTo>
                    <a:pt x="0" y="0"/>
                  </a:moveTo>
                  <a:lnTo>
                    <a:pt x="0" y="0"/>
                  </a:lnTo>
                  <a:cubicBezTo>
                    <a:pt x="24" y="26"/>
                    <a:pt x="36" y="41"/>
                    <a:pt x="37" y="62"/>
                  </a:cubicBezTo>
                  <a:lnTo>
                    <a:pt x="37" y="62"/>
                  </a:lnTo>
                  <a:cubicBezTo>
                    <a:pt x="37" y="40"/>
                    <a:pt x="24" y="26"/>
                    <a:pt x="0" y="0"/>
                  </a:cubicBezTo>
                  <a:close/>
                  <a:moveTo>
                    <a:pt x="37" y="62"/>
                  </a:moveTo>
                  <a:lnTo>
                    <a:pt x="37" y="62"/>
                  </a:lnTo>
                  <a:cubicBezTo>
                    <a:pt x="37" y="64"/>
                    <a:pt x="36" y="67"/>
                    <a:pt x="36" y="69"/>
                  </a:cubicBezTo>
                  <a:lnTo>
                    <a:pt x="36" y="69"/>
                  </a:lnTo>
                  <a:cubicBezTo>
                    <a:pt x="36" y="67"/>
                    <a:pt x="37" y="64"/>
                    <a:pt x="37" y="62"/>
                  </a:cubicBezTo>
                  <a:close/>
                  <a:moveTo>
                    <a:pt x="36" y="69"/>
                  </a:moveTo>
                  <a:cubicBezTo>
                    <a:pt x="35" y="77"/>
                    <a:pt x="33" y="87"/>
                    <a:pt x="28" y="98"/>
                  </a:cubicBezTo>
                  <a:lnTo>
                    <a:pt x="28" y="102"/>
                  </a:lnTo>
                  <a:cubicBezTo>
                    <a:pt x="33" y="89"/>
                    <a:pt x="35" y="78"/>
                    <a:pt x="36" y="6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9" name="Google Shape;6126;p64">
              <a:extLst>
                <a:ext uri="{FF2B5EF4-FFF2-40B4-BE49-F238E27FC236}">
                  <a16:creationId xmlns:a16="http://schemas.microsoft.com/office/drawing/2014/main" id="{9F88CE42-8321-11BE-95A4-BFEEE20FC8A3}"/>
                </a:ext>
              </a:extLst>
            </p:cNvPr>
            <p:cNvSpPr/>
            <p:nvPr/>
          </p:nvSpPr>
          <p:spPr>
            <a:xfrm>
              <a:off x="2101296" y="1658209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0" name="Google Shape;6127;p64">
              <a:extLst>
                <a:ext uri="{FF2B5EF4-FFF2-40B4-BE49-F238E27FC236}">
                  <a16:creationId xmlns:a16="http://schemas.microsoft.com/office/drawing/2014/main" id="{DCD5D6D2-167B-A46A-DF34-94C72BD9E896}"/>
                </a:ext>
              </a:extLst>
            </p:cNvPr>
            <p:cNvSpPr/>
            <p:nvPr/>
          </p:nvSpPr>
          <p:spPr>
            <a:xfrm>
              <a:off x="2100630" y="165868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1" name="Google Shape;6128;p64">
              <a:extLst>
                <a:ext uri="{FF2B5EF4-FFF2-40B4-BE49-F238E27FC236}">
                  <a16:creationId xmlns:a16="http://schemas.microsoft.com/office/drawing/2014/main" id="{619CA5B0-9892-AD21-4620-57423F76EF22}"/>
                </a:ext>
              </a:extLst>
            </p:cNvPr>
            <p:cNvSpPr/>
            <p:nvPr/>
          </p:nvSpPr>
          <p:spPr>
            <a:xfrm>
              <a:off x="2100956" y="1658453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2" name="Google Shape;6129;p64">
              <a:extLst>
                <a:ext uri="{FF2B5EF4-FFF2-40B4-BE49-F238E27FC236}">
                  <a16:creationId xmlns:a16="http://schemas.microsoft.com/office/drawing/2014/main" id="{8F0439F2-9D43-F14D-D5FC-59F6C14EBFF7}"/>
                </a:ext>
              </a:extLst>
            </p:cNvPr>
            <p:cNvSpPr/>
            <p:nvPr/>
          </p:nvSpPr>
          <p:spPr>
            <a:xfrm>
              <a:off x="2102056" y="1657829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3" name="Google Shape;6130;p64">
              <a:extLst>
                <a:ext uri="{FF2B5EF4-FFF2-40B4-BE49-F238E27FC236}">
                  <a16:creationId xmlns:a16="http://schemas.microsoft.com/office/drawing/2014/main" id="{47125725-7DA8-4F61-DDD7-5789E1B79A7A}"/>
                </a:ext>
              </a:extLst>
            </p:cNvPr>
            <p:cNvSpPr/>
            <p:nvPr/>
          </p:nvSpPr>
          <p:spPr>
            <a:xfrm>
              <a:off x="2103142" y="1657543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4" name="Google Shape;6131;p64">
              <a:extLst>
                <a:ext uri="{FF2B5EF4-FFF2-40B4-BE49-F238E27FC236}">
                  <a16:creationId xmlns:a16="http://schemas.microsoft.com/office/drawing/2014/main" id="{E422D3AD-3B60-E43E-2B02-74548ED642D3}"/>
                </a:ext>
              </a:extLst>
            </p:cNvPr>
            <p:cNvSpPr/>
            <p:nvPr/>
          </p:nvSpPr>
          <p:spPr>
            <a:xfrm>
              <a:off x="2102816" y="1657638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5" name="Google Shape;6132;p64">
              <a:extLst>
                <a:ext uri="{FF2B5EF4-FFF2-40B4-BE49-F238E27FC236}">
                  <a16:creationId xmlns:a16="http://schemas.microsoft.com/office/drawing/2014/main" id="{8BDA4457-6E39-0EB6-8D3E-755AB7A0BC8C}"/>
                </a:ext>
              </a:extLst>
            </p:cNvPr>
            <p:cNvSpPr/>
            <p:nvPr/>
          </p:nvSpPr>
          <p:spPr>
            <a:xfrm>
              <a:off x="2102436" y="1657733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6" name="Google Shape;6133;p64">
              <a:extLst>
                <a:ext uri="{FF2B5EF4-FFF2-40B4-BE49-F238E27FC236}">
                  <a16:creationId xmlns:a16="http://schemas.microsoft.com/office/drawing/2014/main" id="{85098331-2C78-A74C-B4F3-8455AFD57817}"/>
                </a:ext>
              </a:extLst>
            </p:cNvPr>
            <p:cNvSpPr/>
            <p:nvPr/>
          </p:nvSpPr>
          <p:spPr>
            <a:xfrm>
              <a:off x="2100345" y="165902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7" name="Google Shape;6134;p64">
              <a:extLst>
                <a:ext uri="{FF2B5EF4-FFF2-40B4-BE49-F238E27FC236}">
                  <a16:creationId xmlns:a16="http://schemas.microsoft.com/office/drawing/2014/main" id="{A0CED23F-E49B-C4F8-E01E-E0F261099314}"/>
                </a:ext>
              </a:extLst>
            </p:cNvPr>
            <p:cNvSpPr/>
            <p:nvPr/>
          </p:nvSpPr>
          <p:spPr>
            <a:xfrm>
              <a:off x="2099395" y="166030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8" name="Google Shape;6135;p64">
              <a:extLst>
                <a:ext uri="{FF2B5EF4-FFF2-40B4-BE49-F238E27FC236}">
                  <a16:creationId xmlns:a16="http://schemas.microsoft.com/office/drawing/2014/main" id="{0E7CC5AD-1051-65F0-277D-AF02D2FAEF4F}"/>
                </a:ext>
              </a:extLst>
            </p:cNvPr>
            <p:cNvSpPr/>
            <p:nvPr/>
          </p:nvSpPr>
          <p:spPr>
            <a:xfrm>
              <a:off x="2099585" y="165991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cubicBezTo>
                    <a:pt x="4" y="15"/>
                    <a:pt x="7" y="8"/>
                    <a:pt x="11" y="1"/>
                  </a:cubicBezTo>
                  <a:cubicBezTo>
                    <a:pt x="7" y="8"/>
                    <a:pt x="4" y="15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9" name="Google Shape;6136;p64">
              <a:extLst>
                <a:ext uri="{FF2B5EF4-FFF2-40B4-BE49-F238E27FC236}">
                  <a16:creationId xmlns:a16="http://schemas.microsoft.com/office/drawing/2014/main" id="{B8A85337-1FC8-ADA4-E427-AF5A8BF9110C}"/>
                </a:ext>
              </a:extLst>
            </p:cNvPr>
            <p:cNvSpPr/>
            <p:nvPr/>
          </p:nvSpPr>
          <p:spPr>
            <a:xfrm>
              <a:off x="2099245" y="1660639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21"/>
                  </a:moveTo>
                  <a:cubicBezTo>
                    <a:pt x="4" y="14"/>
                    <a:pt x="8" y="7"/>
                    <a:pt x="11" y="0"/>
                  </a:cubicBezTo>
                  <a:cubicBezTo>
                    <a:pt x="8" y="7"/>
                    <a:pt x="4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0" name="Google Shape;6137;p64">
              <a:extLst>
                <a:ext uri="{FF2B5EF4-FFF2-40B4-BE49-F238E27FC236}">
                  <a16:creationId xmlns:a16="http://schemas.microsoft.com/office/drawing/2014/main" id="{34BD8CDA-73D4-ED68-50B5-D349389CBE22}"/>
                </a:ext>
              </a:extLst>
            </p:cNvPr>
            <p:cNvSpPr/>
            <p:nvPr/>
          </p:nvSpPr>
          <p:spPr>
            <a:xfrm>
              <a:off x="2099150" y="1661019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1" y="25"/>
                  </a:moveTo>
                  <a:cubicBezTo>
                    <a:pt x="1" y="18"/>
                    <a:pt x="4" y="7"/>
                    <a:pt x="8" y="0"/>
                  </a:cubicBezTo>
                  <a:cubicBezTo>
                    <a:pt x="4" y="7"/>
                    <a:pt x="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1" name="Google Shape;6138;p64">
              <a:extLst>
                <a:ext uri="{FF2B5EF4-FFF2-40B4-BE49-F238E27FC236}">
                  <a16:creationId xmlns:a16="http://schemas.microsoft.com/office/drawing/2014/main" id="{27AB4EF6-0DEA-2F6A-3792-77DA754D110C}"/>
                </a:ext>
              </a:extLst>
            </p:cNvPr>
            <p:cNvSpPr/>
            <p:nvPr/>
          </p:nvSpPr>
          <p:spPr>
            <a:xfrm>
              <a:off x="2094018" y="1670958"/>
              <a:ext cx="543" cy="584"/>
            </a:xfrm>
            <a:custGeom>
              <a:avLst/>
              <a:gdLst/>
              <a:ahLst/>
              <a:cxnLst/>
              <a:rect l="l" t="t" r="r" b="b"/>
              <a:pathLst>
                <a:path w="40" h="43" extrusionOk="0">
                  <a:moveTo>
                    <a:pt x="1" y="0"/>
                  </a:moveTo>
                  <a:cubicBezTo>
                    <a:pt x="11" y="18"/>
                    <a:pt x="22" y="32"/>
                    <a:pt x="39" y="42"/>
                  </a:cubicBezTo>
                  <a:cubicBezTo>
                    <a:pt x="22" y="32"/>
                    <a:pt x="11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2" name="Google Shape;6139;p64">
              <a:extLst>
                <a:ext uri="{FF2B5EF4-FFF2-40B4-BE49-F238E27FC236}">
                  <a16:creationId xmlns:a16="http://schemas.microsoft.com/office/drawing/2014/main" id="{ED2CC524-FBBA-6A09-9986-5CDC27C40209}"/>
                </a:ext>
              </a:extLst>
            </p:cNvPr>
            <p:cNvSpPr/>
            <p:nvPr/>
          </p:nvSpPr>
          <p:spPr>
            <a:xfrm>
              <a:off x="2100060" y="165930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18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3" name="Google Shape;6140;p64">
              <a:extLst>
                <a:ext uri="{FF2B5EF4-FFF2-40B4-BE49-F238E27FC236}">
                  <a16:creationId xmlns:a16="http://schemas.microsoft.com/office/drawing/2014/main" id="{FF2A8DC5-BF35-AAC7-77EE-1D44C6C93B0C}"/>
                </a:ext>
              </a:extLst>
            </p:cNvPr>
            <p:cNvSpPr/>
            <p:nvPr/>
          </p:nvSpPr>
          <p:spPr>
            <a:xfrm>
              <a:off x="2099816" y="1659594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1" y="0"/>
                  </a:moveTo>
                  <a:lnTo>
                    <a:pt x="11" y="0"/>
                  </a:lnTo>
                  <a:cubicBezTo>
                    <a:pt x="8" y="7"/>
                    <a:pt x="4" y="14"/>
                    <a:pt x="1" y="21"/>
                  </a:cubicBezTo>
                  <a:cubicBezTo>
                    <a:pt x="4" y="14"/>
                    <a:pt x="11" y="7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4" name="Google Shape;6141;p64">
              <a:extLst>
                <a:ext uri="{FF2B5EF4-FFF2-40B4-BE49-F238E27FC236}">
                  <a16:creationId xmlns:a16="http://schemas.microsoft.com/office/drawing/2014/main" id="{DEDF687D-BA60-8537-8FF9-FC09E2C17612}"/>
                </a:ext>
              </a:extLst>
            </p:cNvPr>
            <p:cNvSpPr/>
            <p:nvPr/>
          </p:nvSpPr>
          <p:spPr>
            <a:xfrm>
              <a:off x="2096299" y="1640626"/>
              <a:ext cx="1113" cy="489"/>
            </a:xfrm>
            <a:custGeom>
              <a:avLst/>
              <a:gdLst/>
              <a:ahLst/>
              <a:cxnLst/>
              <a:rect l="l" t="t" r="r" b="b"/>
              <a:pathLst>
                <a:path w="82" h="36" extrusionOk="0">
                  <a:moveTo>
                    <a:pt x="1" y="1"/>
                  </a:moveTo>
                  <a:lnTo>
                    <a:pt x="15" y="4"/>
                  </a:lnTo>
                  <a:lnTo>
                    <a:pt x="15" y="4"/>
                  </a:lnTo>
                  <a:cubicBezTo>
                    <a:pt x="10" y="3"/>
                    <a:pt x="5" y="2"/>
                    <a:pt x="1" y="1"/>
                  </a:cubicBezTo>
                  <a:close/>
                  <a:moveTo>
                    <a:pt x="15" y="4"/>
                  </a:moveTo>
                  <a:cubicBezTo>
                    <a:pt x="38" y="11"/>
                    <a:pt x="61" y="21"/>
                    <a:pt x="81" y="36"/>
                  </a:cubicBezTo>
                  <a:cubicBezTo>
                    <a:pt x="71" y="25"/>
                    <a:pt x="53" y="15"/>
                    <a:pt x="39" y="11"/>
                  </a:cubicBez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5" name="Google Shape;6142;p64">
              <a:extLst>
                <a:ext uri="{FF2B5EF4-FFF2-40B4-BE49-F238E27FC236}">
                  <a16:creationId xmlns:a16="http://schemas.microsoft.com/office/drawing/2014/main" id="{6FFAAF2A-8D1B-C396-FC8E-0EC7D48C3804}"/>
                </a:ext>
              </a:extLst>
            </p:cNvPr>
            <p:cNvSpPr/>
            <p:nvPr/>
          </p:nvSpPr>
          <p:spPr>
            <a:xfrm>
              <a:off x="2103957" y="1654937"/>
              <a:ext cx="299" cy="2145"/>
            </a:xfrm>
            <a:custGeom>
              <a:avLst/>
              <a:gdLst/>
              <a:ahLst/>
              <a:cxnLst/>
              <a:rect l="l" t="t" r="r" b="b"/>
              <a:pathLst>
                <a:path w="22" h="158" extrusionOk="0">
                  <a:moveTo>
                    <a:pt x="21" y="0"/>
                  </a:moveTo>
                  <a:lnTo>
                    <a:pt x="21" y="0"/>
                  </a:lnTo>
                  <a:cubicBezTo>
                    <a:pt x="20" y="15"/>
                    <a:pt x="19" y="32"/>
                    <a:pt x="17" y="50"/>
                  </a:cubicBezTo>
                  <a:lnTo>
                    <a:pt x="17" y="50"/>
                  </a:lnTo>
                  <a:cubicBezTo>
                    <a:pt x="19" y="33"/>
                    <a:pt x="20" y="17"/>
                    <a:pt x="21" y="0"/>
                  </a:cubicBezTo>
                  <a:close/>
                  <a:moveTo>
                    <a:pt x="17" y="50"/>
                  </a:moveTo>
                  <a:lnTo>
                    <a:pt x="17" y="50"/>
                  </a:lnTo>
                  <a:cubicBezTo>
                    <a:pt x="13" y="86"/>
                    <a:pt x="8" y="122"/>
                    <a:pt x="0" y="158"/>
                  </a:cubicBezTo>
                  <a:lnTo>
                    <a:pt x="4" y="140"/>
                  </a:lnTo>
                  <a:cubicBezTo>
                    <a:pt x="10" y="112"/>
                    <a:pt x="14" y="79"/>
                    <a:pt x="17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6" name="Google Shape;6143;p64">
              <a:extLst>
                <a:ext uri="{FF2B5EF4-FFF2-40B4-BE49-F238E27FC236}">
                  <a16:creationId xmlns:a16="http://schemas.microsoft.com/office/drawing/2014/main" id="{529DDD98-D5A7-792B-B683-65335A82F15A}"/>
                </a:ext>
              </a:extLst>
            </p:cNvPr>
            <p:cNvSpPr/>
            <p:nvPr/>
          </p:nvSpPr>
          <p:spPr>
            <a:xfrm>
              <a:off x="2105138" y="1644577"/>
              <a:ext cx="1969" cy="625"/>
            </a:xfrm>
            <a:custGeom>
              <a:avLst/>
              <a:gdLst/>
              <a:ahLst/>
              <a:cxnLst/>
              <a:rect l="l" t="t" r="r" b="b"/>
              <a:pathLst>
                <a:path w="145" h="46" extrusionOk="0">
                  <a:moveTo>
                    <a:pt x="1" y="0"/>
                  </a:moveTo>
                  <a:cubicBezTo>
                    <a:pt x="43" y="32"/>
                    <a:pt x="92" y="46"/>
                    <a:pt x="144" y="42"/>
                  </a:cubicBezTo>
                  <a:lnTo>
                    <a:pt x="144" y="42"/>
                  </a:lnTo>
                  <a:cubicBezTo>
                    <a:pt x="92" y="46"/>
                    <a:pt x="43" y="32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7" name="Google Shape;6144;p64">
              <a:extLst>
                <a:ext uri="{FF2B5EF4-FFF2-40B4-BE49-F238E27FC236}">
                  <a16:creationId xmlns:a16="http://schemas.microsoft.com/office/drawing/2014/main" id="{F7813648-C59A-2842-2162-B05475C6EDE6}"/>
                </a:ext>
              </a:extLst>
            </p:cNvPr>
            <p:cNvSpPr/>
            <p:nvPr/>
          </p:nvSpPr>
          <p:spPr>
            <a:xfrm>
              <a:off x="2095824" y="1640490"/>
              <a:ext cx="1018" cy="299"/>
            </a:xfrm>
            <a:custGeom>
              <a:avLst/>
              <a:gdLst/>
              <a:ahLst/>
              <a:cxnLst/>
              <a:rect l="l" t="t" r="r" b="b"/>
              <a:pathLst>
                <a:path w="75" h="22" extrusionOk="0">
                  <a:moveTo>
                    <a:pt x="1" y="0"/>
                  </a:moveTo>
                  <a:lnTo>
                    <a:pt x="36" y="11"/>
                  </a:lnTo>
                  <a:lnTo>
                    <a:pt x="74" y="21"/>
                  </a:lnTo>
                  <a:cubicBezTo>
                    <a:pt x="53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8" name="Google Shape;6145;p64">
              <a:extLst>
                <a:ext uri="{FF2B5EF4-FFF2-40B4-BE49-F238E27FC236}">
                  <a16:creationId xmlns:a16="http://schemas.microsoft.com/office/drawing/2014/main" id="{3986D201-B24B-E5E6-2FDC-195920666F52}"/>
                </a:ext>
              </a:extLst>
            </p:cNvPr>
            <p:cNvSpPr/>
            <p:nvPr/>
          </p:nvSpPr>
          <p:spPr>
            <a:xfrm>
              <a:off x="2103862" y="165683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lnTo>
                    <a:pt x="7" y="18"/>
                  </a:lnTo>
                  <a:lnTo>
                    <a:pt x="5" y="24"/>
                  </a:lnTo>
                  <a:lnTo>
                    <a:pt x="5" y="24"/>
                  </a:lnTo>
                  <a:cubicBezTo>
                    <a:pt x="8" y="16"/>
                    <a:pt x="11" y="9"/>
                    <a:pt x="11" y="0"/>
                  </a:cubicBezTo>
                  <a:close/>
                  <a:moveTo>
                    <a:pt x="5" y="24"/>
                  </a:moveTo>
                  <a:lnTo>
                    <a:pt x="5" y="24"/>
                  </a:lnTo>
                  <a:cubicBezTo>
                    <a:pt x="4" y="29"/>
                    <a:pt x="2" y="33"/>
                    <a:pt x="0" y="39"/>
                  </a:cubicBezTo>
                  <a:lnTo>
                    <a:pt x="5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9" name="Google Shape;6146;p64">
              <a:extLst>
                <a:ext uri="{FF2B5EF4-FFF2-40B4-BE49-F238E27FC236}">
                  <a16:creationId xmlns:a16="http://schemas.microsoft.com/office/drawing/2014/main" id="{5A3B5D1F-539A-8A83-4150-65A17E1B9C12}"/>
                </a:ext>
              </a:extLst>
            </p:cNvPr>
            <p:cNvSpPr/>
            <p:nvPr/>
          </p:nvSpPr>
          <p:spPr>
            <a:xfrm>
              <a:off x="1375130" y="1936371"/>
              <a:ext cx="14704" cy="7522"/>
            </a:xfrm>
            <a:custGeom>
              <a:avLst/>
              <a:gdLst/>
              <a:ahLst/>
              <a:cxnLst/>
              <a:rect l="l" t="t" r="r" b="b"/>
              <a:pathLst>
                <a:path w="1083" h="554" extrusionOk="0">
                  <a:moveTo>
                    <a:pt x="302" y="1"/>
                  </a:moveTo>
                  <a:cubicBezTo>
                    <a:pt x="291" y="1"/>
                    <a:pt x="232" y="32"/>
                    <a:pt x="1" y="249"/>
                  </a:cubicBezTo>
                  <a:cubicBezTo>
                    <a:pt x="239" y="382"/>
                    <a:pt x="806" y="554"/>
                    <a:pt x="960" y="554"/>
                  </a:cubicBezTo>
                  <a:cubicBezTo>
                    <a:pt x="1002" y="554"/>
                    <a:pt x="1041" y="540"/>
                    <a:pt x="1072" y="512"/>
                  </a:cubicBezTo>
                  <a:lnTo>
                    <a:pt x="1072" y="501"/>
                  </a:lnTo>
                  <a:lnTo>
                    <a:pt x="1076" y="480"/>
                  </a:lnTo>
                  <a:lnTo>
                    <a:pt x="1079" y="459"/>
                  </a:lnTo>
                  <a:lnTo>
                    <a:pt x="1079" y="442"/>
                  </a:lnTo>
                  <a:lnTo>
                    <a:pt x="1083" y="421"/>
                  </a:lnTo>
                  <a:lnTo>
                    <a:pt x="1083" y="407"/>
                  </a:lnTo>
                  <a:lnTo>
                    <a:pt x="1083" y="389"/>
                  </a:lnTo>
                  <a:lnTo>
                    <a:pt x="1083" y="375"/>
                  </a:lnTo>
                  <a:lnTo>
                    <a:pt x="1083" y="358"/>
                  </a:lnTo>
                  <a:lnTo>
                    <a:pt x="1083" y="351"/>
                  </a:lnTo>
                  <a:lnTo>
                    <a:pt x="1083" y="333"/>
                  </a:lnTo>
                  <a:lnTo>
                    <a:pt x="1083" y="326"/>
                  </a:lnTo>
                  <a:lnTo>
                    <a:pt x="1083" y="309"/>
                  </a:lnTo>
                  <a:lnTo>
                    <a:pt x="1083" y="305"/>
                  </a:lnTo>
                  <a:lnTo>
                    <a:pt x="1083" y="288"/>
                  </a:lnTo>
                  <a:lnTo>
                    <a:pt x="1083" y="260"/>
                  </a:lnTo>
                  <a:lnTo>
                    <a:pt x="1083" y="253"/>
                  </a:lnTo>
                  <a:lnTo>
                    <a:pt x="1083" y="246"/>
                  </a:lnTo>
                  <a:lnTo>
                    <a:pt x="1083" y="242"/>
                  </a:lnTo>
                  <a:lnTo>
                    <a:pt x="1083" y="239"/>
                  </a:lnTo>
                  <a:lnTo>
                    <a:pt x="1083" y="235"/>
                  </a:lnTo>
                  <a:cubicBezTo>
                    <a:pt x="1069" y="218"/>
                    <a:pt x="1048" y="211"/>
                    <a:pt x="1027" y="207"/>
                  </a:cubicBezTo>
                  <a:cubicBezTo>
                    <a:pt x="992" y="204"/>
                    <a:pt x="957" y="204"/>
                    <a:pt x="922" y="204"/>
                  </a:cubicBezTo>
                  <a:cubicBezTo>
                    <a:pt x="813" y="204"/>
                    <a:pt x="656" y="204"/>
                    <a:pt x="501" y="99"/>
                  </a:cubicBezTo>
                  <a:cubicBezTo>
                    <a:pt x="487" y="88"/>
                    <a:pt x="473" y="81"/>
                    <a:pt x="459" y="71"/>
                  </a:cubicBezTo>
                  <a:lnTo>
                    <a:pt x="442" y="64"/>
                  </a:lnTo>
                  <a:lnTo>
                    <a:pt x="407" y="46"/>
                  </a:lnTo>
                  <a:lnTo>
                    <a:pt x="386" y="36"/>
                  </a:lnTo>
                  <a:lnTo>
                    <a:pt x="351" y="22"/>
                  </a:lnTo>
                  <a:lnTo>
                    <a:pt x="326" y="8"/>
                  </a:lnTo>
                  <a:lnTo>
                    <a:pt x="3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0" name="Google Shape;6147;p64">
              <a:extLst>
                <a:ext uri="{FF2B5EF4-FFF2-40B4-BE49-F238E27FC236}">
                  <a16:creationId xmlns:a16="http://schemas.microsoft.com/office/drawing/2014/main" id="{AD659AEE-0DC9-7B17-CA8F-041A0F646320}"/>
                </a:ext>
              </a:extLst>
            </p:cNvPr>
            <p:cNvSpPr/>
            <p:nvPr/>
          </p:nvSpPr>
          <p:spPr>
            <a:xfrm>
              <a:off x="1380643" y="1923581"/>
              <a:ext cx="42986" cy="21887"/>
            </a:xfrm>
            <a:custGeom>
              <a:avLst/>
              <a:gdLst/>
              <a:ahLst/>
              <a:cxnLst/>
              <a:rect l="l" t="t" r="r" b="b"/>
              <a:pathLst>
                <a:path w="3166" h="1612" extrusionOk="0">
                  <a:moveTo>
                    <a:pt x="2152" y="1"/>
                  </a:moveTo>
                  <a:cubicBezTo>
                    <a:pt x="1913" y="1"/>
                    <a:pt x="1654" y="70"/>
                    <a:pt x="1496" y="131"/>
                  </a:cubicBezTo>
                  <a:cubicBezTo>
                    <a:pt x="1422" y="160"/>
                    <a:pt x="1346" y="171"/>
                    <a:pt x="1270" y="171"/>
                  </a:cubicBezTo>
                  <a:cubicBezTo>
                    <a:pt x="1184" y="171"/>
                    <a:pt x="1098" y="158"/>
                    <a:pt x="1013" y="145"/>
                  </a:cubicBezTo>
                  <a:cubicBezTo>
                    <a:pt x="928" y="132"/>
                    <a:pt x="845" y="120"/>
                    <a:pt x="765" y="120"/>
                  </a:cubicBezTo>
                  <a:cubicBezTo>
                    <a:pt x="670" y="120"/>
                    <a:pt x="577" y="137"/>
                    <a:pt x="488" y="190"/>
                  </a:cubicBezTo>
                  <a:lnTo>
                    <a:pt x="484" y="190"/>
                  </a:lnTo>
                  <a:cubicBezTo>
                    <a:pt x="474" y="204"/>
                    <a:pt x="460" y="218"/>
                    <a:pt x="446" y="236"/>
                  </a:cubicBezTo>
                  <a:cubicBezTo>
                    <a:pt x="435" y="250"/>
                    <a:pt x="425" y="260"/>
                    <a:pt x="414" y="271"/>
                  </a:cubicBezTo>
                  <a:cubicBezTo>
                    <a:pt x="404" y="285"/>
                    <a:pt x="386" y="306"/>
                    <a:pt x="369" y="323"/>
                  </a:cubicBezTo>
                  <a:cubicBezTo>
                    <a:pt x="358" y="334"/>
                    <a:pt x="351" y="344"/>
                    <a:pt x="341" y="355"/>
                  </a:cubicBezTo>
                  <a:cubicBezTo>
                    <a:pt x="323" y="372"/>
                    <a:pt x="306" y="386"/>
                    <a:pt x="288" y="404"/>
                  </a:cubicBezTo>
                  <a:lnTo>
                    <a:pt x="264" y="428"/>
                  </a:lnTo>
                  <a:cubicBezTo>
                    <a:pt x="239" y="449"/>
                    <a:pt x="215" y="470"/>
                    <a:pt x="190" y="491"/>
                  </a:cubicBezTo>
                  <a:cubicBezTo>
                    <a:pt x="102" y="561"/>
                    <a:pt x="39" y="659"/>
                    <a:pt x="18" y="768"/>
                  </a:cubicBezTo>
                  <a:cubicBezTo>
                    <a:pt x="15" y="792"/>
                    <a:pt x="8" y="813"/>
                    <a:pt x="1" y="834"/>
                  </a:cubicBezTo>
                  <a:cubicBezTo>
                    <a:pt x="22" y="841"/>
                    <a:pt x="39" y="852"/>
                    <a:pt x="57" y="859"/>
                  </a:cubicBezTo>
                  <a:lnTo>
                    <a:pt x="71" y="866"/>
                  </a:lnTo>
                  <a:lnTo>
                    <a:pt x="113" y="890"/>
                  </a:lnTo>
                  <a:lnTo>
                    <a:pt x="127" y="897"/>
                  </a:lnTo>
                  <a:cubicBezTo>
                    <a:pt x="144" y="908"/>
                    <a:pt x="158" y="915"/>
                    <a:pt x="172" y="925"/>
                  </a:cubicBezTo>
                  <a:cubicBezTo>
                    <a:pt x="295" y="1009"/>
                    <a:pt x="414" y="1009"/>
                    <a:pt x="519" y="1009"/>
                  </a:cubicBezTo>
                  <a:cubicBezTo>
                    <a:pt x="628" y="1009"/>
                    <a:pt x="722" y="1009"/>
                    <a:pt x="785" y="1097"/>
                  </a:cubicBezTo>
                  <a:lnTo>
                    <a:pt x="792" y="1104"/>
                  </a:lnTo>
                  <a:lnTo>
                    <a:pt x="792" y="1107"/>
                  </a:lnTo>
                  <a:lnTo>
                    <a:pt x="796" y="1111"/>
                  </a:lnTo>
                  <a:lnTo>
                    <a:pt x="796" y="1114"/>
                  </a:lnTo>
                  <a:lnTo>
                    <a:pt x="799" y="1121"/>
                  </a:lnTo>
                  <a:lnTo>
                    <a:pt x="799" y="1125"/>
                  </a:lnTo>
                  <a:lnTo>
                    <a:pt x="803" y="1135"/>
                  </a:lnTo>
                  <a:lnTo>
                    <a:pt x="803" y="1139"/>
                  </a:lnTo>
                  <a:lnTo>
                    <a:pt x="803" y="1149"/>
                  </a:lnTo>
                  <a:lnTo>
                    <a:pt x="803" y="1153"/>
                  </a:lnTo>
                  <a:cubicBezTo>
                    <a:pt x="803" y="1156"/>
                    <a:pt x="803" y="1160"/>
                    <a:pt x="806" y="1167"/>
                  </a:cubicBezTo>
                  <a:lnTo>
                    <a:pt x="806" y="1170"/>
                  </a:lnTo>
                  <a:lnTo>
                    <a:pt x="806" y="1184"/>
                  </a:lnTo>
                  <a:lnTo>
                    <a:pt x="806" y="1191"/>
                  </a:lnTo>
                  <a:lnTo>
                    <a:pt x="806" y="1202"/>
                  </a:lnTo>
                  <a:lnTo>
                    <a:pt x="806" y="1212"/>
                  </a:lnTo>
                  <a:lnTo>
                    <a:pt x="806" y="1226"/>
                  </a:lnTo>
                  <a:lnTo>
                    <a:pt x="806" y="1233"/>
                  </a:lnTo>
                  <a:lnTo>
                    <a:pt x="806" y="1251"/>
                  </a:lnTo>
                  <a:lnTo>
                    <a:pt x="806" y="1261"/>
                  </a:lnTo>
                  <a:lnTo>
                    <a:pt x="806" y="1282"/>
                  </a:lnTo>
                  <a:lnTo>
                    <a:pt x="806" y="1289"/>
                  </a:lnTo>
                  <a:lnTo>
                    <a:pt x="806" y="1321"/>
                  </a:lnTo>
                  <a:lnTo>
                    <a:pt x="806" y="1331"/>
                  </a:lnTo>
                  <a:cubicBezTo>
                    <a:pt x="806" y="1338"/>
                    <a:pt x="806" y="1349"/>
                    <a:pt x="806" y="1356"/>
                  </a:cubicBezTo>
                  <a:lnTo>
                    <a:pt x="806" y="1370"/>
                  </a:lnTo>
                  <a:lnTo>
                    <a:pt x="806" y="1387"/>
                  </a:lnTo>
                  <a:cubicBezTo>
                    <a:pt x="852" y="1391"/>
                    <a:pt x="894" y="1408"/>
                    <a:pt x="929" y="1440"/>
                  </a:cubicBezTo>
                  <a:cubicBezTo>
                    <a:pt x="981" y="1482"/>
                    <a:pt x="1009" y="1545"/>
                    <a:pt x="1009" y="1611"/>
                  </a:cubicBezTo>
                  <a:lnTo>
                    <a:pt x="1111" y="1590"/>
                  </a:lnTo>
                  <a:cubicBezTo>
                    <a:pt x="1156" y="1555"/>
                    <a:pt x="1198" y="1517"/>
                    <a:pt x="1240" y="1475"/>
                  </a:cubicBezTo>
                  <a:cubicBezTo>
                    <a:pt x="1240" y="1468"/>
                    <a:pt x="1233" y="1454"/>
                    <a:pt x="1233" y="1443"/>
                  </a:cubicBezTo>
                  <a:cubicBezTo>
                    <a:pt x="1216" y="1377"/>
                    <a:pt x="1195" y="1272"/>
                    <a:pt x="1254" y="1191"/>
                  </a:cubicBezTo>
                  <a:cubicBezTo>
                    <a:pt x="1300" y="1132"/>
                    <a:pt x="1370" y="1104"/>
                    <a:pt x="1475" y="1093"/>
                  </a:cubicBezTo>
                  <a:cubicBezTo>
                    <a:pt x="1804" y="1069"/>
                    <a:pt x="1979" y="1030"/>
                    <a:pt x="2014" y="887"/>
                  </a:cubicBezTo>
                  <a:cubicBezTo>
                    <a:pt x="2047" y="737"/>
                    <a:pt x="2199" y="707"/>
                    <a:pt x="2342" y="707"/>
                  </a:cubicBezTo>
                  <a:cubicBezTo>
                    <a:pt x="2396" y="707"/>
                    <a:pt x="2449" y="711"/>
                    <a:pt x="2494" y="715"/>
                  </a:cubicBezTo>
                  <a:cubicBezTo>
                    <a:pt x="2529" y="719"/>
                    <a:pt x="2560" y="719"/>
                    <a:pt x="2595" y="719"/>
                  </a:cubicBezTo>
                  <a:cubicBezTo>
                    <a:pt x="2637" y="701"/>
                    <a:pt x="2676" y="680"/>
                    <a:pt x="2711" y="656"/>
                  </a:cubicBezTo>
                  <a:cubicBezTo>
                    <a:pt x="2826" y="586"/>
                    <a:pt x="2991" y="484"/>
                    <a:pt x="3166" y="463"/>
                  </a:cubicBezTo>
                  <a:cubicBezTo>
                    <a:pt x="3148" y="418"/>
                    <a:pt x="3089" y="390"/>
                    <a:pt x="2970" y="351"/>
                  </a:cubicBezTo>
                  <a:cubicBezTo>
                    <a:pt x="2854" y="309"/>
                    <a:pt x="2711" y="264"/>
                    <a:pt x="2592" y="141"/>
                  </a:cubicBezTo>
                  <a:cubicBezTo>
                    <a:pt x="2488" y="38"/>
                    <a:pt x="2326" y="1"/>
                    <a:pt x="21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1" name="Google Shape;6148;p64">
              <a:extLst>
                <a:ext uri="{FF2B5EF4-FFF2-40B4-BE49-F238E27FC236}">
                  <a16:creationId xmlns:a16="http://schemas.microsoft.com/office/drawing/2014/main" id="{A5933FE7-CF86-D809-8318-3BC2356BEF6E}"/>
                </a:ext>
              </a:extLst>
            </p:cNvPr>
            <p:cNvSpPr/>
            <p:nvPr/>
          </p:nvSpPr>
          <p:spPr>
            <a:xfrm>
              <a:off x="1391722" y="194055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4" y="4"/>
                    <a:pt x="4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2" name="Google Shape;6149;p64">
              <a:extLst>
                <a:ext uri="{FF2B5EF4-FFF2-40B4-BE49-F238E27FC236}">
                  <a16:creationId xmlns:a16="http://schemas.microsoft.com/office/drawing/2014/main" id="{FD89AFA4-6FA9-48EA-CEAE-97ECB83A8EDF}"/>
                </a:ext>
              </a:extLst>
            </p:cNvPr>
            <p:cNvSpPr/>
            <p:nvPr/>
          </p:nvSpPr>
          <p:spPr>
            <a:xfrm>
              <a:off x="1391722" y="194150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3" name="Google Shape;6150;p64">
              <a:extLst>
                <a:ext uri="{FF2B5EF4-FFF2-40B4-BE49-F238E27FC236}">
                  <a16:creationId xmlns:a16="http://schemas.microsoft.com/office/drawing/2014/main" id="{ECFDFBF8-CD59-69D9-95AA-6D8F81FEE57A}"/>
                </a:ext>
              </a:extLst>
            </p:cNvPr>
            <p:cNvSpPr/>
            <p:nvPr/>
          </p:nvSpPr>
          <p:spPr>
            <a:xfrm>
              <a:off x="1391722" y="1940933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1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4" name="Google Shape;6151;p64">
              <a:extLst>
                <a:ext uri="{FF2B5EF4-FFF2-40B4-BE49-F238E27FC236}">
                  <a16:creationId xmlns:a16="http://schemas.microsoft.com/office/drawing/2014/main" id="{D69BA455-12B9-97E9-00BD-484A70AB3961}"/>
                </a:ext>
              </a:extLst>
            </p:cNvPr>
            <p:cNvSpPr/>
            <p:nvPr/>
          </p:nvSpPr>
          <p:spPr>
            <a:xfrm>
              <a:off x="1391586" y="193893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5" name="Google Shape;6152;p64">
              <a:extLst>
                <a:ext uri="{FF2B5EF4-FFF2-40B4-BE49-F238E27FC236}">
                  <a16:creationId xmlns:a16="http://schemas.microsoft.com/office/drawing/2014/main" id="{330FE13B-21A3-5C11-08B9-025C6EB9781F}"/>
                </a:ext>
              </a:extLst>
            </p:cNvPr>
            <p:cNvSpPr/>
            <p:nvPr/>
          </p:nvSpPr>
          <p:spPr>
            <a:xfrm>
              <a:off x="1381403" y="1935230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6" name="Google Shape;6153;p64">
              <a:extLst>
                <a:ext uri="{FF2B5EF4-FFF2-40B4-BE49-F238E27FC236}">
                  <a16:creationId xmlns:a16="http://schemas.microsoft.com/office/drawing/2014/main" id="{BABFFE24-B8D7-9BEA-B5BC-EB33FA452101}"/>
                </a:ext>
              </a:extLst>
            </p:cNvPr>
            <p:cNvSpPr/>
            <p:nvPr/>
          </p:nvSpPr>
          <p:spPr>
            <a:xfrm>
              <a:off x="1391396" y="19385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7" name="Google Shape;6154;p64">
              <a:extLst>
                <a:ext uri="{FF2B5EF4-FFF2-40B4-BE49-F238E27FC236}">
                  <a16:creationId xmlns:a16="http://schemas.microsoft.com/office/drawing/2014/main" id="{16C060F0-C1D8-DC4E-0BC7-6101B6F90202}"/>
                </a:ext>
              </a:extLst>
            </p:cNvPr>
            <p:cNvSpPr/>
            <p:nvPr/>
          </p:nvSpPr>
          <p:spPr>
            <a:xfrm>
              <a:off x="1382163" y="193566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8" name="Google Shape;6155;p64">
              <a:extLst>
                <a:ext uri="{FF2B5EF4-FFF2-40B4-BE49-F238E27FC236}">
                  <a16:creationId xmlns:a16="http://schemas.microsoft.com/office/drawing/2014/main" id="{DB0B240A-4450-15F7-9290-FED72C66D483}"/>
                </a:ext>
              </a:extLst>
            </p:cNvPr>
            <p:cNvSpPr/>
            <p:nvPr/>
          </p:nvSpPr>
          <p:spPr>
            <a:xfrm>
              <a:off x="1391722" y="194017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4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9" name="Google Shape;6156;p64">
              <a:extLst>
                <a:ext uri="{FF2B5EF4-FFF2-40B4-BE49-F238E27FC236}">
                  <a16:creationId xmlns:a16="http://schemas.microsoft.com/office/drawing/2014/main" id="{DD8BF079-87F9-4425-636E-B0F509CDDE82}"/>
                </a:ext>
              </a:extLst>
            </p:cNvPr>
            <p:cNvSpPr/>
            <p:nvPr/>
          </p:nvSpPr>
          <p:spPr>
            <a:xfrm>
              <a:off x="1391627" y="194197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0" name="Google Shape;6157;p64">
              <a:extLst>
                <a:ext uri="{FF2B5EF4-FFF2-40B4-BE49-F238E27FC236}">
                  <a16:creationId xmlns:a16="http://schemas.microsoft.com/office/drawing/2014/main" id="{69126FA8-AE76-FE24-75E7-D7E21EFE232F}"/>
                </a:ext>
              </a:extLst>
            </p:cNvPr>
            <p:cNvSpPr/>
            <p:nvPr/>
          </p:nvSpPr>
          <p:spPr>
            <a:xfrm>
              <a:off x="1391722" y="19396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1" name="Google Shape;6158;p64">
              <a:extLst>
                <a:ext uri="{FF2B5EF4-FFF2-40B4-BE49-F238E27FC236}">
                  <a16:creationId xmlns:a16="http://schemas.microsoft.com/office/drawing/2014/main" id="{04678D28-6691-AB3F-3B4E-04688DD221EA}"/>
                </a:ext>
              </a:extLst>
            </p:cNvPr>
            <p:cNvSpPr/>
            <p:nvPr/>
          </p:nvSpPr>
          <p:spPr>
            <a:xfrm>
              <a:off x="1391722" y="19399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2" name="Google Shape;6159;p64">
              <a:extLst>
                <a:ext uri="{FF2B5EF4-FFF2-40B4-BE49-F238E27FC236}">
                  <a16:creationId xmlns:a16="http://schemas.microsoft.com/office/drawing/2014/main" id="{23CE3972-E39F-2CF4-0099-DE4E8115CF89}"/>
                </a:ext>
              </a:extLst>
            </p:cNvPr>
            <p:cNvSpPr/>
            <p:nvPr/>
          </p:nvSpPr>
          <p:spPr>
            <a:xfrm>
              <a:off x="1391722" y="19394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3" name="Google Shape;6160;p64">
              <a:extLst>
                <a:ext uri="{FF2B5EF4-FFF2-40B4-BE49-F238E27FC236}">
                  <a16:creationId xmlns:a16="http://schemas.microsoft.com/office/drawing/2014/main" id="{20215627-9FD8-2121-1D12-4BA945E8F1B2}"/>
                </a:ext>
              </a:extLst>
            </p:cNvPr>
            <p:cNvSpPr/>
            <p:nvPr/>
          </p:nvSpPr>
          <p:spPr>
            <a:xfrm>
              <a:off x="1391627" y="1939127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4" name="Google Shape;6161;p64">
              <a:extLst>
                <a:ext uri="{FF2B5EF4-FFF2-40B4-BE49-F238E27FC236}">
                  <a16:creationId xmlns:a16="http://schemas.microsoft.com/office/drawing/2014/main" id="{27EE6E7A-B727-A03D-096D-2DBDC6536F7C}"/>
                </a:ext>
              </a:extLst>
            </p:cNvPr>
            <p:cNvSpPr/>
            <p:nvPr/>
          </p:nvSpPr>
          <p:spPr>
            <a:xfrm>
              <a:off x="1391491" y="193865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5" name="Google Shape;6162;p64">
              <a:extLst>
                <a:ext uri="{FF2B5EF4-FFF2-40B4-BE49-F238E27FC236}">
                  <a16:creationId xmlns:a16="http://schemas.microsoft.com/office/drawing/2014/main" id="{19BE5136-D6A6-A4FB-DD10-9962A698E15D}"/>
                </a:ext>
              </a:extLst>
            </p:cNvPr>
            <p:cNvSpPr/>
            <p:nvPr/>
          </p:nvSpPr>
          <p:spPr>
            <a:xfrm>
              <a:off x="1391532" y="193880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6" name="Google Shape;6163;p64">
              <a:extLst>
                <a:ext uri="{FF2B5EF4-FFF2-40B4-BE49-F238E27FC236}">
                  <a16:creationId xmlns:a16="http://schemas.microsoft.com/office/drawing/2014/main" id="{8915A7B5-DE16-FEE0-9270-D4B9B28B54AA}"/>
                </a:ext>
              </a:extLst>
            </p:cNvPr>
            <p:cNvSpPr/>
            <p:nvPr/>
          </p:nvSpPr>
          <p:spPr>
            <a:xfrm>
              <a:off x="1174075" y="1791214"/>
              <a:ext cx="223703" cy="138382"/>
            </a:xfrm>
            <a:custGeom>
              <a:avLst/>
              <a:gdLst/>
              <a:ahLst/>
              <a:cxnLst/>
              <a:rect l="l" t="t" r="r" b="b"/>
              <a:pathLst>
                <a:path w="16476" h="10192" extrusionOk="0">
                  <a:moveTo>
                    <a:pt x="1142" y="0"/>
                  </a:moveTo>
                  <a:lnTo>
                    <a:pt x="0" y="151"/>
                  </a:lnTo>
                  <a:cubicBezTo>
                    <a:pt x="70" y="277"/>
                    <a:pt x="151" y="399"/>
                    <a:pt x="242" y="511"/>
                  </a:cubicBezTo>
                  <a:cubicBezTo>
                    <a:pt x="504" y="837"/>
                    <a:pt x="690" y="1401"/>
                    <a:pt x="718" y="1611"/>
                  </a:cubicBezTo>
                  <a:cubicBezTo>
                    <a:pt x="732" y="1733"/>
                    <a:pt x="949" y="1863"/>
                    <a:pt x="1163" y="1985"/>
                  </a:cubicBezTo>
                  <a:cubicBezTo>
                    <a:pt x="1229" y="2027"/>
                    <a:pt x="1299" y="2069"/>
                    <a:pt x="1366" y="2111"/>
                  </a:cubicBezTo>
                  <a:cubicBezTo>
                    <a:pt x="1691" y="2318"/>
                    <a:pt x="1709" y="2769"/>
                    <a:pt x="1660" y="2916"/>
                  </a:cubicBezTo>
                  <a:cubicBezTo>
                    <a:pt x="1640" y="2978"/>
                    <a:pt x="1586" y="2997"/>
                    <a:pt x="1520" y="2997"/>
                  </a:cubicBezTo>
                  <a:cubicBezTo>
                    <a:pt x="1471" y="2997"/>
                    <a:pt x="1415" y="2986"/>
                    <a:pt x="1362" y="2976"/>
                  </a:cubicBezTo>
                  <a:cubicBezTo>
                    <a:pt x="1320" y="2969"/>
                    <a:pt x="1278" y="2962"/>
                    <a:pt x="1236" y="2958"/>
                  </a:cubicBezTo>
                  <a:lnTo>
                    <a:pt x="1236" y="2958"/>
                  </a:lnTo>
                  <a:cubicBezTo>
                    <a:pt x="1297" y="3078"/>
                    <a:pt x="1670" y="3376"/>
                    <a:pt x="1819" y="3376"/>
                  </a:cubicBezTo>
                  <a:cubicBezTo>
                    <a:pt x="1823" y="3376"/>
                    <a:pt x="1827" y="3376"/>
                    <a:pt x="1831" y="3375"/>
                  </a:cubicBezTo>
                  <a:cubicBezTo>
                    <a:pt x="1851" y="3373"/>
                    <a:pt x="1870" y="3371"/>
                    <a:pt x="1888" y="3371"/>
                  </a:cubicBezTo>
                  <a:cubicBezTo>
                    <a:pt x="2051" y="3371"/>
                    <a:pt x="2161" y="3469"/>
                    <a:pt x="2356" y="3648"/>
                  </a:cubicBezTo>
                  <a:cubicBezTo>
                    <a:pt x="2395" y="3680"/>
                    <a:pt x="2433" y="3715"/>
                    <a:pt x="2475" y="3753"/>
                  </a:cubicBezTo>
                  <a:cubicBezTo>
                    <a:pt x="2650" y="3907"/>
                    <a:pt x="2745" y="4096"/>
                    <a:pt x="2738" y="4278"/>
                  </a:cubicBezTo>
                  <a:cubicBezTo>
                    <a:pt x="2741" y="4376"/>
                    <a:pt x="2703" y="4467"/>
                    <a:pt x="2633" y="4534"/>
                  </a:cubicBezTo>
                  <a:cubicBezTo>
                    <a:pt x="2654" y="4600"/>
                    <a:pt x="2909" y="4765"/>
                    <a:pt x="3099" y="4884"/>
                  </a:cubicBezTo>
                  <a:lnTo>
                    <a:pt x="3256" y="4985"/>
                  </a:lnTo>
                  <a:cubicBezTo>
                    <a:pt x="3736" y="5304"/>
                    <a:pt x="3855" y="5686"/>
                    <a:pt x="3865" y="5728"/>
                  </a:cubicBezTo>
                  <a:cubicBezTo>
                    <a:pt x="3865" y="5731"/>
                    <a:pt x="3865" y="5735"/>
                    <a:pt x="3869" y="5735"/>
                  </a:cubicBezTo>
                  <a:cubicBezTo>
                    <a:pt x="3897" y="5728"/>
                    <a:pt x="3970" y="5661"/>
                    <a:pt x="4005" y="5556"/>
                  </a:cubicBezTo>
                  <a:cubicBezTo>
                    <a:pt x="4030" y="5490"/>
                    <a:pt x="4009" y="5455"/>
                    <a:pt x="3967" y="5388"/>
                  </a:cubicBezTo>
                  <a:cubicBezTo>
                    <a:pt x="3914" y="5315"/>
                    <a:pt x="3883" y="5230"/>
                    <a:pt x="3883" y="5139"/>
                  </a:cubicBezTo>
                  <a:cubicBezTo>
                    <a:pt x="3883" y="5052"/>
                    <a:pt x="3788" y="5031"/>
                    <a:pt x="3592" y="5020"/>
                  </a:cubicBezTo>
                  <a:cubicBezTo>
                    <a:pt x="3550" y="5017"/>
                    <a:pt x="3508" y="5013"/>
                    <a:pt x="3477" y="5010"/>
                  </a:cubicBezTo>
                  <a:cubicBezTo>
                    <a:pt x="3347" y="4989"/>
                    <a:pt x="3351" y="4849"/>
                    <a:pt x="3354" y="4747"/>
                  </a:cubicBezTo>
                  <a:cubicBezTo>
                    <a:pt x="3358" y="4660"/>
                    <a:pt x="3361" y="4558"/>
                    <a:pt x="3305" y="4506"/>
                  </a:cubicBezTo>
                  <a:cubicBezTo>
                    <a:pt x="3116" y="4317"/>
                    <a:pt x="2976" y="3841"/>
                    <a:pt x="2938" y="3701"/>
                  </a:cubicBezTo>
                  <a:cubicBezTo>
                    <a:pt x="2902" y="3568"/>
                    <a:pt x="2773" y="3424"/>
                    <a:pt x="2640" y="3277"/>
                  </a:cubicBezTo>
                  <a:cubicBezTo>
                    <a:pt x="2524" y="3161"/>
                    <a:pt x="2423" y="3032"/>
                    <a:pt x="2339" y="2888"/>
                  </a:cubicBezTo>
                  <a:cubicBezTo>
                    <a:pt x="2164" y="2573"/>
                    <a:pt x="2006" y="2374"/>
                    <a:pt x="1922" y="2318"/>
                  </a:cubicBezTo>
                  <a:cubicBezTo>
                    <a:pt x="1894" y="2300"/>
                    <a:pt x="1873" y="2272"/>
                    <a:pt x="1866" y="2237"/>
                  </a:cubicBezTo>
                  <a:cubicBezTo>
                    <a:pt x="1859" y="2181"/>
                    <a:pt x="1898" y="2136"/>
                    <a:pt x="1929" y="2094"/>
                  </a:cubicBezTo>
                  <a:cubicBezTo>
                    <a:pt x="1978" y="2034"/>
                    <a:pt x="1978" y="2027"/>
                    <a:pt x="1971" y="2017"/>
                  </a:cubicBezTo>
                  <a:cubicBezTo>
                    <a:pt x="1922" y="1964"/>
                    <a:pt x="1859" y="1947"/>
                    <a:pt x="1772" y="1922"/>
                  </a:cubicBezTo>
                  <a:cubicBezTo>
                    <a:pt x="1702" y="1905"/>
                    <a:pt x="1635" y="1880"/>
                    <a:pt x="1569" y="1852"/>
                  </a:cubicBezTo>
                  <a:cubicBezTo>
                    <a:pt x="1348" y="1747"/>
                    <a:pt x="1226" y="1576"/>
                    <a:pt x="1226" y="1369"/>
                  </a:cubicBezTo>
                  <a:cubicBezTo>
                    <a:pt x="1226" y="1184"/>
                    <a:pt x="1107" y="732"/>
                    <a:pt x="1047" y="581"/>
                  </a:cubicBezTo>
                  <a:cubicBezTo>
                    <a:pt x="1002" y="459"/>
                    <a:pt x="1072" y="406"/>
                    <a:pt x="1093" y="392"/>
                  </a:cubicBezTo>
                  <a:cubicBezTo>
                    <a:pt x="1117" y="379"/>
                    <a:pt x="1145" y="373"/>
                    <a:pt x="1174" y="373"/>
                  </a:cubicBezTo>
                  <a:cubicBezTo>
                    <a:pt x="1243" y="373"/>
                    <a:pt x="1316" y="405"/>
                    <a:pt x="1355" y="452"/>
                  </a:cubicBezTo>
                  <a:lnTo>
                    <a:pt x="1369" y="473"/>
                  </a:lnTo>
                  <a:cubicBezTo>
                    <a:pt x="1415" y="528"/>
                    <a:pt x="1434" y="542"/>
                    <a:pt x="1448" y="542"/>
                  </a:cubicBezTo>
                  <a:cubicBezTo>
                    <a:pt x="1455" y="542"/>
                    <a:pt x="1461" y="539"/>
                    <a:pt x="1467" y="536"/>
                  </a:cubicBezTo>
                  <a:cubicBezTo>
                    <a:pt x="1504" y="517"/>
                    <a:pt x="1544" y="507"/>
                    <a:pt x="1584" y="507"/>
                  </a:cubicBezTo>
                  <a:cubicBezTo>
                    <a:pt x="1612" y="507"/>
                    <a:pt x="1640" y="512"/>
                    <a:pt x="1667" y="522"/>
                  </a:cubicBezTo>
                  <a:cubicBezTo>
                    <a:pt x="1751" y="546"/>
                    <a:pt x="1817" y="609"/>
                    <a:pt x="1849" y="686"/>
                  </a:cubicBezTo>
                  <a:cubicBezTo>
                    <a:pt x="1858" y="706"/>
                    <a:pt x="1875" y="714"/>
                    <a:pt x="1910" y="714"/>
                  </a:cubicBezTo>
                  <a:cubicBezTo>
                    <a:pt x="1930" y="714"/>
                    <a:pt x="1955" y="711"/>
                    <a:pt x="1989" y="707"/>
                  </a:cubicBezTo>
                  <a:cubicBezTo>
                    <a:pt x="2015" y="705"/>
                    <a:pt x="2042" y="702"/>
                    <a:pt x="2069" y="702"/>
                  </a:cubicBezTo>
                  <a:cubicBezTo>
                    <a:pt x="2111" y="702"/>
                    <a:pt x="2152" y="708"/>
                    <a:pt x="2188" y="732"/>
                  </a:cubicBezTo>
                  <a:cubicBezTo>
                    <a:pt x="2272" y="781"/>
                    <a:pt x="2234" y="858"/>
                    <a:pt x="2213" y="893"/>
                  </a:cubicBezTo>
                  <a:cubicBezTo>
                    <a:pt x="2178" y="963"/>
                    <a:pt x="2111" y="1096"/>
                    <a:pt x="2307" y="1446"/>
                  </a:cubicBezTo>
                  <a:cubicBezTo>
                    <a:pt x="2496" y="1779"/>
                    <a:pt x="2521" y="1835"/>
                    <a:pt x="2454" y="1919"/>
                  </a:cubicBezTo>
                  <a:cubicBezTo>
                    <a:pt x="2437" y="1943"/>
                    <a:pt x="2412" y="1975"/>
                    <a:pt x="2412" y="2094"/>
                  </a:cubicBezTo>
                  <a:cubicBezTo>
                    <a:pt x="2412" y="2244"/>
                    <a:pt x="2447" y="2265"/>
                    <a:pt x="2447" y="2265"/>
                  </a:cubicBezTo>
                  <a:cubicBezTo>
                    <a:pt x="2448" y="2266"/>
                    <a:pt x="2449" y="2266"/>
                    <a:pt x="2451" y="2266"/>
                  </a:cubicBezTo>
                  <a:cubicBezTo>
                    <a:pt x="2463" y="2266"/>
                    <a:pt x="2500" y="2251"/>
                    <a:pt x="2556" y="2195"/>
                  </a:cubicBezTo>
                  <a:cubicBezTo>
                    <a:pt x="2575" y="2176"/>
                    <a:pt x="2602" y="2163"/>
                    <a:pt x="2630" y="2163"/>
                  </a:cubicBezTo>
                  <a:cubicBezTo>
                    <a:pt x="2633" y="2163"/>
                    <a:pt x="2637" y="2163"/>
                    <a:pt x="2640" y="2164"/>
                  </a:cubicBezTo>
                  <a:cubicBezTo>
                    <a:pt x="2727" y="2167"/>
                    <a:pt x="2843" y="2269"/>
                    <a:pt x="3043" y="2514"/>
                  </a:cubicBezTo>
                  <a:cubicBezTo>
                    <a:pt x="3113" y="2601"/>
                    <a:pt x="3221" y="2647"/>
                    <a:pt x="3316" y="2689"/>
                  </a:cubicBezTo>
                  <a:cubicBezTo>
                    <a:pt x="3421" y="2731"/>
                    <a:pt x="3519" y="2776"/>
                    <a:pt x="3519" y="2871"/>
                  </a:cubicBezTo>
                  <a:cubicBezTo>
                    <a:pt x="3519" y="2944"/>
                    <a:pt x="3557" y="3137"/>
                    <a:pt x="3729" y="3168"/>
                  </a:cubicBezTo>
                  <a:cubicBezTo>
                    <a:pt x="3869" y="3193"/>
                    <a:pt x="3942" y="3288"/>
                    <a:pt x="4002" y="3365"/>
                  </a:cubicBezTo>
                  <a:cubicBezTo>
                    <a:pt x="4040" y="3414"/>
                    <a:pt x="4072" y="3452"/>
                    <a:pt x="4107" y="3463"/>
                  </a:cubicBezTo>
                  <a:cubicBezTo>
                    <a:pt x="4170" y="3470"/>
                    <a:pt x="4229" y="3512"/>
                    <a:pt x="4257" y="3568"/>
                  </a:cubicBezTo>
                  <a:cubicBezTo>
                    <a:pt x="4303" y="3648"/>
                    <a:pt x="4292" y="3764"/>
                    <a:pt x="4240" y="3879"/>
                  </a:cubicBezTo>
                  <a:cubicBezTo>
                    <a:pt x="4219" y="3918"/>
                    <a:pt x="4215" y="3960"/>
                    <a:pt x="4229" y="4002"/>
                  </a:cubicBezTo>
                  <a:cubicBezTo>
                    <a:pt x="4257" y="4072"/>
                    <a:pt x="4362" y="4145"/>
                    <a:pt x="4544" y="4215"/>
                  </a:cubicBezTo>
                  <a:cubicBezTo>
                    <a:pt x="4758" y="4299"/>
                    <a:pt x="4796" y="4352"/>
                    <a:pt x="4849" y="4439"/>
                  </a:cubicBezTo>
                  <a:cubicBezTo>
                    <a:pt x="4894" y="4516"/>
                    <a:pt x="4947" y="4583"/>
                    <a:pt x="5014" y="4642"/>
                  </a:cubicBezTo>
                  <a:cubicBezTo>
                    <a:pt x="5276" y="4891"/>
                    <a:pt x="6036" y="5724"/>
                    <a:pt x="6200" y="5962"/>
                  </a:cubicBezTo>
                  <a:cubicBezTo>
                    <a:pt x="6305" y="6123"/>
                    <a:pt x="6389" y="6298"/>
                    <a:pt x="6442" y="6484"/>
                  </a:cubicBezTo>
                  <a:cubicBezTo>
                    <a:pt x="6452" y="6512"/>
                    <a:pt x="6463" y="6543"/>
                    <a:pt x="6473" y="6571"/>
                  </a:cubicBezTo>
                  <a:cubicBezTo>
                    <a:pt x="6501" y="6652"/>
                    <a:pt x="6491" y="6743"/>
                    <a:pt x="6449" y="6820"/>
                  </a:cubicBezTo>
                  <a:cubicBezTo>
                    <a:pt x="6421" y="6883"/>
                    <a:pt x="6414" y="6911"/>
                    <a:pt x="6442" y="6956"/>
                  </a:cubicBezTo>
                  <a:cubicBezTo>
                    <a:pt x="6470" y="6991"/>
                    <a:pt x="6480" y="7040"/>
                    <a:pt x="6466" y="7082"/>
                  </a:cubicBezTo>
                  <a:cubicBezTo>
                    <a:pt x="6445" y="7142"/>
                    <a:pt x="6382" y="7159"/>
                    <a:pt x="6337" y="7173"/>
                  </a:cubicBezTo>
                  <a:cubicBezTo>
                    <a:pt x="6319" y="7177"/>
                    <a:pt x="6302" y="7180"/>
                    <a:pt x="6284" y="7187"/>
                  </a:cubicBezTo>
                  <a:cubicBezTo>
                    <a:pt x="6305" y="7317"/>
                    <a:pt x="6459" y="7783"/>
                    <a:pt x="6662" y="7800"/>
                  </a:cubicBezTo>
                  <a:cubicBezTo>
                    <a:pt x="6897" y="7821"/>
                    <a:pt x="7135" y="8038"/>
                    <a:pt x="7345" y="8227"/>
                  </a:cubicBezTo>
                  <a:cubicBezTo>
                    <a:pt x="7398" y="8269"/>
                    <a:pt x="7443" y="8315"/>
                    <a:pt x="7485" y="8350"/>
                  </a:cubicBezTo>
                  <a:cubicBezTo>
                    <a:pt x="7604" y="8448"/>
                    <a:pt x="7762" y="8476"/>
                    <a:pt x="7944" y="8507"/>
                  </a:cubicBezTo>
                  <a:cubicBezTo>
                    <a:pt x="8080" y="8528"/>
                    <a:pt x="8213" y="8560"/>
                    <a:pt x="8339" y="8605"/>
                  </a:cubicBezTo>
                  <a:cubicBezTo>
                    <a:pt x="8486" y="8665"/>
                    <a:pt x="8626" y="8738"/>
                    <a:pt x="8756" y="8829"/>
                  </a:cubicBezTo>
                  <a:cubicBezTo>
                    <a:pt x="8948" y="8948"/>
                    <a:pt x="9148" y="9074"/>
                    <a:pt x="9414" y="9148"/>
                  </a:cubicBezTo>
                  <a:cubicBezTo>
                    <a:pt x="9873" y="9281"/>
                    <a:pt x="10342" y="9481"/>
                    <a:pt x="10671" y="9691"/>
                  </a:cubicBezTo>
                  <a:cubicBezTo>
                    <a:pt x="10784" y="9763"/>
                    <a:pt x="10909" y="9791"/>
                    <a:pt x="11041" y="9791"/>
                  </a:cubicBezTo>
                  <a:cubicBezTo>
                    <a:pt x="11255" y="9791"/>
                    <a:pt x="11486" y="9715"/>
                    <a:pt x="11714" y="9624"/>
                  </a:cubicBezTo>
                  <a:cubicBezTo>
                    <a:pt x="11823" y="9582"/>
                    <a:pt x="11938" y="9558"/>
                    <a:pt x="12054" y="9558"/>
                  </a:cubicBezTo>
                  <a:cubicBezTo>
                    <a:pt x="12285" y="9558"/>
                    <a:pt x="12481" y="9645"/>
                    <a:pt x="12638" y="9719"/>
                  </a:cubicBezTo>
                  <a:cubicBezTo>
                    <a:pt x="12680" y="9736"/>
                    <a:pt x="12719" y="9757"/>
                    <a:pt x="12757" y="9771"/>
                  </a:cubicBezTo>
                  <a:cubicBezTo>
                    <a:pt x="12873" y="9813"/>
                    <a:pt x="13062" y="9971"/>
                    <a:pt x="13310" y="10191"/>
                  </a:cubicBezTo>
                  <a:cubicBezTo>
                    <a:pt x="13367" y="10107"/>
                    <a:pt x="13419" y="10037"/>
                    <a:pt x="13461" y="9978"/>
                  </a:cubicBezTo>
                  <a:lnTo>
                    <a:pt x="13465" y="9974"/>
                  </a:lnTo>
                  <a:lnTo>
                    <a:pt x="13475" y="9960"/>
                  </a:lnTo>
                  <a:lnTo>
                    <a:pt x="13493" y="9936"/>
                  </a:lnTo>
                  <a:lnTo>
                    <a:pt x="13493" y="9932"/>
                  </a:lnTo>
                  <a:cubicBezTo>
                    <a:pt x="13577" y="9820"/>
                    <a:pt x="13633" y="9750"/>
                    <a:pt x="13668" y="9705"/>
                  </a:cubicBezTo>
                  <a:lnTo>
                    <a:pt x="13678" y="9694"/>
                  </a:lnTo>
                  <a:lnTo>
                    <a:pt x="13689" y="9684"/>
                  </a:lnTo>
                  <a:lnTo>
                    <a:pt x="13696" y="9677"/>
                  </a:lnTo>
                  <a:lnTo>
                    <a:pt x="13703" y="9670"/>
                  </a:lnTo>
                  <a:lnTo>
                    <a:pt x="13710" y="9663"/>
                  </a:lnTo>
                  <a:lnTo>
                    <a:pt x="13713" y="9656"/>
                  </a:lnTo>
                  <a:lnTo>
                    <a:pt x="13717" y="9652"/>
                  </a:lnTo>
                  <a:lnTo>
                    <a:pt x="13724" y="9649"/>
                  </a:lnTo>
                  <a:lnTo>
                    <a:pt x="13745" y="9649"/>
                  </a:lnTo>
                  <a:cubicBezTo>
                    <a:pt x="13766" y="9645"/>
                    <a:pt x="13787" y="9643"/>
                    <a:pt x="13810" y="9643"/>
                  </a:cubicBezTo>
                  <a:cubicBezTo>
                    <a:pt x="13832" y="9643"/>
                    <a:pt x="13855" y="9645"/>
                    <a:pt x="13878" y="9649"/>
                  </a:cubicBezTo>
                  <a:cubicBezTo>
                    <a:pt x="13965" y="9652"/>
                    <a:pt x="14039" y="9656"/>
                    <a:pt x="14102" y="9656"/>
                  </a:cubicBezTo>
                  <a:cubicBezTo>
                    <a:pt x="14298" y="9656"/>
                    <a:pt x="14375" y="9638"/>
                    <a:pt x="14403" y="9621"/>
                  </a:cubicBezTo>
                  <a:cubicBezTo>
                    <a:pt x="14410" y="9617"/>
                    <a:pt x="14417" y="9610"/>
                    <a:pt x="14420" y="9607"/>
                  </a:cubicBezTo>
                  <a:cubicBezTo>
                    <a:pt x="14434" y="9572"/>
                    <a:pt x="14350" y="9470"/>
                    <a:pt x="14168" y="9305"/>
                  </a:cubicBezTo>
                  <a:cubicBezTo>
                    <a:pt x="14056" y="9200"/>
                    <a:pt x="14007" y="9158"/>
                    <a:pt x="14014" y="9102"/>
                  </a:cubicBezTo>
                  <a:cubicBezTo>
                    <a:pt x="14014" y="9081"/>
                    <a:pt x="14025" y="9064"/>
                    <a:pt x="14042" y="9050"/>
                  </a:cubicBezTo>
                  <a:cubicBezTo>
                    <a:pt x="14060" y="9004"/>
                    <a:pt x="14074" y="8959"/>
                    <a:pt x="14084" y="8913"/>
                  </a:cubicBezTo>
                  <a:cubicBezTo>
                    <a:pt x="14119" y="8766"/>
                    <a:pt x="14154" y="8626"/>
                    <a:pt x="14259" y="8626"/>
                  </a:cubicBezTo>
                  <a:lnTo>
                    <a:pt x="14410" y="8630"/>
                  </a:lnTo>
                  <a:cubicBezTo>
                    <a:pt x="14546" y="8630"/>
                    <a:pt x="14830" y="8637"/>
                    <a:pt x="15026" y="8637"/>
                  </a:cubicBezTo>
                  <a:lnTo>
                    <a:pt x="15134" y="8637"/>
                  </a:lnTo>
                  <a:lnTo>
                    <a:pt x="15180" y="8623"/>
                  </a:lnTo>
                  <a:lnTo>
                    <a:pt x="15239" y="8623"/>
                  </a:lnTo>
                  <a:cubicBezTo>
                    <a:pt x="15250" y="8609"/>
                    <a:pt x="15274" y="8581"/>
                    <a:pt x="15292" y="8553"/>
                  </a:cubicBezTo>
                  <a:cubicBezTo>
                    <a:pt x="15376" y="8441"/>
                    <a:pt x="15488" y="8290"/>
                    <a:pt x="15614" y="8280"/>
                  </a:cubicBezTo>
                  <a:cubicBezTo>
                    <a:pt x="15619" y="8278"/>
                    <a:pt x="15624" y="8277"/>
                    <a:pt x="15628" y="8277"/>
                  </a:cubicBezTo>
                  <a:cubicBezTo>
                    <a:pt x="15632" y="8277"/>
                    <a:pt x="15637" y="8278"/>
                    <a:pt x="15642" y="8280"/>
                  </a:cubicBezTo>
                  <a:cubicBezTo>
                    <a:pt x="15691" y="8287"/>
                    <a:pt x="15740" y="8308"/>
                    <a:pt x="15779" y="8339"/>
                  </a:cubicBezTo>
                  <a:lnTo>
                    <a:pt x="15786" y="8343"/>
                  </a:lnTo>
                  <a:lnTo>
                    <a:pt x="15807" y="8360"/>
                  </a:lnTo>
                  <a:cubicBezTo>
                    <a:pt x="15828" y="8374"/>
                    <a:pt x="15849" y="8388"/>
                    <a:pt x="15870" y="8409"/>
                  </a:cubicBezTo>
                  <a:cubicBezTo>
                    <a:pt x="15985" y="8255"/>
                    <a:pt x="16027" y="7965"/>
                    <a:pt x="16052" y="7751"/>
                  </a:cubicBezTo>
                  <a:cubicBezTo>
                    <a:pt x="16059" y="7660"/>
                    <a:pt x="16059" y="7569"/>
                    <a:pt x="16052" y="7482"/>
                  </a:cubicBezTo>
                  <a:cubicBezTo>
                    <a:pt x="16045" y="7341"/>
                    <a:pt x="16034" y="7233"/>
                    <a:pt x="16164" y="7096"/>
                  </a:cubicBezTo>
                  <a:cubicBezTo>
                    <a:pt x="16213" y="7044"/>
                    <a:pt x="16265" y="6998"/>
                    <a:pt x="16321" y="6960"/>
                  </a:cubicBezTo>
                  <a:cubicBezTo>
                    <a:pt x="16430" y="6879"/>
                    <a:pt x="16475" y="6841"/>
                    <a:pt x="16451" y="6704"/>
                  </a:cubicBezTo>
                  <a:cubicBezTo>
                    <a:pt x="16447" y="6683"/>
                    <a:pt x="16440" y="6659"/>
                    <a:pt x="16423" y="6645"/>
                  </a:cubicBezTo>
                  <a:cubicBezTo>
                    <a:pt x="16417" y="6642"/>
                    <a:pt x="16409" y="6640"/>
                    <a:pt x="16399" y="6640"/>
                  </a:cubicBezTo>
                  <a:cubicBezTo>
                    <a:pt x="16376" y="6640"/>
                    <a:pt x="16343" y="6647"/>
                    <a:pt x="16314" y="6652"/>
                  </a:cubicBezTo>
                  <a:cubicBezTo>
                    <a:pt x="16272" y="6661"/>
                    <a:pt x="16222" y="6671"/>
                    <a:pt x="16169" y="6671"/>
                  </a:cubicBezTo>
                  <a:cubicBezTo>
                    <a:pt x="16116" y="6671"/>
                    <a:pt x="16060" y="6661"/>
                    <a:pt x="16006" y="6627"/>
                  </a:cubicBezTo>
                  <a:cubicBezTo>
                    <a:pt x="15947" y="6590"/>
                    <a:pt x="15890" y="6576"/>
                    <a:pt x="15819" y="6576"/>
                  </a:cubicBezTo>
                  <a:cubicBezTo>
                    <a:pt x="15742" y="6576"/>
                    <a:pt x="15647" y="6593"/>
                    <a:pt x="15516" y="6617"/>
                  </a:cubicBezTo>
                  <a:cubicBezTo>
                    <a:pt x="15422" y="6634"/>
                    <a:pt x="15316" y="6652"/>
                    <a:pt x="15190" y="6673"/>
                  </a:cubicBezTo>
                  <a:cubicBezTo>
                    <a:pt x="14581" y="6760"/>
                    <a:pt x="14529" y="7033"/>
                    <a:pt x="14543" y="7233"/>
                  </a:cubicBezTo>
                  <a:cubicBezTo>
                    <a:pt x="14557" y="7433"/>
                    <a:pt x="14504" y="7496"/>
                    <a:pt x="14441" y="7555"/>
                  </a:cubicBezTo>
                  <a:cubicBezTo>
                    <a:pt x="14406" y="7590"/>
                    <a:pt x="14382" y="7618"/>
                    <a:pt x="14385" y="7730"/>
                  </a:cubicBezTo>
                  <a:cubicBezTo>
                    <a:pt x="14392" y="7937"/>
                    <a:pt x="14245" y="8035"/>
                    <a:pt x="14137" y="8105"/>
                  </a:cubicBezTo>
                  <a:cubicBezTo>
                    <a:pt x="14053" y="8157"/>
                    <a:pt x="14014" y="8189"/>
                    <a:pt x="14021" y="8224"/>
                  </a:cubicBezTo>
                  <a:cubicBezTo>
                    <a:pt x="14032" y="8273"/>
                    <a:pt x="14011" y="8325"/>
                    <a:pt x="13969" y="8353"/>
                  </a:cubicBezTo>
                  <a:cubicBezTo>
                    <a:pt x="13946" y="8368"/>
                    <a:pt x="13918" y="8375"/>
                    <a:pt x="13886" y="8375"/>
                  </a:cubicBezTo>
                  <a:cubicBezTo>
                    <a:pt x="13759" y="8375"/>
                    <a:pt x="13581" y="8270"/>
                    <a:pt x="13514" y="8231"/>
                  </a:cubicBezTo>
                  <a:cubicBezTo>
                    <a:pt x="13507" y="8229"/>
                    <a:pt x="13499" y="8229"/>
                    <a:pt x="13490" y="8229"/>
                  </a:cubicBezTo>
                  <a:cubicBezTo>
                    <a:pt x="13348" y="8229"/>
                    <a:pt x="12838" y="8365"/>
                    <a:pt x="12586" y="8434"/>
                  </a:cubicBezTo>
                  <a:cubicBezTo>
                    <a:pt x="12428" y="8476"/>
                    <a:pt x="12313" y="8507"/>
                    <a:pt x="12267" y="8514"/>
                  </a:cubicBezTo>
                  <a:cubicBezTo>
                    <a:pt x="12258" y="8516"/>
                    <a:pt x="12248" y="8517"/>
                    <a:pt x="12238" y="8517"/>
                  </a:cubicBezTo>
                  <a:cubicBezTo>
                    <a:pt x="12152" y="8517"/>
                    <a:pt x="12059" y="8450"/>
                    <a:pt x="11952" y="8374"/>
                  </a:cubicBezTo>
                  <a:cubicBezTo>
                    <a:pt x="11849" y="8302"/>
                    <a:pt x="11733" y="8224"/>
                    <a:pt x="11649" y="8224"/>
                  </a:cubicBezTo>
                  <a:cubicBezTo>
                    <a:pt x="11648" y="8224"/>
                    <a:pt x="11646" y="8224"/>
                    <a:pt x="11644" y="8224"/>
                  </a:cubicBezTo>
                  <a:cubicBezTo>
                    <a:pt x="11639" y="8224"/>
                    <a:pt x="11635" y="8224"/>
                    <a:pt x="11630" y="8224"/>
                  </a:cubicBezTo>
                  <a:cubicBezTo>
                    <a:pt x="11431" y="8224"/>
                    <a:pt x="11297" y="8001"/>
                    <a:pt x="11259" y="7608"/>
                  </a:cubicBezTo>
                  <a:cubicBezTo>
                    <a:pt x="11249" y="7468"/>
                    <a:pt x="11091" y="7324"/>
                    <a:pt x="10940" y="7180"/>
                  </a:cubicBezTo>
                  <a:cubicBezTo>
                    <a:pt x="10849" y="7103"/>
                    <a:pt x="10765" y="7016"/>
                    <a:pt x="10692" y="6925"/>
                  </a:cubicBezTo>
                  <a:cubicBezTo>
                    <a:pt x="10503" y="6669"/>
                    <a:pt x="10482" y="6116"/>
                    <a:pt x="10471" y="5819"/>
                  </a:cubicBezTo>
                  <a:lnTo>
                    <a:pt x="10471" y="5766"/>
                  </a:lnTo>
                  <a:cubicBezTo>
                    <a:pt x="10457" y="5437"/>
                    <a:pt x="10436" y="4887"/>
                    <a:pt x="10660" y="4268"/>
                  </a:cubicBezTo>
                  <a:cubicBezTo>
                    <a:pt x="10681" y="4212"/>
                    <a:pt x="10695" y="4156"/>
                    <a:pt x="10702" y="4096"/>
                  </a:cubicBezTo>
                  <a:lnTo>
                    <a:pt x="10685" y="4086"/>
                  </a:lnTo>
                  <a:lnTo>
                    <a:pt x="10671" y="4079"/>
                  </a:lnTo>
                  <a:lnTo>
                    <a:pt x="10657" y="4072"/>
                  </a:lnTo>
                  <a:lnTo>
                    <a:pt x="10643" y="4065"/>
                  </a:lnTo>
                  <a:lnTo>
                    <a:pt x="10629" y="4061"/>
                  </a:lnTo>
                  <a:lnTo>
                    <a:pt x="10622" y="4058"/>
                  </a:lnTo>
                  <a:lnTo>
                    <a:pt x="10604" y="4051"/>
                  </a:lnTo>
                  <a:lnTo>
                    <a:pt x="10601" y="4051"/>
                  </a:lnTo>
                  <a:cubicBezTo>
                    <a:pt x="10583" y="4044"/>
                    <a:pt x="10566" y="4040"/>
                    <a:pt x="10548" y="4040"/>
                  </a:cubicBezTo>
                  <a:cubicBezTo>
                    <a:pt x="10542" y="4041"/>
                    <a:pt x="10535" y="4041"/>
                    <a:pt x="10528" y="4041"/>
                  </a:cubicBezTo>
                  <a:cubicBezTo>
                    <a:pt x="10384" y="4041"/>
                    <a:pt x="10165" y="3938"/>
                    <a:pt x="9988" y="3858"/>
                  </a:cubicBezTo>
                  <a:cubicBezTo>
                    <a:pt x="9918" y="3823"/>
                    <a:pt x="9852" y="3792"/>
                    <a:pt x="9778" y="3771"/>
                  </a:cubicBezTo>
                  <a:cubicBezTo>
                    <a:pt x="9684" y="3771"/>
                    <a:pt x="9652" y="3673"/>
                    <a:pt x="9631" y="3582"/>
                  </a:cubicBezTo>
                  <a:lnTo>
                    <a:pt x="9624" y="3561"/>
                  </a:lnTo>
                  <a:cubicBezTo>
                    <a:pt x="9614" y="3505"/>
                    <a:pt x="9596" y="3452"/>
                    <a:pt x="9572" y="3403"/>
                  </a:cubicBezTo>
                  <a:cubicBezTo>
                    <a:pt x="9558" y="3386"/>
                    <a:pt x="9551" y="3368"/>
                    <a:pt x="9544" y="3351"/>
                  </a:cubicBezTo>
                  <a:cubicBezTo>
                    <a:pt x="9523" y="3295"/>
                    <a:pt x="9512" y="3235"/>
                    <a:pt x="9509" y="3175"/>
                  </a:cubicBezTo>
                  <a:cubicBezTo>
                    <a:pt x="9505" y="3126"/>
                    <a:pt x="9495" y="3077"/>
                    <a:pt x="9477" y="3032"/>
                  </a:cubicBezTo>
                  <a:cubicBezTo>
                    <a:pt x="9470" y="3021"/>
                    <a:pt x="9463" y="3011"/>
                    <a:pt x="9456" y="3004"/>
                  </a:cubicBezTo>
                  <a:cubicBezTo>
                    <a:pt x="9351" y="2923"/>
                    <a:pt x="9022" y="2612"/>
                    <a:pt x="8913" y="2230"/>
                  </a:cubicBezTo>
                  <a:cubicBezTo>
                    <a:pt x="8822" y="1908"/>
                    <a:pt x="8217" y="1733"/>
                    <a:pt x="8000" y="1723"/>
                  </a:cubicBezTo>
                  <a:cubicBezTo>
                    <a:pt x="7998" y="1723"/>
                    <a:pt x="7996" y="1722"/>
                    <a:pt x="7994" y="1722"/>
                  </a:cubicBezTo>
                  <a:cubicBezTo>
                    <a:pt x="7884" y="1722"/>
                    <a:pt x="7782" y="1931"/>
                    <a:pt x="7720" y="2055"/>
                  </a:cubicBezTo>
                  <a:cubicBezTo>
                    <a:pt x="7671" y="2153"/>
                    <a:pt x="7646" y="2206"/>
                    <a:pt x="7601" y="2223"/>
                  </a:cubicBezTo>
                  <a:cubicBezTo>
                    <a:pt x="7590" y="2227"/>
                    <a:pt x="7580" y="2229"/>
                    <a:pt x="7569" y="2229"/>
                  </a:cubicBezTo>
                  <a:cubicBezTo>
                    <a:pt x="7561" y="2229"/>
                    <a:pt x="7553" y="2228"/>
                    <a:pt x="7545" y="2227"/>
                  </a:cubicBezTo>
                  <a:cubicBezTo>
                    <a:pt x="7475" y="2216"/>
                    <a:pt x="7356" y="2153"/>
                    <a:pt x="7086" y="1996"/>
                  </a:cubicBezTo>
                  <a:cubicBezTo>
                    <a:pt x="7030" y="1964"/>
                    <a:pt x="6981" y="1933"/>
                    <a:pt x="6946" y="1912"/>
                  </a:cubicBezTo>
                  <a:lnTo>
                    <a:pt x="6914" y="1898"/>
                  </a:lnTo>
                  <a:cubicBezTo>
                    <a:pt x="6767" y="1824"/>
                    <a:pt x="6683" y="1674"/>
                    <a:pt x="6683" y="1488"/>
                  </a:cubicBezTo>
                  <a:cubicBezTo>
                    <a:pt x="6683" y="1366"/>
                    <a:pt x="6438" y="1142"/>
                    <a:pt x="6375" y="1124"/>
                  </a:cubicBezTo>
                  <a:cubicBezTo>
                    <a:pt x="6298" y="1096"/>
                    <a:pt x="5959" y="774"/>
                    <a:pt x="5749" y="567"/>
                  </a:cubicBezTo>
                  <a:lnTo>
                    <a:pt x="4950" y="567"/>
                  </a:lnTo>
                  <a:lnTo>
                    <a:pt x="4768" y="802"/>
                  </a:lnTo>
                  <a:lnTo>
                    <a:pt x="3172" y="812"/>
                  </a:lnTo>
                  <a:lnTo>
                    <a:pt x="3158" y="809"/>
                  </a:lnTo>
                  <a:cubicBezTo>
                    <a:pt x="3148" y="805"/>
                    <a:pt x="1968" y="371"/>
                    <a:pt x="1754" y="319"/>
                  </a:cubicBezTo>
                  <a:cubicBezTo>
                    <a:pt x="1555" y="273"/>
                    <a:pt x="1229" y="56"/>
                    <a:pt x="11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7" name="Google Shape;6164;p64">
              <a:extLst>
                <a:ext uri="{FF2B5EF4-FFF2-40B4-BE49-F238E27FC236}">
                  <a16:creationId xmlns:a16="http://schemas.microsoft.com/office/drawing/2014/main" id="{D7A7E5EE-1DE2-6153-DC38-CF295B98F1C5}"/>
                </a:ext>
              </a:extLst>
            </p:cNvPr>
            <p:cNvSpPr/>
            <p:nvPr/>
          </p:nvSpPr>
          <p:spPr>
            <a:xfrm>
              <a:off x="1356122" y="1909990"/>
              <a:ext cx="28160" cy="28771"/>
            </a:xfrm>
            <a:custGeom>
              <a:avLst/>
              <a:gdLst/>
              <a:ahLst/>
              <a:cxnLst/>
              <a:rect l="l" t="t" r="r" b="b"/>
              <a:pathLst>
                <a:path w="2074" h="2119" extrusionOk="0">
                  <a:moveTo>
                    <a:pt x="879" y="1"/>
                  </a:moveTo>
                  <a:cubicBezTo>
                    <a:pt x="851" y="60"/>
                    <a:pt x="830" y="123"/>
                    <a:pt x="816" y="186"/>
                  </a:cubicBezTo>
                  <a:cubicBezTo>
                    <a:pt x="806" y="246"/>
                    <a:pt x="788" y="302"/>
                    <a:pt x="764" y="354"/>
                  </a:cubicBezTo>
                  <a:cubicBezTo>
                    <a:pt x="788" y="382"/>
                    <a:pt x="830" y="421"/>
                    <a:pt x="865" y="452"/>
                  </a:cubicBezTo>
                  <a:cubicBezTo>
                    <a:pt x="1023" y="596"/>
                    <a:pt x="1201" y="761"/>
                    <a:pt x="1149" y="894"/>
                  </a:cubicBezTo>
                  <a:cubicBezTo>
                    <a:pt x="1108" y="1004"/>
                    <a:pt x="939" y="1031"/>
                    <a:pt x="725" y="1031"/>
                  </a:cubicBezTo>
                  <a:cubicBezTo>
                    <a:pt x="647" y="1031"/>
                    <a:pt x="563" y="1028"/>
                    <a:pt x="477" y="1023"/>
                  </a:cubicBezTo>
                  <a:cubicBezTo>
                    <a:pt x="445" y="1023"/>
                    <a:pt x="407" y="1020"/>
                    <a:pt x="386" y="1016"/>
                  </a:cubicBezTo>
                  <a:lnTo>
                    <a:pt x="375" y="1027"/>
                  </a:lnTo>
                  <a:lnTo>
                    <a:pt x="372" y="1034"/>
                  </a:lnTo>
                  <a:lnTo>
                    <a:pt x="365" y="1041"/>
                  </a:lnTo>
                  <a:lnTo>
                    <a:pt x="358" y="1048"/>
                  </a:lnTo>
                  <a:lnTo>
                    <a:pt x="351" y="1058"/>
                  </a:lnTo>
                  <a:lnTo>
                    <a:pt x="344" y="1069"/>
                  </a:lnTo>
                  <a:lnTo>
                    <a:pt x="333" y="1079"/>
                  </a:lnTo>
                  <a:lnTo>
                    <a:pt x="326" y="1090"/>
                  </a:lnTo>
                  <a:lnTo>
                    <a:pt x="316" y="1104"/>
                  </a:lnTo>
                  <a:lnTo>
                    <a:pt x="309" y="1114"/>
                  </a:lnTo>
                  <a:lnTo>
                    <a:pt x="295" y="1132"/>
                  </a:lnTo>
                  <a:lnTo>
                    <a:pt x="284" y="1142"/>
                  </a:lnTo>
                  <a:lnTo>
                    <a:pt x="270" y="1163"/>
                  </a:lnTo>
                  <a:lnTo>
                    <a:pt x="263" y="1174"/>
                  </a:lnTo>
                  <a:lnTo>
                    <a:pt x="246" y="1195"/>
                  </a:lnTo>
                  <a:lnTo>
                    <a:pt x="239" y="1205"/>
                  </a:lnTo>
                  <a:lnTo>
                    <a:pt x="218" y="1233"/>
                  </a:lnTo>
                  <a:lnTo>
                    <a:pt x="211" y="1244"/>
                  </a:lnTo>
                  <a:lnTo>
                    <a:pt x="190" y="1272"/>
                  </a:lnTo>
                  <a:lnTo>
                    <a:pt x="183" y="1282"/>
                  </a:lnTo>
                  <a:lnTo>
                    <a:pt x="155" y="1317"/>
                  </a:lnTo>
                  <a:lnTo>
                    <a:pt x="151" y="1324"/>
                  </a:lnTo>
                  <a:cubicBezTo>
                    <a:pt x="109" y="1387"/>
                    <a:pt x="57" y="1454"/>
                    <a:pt x="1" y="1534"/>
                  </a:cubicBezTo>
                  <a:lnTo>
                    <a:pt x="99" y="1618"/>
                  </a:lnTo>
                  <a:cubicBezTo>
                    <a:pt x="284" y="1786"/>
                    <a:pt x="459" y="1944"/>
                    <a:pt x="550" y="2000"/>
                  </a:cubicBezTo>
                  <a:cubicBezTo>
                    <a:pt x="626" y="2048"/>
                    <a:pt x="726" y="2057"/>
                    <a:pt x="831" y="2057"/>
                  </a:cubicBezTo>
                  <a:cubicBezTo>
                    <a:pt x="862" y="2057"/>
                    <a:pt x="893" y="2057"/>
                    <a:pt x="925" y="2056"/>
                  </a:cubicBezTo>
                  <a:lnTo>
                    <a:pt x="1012" y="2056"/>
                  </a:lnTo>
                  <a:cubicBezTo>
                    <a:pt x="1117" y="2056"/>
                    <a:pt x="1219" y="2066"/>
                    <a:pt x="1292" y="2119"/>
                  </a:cubicBezTo>
                  <a:lnTo>
                    <a:pt x="1303" y="2112"/>
                  </a:lnTo>
                  <a:lnTo>
                    <a:pt x="1310" y="2101"/>
                  </a:lnTo>
                  <a:lnTo>
                    <a:pt x="1348" y="2070"/>
                  </a:lnTo>
                  <a:lnTo>
                    <a:pt x="1359" y="2059"/>
                  </a:lnTo>
                  <a:lnTo>
                    <a:pt x="1387" y="2031"/>
                  </a:lnTo>
                  <a:lnTo>
                    <a:pt x="1401" y="2021"/>
                  </a:lnTo>
                  <a:lnTo>
                    <a:pt x="1425" y="1996"/>
                  </a:lnTo>
                  <a:lnTo>
                    <a:pt x="1439" y="1986"/>
                  </a:lnTo>
                  <a:lnTo>
                    <a:pt x="1460" y="1965"/>
                  </a:lnTo>
                  <a:lnTo>
                    <a:pt x="1471" y="1958"/>
                  </a:lnTo>
                  <a:lnTo>
                    <a:pt x="1492" y="1940"/>
                  </a:lnTo>
                  <a:lnTo>
                    <a:pt x="1502" y="1930"/>
                  </a:lnTo>
                  <a:lnTo>
                    <a:pt x="1520" y="1916"/>
                  </a:lnTo>
                  <a:lnTo>
                    <a:pt x="1527" y="1909"/>
                  </a:lnTo>
                  <a:lnTo>
                    <a:pt x="1544" y="1895"/>
                  </a:lnTo>
                  <a:lnTo>
                    <a:pt x="1551" y="1891"/>
                  </a:lnTo>
                  <a:lnTo>
                    <a:pt x="1565" y="1877"/>
                  </a:lnTo>
                  <a:lnTo>
                    <a:pt x="1572" y="1874"/>
                  </a:lnTo>
                  <a:lnTo>
                    <a:pt x="1586" y="1863"/>
                  </a:lnTo>
                  <a:lnTo>
                    <a:pt x="1593" y="1860"/>
                  </a:lnTo>
                  <a:lnTo>
                    <a:pt x="1604" y="1853"/>
                  </a:lnTo>
                  <a:lnTo>
                    <a:pt x="1607" y="1849"/>
                  </a:lnTo>
                  <a:lnTo>
                    <a:pt x="1618" y="1842"/>
                  </a:lnTo>
                  <a:lnTo>
                    <a:pt x="1621" y="1839"/>
                  </a:lnTo>
                  <a:lnTo>
                    <a:pt x="1632" y="1835"/>
                  </a:lnTo>
                  <a:lnTo>
                    <a:pt x="1635" y="1835"/>
                  </a:lnTo>
                  <a:lnTo>
                    <a:pt x="1642" y="1828"/>
                  </a:lnTo>
                  <a:lnTo>
                    <a:pt x="1646" y="1828"/>
                  </a:lnTo>
                  <a:lnTo>
                    <a:pt x="1653" y="1825"/>
                  </a:lnTo>
                  <a:lnTo>
                    <a:pt x="1660" y="1825"/>
                  </a:lnTo>
                  <a:lnTo>
                    <a:pt x="1670" y="1811"/>
                  </a:lnTo>
                  <a:cubicBezTo>
                    <a:pt x="1684" y="1790"/>
                    <a:pt x="1695" y="1765"/>
                    <a:pt x="1698" y="1737"/>
                  </a:cubicBezTo>
                  <a:cubicBezTo>
                    <a:pt x="1726" y="1601"/>
                    <a:pt x="1803" y="1478"/>
                    <a:pt x="1912" y="1394"/>
                  </a:cubicBezTo>
                  <a:cubicBezTo>
                    <a:pt x="1936" y="1377"/>
                    <a:pt x="1957" y="1356"/>
                    <a:pt x="1978" y="1335"/>
                  </a:cubicBezTo>
                  <a:lnTo>
                    <a:pt x="1986" y="1328"/>
                  </a:lnTo>
                  <a:cubicBezTo>
                    <a:pt x="2007" y="1310"/>
                    <a:pt x="2031" y="1289"/>
                    <a:pt x="2049" y="1268"/>
                  </a:cubicBezTo>
                  <a:lnTo>
                    <a:pt x="2059" y="1258"/>
                  </a:lnTo>
                  <a:lnTo>
                    <a:pt x="2073" y="1244"/>
                  </a:lnTo>
                  <a:cubicBezTo>
                    <a:pt x="2056" y="1237"/>
                    <a:pt x="2038" y="1230"/>
                    <a:pt x="2021" y="1219"/>
                  </a:cubicBezTo>
                  <a:cubicBezTo>
                    <a:pt x="1982" y="1188"/>
                    <a:pt x="1957" y="1139"/>
                    <a:pt x="1957" y="1086"/>
                  </a:cubicBezTo>
                  <a:lnTo>
                    <a:pt x="1688" y="1125"/>
                  </a:lnTo>
                  <a:lnTo>
                    <a:pt x="1688" y="1125"/>
                  </a:lnTo>
                  <a:lnTo>
                    <a:pt x="1716" y="11"/>
                  </a:lnTo>
                  <a:lnTo>
                    <a:pt x="1572" y="11"/>
                  </a:lnTo>
                  <a:cubicBezTo>
                    <a:pt x="1394" y="11"/>
                    <a:pt x="1166" y="4"/>
                    <a:pt x="1012" y="4"/>
                  </a:cubicBezTo>
                  <a:lnTo>
                    <a:pt x="87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8" name="Google Shape;6165;p64">
              <a:extLst>
                <a:ext uri="{FF2B5EF4-FFF2-40B4-BE49-F238E27FC236}">
                  <a16:creationId xmlns:a16="http://schemas.microsoft.com/office/drawing/2014/main" id="{8059CD49-CD2D-623E-C13A-290F2AEC99B8}"/>
                </a:ext>
              </a:extLst>
            </p:cNvPr>
            <p:cNvSpPr/>
            <p:nvPr/>
          </p:nvSpPr>
          <p:spPr>
            <a:xfrm>
              <a:off x="1378552" y="193466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9" name="Google Shape;6166;p64">
              <a:extLst>
                <a:ext uri="{FF2B5EF4-FFF2-40B4-BE49-F238E27FC236}">
                  <a16:creationId xmlns:a16="http://schemas.microsoft.com/office/drawing/2014/main" id="{D62B5B2A-7A01-8818-D58A-341A8C931029}"/>
                </a:ext>
              </a:extLst>
            </p:cNvPr>
            <p:cNvSpPr/>
            <p:nvPr/>
          </p:nvSpPr>
          <p:spPr>
            <a:xfrm>
              <a:off x="1374370" y="193789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0" name="Google Shape;6167;p64">
              <a:extLst>
                <a:ext uri="{FF2B5EF4-FFF2-40B4-BE49-F238E27FC236}">
                  <a16:creationId xmlns:a16="http://schemas.microsoft.com/office/drawing/2014/main" id="{27D5FD08-41AD-6914-E11D-C00C5B6D00C1}"/>
                </a:ext>
              </a:extLst>
            </p:cNvPr>
            <p:cNvSpPr/>
            <p:nvPr/>
          </p:nvSpPr>
          <p:spPr>
            <a:xfrm>
              <a:off x="1373759" y="19384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1" name="Google Shape;6168;p64">
              <a:extLst>
                <a:ext uri="{FF2B5EF4-FFF2-40B4-BE49-F238E27FC236}">
                  <a16:creationId xmlns:a16="http://schemas.microsoft.com/office/drawing/2014/main" id="{80EB83CB-18D4-D68D-0028-FFF04D77B7E7}"/>
                </a:ext>
              </a:extLst>
            </p:cNvPr>
            <p:cNvSpPr/>
            <p:nvPr/>
          </p:nvSpPr>
          <p:spPr>
            <a:xfrm>
              <a:off x="1377601" y="193519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2" name="Google Shape;6169;p64">
              <a:extLst>
                <a:ext uri="{FF2B5EF4-FFF2-40B4-BE49-F238E27FC236}">
                  <a16:creationId xmlns:a16="http://schemas.microsoft.com/office/drawing/2014/main" id="{5C65C8FB-1E8D-A2FE-5F89-7B84ABEB755A}"/>
                </a:ext>
              </a:extLst>
            </p:cNvPr>
            <p:cNvSpPr/>
            <p:nvPr/>
          </p:nvSpPr>
          <p:spPr>
            <a:xfrm>
              <a:off x="1378362" y="193471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3" name="Google Shape;6170;p64">
              <a:extLst>
                <a:ext uri="{FF2B5EF4-FFF2-40B4-BE49-F238E27FC236}">
                  <a16:creationId xmlns:a16="http://schemas.microsoft.com/office/drawing/2014/main" id="{F836D06F-BC5D-ADDC-55BC-F2ADCED05976}"/>
                </a:ext>
              </a:extLst>
            </p:cNvPr>
            <p:cNvSpPr/>
            <p:nvPr/>
          </p:nvSpPr>
          <p:spPr>
            <a:xfrm>
              <a:off x="1377370" y="193538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4" name="Google Shape;6171;p64">
              <a:extLst>
                <a:ext uri="{FF2B5EF4-FFF2-40B4-BE49-F238E27FC236}">
                  <a16:creationId xmlns:a16="http://schemas.microsoft.com/office/drawing/2014/main" id="{C97DF8F7-1E06-86CB-8C9A-E51FFF809EB5}"/>
                </a:ext>
              </a:extLst>
            </p:cNvPr>
            <p:cNvSpPr/>
            <p:nvPr/>
          </p:nvSpPr>
          <p:spPr>
            <a:xfrm>
              <a:off x="1377031" y="193557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5" name="Google Shape;6172;p64">
              <a:extLst>
                <a:ext uri="{FF2B5EF4-FFF2-40B4-BE49-F238E27FC236}">
                  <a16:creationId xmlns:a16="http://schemas.microsoft.com/office/drawing/2014/main" id="{A22D158C-1BC0-028F-D3D5-A8245BE804C5}"/>
                </a:ext>
              </a:extLst>
            </p:cNvPr>
            <p:cNvSpPr/>
            <p:nvPr/>
          </p:nvSpPr>
          <p:spPr>
            <a:xfrm>
              <a:off x="1376705" y="1935855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6" name="Google Shape;6173;p64">
              <a:extLst>
                <a:ext uri="{FF2B5EF4-FFF2-40B4-BE49-F238E27FC236}">
                  <a16:creationId xmlns:a16="http://schemas.microsoft.com/office/drawing/2014/main" id="{19D29CA9-4413-3B37-988A-7065BD647F9E}"/>
                </a:ext>
              </a:extLst>
            </p:cNvPr>
            <p:cNvSpPr/>
            <p:nvPr/>
          </p:nvSpPr>
          <p:spPr>
            <a:xfrm>
              <a:off x="1375470" y="193690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7" name="Google Shape;6174;p64">
              <a:extLst>
                <a:ext uri="{FF2B5EF4-FFF2-40B4-BE49-F238E27FC236}">
                  <a16:creationId xmlns:a16="http://schemas.microsoft.com/office/drawing/2014/main" id="{808A9C75-9D3C-9E06-474D-0AFC138DD377}"/>
                </a:ext>
              </a:extLst>
            </p:cNvPr>
            <p:cNvSpPr/>
            <p:nvPr/>
          </p:nvSpPr>
          <p:spPr>
            <a:xfrm>
              <a:off x="1377846" y="19350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8" name="Google Shape;6175;p64">
              <a:extLst>
                <a:ext uri="{FF2B5EF4-FFF2-40B4-BE49-F238E27FC236}">
                  <a16:creationId xmlns:a16="http://schemas.microsoft.com/office/drawing/2014/main" id="{8D65E492-57E1-EC94-861E-2B320DD0B989}"/>
                </a:ext>
              </a:extLst>
            </p:cNvPr>
            <p:cNvSpPr/>
            <p:nvPr/>
          </p:nvSpPr>
          <p:spPr>
            <a:xfrm>
              <a:off x="1378076" y="1934905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9" name="Google Shape;6176;p64">
              <a:extLst>
                <a:ext uri="{FF2B5EF4-FFF2-40B4-BE49-F238E27FC236}">
                  <a16:creationId xmlns:a16="http://schemas.microsoft.com/office/drawing/2014/main" id="{6C6B0AD2-0A0B-A1DC-531B-5DFD1D78C92E}"/>
                </a:ext>
              </a:extLst>
            </p:cNvPr>
            <p:cNvSpPr/>
            <p:nvPr/>
          </p:nvSpPr>
          <p:spPr>
            <a:xfrm>
              <a:off x="1374899" y="19373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0" name="Google Shape;6177;p64">
              <a:extLst>
                <a:ext uri="{FF2B5EF4-FFF2-40B4-BE49-F238E27FC236}">
                  <a16:creationId xmlns:a16="http://schemas.microsoft.com/office/drawing/2014/main" id="{C7E67911-EE2B-3319-A989-71F2B298FCB9}"/>
                </a:ext>
              </a:extLst>
            </p:cNvPr>
            <p:cNvSpPr/>
            <p:nvPr/>
          </p:nvSpPr>
          <p:spPr>
            <a:xfrm>
              <a:off x="1375890" y="1936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1" name="Google Shape;6178;p64">
              <a:extLst>
                <a:ext uri="{FF2B5EF4-FFF2-40B4-BE49-F238E27FC236}">
                  <a16:creationId xmlns:a16="http://schemas.microsoft.com/office/drawing/2014/main" id="{4972E00D-21DB-8B45-8248-63C708E759D5}"/>
                </a:ext>
              </a:extLst>
            </p:cNvPr>
            <p:cNvSpPr/>
            <p:nvPr/>
          </p:nvSpPr>
          <p:spPr>
            <a:xfrm>
              <a:off x="1376325" y="1936140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2" name="Google Shape;6179;p64">
              <a:extLst>
                <a:ext uri="{FF2B5EF4-FFF2-40B4-BE49-F238E27FC236}">
                  <a16:creationId xmlns:a16="http://schemas.microsoft.com/office/drawing/2014/main" id="{4D9F26AC-16C6-06F1-DB9A-89858240CEF6}"/>
                </a:ext>
              </a:extLst>
            </p:cNvPr>
            <p:cNvSpPr/>
            <p:nvPr/>
          </p:nvSpPr>
          <p:spPr>
            <a:xfrm>
              <a:off x="1378226" y="193481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3" name="Google Shape;6180;p64">
              <a:extLst>
                <a:ext uri="{FF2B5EF4-FFF2-40B4-BE49-F238E27FC236}">
                  <a16:creationId xmlns:a16="http://schemas.microsoft.com/office/drawing/2014/main" id="{464D0112-BA44-EDE4-5033-294060C9EFD7}"/>
                </a:ext>
              </a:extLst>
            </p:cNvPr>
            <p:cNvSpPr/>
            <p:nvPr/>
          </p:nvSpPr>
          <p:spPr>
            <a:xfrm>
              <a:off x="1378647" y="1928917"/>
              <a:ext cx="3435" cy="5716"/>
            </a:xfrm>
            <a:custGeom>
              <a:avLst/>
              <a:gdLst/>
              <a:ahLst/>
              <a:cxnLst/>
              <a:rect l="l" t="t" r="r" b="b"/>
              <a:pathLst>
                <a:path w="253" h="421" extrusionOk="0">
                  <a:moveTo>
                    <a:pt x="253" y="0"/>
                  </a:moveTo>
                  <a:lnTo>
                    <a:pt x="253" y="0"/>
                  </a:lnTo>
                  <a:cubicBezTo>
                    <a:pt x="141" y="84"/>
                    <a:pt x="64" y="207"/>
                    <a:pt x="36" y="343"/>
                  </a:cubicBezTo>
                  <a:cubicBezTo>
                    <a:pt x="32" y="368"/>
                    <a:pt x="25" y="389"/>
                    <a:pt x="15" y="410"/>
                  </a:cubicBezTo>
                  <a:lnTo>
                    <a:pt x="1" y="420"/>
                  </a:lnTo>
                  <a:lnTo>
                    <a:pt x="11" y="417"/>
                  </a:lnTo>
                  <a:cubicBezTo>
                    <a:pt x="25" y="392"/>
                    <a:pt x="36" y="368"/>
                    <a:pt x="39" y="343"/>
                  </a:cubicBezTo>
                  <a:cubicBezTo>
                    <a:pt x="67" y="207"/>
                    <a:pt x="141" y="84"/>
                    <a:pt x="25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4" name="Google Shape;6181;p64">
              <a:extLst>
                <a:ext uri="{FF2B5EF4-FFF2-40B4-BE49-F238E27FC236}">
                  <a16:creationId xmlns:a16="http://schemas.microsoft.com/office/drawing/2014/main" id="{7418848D-D8AF-4296-9A3C-31E39F361649}"/>
                </a:ext>
              </a:extLst>
            </p:cNvPr>
            <p:cNvSpPr/>
            <p:nvPr/>
          </p:nvSpPr>
          <p:spPr>
            <a:xfrm>
              <a:off x="1384078" y="19268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"/>
                  </a:moveTo>
                  <a:lnTo>
                    <a:pt x="14" y="1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5" name="Google Shape;6182;p64">
              <a:extLst>
                <a:ext uri="{FF2B5EF4-FFF2-40B4-BE49-F238E27FC236}">
                  <a16:creationId xmlns:a16="http://schemas.microsoft.com/office/drawing/2014/main" id="{DA0C255F-C14B-00D2-6CF6-B0CD5735191F}"/>
                </a:ext>
              </a:extLst>
            </p:cNvPr>
            <p:cNvSpPr/>
            <p:nvPr/>
          </p:nvSpPr>
          <p:spPr>
            <a:xfrm>
              <a:off x="1383127" y="1927152"/>
              <a:ext cx="869" cy="869"/>
            </a:xfrm>
            <a:custGeom>
              <a:avLst/>
              <a:gdLst/>
              <a:ahLst/>
              <a:cxnLst/>
              <a:rect l="l" t="t" r="r" b="b"/>
              <a:pathLst>
                <a:path w="64" h="64" extrusionOk="0">
                  <a:moveTo>
                    <a:pt x="63" y="1"/>
                  </a:moveTo>
                  <a:cubicBezTo>
                    <a:pt x="39" y="22"/>
                    <a:pt x="21" y="43"/>
                    <a:pt x="0" y="64"/>
                  </a:cubicBezTo>
                  <a:cubicBezTo>
                    <a:pt x="21" y="46"/>
                    <a:pt x="42" y="22"/>
                    <a:pt x="6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6" name="Google Shape;6183;p64">
              <a:extLst>
                <a:ext uri="{FF2B5EF4-FFF2-40B4-BE49-F238E27FC236}">
                  <a16:creationId xmlns:a16="http://schemas.microsoft.com/office/drawing/2014/main" id="{44029E9A-D9D1-2BCA-3789-58E30459333F}"/>
                </a:ext>
              </a:extLst>
            </p:cNvPr>
            <p:cNvSpPr/>
            <p:nvPr/>
          </p:nvSpPr>
          <p:spPr>
            <a:xfrm>
              <a:off x="1378647" y="1934524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6" y="7"/>
                  </a:lnTo>
                  <a:lnTo>
                    <a:pt x="6" y="7"/>
                  </a:lnTo>
                  <a:cubicBezTo>
                    <a:pt x="12" y="7"/>
                    <a:pt x="15" y="4"/>
                    <a:pt x="15" y="0"/>
                  </a:cubicBezTo>
                  <a:close/>
                  <a:moveTo>
                    <a:pt x="6" y="7"/>
                  </a:moveTo>
                  <a:cubicBezTo>
                    <a:pt x="5" y="7"/>
                    <a:pt x="5" y="7"/>
                    <a:pt x="4" y="7"/>
                  </a:cubicBezTo>
                  <a:lnTo>
                    <a:pt x="1" y="7"/>
                  </a:lnTo>
                  <a:lnTo>
                    <a:pt x="1" y="11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7" name="Google Shape;6184;p64">
              <a:extLst>
                <a:ext uri="{FF2B5EF4-FFF2-40B4-BE49-F238E27FC236}">
                  <a16:creationId xmlns:a16="http://schemas.microsoft.com/office/drawing/2014/main" id="{0AAFEF6A-99F5-6B60-254B-DAC7C5F07835}"/>
                </a:ext>
              </a:extLst>
            </p:cNvPr>
            <p:cNvSpPr/>
            <p:nvPr/>
          </p:nvSpPr>
          <p:spPr>
            <a:xfrm>
              <a:off x="1358213" y="1927342"/>
              <a:ext cx="394" cy="543"/>
            </a:xfrm>
            <a:custGeom>
              <a:avLst/>
              <a:gdLst/>
              <a:ahLst/>
              <a:cxnLst/>
              <a:rect l="l" t="t" r="r" b="b"/>
              <a:pathLst>
                <a:path w="29" h="40" extrusionOk="0">
                  <a:moveTo>
                    <a:pt x="1" y="39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8" name="Google Shape;6185;p64">
              <a:extLst>
                <a:ext uri="{FF2B5EF4-FFF2-40B4-BE49-F238E27FC236}">
                  <a16:creationId xmlns:a16="http://schemas.microsoft.com/office/drawing/2014/main" id="{969DF89B-122E-21B4-439D-67883154889A}"/>
                </a:ext>
              </a:extLst>
            </p:cNvPr>
            <p:cNvSpPr/>
            <p:nvPr/>
          </p:nvSpPr>
          <p:spPr>
            <a:xfrm>
              <a:off x="1360874" y="1924206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9" name="Google Shape;6186;p64">
              <a:extLst>
                <a:ext uri="{FF2B5EF4-FFF2-40B4-BE49-F238E27FC236}">
                  <a16:creationId xmlns:a16="http://schemas.microsoft.com/office/drawing/2014/main" id="{94A54556-B62B-0D81-4037-5001231CB094}"/>
                </a:ext>
              </a:extLst>
            </p:cNvPr>
            <p:cNvSpPr/>
            <p:nvPr/>
          </p:nvSpPr>
          <p:spPr>
            <a:xfrm>
              <a:off x="1361064" y="192397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0" name="Google Shape;6187;p64">
              <a:extLst>
                <a:ext uri="{FF2B5EF4-FFF2-40B4-BE49-F238E27FC236}">
                  <a16:creationId xmlns:a16="http://schemas.microsoft.com/office/drawing/2014/main" id="{1E69691B-2F11-B777-A127-BA9777EEA5DC}"/>
                </a:ext>
              </a:extLst>
            </p:cNvPr>
            <p:cNvSpPr/>
            <p:nvPr/>
          </p:nvSpPr>
          <p:spPr>
            <a:xfrm>
              <a:off x="1356122" y="1927912"/>
              <a:ext cx="2064" cy="2865"/>
            </a:xfrm>
            <a:custGeom>
              <a:avLst/>
              <a:gdLst/>
              <a:ahLst/>
              <a:cxnLst/>
              <a:rect l="l" t="t" r="r" b="b"/>
              <a:pathLst>
                <a:path w="152" h="211" extrusionOk="0">
                  <a:moveTo>
                    <a:pt x="1" y="211"/>
                  </a:moveTo>
                  <a:lnTo>
                    <a:pt x="1" y="211"/>
                  </a:lnTo>
                  <a:cubicBezTo>
                    <a:pt x="57" y="134"/>
                    <a:pt x="106" y="64"/>
                    <a:pt x="151" y="1"/>
                  </a:cubicBezTo>
                  <a:cubicBezTo>
                    <a:pt x="106" y="64"/>
                    <a:pt x="57" y="134"/>
                    <a:pt x="1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1" name="Google Shape;6188;p64">
              <a:extLst>
                <a:ext uri="{FF2B5EF4-FFF2-40B4-BE49-F238E27FC236}">
                  <a16:creationId xmlns:a16="http://schemas.microsoft.com/office/drawing/2014/main" id="{1F033F25-87C3-071E-0EA0-81C98774A9E9}"/>
                </a:ext>
              </a:extLst>
            </p:cNvPr>
            <p:cNvSpPr/>
            <p:nvPr/>
          </p:nvSpPr>
          <p:spPr>
            <a:xfrm>
              <a:off x="1358647" y="1926826"/>
              <a:ext cx="339" cy="434"/>
            </a:xfrm>
            <a:custGeom>
              <a:avLst/>
              <a:gdLst/>
              <a:ahLst/>
              <a:cxnLst/>
              <a:rect l="l" t="t" r="r" b="b"/>
              <a:pathLst>
                <a:path w="25" h="32" extrusionOk="0">
                  <a:moveTo>
                    <a:pt x="0" y="32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2" name="Google Shape;6189;p64">
              <a:extLst>
                <a:ext uri="{FF2B5EF4-FFF2-40B4-BE49-F238E27FC236}">
                  <a16:creationId xmlns:a16="http://schemas.microsoft.com/office/drawing/2014/main" id="{5E9E340B-C042-6886-E2C8-C38DAC3B2604}"/>
                </a:ext>
              </a:extLst>
            </p:cNvPr>
            <p:cNvSpPr/>
            <p:nvPr/>
          </p:nvSpPr>
          <p:spPr>
            <a:xfrm>
              <a:off x="1377465" y="1910085"/>
              <a:ext cx="1955" cy="14"/>
            </a:xfrm>
            <a:custGeom>
              <a:avLst/>
              <a:gdLst/>
              <a:ahLst/>
              <a:cxnLst/>
              <a:rect l="l" t="t" r="r" b="b"/>
              <a:pathLst>
                <a:path w="144" h="1" extrusionOk="0">
                  <a:moveTo>
                    <a:pt x="144" y="1"/>
                  </a:moveTo>
                  <a:lnTo>
                    <a:pt x="144" y="1"/>
                  </a:lnTo>
                  <a:lnTo>
                    <a:pt x="0" y="1"/>
                  </a:lnTo>
                  <a:cubicBezTo>
                    <a:pt x="60" y="1"/>
                    <a:pt x="105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3" name="Google Shape;6190;p64">
              <a:extLst>
                <a:ext uri="{FF2B5EF4-FFF2-40B4-BE49-F238E27FC236}">
                  <a16:creationId xmlns:a16="http://schemas.microsoft.com/office/drawing/2014/main" id="{D357FA39-86B7-26E4-F707-3A9CE192E7E2}"/>
                </a:ext>
              </a:extLst>
            </p:cNvPr>
            <p:cNvSpPr/>
            <p:nvPr/>
          </p:nvSpPr>
          <p:spPr>
            <a:xfrm>
              <a:off x="1359788" y="1925441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0" y="22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4" name="Google Shape;6191;p64">
              <a:extLst>
                <a:ext uri="{FF2B5EF4-FFF2-40B4-BE49-F238E27FC236}">
                  <a16:creationId xmlns:a16="http://schemas.microsoft.com/office/drawing/2014/main" id="{6B26952B-6CD5-85D8-C7C7-504CA635796B}"/>
                </a:ext>
              </a:extLst>
            </p:cNvPr>
            <p:cNvSpPr/>
            <p:nvPr/>
          </p:nvSpPr>
          <p:spPr>
            <a:xfrm>
              <a:off x="1359448" y="1925876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5" name="Google Shape;6192;p64">
              <a:extLst>
                <a:ext uri="{FF2B5EF4-FFF2-40B4-BE49-F238E27FC236}">
                  <a16:creationId xmlns:a16="http://schemas.microsoft.com/office/drawing/2014/main" id="{E061ED64-BD08-4BDA-E83E-1CAEC7733979}"/>
                </a:ext>
              </a:extLst>
            </p:cNvPr>
            <p:cNvSpPr/>
            <p:nvPr/>
          </p:nvSpPr>
          <p:spPr>
            <a:xfrm>
              <a:off x="1360113" y="192511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6" name="Google Shape;6193;p64">
              <a:extLst>
                <a:ext uri="{FF2B5EF4-FFF2-40B4-BE49-F238E27FC236}">
                  <a16:creationId xmlns:a16="http://schemas.microsoft.com/office/drawing/2014/main" id="{A514F72D-82F6-A85E-86FA-17F13BA51A8B}"/>
                </a:ext>
              </a:extLst>
            </p:cNvPr>
            <p:cNvSpPr/>
            <p:nvPr/>
          </p:nvSpPr>
          <p:spPr>
            <a:xfrm>
              <a:off x="1361213" y="192378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7" name="Google Shape;6194;p64">
              <a:extLst>
                <a:ext uri="{FF2B5EF4-FFF2-40B4-BE49-F238E27FC236}">
                  <a16:creationId xmlns:a16="http://schemas.microsoft.com/office/drawing/2014/main" id="{D5FF3E40-624B-6B30-3A6F-1D91C3E93E31}"/>
                </a:ext>
              </a:extLst>
            </p:cNvPr>
            <p:cNvSpPr/>
            <p:nvPr/>
          </p:nvSpPr>
          <p:spPr>
            <a:xfrm>
              <a:off x="1360643" y="1924450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8" name="Google Shape;6195;p64">
              <a:extLst>
                <a:ext uri="{FF2B5EF4-FFF2-40B4-BE49-F238E27FC236}">
                  <a16:creationId xmlns:a16="http://schemas.microsoft.com/office/drawing/2014/main" id="{0F9AE214-48F5-DA11-DD59-7C1A2CFEBF90}"/>
                </a:ext>
              </a:extLst>
            </p:cNvPr>
            <p:cNvSpPr/>
            <p:nvPr/>
          </p:nvSpPr>
          <p:spPr>
            <a:xfrm>
              <a:off x="1360399" y="1924735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9" name="Google Shape;6196;p64">
              <a:extLst>
                <a:ext uri="{FF2B5EF4-FFF2-40B4-BE49-F238E27FC236}">
                  <a16:creationId xmlns:a16="http://schemas.microsoft.com/office/drawing/2014/main" id="{7F7C6CC0-73A3-0D30-C891-34E66FC75928}"/>
                </a:ext>
              </a:extLst>
            </p:cNvPr>
            <p:cNvSpPr/>
            <p:nvPr/>
          </p:nvSpPr>
          <p:spPr>
            <a:xfrm>
              <a:off x="1359068" y="1926351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0" name="Google Shape;6197;p64">
              <a:extLst>
                <a:ext uri="{FF2B5EF4-FFF2-40B4-BE49-F238E27FC236}">
                  <a16:creationId xmlns:a16="http://schemas.microsoft.com/office/drawing/2014/main" id="{B7B1F34B-2848-BAF4-310A-393F00FCB140}"/>
                </a:ext>
              </a:extLst>
            </p:cNvPr>
            <p:cNvSpPr/>
            <p:nvPr/>
          </p:nvSpPr>
          <p:spPr>
            <a:xfrm>
              <a:off x="1380833" y="1905333"/>
              <a:ext cx="7386" cy="17841"/>
            </a:xfrm>
            <a:custGeom>
              <a:avLst/>
              <a:gdLst/>
              <a:ahLst/>
              <a:cxnLst/>
              <a:rect l="l" t="t" r="r" b="b"/>
              <a:pathLst>
                <a:path w="544" h="1314" extrusionOk="0">
                  <a:moveTo>
                    <a:pt x="397" y="1"/>
                  </a:moveTo>
                  <a:cubicBezTo>
                    <a:pt x="341" y="4"/>
                    <a:pt x="250" y="120"/>
                    <a:pt x="194" y="193"/>
                  </a:cubicBezTo>
                  <a:lnTo>
                    <a:pt x="173" y="225"/>
                  </a:lnTo>
                  <a:cubicBezTo>
                    <a:pt x="155" y="246"/>
                    <a:pt x="141" y="267"/>
                    <a:pt x="127" y="281"/>
                  </a:cubicBezTo>
                  <a:lnTo>
                    <a:pt x="127" y="284"/>
                  </a:lnTo>
                  <a:lnTo>
                    <a:pt x="120" y="291"/>
                  </a:lnTo>
                  <a:lnTo>
                    <a:pt x="116" y="298"/>
                  </a:lnTo>
                  <a:lnTo>
                    <a:pt x="109" y="305"/>
                  </a:lnTo>
                  <a:lnTo>
                    <a:pt x="106" y="309"/>
                  </a:lnTo>
                  <a:lnTo>
                    <a:pt x="99" y="316"/>
                  </a:lnTo>
                  <a:lnTo>
                    <a:pt x="95" y="319"/>
                  </a:lnTo>
                  <a:lnTo>
                    <a:pt x="88" y="323"/>
                  </a:lnTo>
                  <a:lnTo>
                    <a:pt x="85" y="326"/>
                  </a:lnTo>
                  <a:lnTo>
                    <a:pt x="78" y="330"/>
                  </a:lnTo>
                  <a:lnTo>
                    <a:pt x="74" y="333"/>
                  </a:lnTo>
                  <a:lnTo>
                    <a:pt x="64" y="333"/>
                  </a:lnTo>
                  <a:cubicBezTo>
                    <a:pt x="53" y="337"/>
                    <a:pt x="43" y="340"/>
                    <a:pt x="32" y="340"/>
                  </a:cubicBezTo>
                  <a:lnTo>
                    <a:pt x="1" y="1314"/>
                  </a:lnTo>
                  <a:lnTo>
                    <a:pt x="155" y="1293"/>
                  </a:lnTo>
                  <a:cubicBezTo>
                    <a:pt x="190" y="1188"/>
                    <a:pt x="253" y="1093"/>
                    <a:pt x="341" y="1023"/>
                  </a:cubicBezTo>
                  <a:cubicBezTo>
                    <a:pt x="418" y="963"/>
                    <a:pt x="397" y="771"/>
                    <a:pt x="376" y="603"/>
                  </a:cubicBezTo>
                  <a:cubicBezTo>
                    <a:pt x="351" y="379"/>
                    <a:pt x="323" y="148"/>
                    <a:pt x="512" y="102"/>
                  </a:cubicBezTo>
                  <a:cubicBezTo>
                    <a:pt x="523" y="99"/>
                    <a:pt x="533" y="95"/>
                    <a:pt x="544" y="88"/>
                  </a:cubicBezTo>
                  <a:cubicBezTo>
                    <a:pt x="523" y="74"/>
                    <a:pt x="505" y="60"/>
                    <a:pt x="491" y="46"/>
                  </a:cubicBezTo>
                  <a:lnTo>
                    <a:pt x="470" y="32"/>
                  </a:lnTo>
                  <a:lnTo>
                    <a:pt x="456" y="22"/>
                  </a:lnTo>
                  <a:lnTo>
                    <a:pt x="449" y="22"/>
                  </a:lnTo>
                  <a:cubicBezTo>
                    <a:pt x="435" y="8"/>
                    <a:pt x="418" y="1"/>
                    <a:pt x="3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1" name="Google Shape;6198;p64">
              <a:extLst>
                <a:ext uri="{FF2B5EF4-FFF2-40B4-BE49-F238E27FC236}">
                  <a16:creationId xmlns:a16="http://schemas.microsoft.com/office/drawing/2014/main" id="{99A50287-E48D-3A52-673A-8D6B0F4BEFC1}"/>
                </a:ext>
              </a:extLst>
            </p:cNvPr>
            <p:cNvSpPr/>
            <p:nvPr/>
          </p:nvSpPr>
          <p:spPr>
            <a:xfrm>
              <a:off x="1381973" y="190966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2" name="Google Shape;6199;p64">
              <a:extLst>
                <a:ext uri="{FF2B5EF4-FFF2-40B4-BE49-F238E27FC236}">
                  <a16:creationId xmlns:a16="http://schemas.microsoft.com/office/drawing/2014/main" id="{5CD6183B-8514-A4CC-53D3-C9521289E9AB}"/>
                </a:ext>
              </a:extLst>
            </p:cNvPr>
            <p:cNvSpPr/>
            <p:nvPr/>
          </p:nvSpPr>
          <p:spPr>
            <a:xfrm>
              <a:off x="1381837" y="19098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3" name="Google Shape;6200;p64">
              <a:extLst>
                <a:ext uri="{FF2B5EF4-FFF2-40B4-BE49-F238E27FC236}">
                  <a16:creationId xmlns:a16="http://schemas.microsoft.com/office/drawing/2014/main" id="{FBD269F5-1678-C0B8-77D7-3AAEF1037B2A}"/>
                </a:ext>
              </a:extLst>
            </p:cNvPr>
            <p:cNvSpPr/>
            <p:nvPr/>
          </p:nvSpPr>
          <p:spPr>
            <a:xfrm>
              <a:off x="1386970" y="190561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4" name="Google Shape;6201;p64">
              <a:extLst>
                <a:ext uri="{FF2B5EF4-FFF2-40B4-BE49-F238E27FC236}">
                  <a16:creationId xmlns:a16="http://schemas.microsoft.com/office/drawing/2014/main" id="{A0F8A982-9A36-3ECA-719E-EA48C7A7EC58}"/>
                </a:ext>
              </a:extLst>
            </p:cNvPr>
            <p:cNvSpPr/>
            <p:nvPr/>
          </p:nvSpPr>
          <p:spPr>
            <a:xfrm>
              <a:off x="1382123" y="19095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5" name="Google Shape;6202;p64">
              <a:extLst>
                <a:ext uri="{FF2B5EF4-FFF2-40B4-BE49-F238E27FC236}">
                  <a16:creationId xmlns:a16="http://schemas.microsoft.com/office/drawing/2014/main" id="{6814989E-3F30-3399-04D8-3CF59ACB309E}"/>
                </a:ext>
              </a:extLst>
            </p:cNvPr>
            <p:cNvSpPr/>
            <p:nvPr/>
          </p:nvSpPr>
          <p:spPr>
            <a:xfrm>
              <a:off x="1382543" y="1908374"/>
              <a:ext cx="584" cy="774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1" y="57"/>
                  </a:moveTo>
                  <a:cubicBezTo>
                    <a:pt x="11" y="43"/>
                    <a:pt x="25" y="22"/>
                    <a:pt x="43" y="1"/>
                  </a:cubicBezTo>
                  <a:cubicBezTo>
                    <a:pt x="25" y="22"/>
                    <a:pt x="11" y="43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6" name="Google Shape;6203;p64">
              <a:extLst>
                <a:ext uri="{FF2B5EF4-FFF2-40B4-BE49-F238E27FC236}">
                  <a16:creationId xmlns:a16="http://schemas.microsoft.com/office/drawing/2014/main" id="{6C462F54-84E4-965A-A3EE-DD7C8797AFB7}"/>
                </a:ext>
              </a:extLst>
            </p:cNvPr>
            <p:cNvSpPr/>
            <p:nvPr/>
          </p:nvSpPr>
          <p:spPr>
            <a:xfrm>
              <a:off x="1387214" y="190576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7" name="Google Shape;6204;p64">
              <a:extLst>
                <a:ext uri="{FF2B5EF4-FFF2-40B4-BE49-F238E27FC236}">
                  <a16:creationId xmlns:a16="http://schemas.microsoft.com/office/drawing/2014/main" id="{61F38086-5CB0-8574-ACDD-814A78377EE7}"/>
                </a:ext>
              </a:extLst>
            </p:cNvPr>
            <p:cNvSpPr/>
            <p:nvPr/>
          </p:nvSpPr>
          <p:spPr>
            <a:xfrm>
              <a:off x="1382408" y="190918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8" name="Google Shape;6205;p64">
              <a:extLst>
                <a:ext uri="{FF2B5EF4-FFF2-40B4-BE49-F238E27FC236}">
                  <a16:creationId xmlns:a16="http://schemas.microsoft.com/office/drawing/2014/main" id="{55CE80D2-ECA1-1378-8BDC-24D78818D19C}"/>
                </a:ext>
              </a:extLst>
            </p:cNvPr>
            <p:cNvSpPr/>
            <p:nvPr/>
          </p:nvSpPr>
          <p:spPr>
            <a:xfrm>
              <a:off x="1381593" y="19099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9" name="Google Shape;6206;p64">
              <a:extLst>
                <a:ext uri="{FF2B5EF4-FFF2-40B4-BE49-F238E27FC236}">
                  <a16:creationId xmlns:a16="http://schemas.microsoft.com/office/drawing/2014/main" id="{C804FCAA-3617-685F-8714-B5639750D9C7}"/>
                </a:ext>
              </a:extLst>
            </p:cNvPr>
            <p:cNvSpPr/>
            <p:nvPr/>
          </p:nvSpPr>
          <p:spPr>
            <a:xfrm>
              <a:off x="1387499" y="1905957"/>
              <a:ext cx="720" cy="584"/>
            </a:xfrm>
            <a:custGeom>
              <a:avLst/>
              <a:gdLst/>
              <a:ahLst/>
              <a:cxnLst/>
              <a:rect l="l" t="t" r="r" b="b"/>
              <a:pathLst>
                <a:path w="53" h="43" extrusionOk="0">
                  <a:moveTo>
                    <a:pt x="0" y="0"/>
                  </a:moveTo>
                  <a:cubicBezTo>
                    <a:pt x="14" y="14"/>
                    <a:pt x="32" y="25"/>
                    <a:pt x="53" y="42"/>
                  </a:cubicBezTo>
                  <a:cubicBezTo>
                    <a:pt x="32" y="25"/>
                    <a:pt x="1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0" name="Google Shape;6207;p64">
              <a:extLst>
                <a:ext uri="{FF2B5EF4-FFF2-40B4-BE49-F238E27FC236}">
                  <a16:creationId xmlns:a16="http://schemas.microsoft.com/office/drawing/2014/main" id="{563827DD-C678-4632-EDD6-C557A5534A21}"/>
                </a:ext>
              </a:extLst>
            </p:cNvPr>
            <p:cNvSpPr/>
            <p:nvPr/>
          </p:nvSpPr>
          <p:spPr>
            <a:xfrm>
              <a:off x="1382258" y="190937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1" name="Google Shape;6208;p64">
              <a:extLst>
                <a:ext uri="{FF2B5EF4-FFF2-40B4-BE49-F238E27FC236}">
                  <a16:creationId xmlns:a16="http://schemas.microsoft.com/office/drawing/2014/main" id="{44ADAE11-0983-A10B-CF51-272142E7F5D7}"/>
                </a:ext>
              </a:extLst>
            </p:cNvPr>
            <p:cNvSpPr/>
            <p:nvPr/>
          </p:nvSpPr>
          <p:spPr>
            <a:xfrm>
              <a:off x="1381688" y="190985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4" y="0"/>
                  </a:moveTo>
                  <a:lnTo>
                    <a:pt x="1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2" name="Google Shape;6209;p64">
              <a:extLst>
                <a:ext uri="{FF2B5EF4-FFF2-40B4-BE49-F238E27FC236}">
                  <a16:creationId xmlns:a16="http://schemas.microsoft.com/office/drawing/2014/main" id="{DED8D347-407B-148E-6650-1B57C57F0AE2}"/>
                </a:ext>
              </a:extLst>
            </p:cNvPr>
            <p:cNvSpPr/>
            <p:nvPr/>
          </p:nvSpPr>
          <p:spPr>
            <a:xfrm>
              <a:off x="1380833" y="1922875"/>
              <a:ext cx="2105" cy="299"/>
            </a:xfrm>
            <a:custGeom>
              <a:avLst/>
              <a:gdLst/>
              <a:ahLst/>
              <a:cxnLst/>
              <a:rect l="l" t="t" r="r" b="b"/>
              <a:pathLst>
                <a:path w="155" h="22" extrusionOk="0">
                  <a:moveTo>
                    <a:pt x="155" y="1"/>
                  </a:moveTo>
                  <a:lnTo>
                    <a:pt x="155" y="1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3" name="Google Shape;6210;p64">
              <a:extLst>
                <a:ext uri="{FF2B5EF4-FFF2-40B4-BE49-F238E27FC236}">
                  <a16:creationId xmlns:a16="http://schemas.microsoft.com/office/drawing/2014/main" id="{3956F0F9-AC0C-43EE-0276-00AE53EBA5BE}"/>
                </a:ext>
              </a:extLst>
            </p:cNvPr>
            <p:cNvSpPr/>
            <p:nvPr/>
          </p:nvSpPr>
          <p:spPr>
            <a:xfrm>
              <a:off x="1490539" y="1892285"/>
              <a:ext cx="19416" cy="14772"/>
            </a:xfrm>
            <a:custGeom>
              <a:avLst/>
              <a:gdLst/>
              <a:ahLst/>
              <a:cxnLst/>
              <a:rect l="l" t="t" r="r" b="b"/>
              <a:pathLst>
                <a:path w="1430" h="1088" extrusionOk="0">
                  <a:moveTo>
                    <a:pt x="793" y="0"/>
                  </a:moveTo>
                  <a:cubicBezTo>
                    <a:pt x="749" y="0"/>
                    <a:pt x="711" y="8"/>
                    <a:pt x="684" y="27"/>
                  </a:cubicBezTo>
                  <a:cubicBezTo>
                    <a:pt x="659" y="45"/>
                    <a:pt x="656" y="59"/>
                    <a:pt x="652" y="69"/>
                  </a:cubicBezTo>
                  <a:cubicBezTo>
                    <a:pt x="645" y="136"/>
                    <a:pt x="757" y="262"/>
                    <a:pt x="848" y="360"/>
                  </a:cubicBezTo>
                  <a:cubicBezTo>
                    <a:pt x="964" y="489"/>
                    <a:pt x="1076" y="612"/>
                    <a:pt x="1076" y="727"/>
                  </a:cubicBezTo>
                  <a:cubicBezTo>
                    <a:pt x="1076" y="762"/>
                    <a:pt x="1058" y="794"/>
                    <a:pt x="1034" y="818"/>
                  </a:cubicBezTo>
                  <a:cubicBezTo>
                    <a:pt x="978" y="872"/>
                    <a:pt x="876" y="886"/>
                    <a:pt x="722" y="886"/>
                  </a:cubicBezTo>
                  <a:cubicBezTo>
                    <a:pt x="664" y="886"/>
                    <a:pt x="599" y="884"/>
                    <a:pt x="526" y="881"/>
                  </a:cubicBezTo>
                  <a:cubicBezTo>
                    <a:pt x="474" y="880"/>
                    <a:pt x="412" y="879"/>
                    <a:pt x="350" y="879"/>
                  </a:cubicBezTo>
                  <a:cubicBezTo>
                    <a:pt x="190" y="879"/>
                    <a:pt x="24" y="889"/>
                    <a:pt x="1" y="944"/>
                  </a:cubicBezTo>
                  <a:cubicBezTo>
                    <a:pt x="18" y="965"/>
                    <a:pt x="36" y="979"/>
                    <a:pt x="60" y="990"/>
                  </a:cubicBezTo>
                  <a:cubicBezTo>
                    <a:pt x="137" y="1035"/>
                    <a:pt x="255" y="1066"/>
                    <a:pt x="383" y="1066"/>
                  </a:cubicBezTo>
                  <a:cubicBezTo>
                    <a:pt x="462" y="1066"/>
                    <a:pt x="544" y="1055"/>
                    <a:pt x="624" y="1028"/>
                  </a:cubicBezTo>
                  <a:cubicBezTo>
                    <a:pt x="719" y="997"/>
                    <a:pt x="817" y="979"/>
                    <a:pt x="915" y="979"/>
                  </a:cubicBezTo>
                  <a:cubicBezTo>
                    <a:pt x="1065" y="983"/>
                    <a:pt x="1212" y="1018"/>
                    <a:pt x="1345" y="1088"/>
                  </a:cubicBezTo>
                  <a:lnTo>
                    <a:pt x="1345" y="1077"/>
                  </a:lnTo>
                  <a:cubicBezTo>
                    <a:pt x="1349" y="1042"/>
                    <a:pt x="1352" y="1007"/>
                    <a:pt x="1356" y="969"/>
                  </a:cubicBezTo>
                  <a:lnTo>
                    <a:pt x="1356" y="962"/>
                  </a:lnTo>
                  <a:cubicBezTo>
                    <a:pt x="1356" y="927"/>
                    <a:pt x="1359" y="892"/>
                    <a:pt x="1363" y="857"/>
                  </a:cubicBezTo>
                  <a:lnTo>
                    <a:pt x="1363" y="843"/>
                  </a:lnTo>
                  <a:cubicBezTo>
                    <a:pt x="1366" y="808"/>
                    <a:pt x="1370" y="773"/>
                    <a:pt x="1373" y="738"/>
                  </a:cubicBezTo>
                  <a:lnTo>
                    <a:pt x="1373" y="713"/>
                  </a:lnTo>
                  <a:cubicBezTo>
                    <a:pt x="1377" y="678"/>
                    <a:pt x="1380" y="647"/>
                    <a:pt x="1384" y="612"/>
                  </a:cubicBezTo>
                  <a:lnTo>
                    <a:pt x="1384" y="594"/>
                  </a:lnTo>
                  <a:cubicBezTo>
                    <a:pt x="1387" y="563"/>
                    <a:pt x="1391" y="531"/>
                    <a:pt x="1394" y="503"/>
                  </a:cubicBezTo>
                  <a:lnTo>
                    <a:pt x="1394" y="486"/>
                  </a:lnTo>
                  <a:cubicBezTo>
                    <a:pt x="1398" y="454"/>
                    <a:pt x="1401" y="423"/>
                    <a:pt x="1405" y="391"/>
                  </a:cubicBezTo>
                  <a:lnTo>
                    <a:pt x="1405" y="367"/>
                  </a:lnTo>
                  <a:cubicBezTo>
                    <a:pt x="1408" y="339"/>
                    <a:pt x="1412" y="307"/>
                    <a:pt x="1415" y="279"/>
                  </a:cubicBezTo>
                  <a:lnTo>
                    <a:pt x="1419" y="262"/>
                  </a:lnTo>
                  <a:cubicBezTo>
                    <a:pt x="1422" y="234"/>
                    <a:pt x="1426" y="209"/>
                    <a:pt x="1429" y="185"/>
                  </a:cubicBezTo>
                  <a:lnTo>
                    <a:pt x="1429" y="174"/>
                  </a:lnTo>
                  <a:cubicBezTo>
                    <a:pt x="1370" y="157"/>
                    <a:pt x="1300" y="132"/>
                    <a:pt x="1230" y="108"/>
                  </a:cubicBezTo>
                  <a:cubicBezTo>
                    <a:pt x="1077" y="57"/>
                    <a:pt x="911" y="0"/>
                    <a:pt x="7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4" name="Google Shape;6211;p64">
              <a:extLst>
                <a:ext uri="{FF2B5EF4-FFF2-40B4-BE49-F238E27FC236}">
                  <a16:creationId xmlns:a16="http://schemas.microsoft.com/office/drawing/2014/main" id="{6AC41F71-A529-9336-76F2-6736359F63D7}"/>
                </a:ext>
              </a:extLst>
            </p:cNvPr>
            <p:cNvSpPr/>
            <p:nvPr/>
          </p:nvSpPr>
          <p:spPr>
            <a:xfrm>
              <a:off x="1510647" y="1894932"/>
              <a:ext cx="23353" cy="13252"/>
            </a:xfrm>
            <a:custGeom>
              <a:avLst/>
              <a:gdLst/>
              <a:ahLst/>
              <a:cxnLst/>
              <a:rect l="l" t="t" r="r" b="b"/>
              <a:pathLst>
                <a:path w="1720" h="976" extrusionOk="0">
                  <a:moveTo>
                    <a:pt x="457" y="0"/>
                  </a:moveTo>
                  <a:cubicBezTo>
                    <a:pt x="412" y="0"/>
                    <a:pt x="375" y="5"/>
                    <a:pt x="347" y="14"/>
                  </a:cubicBezTo>
                  <a:cubicBezTo>
                    <a:pt x="305" y="25"/>
                    <a:pt x="262" y="30"/>
                    <a:pt x="217" y="30"/>
                  </a:cubicBezTo>
                  <a:cubicBezTo>
                    <a:pt x="173" y="30"/>
                    <a:pt x="129" y="25"/>
                    <a:pt x="85" y="14"/>
                  </a:cubicBezTo>
                  <a:lnTo>
                    <a:pt x="85" y="25"/>
                  </a:lnTo>
                  <a:cubicBezTo>
                    <a:pt x="81" y="53"/>
                    <a:pt x="78" y="81"/>
                    <a:pt x="74" y="112"/>
                  </a:cubicBezTo>
                  <a:lnTo>
                    <a:pt x="74" y="126"/>
                  </a:lnTo>
                  <a:cubicBezTo>
                    <a:pt x="71" y="154"/>
                    <a:pt x="67" y="186"/>
                    <a:pt x="64" y="214"/>
                  </a:cubicBezTo>
                  <a:lnTo>
                    <a:pt x="64" y="231"/>
                  </a:lnTo>
                  <a:cubicBezTo>
                    <a:pt x="60" y="263"/>
                    <a:pt x="57" y="294"/>
                    <a:pt x="53" y="329"/>
                  </a:cubicBezTo>
                  <a:lnTo>
                    <a:pt x="50" y="354"/>
                  </a:lnTo>
                  <a:cubicBezTo>
                    <a:pt x="46" y="385"/>
                    <a:pt x="43" y="420"/>
                    <a:pt x="39" y="452"/>
                  </a:cubicBezTo>
                  <a:lnTo>
                    <a:pt x="39" y="476"/>
                  </a:lnTo>
                  <a:cubicBezTo>
                    <a:pt x="36" y="511"/>
                    <a:pt x="32" y="546"/>
                    <a:pt x="29" y="581"/>
                  </a:cubicBezTo>
                  <a:lnTo>
                    <a:pt x="29" y="595"/>
                  </a:lnTo>
                  <a:cubicBezTo>
                    <a:pt x="25" y="630"/>
                    <a:pt x="22" y="662"/>
                    <a:pt x="18" y="697"/>
                  </a:cubicBezTo>
                  <a:lnTo>
                    <a:pt x="18" y="714"/>
                  </a:lnTo>
                  <a:cubicBezTo>
                    <a:pt x="15" y="749"/>
                    <a:pt x="15" y="781"/>
                    <a:pt x="11" y="816"/>
                  </a:cubicBezTo>
                  <a:lnTo>
                    <a:pt x="8" y="847"/>
                  </a:lnTo>
                  <a:cubicBezTo>
                    <a:pt x="4" y="879"/>
                    <a:pt x="4" y="910"/>
                    <a:pt x="1" y="942"/>
                  </a:cubicBezTo>
                  <a:lnTo>
                    <a:pt x="1" y="956"/>
                  </a:lnTo>
                  <a:cubicBezTo>
                    <a:pt x="24" y="969"/>
                    <a:pt x="43" y="976"/>
                    <a:pt x="63" y="976"/>
                  </a:cubicBezTo>
                  <a:cubicBezTo>
                    <a:pt x="101" y="976"/>
                    <a:pt x="142" y="952"/>
                    <a:pt x="218" y="907"/>
                  </a:cubicBezTo>
                  <a:cubicBezTo>
                    <a:pt x="344" y="826"/>
                    <a:pt x="480" y="760"/>
                    <a:pt x="624" y="714"/>
                  </a:cubicBezTo>
                  <a:cubicBezTo>
                    <a:pt x="743" y="672"/>
                    <a:pt x="880" y="661"/>
                    <a:pt x="1017" y="661"/>
                  </a:cubicBezTo>
                  <a:cubicBezTo>
                    <a:pt x="1096" y="661"/>
                    <a:pt x="1176" y="665"/>
                    <a:pt x="1251" y="669"/>
                  </a:cubicBezTo>
                  <a:cubicBezTo>
                    <a:pt x="1319" y="671"/>
                    <a:pt x="1387" y="674"/>
                    <a:pt x="1450" y="674"/>
                  </a:cubicBezTo>
                  <a:cubicBezTo>
                    <a:pt x="1561" y="674"/>
                    <a:pt x="1655" y="665"/>
                    <a:pt x="1695" y="627"/>
                  </a:cubicBezTo>
                  <a:cubicBezTo>
                    <a:pt x="1713" y="606"/>
                    <a:pt x="1720" y="581"/>
                    <a:pt x="1716" y="557"/>
                  </a:cubicBezTo>
                  <a:cubicBezTo>
                    <a:pt x="1716" y="504"/>
                    <a:pt x="1664" y="434"/>
                    <a:pt x="1566" y="364"/>
                  </a:cubicBezTo>
                  <a:cubicBezTo>
                    <a:pt x="1286" y="163"/>
                    <a:pt x="731" y="0"/>
                    <a:pt x="4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5" name="Google Shape;6212;p64">
              <a:extLst>
                <a:ext uri="{FF2B5EF4-FFF2-40B4-BE49-F238E27FC236}">
                  <a16:creationId xmlns:a16="http://schemas.microsoft.com/office/drawing/2014/main" id="{F7FB7B87-38C5-D13A-825F-9E16971CEE53}"/>
                </a:ext>
              </a:extLst>
            </p:cNvPr>
            <p:cNvSpPr/>
            <p:nvPr/>
          </p:nvSpPr>
          <p:spPr>
            <a:xfrm>
              <a:off x="1510797" y="190438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6" name="Google Shape;6213;p64">
              <a:extLst>
                <a:ext uri="{FF2B5EF4-FFF2-40B4-BE49-F238E27FC236}">
                  <a16:creationId xmlns:a16="http://schemas.microsoft.com/office/drawing/2014/main" id="{A8BF71ED-A11D-E6DA-5169-57A6AAB0CF22}"/>
                </a:ext>
              </a:extLst>
            </p:cNvPr>
            <p:cNvSpPr/>
            <p:nvPr/>
          </p:nvSpPr>
          <p:spPr>
            <a:xfrm>
              <a:off x="1511598" y="189645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7" name="Google Shape;6214;p64">
              <a:extLst>
                <a:ext uri="{FF2B5EF4-FFF2-40B4-BE49-F238E27FC236}">
                  <a16:creationId xmlns:a16="http://schemas.microsoft.com/office/drawing/2014/main" id="{91F0F93C-F1BA-6B8A-E26B-BD0DCB4FB240}"/>
                </a:ext>
              </a:extLst>
            </p:cNvPr>
            <p:cNvSpPr/>
            <p:nvPr/>
          </p:nvSpPr>
          <p:spPr>
            <a:xfrm>
              <a:off x="1510647" y="1905998"/>
              <a:ext cx="14" cy="448"/>
            </a:xfrm>
            <a:custGeom>
              <a:avLst/>
              <a:gdLst/>
              <a:ahLst/>
              <a:cxnLst/>
              <a:rect l="l" t="t" r="r" b="b"/>
              <a:pathLst>
                <a:path w="1" h="33" extrusionOk="0">
                  <a:moveTo>
                    <a:pt x="1" y="3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8" name="Google Shape;6215;p64">
              <a:extLst>
                <a:ext uri="{FF2B5EF4-FFF2-40B4-BE49-F238E27FC236}">
                  <a16:creationId xmlns:a16="http://schemas.microsoft.com/office/drawing/2014/main" id="{299793C5-4FDA-36B3-41E3-01350D109B75}"/>
                </a:ext>
              </a:extLst>
            </p:cNvPr>
            <p:cNvSpPr/>
            <p:nvPr/>
          </p:nvSpPr>
          <p:spPr>
            <a:xfrm>
              <a:off x="1510552" y="1907709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5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9" name="Google Shape;6216;p64">
              <a:extLst>
                <a:ext uri="{FF2B5EF4-FFF2-40B4-BE49-F238E27FC236}">
                  <a16:creationId xmlns:a16="http://schemas.microsoft.com/office/drawing/2014/main" id="{7F1FA223-E557-2DFD-6321-82958DD90ECE}"/>
                </a:ext>
              </a:extLst>
            </p:cNvPr>
            <p:cNvSpPr/>
            <p:nvPr/>
          </p:nvSpPr>
          <p:spPr>
            <a:xfrm>
              <a:off x="1510932" y="190282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0" name="Google Shape;6217;p64">
              <a:extLst>
                <a:ext uri="{FF2B5EF4-FFF2-40B4-BE49-F238E27FC236}">
                  <a16:creationId xmlns:a16="http://schemas.microsoft.com/office/drawing/2014/main" id="{5A37833A-CCE6-E5F6-61F0-5FAB38DB023F}"/>
                </a:ext>
              </a:extLst>
            </p:cNvPr>
            <p:cNvSpPr/>
            <p:nvPr/>
          </p:nvSpPr>
          <p:spPr>
            <a:xfrm>
              <a:off x="1511082" y="1901056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0" y="2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1" name="Google Shape;6218;p64">
              <a:extLst>
                <a:ext uri="{FF2B5EF4-FFF2-40B4-BE49-F238E27FC236}">
                  <a16:creationId xmlns:a16="http://schemas.microsoft.com/office/drawing/2014/main" id="{3A06501B-F364-0E66-119C-E7F346E7E6E3}"/>
                </a:ext>
              </a:extLst>
            </p:cNvPr>
            <p:cNvSpPr/>
            <p:nvPr/>
          </p:nvSpPr>
          <p:spPr>
            <a:xfrm>
              <a:off x="1511462" y="189782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2" name="Google Shape;6219;p64">
              <a:extLst>
                <a:ext uri="{FF2B5EF4-FFF2-40B4-BE49-F238E27FC236}">
                  <a16:creationId xmlns:a16="http://schemas.microsoft.com/office/drawing/2014/main" id="{C36AB455-75A0-3D0E-FE6E-C7AF2A76CE18}"/>
                </a:ext>
              </a:extLst>
            </p:cNvPr>
            <p:cNvSpPr/>
            <p:nvPr/>
          </p:nvSpPr>
          <p:spPr>
            <a:xfrm>
              <a:off x="1511272" y="1899399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25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3" name="Google Shape;6220;p64">
              <a:extLst>
                <a:ext uri="{FF2B5EF4-FFF2-40B4-BE49-F238E27FC236}">
                  <a16:creationId xmlns:a16="http://schemas.microsoft.com/office/drawing/2014/main" id="{E54E270E-5FA4-B8C5-D5FF-F2F6400AD13A}"/>
                </a:ext>
              </a:extLst>
            </p:cNvPr>
            <p:cNvSpPr/>
            <p:nvPr/>
          </p:nvSpPr>
          <p:spPr>
            <a:xfrm>
              <a:off x="1511788" y="1895068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4" name="Google Shape;6221;p64">
              <a:extLst>
                <a:ext uri="{FF2B5EF4-FFF2-40B4-BE49-F238E27FC236}">
                  <a16:creationId xmlns:a16="http://schemas.microsoft.com/office/drawing/2014/main" id="{47E8803A-CB85-B2FF-E6BF-F884C986048F}"/>
                </a:ext>
              </a:extLst>
            </p:cNvPr>
            <p:cNvSpPr/>
            <p:nvPr/>
          </p:nvSpPr>
          <p:spPr>
            <a:xfrm>
              <a:off x="1394193" y="1931619"/>
              <a:ext cx="29585" cy="30481"/>
            </a:xfrm>
            <a:custGeom>
              <a:avLst/>
              <a:gdLst/>
              <a:ahLst/>
              <a:cxnLst/>
              <a:rect l="l" t="t" r="r" b="b"/>
              <a:pathLst>
                <a:path w="2179" h="2245" extrusionOk="0">
                  <a:moveTo>
                    <a:pt x="2164" y="1"/>
                  </a:moveTo>
                  <a:lnTo>
                    <a:pt x="2136" y="8"/>
                  </a:lnTo>
                  <a:lnTo>
                    <a:pt x="2108" y="15"/>
                  </a:lnTo>
                  <a:lnTo>
                    <a:pt x="2084" y="22"/>
                  </a:lnTo>
                  <a:lnTo>
                    <a:pt x="2063" y="29"/>
                  </a:lnTo>
                  <a:lnTo>
                    <a:pt x="2031" y="39"/>
                  </a:lnTo>
                  <a:lnTo>
                    <a:pt x="2007" y="50"/>
                  </a:lnTo>
                  <a:lnTo>
                    <a:pt x="1986" y="60"/>
                  </a:lnTo>
                  <a:lnTo>
                    <a:pt x="1951" y="78"/>
                  </a:lnTo>
                  <a:lnTo>
                    <a:pt x="1933" y="85"/>
                  </a:lnTo>
                  <a:lnTo>
                    <a:pt x="1905" y="102"/>
                  </a:lnTo>
                  <a:lnTo>
                    <a:pt x="1881" y="116"/>
                  </a:lnTo>
                  <a:lnTo>
                    <a:pt x="1863" y="123"/>
                  </a:lnTo>
                  <a:lnTo>
                    <a:pt x="1832" y="144"/>
                  </a:lnTo>
                  <a:lnTo>
                    <a:pt x="1818" y="151"/>
                  </a:lnTo>
                  <a:lnTo>
                    <a:pt x="1786" y="172"/>
                  </a:lnTo>
                  <a:cubicBezTo>
                    <a:pt x="1709" y="218"/>
                    <a:pt x="1660" y="249"/>
                    <a:pt x="1618" y="253"/>
                  </a:cubicBezTo>
                  <a:cubicBezTo>
                    <a:pt x="1606" y="254"/>
                    <a:pt x="1593" y="254"/>
                    <a:pt x="1580" y="254"/>
                  </a:cubicBezTo>
                  <a:cubicBezTo>
                    <a:pt x="1550" y="254"/>
                    <a:pt x="1518" y="252"/>
                    <a:pt x="1489" y="249"/>
                  </a:cubicBezTo>
                  <a:cubicBezTo>
                    <a:pt x="1439" y="245"/>
                    <a:pt x="1390" y="242"/>
                    <a:pt x="1345" y="242"/>
                  </a:cubicBezTo>
                  <a:cubicBezTo>
                    <a:pt x="1242" y="242"/>
                    <a:pt x="1160" y="259"/>
                    <a:pt x="1145" y="319"/>
                  </a:cubicBezTo>
                  <a:cubicBezTo>
                    <a:pt x="1082" y="582"/>
                    <a:pt x="753" y="610"/>
                    <a:pt x="491" y="627"/>
                  </a:cubicBezTo>
                  <a:cubicBezTo>
                    <a:pt x="487" y="627"/>
                    <a:pt x="483" y="627"/>
                    <a:pt x="479" y="627"/>
                  </a:cubicBezTo>
                  <a:cubicBezTo>
                    <a:pt x="438" y="627"/>
                    <a:pt x="397" y="644"/>
                    <a:pt x="368" y="669"/>
                  </a:cubicBezTo>
                  <a:cubicBezTo>
                    <a:pt x="340" y="704"/>
                    <a:pt x="358" y="771"/>
                    <a:pt x="368" y="816"/>
                  </a:cubicBezTo>
                  <a:cubicBezTo>
                    <a:pt x="375" y="848"/>
                    <a:pt x="379" y="876"/>
                    <a:pt x="375" y="904"/>
                  </a:cubicBezTo>
                  <a:cubicBezTo>
                    <a:pt x="375" y="914"/>
                    <a:pt x="372" y="921"/>
                    <a:pt x="368" y="928"/>
                  </a:cubicBezTo>
                  <a:lnTo>
                    <a:pt x="368" y="932"/>
                  </a:lnTo>
                  <a:cubicBezTo>
                    <a:pt x="344" y="984"/>
                    <a:pt x="232" y="1072"/>
                    <a:pt x="186" y="1107"/>
                  </a:cubicBezTo>
                  <a:lnTo>
                    <a:pt x="176" y="1114"/>
                  </a:lnTo>
                  <a:lnTo>
                    <a:pt x="4" y="1152"/>
                  </a:lnTo>
                  <a:cubicBezTo>
                    <a:pt x="1" y="1195"/>
                    <a:pt x="22" y="1233"/>
                    <a:pt x="60" y="1251"/>
                  </a:cubicBezTo>
                  <a:cubicBezTo>
                    <a:pt x="165" y="1307"/>
                    <a:pt x="277" y="1436"/>
                    <a:pt x="396" y="1573"/>
                  </a:cubicBezTo>
                  <a:cubicBezTo>
                    <a:pt x="515" y="1709"/>
                    <a:pt x="631" y="1842"/>
                    <a:pt x="725" y="1891"/>
                  </a:cubicBezTo>
                  <a:cubicBezTo>
                    <a:pt x="816" y="1937"/>
                    <a:pt x="886" y="2014"/>
                    <a:pt x="925" y="2101"/>
                  </a:cubicBezTo>
                  <a:lnTo>
                    <a:pt x="1121" y="2101"/>
                  </a:lnTo>
                  <a:lnTo>
                    <a:pt x="1142" y="2105"/>
                  </a:lnTo>
                  <a:lnTo>
                    <a:pt x="1156" y="2108"/>
                  </a:lnTo>
                  <a:lnTo>
                    <a:pt x="1177" y="2115"/>
                  </a:lnTo>
                  <a:lnTo>
                    <a:pt x="1187" y="2119"/>
                  </a:lnTo>
                  <a:cubicBezTo>
                    <a:pt x="1194" y="2122"/>
                    <a:pt x="1205" y="2126"/>
                    <a:pt x="1215" y="2129"/>
                  </a:cubicBezTo>
                  <a:cubicBezTo>
                    <a:pt x="1264" y="2144"/>
                    <a:pt x="1316" y="2154"/>
                    <a:pt x="1370" y="2154"/>
                  </a:cubicBezTo>
                  <a:cubicBezTo>
                    <a:pt x="1378" y="2154"/>
                    <a:pt x="1386" y="2154"/>
                    <a:pt x="1394" y="2154"/>
                  </a:cubicBezTo>
                  <a:lnTo>
                    <a:pt x="1426" y="2154"/>
                  </a:lnTo>
                  <a:cubicBezTo>
                    <a:pt x="1552" y="2157"/>
                    <a:pt x="1681" y="2161"/>
                    <a:pt x="1765" y="2224"/>
                  </a:cubicBezTo>
                  <a:cubicBezTo>
                    <a:pt x="1772" y="2227"/>
                    <a:pt x="1776" y="2231"/>
                    <a:pt x="1783" y="2234"/>
                  </a:cubicBezTo>
                  <a:lnTo>
                    <a:pt x="1790" y="2238"/>
                  </a:lnTo>
                  <a:lnTo>
                    <a:pt x="1807" y="2241"/>
                  </a:lnTo>
                  <a:lnTo>
                    <a:pt x="1814" y="2241"/>
                  </a:lnTo>
                  <a:lnTo>
                    <a:pt x="1835" y="2245"/>
                  </a:lnTo>
                  <a:lnTo>
                    <a:pt x="1877" y="2245"/>
                  </a:lnTo>
                  <a:cubicBezTo>
                    <a:pt x="1870" y="2234"/>
                    <a:pt x="1867" y="2224"/>
                    <a:pt x="1863" y="2217"/>
                  </a:cubicBezTo>
                  <a:cubicBezTo>
                    <a:pt x="1779" y="2073"/>
                    <a:pt x="1863" y="1842"/>
                    <a:pt x="1940" y="1615"/>
                  </a:cubicBezTo>
                  <a:cubicBezTo>
                    <a:pt x="1958" y="1566"/>
                    <a:pt x="1975" y="1517"/>
                    <a:pt x="1989" y="1471"/>
                  </a:cubicBezTo>
                  <a:cubicBezTo>
                    <a:pt x="2017" y="1384"/>
                    <a:pt x="2010" y="1223"/>
                    <a:pt x="2003" y="1068"/>
                  </a:cubicBezTo>
                  <a:cubicBezTo>
                    <a:pt x="1993" y="837"/>
                    <a:pt x="1982" y="617"/>
                    <a:pt x="2077" y="515"/>
                  </a:cubicBezTo>
                  <a:cubicBezTo>
                    <a:pt x="2143" y="442"/>
                    <a:pt x="2147" y="393"/>
                    <a:pt x="2150" y="277"/>
                  </a:cubicBezTo>
                  <a:cubicBezTo>
                    <a:pt x="2154" y="183"/>
                    <a:pt x="2164" y="92"/>
                    <a:pt x="217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5" name="Google Shape;6222;p64">
              <a:extLst>
                <a:ext uri="{FF2B5EF4-FFF2-40B4-BE49-F238E27FC236}">
                  <a16:creationId xmlns:a16="http://schemas.microsoft.com/office/drawing/2014/main" id="{E397AF39-5892-9AFD-DFF0-AF8BD0A29195}"/>
                </a:ext>
              </a:extLst>
            </p:cNvPr>
            <p:cNvSpPr/>
            <p:nvPr/>
          </p:nvSpPr>
          <p:spPr>
            <a:xfrm>
              <a:off x="1418863" y="193361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6" name="Google Shape;6223;p64">
              <a:extLst>
                <a:ext uri="{FF2B5EF4-FFF2-40B4-BE49-F238E27FC236}">
                  <a16:creationId xmlns:a16="http://schemas.microsoft.com/office/drawing/2014/main" id="{8E071AD5-2DC2-2590-4AA3-D846137C948F}"/>
                </a:ext>
              </a:extLst>
            </p:cNvPr>
            <p:cNvSpPr/>
            <p:nvPr/>
          </p:nvSpPr>
          <p:spPr>
            <a:xfrm>
              <a:off x="1419488" y="1933194"/>
              <a:ext cx="244" cy="149"/>
            </a:xfrm>
            <a:custGeom>
              <a:avLst/>
              <a:gdLst/>
              <a:ahLst/>
              <a:cxnLst/>
              <a:rect l="l" t="t" r="r" b="b"/>
              <a:pathLst>
                <a:path w="18" h="11" extrusionOk="0">
                  <a:moveTo>
                    <a:pt x="0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7" name="Google Shape;6224;p64">
              <a:extLst>
                <a:ext uri="{FF2B5EF4-FFF2-40B4-BE49-F238E27FC236}">
                  <a16:creationId xmlns:a16="http://schemas.microsoft.com/office/drawing/2014/main" id="{B47A1B95-A26C-04A6-E710-459D7777F10B}"/>
                </a:ext>
              </a:extLst>
            </p:cNvPr>
            <p:cNvSpPr/>
            <p:nvPr/>
          </p:nvSpPr>
          <p:spPr>
            <a:xfrm>
              <a:off x="1421429" y="1932189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8" name="Google Shape;6225;p64">
              <a:extLst>
                <a:ext uri="{FF2B5EF4-FFF2-40B4-BE49-F238E27FC236}">
                  <a16:creationId xmlns:a16="http://schemas.microsoft.com/office/drawing/2014/main" id="{3BE0E36D-20DB-5BA4-D76C-E2AFD5003C9F}"/>
                </a:ext>
              </a:extLst>
            </p:cNvPr>
            <p:cNvSpPr/>
            <p:nvPr/>
          </p:nvSpPr>
          <p:spPr>
            <a:xfrm>
              <a:off x="1420058" y="193281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14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9" name="Google Shape;6226;p64">
              <a:extLst>
                <a:ext uri="{FF2B5EF4-FFF2-40B4-BE49-F238E27FC236}">
                  <a16:creationId xmlns:a16="http://schemas.microsoft.com/office/drawing/2014/main" id="{C02A584F-D99F-9DCD-99C5-5F4432E63C7E}"/>
                </a:ext>
              </a:extLst>
            </p:cNvPr>
            <p:cNvSpPr/>
            <p:nvPr/>
          </p:nvSpPr>
          <p:spPr>
            <a:xfrm>
              <a:off x="1423575" y="193161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0" name="Google Shape;6227;p64">
              <a:extLst>
                <a:ext uri="{FF2B5EF4-FFF2-40B4-BE49-F238E27FC236}">
                  <a16:creationId xmlns:a16="http://schemas.microsoft.com/office/drawing/2014/main" id="{FCC4F137-DD0E-8AEA-B0ED-5DCC09245EE2}"/>
                </a:ext>
              </a:extLst>
            </p:cNvPr>
            <p:cNvSpPr/>
            <p:nvPr/>
          </p:nvSpPr>
          <p:spPr>
            <a:xfrm>
              <a:off x="1422190" y="193195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1" name="Google Shape;6228;p64">
              <a:extLst>
                <a:ext uri="{FF2B5EF4-FFF2-40B4-BE49-F238E27FC236}">
                  <a16:creationId xmlns:a16="http://schemas.microsoft.com/office/drawing/2014/main" id="{6519EC46-8277-F027-1109-ABF3B969EDB5}"/>
                </a:ext>
              </a:extLst>
            </p:cNvPr>
            <p:cNvSpPr/>
            <p:nvPr/>
          </p:nvSpPr>
          <p:spPr>
            <a:xfrm>
              <a:off x="1422814" y="1931768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0" y="7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2" name="Google Shape;6229;p64">
              <a:extLst>
                <a:ext uri="{FF2B5EF4-FFF2-40B4-BE49-F238E27FC236}">
                  <a16:creationId xmlns:a16="http://schemas.microsoft.com/office/drawing/2014/main" id="{870B1E92-BDF1-A518-453E-2E70FDA69B7D}"/>
                </a:ext>
              </a:extLst>
            </p:cNvPr>
            <p:cNvSpPr/>
            <p:nvPr/>
          </p:nvSpPr>
          <p:spPr>
            <a:xfrm>
              <a:off x="1399189" y="194425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3" name="Google Shape;6230;p64">
              <a:extLst>
                <a:ext uri="{FF2B5EF4-FFF2-40B4-BE49-F238E27FC236}">
                  <a16:creationId xmlns:a16="http://schemas.microsoft.com/office/drawing/2014/main" id="{63B5D953-BC78-91C1-5B8E-8867B4661778}"/>
                </a:ext>
              </a:extLst>
            </p:cNvPr>
            <p:cNvSpPr/>
            <p:nvPr/>
          </p:nvSpPr>
          <p:spPr>
            <a:xfrm>
              <a:off x="1420669" y="1932433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1" y="18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4" name="Google Shape;6231;p64">
              <a:extLst>
                <a:ext uri="{FF2B5EF4-FFF2-40B4-BE49-F238E27FC236}">
                  <a16:creationId xmlns:a16="http://schemas.microsoft.com/office/drawing/2014/main" id="{F56B0207-B26F-FB1D-095B-50FCDBE2C69C}"/>
                </a:ext>
              </a:extLst>
            </p:cNvPr>
            <p:cNvSpPr/>
            <p:nvPr/>
          </p:nvSpPr>
          <p:spPr>
            <a:xfrm>
              <a:off x="1399135" y="1942793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1" y="0"/>
                  </a:moveTo>
                  <a:cubicBezTo>
                    <a:pt x="11" y="28"/>
                    <a:pt x="15" y="56"/>
                    <a:pt x="11" y="88"/>
                  </a:cubicBezTo>
                  <a:cubicBezTo>
                    <a:pt x="15" y="56"/>
                    <a:pt x="11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5" name="Google Shape;6232;p64">
              <a:extLst>
                <a:ext uri="{FF2B5EF4-FFF2-40B4-BE49-F238E27FC236}">
                  <a16:creationId xmlns:a16="http://schemas.microsoft.com/office/drawing/2014/main" id="{1802977B-7B8A-339C-E895-20A481C4F1C0}"/>
                </a:ext>
              </a:extLst>
            </p:cNvPr>
            <p:cNvSpPr/>
            <p:nvPr/>
          </p:nvSpPr>
          <p:spPr>
            <a:xfrm>
              <a:off x="1494680" y="2006254"/>
              <a:ext cx="293288" cy="299506"/>
            </a:xfrm>
            <a:custGeom>
              <a:avLst/>
              <a:gdLst/>
              <a:ahLst/>
              <a:cxnLst/>
              <a:rect l="l" t="t" r="r" b="b"/>
              <a:pathLst>
                <a:path w="21601" h="22059" extrusionOk="0">
                  <a:moveTo>
                    <a:pt x="7492" y="0"/>
                  </a:moveTo>
                  <a:lnTo>
                    <a:pt x="7482" y="4"/>
                  </a:lnTo>
                  <a:lnTo>
                    <a:pt x="7475" y="7"/>
                  </a:lnTo>
                  <a:cubicBezTo>
                    <a:pt x="7471" y="7"/>
                    <a:pt x="7468" y="11"/>
                    <a:pt x="7464" y="11"/>
                  </a:cubicBezTo>
                  <a:cubicBezTo>
                    <a:pt x="7440" y="32"/>
                    <a:pt x="7419" y="56"/>
                    <a:pt x="7408" y="81"/>
                  </a:cubicBezTo>
                  <a:cubicBezTo>
                    <a:pt x="7398" y="98"/>
                    <a:pt x="7391" y="112"/>
                    <a:pt x="7384" y="130"/>
                  </a:cubicBezTo>
                  <a:cubicBezTo>
                    <a:pt x="7359" y="193"/>
                    <a:pt x="7317" y="249"/>
                    <a:pt x="7261" y="291"/>
                  </a:cubicBezTo>
                  <a:lnTo>
                    <a:pt x="7247" y="298"/>
                  </a:lnTo>
                  <a:cubicBezTo>
                    <a:pt x="7240" y="305"/>
                    <a:pt x="7230" y="308"/>
                    <a:pt x="7223" y="308"/>
                  </a:cubicBezTo>
                  <a:cubicBezTo>
                    <a:pt x="7177" y="329"/>
                    <a:pt x="7132" y="347"/>
                    <a:pt x="7090" y="371"/>
                  </a:cubicBezTo>
                  <a:lnTo>
                    <a:pt x="7034" y="399"/>
                  </a:lnTo>
                  <a:cubicBezTo>
                    <a:pt x="6876" y="483"/>
                    <a:pt x="6701" y="574"/>
                    <a:pt x="6568" y="578"/>
                  </a:cubicBezTo>
                  <a:cubicBezTo>
                    <a:pt x="6563" y="579"/>
                    <a:pt x="6558" y="579"/>
                    <a:pt x="6553" y="579"/>
                  </a:cubicBezTo>
                  <a:cubicBezTo>
                    <a:pt x="6540" y="579"/>
                    <a:pt x="6528" y="577"/>
                    <a:pt x="6516" y="574"/>
                  </a:cubicBezTo>
                  <a:cubicBezTo>
                    <a:pt x="6493" y="570"/>
                    <a:pt x="6471" y="568"/>
                    <a:pt x="6449" y="568"/>
                  </a:cubicBezTo>
                  <a:cubicBezTo>
                    <a:pt x="6383" y="568"/>
                    <a:pt x="6318" y="587"/>
                    <a:pt x="6263" y="623"/>
                  </a:cubicBezTo>
                  <a:cubicBezTo>
                    <a:pt x="6232" y="648"/>
                    <a:pt x="6214" y="686"/>
                    <a:pt x="6218" y="725"/>
                  </a:cubicBezTo>
                  <a:cubicBezTo>
                    <a:pt x="6218" y="847"/>
                    <a:pt x="6151" y="900"/>
                    <a:pt x="6085" y="907"/>
                  </a:cubicBezTo>
                  <a:cubicBezTo>
                    <a:pt x="6079" y="907"/>
                    <a:pt x="6074" y="908"/>
                    <a:pt x="6068" y="908"/>
                  </a:cubicBezTo>
                  <a:cubicBezTo>
                    <a:pt x="5980" y="908"/>
                    <a:pt x="5898" y="830"/>
                    <a:pt x="5871" y="721"/>
                  </a:cubicBezTo>
                  <a:cubicBezTo>
                    <a:pt x="5864" y="686"/>
                    <a:pt x="5759" y="679"/>
                    <a:pt x="5679" y="669"/>
                  </a:cubicBezTo>
                  <a:cubicBezTo>
                    <a:pt x="5581" y="662"/>
                    <a:pt x="5476" y="651"/>
                    <a:pt x="5413" y="592"/>
                  </a:cubicBezTo>
                  <a:cubicBezTo>
                    <a:pt x="5392" y="574"/>
                    <a:pt x="5367" y="567"/>
                    <a:pt x="5339" y="564"/>
                  </a:cubicBezTo>
                  <a:lnTo>
                    <a:pt x="5332" y="564"/>
                  </a:lnTo>
                  <a:cubicBezTo>
                    <a:pt x="5306" y="561"/>
                    <a:pt x="5279" y="559"/>
                    <a:pt x="5252" y="559"/>
                  </a:cubicBezTo>
                  <a:cubicBezTo>
                    <a:pt x="5219" y="559"/>
                    <a:pt x="5186" y="561"/>
                    <a:pt x="5154" y="567"/>
                  </a:cubicBezTo>
                  <a:cubicBezTo>
                    <a:pt x="5360" y="697"/>
                    <a:pt x="5378" y="837"/>
                    <a:pt x="5378" y="1022"/>
                  </a:cubicBezTo>
                  <a:cubicBezTo>
                    <a:pt x="5374" y="1064"/>
                    <a:pt x="5395" y="1103"/>
                    <a:pt x="5427" y="1131"/>
                  </a:cubicBezTo>
                  <a:cubicBezTo>
                    <a:pt x="5497" y="1190"/>
                    <a:pt x="5532" y="1278"/>
                    <a:pt x="5525" y="1365"/>
                  </a:cubicBezTo>
                  <a:cubicBezTo>
                    <a:pt x="5525" y="1383"/>
                    <a:pt x="5528" y="1400"/>
                    <a:pt x="5532" y="1414"/>
                  </a:cubicBezTo>
                  <a:cubicBezTo>
                    <a:pt x="5556" y="1411"/>
                    <a:pt x="5584" y="1404"/>
                    <a:pt x="5609" y="1397"/>
                  </a:cubicBezTo>
                  <a:cubicBezTo>
                    <a:pt x="5647" y="1379"/>
                    <a:pt x="5693" y="1369"/>
                    <a:pt x="5738" y="1365"/>
                  </a:cubicBezTo>
                  <a:cubicBezTo>
                    <a:pt x="5815" y="1365"/>
                    <a:pt x="5878" y="1425"/>
                    <a:pt x="5882" y="1502"/>
                  </a:cubicBezTo>
                  <a:cubicBezTo>
                    <a:pt x="5892" y="1593"/>
                    <a:pt x="5826" y="1701"/>
                    <a:pt x="5686" y="1726"/>
                  </a:cubicBezTo>
                  <a:cubicBezTo>
                    <a:pt x="5542" y="1750"/>
                    <a:pt x="5472" y="1820"/>
                    <a:pt x="5423" y="1975"/>
                  </a:cubicBezTo>
                  <a:cubicBezTo>
                    <a:pt x="5381" y="2108"/>
                    <a:pt x="5280" y="2118"/>
                    <a:pt x="5206" y="2125"/>
                  </a:cubicBezTo>
                  <a:cubicBezTo>
                    <a:pt x="5147" y="2129"/>
                    <a:pt x="5087" y="2150"/>
                    <a:pt x="5042" y="2188"/>
                  </a:cubicBezTo>
                  <a:lnTo>
                    <a:pt x="5007" y="2216"/>
                  </a:lnTo>
                  <a:cubicBezTo>
                    <a:pt x="4937" y="2290"/>
                    <a:pt x="4853" y="2353"/>
                    <a:pt x="4765" y="2398"/>
                  </a:cubicBezTo>
                  <a:cubicBezTo>
                    <a:pt x="4738" y="2412"/>
                    <a:pt x="4710" y="2419"/>
                    <a:pt x="4682" y="2419"/>
                  </a:cubicBezTo>
                  <a:cubicBezTo>
                    <a:pt x="4648" y="2419"/>
                    <a:pt x="4614" y="2409"/>
                    <a:pt x="4583" y="2388"/>
                  </a:cubicBezTo>
                  <a:cubicBezTo>
                    <a:pt x="4564" y="2375"/>
                    <a:pt x="4547" y="2368"/>
                    <a:pt x="4527" y="2368"/>
                  </a:cubicBezTo>
                  <a:cubicBezTo>
                    <a:pt x="4488" y="2368"/>
                    <a:pt x="4443" y="2393"/>
                    <a:pt x="4366" y="2437"/>
                  </a:cubicBezTo>
                  <a:lnTo>
                    <a:pt x="4359" y="2440"/>
                  </a:lnTo>
                  <a:cubicBezTo>
                    <a:pt x="4349" y="2447"/>
                    <a:pt x="4338" y="2451"/>
                    <a:pt x="4331" y="2454"/>
                  </a:cubicBezTo>
                  <a:lnTo>
                    <a:pt x="4321" y="2458"/>
                  </a:lnTo>
                  <a:lnTo>
                    <a:pt x="4303" y="2465"/>
                  </a:lnTo>
                  <a:lnTo>
                    <a:pt x="4293" y="2468"/>
                  </a:lnTo>
                  <a:lnTo>
                    <a:pt x="4275" y="2472"/>
                  </a:lnTo>
                  <a:lnTo>
                    <a:pt x="4212" y="2472"/>
                  </a:lnTo>
                  <a:lnTo>
                    <a:pt x="4191" y="2468"/>
                  </a:lnTo>
                  <a:lnTo>
                    <a:pt x="4184" y="2468"/>
                  </a:lnTo>
                  <a:cubicBezTo>
                    <a:pt x="4177" y="2465"/>
                    <a:pt x="4170" y="2461"/>
                    <a:pt x="4159" y="2458"/>
                  </a:cubicBezTo>
                  <a:lnTo>
                    <a:pt x="4156" y="2458"/>
                  </a:lnTo>
                  <a:lnTo>
                    <a:pt x="4135" y="2447"/>
                  </a:lnTo>
                  <a:lnTo>
                    <a:pt x="4128" y="2440"/>
                  </a:lnTo>
                  <a:lnTo>
                    <a:pt x="4107" y="2430"/>
                  </a:lnTo>
                  <a:lnTo>
                    <a:pt x="4103" y="2426"/>
                  </a:lnTo>
                  <a:lnTo>
                    <a:pt x="4079" y="2405"/>
                  </a:lnTo>
                  <a:lnTo>
                    <a:pt x="4072" y="2402"/>
                  </a:lnTo>
                  <a:lnTo>
                    <a:pt x="4051" y="2384"/>
                  </a:lnTo>
                  <a:lnTo>
                    <a:pt x="4044" y="2377"/>
                  </a:lnTo>
                  <a:lnTo>
                    <a:pt x="4016" y="2356"/>
                  </a:lnTo>
                  <a:lnTo>
                    <a:pt x="3956" y="2307"/>
                  </a:lnTo>
                  <a:cubicBezTo>
                    <a:pt x="3886" y="2244"/>
                    <a:pt x="3827" y="2167"/>
                    <a:pt x="3781" y="2083"/>
                  </a:cubicBezTo>
                  <a:lnTo>
                    <a:pt x="3757" y="2045"/>
                  </a:lnTo>
                  <a:lnTo>
                    <a:pt x="3750" y="2031"/>
                  </a:lnTo>
                  <a:lnTo>
                    <a:pt x="3736" y="2006"/>
                  </a:lnTo>
                  <a:lnTo>
                    <a:pt x="3722" y="1989"/>
                  </a:lnTo>
                  <a:lnTo>
                    <a:pt x="3708" y="1968"/>
                  </a:lnTo>
                  <a:lnTo>
                    <a:pt x="3697" y="1950"/>
                  </a:lnTo>
                  <a:lnTo>
                    <a:pt x="3680" y="1929"/>
                  </a:lnTo>
                  <a:lnTo>
                    <a:pt x="3669" y="1908"/>
                  </a:lnTo>
                  <a:lnTo>
                    <a:pt x="3652" y="1887"/>
                  </a:lnTo>
                  <a:lnTo>
                    <a:pt x="3638" y="1869"/>
                  </a:lnTo>
                  <a:lnTo>
                    <a:pt x="3620" y="1848"/>
                  </a:lnTo>
                  <a:lnTo>
                    <a:pt x="3603" y="1827"/>
                  </a:lnTo>
                  <a:lnTo>
                    <a:pt x="3585" y="1806"/>
                  </a:lnTo>
                  <a:lnTo>
                    <a:pt x="3568" y="1789"/>
                  </a:lnTo>
                  <a:lnTo>
                    <a:pt x="3564" y="1785"/>
                  </a:lnTo>
                  <a:cubicBezTo>
                    <a:pt x="3522" y="1806"/>
                    <a:pt x="3466" y="1824"/>
                    <a:pt x="3414" y="1841"/>
                  </a:cubicBezTo>
                  <a:cubicBezTo>
                    <a:pt x="3302" y="1887"/>
                    <a:pt x="3183" y="1915"/>
                    <a:pt x="3060" y="1926"/>
                  </a:cubicBezTo>
                  <a:lnTo>
                    <a:pt x="3043" y="1926"/>
                  </a:lnTo>
                  <a:cubicBezTo>
                    <a:pt x="3008" y="1926"/>
                    <a:pt x="2955" y="1926"/>
                    <a:pt x="2892" y="1922"/>
                  </a:cubicBezTo>
                  <a:cubicBezTo>
                    <a:pt x="2833" y="1921"/>
                    <a:pt x="2735" y="1918"/>
                    <a:pt x="2634" y="1918"/>
                  </a:cubicBezTo>
                  <a:cubicBezTo>
                    <a:pt x="2498" y="1918"/>
                    <a:pt x="2356" y="1923"/>
                    <a:pt x="2297" y="1943"/>
                  </a:cubicBezTo>
                  <a:cubicBezTo>
                    <a:pt x="2290" y="1943"/>
                    <a:pt x="2283" y="1947"/>
                    <a:pt x="2280" y="1950"/>
                  </a:cubicBezTo>
                  <a:cubicBezTo>
                    <a:pt x="2273" y="2003"/>
                    <a:pt x="2283" y="2052"/>
                    <a:pt x="2311" y="2097"/>
                  </a:cubicBezTo>
                  <a:cubicBezTo>
                    <a:pt x="2322" y="2125"/>
                    <a:pt x="2346" y="2146"/>
                    <a:pt x="2374" y="2157"/>
                  </a:cubicBezTo>
                  <a:cubicBezTo>
                    <a:pt x="2469" y="2178"/>
                    <a:pt x="2591" y="2220"/>
                    <a:pt x="2616" y="2314"/>
                  </a:cubicBezTo>
                  <a:cubicBezTo>
                    <a:pt x="2637" y="2412"/>
                    <a:pt x="2539" y="2479"/>
                    <a:pt x="2507" y="2500"/>
                  </a:cubicBezTo>
                  <a:cubicBezTo>
                    <a:pt x="2437" y="2549"/>
                    <a:pt x="2357" y="2573"/>
                    <a:pt x="2269" y="2577"/>
                  </a:cubicBezTo>
                  <a:cubicBezTo>
                    <a:pt x="2182" y="2584"/>
                    <a:pt x="2164" y="2587"/>
                    <a:pt x="2164" y="2741"/>
                  </a:cubicBezTo>
                  <a:cubicBezTo>
                    <a:pt x="2164" y="2776"/>
                    <a:pt x="2168" y="2811"/>
                    <a:pt x="2178" y="2843"/>
                  </a:cubicBezTo>
                  <a:cubicBezTo>
                    <a:pt x="2217" y="2948"/>
                    <a:pt x="2269" y="3046"/>
                    <a:pt x="2339" y="3130"/>
                  </a:cubicBezTo>
                  <a:cubicBezTo>
                    <a:pt x="2423" y="3245"/>
                    <a:pt x="2511" y="3368"/>
                    <a:pt x="2525" y="3504"/>
                  </a:cubicBezTo>
                  <a:cubicBezTo>
                    <a:pt x="2528" y="3550"/>
                    <a:pt x="2525" y="3599"/>
                    <a:pt x="2511" y="3648"/>
                  </a:cubicBezTo>
                  <a:cubicBezTo>
                    <a:pt x="2451" y="3886"/>
                    <a:pt x="2416" y="4128"/>
                    <a:pt x="2402" y="4376"/>
                  </a:cubicBezTo>
                  <a:cubicBezTo>
                    <a:pt x="2402" y="4383"/>
                    <a:pt x="2381" y="4996"/>
                    <a:pt x="2199" y="5150"/>
                  </a:cubicBezTo>
                  <a:lnTo>
                    <a:pt x="2220" y="5178"/>
                  </a:lnTo>
                  <a:lnTo>
                    <a:pt x="2129" y="5185"/>
                  </a:lnTo>
                  <a:cubicBezTo>
                    <a:pt x="2108" y="5188"/>
                    <a:pt x="2090" y="5188"/>
                    <a:pt x="2069" y="5188"/>
                  </a:cubicBezTo>
                  <a:lnTo>
                    <a:pt x="2066" y="5188"/>
                  </a:lnTo>
                  <a:cubicBezTo>
                    <a:pt x="2027" y="5185"/>
                    <a:pt x="1985" y="5178"/>
                    <a:pt x="1950" y="5164"/>
                  </a:cubicBezTo>
                  <a:cubicBezTo>
                    <a:pt x="1911" y="5153"/>
                    <a:pt x="1876" y="5143"/>
                    <a:pt x="1840" y="5143"/>
                  </a:cubicBezTo>
                  <a:cubicBezTo>
                    <a:pt x="1795" y="5143"/>
                    <a:pt x="1751" y="5158"/>
                    <a:pt x="1698" y="5202"/>
                  </a:cubicBezTo>
                  <a:cubicBezTo>
                    <a:pt x="1625" y="5262"/>
                    <a:pt x="1534" y="5300"/>
                    <a:pt x="1443" y="5314"/>
                  </a:cubicBezTo>
                  <a:cubicBezTo>
                    <a:pt x="1411" y="5321"/>
                    <a:pt x="1383" y="5325"/>
                    <a:pt x="1355" y="5328"/>
                  </a:cubicBezTo>
                  <a:cubicBezTo>
                    <a:pt x="1324" y="5335"/>
                    <a:pt x="1299" y="5339"/>
                    <a:pt x="1271" y="5346"/>
                  </a:cubicBezTo>
                  <a:cubicBezTo>
                    <a:pt x="1184" y="5356"/>
                    <a:pt x="1103" y="5391"/>
                    <a:pt x="1033" y="5444"/>
                  </a:cubicBezTo>
                  <a:cubicBezTo>
                    <a:pt x="956" y="5503"/>
                    <a:pt x="865" y="5549"/>
                    <a:pt x="774" y="5577"/>
                  </a:cubicBezTo>
                  <a:lnTo>
                    <a:pt x="739" y="5587"/>
                  </a:lnTo>
                  <a:cubicBezTo>
                    <a:pt x="620" y="5626"/>
                    <a:pt x="578" y="5643"/>
                    <a:pt x="575" y="5720"/>
                  </a:cubicBezTo>
                  <a:cubicBezTo>
                    <a:pt x="561" y="5818"/>
                    <a:pt x="522" y="5909"/>
                    <a:pt x="466" y="5990"/>
                  </a:cubicBezTo>
                  <a:cubicBezTo>
                    <a:pt x="410" y="6081"/>
                    <a:pt x="379" y="6141"/>
                    <a:pt x="393" y="6214"/>
                  </a:cubicBezTo>
                  <a:cubicBezTo>
                    <a:pt x="438" y="6389"/>
                    <a:pt x="347" y="6438"/>
                    <a:pt x="267" y="6477"/>
                  </a:cubicBezTo>
                  <a:cubicBezTo>
                    <a:pt x="218" y="6501"/>
                    <a:pt x="172" y="6533"/>
                    <a:pt x="134" y="6568"/>
                  </a:cubicBezTo>
                  <a:cubicBezTo>
                    <a:pt x="81" y="6624"/>
                    <a:pt x="88" y="6659"/>
                    <a:pt x="99" y="6715"/>
                  </a:cubicBezTo>
                  <a:cubicBezTo>
                    <a:pt x="120" y="6788"/>
                    <a:pt x="106" y="6865"/>
                    <a:pt x="56" y="6921"/>
                  </a:cubicBezTo>
                  <a:cubicBezTo>
                    <a:pt x="0" y="6988"/>
                    <a:pt x="92" y="7131"/>
                    <a:pt x="183" y="7268"/>
                  </a:cubicBezTo>
                  <a:lnTo>
                    <a:pt x="211" y="7313"/>
                  </a:lnTo>
                  <a:cubicBezTo>
                    <a:pt x="235" y="7352"/>
                    <a:pt x="260" y="7390"/>
                    <a:pt x="288" y="7425"/>
                  </a:cubicBezTo>
                  <a:cubicBezTo>
                    <a:pt x="375" y="7555"/>
                    <a:pt x="463" y="7674"/>
                    <a:pt x="445" y="7824"/>
                  </a:cubicBezTo>
                  <a:cubicBezTo>
                    <a:pt x="438" y="7859"/>
                    <a:pt x="449" y="7894"/>
                    <a:pt x="473" y="7922"/>
                  </a:cubicBezTo>
                  <a:cubicBezTo>
                    <a:pt x="499" y="7949"/>
                    <a:pt x="547" y="7963"/>
                    <a:pt x="609" y="7963"/>
                  </a:cubicBezTo>
                  <a:cubicBezTo>
                    <a:pt x="621" y="7963"/>
                    <a:pt x="635" y="7962"/>
                    <a:pt x="648" y="7961"/>
                  </a:cubicBezTo>
                  <a:cubicBezTo>
                    <a:pt x="654" y="7960"/>
                    <a:pt x="659" y="7960"/>
                    <a:pt x="665" y="7960"/>
                  </a:cubicBezTo>
                  <a:cubicBezTo>
                    <a:pt x="780" y="7960"/>
                    <a:pt x="806" y="8066"/>
                    <a:pt x="823" y="8133"/>
                  </a:cubicBezTo>
                  <a:cubicBezTo>
                    <a:pt x="848" y="8231"/>
                    <a:pt x="862" y="8269"/>
                    <a:pt x="946" y="8269"/>
                  </a:cubicBezTo>
                  <a:cubicBezTo>
                    <a:pt x="1012" y="8269"/>
                    <a:pt x="1079" y="8273"/>
                    <a:pt x="1138" y="8276"/>
                  </a:cubicBezTo>
                  <a:cubicBezTo>
                    <a:pt x="1191" y="8280"/>
                    <a:pt x="1242" y="8283"/>
                    <a:pt x="1289" y="8283"/>
                  </a:cubicBezTo>
                  <a:cubicBezTo>
                    <a:pt x="1379" y="8283"/>
                    <a:pt x="1450" y="8271"/>
                    <a:pt x="1471" y="8227"/>
                  </a:cubicBezTo>
                  <a:cubicBezTo>
                    <a:pt x="1516" y="8122"/>
                    <a:pt x="1613" y="8025"/>
                    <a:pt x="1707" y="8025"/>
                  </a:cubicBezTo>
                  <a:cubicBezTo>
                    <a:pt x="1716" y="8025"/>
                    <a:pt x="1725" y="8026"/>
                    <a:pt x="1733" y="8027"/>
                  </a:cubicBezTo>
                  <a:cubicBezTo>
                    <a:pt x="1772" y="8034"/>
                    <a:pt x="1838" y="8069"/>
                    <a:pt x="1838" y="8206"/>
                  </a:cubicBezTo>
                  <a:cubicBezTo>
                    <a:pt x="1838" y="8238"/>
                    <a:pt x="1838" y="8280"/>
                    <a:pt x="1835" y="8329"/>
                  </a:cubicBezTo>
                  <a:cubicBezTo>
                    <a:pt x="1831" y="8448"/>
                    <a:pt x="1821" y="8805"/>
                    <a:pt x="1877" y="8857"/>
                  </a:cubicBezTo>
                  <a:cubicBezTo>
                    <a:pt x="1898" y="8850"/>
                    <a:pt x="1915" y="8843"/>
                    <a:pt x="1933" y="8840"/>
                  </a:cubicBezTo>
                  <a:lnTo>
                    <a:pt x="1943" y="8840"/>
                  </a:lnTo>
                  <a:cubicBezTo>
                    <a:pt x="2027" y="8821"/>
                    <a:pt x="2113" y="8812"/>
                    <a:pt x="2199" y="8812"/>
                  </a:cubicBezTo>
                  <a:cubicBezTo>
                    <a:pt x="2242" y="8812"/>
                    <a:pt x="2285" y="8814"/>
                    <a:pt x="2329" y="8819"/>
                  </a:cubicBezTo>
                  <a:lnTo>
                    <a:pt x="2329" y="8815"/>
                  </a:lnTo>
                  <a:lnTo>
                    <a:pt x="2395" y="8822"/>
                  </a:lnTo>
                  <a:cubicBezTo>
                    <a:pt x="2444" y="8829"/>
                    <a:pt x="2497" y="8836"/>
                    <a:pt x="2546" y="8847"/>
                  </a:cubicBezTo>
                  <a:lnTo>
                    <a:pt x="2549" y="8847"/>
                  </a:lnTo>
                  <a:lnTo>
                    <a:pt x="2581" y="8857"/>
                  </a:lnTo>
                  <a:lnTo>
                    <a:pt x="2598" y="8861"/>
                  </a:lnTo>
                  <a:lnTo>
                    <a:pt x="2637" y="8871"/>
                  </a:lnTo>
                  <a:cubicBezTo>
                    <a:pt x="2677" y="8885"/>
                    <a:pt x="2719" y="8892"/>
                    <a:pt x="2761" y="8892"/>
                  </a:cubicBezTo>
                  <a:cubicBezTo>
                    <a:pt x="2863" y="8892"/>
                    <a:pt x="2964" y="8851"/>
                    <a:pt x="3036" y="8777"/>
                  </a:cubicBezTo>
                  <a:cubicBezTo>
                    <a:pt x="3106" y="8710"/>
                    <a:pt x="3190" y="8661"/>
                    <a:pt x="3281" y="8633"/>
                  </a:cubicBezTo>
                  <a:cubicBezTo>
                    <a:pt x="3365" y="8602"/>
                    <a:pt x="3442" y="8563"/>
                    <a:pt x="3519" y="8521"/>
                  </a:cubicBezTo>
                  <a:cubicBezTo>
                    <a:pt x="3564" y="8497"/>
                    <a:pt x="3610" y="8469"/>
                    <a:pt x="3655" y="8441"/>
                  </a:cubicBezTo>
                  <a:cubicBezTo>
                    <a:pt x="3841" y="8329"/>
                    <a:pt x="4012" y="8220"/>
                    <a:pt x="4198" y="8220"/>
                  </a:cubicBezTo>
                  <a:cubicBezTo>
                    <a:pt x="4272" y="8217"/>
                    <a:pt x="4345" y="8210"/>
                    <a:pt x="4419" y="8196"/>
                  </a:cubicBezTo>
                  <a:cubicBezTo>
                    <a:pt x="4494" y="8184"/>
                    <a:pt x="4563" y="8174"/>
                    <a:pt x="4620" y="8174"/>
                  </a:cubicBezTo>
                  <a:cubicBezTo>
                    <a:pt x="4682" y="8174"/>
                    <a:pt x="4731" y="8185"/>
                    <a:pt x="4762" y="8220"/>
                  </a:cubicBezTo>
                  <a:cubicBezTo>
                    <a:pt x="4790" y="8252"/>
                    <a:pt x="4797" y="8297"/>
                    <a:pt x="4779" y="8339"/>
                  </a:cubicBezTo>
                  <a:cubicBezTo>
                    <a:pt x="4737" y="8483"/>
                    <a:pt x="4706" y="9057"/>
                    <a:pt x="4944" y="9344"/>
                  </a:cubicBezTo>
                  <a:cubicBezTo>
                    <a:pt x="5180" y="9623"/>
                    <a:pt x="5301" y="9717"/>
                    <a:pt x="5461" y="9717"/>
                  </a:cubicBezTo>
                  <a:cubicBezTo>
                    <a:pt x="5484" y="9717"/>
                    <a:pt x="5507" y="9715"/>
                    <a:pt x="5532" y="9711"/>
                  </a:cubicBezTo>
                  <a:cubicBezTo>
                    <a:pt x="5563" y="9707"/>
                    <a:pt x="5591" y="9705"/>
                    <a:pt x="5615" y="9705"/>
                  </a:cubicBezTo>
                  <a:cubicBezTo>
                    <a:pt x="5714" y="9705"/>
                    <a:pt x="5763" y="9735"/>
                    <a:pt x="5805" y="9760"/>
                  </a:cubicBezTo>
                  <a:cubicBezTo>
                    <a:pt x="5836" y="9782"/>
                    <a:pt x="5872" y="9793"/>
                    <a:pt x="5908" y="9793"/>
                  </a:cubicBezTo>
                  <a:cubicBezTo>
                    <a:pt x="5913" y="9793"/>
                    <a:pt x="5919" y="9792"/>
                    <a:pt x="5924" y="9792"/>
                  </a:cubicBezTo>
                  <a:cubicBezTo>
                    <a:pt x="5933" y="9791"/>
                    <a:pt x="5942" y="9791"/>
                    <a:pt x="5950" y="9791"/>
                  </a:cubicBezTo>
                  <a:cubicBezTo>
                    <a:pt x="6074" y="9791"/>
                    <a:pt x="6100" y="9886"/>
                    <a:pt x="6113" y="9935"/>
                  </a:cubicBezTo>
                  <a:cubicBezTo>
                    <a:pt x="6127" y="9984"/>
                    <a:pt x="6130" y="9984"/>
                    <a:pt x="6158" y="9984"/>
                  </a:cubicBezTo>
                  <a:cubicBezTo>
                    <a:pt x="6481" y="9984"/>
                    <a:pt x="6677" y="10086"/>
                    <a:pt x="6677" y="10261"/>
                  </a:cubicBezTo>
                  <a:lnTo>
                    <a:pt x="6677" y="10268"/>
                  </a:lnTo>
                  <a:cubicBezTo>
                    <a:pt x="6695" y="10287"/>
                    <a:pt x="6759" y="10291"/>
                    <a:pt x="6825" y="10291"/>
                  </a:cubicBezTo>
                  <a:cubicBezTo>
                    <a:pt x="6859" y="10291"/>
                    <a:pt x="6892" y="10290"/>
                    <a:pt x="6922" y="10289"/>
                  </a:cubicBezTo>
                  <a:cubicBezTo>
                    <a:pt x="6949" y="10288"/>
                    <a:pt x="6977" y="10287"/>
                    <a:pt x="7004" y="10287"/>
                  </a:cubicBezTo>
                  <a:cubicBezTo>
                    <a:pt x="7043" y="10287"/>
                    <a:pt x="7082" y="10288"/>
                    <a:pt x="7121" y="10293"/>
                  </a:cubicBezTo>
                  <a:cubicBezTo>
                    <a:pt x="7167" y="10296"/>
                    <a:pt x="7212" y="10314"/>
                    <a:pt x="7251" y="10342"/>
                  </a:cubicBezTo>
                  <a:lnTo>
                    <a:pt x="7286" y="10370"/>
                  </a:lnTo>
                  <a:cubicBezTo>
                    <a:pt x="7387" y="10457"/>
                    <a:pt x="7517" y="10562"/>
                    <a:pt x="7482" y="10772"/>
                  </a:cubicBezTo>
                  <a:cubicBezTo>
                    <a:pt x="7471" y="10839"/>
                    <a:pt x="7513" y="10902"/>
                    <a:pt x="7552" y="10961"/>
                  </a:cubicBezTo>
                  <a:cubicBezTo>
                    <a:pt x="7590" y="11024"/>
                    <a:pt x="7629" y="11084"/>
                    <a:pt x="7611" y="11150"/>
                  </a:cubicBezTo>
                  <a:cubicBezTo>
                    <a:pt x="7597" y="11192"/>
                    <a:pt x="7566" y="11224"/>
                    <a:pt x="7527" y="11241"/>
                  </a:cubicBezTo>
                  <a:cubicBezTo>
                    <a:pt x="7499" y="11255"/>
                    <a:pt x="7489" y="11259"/>
                    <a:pt x="7534" y="11360"/>
                  </a:cubicBezTo>
                  <a:lnTo>
                    <a:pt x="7545" y="11381"/>
                  </a:lnTo>
                  <a:cubicBezTo>
                    <a:pt x="7587" y="11458"/>
                    <a:pt x="7615" y="11542"/>
                    <a:pt x="7629" y="11630"/>
                  </a:cubicBezTo>
                  <a:cubicBezTo>
                    <a:pt x="7639" y="11801"/>
                    <a:pt x="7860" y="11847"/>
                    <a:pt x="8070" y="11847"/>
                  </a:cubicBezTo>
                  <a:lnTo>
                    <a:pt x="8157" y="11847"/>
                  </a:lnTo>
                  <a:cubicBezTo>
                    <a:pt x="8204" y="11845"/>
                    <a:pt x="8246" y="11843"/>
                    <a:pt x="8285" y="11843"/>
                  </a:cubicBezTo>
                  <a:cubicBezTo>
                    <a:pt x="8436" y="11843"/>
                    <a:pt x="8531" y="11863"/>
                    <a:pt x="8595" y="11924"/>
                  </a:cubicBezTo>
                  <a:cubicBezTo>
                    <a:pt x="8669" y="11990"/>
                    <a:pt x="8679" y="12095"/>
                    <a:pt x="8679" y="12186"/>
                  </a:cubicBezTo>
                  <a:cubicBezTo>
                    <a:pt x="8679" y="12302"/>
                    <a:pt x="8739" y="12362"/>
                    <a:pt x="8812" y="12435"/>
                  </a:cubicBezTo>
                  <a:cubicBezTo>
                    <a:pt x="8840" y="12460"/>
                    <a:pt x="8865" y="12484"/>
                    <a:pt x="8889" y="12516"/>
                  </a:cubicBezTo>
                  <a:cubicBezTo>
                    <a:pt x="8938" y="12568"/>
                    <a:pt x="8973" y="12631"/>
                    <a:pt x="8998" y="12698"/>
                  </a:cubicBezTo>
                  <a:cubicBezTo>
                    <a:pt x="9050" y="12855"/>
                    <a:pt x="9008" y="13016"/>
                    <a:pt x="8973" y="13160"/>
                  </a:cubicBezTo>
                  <a:cubicBezTo>
                    <a:pt x="8945" y="13258"/>
                    <a:pt x="8924" y="13349"/>
                    <a:pt x="8935" y="13419"/>
                  </a:cubicBezTo>
                  <a:cubicBezTo>
                    <a:pt x="8938" y="13436"/>
                    <a:pt x="8938" y="13454"/>
                    <a:pt x="8938" y="13471"/>
                  </a:cubicBezTo>
                  <a:lnTo>
                    <a:pt x="8938" y="13496"/>
                  </a:lnTo>
                  <a:lnTo>
                    <a:pt x="8938" y="13520"/>
                  </a:lnTo>
                  <a:cubicBezTo>
                    <a:pt x="8938" y="13527"/>
                    <a:pt x="8938" y="13541"/>
                    <a:pt x="8935" y="13552"/>
                  </a:cubicBezTo>
                  <a:lnTo>
                    <a:pt x="8931" y="13566"/>
                  </a:lnTo>
                  <a:cubicBezTo>
                    <a:pt x="8931" y="13580"/>
                    <a:pt x="8928" y="13590"/>
                    <a:pt x="8924" y="13601"/>
                  </a:cubicBezTo>
                  <a:cubicBezTo>
                    <a:pt x="8921" y="13615"/>
                    <a:pt x="8921" y="13611"/>
                    <a:pt x="8917" y="13618"/>
                  </a:cubicBezTo>
                  <a:cubicBezTo>
                    <a:pt x="8917" y="13622"/>
                    <a:pt x="8910" y="13639"/>
                    <a:pt x="8907" y="13650"/>
                  </a:cubicBezTo>
                  <a:cubicBezTo>
                    <a:pt x="8903" y="13660"/>
                    <a:pt x="8900" y="13667"/>
                    <a:pt x="8896" y="13678"/>
                  </a:cubicBezTo>
                  <a:cubicBezTo>
                    <a:pt x="8889" y="13685"/>
                    <a:pt x="8889" y="13688"/>
                    <a:pt x="8886" y="13692"/>
                  </a:cubicBezTo>
                  <a:cubicBezTo>
                    <a:pt x="8872" y="13723"/>
                    <a:pt x="8851" y="13755"/>
                    <a:pt x="8826" y="13779"/>
                  </a:cubicBezTo>
                  <a:cubicBezTo>
                    <a:pt x="8819" y="13793"/>
                    <a:pt x="8809" y="13804"/>
                    <a:pt x="8798" y="13814"/>
                  </a:cubicBezTo>
                  <a:lnTo>
                    <a:pt x="8805" y="13825"/>
                  </a:lnTo>
                  <a:lnTo>
                    <a:pt x="8812" y="13835"/>
                  </a:lnTo>
                  <a:cubicBezTo>
                    <a:pt x="8819" y="13846"/>
                    <a:pt x="8823" y="13853"/>
                    <a:pt x="8826" y="13860"/>
                  </a:cubicBezTo>
                  <a:lnTo>
                    <a:pt x="8833" y="13867"/>
                  </a:lnTo>
                  <a:cubicBezTo>
                    <a:pt x="8837" y="13877"/>
                    <a:pt x="8844" y="13888"/>
                    <a:pt x="8847" y="13898"/>
                  </a:cubicBezTo>
                  <a:lnTo>
                    <a:pt x="8851" y="13905"/>
                  </a:lnTo>
                  <a:cubicBezTo>
                    <a:pt x="8854" y="13912"/>
                    <a:pt x="8858" y="13919"/>
                    <a:pt x="8861" y="13926"/>
                  </a:cubicBezTo>
                  <a:lnTo>
                    <a:pt x="8865" y="13937"/>
                  </a:lnTo>
                  <a:cubicBezTo>
                    <a:pt x="8865" y="13944"/>
                    <a:pt x="8868" y="13951"/>
                    <a:pt x="8868" y="13958"/>
                  </a:cubicBezTo>
                  <a:cubicBezTo>
                    <a:pt x="8868" y="13965"/>
                    <a:pt x="8868" y="13965"/>
                    <a:pt x="8868" y="13968"/>
                  </a:cubicBezTo>
                  <a:cubicBezTo>
                    <a:pt x="8868" y="13975"/>
                    <a:pt x="8868" y="13982"/>
                    <a:pt x="8868" y="13986"/>
                  </a:cubicBezTo>
                  <a:lnTo>
                    <a:pt x="8868" y="13996"/>
                  </a:lnTo>
                  <a:cubicBezTo>
                    <a:pt x="8868" y="14007"/>
                    <a:pt x="8868" y="14014"/>
                    <a:pt x="8865" y="14024"/>
                  </a:cubicBezTo>
                  <a:cubicBezTo>
                    <a:pt x="8851" y="14080"/>
                    <a:pt x="8809" y="14126"/>
                    <a:pt x="8756" y="14150"/>
                  </a:cubicBezTo>
                  <a:cubicBezTo>
                    <a:pt x="8756" y="14150"/>
                    <a:pt x="8753" y="14154"/>
                    <a:pt x="8753" y="14154"/>
                  </a:cubicBezTo>
                  <a:cubicBezTo>
                    <a:pt x="8760" y="14196"/>
                    <a:pt x="8774" y="14234"/>
                    <a:pt x="8795" y="14269"/>
                  </a:cubicBezTo>
                  <a:cubicBezTo>
                    <a:pt x="8851" y="14389"/>
                    <a:pt x="8935" y="14564"/>
                    <a:pt x="8886" y="14781"/>
                  </a:cubicBezTo>
                  <a:lnTo>
                    <a:pt x="8886" y="14784"/>
                  </a:lnTo>
                  <a:cubicBezTo>
                    <a:pt x="8851" y="14942"/>
                    <a:pt x="8826" y="15057"/>
                    <a:pt x="8851" y="15092"/>
                  </a:cubicBezTo>
                  <a:cubicBezTo>
                    <a:pt x="8872" y="15110"/>
                    <a:pt x="8893" y="15120"/>
                    <a:pt x="8917" y="15124"/>
                  </a:cubicBezTo>
                  <a:cubicBezTo>
                    <a:pt x="8980" y="15134"/>
                    <a:pt x="9043" y="15141"/>
                    <a:pt x="9106" y="15145"/>
                  </a:cubicBezTo>
                  <a:cubicBezTo>
                    <a:pt x="9204" y="15145"/>
                    <a:pt x="9306" y="15162"/>
                    <a:pt x="9404" y="15190"/>
                  </a:cubicBezTo>
                  <a:cubicBezTo>
                    <a:pt x="9421" y="15197"/>
                    <a:pt x="9439" y="15204"/>
                    <a:pt x="9453" y="15208"/>
                  </a:cubicBezTo>
                  <a:cubicBezTo>
                    <a:pt x="9477" y="15216"/>
                    <a:pt x="9490" y="15220"/>
                    <a:pt x="9501" y="15220"/>
                  </a:cubicBezTo>
                  <a:cubicBezTo>
                    <a:pt x="9513" y="15220"/>
                    <a:pt x="9523" y="15214"/>
                    <a:pt x="9544" y="15201"/>
                  </a:cubicBezTo>
                  <a:cubicBezTo>
                    <a:pt x="9561" y="15190"/>
                    <a:pt x="9586" y="15183"/>
                    <a:pt x="9610" y="15180"/>
                  </a:cubicBezTo>
                  <a:cubicBezTo>
                    <a:pt x="9624" y="15180"/>
                    <a:pt x="9642" y="15183"/>
                    <a:pt x="9659" y="15187"/>
                  </a:cubicBezTo>
                  <a:cubicBezTo>
                    <a:pt x="9666" y="15187"/>
                    <a:pt x="9673" y="15190"/>
                    <a:pt x="9680" y="15194"/>
                  </a:cubicBezTo>
                  <a:cubicBezTo>
                    <a:pt x="9789" y="15236"/>
                    <a:pt x="9890" y="15393"/>
                    <a:pt x="9957" y="15533"/>
                  </a:cubicBezTo>
                  <a:cubicBezTo>
                    <a:pt x="9981" y="15586"/>
                    <a:pt x="10002" y="15642"/>
                    <a:pt x="10020" y="15701"/>
                  </a:cubicBezTo>
                  <a:cubicBezTo>
                    <a:pt x="10072" y="15897"/>
                    <a:pt x="10181" y="16181"/>
                    <a:pt x="10233" y="16254"/>
                  </a:cubicBezTo>
                  <a:lnTo>
                    <a:pt x="10275" y="16230"/>
                  </a:lnTo>
                  <a:cubicBezTo>
                    <a:pt x="10346" y="16190"/>
                    <a:pt x="10447" y="16132"/>
                    <a:pt x="10561" y="16132"/>
                  </a:cubicBezTo>
                  <a:cubicBezTo>
                    <a:pt x="10588" y="16132"/>
                    <a:pt x="10615" y="16135"/>
                    <a:pt x="10643" y="16142"/>
                  </a:cubicBezTo>
                  <a:cubicBezTo>
                    <a:pt x="10664" y="16149"/>
                    <a:pt x="10689" y="16156"/>
                    <a:pt x="10706" y="16167"/>
                  </a:cubicBezTo>
                  <a:cubicBezTo>
                    <a:pt x="10713" y="16170"/>
                    <a:pt x="10720" y="16174"/>
                    <a:pt x="10724" y="16177"/>
                  </a:cubicBezTo>
                  <a:cubicBezTo>
                    <a:pt x="10755" y="16202"/>
                    <a:pt x="10780" y="16230"/>
                    <a:pt x="10794" y="16265"/>
                  </a:cubicBezTo>
                  <a:cubicBezTo>
                    <a:pt x="10843" y="16401"/>
                    <a:pt x="10797" y="16629"/>
                    <a:pt x="10748" y="16867"/>
                  </a:cubicBezTo>
                  <a:cubicBezTo>
                    <a:pt x="10727" y="16965"/>
                    <a:pt x="10706" y="17060"/>
                    <a:pt x="10699" y="17137"/>
                  </a:cubicBezTo>
                  <a:lnTo>
                    <a:pt x="10738" y="17137"/>
                  </a:lnTo>
                  <a:cubicBezTo>
                    <a:pt x="10752" y="17136"/>
                    <a:pt x="10767" y="17136"/>
                    <a:pt x="10781" y="17136"/>
                  </a:cubicBezTo>
                  <a:cubicBezTo>
                    <a:pt x="10853" y="17136"/>
                    <a:pt x="10923" y="17143"/>
                    <a:pt x="10993" y="17158"/>
                  </a:cubicBezTo>
                  <a:lnTo>
                    <a:pt x="11000" y="17161"/>
                  </a:lnTo>
                  <a:lnTo>
                    <a:pt x="11007" y="17165"/>
                  </a:lnTo>
                  <a:lnTo>
                    <a:pt x="11014" y="17168"/>
                  </a:lnTo>
                  <a:cubicBezTo>
                    <a:pt x="11158" y="17238"/>
                    <a:pt x="11189" y="17875"/>
                    <a:pt x="11154" y="18057"/>
                  </a:cubicBezTo>
                  <a:lnTo>
                    <a:pt x="11154" y="18061"/>
                  </a:lnTo>
                  <a:cubicBezTo>
                    <a:pt x="11151" y="18071"/>
                    <a:pt x="11147" y="18078"/>
                    <a:pt x="11147" y="18085"/>
                  </a:cubicBezTo>
                  <a:cubicBezTo>
                    <a:pt x="11109" y="18180"/>
                    <a:pt x="10972" y="18243"/>
                    <a:pt x="10755" y="18341"/>
                  </a:cubicBezTo>
                  <a:cubicBezTo>
                    <a:pt x="10650" y="18379"/>
                    <a:pt x="10552" y="18428"/>
                    <a:pt x="10457" y="18484"/>
                  </a:cubicBezTo>
                  <a:cubicBezTo>
                    <a:pt x="10265" y="18611"/>
                    <a:pt x="9768" y="19076"/>
                    <a:pt x="9530" y="19461"/>
                  </a:cubicBezTo>
                  <a:cubicBezTo>
                    <a:pt x="9502" y="19503"/>
                    <a:pt x="9474" y="19549"/>
                    <a:pt x="9442" y="19591"/>
                  </a:cubicBezTo>
                  <a:cubicBezTo>
                    <a:pt x="9358" y="19703"/>
                    <a:pt x="9267" y="19808"/>
                    <a:pt x="9169" y="19909"/>
                  </a:cubicBezTo>
                  <a:lnTo>
                    <a:pt x="9155" y="19923"/>
                  </a:lnTo>
                  <a:lnTo>
                    <a:pt x="9162" y="19923"/>
                  </a:lnTo>
                  <a:lnTo>
                    <a:pt x="9173" y="19920"/>
                  </a:lnTo>
                  <a:lnTo>
                    <a:pt x="9180" y="19916"/>
                  </a:lnTo>
                  <a:lnTo>
                    <a:pt x="9197" y="19913"/>
                  </a:lnTo>
                  <a:lnTo>
                    <a:pt x="9204" y="19913"/>
                  </a:lnTo>
                  <a:lnTo>
                    <a:pt x="9222" y="19909"/>
                  </a:lnTo>
                  <a:lnTo>
                    <a:pt x="9225" y="19909"/>
                  </a:lnTo>
                  <a:cubicBezTo>
                    <a:pt x="9243" y="19907"/>
                    <a:pt x="9260" y="19904"/>
                    <a:pt x="9277" y="19904"/>
                  </a:cubicBezTo>
                  <a:cubicBezTo>
                    <a:pt x="9284" y="19904"/>
                    <a:pt x="9292" y="19905"/>
                    <a:pt x="9299" y="19906"/>
                  </a:cubicBezTo>
                  <a:lnTo>
                    <a:pt x="9341" y="19906"/>
                  </a:lnTo>
                  <a:lnTo>
                    <a:pt x="9358" y="19913"/>
                  </a:lnTo>
                  <a:lnTo>
                    <a:pt x="9376" y="19916"/>
                  </a:lnTo>
                  <a:lnTo>
                    <a:pt x="9393" y="19920"/>
                  </a:lnTo>
                  <a:lnTo>
                    <a:pt x="9411" y="19927"/>
                  </a:lnTo>
                  <a:lnTo>
                    <a:pt x="9432" y="19934"/>
                  </a:lnTo>
                  <a:lnTo>
                    <a:pt x="9449" y="19941"/>
                  </a:lnTo>
                  <a:lnTo>
                    <a:pt x="9470" y="19951"/>
                  </a:lnTo>
                  <a:lnTo>
                    <a:pt x="9488" y="19962"/>
                  </a:lnTo>
                  <a:lnTo>
                    <a:pt x="9509" y="19972"/>
                  </a:lnTo>
                  <a:lnTo>
                    <a:pt x="9530" y="19990"/>
                  </a:lnTo>
                  <a:lnTo>
                    <a:pt x="9551" y="20000"/>
                  </a:lnTo>
                  <a:lnTo>
                    <a:pt x="9572" y="20021"/>
                  </a:lnTo>
                  <a:lnTo>
                    <a:pt x="9589" y="20035"/>
                  </a:lnTo>
                  <a:cubicBezTo>
                    <a:pt x="9600" y="20042"/>
                    <a:pt x="9607" y="20053"/>
                    <a:pt x="9617" y="20063"/>
                  </a:cubicBezTo>
                  <a:lnTo>
                    <a:pt x="9631" y="20077"/>
                  </a:lnTo>
                  <a:cubicBezTo>
                    <a:pt x="9645" y="20091"/>
                    <a:pt x="9659" y="20105"/>
                    <a:pt x="9677" y="20123"/>
                  </a:cubicBezTo>
                  <a:cubicBezTo>
                    <a:pt x="9750" y="20214"/>
                    <a:pt x="9810" y="20315"/>
                    <a:pt x="9852" y="20424"/>
                  </a:cubicBezTo>
                  <a:cubicBezTo>
                    <a:pt x="9859" y="20438"/>
                    <a:pt x="9866" y="20455"/>
                    <a:pt x="9869" y="20466"/>
                  </a:cubicBezTo>
                  <a:cubicBezTo>
                    <a:pt x="9880" y="20459"/>
                    <a:pt x="9887" y="20448"/>
                    <a:pt x="9894" y="20438"/>
                  </a:cubicBezTo>
                  <a:cubicBezTo>
                    <a:pt x="9936" y="20389"/>
                    <a:pt x="9992" y="20319"/>
                    <a:pt x="10072" y="20319"/>
                  </a:cubicBezTo>
                  <a:lnTo>
                    <a:pt x="10076" y="20319"/>
                  </a:lnTo>
                  <a:cubicBezTo>
                    <a:pt x="10132" y="20319"/>
                    <a:pt x="10184" y="20354"/>
                    <a:pt x="10230" y="20424"/>
                  </a:cubicBezTo>
                  <a:cubicBezTo>
                    <a:pt x="10314" y="20539"/>
                    <a:pt x="10489" y="20648"/>
                    <a:pt x="10626" y="20732"/>
                  </a:cubicBezTo>
                  <a:cubicBezTo>
                    <a:pt x="10703" y="20774"/>
                    <a:pt x="10776" y="20827"/>
                    <a:pt x="10839" y="20886"/>
                  </a:cubicBezTo>
                  <a:cubicBezTo>
                    <a:pt x="10871" y="20914"/>
                    <a:pt x="10902" y="20935"/>
                    <a:pt x="10937" y="20956"/>
                  </a:cubicBezTo>
                  <a:cubicBezTo>
                    <a:pt x="11060" y="21033"/>
                    <a:pt x="11224" y="21138"/>
                    <a:pt x="11224" y="21359"/>
                  </a:cubicBezTo>
                  <a:cubicBezTo>
                    <a:pt x="11224" y="21404"/>
                    <a:pt x="11217" y="21460"/>
                    <a:pt x="11214" y="21523"/>
                  </a:cubicBezTo>
                  <a:cubicBezTo>
                    <a:pt x="11214" y="21541"/>
                    <a:pt x="11210" y="21558"/>
                    <a:pt x="11207" y="21576"/>
                  </a:cubicBezTo>
                  <a:lnTo>
                    <a:pt x="11207" y="21586"/>
                  </a:lnTo>
                  <a:cubicBezTo>
                    <a:pt x="11207" y="21604"/>
                    <a:pt x="11207" y="21625"/>
                    <a:pt x="11203" y="21642"/>
                  </a:cubicBezTo>
                  <a:lnTo>
                    <a:pt x="11203" y="21653"/>
                  </a:lnTo>
                  <a:cubicBezTo>
                    <a:pt x="11203" y="21674"/>
                    <a:pt x="11200" y="21695"/>
                    <a:pt x="11200" y="21716"/>
                  </a:cubicBezTo>
                  <a:lnTo>
                    <a:pt x="11200" y="21719"/>
                  </a:lnTo>
                  <a:lnTo>
                    <a:pt x="11200" y="21775"/>
                  </a:lnTo>
                  <a:lnTo>
                    <a:pt x="11200" y="21786"/>
                  </a:lnTo>
                  <a:lnTo>
                    <a:pt x="11200" y="21845"/>
                  </a:lnTo>
                  <a:lnTo>
                    <a:pt x="11200" y="21859"/>
                  </a:lnTo>
                  <a:cubicBezTo>
                    <a:pt x="11200" y="21880"/>
                    <a:pt x="11203" y="21901"/>
                    <a:pt x="11207" y="21919"/>
                  </a:cubicBezTo>
                  <a:lnTo>
                    <a:pt x="11207" y="21929"/>
                  </a:lnTo>
                  <a:cubicBezTo>
                    <a:pt x="11210" y="21947"/>
                    <a:pt x="11214" y="21964"/>
                    <a:pt x="11217" y="21985"/>
                  </a:cubicBezTo>
                  <a:lnTo>
                    <a:pt x="11217" y="21996"/>
                  </a:lnTo>
                  <a:cubicBezTo>
                    <a:pt x="11221" y="22013"/>
                    <a:pt x="11224" y="22034"/>
                    <a:pt x="11231" y="22055"/>
                  </a:cubicBezTo>
                  <a:lnTo>
                    <a:pt x="11231" y="22059"/>
                  </a:lnTo>
                  <a:cubicBezTo>
                    <a:pt x="11291" y="21992"/>
                    <a:pt x="11357" y="21933"/>
                    <a:pt x="11427" y="21884"/>
                  </a:cubicBezTo>
                  <a:cubicBezTo>
                    <a:pt x="11637" y="21733"/>
                    <a:pt x="11669" y="21632"/>
                    <a:pt x="11714" y="21488"/>
                  </a:cubicBezTo>
                  <a:cubicBezTo>
                    <a:pt x="11742" y="21397"/>
                    <a:pt x="11777" y="21310"/>
                    <a:pt x="11819" y="21226"/>
                  </a:cubicBezTo>
                  <a:cubicBezTo>
                    <a:pt x="11865" y="21142"/>
                    <a:pt x="11896" y="21047"/>
                    <a:pt x="11907" y="20953"/>
                  </a:cubicBezTo>
                  <a:cubicBezTo>
                    <a:pt x="11924" y="20795"/>
                    <a:pt x="12001" y="20648"/>
                    <a:pt x="12124" y="20543"/>
                  </a:cubicBezTo>
                  <a:cubicBezTo>
                    <a:pt x="12229" y="20441"/>
                    <a:pt x="12225" y="20368"/>
                    <a:pt x="12222" y="20280"/>
                  </a:cubicBezTo>
                  <a:cubicBezTo>
                    <a:pt x="12218" y="20172"/>
                    <a:pt x="12215" y="20049"/>
                    <a:pt x="12432" y="19948"/>
                  </a:cubicBezTo>
                  <a:cubicBezTo>
                    <a:pt x="12503" y="19915"/>
                    <a:pt x="12563" y="19898"/>
                    <a:pt x="12613" y="19898"/>
                  </a:cubicBezTo>
                  <a:cubicBezTo>
                    <a:pt x="12665" y="19898"/>
                    <a:pt x="12705" y="19916"/>
                    <a:pt x="12733" y="19951"/>
                  </a:cubicBezTo>
                  <a:cubicBezTo>
                    <a:pt x="12852" y="20105"/>
                    <a:pt x="12604" y="20445"/>
                    <a:pt x="12523" y="20546"/>
                  </a:cubicBezTo>
                  <a:cubicBezTo>
                    <a:pt x="12491" y="20589"/>
                    <a:pt x="12460" y="20624"/>
                    <a:pt x="12435" y="20659"/>
                  </a:cubicBezTo>
                  <a:lnTo>
                    <a:pt x="12470" y="20634"/>
                  </a:lnTo>
                  <a:cubicBezTo>
                    <a:pt x="12768" y="20413"/>
                    <a:pt x="12905" y="20119"/>
                    <a:pt x="13066" y="19780"/>
                  </a:cubicBezTo>
                  <a:cubicBezTo>
                    <a:pt x="13094" y="19717"/>
                    <a:pt x="13125" y="19654"/>
                    <a:pt x="13153" y="19591"/>
                  </a:cubicBezTo>
                  <a:cubicBezTo>
                    <a:pt x="13353" y="19181"/>
                    <a:pt x="13524" y="19003"/>
                    <a:pt x="13748" y="18971"/>
                  </a:cubicBezTo>
                  <a:cubicBezTo>
                    <a:pt x="13825" y="18961"/>
                    <a:pt x="13888" y="18737"/>
                    <a:pt x="13850" y="18253"/>
                  </a:cubicBezTo>
                  <a:cubicBezTo>
                    <a:pt x="13843" y="18173"/>
                    <a:pt x="13832" y="18096"/>
                    <a:pt x="13822" y="18019"/>
                  </a:cubicBezTo>
                  <a:cubicBezTo>
                    <a:pt x="13790" y="17791"/>
                    <a:pt x="13759" y="17574"/>
                    <a:pt x="13871" y="17399"/>
                  </a:cubicBezTo>
                  <a:cubicBezTo>
                    <a:pt x="13913" y="17333"/>
                    <a:pt x="13934" y="17252"/>
                    <a:pt x="13934" y="17175"/>
                  </a:cubicBezTo>
                  <a:cubicBezTo>
                    <a:pt x="13937" y="17091"/>
                    <a:pt x="13944" y="16969"/>
                    <a:pt x="14098" y="16969"/>
                  </a:cubicBezTo>
                  <a:cubicBezTo>
                    <a:pt x="14238" y="16969"/>
                    <a:pt x="14508" y="16703"/>
                    <a:pt x="14743" y="16468"/>
                  </a:cubicBezTo>
                  <a:cubicBezTo>
                    <a:pt x="15023" y="16188"/>
                    <a:pt x="15212" y="16156"/>
                    <a:pt x="15499" y="16132"/>
                  </a:cubicBezTo>
                  <a:cubicBezTo>
                    <a:pt x="15618" y="16121"/>
                    <a:pt x="15628" y="16104"/>
                    <a:pt x="15639" y="16079"/>
                  </a:cubicBezTo>
                  <a:cubicBezTo>
                    <a:pt x="15667" y="16020"/>
                    <a:pt x="15723" y="15974"/>
                    <a:pt x="15789" y="15964"/>
                  </a:cubicBezTo>
                  <a:cubicBezTo>
                    <a:pt x="15908" y="15932"/>
                    <a:pt x="16003" y="15838"/>
                    <a:pt x="16094" y="15747"/>
                  </a:cubicBezTo>
                  <a:cubicBezTo>
                    <a:pt x="16125" y="15715"/>
                    <a:pt x="16157" y="15684"/>
                    <a:pt x="16188" y="15656"/>
                  </a:cubicBezTo>
                  <a:cubicBezTo>
                    <a:pt x="16241" y="15607"/>
                    <a:pt x="16329" y="15591"/>
                    <a:pt x="16439" y="15591"/>
                  </a:cubicBezTo>
                  <a:cubicBezTo>
                    <a:pt x="16544" y="15591"/>
                    <a:pt x="16668" y="15605"/>
                    <a:pt x="16801" y="15621"/>
                  </a:cubicBezTo>
                  <a:cubicBezTo>
                    <a:pt x="16913" y="15635"/>
                    <a:pt x="17029" y="15645"/>
                    <a:pt x="17141" y="15649"/>
                  </a:cubicBezTo>
                  <a:lnTo>
                    <a:pt x="17235" y="15649"/>
                  </a:lnTo>
                  <a:cubicBezTo>
                    <a:pt x="17257" y="15649"/>
                    <a:pt x="17279" y="15649"/>
                    <a:pt x="17300" y="15649"/>
                  </a:cubicBezTo>
                  <a:cubicBezTo>
                    <a:pt x="17415" y="15649"/>
                    <a:pt x="17511" y="15646"/>
                    <a:pt x="17543" y="15614"/>
                  </a:cubicBezTo>
                  <a:cubicBezTo>
                    <a:pt x="17557" y="15596"/>
                    <a:pt x="17564" y="15579"/>
                    <a:pt x="17561" y="15558"/>
                  </a:cubicBezTo>
                  <a:cubicBezTo>
                    <a:pt x="17561" y="15337"/>
                    <a:pt x="17722" y="15162"/>
                    <a:pt x="17928" y="15162"/>
                  </a:cubicBezTo>
                  <a:cubicBezTo>
                    <a:pt x="18051" y="15162"/>
                    <a:pt x="18103" y="15155"/>
                    <a:pt x="18103" y="14938"/>
                  </a:cubicBezTo>
                  <a:cubicBezTo>
                    <a:pt x="18103" y="14686"/>
                    <a:pt x="18180" y="14515"/>
                    <a:pt x="18348" y="14389"/>
                  </a:cubicBezTo>
                  <a:cubicBezTo>
                    <a:pt x="18443" y="14318"/>
                    <a:pt x="18481" y="14168"/>
                    <a:pt x="18513" y="14031"/>
                  </a:cubicBezTo>
                  <a:cubicBezTo>
                    <a:pt x="18523" y="13989"/>
                    <a:pt x="18530" y="13951"/>
                    <a:pt x="18544" y="13912"/>
                  </a:cubicBezTo>
                  <a:cubicBezTo>
                    <a:pt x="18562" y="13842"/>
                    <a:pt x="18614" y="13790"/>
                    <a:pt x="18681" y="13765"/>
                  </a:cubicBezTo>
                  <a:cubicBezTo>
                    <a:pt x="18726" y="13741"/>
                    <a:pt x="18747" y="13730"/>
                    <a:pt x="18747" y="13639"/>
                  </a:cubicBezTo>
                  <a:cubicBezTo>
                    <a:pt x="18751" y="13510"/>
                    <a:pt x="18768" y="13384"/>
                    <a:pt x="18793" y="13258"/>
                  </a:cubicBezTo>
                  <a:cubicBezTo>
                    <a:pt x="18814" y="13163"/>
                    <a:pt x="18828" y="13069"/>
                    <a:pt x="18832" y="12974"/>
                  </a:cubicBezTo>
                  <a:cubicBezTo>
                    <a:pt x="18832" y="12827"/>
                    <a:pt x="18933" y="12775"/>
                    <a:pt x="19007" y="12733"/>
                  </a:cubicBezTo>
                  <a:cubicBezTo>
                    <a:pt x="19052" y="12715"/>
                    <a:pt x="19091" y="12684"/>
                    <a:pt x="19122" y="12645"/>
                  </a:cubicBezTo>
                  <a:cubicBezTo>
                    <a:pt x="19143" y="12610"/>
                    <a:pt x="19140" y="12568"/>
                    <a:pt x="19129" y="12484"/>
                  </a:cubicBezTo>
                  <a:cubicBezTo>
                    <a:pt x="19101" y="12316"/>
                    <a:pt x="19115" y="12141"/>
                    <a:pt x="19175" y="11980"/>
                  </a:cubicBezTo>
                  <a:cubicBezTo>
                    <a:pt x="19259" y="11742"/>
                    <a:pt x="19231" y="11507"/>
                    <a:pt x="19203" y="11280"/>
                  </a:cubicBezTo>
                  <a:cubicBezTo>
                    <a:pt x="19185" y="11164"/>
                    <a:pt x="19175" y="11049"/>
                    <a:pt x="19171" y="10933"/>
                  </a:cubicBezTo>
                  <a:cubicBezTo>
                    <a:pt x="19171" y="10562"/>
                    <a:pt x="19171" y="10212"/>
                    <a:pt x="19315" y="10082"/>
                  </a:cubicBezTo>
                  <a:cubicBezTo>
                    <a:pt x="19353" y="10047"/>
                    <a:pt x="19360" y="10026"/>
                    <a:pt x="19360" y="10023"/>
                  </a:cubicBezTo>
                  <a:cubicBezTo>
                    <a:pt x="19357" y="10019"/>
                    <a:pt x="19357" y="10005"/>
                    <a:pt x="19290" y="9974"/>
                  </a:cubicBezTo>
                  <a:cubicBezTo>
                    <a:pt x="19227" y="9946"/>
                    <a:pt x="19199" y="9872"/>
                    <a:pt x="19227" y="9809"/>
                  </a:cubicBezTo>
                  <a:cubicBezTo>
                    <a:pt x="19254" y="9737"/>
                    <a:pt x="19323" y="9690"/>
                    <a:pt x="19400" y="9690"/>
                  </a:cubicBezTo>
                  <a:cubicBezTo>
                    <a:pt x="19412" y="9690"/>
                    <a:pt x="19425" y="9692"/>
                    <a:pt x="19437" y="9694"/>
                  </a:cubicBezTo>
                  <a:cubicBezTo>
                    <a:pt x="19476" y="9708"/>
                    <a:pt x="19511" y="9732"/>
                    <a:pt x="19542" y="9760"/>
                  </a:cubicBezTo>
                  <a:cubicBezTo>
                    <a:pt x="19594" y="9803"/>
                    <a:pt x="19630" y="9828"/>
                    <a:pt x="19667" y="9828"/>
                  </a:cubicBezTo>
                  <a:cubicBezTo>
                    <a:pt x="19685" y="9828"/>
                    <a:pt x="19704" y="9822"/>
                    <a:pt x="19724" y="9809"/>
                  </a:cubicBezTo>
                  <a:cubicBezTo>
                    <a:pt x="19843" y="9736"/>
                    <a:pt x="19980" y="9386"/>
                    <a:pt x="20088" y="9106"/>
                  </a:cubicBezTo>
                  <a:lnTo>
                    <a:pt x="20134" y="8994"/>
                  </a:lnTo>
                  <a:cubicBezTo>
                    <a:pt x="20249" y="8696"/>
                    <a:pt x="20435" y="8637"/>
                    <a:pt x="20585" y="8591"/>
                  </a:cubicBezTo>
                  <a:cubicBezTo>
                    <a:pt x="20620" y="8581"/>
                    <a:pt x="20655" y="8570"/>
                    <a:pt x="20690" y="8556"/>
                  </a:cubicBezTo>
                  <a:cubicBezTo>
                    <a:pt x="20820" y="8500"/>
                    <a:pt x="21181" y="8126"/>
                    <a:pt x="21419" y="7513"/>
                  </a:cubicBezTo>
                  <a:cubicBezTo>
                    <a:pt x="21601" y="7040"/>
                    <a:pt x="21471" y="6571"/>
                    <a:pt x="21366" y="6193"/>
                  </a:cubicBezTo>
                  <a:cubicBezTo>
                    <a:pt x="21345" y="6113"/>
                    <a:pt x="21324" y="6035"/>
                    <a:pt x="21307" y="5965"/>
                  </a:cubicBezTo>
                  <a:cubicBezTo>
                    <a:pt x="21250" y="5726"/>
                    <a:pt x="21198" y="5684"/>
                    <a:pt x="21091" y="5684"/>
                  </a:cubicBezTo>
                  <a:cubicBezTo>
                    <a:pt x="21065" y="5684"/>
                    <a:pt x="21035" y="5686"/>
                    <a:pt x="21002" y="5689"/>
                  </a:cubicBezTo>
                  <a:cubicBezTo>
                    <a:pt x="20971" y="5692"/>
                    <a:pt x="20939" y="5696"/>
                    <a:pt x="20901" y="5699"/>
                  </a:cubicBezTo>
                  <a:cubicBezTo>
                    <a:pt x="20883" y="5700"/>
                    <a:pt x="20866" y="5701"/>
                    <a:pt x="20849" y="5701"/>
                  </a:cubicBezTo>
                  <a:cubicBezTo>
                    <a:pt x="20427" y="5701"/>
                    <a:pt x="19986" y="5456"/>
                    <a:pt x="19539" y="4975"/>
                  </a:cubicBezTo>
                  <a:cubicBezTo>
                    <a:pt x="19146" y="4547"/>
                    <a:pt x="18764" y="4431"/>
                    <a:pt x="18442" y="4431"/>
                  </a:cubicBezTo>
                  <a:cubicBezTo>
                    <a:pt x="18279" y="4431"/>
                    <a:pt x="18131" y="4461"/>
                    <a:pt x="18005" y="4495"/>
                  </a:cubicBezTo>
                  <a:cubicBezTo>
                    <a:pt x="17940" y="4513"/>
                    <a:pt x="17874" y="4520"/>
                    <a:pt x="17809" y="4520"/>
                  </a:cubicBezTo>
                  <a:cubicBezTo>
                    <a:pt x="17576" y="4520"/>
                    <a:pt x="17351" y="4423"/>
                    <a:pt x="17165" y="4341"/>
                  </a:cubicBezTo>
                  <a:cubicBezTo>
                    <a:pt x="17078" y="4303"/>
                    <a:pt x="16987" y="4268"/>
                    <a:pt x="16892" y="4243"/>
                  </a:cubicBezTo>
                  <a:cubicBezTo>
                    <a:pt x="16875" y="4239"/>
                    <a:pt x="16858" y="4237"/>
                    <a:pt x="16840" y="4237"/>
                  </a:cubicBezTo>
                  <a:cubicBezTo>
                    <a:pt x="16712" y="4237"/>
                    <a:pt x="16578" y="4343"/>
                    <a:pt x="16454" y="4436"/>
                  </a:cubicBezTo>
                  <a:cubicBezTo>
                    <a:pt x="16384" y="4499"/>
                    <a:pt x="16304" y="4551"/>
                    <a:pt x="16216" y="4590"/>
                  </a:cubicBezTo>
                  <a:cubicBezTo>
                    <a:pt x="16192" y="4600"/>
                    <a:pt x="16171" y="4604"/>
                    <a:pt x="16152" y="4604"/>
                  </a:cubicBezTo>
                  <a:cubicBezTo>
                    <a:pt x="16124" y="4604"/>
                    <a:pt x="16102" y="4594"/>
                    <a:pt x="16083" y="4576"/>
                  </a:cubicBezTo>
                  <a:cubicBezTo>
                    <a:pt x="16034" y="4520"/>
                    <a:pt x="16069" y="4443"/>
                    <a:pt x="16132" y="4310"/>
                  </a:cubicBezTo>
                  <a:cubicBezTo>
                    <a:pt x="16174" y="4212"/>
                    <a:pt x="16230" y="4089"/>
                    <a:pt x="16237" y="4002"/>
                  </a:cubicBezTo>
                  <a:cubicBezTo>
                    <a:pt x="16237" y="3949"/>
                    <a:pt x="16157" y="3746"/>
                    <a:pt x="14991" y="3291"/>
                  </a:cubicBezTo>
                  <a:cubicBezTo>
                    <a:pt x="14809" y="3219"/>
                    <a:pt x="14657" y="3183"/>
                    <a:pt x="14543" y="3183"/>
                  </a:cubicBezTo>
                  <a:cubicBezTo>
                    <a:pt x="14473" y="3183"/>
                    <a:pt x="14416" y="3196"/>
                    <a:pt x="14375" y="3224"/>
                  </a:cubicBezTo>
                  <a:cubicBezTo>
                    <a:pt x="14312" y="3266"/>
                    <a:pt x="14280" y="3350"/>
                    <a:pt x="14280" y="3473"/>
                  </a:cubicBezTo>
                  <a:cubicBezTo>
                    <a:pt x="14280" y="3546"/>
                    <a:pt x="14273" y="3623"/>
                    <a:pt x="14221" y="3658"/>
                  </a:cubicBezTo>
                  <a:cubicBezTo>
                    <a:pt x="14200" y="3675"/>
                    <a:pt x="14179" y="3680"/>
                    <a:pt x="14158" y="3680"/>
                  </a:cubicBezTo>
                  <a:cubicBezTo>
                    <a:pt x="14129" y="3680"/>
                    <a:pt x="14102" y="3670"/>
                    <a:pt x="14077" y="3662"/>
                  </a:cubicBezTo>
                  <a:cubicBezTo>
                    <a:pt x="14052" y="3654"/>
                    <a:pt x="14029" y="3646"/>
                    <a:pt x="14008" y="3646"/>
                  </a:cubicBezTo>
                  <a:cubicBezTo>
                    <a:pt x="13967" y="3646"/>
                    <a:pt x="13930" y="3673"/>
                    <a:pt x="13888" y="3767"/>
                  </a:cubicBezTo>
                  <a:cubicBezTo>
                    <a:pt x="13791" y="3983"/>
                    <a:pt x="13656" y="4006"/>
                    <a:pt x="13595" y="4006"/>
                  </a:cubicBezTo>
                  <a:cubicBezTo>
                    <a:pt x="13588" y="4006"/>
                    <a:pt x="13582" y="4005"/>
                    <a:pt x="13577" y="4005"/>
                  </a:cubicBezTo>
                  <a:cubicBezTo>
                    <a:pt x="13500" y="3998"/>
                    <a:pt x="13437" y="3949"/>
                    <a:pt x="13419" y="3875"/>
                  </a:cubicBezTo>
                  <a:cubicBezTo>
                    <a:pt x="13405" y="3805"/>
                    <a:pt x="13440" y="3739"/>
                    <a:pt x="13517" y="3693"/>
                  </a:cubicBezTo>
                  <a:cubicBezTo>
                    <a:pt x="13696" y="3588"/>
                    <a:pt x="13885" y="3333"/>
                    <a:pt x="13958" y="3102"/>
                  </a:cubicBezTo>
                  <a:cubicBezTo>
                    <a:pt x="13965" y="3088"/>
                    <a:pt x="13955" y="3070"/>
                    <a:pt x="13934" y="3049"/>
                  </a:cubicBezTo>
                  <a:cubicBezTo>
                    <a:pt x="13813" y="2936"/>
                    <a:pt x="13454" y="2855"/>
                    <a:pt x="13184" y="2855"/>
                  </a:cubicBezTo>
                  <a:cubicBezTo>
                    <a:pt x="13088" y="2855"/>
                    <a:pt x="13002" y="2865"/>
                    <a:pt x="12943" y="2888"/>
                  </a:cubicBezTo>
                  <a:cubicBezTo>
                    <a:pt x="12831" y="2934"/>
                    <a:pt x="12807" y="3028"/>
                    <a:pt x="12782" y="3151"/>
                  </a:cubicBezTo>
                  <a:cubicBezTo>
                    <a:pt x="12768" y="3228"/>
                    <a:pt x="12758" y="3301"/>
                    <a:pt x="12691" y="3333"/>
                  </a:cubicBezTo>
                  <a:cubicBezTo>
                    <a:pt x="12672" y="3339"/>
                    <a:pt x="12653" y="3342"/>
                    <a:pt x="12634" y="3342"/>
                  </a:cubicBezTo>
                  <a:cubicBezTo>
                    <a:pt x="12599" y="3342"/>
                    <a:pt x="12565" y="3332"/>
                    <a:pt x="12533" y="3312"/>
                  </a:cubicBezTo>
                  <a:cubicBezTo>
                    <a:pt x="12414" y="3252"/>
                    <a:pt x="12358" y="3116"/>
                    <a:pt x="12400" y="2990"/>
                  </a:cubicBezTo>
                  <a:cubicBezTo>
                    <a:pt x="12438" y="2865"/>
                    <a:pt x="12559" y="2737"/>
                    <a:pt x="12699" y="2737"/>
                  </a:cubicBezTo>
                  <a:cubicBezTo>
                    <a:pt x="12705" y="2737"/>
                    <a:pt x="12710" y="2737"/>
                    <a:pt x="12716" y="2738"/>
                  </a:cubicBezTo>
                  <a:cubicBezTo>
                    <a:pt x="12717" y="2738"/>
                    <a:pt x="12719" y="2738"/>
                    <a:pt x="12721" y="2738"/>
                  </a:cubicBezTo>
                  <a:cubicBezTo>
                    <a:pt x="12772" y="2738"/>
                    <a:pt x="12932" y="2682"/>
                    <a:pt x="13199" y="2097"/>
                  </a:cubicBezTo>
                  <a:cubicBezTo>
                    <a:pt x="13258" y="1968"/>
                    <a:pt x="13202" y="1915"/>
                    <a:pt x="13017" y="1792"/>
                  </a:cubicBezTo>
                  <a:cubicBezTo>
                    <a:pt x="12922" y="1733"/>
                    <a:pt x="12838" y="1663"/>
                    <a:pt x="12761" y="1586"/>
                  </a:cubicBezTo>
                  <a:cubicBezTo>
                    <a:pt x="12646" y="1456"/>
                    <a:pt x="12600" y="1229"/>
                    <a:pt x="12555" y="1008"/>
                  </a:cubicBezTo>
                  <a:cubicBezTo>
                    <a:pt x="12523" y="840"/>
                    <a:pt x="12484" y="655"/>
                    <a:pt x="12421" y="578"/>
                  </a:cubicBezTo>
                  <a:lnTo>
                    <a:pt x="12418" y="581"/>
                  </a:lnTo>
                  <a:lnTo>
                    <a:pt x="12393" y="606"/>
                  </a:lnTo>
                  <a:lnTo>
                    <a:pt x="12372" y="630"/>
                  </a:lnTo>
                  <a:lnTo>
                    <a:pt x="12348" y="655"/>
                  </a:lnTo>
                  <a:lnTo>
                    <a:pt x="12323" y="679"/>
                  </a:lnTo>
                  <a:lnTo>
                    <a:pt x="12302" y="704"/>
                  </a:lnTo>
                  <a:lnTo>
                    <a:pt x="12278" y="732"/>
                  </a:lnTo>
                  <a:lnTo>
                    <a:pt x="12257" y="756"/>
                  </a:lnTo>
                  <a:lnTo>
                    <a:pt x="12229" y="784"/>
                  </a:lnTo>
                  <a:lnTo>
                    <a:pt x="12208" y="809"/>
                  </a:lnTo>
                  <a:lnTo>
                    <a:pt x="12183" y="837"/>
                  </a:lnTo>
                  <a:lnTo>
                    <a:pt x="12162" y="861"/>
                  </a:lnTo>
                  <a:lnTo>
                    <a:pt x="12138" y="893"/>
                  </a:lnTo>
                  <a:lnTo>
                    <a:pt x="12120" y="917"/>
                  </a:lnTo>
                  <a:lnTo>
                    <a:pt x="12096" y="945"/>
                  </a:lnTo>
                  <a:lnTo>
                    <a:pt x="12075" y="973"/>
                  </a:lnTo>
                  <a:lnTo>
                    <a:pt x="12054" y="1001"/>
                  </a:lnTo>
                  <a:lnTo>
                    <a:pt x="12036" y="1026"/>
                  </a:lnTo>
                  <a:lnTo>
                    <a:pt x="12015" y="1057"/>
                  </a:lnTo>
                  <a:lnTo>
                    <a:pt x="11998" y="1082"/>
                  </a:lnTo>
                  <a:lnTo>
                    <a:pt x="11977" y="1110"/>
                  </a:lnTo>
                  <a:lnTo>
                    <a:pt x="11959" y="1134"/>
                  </a:lnTo>
                  <a:lnTo>
                    <a:pt x="11942" y="1162"/>
                  </a:lnTo>
                  <a:lnTo>
                    <a:pt x="11928" y="1187"/>
                  </a:lnTo>
                  <a:lnTo>
                    <a:pt x="11910" y="1215"/>
                  </a:lnTo>
                  <a:lnTo>
                    <a:pt x="11900" y="1239"/>
                  </a:lnTo>
                  <a:cubicBezTo>
                    <a:pt x="11893" y="1250"/>
                    <a:pt x="11889" y="1257"/>
                    <a:pt x="11882" y="1267"/>
                  </a:cubicBezTo>
                  <a:lnTo>
                    <a:pt x="11872" y="1288"/>
                  </a:lnTo>
                  <a:cubicBezTo>
                    <a:pt x="11868" y="1299"/>
                    <a:pt x="11861" y="1309"/>
                    <a:pt x="11858" y="1320"/>
                  </a:cubicBezTo>
                  <a:lnTo>
                    <a:pt x="11851" y="1337"/>
                  </a:lnTo>
                  <a:cubicBezTo>
                    <a:pt x="11844" y="1351"/>
                    <a:pt x="11840" y="1369"/>
                    <a:pt x="11833" y="1383"/>
                  </a:cubicBezTo>
                  <a:cubicBezTo>
                    <a:pt x="11750" y="1639"/>
                    <a:pt x="11626" y="1645"/>
                    <a:pt x="11493" y="1645"/>
                  </a:cubicBezTo>
                  <a:cubicBezTo>
                    <a:pt x="11487" y="1645"/>
                    <a:pt x="11480" y="1645"/>
                    <a:pt x="11473" y="1645"/>
                  </a:cubicBezTo>
                  <a:lnTo>
                    <a:pt x="11417" y="1645"/>
                  </a:lnTo>
                  <a:cubicBezTo>
                    <a:pt x="11347" y="1645"/>
                    <a:pt x="11280" y="1652"/>
                    <a:pt x="11217" y="1673"/>
                  </a:cubicBezTo>
                  <a:cubicBezTo>
                    <a:pt x="11196" y="1680"/>
                    <a:pt x="11179" y="1684"/>
                    <a:pt x="11161" y="1691"/>
                  </a:cubicBezTo>
                  <a:lnTo>
                    <a:pt x="11151" y="1691"/>
                  </a:lnTo>
                  <a:cubicBezTo>
                    <a:pt x="11133" y="1694"/>
                    <a:pt x="11119" y="1698"/>
                    <a:pt x="11105" y="1701"/>
                  </a:cubicBezTo>
                  <a:lnTo>
                    <a:pt x="11095" y="1701"/>
                  </a:lnTo>
                  <a:cubicBezTo>
                    <a:pt x="11081" y="1705"/>
                    <a:pt x="11067" y="1705"/>
                    <a:pt x="11049" y="1705"/>
                  </a:cubicBezTo>
                  <a:lnTo>
                    <a:pt x="10990" y="1705"/>
                  </a:lnTo>
                  <a:cubicBezTo>
                    <a:pt x="10895" y="1705"/>
                    <a:pt x="10804" y="1673"/>
                    <a:pt x="10727" y="1614"/>
                  </a:cubicBezTo>
                  <a:lnTo>
                    <a:pt x="10724" y="1621"/>
                  </a:lnTo>
                  <a:lnTo>
                    <a:pt x="10682" y="1568"/>
                  </a:lnTo>
                  <a:cubicBezTo>
                    <a:pt x="10671" y="1558"/>
                    <a:pt x="10661" y="1547"/>
                    <a:pt x="10650" y="1537"/>
                  </a:cubicBezTo>
                  <a:lnTo>
                    <a:pt x="10636" y="1516"/>
                  </a:lnTo>
                  <a:cubicBezTo>
                    <a:pt x="10626" y="1505"/>
                    <a:pt x="10619" y="1491"/>
                    <a:pt x="10608" y="1481"/>
                  </a:cubicBezTo>
                  <a:cubicBezTo>
                    <a:pt x="10595" y="1458"/>
                    <a:pt x="10558" y="1451"/>
                    <a:pt x="10511" y="1451"/>
                  </a:cubicBezTo>
                  <a:cubicBezTo>
                    <a:pt x="10457" y="1451"/>
                    <a:pt x="10388" y="1461"/>
                    <a:pt x="10328" y="1470"/>
                  </a:cubicBezTo>
                  <a:cubicBezTo>
                    <a:pt x="10252" y="1485"/>
                    <a:pt x="10174" y="1492"/>
                    <a:pt x="10097" y="1492"/>
                  </a:cubicBezTo>
                  <a:cubicBezTo>
                    <a:pt x="10082" y="1492"/>
                    <a:pt x="10067" y="1492"/>
                    <a:pt x="10051" y="1491"/>
                  </a:cubicBezTo>
                  <a:cubicBezTo>
                    <a:pt x="10045" y="1491"/>
                    <a:pt x="10039" y="1491"/>
                    <a:pt x="10034" y="1491"/>
                  </a:cubicBezTo>
                  <a:cubicBezTo>
                    <a:pt x="10000" y="1491"/>
                    <a:pt x="9990" y="1506"/>
                    <a:pt x="9978" y="1600"/>
                  </a:cubicBezTo>
                  <a:cubicBezTo>
                    <a:pt x="9967" y="1673"/>
                    <a:pt x="9953" y="1778"/>
                    <a:pt x="9859" y="1831"/>
                  </a:cubicBezTo>
                  <a:cubicBezTo>
                    <a:pt x="9848" y="1834"/>
                    <a:pt x="9838" y="1838"/>
                    <a:pt x="9827" y="1841"/>
                  </a:cubicBezTo>
                  <a:lnTo>
                    <a:pt x="9817" y="1845"/>
                  </a:lnTo>
                  <a:lnTo>
                    <a:pt x="9796" y="1852"/>
                  </a:lnTo>
                  <a:lnTo>
                    <a:pt x="9754" y="1852"/>
                  </a:lnTo>
                  <a:cubicBezTo>
                    <a:pt x="9733" y="1852"/>
                    <a:pt x="9715" y="1848"/>
                    <a:pt x="9698" y="1848"/>
                  </a:cubicBezTo>
                  <a:lnTo>
                    <a:pt x="9684" y="1848"/>
                  </a:lnTo>
                  <a:lnTo>
                    <a:pt x="9687" y="1855"/>
                  </a:lnTo>
                  <a:lnTo>
                    <a:pt x="9568" y="1824"/>
                  </a:lnTo>
                  <a:lnTo>
                    <a:pt x="9516" y="1810"/>
                  </a:lnTo>
                  <a:cubicBezTo>
                    <a:pt x="9440" y="1792"/>
                    <a:pt x="9358" y="1771"/>
                    <a:pt x="9298" y="1771"/>
                  </a:cubicBezTo>
                  <a:cubicBezTo>
                    <a:pt x="9263" y="1771"/>
                    <a:pt x="9235" y="1778"/>
                    <a:pt x="9218" y="1796"/>
                  </a:cubicBezTo>
                  <a:cubicBezTo>
                    <a:pt x="9170" y="1857"/>
                    <a:pt x="9099" y="1891"/>
                    <a:pt x="9022" y="1891"/>
                  </a:cubicBezTo>
                  <a:cubicBezTo>
                    <a:pt x="9015" y="1891"/>
                    <a:pt x="9008" y="1891"/>
                    <a:pt x="9001" y="1891"/>
                  </a:cubicBezTo>
                  <a:cubicBezTo>
                    <a:pt x="8963" y="1891"/>
                    <a:pt x="8963" y="1891"/>
                    <a:pt x="8952" y="1915"/>
                  </a:cubicBezTo>
                  <a:cubicBezTo>
                    <a:pt x="8896" y="2024"/>
                    <a:pt x="8777" y="2031"/>
                    <a:pt x="8690" y="2038"/>
                  </a:cubicBezTo>
                  <a:cubicBezTo>
                    <a:pt x="8651" y="2041"/>
                    <a:pt x="8592" y="2045"/>
                    <a:pt x="8581" y="2059"/>
                  </a:cubicBezTo>
                  <a:cubicBezTo>
                    <a:pt x="8532" y="2115"/>
                    <a:pt x="8462" y="2143"/>
                    <a:pt x="8388" y="2143"/>
                  </a:cubicBezTo>
                  <a:lnTo>
                    <a:pt x="8315" y="2143"/>
                  </a:lnTo>
                  <a:lnTo>
                    <a:pt x="8301" y="2139"/>
                  </a:lnTo>
                  <a:lnTo>
                    <a:pt x="8290" y="2139"/>
                  </a:lnTo>
                  <a:lnTo>
                    <a:pt x="8276" y="2136"/>
                  </a:lnTo>
                  <a:lnTo>
                    <a:pt x="8262" y="2132"/>
                  </a:lnTo>
                  <a:lnTo>
                    <a:pt x="8248" y="2125"/>
                  </a:lnTo>
                  <a:lnTo>
                    <a:pt x="8234" y="2122"/>
                  </a:lnTo>
                  <a:lnTo>
                    <a:pt x="8220" y="2115"/>
                  </a:lnTo>
                  <a:lnTo>
                    <a:pt x="8206" y="2111"/>
                  </a:lnTo>
                  <a:lnTo>
                    <a:pt x="8192" y="2104"/>
                  </a:lnTo>
                  <a:lnTo>
                    <a:pt x="8175" y="2097"/>
                  </a:lnTo>
                  <a:lnTo>
                    <a:pt x="8161" y="2090"/>
                  </a:lnTo>
                  <a:lnTo>
                    <a:pt x="8143" y="2080"/>
                  </a:lnTo>
                  <a:lnTo>
                    <a:pt x="8129" y="2069"/>
                  </a:lnTo>
                  <a:lnTo>
                    <a:pt x="8108" y="2059"/>
                  </a:lnTo>
                  <a:lnTo>
                    <a:pt x="8094" y="2048"/>
                  </a:lnTo>
                  <a:lnTo>
                    <a:pt x="8077" y="2038"/>
                  </a:lnTo>
                  <a:lnTo>
                    <a:pt x="8059" y="2024"/>
                  </a:lnTo>
                  <a:lnTo>
                    <a:pt x="8042" y="2010"/>
                  </a:lnTo>
                  <a:lnTo>
                    <a:pt x="8024" y="1996"/>
                  </a:lnTo>
                  <a:lnTo>
                    <a:pt x="8003" y="1982"/>
                  </a:lnTo>
                  <a:lnTo>
                    <a:pt x="7986" y="1961"/>
                  </a:lnTo>
                  <a:lnTo>
                    <a:pt x="7968" y="1947"/>
                  </a:lnTo>
                  <a:lnTo>
                    <a:pt x="7944" y="1922"/>
                  </a:lnTo>
                  <a:lnTo>
                    <a:pt x="7930" y="1908"/>
                  </a:lnTo>
                  <a:cubicBezTo>
                    <a:pt x="7916" y="1898"/>
                    <a:pt x="7905" y="1883"/>
                    <a:pt x="7891" y="1869"/>
                  </a:cubicBezTo>
                  <a:cubicBezTo>
                    <a:pt x="7688" y="1642"/>
                    <a:pt x="7639" y="1330"/>
                    <a:pt x="7660" y="1113"/>
                  </a:cubicBezTo>
                  <a:cubicBezTo>
                    <a:pt x="7674" y="963"/>
                    <a:pt x="7720" y="851"/>
                    <a:pt x="7786" y="802"/>
                  </a:cubicBezTo>
                  <a:cubicBezTo>
                    <a:pt x="7839" y="756"/>
                    <a:pt x="7863" y="683"/>
                    <a:pt x="7849" y="613"/>
                  </a:cubicBezTo>
                  <a:cubicBezTo>
                    <a:pt x="7846" y="546"/>
                    <a:pt x="7807" y="487"/>
                    <a:pt x="7748" y="455"/>
                  </a:cubicBezTo>
                  <a:cubicBezTo>
                    <a:pt x="7629" y="403"/>
                    <a:pt x="7622" y="273"/>
                    <a:pt x="7615" y="172"/>
                  </a:cubicBezTo>
                  <a:cubicBezTo>
                    <a:pt x="7608" y="46"/>
                    <a:pt x="7597" y="11"/>
                    <a:pt x="75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6" name="Google Shape;6233;p64">
              <a:extLst>
                <a:ext uri="{FF2B5EF4-FFF2-40B4-BE49-F238E27FC236}">
                  <a16:creationId xmlns:a16="http://schemas.microsoft.com/office/drawing/2014/main" id="{CEC35FE7-EAE0-1E6D-9952-C0F0C9172FA2}"/>
                </a:ext>
              </a:extLst>
            </p:cNvPr>
            <p:cNvSpPr/>
            <p:nvPr/>
          </p:nvSpPr>
          <p:spPr>
            <a:xfrm>
              <a:off x="1610849" y="2278130"/>
              <a:ext cx="35193" cy="37406"/>
            </a:xfrm>
            <a:custGeom>
              <a:avLst/>
              <a:gdLst/>
              <a:ahLst/>
              <a:cxnLst/>
              <a:rect l="l" t="t" r="r" b="b"/>
              <a:pathLst>
                <a:path w="2592" h="2755" extrusionOk="0">
                  <a:moveTo>
                    <a:pt x="725" y="1"/>
                  </a:moveTo>
                  <a:cubicBezTo>
                    <a:pt x="692" y="1"/>
                    <a:pt x="659" y="8"/>
                    <a:pt x="627" y="22"/>
                  </a:cubicBezTo>
                  <a:cubicBezTo>
                    <a:pt x="617" y="25"/>
                    <a:pt x="603" y="29"/>
                    <a:pt x="592" y="32"/>
                  </a:cubicBezTo>
                  <a:lnTo>
                    <a:pt x="575" y="36"/>
                  </a:lnTo>
                  <a:cubicBezTo>
                    <a:pt x="568" y="36"/>
                    <a:pt x="557" y="39"/>
                    <a:pt x="547" y="39"/>
                  </a:cubicBezTo>
                  <a:lnTo>
                    <a:pt x="466" y="39"/>
                  </a:lnTo>
                  <a:cubicBezTo>
                    <a:pt x="417" y="92"/>
                    <a:pt x="375" y="155"/>
                    <a:pt x="347" y="221"/>
                  </a:cubicBezTo>
                  <a:lnTo>
                    <a:pt x="347" y="225"/>
                  </a:lnTo>
                  <a:cubicBezTo>
                    <a:pt x="344" y="232"/>
                    <a:pt x="344" y="242"/>
                    <a:pt x="340" y="249"/>
                  </a:cubicBezTo>
                  <a:lnTo>
                    <a:pt x="340" y="256"/>
                  </a:lnTo>
                  <a:cubicBezTo>
                    <a:pt x="340" y="263"/>
                    <a:pt x="337" y="270"/>
                    <a:pt x="337" y="281"/>
                  </a:cubicBezTo>
                  <a:lnTo>
                    <a:pt x="337" y="323"/>
                  </a:lnTo>
                  <a:cubicBezTo>
                    <a:pt x="326" y="428"/>
                    <a:pt x="302" y="529"/>
                    <a:pt x="267" y="628"/>
                  </a:cubicBezTo>
                  <a:lnTo>
                    <a:pt x="249" y="691"/>
                  </a:lnTo>
                  <a:cubicBezTo>
                    <a:pt x="235" y="733"/>
                    <a:pt x="225" y="778"/>
                    <a:pt x="211" y="820"/>
                  </a:cubicBezTo>
                  <a:cubicBezTo>
                    <a:pt x="179" y="950"/>
                    <a:pt x="158" y="1083"/>
                    <a:pt x="155" y="1216"/>
                  </a:cubicBezTo>
                  <a:cubicBezTo>
                    <a:pt x="155" y="1331"/>
                    <a:pt x="137" y="1447"/>
                    <a:pt x="106" y="1559"/>
                  </a:cubicBezTo>
                  <a:cubicBezTo>
                    <a:pt x="92" y="1594"/>
                    <a:pt x="81" y="1622"/>
                    <a:pt x="71" y="1646"/>
                  </a:cubicBezTo>
                  <a:cubicBezTo>
                    <a:pt x="29" y="1734"/>
                    <a:pt x="8" y="1832"/>
                    <a:pt x="8" y="1926"/>
                  </a:cubicBezTo>
                  <a:cubicBezTo>
                    <a:pt x="1" y="2143"/>
                    <a:pt x="43" y="2161"/>
                    <a:pt x="81" y="2171"/>
                  </a:cubicBezTo>
                  <a:cubicBezTo>
                    <a:pt x="106" y="2178"/>
                    <a:pt x="127" y="2192"/>
                    <a:pt x="148" y="2210"/>
                  </a:cubicBezTo>
                  <a:cubicBezTo>
                    <a:pt x="155" y="2217"/>
                    <a:pt x="158" y="2224"/>
                    <a:pt x="162" y="2227"/>
                  </a:cubicBezTo>
                  <a:cubicBezTo>
                    <a:pt x="162" y="2227"/>
                    <a:pt x="162" y="2234"/>
                    <a:pt x="165" y="2234"/>
                  </a:cubicBezTo>
                  <a:cubicBezTo>
                    <a:pt x="169" y="2241"/>
                    <a:pt x="169" y="2245"/>
                    <a:pt x="172" y="2252"/>
                  </a:cubicBezTo>
                  <a:lnTo>
                    <a:pt x="172" y="2259"/>
                  </a:lnTo>
                  <a:cubicBezTo>
                    <a:pt x="172" y="2266"/>
                    <a:pt x="172" y="2273"/>
                    <a:pt x="172" y="2276"/>
                  </a:cubicBezTo>
                  <a:lnTo>
                    <a:pt x="172" y="2290"/>
                  </a:lnTo>
                  <a:lnTo>
                    <a:pt x="172" y="2308"/>
                  </a:lnTo>
                  <a:lnTo>
                    <a:pt x="172" y="2322"/>
                  </a:lnTo>
                  <a:cubicBezTo>
                    <a:pt x="172" y="2329"/>
                    <a:pt x="172" y="2336"/>
                    <a:pt x="172" y="2343"/>
                  </a:cubicBezTo>
                  <a:cubicBezTo>
                    <a:pt x="169" y="2350"/>
                    <a:pt x="169" y="2357"/>
                    <a:pt x="169" y="2360"/>
                  </a:cubicBezTo>
                  <a:cubicBezTo>
                    <a:pt x="165" y="2367"/>
                    <a:pt x="165" y="2378"/>
                    <a:pt x="162" y="2385"/>
                  </a:cubicBezTo>
                  <a:lnTo>
                    <a:pt x="155" y="2406"/>
                  </a:lnTo>
                  <a:cubicBezTo>
                    <a:pt x="155" y="2416"/>
                    <a:pt x="151" y="2427"/>
                    <a:pt x="148" y="2434"/>
                  </a:cubicBezTo>
                  <a:lnTo>
                    <a:pt x="137" y="2458"/>
                  </a:lnTo>
                  <a:lnTo>
                    <a:pt x="137" y="2469"/>
                  </a:lnTo>
                  <a:cubicBezTo>
                    <a:pt x="174" y="2503"/>
                    <a:pt x="203" y="2526"/>
                    <a:pt x="248" y="2526"/>
                  </a:cubicBezTo>
                  <a:cubicBezTo>
                    <a:pt x="254" y="2526"/>
                    <a:pt x="260" y="2526"/>
                    <a:pt x="267" y="2525"/>
                  </a:cubicBezTo>
                  <a:cubicBezTo>
                    <a:pt x="295" y="2525"/>
                    <a:pt x="323" y="2521"/>
                    <a:pt x="351" y="2521"/>
                  </a:cubicBezTo>
                  <a:cubicBezTo>
                    <a:pt x="564" y="2521"/>
                    <a:pt x="774" y="2609"/>
                    <a:pt x="1005" y="2714"/>
                  </a:cubicBezTo>
                  <a:cubicBezTo>
                    <a:pt x="1074" y="2744"/>
                    <a:pt x="1110" y="2755"/>
                    <a:pt x="1135" y="2755"/>
                  </a:cubicBezTo>
                  <a:cubicBezTo>
                    <a:pt x="1153" y="2755"/>
                    <a:pt x="1166" y="2749"/>
                    <a:pt x="1180" y="2742"/>
                  </a:cubicBezTo>
                  <a:cubicBezTo>
                    <a:pt x="1231" y="2716"/>
                    <a:pt x="1285" y="2702"/>
                    <a:pt x="1340" y="2702"/>
                  </a:cubicBezTo>
                  <a:cubicBezTo>
                    <a:pt x="1365" y="2702"/>
                    <a:pt x="1390" y="2705"/>
                    <a:pt x="1415" y="2711"/>
                  </a:cubicBezTo>
                  <a:cubicBezTo>
                    <a:pt x="1508" y="2723"/>
                    <a:pt x="1607" y="2734"/>
                    <a:pt x="1709" y="2734"/>
                  </a:cubicBezTo>
                  <a:cubicBezTo>
                    <a:pt x="1870" y="2734"/>
                    <a:pt x="2037" y="2706"/>
                    <a:pt x="2196" y="2609"/>
                  </a:cubicBezTo>
                  <a:cubicBezTo>
                    <a:pt x="2322" y="2532"/>
                    <a:pt x="2402" y="2413"/>
                    <a:pt x="2497" y="2276"/>
                  </a:cubicBezTo>
                  <a:cubicBezTo>
                    <a:pt x="2528" y="2234"/>
                    <a:pt x="2556" y="2189"/>
                    <a:pt x="2591" y="2147"/>
                  </a:cubicBezTo>
                  <a:lnTo>
                    <a:pt x="2591" y="2140"/>
                  </a:lnTo>
                  <a:cubicBezTo>
                    <a:pt x="2588" y="2133"/>
                    <a:pt x="2584" y="2126"/>
                    <a:pt x="2581" y="2119"/>
                  </a:cubicBezTo>
                  <a:cubicBezTo>
                    <a:pt x="2581" y="2112"/>
                    <a:pt x="2577" y="2105"/>
                    <a:pt x="2574" y="2098"/>
                  </a:cubicBezTo>
                  <a:cubicBezTo>
                    <a:pt x="2570" y="2087"/>
                    <a:pt x="2567" y="2084"/>
                    <a:pt x="2567" y="2077"/>
                  </a:cubicBezTo>
                  <a:cubicBezTo>
                    <a:pt x="2563" y="2070"/>
                    <a:pt x="2560" y="2059"/>
                    <a:pt x="2560" y="2052"/>
                  </a:cubicBezTo>
                  <a:cubicBezTo>
                    <a:pt x="2556" y="2042"/>
                    <a:pt x="2553" y="2038"/>
                    <a:pt x="2553" y="2031"/>
                  </a:cubicBezTo>
                  <a:cubicBezTo>
                    <a:pt x="2549" y="2024"/>
                    <a:pt x="2549" y="2014"/>
                    <a:pt x="2546" y="2007"/>
                  </a:cubicBezTo>
                  <a:cubicBezTo>
                    <a:pt x="2546" y="1996"/>
                    <a:pt x="2542" y="1993"/>
                    <a:pt x="2542" y="1986"/>
                  </a:cubicBezTo>
                  <a:cubicBezTo>
                    <a:pt x="2542" y="1979"/>
                    <a:pt x="2539" y="1968"/>
                    <a:pt x="2539" y="1961"/>
                  </a:cubicBezTo>
                  <a:cubicBezTo>
                    <a:pt x="2535" y="1951"/>
                    <a:pt x="2535" y="1947"/>
                    <a:pt x="2535" y="1940"/>
                  </a:cubicBezTo>
                  <a:cubicBezTo>
                    <a:pt x="2532" y="1933"/>
                    <a:pt x="2532" y="1923"/>
                    <a:pt x="2532" y="1916"/>
                  </a:cubicBezTo>
                  <a:cubicBezTo>
                    <a:pt x="2528" y="1905"/>
                    <a:pt x="2532" y="1902"/>
                    <a:pt x="2528" y="1895"/>
                  </a:cubicBezTo>
                  <a:cubicBezTo>
                    <a:pt x="2525" y="1888"/>
                    <a:pt x="2528" y="1877"/>
                    <a:pt x="2525" y="1870"/>
                  </a:cubicBezTo>
                  <a:cubicBezTo>
                    <a:pt x="2521" y="1860"/>
                    <a:pt x="2525" y="1856"/>
                    <a:pt x="2525" y="1849"/>
                  </a:cubicBezTo>
                  <a:lnTo>
                    <a:pt x="2525" y="1825"/>
                  </a:lnTo>
                  <a:lnTo>
                    <a:pt x="2525" y="1804"/>
                  </a:lnTo>
                  <a:lnTo>
                    <a:pt x="2525" y="1779"/>
                  </a:lnTo>
                  <a:lnTo>
                    <a:pt x="2525" y="1758"/>
                  </a:lnTo>
                  <a:lnTo>
                    <a:pt x="2525" y="1734"/>
                  </a:lnTo>
                  <a:lnTo>
                    <a:pt x="2525" y="1716"/>
                  </a:lnTo>
                  <a:lnTo>
                    <a:pt x="2525" y="1692"/>
                  </a:lnTo>
                  <a:lnTo>
                    <a:pt x="2525" y="1674"/>
                  </a:lnTo>
                  <a:lnTo>
                    <a:pt x="2525" y="1650"/>
                  </a:lnTo>
                  <a:lnTo>
                    <a:pt x="2525" y="1632"/>
                  </a:lnTo>
                  <a:lnTo>
                    <a:pt x="2525" y="1608"/>
                  </a:lnTo>
                  <a:lnTo>
                    <a:pt x="2525" y="1590"/>
                  </a:lnTo>
                  <a:lnTo>
                    <a:pt x="2525" y="1569"/>
                  </a:lnTo>
                  <a:lnTo>
                    <a:pt x="2525" y="1552"/>
                  </a:lnTo>
                  <a:lnTo>
                    <a:pt x="2525" y="1527"/>
                  </a:lnTo>
                  <a:lnTo>
                    <a:pt x="2525" y="1513"/>
                  </a:lnTo>
                  <a:lnTo>
                    <a:pt x="2528" y="1478"/>
                  </a:lnTo>
                  <a:cubicBezTo>
                    <a:pt x="2535" y="1419"/>
                    <a:pt x="2539" y="1366"/>
                    <a:pt x="2539" y="1324"/>
                  </a:cubicBezTo>
                  <a:cubicBezTo>
                    <a:pt x="2539" y="1177"/>
                    <a:pt x="2423" y="1104"/>
                    <a:pt x="2315" y="1034"/>
                  </a:cubicBezTo>
                  <a:cubicBezTo>
                    <a:pt x="2269" y="1009"/>
                    <a:pt x="2224" y="974"/>
                    <a:pt x="2185" y="939"/>
                  </a:cubicBezTo>
                  <a:cubicBezTo>
                    <a:pt x="2129" y="890"/>
                    <a:pt x="2070" y="848"/>
                    <a:pt x="2003" y="810"/>
                  </a:cubicBezTo>
                  <a:cubicBezTo>
                    <a:pt x="1852" y="719"/>
                    <a:pt x="1667" y="607"/>
                    <a:pt x="1569" y="466"/>
                  </a:cubicBezTo>
                  <a:cubicBezTo>
                    <a:pt x="1541" y="428"/>
                    <a:pt x="1523" y="417"/>
                    <a:pt x="1516" y="417"/>
                  </a:cubicBezTo>
                  <a:cubicBezTo>
                    <a:pt x="1495" y="417"/>
                    <a:pt x="1460" y="463"/>
                    <a:pt x="1439" y="487"/>
                  </a:cubicBezTo>
                  <a:cubicBezTo>
                    <a:pt x="1404" y="533"/>
                    <a:pt x="1373" y="572"/>
                    <a:pt x="1324" y="579"/>
                  </a:cubicBezTo>
                  <a:cubicBezTo>
                    <a:pt x="1317" y="580"/>
                    <a:pt x="1311" y="580"/>
                    <a:pt x="1305" y="580"/>
                  </a:cubicBezTo>
                  <a:cubicBezTo>
                    <a:pt x="1231" y="580"/>
                    <a:pt x="1203" y="507"/>
                    <a:pt x="1177" y="442"/>
                  </a:cubicBezTo>
                  <a:cubicBezTo>
                    <a:pt x="1138" y="347"/>
                    <a:pt x="1086" y="256"/>
                    <a:pt x="1019" y="176"/>
                  </a:cubicBezTo>
                  <a:cubicBezTo>
                    <a:pt x="923" y="61"/>
                    <a:pt x="822" y="1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7" name="Google Shape;6234;p64">
              <a:extLst>
                <a:ext uri="{FF2B5EF4-FFF2-40B4-BE49-F238E27FC236}">
                  <a16:creationId xmlns:a16="http://schemas.microsoft.com/office/drawing/2014/main" id="{671DE1A5-847B-799F-A6D6-78E743E14989}"/>
                </a:ext>
              </a:extLst>
            </p:cNvPr>
            <p:cNvSpPr/>
            <p:nvPr/>
          </p:nvSpPr>
          <p:spPr>
            <a:xfrm>
              <a:off x="1645078" y="2303846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1"/>
                  </a:moveTo>
                  <a:cubicBezTo>
                    <a:pt x="0" y="8"/>
                    <a:pt x="0" y="15"/>
                    <a:pt x="4" y="22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8" name="Google Shape;6235;p64">
              <a:extLst>
                <a:ext uri="{FF2B5EF4-FFF2-40B4-BE49-F238E27FC236}">
                  <a16:creationId xmlns:a16="http://schemas.microsoft.com/office/drawing/2014/main" id="{91454EBF-5631-50AC-2688-A95919BCA781}"/>
                </a:ext>
              </a:extLst>
            </p:cNvPr>
            <p:cNvSpPr/>
            <p:nvPr/>
          </p:nvSpPr>
          <p:spPr>
            <a:xfrm>
              <a:off x="1644983" y="2300289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cubicBezTo>
                    <a:pt x="4" y="7"/>
                    <a:pt x="0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9" name="Google Shape;6236;p64">
              <a:extLst>
                <a:ext uri="{FF2B5EF4-FFF2-40B4-BE49-F238E27FC236}">
                  <a16:creationId xmlns:a16="http://schemas.microsoft.com/office/drawing/2014/main" id="{24A9FB00-4F3F-0271-3166-714FBF36F226}"/>
                </a:ext>
              </a:extLst>
            </p:cNvPr>
            <p:cNvSpPr/>
            <p:nvPr/>
          </p:nvSpPr>
          <p:spPr>
            <a:xfrm>
              <a:off x="1645173" y="23044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cubicBezTo>
                    <a:pt x="0" y="7"/>
                    <a:pt x="4" y="14"/>
                    <a:pt x="4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0" name="Google Shape;6237;p64">
              <a:extLst>
                <a:ext uri="{FF2B5EF4-FFF2-40B4-BE49-F238E27FC236}">
                  <a16:creationId xmlns:a16="http://schemas.microsoft.com/office/drawing/2014/main" id="{7D4CDE4B-47F3-4243-B649-818B74310D21}"/>
                </a:ext>
              </a:extLst>
            </p:cNvPr>
            <p:cNvSpPr/>
            <p:nvPr/>
          </p:nvSpPr>
          <p:spPr>
            <a:xfrm>
              <a:off x="1645024" y="230323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1" name="Google Shape;6238;p64">
              <a:extLst>
                <a:ext uri="{FF2B5EF4-FFF2-40B4-BE49-F238E27FC236}">
                  <a16:creationId xmlns:a16="http://schemas.microsoft.com/office/drawing/2014/main" id="{53B9855F-2ACA-2B8B-3611-1BF00BCE7F14}"/>
                </a:ext>
              </a:extLst>
            </p:cNvPr>
            <p:cNvSpPr/>
            <p:nvPr/>
          </p:nvSpPr>
          <p:spPr>
            <a:xfrm>
              <a:off x="1645268" y="230508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cubicBezTo>
                    <a:pt x="4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2" name="Google Shape;6239;p64">
              <a:extLst>
                <a:ext uri="{FF2B5EF4-FFF2-40B4-BE49-F238E27FC236}">
                  <a16:creationId xmlns:a16="http://schemas.microsoft.com/office/drawing/2014/main" id="{EE52D27C-CEBF-CA9D-C858-283CFB5154F1}"/>
                </a:ext>
              </a:extLst>
            </p:cNvPr>
            <p:cNvSpPr/>
            <p:nvPr/>
          </p:nvSpPr>
          <p:spPr>
            <a:xfrm>
              <a:off x="1644983" y="230199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3" name="Google Shape;6240;p64">
              <a:extLst>
                <a:ext uri="{FF2B5EF4-FFF2-40B4-BE49-F238E27FC236}">
                  <a16:creationId xmlns:a16="http://schemas.microsoft.com/office/drawing/2014/main" id="{B3A74E53-01DB-170B-2C6E-BB3D77291592}"/>
                </a:ext>
              </a:extLst>
            </p:cNvPr>
            <p:cNvSpPr/>
            <p:nvPr/>
          </p:nvSpPr>
          <p:spPr>
            <a:xfrm>
              <a:off x="1644983" y="230261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4" name="Google Shape;6241;p64">
              <a:extLst>
                <a:ext uri="{FF2B5EF4-FFF2-40B4-BE49-F238E27FC236}">
                  <a16:creationId xmlns:a16="http://schemas.microsoft.com/office/drawing/2014/main" id="{906D5532-80A6-27C1-CE1C-93A8CD78391C}"/>
                </a:ext>
              </a:extLst>
            </p:cNvPr>
            <p:cNvSpPr/>
            <p:nvPr/>
          </p:nvSpPr>
          <p:spPr>
            <a:xfrm>
              <a:off x="1644983" y="2300859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ubicBezTo>
                    <a:pt x="0" y="11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5" name="Google Shape;6242;p64">
              <a:extLst>
                <a:ext uri="{FF2B5EF4-FFF2-40B4-BE49-F238E27FC236}">
                  <a16:creationId xmlns:a16="http://schemas.microsoft.com/office/drawing/2014/main" id="{B6561228-C3FE-6E3A-DA2B-4703FE46D7D5}"/>
                </a:ext>
              </a:extLst>
            </p:cNvPr>
            <p:cNvSpPr/>
            <p:nvPr/>
          </p:nvSpPr>
          <p:spPr>
            <a:xfrm>
              <a:off x="1645838" y="230694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4" y="7"/>
                    <a:pt x="4" y="14"/>
                    <a:pt x="7" y="21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6" name="Google Shape;6243;p64">
              <a:extLst>
                <a:ext uri="{FF2B5EF4-FFF2-40B4-BE49-F238E27FC236}">
                  <a16:creationId xmlns:a16="http://schemas.microsoft.com/office/drawing/2014/main" id="{63613F3D-5794-696A-68A8-01F45669CCF1}"/>
                </a:ext>
              </a:extLst>
            </p:cNvPr>
            <p:cNvSpPr/>
            <p:nvPr/>
          </p:nvSpPr>
          <p:spPr>
            <a:xfrm>
              <a:off x="1645594" y="230631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1"/>
                  </a:moveTo>
                  <a:cubicBezTo>
                    <a:pt x="4" y="8"/>
                    <a:pt x="4" y="15"/>
                    <a:pt x="8" y="22"/>
                  </a:cubicBezTo>
                  <a:cubicBezTo>
                    <a:pt x="8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7" name="Google Shape;6244;p64">
              <a:extLst>
                <a:ext uri="{FF2B5EF4-FFF2-40B4-BE49-F238E27FC236}">
                  <a16:creationId xmlns:a16="http://schemas.microsoft.com/office/drawing/2014/main" id="{1FEB1CC1-C313-AFF9-E5F6-1CB8AE772E02}"/>
                </a:ext>
              </a:extLst>
            </p:cNvPr>
            <p:cNvSpPr/>
            <p:nvPr/>
          </p:nvSpPr>
          <p:spPr>
            <a:xfrm>
              <a:off x="1645404" y="230570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0"/>
                  </a:moveTo>
                  <a:cubicBezTo>
                    <a:pt x="1" y="7"/>
                    <a:pt x="4" y="14"/>
                    <a:pt x="8" y="21"/>
                  </a:cubicBezTo>
                  <a:cubicBezTo>
                    <a:pt x="8" y="14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8" name="Google Shape;6245;p64">
              <a:extLst>
                <a:ext uri="{FF2B5EF4-FFF2-40B4-BE49-F238E27FC236}">
                  <a16:creationId xmlns:a16="http://schemas.microsoft.com/office/drawing/2014/main" id="{061C4794-52D0-E41E-6390-3B4C1E292342}"/>
                </a:ext>
              </a:extLst>
            </p:cNvPr>
            <p:cNvSpPr/>
            <p:nvPr/>
          </p:nvSpPr>
          <p:spPr>
            <a:xfrm>
              <a:off x="1617312" y="227870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9" name="Google Shape;6246;p64">
              <a:extLst>
                <a:ext uri="{FF2B5EF4-FFF2-40B4-BE49-F238E27FC236}">
                  <a16:creationId xmlns:a16="http://schemas.microsoft.com/office/drawing/2014/main" id="{892AD33C-B28F-500A-119D-0B080C2902C7}"/>
                </a:ext>
              </a:extLst>
            </p:cNvPr>
            <p:cNvSpPr/>
            <p:nvPr/>
          </p:nvSpPr>
          <p:spPr>
            <a:xfrm>
              <a:off x="1618032" y="2278660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0" name="Google Shape;6247;p64">
              <a:extLst>
                <a:ext uri="{FF2B5EF4-FFF2-40B4-BE49-F238E27FC236}">
                  <a16:creationId xmlns:a16="http://schemas.microsoft.com/office/drawing/2014/main" id="{5FDF09CF-A72A-4DBA-D6F2-502BEF05C7DD}"/>
                </a:ext>
              </a:extLst>
            </p:cNvPr>
            <p:cNvSpPr/>
            <p:nvPr/>
          </p:nvSpPr>
          <p:spPr>
            <a:xfrm>
              <a:off x="1645024" y="2299718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1" name="Google Shape;6248;p64">
              <a:extLst>
                <a:ext uri="{FF2B5EF4-FFF2-40B4-BE49-F238E27FC236}">
                  <a16:creationId xmlns:a16="http://schemas.microsoft.com/office/drawing/2014/main" id="{5E635912-CA15-B806-7BAD-F9F746A513B6}"/>
                </a:ext>
              </a:extLst>
            </p:cNvPr>
            <p:cNvSpPr/>
            <p:nvPr/>
          </p:nvSpPr>
          <p:spPr>
            <a:xfrm>
              <a:off x="1645078" y="229918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1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2" name="Google Shape;6249;p64">
              <a:extLst>
                <a:ext uri="{FF2B5EF4-FFF2-40B4-BE49-F238E27FC236}">
                  <a16:creationId xmlns:a16="http://schemas.microsoft.com/office/drawing/2014/main" id="{DD343A10-3BD5-FC97-E83D-A0DD97E5FDF9}"/>
                </a:ext>
              </a:extLst>
            </p:cNvPr>
            <p:cNvSpPr/>
            <p:nvPr/>
          </p:nvSpPr>
          <p:spPr>
            <a:xfrm>
              <a:off x="1644983" y="2301429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3" name="Google Shape;6250;p64">
              <a:extLst>
                <a:ext uri="{FF2B5EF4-FFF2-40B4-BE49-F238E27FC236}">
                  <a16:creationId xmlns:a16="http://schemas.microsoft.com/office/drawing/2014/main" id="{0492B13E-3059-9C1B-838B-51B330470A72}"/>
                </a:ext>
              </a:extLst>
            </p:cNvPr>
            <p:cNvSpPr/>
            <p:nvPr/>
          </p:nvSpPr>
          <p:spPr>
            <a:xfrm>
              <a:off x="1645119" y="2298673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4" name="Google Shape;6251;p64">
              <a:extLst>
                <a:ext uri="{FF2B5EF4-FFF2-40B4-BE49-F238E27FC236}">
                  <a16:creationId xmlns:a16="http://schemas.microsoft.com/office/drawing/2014/main" id="{9027F4CD-A0E8-AB97-7D0D-EC6E4F0174B8}"/>
                </a:ext>
              </a:extLst>
            </p:cNvPr>
            <p:cNvSpPr/>
            <p:nvPr/>
          </p:nvSpPr>
          <p:spPr>
            <a:xfrm>
              <a:off x="1618697" y="227856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5" name="Google Shape;6252;p64">
              <a:extLst>
                <a:ext uri="{FF2B5EF4-FFF2-40B4-BE49-F238E27FC236}">
                  <a16:creationId xmlns:a16="http://schemas.microsoft.com/office/drawing/2014/main" id="{390E6798-E7E5-2EF9-42F3-6A8C15E4A6C7}"/>
                </a:ext>
              </a:extLst>
            </p:cNvPr>
            <p:cNvSpPr/>
            <p:nvPr/>
          </p:nvSpPr>
          <p:spPr>
            <a:xfrm>
              <a:off x="1533091" y="2481100"/>
              <a:ext cx="1575" cy="3014"/>
            </a:xfrm>
            <a:custGeom>
              <a:avLst/>
              <a:gdLst/>
              <a:ahLst/>
              <a:cxnLst/>
              <a:rect l="l" t="t" r="r" b="b"/>
              <a:pathLst>
                <a:path w="116" h="222" extrusionOk="0">
                  <a:moveTo>
                    <a:pt x="11" y="0"/>
                  </a:moveTo>
                  <a:cubicBezTo>
                    <a:pt x="7" y="74"/>
                    <a:pt x="4" y="151"/>
                    <a:pt x="0" y="221"/>
                  </a:cubicBezTo>
                  <a:cubicBezTo>
                    <a:pt x="32" y="190"/>
                    <a:pt x="70" y="162"/>
                    <a:pt x="112" y="137"/>
                  </a:cubicBezTo>
                  <a:cubicBezTo>
                    <a:pt x="116" y="137"/>
                    <a:pt x="116" y="120"/>
                    <a:pt x="98" y="91"/>
                  </a:cubicBezTo>
                  <a:cubicBezTo>
                    <a:pt x="77" y="53"/>
                    <a:pt x="46" y="25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6" name="Google Shape;6253;p64">
              <a:extLst>
                <a:ext uri="{FF2B5EF4-FFF2-40B4-BE49-F238E27FC236}">
                  <a16:creationId xmlns:a16="http://schemas.microsoft.com/office/drawing/2014/main" id="{1A767841-F300-0353-5919-1E9912857D70}"/>
                </a:ext>
              </a:extLst>
            </p:cNvPr>
            <p:cNvSpPr/>
            <p:nvPr/>
          </p:nvSpPr>
          <p:spPr>
            <a:xfrm>
              <a:off x="1496866" y="2211818"/>
              <a:ext cx="147845" cy="264069"/>
            </a:xfrm>
            <a:custGeom>
              <a:avLst/>
              <a:gdLst/>
              <a:ahLst/>
              <a:cxnLst/>
              <a:rect l="l" t="t" r="r" b="b"/>
              <a:pathLst>
                <a:path w="10889" h="19449" extrusionOk="0">
                  <a:moveTo>
                    <a:pt x="4099" y="0"/>
                  </a:moveTo>
                  <a:cubicBezTo>
                    <a:pt x="4066" y="0"/>
                    <a:pt x="4027" y="28"/>
                    <a:pt x="3949" y="110"/>
                  </a:cubicBezTo>
                  <a:cubicBezTo>
                    <a:pt x="3855" y="208"/>
                    <a:pt x="3753" y="299"/>
                    <a:pt x="3641" y="376"/>
                  </a:cubicBezTo>
                  <a:cubicBezTo>
                    <a:pt x="3617" y="397"/>
                    <a:pt x="3589" y="414"/>
                    <a:pt x="3561" y="435"/>
                  </a:cubicBezTo>
                  <a:lnTo>
                    <a:pt x="3561" y="442"/>
                  </a:lnTo>
                  <a:lnTo>
                    <a:pt x="3561" y="463"/>
                  </a:lnTo>
                  <a:lnTo>
                    <a:pt x="3561" y="488"/>
                  </a:lnTo>
                  <a:lnTo>
                    <a:pt x="3561" y="509"/>
                  </a:lnTo>
                  <a:lnTo>
                    <a:pt x="3561" y="537"/>
                  </a:lnTo>
                  <a:lnTo>
                    <a:pt x="3561" y="558"/>
                  </a:lnTo>
                  <a:lnTo>
                    <a:pt x="3557" y="586"/>
                  </a:lnTo>
                  <a:lnTo>
                    <a:pt x="3557" y="607"/>
                  </a:lnTo>
                  <a:lnTo>
                    <a:pt x="3554" y="635"/>
                  </a:lnTo>
                  <a:lnTo>
                    <a:pt x="3550" y="656"/>
                  </a:lnTo>
                  <a:lnTo>
                    <a:pt x="3547" y="684"/>
                  </a:lnTo>
                  <a:lnTo>
                    <a:pt x="3543" y="705"/>
                  </a:lnTo>
                  <a:lnTo>
                    <a:pt x="3540" y="733"/>
                  </a:lnTo>
                  <a:lnTo>
                    <a:pt x="3536" y="750"/>
                  </a:lnTo>
                  <a:lnTo>
                    <a:pt x="3533" y="778"/>
                  </a:lnTo>
                  <a:lnTo>
                    <a:pt x="3529" y="796"/>
                  </a:lnTo>
                  <a:lnTo>
                    <a:pt x="3526" y="824"/>
                  </a:lnTo>
                  <a:lnTo>
                    <a:pt x="3522" y="841"/>
                  </a:lnTo>
                  <a:lnTo>
                    <a:pt x="3515" y="866"/>
                  </a:lnTo>
                  <a:lnTo>
                    <a:pt x="3512" y="883"/>
                  </a:lnTo>
                  <a:lnTo>
                    <a:pt x="3508" y="904"/>
                  </a:lnTo>
                  <a:lnTo>
                    <a:pt x="3505" y="922"/>
                  </a:lnTo>
                  <a:lnTo>
                    <a:pt x="3498" y="943"/>
                  </a:lnTo>
                  <a:lnTo>
                    <a:pt x="3494" y="960"/>
                  </a:lnTo>
                  <a:lnTo>
                    <a:pt x="3491" y="978"/>
                  </a:lnTo>
                  <a:lnTo>
                    <a:pt x="3484" y="995"/>
                  </a:lnTo>
                  <a:lnTo>
                    <a:pt x="3480" y="1009"/>
                  </a:lnTo>
                  <a:lnTo>
                    <a:pt x="3473" y="1023"/>
                  </a:lnTo>
                  <a:cubicBezTo>
                    <a:pt x="3473" y="1030"/>
                    <a:pt x="3470" y="1034"/>
                    <a:pt x="3470" y="1037"/>
                  </a:cubicBezTo>
                  <a:lnTo>
                    <a:pt x="3466" y="1048"/>
                  </a:lnTo>
                  <a:cubicBezTo>
                    <a:pt x="3463" y="1055"/>
                    <a:pt x="3459" y="1062"/>
                    <a:pt x="3456" y="1069"/>
                  </a:cubicBezTo>
                  <a:cubicBezTo>
                    <a:pt x="3421" y="1132"/>
                    <a:pt x="3319" y="1198"/>
                    <a:pt x="3155" y="1300"/>
                  </a:cubicBezTo>
                  <a:cubicBezTo>
                    <a:pt x="3050" y="1367"/>
                    <a:pt x="2854" y="1489"/>
                    <a:pt x="2840" y="1538"/>
                  </a:cubicBezTo>
                  <a:cubicBezTo>
                    <a:pt x="2836" y="1584"/>
                    <a:pt x="2840" y="1629"/>
                    <a:pt x="2847" y="1675"/>
                  </a:cubicBezTo>
                  <a:cubicBezTo>
                    <a:pt x="2850" y="1713"/>
                    <a:pt x="2854" y="1752"/>
                    <a:pt x="2857" y="1794"/>
                  </a:cubicBezTo>
                  <a:cubicBezTo>
                    <a:pt x="2857" y="1846"/>
                    <a:pt x="2843" y="1895"/>
                    <a:pt x="2815" y="1941"/>
                  </a:cubicBezTo>
                  <a:cubicBezTo>
                    <a:pt x="2808" y="1951"/>
                    <a:pt x="2798" y="1962"/>
                    <a:pt x="2787" y="1969"/>
                  </a:cubicBezTo>
                  <a:cubicBezTo>
                    <a:pt x="2798" y="2028"/>
                    <a:pt x="2812" y="2088"/>
                    <a:pt x="2840" y="2140"/>
                  </a:cubicBezTo>
                  <a:cubicBezTo>
                    <a:pt x="2896" y="2287"/>
                    <a:pt x="2973" y="2490"/>
                    <a:pt x="2822" y="2571"/>
                  </a:cubicBezTo>
                  <a:cubicBezTo>
                    <a:pt x="2805" y="2581"/>
                    <a:pt x="2798" y="2588"/>
                    <a:pt x="2798" y="2592"/>
                  </a:cubicBezTo>
                  <a:cubicBezTo>
                    <a:pt x="2794" y="2606"/>
                    <a:pt x="2822" y="2651"/>
                    <a:pt x="2840" y="2676"/>
                  </a:cubicBezTo>
                  <a:cubicBezTo>
                    <a:pt x="2878" y="2739"/>
                    <a:pt x="2945" y="2844"/>
                    <a:pt x="2850" y="2928"/>
                  </a:cubicBezTo>
                  <a:cubicBezTo>
                    <a:pt x="2798" y="2966"/>
                    <a:pt x="2745" y="2998"/>
                    <a:pt x="2689" y="3026"/>
                  </a:cubicBezTo>
                  <a:cubicBezTo>
                    <a:pt x="2623" y="3061"/>
                    <a:pt x="2542" y="3106"/>
                    <a:pt x="2542" y="3138"/>
                  </a:cubicBezTo>
                  <a:cubicBezTo>
                    <a:pt x="2542" y="3299"/>
                    <a:pt x="2518" y="3579"/>
                    <a:pt x="2339" y="3660"/>
                  </a:cubicBezTo>
                  <a:cubicBezTo>
                    <a:pt x="2220" y="3712"/>
                    <a:pt x="2133" y="3929"/>
                    <a:pt x="2133" y="4090"/>
                  </a:cubicBezTo>
                  <a:cubicBezTo>
                    <a:pt x="2133" y="4118"/>
                    <a:pt x="2129" y="4143"/>
                    <a:pt x="2119" y="4167"/>
                  </a:cubicBezTo>
                  <a:cubicBezTo>
                    <a:pt x="2098" y="4216"/>
                    <a:pt x="2056" y="4255"/>
                    <a:pt x="2003" y="4272"/>
                  </a:cubicBezTo>
                  <a:cubicBezTo>
                    <a:pt x="1971" y="4290"/>
                    <a:pt x="1961" y="4293"/>
                    <a:pt x="1968" y="4325"/>
                  </a:cubicBezTo>
                  <a:cubicBezTo>
                    <a:pt x="1971" y="4335"/>
                    <a:pt x="1975" y="4346"/>
                    <a:pt x="1982" y="4363"/>
                  </a:cubicBezTo>
                  <a:cubicBezTo>
                    <a:pt x="2049" y="4559"/>
                    <a:pt x="2129" y="4780"/>
                    <a:pt x="2059" y="4913"/>
                  </a:cubicBezTo>
                  <a:cubicBezTo>
                    <a:pt x="2035" y="4962"/>
                    <a:pt x="1989" y="4997"/>
                    <a:pt x="1936" y="5007"/>
                  </a:cubicBezTo>
                  <a:cubicBezTo>
                    <a:pt x="1873" y="5025"/>
                    <a:pt x="1849" y="5140"/>
                    <a:pt x="1828" y="5231"/>
                  </a:cubicBezTo>
                  <a:cubicBezTo>
                    <a:pt x="1810" y="5322"/>
                    <a:pt x="1786" y="5431"/>
                    <a:pt x="1698" y="5438"/>
                  </a:cubicBezTo>
                  <a:cubicBezTo>
                    <a:pt x="1656" y="5487"/>
                    <a:pt x="1625" y="5771"/>
                    <a:pt x="1740" y="5925"/>
                  </a:cubicBezTo>
                  <a:cubicBezTo>
                    <a:pt x="1873" y="6089"/>
                    <a:pt x="1940" y="6296"/>
                    <a:pt x="1936" y="6506"/>
                  </a:cubicBezTo>
                  <a:cubicBezTo>
                    <a:pt x="1940" y="6565"/>
                    <a:pt x="1964" y="6625"/>
                    <a:pt x="1999" y="6674"/>
                  </a:cubicBezTo>
                  <a:cubicBezTo>
                    <a:pt x="2049" y="6758"/>
                    <a:pt x="2112" y="6863"/>
                    <a:pt x="2063" y="7003"/>
                  </a:cubicBezTo>
                  <a:cubicBezTo>
                    <a:pt x="2042" y="7066"/>
                    <a:pt x="2028" y="7132"/>
                    <a:pt x="2021" y="7199"/>
                  </a:cubicBezTo>
                  <a:cubicBezTo>
                    <a:pt x="2003" y="7314"/>
                    <a:pt x="1985" y="7426"/>
                    <a:pt x="1887" y="7493"/>
                  </a:cubicBezTo>
                  <a:cubicBezTo>
                    <a:pt x="1859" y="7514"/>
                    <a:pt x="1852" y="7574"/>
                    <a:pt x="1849" y="7633"/>
                  </a:cubicBezTo>
                  <a:cubicBezTo>
                    <a:pt x="1838" y="7728"/>
                    <a:pt x="1828" y="7843"/>
                    <a:pt x="1712" y="7896"/>
                  </a:cubicBezTo>
                  <a:cubicBezTo>
                    <a:pt x="1688" y="7924"/>
                    <a:pt x="1723" y="8092"/>
                    <a:pt x="1740" y="8172"/>
                  </a:cubicBezTo>
                  <a:lnTo>
                    <a:pt x="1747" y="8207"/>
                  </a:lnTo>
                  <a:cubicBezTo>
                    <a:pt x="1782" y="8368"/>
                    <a:pt x="1807" y="8508"/>
                    <a:pt x="1730" y="8575"/>
                  </a:cubicBezTo>
                  <a:cubicBezTo>
                    <a:pt x="1695" y="8603"/>
                    <a:pt x="1660" y="8624"/>
                    <a:pt x="1625" y="8645"/>
                  </a:cubicBezTo>
                  <a:cubicBezTo>
                    <a:pt x="1492" y="8729"/>
                    <a:pt x="1341" y="8820"/>
                    <a:pt x="1341" y="9068"/>
                  </a:cubicBezTo>
                  <a:cubicBezTo>
                    <a:pt x="1341" y="9219"/>
                    <a:pt x="1352" y="9341"/>
                    <a:pt x="1359" y="9450"/>
                  </a:cubicBezTo>
                  <a:cubicBezTo>
                    <a:pt x="1373" y="9594"/>
                    <a:pt x="1380" y="9706"/>
                    <a:pt x="1355" y="9807"/>
                  </a:cubicBezTo>
                  <a:cubicBezTo>
                    <a:pt x="1352" y="9821"/>
                    <a:pt x="1352" y="9825"/>
                    <a:pt x="1387" y="9853"/>
                  </a:cubicBezTo>
                  <a:cubicBezTo>
                    <a:pt x="1471" y="9912"/>
                    <a:pt x="1509" y="10014"/>
                    <a:pt x="1488" y="10112"/>
                  </a:cubicBezTo>
                  <a:cubicBezTo>
                    <a:pt x="1460" y="10280"/>
                    <a:pt x="1324" y="10297"/>
                    <a:pt x="1243" y="10308"/>
                  </a:cubicBezTo>
                  <a:cubicBezTo>
                    <a:pt x="1219" y="10308"/>
                    <a:pt x="1198" y="10315"/>
                    <a:pt x="1177" y="10322"/>
                  </a:cubicBezTo>
                  <a:cubicBezTo>
                    <a:pt x="1173" y="10374"/>
                    <a:pt x="1177" y="10427"/>
                    <a:pt x="1184" y="10479"/>
                  </a:cubicBezTo>
                  <a:cubicBezTo>
                    <a:pt x="1198" y="10616"/>
                    <a:pt x="1215" y="10770"/>
                    <a:pt x="1089" y="10791"/>
                  </a:cubicBezTo>
                  <a:cubicBezTo>
                    <a:pt x="1065" y="10794"/>
                    <a:pt x="995" y="10805"/>
                    <a:pt x="995" y="11071"/>
                  </a:cubicBezTo>
                  <a:cubicBezTo>
                    <a:pt x="998" y="11179"/>
                    <a:pt x="963" y="11288"/>
                    <a:pt x="893" y="11372"/>
                  </a:cubicBezTo>
                  <a:cubicBezTo>
                    <a:pt x="872" y="11396"/>
                    <a:pt x="855" y="11424"/>
                    <a:pt x="848" y="11456"/>
                  </a:cubicBezTo>
                  <a:cubicBezTo>
                    <a:pt x="844" y="11498"/>
                    <a:pt x="869" y="11550"/>
                    <a:pt x="897" y="11606"/>
                  </a:cubicBezTo>
                  <a:cubicBezTo>
                    <a:pt x="935" y="11677"/>
                    <a:pt x="960" y="11750"/>
                    <a:pt x="963" y="11827"/>
                  </a:cubicBezTo>
                  <a:cubicBezTo>
                    <a:pt x="963" y="11855"/>
                    <a:pt x="970" y="11911"/>
                    <a:pt x="974" y="11967"/>
                  </a:cubicBezTo>
                  <a:lnTo>
                    <a:pt x="981" y="12009"/>
                  </a:lnTo>
                  <a:cubicBezTo>
                    <a:pt x="988" y="12086"/>
                    <a:pt x="991" y="12160"/>
                    <a:pt x="991" y="12230"/>
                  </a:cubicBezTo>
                  <a:cubicBezTo>
                    <a:pt x="991" y="12363"/>
                    <a:pt x="970" y="12464"/>
                    <a:pt x="879" y="12482"/>
                  </a:cubicBezTo>
                  <a:cubicBezTo>
                    <a:pt x="862" y="12496"/>
                    <a:pt x="827" y="12573"/>
                    <a:pt x="809" y="12702"/>
                  </a:cubicBezTo>
                  <a:cubicBezTo>
                    <a:pt x="806" y="12734"/>
                    <a:pt x="802" y="12765"/>
                    <a:pt x="802" y="12797"/>
                  </a:cubicBezTo>
                  <a:cubicBezTo>
                    <a:pt x="795" y="12846"/>
                    <a:pt x="802" y="12895"/>
                    <a:pt x="823" y="12940"/>
                  </a:cubicBezTo>
                  <a:cubicBezTo>
                    <a:pt x="904" y="12996"/>
                    <a:pt x="942" y="13094"/>
                    <a:pt x="928" y="13189"/>
                  </a:cubicBezTo>
                  <a:cubicBezTo>
                    <a:pt x="928" y="13206"/>
                    <a:pt x="925" y="13224"/>
                    <a:pt x="921" y="13241"/>
                  </a:cubicBezTo>
                  <a:cubicBezTo>
                    <a:pt x="914" y="13266"/>
                    <a:pt x="904" y="13290"/>
                    <a:pt x="893" y="13315"/>
                  </a:cubicBezTo>
                  <a:cubicBezTo>
                    <a:pt x="907" y="13336"/>
                    <a:pt x="921" y="13353"/>
                    <a:pt x="939" y="13371"/>
                  </a:cubicBezTo>
                  <a:cubicBezTo>
                    <a:pt x="988" y="13427"/>
                    <a:pt x="1093" y="13549"/>
                    <a:pt x="963" y="13679"/>
                  </a:cubicBezTo>
                  <a:cubicBezTo>
                    <a:pt x="939" y="13703"/>
                    <a:pt x="921" y="13732"/>
                    <a:pt x="914" y="13767"/>
                  </a:cubicBezTo>
                  <a:cubicBezTo>
                    <a:pt x="914" y="13784"/>
                    <a:pt x="918" y="13802"/>
                    <a:pt x="925" y="13816"/>
                  </a:cubicBezTo>
                  <a:cubicBezTo>
                    <a:pt x="940" y="13838"/>
                    <a:pt x="967" y="13857"/>
                    <a:pt x="1007" y="13857"/>
                  </a:cubicBezTo>
                  <a:cubicBezTo>
                    <a:pt x="1023" y="13857"/>
                    <a:pt x="1041" y="13854"/>
                    <a:pt x="1061" y="13847"/>
                  </a:cubicBezTo>
                  <a:cubicBezTo>
                    <a:pt x="1078" y="13842"/>
                    <a:pt x="1096" y="13840"/>
                    <a:pt x="1114" y="13840"/>
                  </a:cubicBezTo>
                  <a:cubicBezTo>
                    <a:pt x="1157" y="13840"/>
                    <a:pt x="1200" y="13855"/>
                    <a:pt x="1233" y="13882"/>
                  </a:cubicBezTo>
                  <a:cubicBezTo>
                    <a:pt x="1310" y="13942"/>
                    <a:pt x="1341" y="14043"/>
                    <a:pt x="1310" y="14134"/>
                  </a:cubicBezTo>
                  <a:cubicBezTo>
                    <a:pt x="1287" y="14189"/>
                    <a:pt x="1236" y="14223"/>
                    <a:pt x="1179" y="14223"/>
                  </a:cubicBezTo>
                  <a:cubicBezTo>
                    <a:pt x="1173" y="14223"/>
                    <a:pt x="1168" y="14222"/>
                    <a:pt x="1163" y="14222"/>
                  </a:cubicBezTo>
                  <a:cubicBezTo>
                    <a:pt x="1114" y="14222"/>
                    <a:pt x="1047" y="14222"/>
                    <a:pt x="998" y="14229"/>
                  </a:cubicBezTo>
                  <a:cubicBezTo>
                    <a:pt x="1149" y="14348"/>
                    <a:pt x="1215" y="14449"/>
                    <a:pt x="1201" y="14544"/>
                  </a:cubicBezTo>
                  <a:cubicBezTo>
                    <a:pt x="1191" y="14610"/>
                    <a:pt x="1142" y="14663"/>
                    <a:pt x="1054" y="14694"/>
                  </a:cubicBezTo>
                  <a:cubicBezTo>
                    <a:pt x="977" y="14726"/>
                    <a:pt x="981" y="14743"/>
                    <a:pt x="1002" y="14841"/>
                  </a:cubicBezTo>
                  <a:cubicBezTo>
                    <a:pt x="1026" y="14918"/>
                    <a:pt x="1030" y="14999"/>
                    <a:pt x="1012" y="15076"/>
                  </a:cubicBezTo>
                  <a:cubicBezTo>
                    <a:pt x="1002" y="15139"/>
                    <a:pt x="1009" y="15198"/>
                    <a:pt x="1030" y="15258"/>
                  </a:cubicBezTo>
                  <a:lnTo>
                    <a:pt x="1037" y="15282"/>
                  </a:lnTo>
                  <a:cubicBezTo>
                    <a:pt x="1061" y="15352"/>
                    <a:pt x="1082" y="15419"/>
                    <a:pt x="1051" y="15478"/>
                  </a:cubicBezTo>
                  <a:cubicBezTo>
                    <a:pt x="1044" y="15485"/>
                    <a:pt x="1040" y="15496"/>
                    <a:pt x="1033" y="15503"/>
                  </a:cubicBezTo>
                  <a:cubicBezTo>
                    <a:pt x="1012" y="15527"/>
                    <a:pt x="984" y="15541"/>
                    <a:pt x="953" y="15552"/>
                  </a:cubicBezTo>
                  <a:cubicBezTo>
                    <a:pt x="942" y="15555"/>
                    <a:pt x="935" y="15559"/>
                    <a:pt x="935" y="15583"/>
                  </a:cubicBezTo>
                  <a:cubicBezTo>
                    <a:pt x="935" y="15597"/>
                    <a:pt x="935" y="15611"/>
                    <a:pt x="935" y="15625"/>
                  </a:cubicBezTo>
                  <a:cubicBezTo>
                    <a:pt x="935" y="15636"/>
                    <a:pt x="935" y="15643"/>
                    <a:pt x="939" y="15657"/>
                  </a:cubicBezTo>
                  <a:cubicBezTo>
                    <a:pt x="946" y="15744"/>
                    <a:pt x="963" y="15902"/>
                    <a:pt x="778" y="15930"/>
                  </a:cubicBezTo>
                  <a:cubicBezTo>
                    <a:pt x="697" y="15941"/>
                    <a:pt x="694" y="15969"/>
                    <a:pt x="683" y="16053"/>
                  </a:cubicBezTo>
                  <a:cubicBezTo>
                    <a:pt x="676" y="16119"/>
                    <a:pt x="662" y="16210"/>
                    <a:pt x="578" y="16277"/>
                  </a:cubicBezTo>
                  <a:cubicBezTo>
                    <a:pt x="561" y="16294"/>
                    <a:pt x="557" y="16308"/>
                    <a:pt x="610" y="16399"/>
                  </a:cubicBezTo>
                  <a:cubicBezTo>
                    <a:pt x="655" y="16473"/>
                    <a:pt x="736" y="16616"/>
                    <a:pt x="589" y="16707"/>
                  </a:cubicBezTo>
                  <a:cubicBezTo>
                    <a:pt x="526" y="16749"/>
                    <a:pt x="515" y="16816"/>
                    <a:pt x="505" y="16889"/>
                  </a:cubicBezTo>
                  <a:cubicBezTo>
                    <a:pt x="491" y="16970"/>
                    <a:pt x="473" y="17096"/>
                    <a:pt x="323" y="17096"/>
                  </a:cubicBezTo>
                  <a:cubicBezTo>
                    <a:pt x="193" y="17096"/>
                    <a:pt x="109" y="17299"/>
                    <a:pt x="95" y="17404"/>
                  </a:cubicBezTo>
                  <a:cubicBezTo>
                    <a:pt x="88" y="17435"/>
                    <a:pt x="81" y="17467"/>
                    <a:pt x="71" y="17498"/>
                  </a:cubicBezTo>
                  <a:cubicBezTo>
                    <a:pt x="39" y="17614"/>
                    <a:pt x="1" y="17757"/>
                    <a:pt x="95" y="17859"/>
                  </a:cubicBezTo>
                  <a:cubicBezTo>
                    <a:pt x="99" y="17866"/>
                    <a:pt x="106" y="17873"/>
                    <a:pt x="113" y="17880"/>
                  </a:cubicBezTo>
                  <a:cubicBezTo>
                    <a:pt x="120" y="17891"/>
                    <a:pt x="130" y="17905"/>
                    <a:pt x="137" y="17919"/>
                  </a:cubicBezTo>
                  <a:cubicBezTo>
                    <a:pt x="141" y="17926"/>
                    <a:pt x="144" y="17933"/>
                    <a:pt x="148" y="17940"/>
                  </a:cubicBezTo>
                  <a:cubicBezTo>
                    <a:pt x="176" y="18003"/>
                    <a:pt x="179" y="18073"/>
                    <a:pt x="165" y="18139"/>
                  </a:cubicBezTo>
                  <a:cubicBezTo>
                    <a:pt x="158" y="18181"/>
                    <a:pt x="155" y="18192"/>
                    <a:pt x="165" y="18199"/>
                  </a:cubicBezTo>
                  <a:cubicBezTo>
                    <a:pt x="165" y="18202"/>
                    <a:pt x="169" y="18202"/>
                    <a:pt x="172" y="18206"/>
                  </a:cubicBezTo>
                  <a:cubicBezTo>
                    <a:pt x="227" y="18220"/>
                    <a:pt x="283" y="18227"/>
                    <a:pt x="336" y="18227"/>
                  </a:cubicBezTo>
                  <a:cubicBezTo>
                    <a:pt x="347" y="18227"/>
                    <a:pt x="358" y="18227"/>
                    <a:pt x="368" y="18227"/>
                  </a:cubicBezTo>
                  <a:cubicBezTo>
                    <a:pt x="512" y="18230"/>
                    <a:pt x="645" y="18234"/>
                    <a:pt x="701" y="18314"/>
                  </a:cubicBezTo>
                  <a:cubicBezTo>
                    <a:pt x="729" y="18353"/>
                    <a:pt x="732" y="18402"/>
                    <a:pt x="715" y="18444"/>
                  </a:cubicBezTo>
                  <a:cubicBezTo>
                    <a:pt x="708" y="18468"/>
                    <a:pt x="701" y="18489"/>
                    <a:pt x="697" y="18514"/>
                  </a:cubicBezTo>
                  <a:cubicBezTo>
                    <a:pt x="683" y="18594"/>
                    <a:pt x="676" y="18671"/>
                    <a:pt x="680" y="18752"/>
                  </a:cubicBezTo>
                  <a:cubicBezTo>
                    <a:pt x="676" y="18832"/>
                    <a:pt x="687" y="18909"/>
                    <a:pt x="708" y="18986"/>
                  </a:cubicBezTo>
                  <a:cubicBezTo>
                    <a:pt x="767" y="18997"/>
                    <a:pt x="802" y="19053"/>
                    <a:pt x="841" y="19109"/>
                  </a:cubicBezTo>
                  <a:cubicBezTo>
                    <a:pt x="875" y="19163"/>
                    <a:pt x="905" y="19214"/>
                    <a:pt x="939" y="19214"/>
                  </a:cubicBezTo>
                  <a:cubicBezTo>
                    <a:pt x="940" y="19214"/>
                    <a:pt x="941" y="19214"/>
                    <a:pt x="942" y="19214"/>
                  </a:cubicBezTo>
                  <a:cubicBezTo>
                    <a:pt x="993" y="19207"/>
                    <a:pt x="1309" y="19168"/>
                    <a:pt x="1593" y="19168"/>
                  </a:cubicBezTo>
                  <a:cubicBezTo>
                    <a:pt x="1725" y="19168"/>
                    <a:pt x="1849" y="19177"/>
                    <a:pt x="1936" y="19200"/>
                  </a:cubicBezTo>
                  <a:cubicBezTo>
                    <a:pt x="1947" y="19203"/>
                    <a:pt x="1961" y="19207"/>
                    <a:pt x="1975" y="19210"/>
                  </a:cubicBezTo>
                  <a:lnTo>
                    <a:pt x="1989" y="19217"/>
                  </a:lnTo>
                  <a:lnTo>
                    <a:pt x="2014" y="19224"/>
                  </a:lnTo>
                  <a:lnTo>
                    <a:pt x="2031" y="19231"/>
                  </a:lnTo>
                  <a:lnTo>
                    <a:pt x="2056" y="19242"/>
                  </a:lnTo>
                  <a:lnTo>
                    <a:pt x="2070" y="19252"/>
                  </a:lnTo>
                  <a:lnTo>
                    <a:pt x="2094" y="19263"/>
                  </a:lnTo>
                  <a:lnTo>
                    <a:pt x="2112" y="19273"/>
                  </a:lnTo>
                  <a:lnTo>
                    <a:pt x="2133" y="19287"/>
                  </a:lnTo>
                  <a:lnTo>
                    <a:pt x="2150" y="19298"/>
                  </a:lnTo>
                  <a:lnTo>
                    <a:pt x="2171" y="19312"/>
                  </a:lnTo>
                  <a:lnTo>
                    <a:pt x="2185" y="19326"/>
                  </a:lnTo>
                  <a:lnTo>
                    <a:pt x="2206" y="19340"/>
                  </a:lnTo>
                  <a:lnTo>
                    <a:pt x="2224" y="19354"/>
                  </a:lnTo>
                  <a:lnTo>
                    <a:pt x="2231" y="19357"/>
                  </a:lnTo>
                  <a:cubicBezTo>
                    <a:pt x="2245" y="19357"/>
                    <a:pt x="2262" y="19354"/>
                    <a:pt x="2280" y="19354"/>
                  </a:cubicBezTo>
                  <a:cubicBezTo>
                    <a:pt x="2367" y="19361"/>
                    <a:pt x="2451" y="19378"/>
                    <a:pt x="2532" y="19410"/>
                  </a:cubicBezTo>
                  <a:cubicBezTo>
                    <a:pt x="2577" y="19427"/>
                    <a:pt x="2623" y="19441"/>
                    <a:pt x="2672" y="19448"/>
                  </a:cubicBezTo>
                  <a:cubicBezTo>
                    <a:pt x="2633" y="19385"/>
                    <a:pt x="2588" y="19322"/>
                    <a:pt x="2535" y="19266"/>
                  </a:cubicBezTo>
                  <a:cubicBezTo>
                    <a:pt x="2430" y="19140"/>
                    <a:pt x="2367" y="19056"/>
                    <a:pt x="2374" y="18986"/>
                  </a:cubicBezTo>
                  <a:cubicBezTo>
                    <a:pt x="2374" y="18920"/>
                    <a:pt x="2364" y="18853"/>
                    <a:pt x="2346" y="18787"/>
                  </a:cubicBezTo>
                  <a:cubicBezTo>
                    <a:pt x="2329" y="18720"/>
                    <a:pt x="2318" y="18650"/>
                    <a:pt x="2315" y="18580"/>
                  </a:cubicBezTo>
                  <a:cubicBezTo>
                    <a:pt x="2315" y="18559"/>
                    <a:pt x="2315" y="18535"/>
                    <a:pt x="2311" y="18503"/>
                  </a:cubicBezTo>
                  <a:cubicBezTo>
                    <a:pt x="2297" y="18356"/>
                    <a:pt x="2283" y="18136"/>
                    <a:pt x="2451" y="18017"/>
                  </a:cubicBezTo>
                  <a:cubicBezTo>
                    <a:pt x="2500" y="17978"/>
                    <a:pt x="2546" y="17936"/>
                    <a:pt x="2588" y="17884"/>
                  </a:cubicBezTo>
                  <a:cubicBezTo>
                    <a:pt x="2633" y="17832"/>
                    <a:pt x="2678" y="17781"/>
                    <a:pt x="2754" y="17781"/>
                  </a:cubicBezTo>
                  <a:cubicBezTo>
                    <a:pt x="2767" y="17781"/>
                    <a:pt x="2780" y="17783"/>
                    <a:pt x="2794" y="17785"/>
                  </a:cubicBezTo>
                  <a:cubicBezTo>
                    <a:pt x="2799" y="17786"/>
                    <a:pt x="2803" y="17786"/>
                    <a:pt x="2808" y="17786"/>
                  </a:cubicBezTo>
                  <a:cubicBezTo>
                    <a:pt x="2849" y="17786"/>
                    <a:pt x="2892" y="17772"/>
                    <a:pt x="2924" y="17743"/>
                  </a:cubicBezTo>
                  <a:cubicBezTo>
                    <a:pt x="3008" y="17673"/>
                    <a:pt x="3057" y="17568"/>
                    <a:pt x="3053" y="17460"/>
                  </a:cubicBezTo>
                  <a:cubicBezTo>
                    <a:pt x="3067" y="17145"/>
                    <a:pt x="3214" y="17022"/>
                    <a:pt x="3456" y="16816"/>
                  </a:cubicBezTo>
                  <a:lnTo>
                    <a:pt x="3466" y="16805"/>
                  </a:lnTo>
                  <a:cubicBezTo>
                    <a:pt x="3575" y="16718"/>
                    <a:pt x="3687" y="16637"/>
                    <a:pt x="3802" y="16564"/>
                  </a:cubicBezTo>
                  <a:cubicBezTo>
                    <a:pt x="3914" y="16490"/>
                    <a:pt x="4061" y="16392"/>
                    <a:pt x="4090" y="16343"/>
                  </a:cubicBezTo>
                  <a:cubicBezTo>
                    <a:pt x="4047" y="16256"/>
                    <a:pt x="4090" y="16119"/>
                    <a:pt x="4135" y="15976"/>
                  </a:cubicBezTo>
                  <a:cubicBezTo>
                    <a:pt x="4156" y="15916"/>
                    <a:pt x="4170" y="15857"/>
                    <a:pt x="4181" y="15793"/>
                  </a:cubicBezTo>
                  <a:cubicBezTo>
                    <a:pt x="4149" y="15765"/>
                    <a:pt x="3991" y="15751"/>
                    <a:pt x="3907" y="15741"/>
                  </a:cubicBezTo>
                  <a:cubicBezTo>
                    <a:pt x="3830" y="15737"/>
                    <a:pt x="3753" y="15723"/>
                    <a:pt x="3680" y="15702"/>
                  </a:cubicBezTo>
                  <a:cubicBezTo>
                    <a:pt x="3578" y="15667"/>
                    <a:pt x="3326" y="15503"/>
                    <a:pt x="3228" y="15251"/>
                  </a:cubicBezTo>
                  <a:cubicBezTo>
                    <a:pt x="3169" y="15093"/>
                    <a:pt x="3183" y="14918"/>
                    <a:pt x="3267" y="14775"/>
                  </a:cubicBezTo>
                  <a:cubicBezTo>
                    <a:pt x="3389" y="14551"/>
                    <a:pt x="3652" y="14278"/>
                    <a:pt x="4219" y="14229"/>
                  </a:cubicBezTo>
                  <a:lnTo>
                    <a:pt x="4230" y="14229"/>
                  </a:lnTo>
                  <a:cubicBezTo>
                    <a:pt x="4233" y="14208"/>
                    <a:pt x="4233" y="14187"/>
                    <a:pt x="4233" y="14166"/>
                  </a:cubicBezTo>
                  <a:cubicBezTo>
                    <a:pt x="4233" y="14099"/>
                    <a:pt x="4233" y="14001"/>
                    <a:pt x="4321" y="13949"/>
                  </a:cubicBezTo>
                  <a:cubicBezTo>
                    <a:pt x="4408" y="13896"/>
                    <a:pt x="4436" y="13816"/>
                    <a:pt x="4436" y="13630"/>
                  </a:cubicBezTo>
                  <a:cubicBezTo>
                    <a:pt x="4436" y="13406"/>
                    <a:pt x="4436" y="13035"/>
                    <a:pt x="4713" y="13007"/>
                  </a:cubicBezTo>
                  <a:cubicBezTo>
                    <a:pt x="4765" y="13003"/>
                    <a:pt x="4814" y="12986"/>
                    <a:pt x="4860" y="12958"/>
                  </a:cubicBezTo>
                  <a:lnTo>
                    <a:pt x="4846" y="12951"/>
                  </a:lnTo>
                  <a:cubicBezTo>
                    <a:pt x="4744" y="12923"/>
                    <a:pt x="4671" y="12839"/>
                    <a:pt x="4678" y="12758"/>
                  </a:cubicBezTo>
                  <a:cubicBezTo>
                    <a:pt x="4681" y="12716"/>
                    <a:pt x="4709" y="12625"/>
                    <a:pt x="4881" y="12604"/>
                  </a:cubicBezTo>
                  <a:cubicBezTo>
                    <a:pt x="4895" y="12601"/>
                    <a:pt x="4909" y="12600"/>
                    <a:pt x="4924" y="12600"/>
                  </a:cubicBezTo>
                  <a:cubicBezTo>
                    <a:pt x="5011" y="12600"/>
                    <a:pt x="5093" y="12653"/>
                    <a:pt x="5129" y="12734"/>
                  </a:cubicBezTo>
                  <a:cubicBezTo>
                    <a:pt x="5154" y="12776"/>
                    <a:pt x="5161" y="12786"/>
                    <a:pt x="5192" y="12786"/>
                  </a:cubicBezTo>
                  <a:cubicBezTo>
                    <a:pt x="5262" y="12786"/>
                    <a:pt x="5381" y="12699"/>
                    <a:pt x="5409" y="12608"/>
                  </a:cubicBezTo>
                  <a:cubicBezTo>
                    <a:pt x="5430" y="12559"/>
                    <a:pt x="5409" y="12506"/>
                    <a:pt x="5367" y="12482"/>
                  </a:cubicBezTo>
                  <a:cubicBezTo>
                    <a:pt x="5329" y="12452"/>
                    <a:pt x="5300" y="12439"/>
                    <a:pt x="5275" y="12439"/>
                  </a:cubicBezTo>
                  <a:cubicBezTo>
                    <a:pt x="5240" y="12439"/>
                    <a:pt x="5212" y="12465"/>
                    <a:pt x="5175" y="12503"/>
                  </a:cubicBezTo>
                  <a:cubicBezTo>
                    <a:pt x="5140" y="12545"/>
                    <a:pt x="5094" y="12576"/>
                    <a:pt x="5045" y="12590"/>
                  </a:cubicBezTo>
                  <a:cubicBezTo>
                    <a:pt x="5033" y="12593"/>
                    <a:pt x="5021" y="12595"/>
                    <a:pt x="5009" y="12595"/>
                  </a:cubicBezTo>
                  <a:cubicBezTo>
                    <a:pt x="4937" y="12595"/>
                    <a:pt x="4876" y="12545"/>
                    <a:pt x="4828" y="12506"/>
                  </a:cubicBezTo>
                  <a:cubicBezTo>
                    <a:pt x="4793" y="12478"/>
                    <a:pt x="4755" y="12447"/>
                    <a:pt x="4727" y="12447"/>
                  </a:cubicBezTo>
                  <a:cubicBezTo>
                    <a:pt x="4699" y="12447"/>
                    <a:pt x="4629" y="12436"/>
                    <a:pt x="4608" y="12324"/>
                  </a:cubicBezTo>
                  <a:cubicBezTo>
                    <a:pt x="4597" y="12272"/>
                    <a:pt x="4594" y="12216"/>
                    <a:pt x="4597" y="12160"/>
                  </a:cubicBezTo>
                  <a:cubicBezTo>
                    <a:pt x="4601" y="12107"/>
                    <a:pt x="4594" y="12051"/>
                    <a:pt x="4583" y="11995"/>
                  </a:cubicBezTo>
                  <a:cubicBezTo>
                    <a:pt x="4538" y="11894"/>
                    <a:pt x="4443" y="11589"/>
                    <a:pt x="4566" y="11421"/>
                  </a:cubicBezTo>
                  <a:cubicBezTo>
                    <a:pt x="4596" y="11380"/>
                    <a:pt x="4638" y="11363"/>
                    <a:pt x="4688" y="11363"/>
                  </a:cubicBezTo>
                  <a:cubicBezTo>
                    <a:pt x="4774" y="11363"/>
                    <a:pt x="4885" y="11412"/>
                    <a:pt x="5014" y="11470"/>
                  </a:cubicBezTo>
                  <a:cubicBezTo>
                    <a:pt x="5164" y="11536"/>
                    <a:pt x="5336" y="11613"/>
                    <a:pt x="5497" y="11624"/>
                  </a:cubicBezTo>
                  <a:cubicBezTo>
                    <a:pt x="5519" y="11626"/>
                    <a:pt x="5542" y="11627"/>
                    <a:pt x="5564" y="11627"/>
                  </a:cubicBezTo>
                  <a:cubicBezTo>
                    <a:pt x="5720" y="11627"/>
                    <a:pt x="5872" y="11574"/>
                    <a:pt x="5994" y="11473"/>
                  </a:cubicBezTo>
                  <a:cubicBezTo>
                    <a:pt x="6025" y="11449"/>
                    <a:pt x="6050" y="11414"/>
                    <a:pt x="6057" y="11375"/>
                  </a:cubicBezTo>
                  <a:cubicBezTo>
                    <a:pt x="6053" y="11337"/>
                    <a:pt x="6043" y="11298"/>
                    <a:pt x="6032" y="11260"/>
                  </a:cubicBezTo>
                  <a:cubicBezTo>
                    <a:pt x="5994" y="11130"/>
                    <a:pt x="5938" y="10931"/>
                    <a:pt x="6134" y="10798"/>
                  </a:cubicBezTo>
                  <a:cubicBezTo>
                    <a:pt x="6201" y="10756"/>
                    <a:pt x="6208" y="10731"/>
                    <a:pt x="6211" y="10728"/>
                  </a:cubicBezTo>
                  <a:cubicBezTo>
                    <a:pt x="6211" y="10714"/>
                    <a:pt x="6190" y="10682"/>
                    <a:pt x="6169" y="10651"/>
                  </a:cubicBezTo>
                  <a:cubicBezTo>
                    <a:pt x="6134" y="10602"/>
                    <a:pt x="6102" y="10546"/>
                    <a:pt x="6081" y="10486"/>
                  </a:cubicBezTo>
                  <a:cubicBezTo>
                    <a:pt x="6036" y="10336"/>
                    <a:pt x="6095" y="10220"/>
                    <a:pt x="6173" y="10175"/>
                  </a:cubicBezTo>
                  <a:cubicBezTo>
                    <a:pt x="6201" y="10156"/>
                    <a:pt x="6232" y="10148"/>
                    <a:pt x="6262" y="10148"/>
                  </a:cubicBezTo>
                  <a:cubicBezTo>
                    <a:pt x="6308" y="10148"/>
                    <a:pt x="6353" y="10167"/>
                    <a:pt x="6386" y="10203"/>
                  </a:cubicBezTo>
                  <a:cubicBezTo>
                    <a:pt x="6409" y="10220"/>
                    <a:pt x="6491" y="10230"/>
                    <a:pt x="6615" y="10230"/>
                  </a:cubicBezTo>
                  <a:cubicBezTo>
                    <a:pt x="6863" y="10230"/>
                    <a:pt x="7279" y="10191"/>
                    <a:pt x="7734" y="10098"/>
                  </a:cubicBezTo>
                  <a:cubicBezTo>
                    <a:pt x="8371" y="9968"/>
                    <a:pt x="8704" y="9748"/>
                    <a:pt x="8725" y="9639"/>
                  </a:cubicBezTo>
                  <a:cubicBezTo>
                    <a:pt x="8749" y="9523"/>
                    <a:pt x="8879" y="9355"/>
                    <a:pt x="9061" y="9131"/>
                  </a:cubicBezTo>
                  <a:cubicBezTo>
                    <a:pt x="9120" y="9058"/>
                    <a:pt x="9176" y="8984"/>
                    <a:pt x="9229" y="8904"/>
                  </a:cubicBezTo>
                  <a:cubicBezTo>
                    <a:pt x="9257" y="8858"/>
                    <a:pt x="9264" y="8802"/>
                    <a:pt x="9239" y="8753"/>
                  </a:cubicBezTo>
                  <a:cubicBezTo>
                    <a:pt x="9211" y="8694"/>
                    <a:pt x="9141" y="8652"/>
                    <a:pt x="9047" y="8638"/>
                  </a:cubicBezTo>
                  <a:cubicBezTo>
                    <a:pt x="8945" y="8627"/>
                    <a:pt x="8854" y="8561"/>
                    <a:pt x="8819" y="8463"/>
                  </a:cubicBezTo>
                  <a:cubicBezTo>
                    <a:pt x="8774" y="8340"/>
                    <a:pt x="8809" y="8172"/>
                    <a:pt x="8910" y="8057"/>
                  </a:cubicBezTo>
                  <a:cubicBezTo>
                    <a:pt x="8942" y="8018"/>
                    <a:pt x="8938" y="7994"/>
                    <a:pt x="8931" y="7976"/>
                  </a:cubicBezTo>
                  <a:cubicBezTo>
                    <a:pt x="8903" y="7910"/>
                    <a:pt x="8784" y="7850"/>
                    <a:pt x="8648" y="7836"/>
                  </a:cubicBezTo>
                  <a:cubicBezTo>
                    <a:pt x="8487" y="7819"/>
                    <a:pt x="8206" y="7731"/>
                    <a:pt x="8150" y="7567"/>
                  </a:cubicBezTo>
                  <a:cubicBezTo>
                    <a:pt x="8133" y="7514"/>
                    <a:pt x="8129" y="7437"/>
                    <a:pt x="8224" y="7349"/>
                  </a:cubicBezTo>
                  <a:cubicBezTo>
                    <a:pt x="8282" y="7291"/>
                    <a:pt x="8336" y="7264"/>
                    <a:pt x="8388" y="7264"/>
                  </a:cubicBezTo>
                  <a:cubicBezTo>
                    <a:pt x="8401" y="7264"/>
                    <a:pt x="8414" y="7265"/>
                    <a:pt x="8427" y="7269"/>
                  </a:cubicBezTo>
                  <a:lnTo>
                    <a:pt x="8427" y="7262"/>
                  </a:lnTo>
                  <a:lnTo>
                    <a:pt x="8434" y="7241"/>
                  </a:lnTo>
                  <a:lnTo>
                    <a:pt x="8434" y="7234"/>
                  </a:lnTo>
                  <a:cubicBezTo>
                    <a:pt x="8438" y="7223"/>
                    <a:pt x="8438" y="7216"/>
                    <a:pt x="8441" y="7209"/>
                  </a:cubicBezTo>
                  <a:lnTo>
                    <a:pt x="8441" y="7206"/>
                  </a:lnTo>
                  <a:cubicBezTo>
                    <a:pt x="8441" y="7202"/>
                    <a:pt x="8441" y="7195"/>
                    <a:pt x="8445" y="7192"/>
                  </a:cubicBezTo>
                  <a:lnTo>
                    <a:pt x="8445" y="7188"/>
                  </a:lnTo>
                  <a:lnTo>
                    <a:pt x="8445" y="7178"/>
                  </a:lnTo>
                  <a:lnTo>
                    <a:pt x="8434" y="7174"/>
                  </a:lnTo>
                  <a:cubicBezTo>
                    <a:pt x="8329" y="7136"/>
                    <a:pt x="8266" y="7059"/>
                    <a:pt x="8273" y="6800"/>
                  </a:cubicBezTo>
                  <a:cubicBezTo>
                    <a:pt x="8273" y="6688"/>
                    <a:pt x="8298" y="6576"/>
                    <a:pt x="8347" y="6474"/>
                  </a:cubicBezTo>
                  <a:cubicBezTo>
                    <a:pt x="8382" y="6394"/>
                    <a:pt x="8417" y="6313"/>
                    <a:pt x="8420" y="6089"/>
                  </a:cubicBezTo>
                  <a:cubicBezTo>
                    <a:pt x="8431" y="5876"/>
                    <a:pt x="8469" y="5666"/>
                    <a:pt x="8539" y="5466"/>
                  </a:cubicBezTo>
                  <a:cubicBezTo>
                    <a:pt x="8574" y="5368"/>
                    <a:pt x="8599" y="5263"/>
                    <a:pt x="8606" y="5158"/>
                  </a:cubicBezTo>
                  <a:cubicBezTo>
                    <a:pt x="8606" y="5140"/>
                    <a:pt x="8606" y="5126"/>
                    <a:pt x="8609" y="5112"/>
                  </a:cubicBezTo>
                  <a:lnTo>
                    <a:pt x="8609" y="5105"/>
                  </a:lnTo>
                  <a:cubicBezTo>
                    <a:pt x="8613" y="5074"/>
                    <a:pt x="8623" y="5046"/>
                    <a:pt x="8637" y="5018"/>
                  </a:cubicBezTo>
                  <a:cubicBezTo>
                    <a:pt x="8658" y="4972"/>
                    <a:pt x="8683" y="4934"/>
                    <a:pt x="8711" y="4895"/>
                  </a:cubicBezTo>
                  <a:lnTo>
                    <a:pt x="8711" y="4895"/>
                  </a:lnTo>
                  <a:lnTo>
                    <a:pt x="8704" y="4902"/>
                  </a:lnTo>
                  <a:lnTo>
                    <a:pt x="8756" y="4843"/>
                  </a:lnTo>
                  <a:cubicBezTo>
                    <a:pt x="8802" y="4787"/>
                    <a:pt x="8858" y="4731"/>
                    <a:pt x="8914" y="4668"/>
                  </a:cubicBezTo>
                  <a:cubicBezTo>
                    <a:pt x="8987" y="4591"/>
                    <a:pt x="9064" y="4503"/>
                    <a:pt x="9138" y="4412"/>
                  </a:cubicBezTo>
                  <a:cubicBezTo>
                    <a:pt x="9183" y="4360"/>
                    <a:pt x="9222" y="4300"/>
                    <a:pt x="9260" y="4241"/>
                  </a:cubicBezTo>
                  <a:cubicBezTo>
                    <a:pt x="9446" y="3936"/>
                    <a:pt x="9817" y="3555"/>
                    <a:pt x="10072" y="3344"/>
                  </a:cubicBezTo>
                  <a:cubicBezTo>
                    <a:pt x="10121" y="3302"/>
                    <a:pt x="10174" y="3264"/>
                    <a:pt x="10226" y="3225"/>
                  </a:cubicBezTo>
                  <a:cubicBezTo>
                    <a:pt x="10314" y="3173"/>
                    <a:pt x="10405" y="3127"/>
                    <a:pt x="10503" y="3089"/>
                  </a:cubicBezTo>
                  <a:lnTo>
                    <a:pt x="10545" y="3068"/>
                  </a:lnTo>
                  <a:cubicBezTo>
                    <a:pt x="10671" y="3015"/>
                    <a:pt x="10846" y="2938"/>
                    <a:pt x="10867" y="2889"/>
                  </a:cubicBezTo>
                  <a:cubicBezTo>
                    <a:pt x="10867" y="2886"/>
                    <a:pt x="10871" y="2882"/>
                    <a:pt x="10871" y="2875"/>
                  </a:cubicBezTo>
                  <a:cubicBezTo>
                    <a:pt x="10885" y="2791"/>
                    <a:pt x="10888" y="2704"/>
                    <a:pt x="10881" y="2616"/>
                  </a:cubicBezTo>
                  <a:cubicBezTo>
                    <a:pt x="10881" y="2592"/>
                    <a:pt x="10878" y="2564"/>
                    <a:pt x="10874" y="2536"/>
                  </a:cubicBezTo>
                  <a:lnTo>
                    <a:pt x="10874" y="2529"/>
                  </a:lnTo>
                  <a:cubicBezTo>
                    <a:pt x="10871" y="2501"/>
                    <a:pt x="10867" y="2469"/>
                    <a:pt x="10864" y="2441"/>
                  </a:cubicBezTo>
                  <a:lnTo>
                    <a:pt x="10864" y="2431"/>
                  </a:lnTo>
                  <a:cubicBezTo>
                    <a:pt x="10864" y="2413"/>
                    <a:pt x="10860" y="2396"/>
                    <a:pt x="10857" y="2378"/>
                  </a:cubicBezTo>
                  <a:cubicBezTo>
                    <a:pt x="10857" y="2361"/>
                    <a:pt x="10853" y="2354"/>
                    <a:pt x="10853" y="2343"/>
                  </a:cubicBezTo>
                  <a:cubicBezTo>
                    <a:pt x="10839" y="2242"/>
                    <a:pt x="10818" y="2161"/>
                    <a:pt x="10797" y="2137"/>
                  </a:cubicBezTo>
                  <a:cubicBezTo>
                    <a:pt x="10782" y="2130"/>
                    <a:pt x="10735" y="2119"/>
                    <a:pt x="10609" y="2119"/>
                  </a:cubicBezTo>
                  <a:cubicBezTo>
                    <a:pt x="10593" y="2119"/>
                    <a:pt x="10577" y="2119"/>
                    <a:pt x="10559" y="2119"/>
                  </a:cubicBezTo>
                  <a:lnTo>
                    <a:pt x="10542" y="2119"/>
                  </a:lnTo>
                  <a:lnTo>
                    <a:pt x="10542" y="2130"/>
                  </a:lnTo>
                  <a:lnTo>
                    <a:pt x="10542" y="2151"/>
                  </a:lnTo>
                  <a:lnTo>
                    <a:pt x="10542" y="2175"/>
                  </a:lnTo>
                  <a:lnTo>
                    <a:pt x="10542" y="2196"/>
                  </a:lnTo>
                  <a:lnTo>
                    <a:pt x="10542" y="2224"/>
                  </a:lnTo>
                  <a:lnTo>
                    <a:pt x="10542" y="2245"/>
                  </a:lnTo>
                  <a:cubicBezTo>
                    <a:pt x="10542" y="2252"/>
                    <a:pt x="10542" y="2266"/>
                    <a:pt x="10538" y="2277"/>
                  </a:cubicBezTo>
                  <a:cubicBezTo>
                    <a:pt x="10535" y="2287"/>
                    <a:pt x="10538" y="2291"/>
                    <a:pt x="10538" y="2298"/>
                  </a:cubicBezTo>
                  <a:cubicBezTo>
                    <a:pt x="10538" y="2305"/>
                    <a:pt x="10535" y="2319"/>
                    <a:pt x="10535" y="2333"/>
                  </a:cubicBezTo>
                  <a:cubicBezTo>
                    <a:pt x="10535" y="2343"/>
                    <a:pt x="10535" y="2347"/>
                    <a:pt x="10531" y="2354"/>
                  </a:cubicBezTo>
                  <a:cubicBezTo>
                    <a:pt x="10528" y="2361"/>
                    <a:pt x="10528" y="2378"/>
                    <a:pt x="10528" y="2389"/>
                  </a:cubicBezTo>
                  <a:cubicBezTo>
                    <a:pt x="10524" y="2399"/>
                    <a:pt x="10524" y="2403"/>
                    <a:pt x="10524" y="2413"/>
                  </a:cubicBezTo>
                  <a:cubicBezTo>
                    <a:pt x="10521" y="2420"/>
                    <a:pt x="10517" y="2434"/>
                    <a:pt x="10517" y="2448"/>
                  </a:cubicBezTo>
                  <a:lnTo>
                    <a:pt x="10510" y="2473"/>
                  </a:lnTo>
                  <a:cubicBezTo>
                    <a:pt x="10510" y="2483"/>
                    <a:pt x="10507" y="2494"/>
                    <a:pt x="10503" y="2508"/>
                  </a:cubicBezTo>
                  <a:lnTo>
                    <a:pt x="10500" y="2532"/>
                  </a:lnTo>
                  <a:cubicBezTo>
                    <a:pt x="10496" y="2543"/>
                    <a:pt x="10493" y="2557"/>
                    <a:pt x="10489" y="2567"/>
                  </a:cubicBezTo>
                  <a:lnTo>
                    <a:pt x="10482" y="2592"/>
                  </a:lnTo>
                  <a:cubicBezTo>
                    <a:pt x="10479" y="2602"/>
                    <a:pt x="10475" y="2613"/>
                    <a:pt x="10472" y="2623"/>
                  </a:cubicBezTo>
                  <a:cubicBezTo>
                    <a:pt x="10468" y="2637"/>
                    <a:pt x="10468" y="2641"/>
                    <a:pt x="10465" y="2648"/>
                  </a:cubicBezTo>
                  <a:cubicBezTo>
                    <a:pt x="10461" y="2658"/>
                    <a:pt x="10458" y="2669"/>
                    <a:pt x="10454" y="2683"/>
                  </a:cubicBezTo>
                  <a:cubicBezTo>
                    <a:pt x="10451" y="2693"/>
                    <a:pt x="10447" y="2697"/>
                    <a:pt x="10444" y="2704"/>
                  </a:cubicBezTo>
                  <a:cubicBezTo>
                    <a:pt x="10444" y="2714"/>
                    <a:pt x="10437" y="2725"/>
                    <a:pt x="10433" y="2735"/>
                  </a:cubicBezTo>
                  <a:cubicBezTo>
                    <a:pt x="10430" y="2746"/>
                    <a:pt x="10426" y="2749"/>
                    <a:pt x="10423" y="2756"/>
                  </a:cubicBezTo>
                  <a:cubicBezTo>
                    <a:pt x="10419" y="2763"/>
                    <a:pt x="10416" y="2777"/>
                    <a:pt x="10412" y="2784"/>
                  </a:cubicBezTo>
                  <a:cubicBezTo>
                    <a:pt x="10405" y="2795"/>
                    <a:pt x="10405" y="2798"/>
                    <a:pt x="10402" y="2805"/>
                  </a:cubicBezTo>
                  <a:cubicBezTo>
                    <a:pt x="10398" y="2812"/>
                    <a:pt x="10391" y="2823"/>
                    <a:pt x="10388" y="2833"/>
                  </a:cubicBezTo>
                  <a:cubicBezTo>
                    <a:pt x="10381" y="2840"/>
                    <a:pt x="10381" y="2844"/>
                    <a:pt x="10377" y="2851"/>
                  </a:cubicBezTo>
                  <a:cubicBezTo>
                    <a:pt x="10374" y="2854"/>
                    <a:pt x="10367" y="2868"/>
                    <a:pt x="10360" y="2875"/>
                  </a:cubicBezTo>
                  <a:lnTo>
                    <a:pt x="10353" y="2889"/>
                  </a:lnTo>
                  <a:cubicBezTo>
                    <a:pt x="10342" y="2900"/>
                    <a:pt x="10335" y="2910"/>
                    <a:pt x="10325" y="2921"/>
                  </a:cubicBezTo>
                  <a:cubicBezTo>
                    <a:pt x="10295" y="2960"/>
                    <a:pt x="10248" y="2981"/>
                    <a:pt x="10199" y="2981"/>
                  </a:cubicBezTo>
                  <a:cubicBezTo>
                    <a:pt x="10196" y="2981"/>
                    <a:pt x="10192" y="2981"/>
                    <a:pt x="10188" y="2980"/>
                  </a:cubicBezTo>
                  <a:cubicBezTo>
                    <a:pt x="10186" y="2980"/>
                    <a:pt x="10185" y="2980"/>
                    <a:pt x="10183" y="2980"/>
                  </a:cubicBezTo>
                  <a:cubicBezTo>
                    <a:pt x="10131" y="2980"/>
                    <a:pt x="10067" y="3031"/>
                    <a:pt x="10009" y="3082"/>
                  </a:cubicBezTo>
                  <a:cubicBezTo>
                    <a:pt x="9944" y="3139"/>
                    <a:pt x="9875" y="3196"/>
                    <a:pt x="9795" y="3196"/>
                  </a:cubicBezTo>
                  <a:cubicBezTo>
                    <a:pt x="9782" y="3196"/>
                    <a:pt x="9768" y="3194"/>
                    <a:pt x="9754" y="3190"/>
                  </a:cubicBezTo>
                  <a:cubicBezTo>
                    <a:pt x="9751" y="3190"/>
                    <a:pt x="9748" y="3189"/>
                    <a:pt x="9744" y="3189"/>
                  </a:cubicBezTo>
                  <a:cubicBezTo>
                    <a:pt x="9712" y="3189"/>
                    <a:pt x="9661" y="3218"/>
                    <a:pt x="9610" y="3243"/>
                  </a:cubicBezTo>
                  <a:lnTo>
                    <a:pt x="9589" y="3253"/>
                  </a:lnTo>
                  <a:lnTo>
                    <a:pt x="9582" y="3257"/>
                  </a:lnTo>
                  <a:lnTo>
                    <a:pt x="9561" y="3267"/>
                  </a:lnTo>
                  <a:lnTo>
                    <a:pt x="9558" y="3267"/>
                  </a:lnTo>
                  <a:cubicBezTo>
                    <a:pt x="9540" y="3278"/>
                    <a:pt x="9523" y="3285"/>
                    <a:pt x="9505" y="3292"/>
                  </a:cubicBezTo>
                  <a:lnTo>
                    <a:pt x="9498" y="3292"/>
                  </a:lnTo>
                  <a:lnTo>
                    <a:pt x="9477" y="3302"/>
                  </a:lnTo>
                  <a:lnTo>
                    <a:pt x="9470" y="3302"/>
                  </a:lnTo>
                  <a:lnTo>
                    <a:pt x="9442" y="3309"/>
                  </a:lnTo>
                  <a:lnTo>
                    <a:pt x="9418" y="3313"/>
                  </a:lnTo>
                  <a:lnTo>
                    <a:pt x="9351" y="3313"/>
                  </a:lnTo>
                  <a:cubicBezTo>
                    <a:pt x="9344" y="3313"/>
                    <a:pt x="9334" y="3309"/>
                    <a:pt x="9327" y="3306"/>
                  </a:cubicBezTo>
                  <a:lnTo>
                    <a:pt x="9320" y="3306"/>
                  </a:lnTo>
                  <a:lnTo>
                    <a:pt x="9299" y="3299"/>
                  </a:lnTo>
                  <a:lnTo>
                    <a:pt x="9288" y="3295"/>
                  </a:lnTo>
                  <a:cubicBezTo>
                    <a:pt x="9281" y="3292"/>
                    <a:pt x="9271" y="3285"/>
                    <a:pt x="9260" y="3281"/>
                  </a:cubicBezTo>
                  <a:cubicBezTo>
                    <a:pt x="9223" y="3258"/>
                    <a:pt x="9180" y="3251"/>
                    <a:pt x="9134" y="3251"/>
                  </a:cubicBezTo>
                  <a:cubicBezTo>
                    <a:pt x="9096" y="3251"/>
                    <a:pt x="9056" y="3256"/>
                    <a:pt x="9015" y="3260"/>
                  </a:cubicBezTo>
                  <a:cubicBezTo>
                    <a:pt x="8978" y="3265"/>
                    <a:pt x="8939" y="3269"/>
                    <a:pt x="8899" y="3269"/>
                  </a:cubicBezTo>
                  <a:cubicBezTo>
                    <a:pt x="8842" y="3269"/>
                    <a:pt x="8785" y="3260"/>
                    <a:pt x="8735" y="3229"/>
                  </a:cubicBezTo>
                  <a:cubicBezTo>
                    <a:pt x="8721" y="3222"/>
                    <a:pt x="8707" y="3215"/>
                    <a:pt x="8690" y="3211"/>
                  </a:cubicBezTo>
                  <a:cubicBezTo>
                    <a:pt x="8623" y="3201"/>
                    <a:pt x="8557" y="3194"/>
                    <a:pt x="8487" y="3190"/>
                  </a:cubicBezTo>
                  <a:cubicBezTo>
                    <a:pt x="8392" y="3187"/>
                    <a:pt x="8305" y="3180"/>
                    <a:pt x="8249" y="3148"/>
                  </a:cubicBezTo>
                  <a:cubicBezTo>
                    <a:pt x="8238" y="3145"/>
                    <a:pt x="8227" y="3138"/>
                    <a:pt x="8220" y="3127"/>
                  </a:cubicBezTo>
                  <a:cubicBezTo>
                    <a:pt x="8203" y="3110"/>
                    <a:pt x="8196" y="3085"/>
                    <a:pt x="8196" y="3061"/>
                  </a:cubicBezTo>
                  <a:cubicBezTo>
                    <a:pt x="8199" y="3005"/>
                    <a:pt x="8231" y="2956"/>
                    <a:pt x="8277" y="2928"/>
                  </a:cubicBezTo>
                  <a:cubicBezTo>
                    <a:pt x="8326" y="2893"/>
                    <a:pt x="8378" y="2854"/>
                    <a:pt x="8378" y="2697"/>
                  </a:cubicBezTo>
                  <a:cubicBezTo>
                    <a:pt x="8378" y="2508"/>
                    <a:pt x="8539" y="2322"/>
                    <a:pt x="8669" y="2172"/>
                  </a:cubicBezTo>
                  <a:cubicBezTo>
                    <a:pt x="8725" y="2109"/>
                    <a:pt x="8798" y="2021"/>
                    <a:pt x="8809" y="1986"/>
                  </a:cubicBezTo>
                  <a:cubicBezTo>
                    <a:pt x="8767" y="1941"/>
                    <a:pt x="8543" y="1853"/>
                    <a:pt x="8378" y="1783"/>
                  </a:cubicBezTo>
                  <a:cubicBezTo>
                    <a:pt x="8059" y="1657"/>
                    <a:pt x="7863" y="1573"/>
                    <a:pt x="7800" y="1489"/>
                  </a:cubicBezTo>
                  <a:cubicBezTo>
                    <a:pt x="7702" y="1363"/>
                    <a:pt x="7562" y="1233"/>
                    <a:pt x="7237" y="1202"/>
                  </a:cubicBezTo>
                  <a:cubicBezTo>
                    <a:pt x="7097" y="1195"/>
                    <a:pt x="6964" y="1135"/>
                    <a:pt x="6866" y="1034"/>
                  </a:cubicBezTo>
                  <a:lnTo>
                    <a:pt x="6831" y="999"/>
                  </a:lnTo>
                  <a:cubicBezTo>
                    <a:pt x="6761" y="929"/>
                    <a:pt x="6687" y="866"/>
                    <a:pt x="6603" y="813"/>
                  </a:cubicBezTo>
                  <a:cubicBezTo>
                    <a:pt x="6586" y="803"/>
                    <a:pt x="6568" y="792"/>
                    <a:pt x="6551" y="782"/>
                  </a:cubicBezTo>
                  <a:lnTo>
                    <a:pt x="6533" y="768"/>
                  </a:lnTo>
                  <a:lnTo>
                    <a:pt x="6502" y="743"/>
                  </a:lnTo>
                  <a:lnTo>
                    <a:pt x="6477" y="726"/>
                  </a:lnTo>
                  <a:lnTo>
                    <a:pt x="6446" y="701"/>
                  </a:lnTo>
                  <a:lnTo>
                    <a:pt x="6421" y="684"/>
                  </a:lnTo>
                  <a:lnTo>
                    <a:pt x="6390" y="656"/>
                  </a:lnTo>
                  <a:lnTo>
                    <a:pt x="6365" y="635"/>
                  </a:lnTo>
                  <a:lnTo>
                    <a:pt x="6334" y="607"/>
                  </a:lnTo>
                  <a:lnTo>
                    <a:pt x="6309" y="582"/>
                  </a:lnTo>
                  <a:lnTo>
                    <a:pt x="6278" y="554"/>
                  </a:lnTo>
                  <a:lnTo>
                    <a:pt x="6253" y="530"/>
                  </a:lnTo>
                  <a:lnTo>
                    <a:pt x="6222" y="502"/>
                  </a:lnTo>
                  <a:lnTo>
                    <a:pt x="6197" y="477"/>
                  </a:lnTo>
                  <a:lnTo>
                    <a:pt x="6169" y="446"/>
                  </a:lnTo>
                  <a:lnTo>
                    <a:pt x="6144" y="421"/>
                  </a:lnTo>
                  <a:lnTo>
                    <a:pt x="6116" y="390"/>
                  </a:lnTo>
                  <a:lnTo>
                    <a:pt x="6092" y="365"/>
                  </a:lnTo>
                  <a:lnTo>
                    <a:pt x="6064" y="334"/>
                  </a:lnTo>
                  <a:lnTo>
                    <a:pt x="6043" y="309"/>
                  </a:lnTo>
                  <a:lnTo>
                    <a:pt x="6015" y="278"/>
                  </a:lnTo>
                  <a:lnTo>
                    <a:pt x="5994" y="253"/>
                  </a:lnTo>
                  <a:lnTo>
                    <a:pt x="5969" y="222"/>
                  </a:lnTo>
                  <a:lnTo>
                    <a:pt x="5952" y="197"/>
                  </a:lnTo>
                  <a:lnTo>
                    <a:pt x="5927" y="169"/>
                  </a:lnTo>
                  <a:lnTo>
                    <a:pt x="5910" y="148"/>
                  </a:lnTo>
                  <a:lnTo>
                    <a:pt x="5889" y="120"/>
                  </a:lnTo>
                  <a:lnTo>
                    <a:pt x="5875" y="96"/>
                  </a:lnTo>
                  <a:lnTo>
                    <a:pt x="5857" y="71"/>
                  </a:lnTo>
                  <a:lnTo>
                    <a:pt x="5843" y="50"/>
                  </a:lnTo>
                  <a:lnTo>
                    <a:pt x="5836" y="43"/>
                  </a:lnTo>
                  <a:lnTo>
                    <a:pt x="5791" y="36"/>
                  </a:lnTo>
                  <a:cubicBezTo>
                    <a:pt x="5715" y="29"/>
                    <a:pt x="5582" y="15"/>
                    <a:pt x="5487" y="15"/>
                  </a:cubicBezTo>
                  <a:cubicBezTo>
                    <a:pt x="5439" y="15"/>
                    <a:pt x="5400" y="19"/>
                    <a:pt x="5385" y="29"/>
                  </a:cubicBezTo>
                  <a:cubicBezTo>
                    <a:pt x="5364" y="64"/>
                    <a:pt x="5343" y="99"/>
                    <a:pt x="5329" y="138"/>
                  </a:cubicBezTo>
                  <a:lnTo>
                    <a:pt x="5318" y="159"/>
                  </a:lnTo>
                  <a:cubicBezTo>
                    <a:pt x="5248" y="299"/>
                    <a:pt x="5185" y="435"/>
                    <a:pt x="5084" y="435"/>
                  </a:cubicBezTo>
                  <a:cubicBezTo>
                    <a:pt x="5031" y="435"/>
                    <a:pt x="4989" y="404"/>
                    <a:pt x="4958" y="337"/>
                  </a:cubicBezTo>
                  <a:cubicBezTo>
                    <a:pt x="4951" y="327"/>
                    <a:pt x="4947" y="316"/>
                    <a:pt x="4940" y="309"/>
                  </a:cubicBezTo>
                  <a:cubicBezTo>
                    <a:pt x="4849" y="169"/>
                    <a:pt x="4667" y="148"/>
                    <a:pt x="4475" y="127"/>
                  </a:cubicBezTo>
                  <a:lnTo>
                    <a:pt x="4377" y="113"/>
                  </a:lnTo>
                  <a:cubicBezTo>
                    <a:pt x="4300" y="103"/>
                    <a:pt x="4230" y="75"/>
                    <a:pt x="4167" y="29"/>
                  </a:cubicBezTo>
                  <a:cubicBezTo>
                    <a:pt x="4140" y="12"/>
                    <a:pt x="4121" y="0"/>
                    <a:pt x="40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7" name="Google Shape;6254;p64">
              <a:extLst>
                <a:ext uri="{FF2B5EF4-FFF2-40B4-BE49-F238E27FC236}">
                  <a16:creationId xmlns:a16="http://schemas.microsoft.com/office/drawing/2014/main" id="{0B28BA93-2845-56E9-894A-DFC21E76C4A5}"/>
                </a:ext>
              </a:extLst>
            </p:cNvPr>
            <p:cNvSpPr/>
            <p:nvPr/>
          </p:nvSpPr>
          <p:spPr>
            <a:xfrm>
              <a:off x="1532711" y="2487712"/>
              <a:ext cx="24589" cy="16850"/>
            </a:xfrm>
            <a:custGeom>
              <a:avLst/>
              <a:gdLst/>
              <a:ahLst/>
              <a:cxnLst/>
              <a:rect l="l" t="t" r="r" b="b"/>
              <a:pathLst>
                <a:path w="1811" h="1241" extrusionOk="0">
                  <a:moveTo>
                    <a:pt x="182" y="0"/>
                  </a:moveTo>
                  <a:cubicBezTo>
                    <a:pt x="165" y="0"/>
                    <a:pt x="147" y="4"/>
                    <a:pt x="133" y="7"/>
                  </a:cubicBezTo>
                  <a:cubicBezTo>
                    <a:pt x="116" y="10"/>
                    <a:pt x="99" y="12"/>
                    <a:pt x="82" y="12"/>
                  </a:cubicBezTo>
                  <a:cubicBezTo>
                    <a:pt x="61" y="12"/>
                    <a:pt x="40" y="9"/>
                    <a:pt x="21" y="4"/>
                  </a:cubicBezTo>
                  <a:cubicBezTo>
                    <a:pt x="4" y="434"/>
                    <a:pt x="0" y="774"/>
                    <a:pt x="7" y="977"/>
                  </a:cubicBezTo>
                  <a:lnTo>
                    <a:pt x="7" y="984"/>
                  </a:lnTo>
                  <a:cubicBezTo>
                    <a:pt x="7" y="1001"/>
                    <a:pt x="11" y="1022"/>
                    <a:pt x="11" y="1036"/>
                  </a:cubicBezTo>
                  <a:lnTo>
                    <a:pt x="11" y="1043"/>
                  </a:lnTo>
                  <a:lnTo>
                    <a:pt x="11" y="1064"/>
                  </a:lnTo>
                  <a:lnTo>
                    <a:pt x="11" y="1078"/>
                  </a:lnTo>
                  <a:lnTo>
                    <a:pt x="11" y="1103"/>
                  </a:lnTo>
                  <a:lnTo>
                    <a:pt x="11" y="1120"/>
                  </a:lnTo>
                  <a:lnTo>
                    <a:pt x="11" y="1131"/>
                  </a:lnTo>
                  <a:cubicBezTo>
                    <a:pt x="11" y="1138"/>
                    <a:pt x="11" y="1141"/>
                    <a:pt x="14" y="1148"/>
                  </a:cubicBezTo>
                  <a:lnTo>
                    <a:pt x="14" y="1152"/>
                  </a:lnTo>
                  <a:cubicBezTo>
                    <a:pt x="46" y="1152"/>
                    <a:pt x="102" y="1148"/>
                    <a:pt x="151" y="1145"/>
                  </a:cubicBezTo>
                  <a:cubicBezTo>
                    <a:pt x="224" y="1141"/>
                    <a:pt x="301" y="1138"/>
                    <a:pt x="375" y="1134"/>
                  </a:cubicBezTo>
                  <a:lnTo>
                    <a:pt x="651" y="1134"/>
                  </a:lnTo>
                  <a:lnTo>
                    <a:pt x="676" y="1138"/>
                  </a:lnTo>
                  <a:lnTo>
                    <a:pt x="700" y="1138"/>
                  </a:lnTo>
                  <a:lnTo>
                    <a:pt x="721" y="1141"/>
                  </a:lnTo>
                  <a:lnTo>
                    <a:pt x="746" y="1141"/>
                  </a:lnTo>
                  <a:lnTo>
                    <a:pt x="767" y="1148"/>
                  </a:lnTo>
                  <a:lnTo>
                    <a:pt x="788" y="1152"/>
                  </a:lnTo>
                  <a:lnTo>
                    <a:pt x="809" y="1155"/>
                  </a:lnTo>
                  <a:lnTo>
                    <a:pt x="826" y="1159"/>
                  </a:lnTo>
                  <a:lnTo>
                    <a:pt x="847" y="1166"/>
                  </a:lnTo>
                  <a:lnTo>
                    <a:pt x="865" y="1173"/>
                  </a:lnTo>
                  <a:lnTo>
                    <a:pt x="879" y="1180"/>
                  </a:lnTo>
                  <a:lnTo>
                    <a:pt x="896" y="1187"/>
                  </a:lnTo>
                  <a:lnTo>
                    <a:pt x="910" y="1194"/>
                  </a:lnTo>
                  <a:lnTo>
                    <a:pt x="921" y="1197"/>
                  </a:lnTo>
                  <a:lnTo>
                    <a:pt x="963" y="1215"/>
                  </a:lnTo>
                  <a:cubicBezTo>
                    <a:pt x="1005" y="1232"/>
                    <a:pt x="1034" y="1240"/>
                    <a:pt x="1056" y="1240"/>
                  </a:cubicBezTo>
                  <a:cubicBezTo>
                    <a:pt x="1076" y="1240"/>
                    <a:pt x="1090" y="1233"/>
                    <a:pt x="1103" y="1218"/>
                  </a:cubicBezTo>
                  <a:cubicBezTo>
                    <a:pt x="1183" y="1131"/>
                    <a:pt x="1327" y="1113"/>
                    <a:pt x="1474" y="1099"/>
                  </a:cubicBezTo>
                  <a:cubicBezTo>
                    <a:pt x="1593" y="1089"/>
                    <a:pt x="1716" y="1075"/>
                    <a:pt x="1796" y="1026"/>
                  </a:cubicBezTo>
                  <a:lnTo>
                    <a:pt x="1810" y="1015"/>
                  </a:lnTo>
                  <a:cubicBezTo>
                    <a:pt x="1772" y="1001"/>
                    <a:pt x="1677" y="984"/>
                    <a:pt x="1464" y="977"/>
                  </a:cubicBezTo>
                  <a:cubicBezTo>
                    <a:pt x="1211" y="966"/>
                    <a:pt x="819" y="648"/>
                    <a:pt x="469" y="350"/>
                  </a:cubicBezTo>
                  <a:cubicBezTo>
                    <a:pt x="420" y="305"/>
                    <a:pt x="378" y="270"/>
                    <a:pt x="347" y="245"/>
                  </a:cubicBezTo>
                  <a:cubicBezTo>
                    <a:pt x="280" y="193"/>
                    <a:pt x="235" y="119"/>
                    <a:pt x="214" y="39"/>
                  </a:cubicBezTo>
                  <a:cubicBezTo>
                    <a:pt x="210" y="25"/>
                    <a:pt x="203" y="14"/>
                    <a:pt x="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8" name="Google Shape;6255;p64">
              <a:extLst>
                <a:ext uri="{FF2B5EF4-FFF2-40B4-BE49-F238E27FC236}">
                  <a16:creationId xmlns:a16="http://schemas.microsoft.com/office/drawing/2014/main" id="{337F0C8B-0AFF-043E-9EE3-F0F3FC4DD2B4}"/>
                </a:ext>
              </a:extLst>
            </p:cNvPr>
            <p:cNvSpPr/>
            <p:nvPr/>
          </p:nvSpPr>
          <p:spPr>
            <a:xfrm>
              <a:off x="1640177" y="2240588"/>
              <a:ext cx="3245" cy="244"/>
            </a:xfrm>
            <a:custGeom>
              <a:avLst/>
              <a:gdLst/>
              <a:ahLst/>
              <a:cxnLst/>
              <a:rect l="l" t="t" r="r" b="b"/>
              <a:pathLst>
                <a:path w="239" h="18" extrusionOk="0">
                  <a:moveTo>
                    <a:pt x="1" y="0"/>
                  </a:moveTo>
                  <a:lnTo>
                    <a:pt x="1" y="0"/>
                  </a:lnTo>
                  <a:cubicBezTo>
                    <a:pt x="165" y="0"/>
                    <a:pt x="221" y="11"/>
                    <a:pt x="239" y="18"/>
                  </a:cubicBezTo>
                  <a:cubicBezTo>
                    <a:pt x="221" y="11"/>
                    <a:pt x="169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9" name="Google Shape;6256;p64">
              <a:extLst>
                <a:ext uri="{FF2B5EF4-FFF2-40B4-BE49-F238E27FC236}">
                  <a16:creationId xmlns:a16="http://schemas.microsoft.com/office/drawing/2014/main" id="{415F0E99-967C-F9BB-B3A7-A53CA6E0B06D}"/>
                </a:ext>
              </a:extLst>
            </p:cNvPr>
            <p:cNvSpPr/>
            <p:nvPr/>
          </p:nvSpPr>
          <p:spPr>
            <a:xfrm>
              <a:off x="1639946" y="22405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0" name="Google Shape;6257;p64">
              <a:extLst>
                <a:ext uri="{FF2B5EF4-FFF2-40B4-BE49-F238E27FC236}">
                  <a16:creationId xmlns:a16="http://schemas.microsoft.com/office/drawing/2014/main" id="{B99275F0-B4C4-D5AA-5E72-ADC9F549623D}"/>
                </a:ext>
              </a:extLst>
            </p:cNvPr>
            <p:cNvSpPr/>
            <p:nvPr/>
          </p:nvSpPr>
          <p:spPr>
            <a:xfrm>
              <a:off x="1620924" y="2257221"/>
              <a:ext cx="12709" cy="14555"/>
            </a:xfrm>
            <a:custGeom>
              <a:avLst/>
              <a:gdLst/>
              <a:ahLst/>
              <a:cxnLst/>
              <a:rect l="l" t="t" r="r" b="b"/>
              <a:pathLst>
                <a:path w="936" h="1072" extrusionOk="0">
                  <a:moveTo>
                    <a:pt x="935" y="0"/>
                  </a:moveTo>
                  <a:cubicBezTo>
                    <a:pt x="680" y="214"/>
                    <a:pt x="309" y="596"/>
                    <a:pt x="123" y="900"/>
                  </a:cubicBezTo>
                  <a:cubicBezTo>
                    <a:pt x="85" y="960"/>
                    <a:pt x="46" y="1016"/>
                    <a:pt x="1" y="1072"/>
                  </a:cubicBezTo>
                  <a:cubicBezTo>
                    <a:pt x="46" y="1016"/>
                    <a:pt x="85" y="960"/>
                    <a:pt x="123" y="900"/>
                  </a:cubicBezTo>
                  <a:cubicBezTo>
                    <a:pt x="309" y="596"/>
                    <a:pt x="680" y="214"/>
                    <a:pt x="9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1" name="Google Shape;6258;p64">
              <a:extLst>
                <a:ext uri="{FF2B5EF4-FFF2-40B4-BE49-F238E27FC236}">
                  <a16:creationId xmlns:a16="http://schemas.microsoft.com/office/drawing/2014/main" id="{561F55B9-B9FF-6947-747A-5E60AC5C4955}"/>
                </a:ext>
              </a:extLst>
            </p:cNvPr>
            <p:cNvSpPr/>
            <p:nvPr/>
          </p:nvSpPr>
          <p:spPr>
            <a:xfrm>
              <a:off x="1615031" y="2277560"/>
              <a:ext cx="733" cy="828"/>
            </a:xfrm>
            <a:custGeom>
              <a:avLst/>
              <a:gdLst/>
              <a:ahLst/>
              <a:cxnLst/>
              <a:rect l="l" t="t" r="r" b="b"/>
              <a:pathLst>
                <a:path w="54" h="61" extrusionOk="0">
                  <a:moveTo>
                    <a:pt x="53" y="1"/>
                  </a:moveTo>
                  <a:lnTo>
                    <a:pt x="1" y="60"/>
                  </a:lnTo>
                  <a:lnTo>
                    <a:pt x="8" y="60"/>
                  </a:lnTo>
                  <a:cubicBezTo>
                    <a:pt x="22" y="43"/>
                    <a:pt x="36" y="22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2" name="Google Shape;6259;p64">
              <a:extLst>
                <a:ext uri="{FF2B5EF4-FFF2-40B4-BE49-F238E27FC236}">
                  <a16:creationId xmlns:a16="http://schemas.microsoft.com/office/drawing/2014/main" id="{772BFB66-DE45-F5F7-4D54-FC49D9633F15}"/>
                </a:ext>
              </a:extLst>
            </p:cNvPr>
            <p:cNvSpPr/>
            <p:nvPr/>
          </p:nvSpPr>
          <p:spPr>
            <a:xfrm>
              <a:off x="1644453" y="2246291"/>
              <a:ext cx="109" cy="1100"/>
            </a:xfrm>
            <a:custGeom>
              <a:avLst/>
              <a:gdLst/>
              <a:ahLst/>
              <a:cxnLst/>
              <a:rect l="l" t="t" r="r" b="b"/>
              <a:pathLst>
                <a:path w="8" h="81" extrusionOk="0">
                  <a:moveTo>
                    <a:pt x="8" y="81"/>
                  </a:moveTo>
                  <a:cubicBezTo>
                    <a:pt x="8" y="56"/>
                    <a:pt x="4" y="28"/>
                    <a:pt x="1" y="0"/>
                  </a:cubicBezTo>
                  <a:cubicBezTo>
                    <a:pt x="4" y="28"/>
                    <a:pt x="8" y="56"/>
                    <a:pt x="8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3" name="Google Shape;6260;p64">
              <a:extLst>
                <a:ext uri="{FF2B5EF4-FFF2-40B4-BE49-F238E27FC236}">
                  <a16:creationId xmlns:a16="http://schemas.microsoft.com/office/drawing/2014/main" id="{2C9D3552-0600-F8DA-AB07-AB7D70166405}"/>
                </a:ext>
              </a:extLst>
            </p:cNvPr>
            <p:cNvSpPr/>
            <p:nvPr/>
          </p:nvSpPr>
          <p:spPr>
            <a:xfrm>
              <a:off x="1644358" y="2245001"/>
              <a:ext cx="109" cy="1208"/>
            </a:xfrm>
            <a:custGeom>
              <a:avLst/>
              <a:gdLst/>
              <a:ahLst/>
              <a:cxnLst/>
              <a:rect l="l" t="t" r="r" b="b"/>
              <a:pathLst>
                <a:path w="8" h="89" extrusionOk="0">
                  <a:moveTo>
                    <a:pt x="8" y="88"/>
                  </a:moveTo>
                  <a:cubicBezTo>
                    <a:pt x="8" y="57"/>
                    <a:pt x="4" y="29"/>
                    <a:pt x="1" y="1"/>
                  </a:cubicBezTo>
                  <a:cubicBezTo>
                    <a:pt x="4" y="29"/>
                    <a:pt x="8" y="57"/>
                    <a:pt x="8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4" name="Google Shape;6261;p64">
              <a:extLst>
                <a:ext uri="{FF2B5EF4-FFF2-40B4-BE49-F238E27FC236}">
                  <a16:creationId xmlns:a16="http://schemas.microsoft.com/office/drawing/2014/main" id="{0630F419-1614-9BC4-A77B-A6CBF0832FE4}"/>
                </a:ext>
              </a:extLst>
            </p:cNvPr>
            <p:cNvSpPr/>
            <p:nvPr/>
          </p:nvSpPr>
          <p:spPr>
            <a:xfrm>
              <a:off x="1644168" y="224367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1"/>
                  </a:moveTo>
                  <a:cubicBezTo>
                    <a:pt x="1" y="11"/>
                    <a:pt x="4" y="22"/>
                    <a:pt x="4" y="36"/>
                  </a:cubicBezTo>
                  <a:cubicBezTo>
                    <a:pt x="4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5" name="Google Shape;6262;p64">
              <a:extLst>
                <a:ext uri="{FF2B5EF4-FFF2-40B4-BE49-F238E27FC236}">
                  <a16:creationId xmlns:a16="http://schemas.microsoft.com/office/drawing/2014/main" id="{52A3339D-5E4B-BB84-6E64-2F2D1E827390}"/>
                </a:ext>
              </a:extLst>
            </p:cNvPr>
            <p:cNvSpPr/>
            <p:nvPr/>
          </p:nvSpPr>
          <p:spPr>
            <a:xfrm>
              <a:off x="1644358" y="22449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6" name="Google Shape;6263;p64">
              <a:extLst>
                <a:ext uri="{FF2B5EF4-FFF2-40B4-BE49-F238E27FC236}">
                  <a16:creationId xmlns:a16="http://schemas.microsoft.com/office/drawing/2014/main" id="{BA7CCC91-8D44-5DE8-9F77-F0291D3F5853}"/>
                </a:ext>
              </a:extLst>
            </p:cNvPr>
            <p:cNvSpPr/>
            <p:nvPr/>
          </p:nvSpPr>
          <p:spPr>
            <a:xfrm>
              <a:off x="1635710" y="2253745"/>
              <a:ext cx="3720" cy="1914"/>
            </a:xfrm>
            <a:custGeom>
              <a:avLst/>
              <a:gdLst/>
              <a:ahLst/>
              <a:cxnLst/>
              <a:rect l="l" t="t" r="r" b="b"/>
              <a:pathLst>
                <a:path w="274" h="141" extrusionOk="0">
                  <a:moveTo>
                    <a:pt x="0" y="141"/>
                  </a:moveTo>
                  <a:cubicBezTo>
                    <a:pt x="88" y="88"/>
                    <a:pt x="179" y="43"/>
                    <a:pt x="274" y="1"/>
                  </a:cubicBezTo>
                  <a:cubicBezTo>
                    <a:pt x="179" y="43"/>
                    <a:pt x="88" y="88"/>
                    <a:pt x="0" y="1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7" name="Google Shape;6264;p64">
              <a:extLst>
                <a:ext uri="{FF2B5EF4-FFF2-40B4-BE49-F238E27FC236}">
                  <a16:creationId xmlns:a16="http://schemas.microsoft.com/office/drawing/2014/main" id="{C2E6567D-6421-EE16-E25F-A2F8E6FF93EE}"/>
                </a:ext>
              </a:extLst>
            </p:cNvPr>
            <p:cNvSpPr/>
            <p:nvPr/>
          </p:nvSpPr>
          <p:spPr>
            <a:xfrm>
              <a:off x="1614081" y="228003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8" name="Google Shape;6265;p64">
              <a:extLst>
                <a:ext uri="{FF2B5EF4-FFF2-40B4-BE49-F238E27FC236}">
                  <a16:creationId xmlns:a16="http://schemas.microsoft.com/office/drawing/2014/main" id="{9E95E31B-A1C4-EB23-6159-B826CF550654}"/>
                </a:ext>
              </a:extLst>
            </p:cNvPr>
            <p:cNvSpPr/>
            <p:nvPr/>
          </p:nvSpPr>
          <p:spPr>
            <a:xfrm>
              <a:off x="1611284" y="231011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9" name="Google Shape;6266;p64">
              <a:extLst>
                <a:ext uri="{FF2B5EF4-FFF2-40B4-BE49-F238E27FC236}">
                  <a16:creationId xmlns:a16="http://schemas.microsoft.com/office/drawing/2014/main" id="{FA4EFCF2-3F95-B197-4478-86A8B1A82F1F}"/>
                </a:ext>
              </a:extLst>
            </p:cNvPr>
            <p:cNvSpPr/>
            <p:nvPr/>
          </p:nvSpPr>
          <p:spPr>
            <a:xfrm>
              <a:off x="1611379" y="23097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0" name="Google Shape;6267;p64">
              <a:extLst>
                <a:ext uri="{FF2B5EF4-FFF2-40B4-BE49-F238E27FC236}">
                  <a16:creationId xmlns:a16="http://schemas.microsoft.com/office/drawing/2014/main" id="{C80BAD10-D0C8-B274-89A6-51DC3C6B8943}"/>
                </a:ext>
              </a:extLst>
            </p:cNvPr>
            <p:cNvSpPr/>
            <p:nvPr/>
          </p:nvSpPr>
          <p:spPr>
            <a:xfrm>
              <a:off x="1611379" y="23095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1" name="Google Shape;6268;p64">
              <a:extLst>
                <a:ext uri="{FF2B5EF4-FFF2-40B4-BE49-F238E27FC236}">
                  <a16:creationId xmlns:a16="http://schemas.microsoft.com/office/drawing/2014/main" id="{1A0F19FA-01FE-9171-B126-AAFF9BB81141}"/>
                </a:ext>
              </a:extLst>
            </p:cNvPr>
            <p:cNvSpPr/>
            <p:nvPr/>
          </p:nvSpPr>
          <p:spPr>
            <a:xfrm>
              <a:off x="1613700" y="228122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2" name="Google Shape;6269;p64">
              <a:extLst>
                <a:ext uri="{FF2B5EF4-FFF2-40B4-BE49-F238E27FC236}">
                  <a16:creationId xmlns:a16="http://schemas.microsoft.com/office/drawing/2014/main" id="{FB2EDD68-EDF4-DBC1-DD88-D4EAB9D64599}"/>
                </a:ext>
              </a:extLst>
            </p:cNvPr>
            <p:cNvSpPr/>
            <p:nvPr/>
          </p:nvSpPr>
          <p:spPr>
            <a:xfrm>
              <a:off x="1611134" y="23105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3" name="Google Shape;6270;p64">
              <a:extLst>
                <a:ext uri="{FF2B5EF4-FFF2-40B4-BE49-F238E27FC236}">
                  <a16:creationId xmlns:a16="http://schemas.microsoft.com/office/drawing/2014/main" id="{15D617EA-6D80-7834-5591-8FB16170AF1C}"/>
                </a:ext>
              </a:extLst>
            </p:cNvPr>
            <p:cNvSpPr/>
            <p:nvPr/>
          </p:nvSpPr>
          <p:spPr>
            <a:xfrm>
              <a:off x="1481659" y="2178417"/>
              <a:ext cx="61465" cy="331549"/>
            </a:xfrm>
            <a:custGeom>
              <a:avLst/>
              <a:gdLst/>
              <a:ahLst/>
              <a:cxnLst/>
              <a:rect l="l" t="t" r="r" b="b"/>
              <a:pathLst>
                <a:path w="4527" h="24419" extrusionOk="0">
                  <a:moveTo>
                    <a:pt x="3295" y="0"/>
                  </a:moveTo>
                  <a:lnTo>
                    <a:pt x="3288" y="28"/>
                  </a:lnTo>
                  <a:cubicBezTo>
                    <a:pt x="3253" y="151"/>
                    <a:pt x="3207" y="322"/>
                    <a:pt x="3067" y="389"/>
                  </a:cubicBezTo>
                  <a:lnTo>
                    <a:pt x="3056" y="396"/>
                  </a:lnTo>
                  <a:lnTo>
                    <a:pt x="3042" y="406"/>
                  </a:lnTo>
                  <a:lnTo>
                    <a:pt x="3039" y="406"/>
                  </a:lnTo>
                  <a:lnTo>
                    <a:pt x="3018" y="420"/>
                  </a:lnTo>
                  <a:lnTo>
                    <a:pt x="2990" y="445"/>
                  </a:lnTo>
                  <a:cubicBezTo>
                    <a:pt x="2990" y="480"/>
                    <a:pt x="2983" y="522"/>
                    <a:pt x="2979" y="564"/>
                  </a:cubicBezTo>
                  <a:cubicBezTo>
                    <a:pt x="2972" y="676"/>
                    <a:pt x="2958" y="802"/>
                    <a:pt x="2990" y="879"/>
                  </a:cubicBezTo>
                  <a:cubicBezTo>
                    <a:pt x="3067" y="1075"/>
                    <a:pt x="3105" y="1975"/>
                    <a:pt x="3028" y="2325"/>
                  </a:cubicBezTo>
                  <a:cubicBezTo>
                    <a:pt x="2972" y="2605"/>
                    <a:pt x="2899" y="2881"/>
                    <a:pt x="2811" y="3154"/>
                  </a:cubicBezTo>
                  <a:cubicBezTo>
                    <a:pt x="2787" y="3228"/>
                    <a:pt x="2811" y="3256"/>
                    <a:pt x="2853" y="3298"/>
                  </a:cubicBezTo>
                  <a:cubicBezTo>
                    <a:pt x="2881" y="3326"/>
                    <a:pt x="2958" y="3406"/>
                    <a:pt x="2867" y="3494"/>
                  </a:cubicBezTo>
                  <a:cubicBezTo>
                    <a:pt x="2815" y="3550"/>
                    <a:pt x="2818" y="3707"/>
                    <a:pt x="2825" y="3925"/>
                  </a:cubicBezTo>
                  <a:cubicBezTo>
                    <a:pt x="2825" y="4002"/>
                    <a:pt x="2829" y="4086"/>
                    <a:pt x="2829" y="4177"/>
                  </a:cubicBezTo>
                  <a:cubicBezTo>
                    <a:pt x="2829" y="4422"/>
                    <a:pt x="2741" y="4765"/>
                    <a:pt x="2671" y="5038"/>
                  </a:cubicBezTo>
                  <a:cubicBezTo>
                    <a:pt x="2633" y="5167"/>
                    <a:pt x="2605" y="5297"/>
                    <a:pt x="2584" y="5430"/>
                  </a:cubicBezTo>
                  <a:cubicBezTo>
                    <a:pt x="2577" y="5524"/>
                    <a:pt x="2549" y="5615"/>
                    <a:pt x="2507" y="5696"/>
                  </a:cubicBezTo>
                  <a:cubicBezTo>
                    <a:pt x="2465" y="5790"/>
                    <a:pt x="2426" y="5878"/>
                    <a:pt x="2440" y="5990"/>
                  </a:cubicBezTo>
                  <a:cubicBezTo>
                    <a:pt x="2465" y="6242"/>
                    <a:pt x="2328" y="6393"/>
                    <a:pt x="2174" y="6519"/>
                  </a:cubicBezTo>
                  <a:cubicBezTo>
                    <a:pt x="2143" y="6547"/>
                    <a:pt x="2227" y="6694"/>
                    <a:pt x="2272" y="6778"/>
                  </a:cubicBezTo>
                  <a:cubicBezTo>
                    <a:pt x="2339" y="6897"/>
                    <a:pt x="2409" y="7023"/>
                    <a:pt x="2402" y="7128"/>
                  </a:cubicBezTo>
                  <a:cubicBezTo>
                    <a:pt x="2395" y="7226"/>
                    <a:pt x="2346" y="7296"/>
                    <a:pt x="2293" y="7366"/>
                  </a:cubicBezTo>
                  <a:cubicBezTo>
                    <a:pt x="2227" y="7457"/>
                    <a:pt x="2164" y="7544"/>
                    <a:pt x="2195" y="7705"/>
                  </a:cubicBezTo>
                  <a:cubicBezTo>
                    <a:pt x="2255" y="8017"/>
                    <a:pt x="2223" y="8497"/>
                    <a:pt x="2206" y="8756"/>
                  </a:cubicBezTo>
                  <a:cubicBezTo>
                    <a:pt x="2199" y="8829"/>
                    <a:pt x="2195" y="8889"/>
                    <a:pt x="2195" y="8917"/>
                  </a:cubicBezTo>
                  <a:cubicBezTo>
                    <a:pt x="2195" y="8980"/>
                    <a:pt x="2171" y="9036"/>
                    <a:pt x="2129" y="9078"/>
                  </a:cubicBezTo>
                  <a:cubicBezTo>
                    <a:pt x="2090" y="9120"/>
                    <a:pt x="2055" y="9162"/>
                    <a:pt x="2076" y="9284"/>
                  </a:cubicBezTo>
                  <a:cubicBezTo>
                    <a:pt x="2097" y="9435"/>
                    <a:pt x="2045" y="9529"/>
                    <a:pt x="1996" y="9631"/>
                  </a:cubicBezTo>
                  <a:cubicBezTo>
                    <a:pt x="1933" y="9736"/>
                    <a:pt x="1894" y="9855"/>
                    <a:pt x="1880" y="9981"/>
                  </a:cubicBezTo>
                  <a:cubicBezTo>
                    <a:pt x="1852" y="10258"/>
                    <a:pt x="1695" y="10615"/>
                    <a:pt x="1565" y="10902"/>
                  </a:cubicBezTo>
                  <a:cubicBezTo>
                    <a:pt x="1520" y="11000"/>
                    <a:pt x="1481" y="11091"/>
                    <a:pt x="1453" y="11161"/>
                  </a:cubicBezTo>
                  <a:cubicBezTo>
                    <a:pt x="1425" y="11234"/>
                    <a:pt x="1404" y="11297"/>
                    <a:pt x="1387" y="11353"/>
                  </a:cubicBezTo>
                  <a:cubicBezTo>
                    <a:pt x="1334" y="11514"/>
                    <a:pt x="1292" y="11640"/>
                    <a:pt x="1135" y="11640"/>
                  </a:cubicBezTo>
                  <a:cubicBezTo>
                    <a:pt x="1132" y="11640"/>
                    <a:pt x="1129" y="11640"/>
                    <a:pt x="1126" y="11640"/>
                  </a:cubicBezTo>
                  <a:cubicBezTo>
                    <a:pt x="1108" y="11640"/>
                    <a:pt x="1091" y="11650"/>
                    <a:pt x="1082" y="11665"/>
                  </a:cubicBezTo>
                  <a:cubicBezTo>
                    <a:pt x="1058" y="11703"/>
                    <a:pt x="1054" y="11794"/>
                    <a:pt x="1124" y="11948"/>
                  </a:cubicBezTo>
                  <a:cubicBezTo>
                    <a:pt x="1184" y="12078"/>
                    <a:pt x="1170" y="12201"/>
                    <a:pt x="1156" y="12309"/>
                  </a:cubicBezTo>
                  <a:cubicBezTo>
                    <a:pt x="1142" y="12425"/>
                    <a:pt x="1128" y="12523"/>
                    <a:pt x="1194" y="12631"/>
                  </a:cubicBezTo>
                  <a:cubicBezTo>
                    <a:pt x="1341" y="12880"/>
                    <a:pt x="1306" y="12995"/>
                    <a:pt x="1243" y="13188"/>
                  </a:cubicBezTo>
                  <a:lnTo>
                    <a:pt x="1226" y="13244"/>
                  </a:lnTo>
                  <a:cubicBezTo>
                    <a:pt x="1201" y="13321"/>
                    <a:pt x="1166" y="13394"/>
                    <a:pt x="1124" y="13461"/>
                  </a:cubicBezTo>
                  <a:cubicBezTo>
                    <a:pt x="1079" y="13527"/>
                    <a:pt x="1054" y="13604"/>
                    <a:pt x="1058" y="13685"/>
                  </a:cubicBezTo>
                  <a:cubicBezTo>
                    <a:pt x="1054" y="13776"/>
                    <a:pt x="1036" y="13863"/>
                    <a:pt x="1005" y="13947"/>
                  </a:cubicBezTo>
                  <a:cubicBezTo>
                    <a:pt x="963" y="14070"/>
                    <a:pt x="931" y="14175"/>
                    <a:pt x="980" y="14301"/>
                  </a:cubicBezTo>
                  <a:cubicBezTo>
                    <a:pt x="1051" y="14483"/>
                    <a:pt x="1065" y="14588"/>
                    <a:pt x="1019" y="14651"/>
                  </a:cubicBezTo>
                  <a:cubicBezTo>
                    <a:pt x="988" y="14695"/>
                    <a:pt x="940" y="14719"/>
                    <a:pt x="891" y="14719"/>
                  </a:cubicBezTo>
                  <a:cubicBezTo>
                    <a:pt x="885" y="14719"/>
                    <a:pt x="878" y="14718"/>
                    <a:pt x="872" y="14718"/>
                  </a:cubicBezTo>
                  <a:cubicBezTo>
                    <a:pt x="805" y="14718"/>
                    <a:pt x="749" y="14900"/>
                    <a:pt x="704" y="15253"/>
                  </a:cubicBezTo>
                  <a:cubicBezTo>
                    <a:pt x="693" y="15365"/>
                    <a:pt x="672" y="15526"/>
                    <a:pt x="693" y="15547"/>
                  </a:cubicBezTo>
                  <a:cubicBezTo>
                    <a:pt x="699" y="15553"/>
                    <a:pt x="718" y="15555"/>
                    <a:pt x="744" y="15555"/>
                  </a:cubicBezTo>
                  <a:cubicBezTo>
                    <a:pt x="779" y="15555"/>
                    <a:pt x="826" y="15551"/>
                    <a:pt x="868" y="15547"/>
                  </a:cubicBezTo>
                  <a:lnTo>
                    <a:pt x="889" y="15547"/>
                  </a:lnTo>
                  <a:cubicBezTo>
                    <a:pt x="994" y="15540"/>
                    <a:pt x="994" y="15232"/>
                    <a:pt x="994" y="15029"/>
                  </a:cubicBezTo>
                  <a:cubicBezTo>
                    <a:pt x="991" y="14935"/>
                    <a:pt x="994" y="14837"/>
                    <a:pt x="1005" y="14742"/>
                  </a:cubicBezTo>
                  <a:cubicBezTo>
                    <a:pt x="1019" y="14627"/>
                    <a:pt x="1065" y="14567"/>
                    <a:pt x="1138" y="14567"/>
                  </a:cubicBezTo>
                  <a:cubicBezTo>
                    <a:pt x="1152" y="14567"/>
                    <a:pt x="1163" y="14567"/>
                    <a:pt x="1177" y="14564"/>
                  </a:cubicBezTo>
                  <a:cubicBezTo>
                    <a:pt x="1177" y="14553"/>
                    <a:pt x="1177" y="14546"/>
                    <a:pt x="1177" y="14539"/>
                  </a:cubicBezTo>
                  <a:cubicBezTo>
                    <a:pt x="1180" y="14452"/>
                    <a:pt x="1243" y="14378"/>
                    <a:pt x="1327" y="14364"/>
                  </a:cubicBezTo>
                  <a:cubicBezTo>
                    <a:pt x="1344" y="14357"/>
                    <a:pt x="1362" y="14354"/>
                    <a:pt x="1380" y="14354"/>
                  </a:cubicBezTo>
                  <a:cubicBezTo>
                    <a:pt x="1410" y="14354"/>
                    <a:pt x="1440" y="14363"/>
                    <a:pt x="1464" y="14378"/>
                  </a:cubicBezTo>
                  <a:cubicBezTo>
                    <a:pt x="1509" y="14413"/>
                    <a:pt x="1509" y="14473"/>
                    <a:pt x="1506" y="14515"/>
                  </a:cubicBezTo>
                  <a:cubicBezTo>
                    <a:pt x="1502" y="14536"/>
                    <a:pt x="1506" y="14553"/>
                    <a:pt x="1509" y="14571"/>
                  </a:cubicBezTo>
                  <a:cubicBezTo>
                    <a:pt x="1611" y="14599"/>
                    <a:pt x="1677" y="14662"/>
                    <a:pt x="1688" y="14732"/>
                  </a:cubicBezTo>
                  <a:cubicBezTo>
                    <a:pt x="1695" y="14781"/>
                    <a:pt x="1677" y="14854"/>
                    <a:pt x="1562" y="14931"/>
                  </a:cubicBezTo>
                  <a:cubicBezTo>
                    <a:pt x="1509" y="14963"/>
                    <a:pt x="1516" y="15008"/>
                    <a:pt x="1541" y="15113"/>
                  </a:cubicBezTo>
                  <a:cubicBezTo>
                    <a:pt x="1562" y="15197"/>
                    <a:pt x="1586" y="15288"/>
                    <a:pt x="1534" y="15372"/>
                  </a:cubicBezTo>
                  <a:lnTo>
                    <a:pt x="1499" y="15421"/>
                  </a:lnTo>
                  <a:cubicBezTo>
                    <a:pt x="1411" y="15554"/>
                    <a:pt x="1359" y="15649"/>
                    <a:pt x="1404" y="15747"/>
                  </a:cubicBezTo>
                  <a:cubicBezTo>
                    <a:pt x="1446" y="15820"/>
                    <a:pt x="1436" y="15918"/>
                    <a:pt x="1373" y="15978"/>
                  </a:cubicBezTo>
                  <a:cubicBezTo>
                    <a:pt x="1338" y="16020"/>
                    <a:pt x="1317" y="16072"/>
                    <a:pt x="1313" y="16128"/>
                  </a:cubicBezTo>
                  <a:cubicBezTo>
                    <a:pt x="1306" y="16185"/>
                    <a:pt x="1320" y="16241"/>
                    <a:pt x="1345" y="16290"/>
                  </a:cubicBezTo>
                  <a:cubicBezTo>
                    <a:pt x="1383" y="16339"/>
                    <a:pt x="1369" y="16409"/>
                    <a:pt x="1317" y="16440"/>
                  </a:cubicBezTo>
                  <a:cubicBezTo>
                    <a:pt x="1320" y="16451"/>
                    <a:pt x="1331" y="16468"/>
                    <a:pt x="1334" y="16479"/>
                  </a:cubicBezTo>
                  <a:cubicBezTo>
                    <a:pt x="1355" y="16524"/>
                    <a:pt x="1380" y="16577"/>
                    <a:pt x="1355" y="16629"/>
                  </a:cubicBezTo>
                  <a:cubicBezTo>
                    <a:pt x="1338" y="16661"/>
                    <a:pt x="1310" y="16682"/>
                    <a:pt x="1271" y="16685"/>
                  </a:cubicBezTo>
                  <a:cubicBezTo>
                    <a:pt x="1268" y="16689"/>
                    <a:pt x="1264" y="16689"/>
                    <a:pt x="1261" y="16692"/>
                  </a:cubicBezTo>
                  <a:cubicBezTo>
                    <a:pt x="1250" y="16713"/>
                    <a:pt x="1278" y="16790"/>
                    <a:pt x="1341" y="16920"/>
                  </a:cubicBezTo>
                  <a:cubicBezTo>
                    <a:pt x="1366" y="16958"/>
                    <a:pt x="1369" y="17007"/>
                    <a:pt x="1352" y="17046"/>
                  </a:cubicBezTo>
                  <a:cubicBezTo>
                    <a:pt x="1324" y="17102"/>
                    <a:pt x="1257" y="17109"/>
                    <a:pt x="1194" y="17116"/>
                  </a:cubicBezTo>
                  <a:cubicBezTo>
                    <a:pt x="1142" y="17119"/>
                    <a:pt x="1093" y="17133"/>
                    <a:pt x="1047" y="17161"/>
                  </a:cubicBezTo>
                  <a:cubicBezTo>
                    <a:pt x="1033" y="17172"/>
                    <a:pt x="1026" y="17175"/>
                    <a:pt x="1072" y="17252"/>
                  </a:cubicBezTo>
                  <a:cubicBezTo>
                    <a:pt x="1110" y="17315"/>
                    <a:pt x="1163" y="17406"/>
                    <a:pt x="1110" y="17504"/>
                  </a:cubicBezTo>
                  <a:cubicBezTo>
                    <a:pt x="1093" y="17543"/>
                    <a:pt x="1054" y="17574"/>
                    <a:pt x="1008" y="17581"/>
                  </a:cubicBezTo>
                  <a:cubicBezTo>
                    <a:pt x="1001" y="17583"/>
                    <a:pt x="993" y="17583"/>
                    <a:pt x="985" y="17583"/>
                  </a:cubicBezTo>
                  <a:cubicBezTo>
                    <a:pt x="886" y="17583"/>
                    <a:pt x="778" y="17484"/>
                    <a:pt x="697" y="17410"/>
                  </a:cubicBezTo>
                  <a:lnTo>
                    <a:pt x="658" y="17378"/>
                  </a:lnTo>
                  <a:cubicBezTo>
                    <a:pt x="634" y="17357"/>
                    <a:pt x="616" y="17326"/>
                    <a:pt x="616" y="17294"/>
                  </a:cubicBezTo>
                  <a:cubicBezTo>
                    <a:pt x="613" y="17238"/>
                    <a:pt x="648" y="17186"/>
                    <a:pt x="700" y="17130"/>
                  </a:cubicBezTo>
                  <a:lnTo>
                    <a:pt x="679" y="17130"/>
                  </a:lnTo>
                  <a:cubicBezTo>
                    <a:pt x="658" y="17126"/>
                    <a:pt x="634" y="17126"/>
                    <a:pt x="609" y="17126"/>
                  </a:cubicBezTo>
                  <a:lnTo>
                    <a:pt x="609" y="17130"/>
                  </a:lnTo>
                  <a:cubicBezTo>
                    <a:pt x="620" y="17284"/>
                    <a:pt x="497" y="17319"/>
                    <a:pt x="413" y="17343"/>
                  </a:cubicBezTo>
                  <a:cubicBezTo>
                    <a:pt x="364" y="17350"/>
                    <a:pt x="315" y="17375"/>
                    <a:pt x="277" y="17410"/>
                  </a:cubicBezTo>
                  <a:cubicBezTo>
                    <a:pt x="259" y="17427"/>
                    <a:pt x="259" y="17441"/>
                    <a:pt x="305" y="17501"/>
                  </a:cubicBezTo>
                  <a:cubicBezTo>
                    <a:pt x="333" y="17539"/>
                    <a:pt x="364" y="17581"/>
                    <a:pt x="347" y="17630"/>
                  </a:cubicBezTo>
                  <a:cubicBezTo>
                    <a:pt x="336" y="17665"/>
                    <a:pt x="308" y="17690"/>
                    <a:pt x="273" y="17697"/>
                  </a:cubicBezTo>
                  <a:cubicBezTo>
                    <a:pt x="186" y="17732"/>
                    <a:pt x="109" y="17784"/>
                    <a:pt x="46" y="17851"/>
                  </a:cubicBezTo>
                  <a:cubicBezTo>
                    <a:pt x="70" y="17833"/>
                    <a:pt x="98" y="17823"/>
                    <a:pt x="126" y="17819"/>
                  </a:cubicBezTo>
                  <a:cubicBezTo>
                    <a:pt x="138" y="17817"/>
                    <a:pt x="150" y="17816"/>
                    <a:pt x="162" y="17816"/>
                  </a:cubicBezTo>
                  <a:cubicBezTo>
                    <a:pt x="251" y="17816"/>
                    <a:pt x="333" y="17873"/>
                    <a:pt x="361" y="17963"/>
                  </a:cubicBezTo>
                  <a:cubicBezTo>
                    <a:pt x="364" y="17973"/>
                    <a:pt x="371" y="17984"/>
                    <a:pt x="378" y="17991"/>
                  </a:cubicBezTo>
                  <a:lnTo>
                    <a:pt x="424" y="17977"/>
                  </a:lnTo>
                  <a:cubicBezTo>
                    <a:pt x="470" y="17960"/>
                    <a:pt x="519" y="17951"/>
                    <a:pt x="567" y="17951"/>
                  </a:cubicBezTo>
                  <a:cubicBezTo>
                    <a:pt x="588" y="17951"/>
                    <a:pt x="609" y="17953"/>
                    <a:pt x="630" y="17956"/>
                  </a:cubicBezTo>
                  <a:cubicBezTo>
                    <a:pt x="753" y="17987"/>
                    <a:pt x="830" y="18110"/>
                    <a:pt x="805" y="18232"/>
                  </a:cubicBezTo>
                  <a:cubicBezTo>
                    <a:pt x="789" y="18313"/>
                    <a:pt x="738" y="18367"/>
                    <a:pt x="675" y="18367"/>
                  </a:cubicBezTo>
                  <a:cubicBezTo>
                    <a:pt x="670" y="18367"/>
                    <a:pt x="664" y="18366"/>
                    <a:pt x="658" y="18366"/>
                  </a:cubicBezTo>
                  <a:cubicBezTo>
                    <a:pt x="644" y="18369"/>
                    <a:pt x="634" y="18376"/>
                    <a:pt x="623" y="18383"/>
                  </a:cubicBezTo>
                  <a:cubicBezTo>
                    <a:pt x="571" y="18453"/>
                    <a:pt x="546" y="18544"/>
                    <a:pt x="560" y="18632"/>
                  </a:cubicBezTo>
                  <a:cubicBezTo>
                    <a:pt x="560" y="18646"/>
                    <a:pt x="567" y="18649"/>
                    <a:pt x="567" y="18649"/>
                  </a:cubicBezTo>
                  <a:cubicBezTo>
                    <a:pt x="576" y="18656"/>
                    <a:pt x="592" y="18658"/>
                    <a:pt x="612" y="18658"/>
                  </a:cubicBezTo>
                  <a:cubicBezTo>
                    <a:pt x="656" y="18658"/>
                    <a:pt x="720" y="18646"/>
                    <a:pt x="763" y="18639"/>
                  </a:cubicBezTo>
                  <a:cubicBezTo>
                    <a:pt x="824" y="18627"/>
                    <a:pt x="885" y="18616"/>
                    <a:pt x="941" y="18616"/>
                  </a:cubicBezTo>
                  <a:cubicBezTo>
                    <a:pt x="971" y="18616"/>
                    <a:pt x="1000" y="18619"/>
                    <a:pt x="1026" y="18628"/>
                  </a:cubicBezTo>
                  <a:cubicBezTo>
                    <a:pt x="1110" y="18656"/>
                    <a:pt x="1166" y="18737"/>
                    <a:pt x="1166" y="18821"/>
                  </a:cubicBezTo>
                  <a:cubicBezTo>
                    <a:pt x="1170" y="18898"/>
                    <a:pt x="1138" y="18961"/>
                    <a:pt x="1089" y="18982"/>
                  </a:cubicBezTo>
                  <a:cubicBezTo>
                    <a:pt x="1077" y="18987"/>
                    <a:pt x="1063" y="18990"/>
                    <a:pt x="1050" y="18990"/>
                  </a:cubicBezTo>
                  <a:cubicBezTo>
                    <a:pt x="1021" y="18990"/>
                    <a:pt x="993" y="18978"/>
                    <a:pt x="973" y="18954"/>
                  </a:cubicBezTo>
                  <a:cubicBezTo>
                    <a:pt x="908" y="18889"/>
                    <a:pt x="819" y="18827"/>
                    <a:pt x="762" y="18827"/>
                  </a:cubicBezTo>
                  <a:cubicBezTo>
                    <a:pt x="758" y="18827"/>
                    <a:pt x="753" y="18827"/>
                    <a:pt x="749" y="18828"/>
                  </a:cubicBezTo>
                  <a:cubicBezTo>
                    <a:pt x="732" y="18828"/>
                    <a:pt x="718" y="18842"/>
                    <a:pt x="711" y="18856"/>
                  </a:cubicBezTo>
                  <a:cubicBezTo>
                    <a:pt x="659" y="18946"/>
                    <a:pt x="592" y="18975"/>
                    <a:pt x="524" y="18975"/>
                  </a:cubicBezTo>
                  <a:cubicBezTo>
                    <a:pt x="451" y="18975"/>
                    <a:pt x="377" y="18941"/>
                    <a:pt x="322" y="18915"/>
                  </a:cubicBezTo>
                  <a:lnTo>
                    <a:pt x="301" y="18905"/>
                  </a:lnTo>
                  <a:cubicBezTo>
                    <a:pt x="300" y="18904"/>
                    <a:pt x="298" y="18904"/>
                    <a:pt x="297" y="18904"/>
                  </a:cubicBezTo>
                  <a:cubicBezTo>
                    <a:pt x="270" y="18904"/>
                    <a:pt x="187" y="18930"/>
                    <a:pt x="95" y="18992"/>
                  </a:cubicBezTo>
                  <a:cubicBezTo>
                    <a:pt x="56" y="19020"/>
                    <a:pt x="21" y="19055"/>
                    <a:pt x="0" y="19097"/>
                  </a:cubicBezTo>
                  <a:cubicBezTo>
                    <a:pt x="63" y="19146"/>
                    <a:pt x="112" y="19209"/>
                    <a:pt x="144" y="19283"/>
                  </a:cubicBezTo>
                  <a:cubicBezTo>
                    <a:pt x="151" y="19297"/>
                    <a:pt x="158" y="19311"/>
                    <a:pt x="165" y="19325"/>
                  </a:cubicBezTo>
                  <a:cubicBezTo>
                    <a:pt x="235" y="19314"/>
                    <a:pt x="340" y="19262"/>
                    <a:pt x="378" y="19195"/>
                  </a:cubicBezTo>
                  <a:cubicBezTo>
                    <a:pt x="413" y="19119"/>
                    <a:pt x="499" y="19049"/>
                    <a:pt x="583" y="19049"/>
                  </a:cubicBezTo>
                  <a:cubicBezTo>
                    <a:pt x="592" y="19049"/>
                    <a:pt x="601" y="19050"/>
                    <a:pt x="609" y="19052"/>
                  </a:cubicBezTo>
                  <a:cubicBezTo>
                    <a:pt x="651" y="19062"/>
                    <a:pt x="725" y="19097"/>
                    <a:pt x="732" y="19244"/>
                  </a:cubicBezTo>
                  <a:cubicBezTo>
                    <a:pt x="742" y="19426"/>
                    <a:pt x="602" y="19454"/>
                    <a:pt x="529" y="19468"/>
                  </a:cubicBezTo>
                  <a:cubicBezTo>
                    <a:pt x="483" y="19479"/>
                    <a:pt x="455" y="19486"/>
                    <a:pt x="448" y="19503"/>
                  </a:cubicBezTo>
                  <a:cubicBezTo>
                    <a:pt x="399" y="19626"/>
                    <a:pt x="308" y="19727"/>
                    <a:pt x="137" y="19857"/>
                  </a:cubicBezTo>
                  <a:cubicBezTo>
                    <a:pt x="91" y="19892"/>
                    <a:pt x="98" y="19923"/>
                    <a:pt x="112" y="19944"/>
                  </a:cubicBezTo>
                  <a:cubicBezTo>
                    <a:pt x="123" y="19966"/>
                    <a:pt x="144" y="19979"/>
                    <a:pt x="168" y="19979"/>
                  </a:cubicBezTo>
                  <a:cubicBezTo>
                    <a:pt x="175" y="19979"/>
                    <a:pt x="182" y="19978"/>
                    <a:pt x="189" y="19976"/>
                  </a:cubicBezTo>
                  <a:cubicBezTo>
                    <a:pt x="207" y="19961"/>
                    <a:pt x="227" y="19954"/>
                    <a:pt x="246" y="19954"/>
                  </a:cubicBezTo>
                  <a:cubicBezTo>
                    <a:pt x="304" y="19954"/>
                    <a:pt x="356" y="20012"/>
                    <a:pt x="333" y="20077"/>
                  </a:cubicBezTo>
                  <a:cubicBezTo>
                    <a:pt x="329" y="20133"/>
                    <a:pt x="333" y="20133"/>
                    <a:pt x="361" y="20137"/>
                  </a:cubicBezTo>
                  <a:cubicBezTo>
                    <a:pt x="371" y="20140"/>
                    <a:pt x="380" y="20142"/>
                    <a:pt x="390" y="20142"/>
                  </a:cubicBezTo>
                  <a:cubicBezTo>
                    <a:pt x="411" y="20142"/>
                    <a:pt x="431" y="20134"/>
                    <a:pt x="448" y="20119"/>
                  </a:cubicBezTo>
                  <a:cubicBezTo>
                    <a:pt x="469" y="20084"/>
                    <a:pt x="473" y="20042"/>
                    <a:pt x="455" y="20004"/>
                  </a:cubicBezTo>
                  <a:cubicBezTo>
                    <a:pt x="427" y="19902"/>
                    <a:pt x="476" y="19720"/>
                    <a:pt x="585" y="19654"/>
                  </a:cubicBezTo>
                  <a:cubicBezTo>
                    <a:pt x="612" y="19637"/>
                    <a:pt x="642" y="19628"/>
                    <a:pt x="673" y="19628"/>
                  </a:cubicBezTo>
                  <a:cubicBezTo>
                    <a:pt x="717" y="19628"/>
                    <a:pt x="762" y="19646"/>
                    <a:pt x="795" y="19682"/>
                  </a:cubicBezTo>
                  <a:cubicBezTo>
                    <a:pt x="924" y="19804"/>
                    <a:pt x="844" y="19937"/>
                    <a:pt x="791" y="20014"/>
                  </a:cubicBezTo>
                  <a:cubicBezTo>
                    <a:pt x="770" y="20046"/>
                    <a:pt x="753" y="20081"/>
                    <a:pt x="742" y="20119"/>
                  </a:cubicBezTo>
                  <a:cubicBezTo>
                    <a:pt x="739" y="20193"/>
                    <a:pt x="725" y="20263"/>
                    <a:pt x="700" y="20333"/>
                  </a:cubicBezTo>
                  <a:cubicBezTo>
                    <a:pt x="676" y="20396"/>
                    <a:pt x="662" y="20463"/>
                    <a:pt x="658" y="20529"/>
                  </a:cubicBezTo>
                  <a:cubicBezTo>
                    <a:pt x="662" y="20603"/>
                    <a:pt x="613" y="20666"/>
                    <a:pt x="546" y="20687"/>
                  </a:cubicBezTo>
                  <a:cubicBezTo>
                    <a:pt x="511" y="20704"/>
                    <a:pt x="511" y="20704"/>
                    <a:pt x="511" y="20732"/>
                  </a:cubicBezTo>
                  <a:cubicBezTo>
                    <a:pt x="522" y="20837"/>
                    <a:pt x="434" y="20872"/>
                    <a:pt x="364" y="20886"/>
                  </a:cubicBezTo>
                  <a:cubicBezTo>
                    <a:pt x="413" y="20963"/>
                    <a:pt x="361" y="21051"/>
                    <a:pt x="333" y="21096"/>
                  </a:cubicBezTo>
                  <a:cubicBezTo>
                    <a:pt x="319" y="21117"/>
                    <a:pt x="308" y="21142"/>
                    <a:pt x="301" y="21166"/>
                  </a:cubicBezTo>
                  <a:cubicBezTo>
                    <a:pt x="315" y="21156"/>
                    <a:pt x="326" y="21145"/>
                    <a:pt x="340" y="21135"/>
                  </a:cubicBezTo>
                  <a:cubicBezTo>
                    <a:pt x="379" y="21098"/>
                    <a:pt x="434" y="21051"/>
                    <a:pt x="507" y="21051"/>
                  </a:cubicBezTo>
                  <a:cubicBezTo>
                    <a:pt x="526" y="21051"/>
                    <a:pt x="546" y="21054"/>
                    <a:pt x="567" y="21061"/>
                  </a:cubicBezTo>
                  <a:cubicBezTo>
                    <a:pt x="592" y="21072"/>
                    <a:pt x="620" y="21086"/>
                    <a:pt x="644" y="21096"/>
                  </a:cubicBezTo>
                  <a:cubicBezTo>
                    <a:pt x="664" y="21105"/>
                    <a:pt x="676" y="21111"/>
                    <a:pt x="691" y="21111"/>
                  </a:cubicBezTo>
                  <a:cubicBezTo>
                    <a:pt x="711" y="21111"/>
                    <a:pt x="737" y="21101"/>
                    <a:pt x="795" y="21075"/>
                  </a:cubicBezTo>
                  <a:cubicBezTo>
                    <a:pt x="825" y="21062"/>
                    <a:pt x="856" y="21056"/>
                    <a:pt x="887" y="21056"/>
                  </a:cubicBezTo>
                  <a:cubicBezTo>
                    <a:pt x="931" y="21056"/>
                    <a:pt x="975" y="21069"/>
                    <a:pt x="1012" y="21096"/>
                  </a:cubicBezTo>
                  <a:cubicBezTo>
                    <a:pt x="1061" y="21135"/>
                    <a:pt x="1086" y="21194"/>
                    <a:pt x="1075" y="21257"/>
                  </a:cubicBezTo>
                  <a:cubicBezTo>
                    <a:pt x="1061" y="21317"/>
                    <a:pt x="1012" y="21366"/>
                    <a:pt x="949" y="21383"/>
                  </a:cubicBezTo>
                  <a:cubicBezTo>
                    <a:pt x="882" y="21404"/>
                    <a:pt x="823" y="21443"/>
                    <a:pt x="770" y="21495"/>
                  </a:cubicBezTo>
                  <a:cubicBezTo>
                    <a:pt x="806" y="21485"/>
                    <a:pt x="855" y="21471"/>
                    <a:pt x="904" y="21471"/>
                  </a:cubicBezTo>
                  <a:cubicBezTo>
                    <a:pt x="971" y="21471"/>
                    <a:pt x="1038" y="21497"/>
                    <a:pt x="1068" y="21590"/>
                  </a:cubicBezTo>
                  <a:cubicBezTo>
                    <a:pt x="1072" y="21607"/>
                    <a:pt x="1079" y="21625"/>
                    <a:pt x="1089" y="21639"/>
                  </a:cubicBezTo>
                  <a:cubicBezTo>
                    <a:pt x="1110" y="21611"/>
                    <a:pt x="1121" y="21579"/>
                    <a:pt x="1121" y="21544"/>
                  </a:cubicBezTo>
                  <a:cubicBezTo>
                    <a:pt x="1121" y="21474"/>
                    <a:pt x="1173" y="21415"/>
                    <a:pt x="1243" y="21408"/>
                  </a:cubicBezTo>
                  <a:cubicBezTo>
                    <a:pt x="1250" y="21407"/>
                    <a:pt x="1256" y="21407"/>
                    <a:pt x="1263" y="21407"/>
                  </a:cubicBezTo>
                  <a:cubicBezTo>
                    <a:pt x="1388" y="21407"/>
                    <a:pt x="1560" y="21526"/>
                    <a:pt x="1600" y="21649"/>
                  </a:cubicBezTo>
                  <a:cubicBezTo>
                    <a:pt x="1618" y="21702"/>
                    <a:pt x="1604" y="21761"/>
                    <a:pt x="1565" y="21800"/>
                  </a:cubicBezTo>
                  <a:cubicBezTo>
                    <a:pt x="1490" y="21889"/>
                    <a:pt x="1300" y="21939"/>
                    <a:pt x="1146" y="21939"/>
                  </a:cubicBezTo>
                  <a:cubicBezTo>
                    <a:pt x="1108" y="21939"/>
                    <a:pt x="1072" y="21936"/>
                    <a:pt x="1040" y="21929"/>
                  </a:cubicBezTo>
                  <a:cubicBezTo>
                    <a:pt x="1030" y="21926"/>
                    <a:pt x="1020" y="21925"/>
                    <a:pt x="1010" y="21925"/>
                  </a:cubicBezTo>
                  <a:cubicBezTo>
                    <a:pt x="977" y="21925"/>
                    <a:pt x="943" y="21942"/>
                    <a:pt x="924" y="21971"/>
                  </a:cubicBezTo>
                  <a:cubicBezTo>
                    <a:pt x="896" y="22031"/>
                    <a:pt x="903" y="22101"/>
                    <a:pt x="949" y="22153"/>
                  </a:cubicBezTo>
                  <a:cubicBezTo>
                    <a:pt x="977" y="22192"/>
                    <a:pt x="998" y="22192"/>
                    <a:pt x="1005" y="22192"/>
                  </a:cubicBezTo>
                  <a:cubicBezTo>
                    <a:pt x="1006" y="22192"/>
                    <a:pt x="1007" y="22192"/>
                    <a:pt x="1008" y="22192"/>
                  </a:cubicBezTo>
                  <a:cubicBezTo>
                    <a:pt x="1068" y="22192"/>
                    <a:pt x="1160" y="22103"/>
                    <a:pt x="1233" y="22027"/>
                  </a:cubicBezTo>
                  <a:lnTo>
                    <a:pt x="1250" y="22013"/>
                  </a:lnTo>
                  <a:cubicBezTo>
                    <a:pt x="1322" y="21939"/>
                    <a:pt x="1489" y="21910"/>
                    <a:pt x="1658" y="21910"/>
                  </a:cubicBezTo>
                  <a:cubicBezTo>
                    <a:pt x="1769" y="21910"/>
                    <a:pt x="1880" y="21923"/>
                    <a:pt x="1968" y="21943"/>
                  </a:cubicBezTo>
                  <a:cubicBezTo>
                    <a:pt x="2101" y="21975"/>
                    <a:pt x="2174" y="22020"/>
                    <a:pt x="2195" y="22087"/>
                  </a:cubicBezTo>
                  <a:cubicBezTo>
                    <a:pt x="2209" y="22122"/>
                    <a:pt x="2206" y="22164"/>
                    <a:pt x="2181" y="22195"/>
                  </a:cubicBezTo>
                  <a:cubicBezTo>
                    <a:pt x="2149" y="22241"/>
                    <a:pt x="2090" y="22250"/>
                    <a:pt x="2022" y="22250"/>
                  </a:cubicBezTo>
                  <a:cubicBezTo>
                    <a:pt x="2001" y="22250"/>
                    <a:pt x="1979" y="22249"/>
                    <a:pt x="1957" y="22248"/>
                  </a:cubicBezTo>
                  <a:cubicBezTo>
                    <a:pt x="1947" y="22247"/>
                    <a:pt x="1936" y="22247"/>
                    <a:pt x="1926" y="22247"/>
                  </a:cubicBezTo>
                  <a:cubicBezTo>
                    <a:pt x="1900" y="22247"/>
                    <a:pt x="1873" y="22249"/>
                    <a:pt x="1849" y="22251"/>
                  </a:cubicBezTo>
                  <a:cubicBezTo>
                    <a:pt x="1800" y="22339"/>
                    <a:pt x="1642" y="22388"/>
                    <a:pt x="1544" y="22388"/>
                  </a:cubicBezTo>
                  <a:cubicBezTo>
                    <a:pt x="1446" y="22388"/>
                    <a:pt x="1415" y="22342"/>
                    <a:pt x="1397" y="22307"/>
                  </a:cubicBezTo>
                  <a:cubicBezTo>
                    <a:pt x="1362" y="22314"/>
                    <a:pt x="1334" y="22328"/>
                    <a:pt x="1310" y="22346"/>
                  </a:cubicBezTo>
                  <a:cubicBezTo>
                    <a:pt x="1261" y="22374"/>
                    <a:pt x="1229" y="22423"/>
                    <a:pt x="1219" y="22476"/>
                  </a:cubicBezTo>
                  <a:cubicBezTo>
                    <a:pt x="1215" y="22528"/>
                    <a:pt x="1194" y="22577"/>
                    <a:pt x="1159" y="22619"/>
                  </a:cubicBezTo>
                  <a:lnTo>
                    <a:pt x="1184" y="22626"/>
                  </a:lnTo>
                  <a:cubicBezTo>
                    <a:pt x="1198" y="22630"/>
                    <a:pt x="1210" y="22633"/>
                    <a:pt x="1221" y="22633"/>
                  </a:cubicBezTo>
                  <a:cubicBezTo>
                    <a:pt x="1253" y="22633"/>
                    <a:pt x="1272" y="22612"/>
                    <a:pt x="1306" y="22570"/>
                  </a:cubicBezTo>
                  <a:cubicBezTo>
                    <a:pt x="1365" y="22501"/>
                    <a:pt x="1442" y="22415"/>
                    <a:pt x="1625" y="22415"/>
                  </a:cubicBezTo>
                  <a:cubicBezTo>
                    <a:pt x="1639" y="22415"/>
                    <a:pt x="1652" y="22415"/>
                    <a:pt x="1667" y="22416"/>
                  </a:cubicBezTo>
                  <a:cubicBezTo>
                    <a:pt x="1677" y="22417"/>
                    <a:pt x="1687" y="22417"/>
                    <a:pt x="1697" y="22417"/>
                  </a:cubicBezTo>
                  <a:cubicBezTo>
                    <a:pt x="1827" y="22417"/>
                    <a:pt x="1932" y="22356"/>
                    <a:pt x="2020" y="22307"/>
                  </a:cubicBezTo>
                  <a:cubicBezTo>
                    <a:pt x="2085" y="22268"/>
                    <a:pt x="2144" y="22235"/>
                    <a:pt x="2200" y="22235"/>
                  </a:cubicBezTo>
                  <a:cubicBezTo>
                    <a:pt x="2214" y="22235"/>
                    <a:pt x="2227" y="22237"/>
                    <a:pt x="2241" y="22241"/>
                  </a:cubicBezTo>
                  <a:cubicBezTo>
                    <a:pt x="2286" y="22255"/>
                    <a:pt x="2321" y="22290"/>
                    <a:pt x="2339" y="22332"/>
                  </a:cubicBezTo>
                  <a:cubicBezTo>
                    <a:pt x="2388" y="22430"/>
                    <a:pt x="2356" y="22535"/>
                    <a:pt x="2255" y="22612"/>
                  </a:cubicBezTo>
                  <a:cubicBezTo>
                    <a:pt x="2184" y="22666"/>
                    <a:pt x="2087" y="22700"/>
                    <a:pt x="1997" y="22700"/>
                  </a:cubicBezTo>
                  <a:cubicBezTo>
                    <a:pt x="1931" y="22700"/>
                    <a:pt x="1869" y="22682"/>
                    <a:pt x="1824" y="22640"/>
                  </a:cubicBezTo>
                  <a:cubicBezTo>
                    <a:pt x="1813" y="22627"/>
                    <a:pt x="1797" y="22620"/>
                    <a:pt x="1782" y="22620"/>
                  </a:cubicBezTo>
                  <a:cubicBezTo>
                    <a:pt x="1774" y="22620"/>
                    <a:pt x="1765" y="22622"/>
                    <a:pt x="1758" y="22626"/>
                  </a:cubicBezTo>
                  <a:cubicBezTo>
                    <a:pt x="1705" y="22654"/>
                    <a:pt x="1646" y="22759"/>
                    <a:pt x="1653" y="22854"/>
                  </a:cubicBezTo>
                  <a:cubicBezTo>
                    <a:pt x="1660" y="22896"/>
                    <a:pt x="1642" y="22938"/>
                    <a:pt x="1611" y="22966"/>
                  </a:cubicBezTo>
                  <a:cubicBezTo>
                    <a:pt x="1585" y="22985"/>
                    <a:pt x="1554" y="22993"/>
                    <a:pt x="1517" y="22993"/>
                  </a:cubicBezTo>
                  <a:cubicBezTo>
                    <a:pt x="1441" y="22993"/>
                    <a:pt x="1342" y="22957"/>
                    <a:pt x="1226" y="22917"/>
                  </a:cubicBezTo>
                  <a:cubicBezTo>
                    <a:pt x="1152" y="22889"/>
                    <a:pt x="1079" y="22864"/>
                    <a:pt x="1001" y="22850"/>
                  </a:cubicBezTo>
                  <a:cubicBezTo>
                    <a:pt x="994" y="22848"/>
                    <a:pt x="987" y="22847"/>
                    <a:pt x="981" y="22847"/>
                  </a:cubicBezTo>
                  <a:cubicBezTo>
                    <a:pt x="974" y="22847"/>
                    <a:pt x="968" y="22848"/>
                    <a:pt x="963" y="22850"/>
                  </a:cubicBezTo>
                  <a:cubicBezTo>
                    <a:pt x="959" y="22878"/>
                    <a:pt x="998" y="22980"/>
                    <a:pt x="1117" y="23102"/>
                  </a:cubicBezTo>
                  <a:cubicBezTo>
                    <a:pt x="1161" y="23149"/>
                    <a:pt x="1193" y="23163"/>
                    <a:pt x="1230" y="23163"/>
                  </a:cubicBezTo>
                  <a:cubicBezTo>
                    <a:pt x="1249" y="23163"/>
                    <a:pt x="1269" y="23159"/>
                    <a:pt x="1292" y="23155"/>
                  </a:cubicBezTo>
                  <a:cubicBezTo>
                    <a:pt x="1321" y="23147"/>
                    <a:pt x="1350" y="23144"/>
                    <a:pt x="1379" y="23144"/>
                  </a:cubicBezTo>
                  <a:cubicBezTo>
                    <a:pt x="1449" y="23144"/>
                    <a:pt x="1516" y="23164"/>
                    <a:pt x="1576" y="23204"/>
                  </a:cubicBezTo>
                  <a:cubicBezTo>
                    <a:pt x="1635" y="23242"/>
                    <a:pt x="1691" y="23288"/>
                    <a:pt x="1740" y="23340"/>
                  </a:cubicBezTo>
                  <a:cubicBezTo>
                    <a:pt x="1758" y="23361"/>
                    <a:pt x="1775" y="23375"/>
                    <a:pt x="1796" y="23389"/>
                  </a:cubicBezTo>
                  <a:cubicBezTo>
                    <a:pt x="1796" y="23389"/>
                    <a:pt x="1810" y="23389"/>
                    <a:pt x="1849" y="23354"/>
                  </a:cubicBezTo>
                  <a:cubicBezTo>
                    <a:pt x="1859" y="23347"/>
                    <a:pt x="1866" y="23337"/>
                    <a:pt x="1877" y="23330"/>
                  </a:cubicBezTo>
                  <a:lnTo>
                    <a:pt x="1852" y="23319"/>
                  </a:lnTo>
                  <a:cubicBezTo>
                    <a:pt x="1821" y="23309"/>
                    <a:pt x="1789" y="23295"/>
                    <a:pt x="1761" y="23277"/>
                  </a:cubicBezTo>
                  <a:cubicBezTo>
                    <a:pt x="1691" y="23232"/>
                    <a:pt x="1670" y="23137"/>
                    <a:pt x="1712" y="23064"/>
                  </a:cubicBezTo>
                  <a:cubicBezTo>
                    <a:pt x="1742" y="23007"/>
                    <a:pt x="1804" y="22966"/>
                    <a:pt x="1889" y="22966"/>
                  </a:cubicBezTo>
                  <a:cubicBezTo>
                    <a:pt x="1934" y="22966"/>
                    <a:pt x="1985" y="22977"/>
                    <a:pt x="2041" y="23004"/>
                  </a:cubicBezTo>
                  <a:cubicBezTo>
                    <a:pt x="2074" y="23019"/>
                    <a:pt x="2109" y="23027"/>
                    <a:pt x="2144" y="23027"/>
                  </a:cubicBezTo>
                  <a:cubicBezTo>
                    <a:pt x="2198" y="23027"/>
                    <a:pt x="2251" y="23009"/>
                    <a:pt x="2293" y="22973"/>
                  </a:cubicBezTo>
                  <a:cubicBezTo>
                    <a:pt x="2374" y="22903"/>
                    <a:pt x="2405" y="22794"/>
                    <a:pt x="2374" y="22693"/>
                  </a:cubicBezTo>
                  <a:cubicBezTo>
                    <a:pt x="2279" y="22307"/>
                    <a:pt x="2699" y="22160"/>
                    <a:pt x="2899" y="22090"/>
                  </a:cubicBezTo>
                  <a:cubicBezTo>
                    <a:pt x="2946" y="22075"/>
                    <a:pt x="2985" y="22068"/>
                    <a:pt x="3015" y="22068"/>
                  </a:cubicBezTo>
                  <a:cubicBezTo>
                    <a:pt x="3094" y="22068"/>
                    <a:pt x="3123" y="22109"/>
                    <a:pt x="3134" y="22139"/>
                  </a:cubicBezTo>
                  <a:cubicBezTo>
                    <a:pt x="3179" y="22248"/>
                    <a:pt x="3025" y="22420"/>
                    <a:pt x="2874" y="22483"/>
                  </a:cubicBezTo>
                  <a:cubicBezTo>
                    <a:pt x="2755" y="22532"/>
                    <a:pt x="2734" y="22556"/>
                    <a:pt x="2731" y="22570"/>
                  </a:cubicBezTo>
                  <a:cubicBezTo>
                    <a:pt x="2727" y="22581"/>
                    <a:pt x="2731" y="22605"/>
                    <a:pt x="2811" y="22693"/>
                  </a:cubicBezTo>
                  <a:cubicBezTo>
                    <a:pt x="2835" y="22718"/>
                    <a:pt x="2860" y="22730"/>
                    <a:pt x="2890" y="22730"/>
                  </a:cubicBezTo>
                  <a:cubicBezTo>
                    <a:pt x="2922" y="22730"/>
                    <a:pt x="2961" y="22717"/>
                    <a:pt x="3014" y="22696"/>
                  </a:cubicBezTo>
                  <a:cubicBezTo>
                    <a:pt x="3062" y="22679"/>
                    <a:pt x="3118" y="22658"/>
                    <a:pt x="3173" y="22658"/>
                  </a:cubicBezTo>
                  <a:cubicBezTo>
                    <a:pt x="3219" y="22658"/>
                    <a:pt x="3266" y="22672"/>
                    <a:pt x="3309" y="22714"/>
                  </a:cubicBezTo>
                  <a:cubicBezTo>
                    <a:pt x="3344" y="22745"/>
                    <a:pt x="3358" y="22791"/>
                    <a:pt x="3351" y="22836"/>
                  </a:cubicBezTo>
                  <a:cubicBezTo>
                    <a:pt x="3333" y="22903"/>
                    <a:pt x="3256" y="22927"/>
                    <a:pt x="3172" y="22955"/>
                  </a:cubicBezTo>
                  <a:cubicBezTo>
                    <a:pt x="3116" y="22973"/>
                    <a:pt x="3032" y="22997"/>
                    <a:pt x="3014" y="23032"/>
                  </a:cubicBezTo>
                  <a:cubicBezTo>
                    <a:pt x="3004" y="23057"/>
                    <a:pt x="3035" y="23102"/>
                    <a:pt x="3060" y="23148"/>
                  </a:cubicBezTo>
                  <a:cubicBezTo>
                    <a:pt x="3095" y="23204"/>
                    <a:pt x="3137" y="23270"/>
                    <a:pt x="3116" y="23344"/>
                  </a:cubicBezTo>
                  <a:cubicBezTo>
                    <a:pt x="3098" y="23393"/>
                    <a:pt x="3056" y="23431"/>
                    <a:pt x="3007" y="23452"/>
                  </a:cubicBezTo>
                  <a:cubicBezTo>
                    <a:pt x="2986" y="23465"/>
                    <a:pt x="2961" y="23471"/>
                    <a:pt x="2936" y="23471"/>
                  </a:cubicBezTo>
                  <a:cubicBezTo>
                    <a:pt x="2914" y="23471"/>
                    <a:pt x="2891" y="23466"/>
                    <a:pt x="2871" y="23456"/>
                  </a:cubicBezTo>
                  <a:cubicBezTo>
                    <a:pt x="2790" y="23410"/>
                    <a:pt x="2776" y="23295"/>
                    <a:pt x="2762" y="23172"/>
                  </a:cubicBezTo>
                  <a:cubicBezTo>
                    <a:pt x="2755" y="23116"/>
                    <a:pt x="2741" y="23022"/>
                    <a:pt x="2724" y="23004"/>
                  </a:cubicBezTo>
                  <a:cubicBezTo>
                    <a:pt x="2718" y="23000"/>
                    <a:pt x="2708" y="22997"/>
                    <a:pt x="2697" y="22997"/>
                  </a:cubicBezTo>
                  <a:cubicBezTo>
                    <a:pt x="2687" y="22997"/>
                    <a:pt x="2678" y="22999"/>
                    <a:pt x="2671" y="23008"/>
                  </a:cubicBezTo>
                  <a:cubicBezTo>
                    <a:pt x="2657" y="23022"/>
                    <a:pt x="2633" y="23106"/>
                    <a:pt x="2699" y="23256"/>
                  </a:cubicBezTo>
                  <a:cubicBezTo>
                    <a:pt x="2724" y="23309"/>
                    <a:pt x="2769" y="23417"/>
                    <a:pt x="2699" y="23463"/>
                  </a:cubicBezTo>
                  <a:cubicBezTo>
                    <a:pt x="2692" y="23468"/>
                    <a:pt x="2679" y="23477"/>
                    <a:pt x="2656" y="23477"/>
                  </a:cubicBezTo>
                  <a:cubicBezTo>
                    <a:pt x="2607" y="23477"/>
                    <a:pt x="2512" y="23436"/>
                    <a:pt x="2325" y="23232"/>
                  </a:cubicBezTo>
                  <a:cubicBezTo>
                    <a:pt x="2314" y="23214"/>
                    <a:pt x="2297" y="23207"/>
                    <a:pt x="2279" y="23207"/>
                  </a:cubicBezTo>
                  <a:cubicBezTo>
                    <a:pt x="2258" y="23214"/>
                    <a:pt x="2244" y="23228"/>
                    <a:pt x="2241" y="23249"/>
                  </a:cubicBezTo>
                  <a:cubicBezTo>
                    <a:pt x="2234" y="23284"/>
                    <a:pt x="2244" y="23323"/>
                    <a:pt x="2276" y="23344"/>
                  </a:cubicBezTo>
                  <a:cubicBezTo>
                    <a:pt x="2293" y="23365"/>
                    <a:pt x="2339" y="23410"/>
                    <a:pt x="2318" y="23466"/>
                  </a:cubicBezTo>
                  <a:cubicBezTo>
                    <a:pt x="2297" y="23522"/>
                    <a:pt x="2237" y="23529"/>
                    <a:pt x="2171" y="23533"/>
                  </a:cubicBezTo>
                  <a:cubicBezTo>
                    <a:pt x="2048" y="23543"/>
                    <a:pt x="2013" y="23557"/>
                    <a:pt x="2013" y="23610"/>
                  </a:cubicBezTo>
                  <a:cubicBezTo>
                    <a:pt x="2013" y="23627"/>
                    <a:pt x="2017" y="23645"/>
                    <a:pt x="2020" y="23659"/>
                  </a:cubicBezTo>
                  <a:cubicBezTo>
                    <a:pt x="2048" y="23659"/>
                    <a:pt x="2073" y="23652"/>
                    <a:pt x="2101" y="23645"/>
                  </a:cubicBezTo>
                  <a:cubicBezTo>
                    <a:pt x="2152" y="23630"/>
                    <a:pt x="2207" y="23623"/>
                    <a:pt x="2261" y="23623"/>
                  </a:cubicBezTo>
                  <a:cubicBezTo>
                    <a:pt x="2295" y="23623"/>
                    <a:pt x="2330" y="23625"/>
                    <a:pt x="2363" y="23631"/>
                  </a:cubicBezTo>
                  <a:cubicBezTo>
                    <a:pt x="2524" y="23666"/>
                    <a:pt x="2556" y="23813"/>
                    <a:pt x="2580" y="23932"/>
                  </a:cubicBezTo>
                  <a:cubicBezTo>
                    <a:pt x="2587" y="23995"/>
                    <a:pt x="2612" y="24054"/>
                    <a:pt x="2647" y="24107"/>
                  </a:cubicBezTo>
                  <a:cubicBezTo>
                    <a:pt x="2650" y="24082"/>
                    <a:pt x="2650" y="24047"/>
                    <a:pt x="2654" y="24023"/>
                  </a:cubicBezTo>
                  <a:cubicBezTo>
                    <a:pt x="2661" y="23890"/>
                    <a:pt x="2671" y="23718"/>
                    <a:pt x="2808" y="23690"/>
                  </a:cubicBezTo>
                  <a:cubicBezTo>
                    <a:pt x="2820" y="23688"/>
                    <a:pt x="2832" y="23687"/>
                    <a:pt x="2842" y="23687"/>
                  </a:cubicBezTo>
                  <a:cubicBezTo>
                    <a:pt x="2946" y="23687"/>
                    <a:pt x="2971" y="23803"/>
                    <a:pt x="2990" y="23879"/>
                  </a:cubicBezTo>
                  <a:cubicBezTo>
                    <a:pt x="3014" y="24005"/>
                    <a:pt x="3046" y="24142"/>
                    <a:pt x="3228" y="24201"/>
                  </a:cubicBezTo>
                  <a:cubicBezTo>
                    <a:pt x="3256" y="24212"/>
                    <a:pt x="3281" y="24219"/>
                    <a:pt x="3298" y="24222"/>
                  </a:cubicBezTo>
                  <a:cubicBezTo>
                    <a:pt x="3270" y="24149"/>
                    <a:pt x="3295" y="24061"/>
                    <a:pt x="3365" y="24019"/>
                  </a:cubicBezTo>
                  <a:cubicBezTo>
                    <a:pt x="3393" y="23995"/>
                    <a:pt x="3424" y="23984"/>
                    <a:pt x="3459" y="23984"/>
                  </a:cubicBezTo>
                  <a:cubicBezTo>
                    <a:pt x="3575" y="23984"/>
                    <a:pt x="3683" y="24110"/>
                    <a:pt x="3781" y="24226"/>
                  </a:cubicBezTo>
                  <a:cubicBezTo>
                    <a:pt x="3851" y="24310"/>
                    <a:pt x="3932" y="24404"/>
                    <a:pt x="3988" y="24418"/>
                  </a:cubicBezTo>
                  <a:lnTo>
                    <a:pt x="3998" y="24418"/>
                  </a:lnTo>
                  <a:cubicBezTo>
                    <a:pt x="3970" y="24324"/>
                    <a:pt x="3921" y="24233"/>
                    <a:pt x="3851" y="24163"/>
                  </a:cubicBezTo>
                  <a:cubicBezTo>
                    <a:pt x="3820" y="24135"/>
                    <a:pt x="3802" y="24093"/>
                    <a:pt x="3799" y="24051"/>
                  </a:cubicBezTo>
                  <a:lnTo>
                    <a:pt x="3736" y="24051"/>
                  </a:lnTo>
                  <a:cubicBezTo>
                    <a:pt x="3722" y="24051"/>
                    <a:pt x="3711" y="24047"/>
                    <a:pt x="3701" y="24037"/>
                  </a:cubicBezTo>
                  <a:cubicBezTo>
                    <a:pt x="3694" y="24030"/>
                    <a:pt x="3687" y="24023"/>
                    <a:pt x="3683" y="24016"/>
                  </a:cubicBezTo>
                  <a:cubicBezTo>
                    <a:pt x="3638" y="23925"/>
                    <a:pt x="3610" y="23582"/>
                    <a:pt x="3676" y="22244"/>
                  </a:cubicBezTo>
                  <a:lnTo>
                    <a:pt x="3652" y="22244"/>
                  </a:lnTo>
                  <a:cubicBezTo>
                    <a:pt x="3626" y="22245"/>
                    <a:pt x="3599" y="22246"/>
                    <a:pt x="3571" y="22246"/>
                  </a:cubicBezTo>
                  <a:cubicBezTo>
                    <a:pt x="3442" y="22246"/>
                    <a:pt x="3297" y="22232"/>
                    <a:pt x="3225" y="22143"/>
                  </a:cubicBezTo>
                  <a:cubicBezTo>
                    <a:pt x="3183" y="22090"/>
                    <a:pt x="3172" y="22020"/>
                    <a:pt x="3193" y="21957"/>
                  </a:cubicBezTo>
                  <a:cubicBezTo>
                    <a:pt x="3197" y="21933"/>
                    <a:pt x="3207" y="21912"/>
                    <a:pt x="3221" y="21894"/>
                  </a:cubicBezTo>
                  <a:lnTo>
                    <a:pt x="3218" y="21891"/>
                  </a:lnTo>
                  <a:cubicBezTo>
                    <a:pt x="3200" y="21880"/>
                    <a:pt x="3186" y="21870"/>
                    <a:pt x="3172" y="21859"/>
                  </a:cubicBezTo>
                  <a:lnTo>
                    <a:pt x="3162" y="21852"/>
                  </a:lnTo>
                  <a:cubicBezTo>
                    <a:pt x="3148" y="21845"/>
                    <a:pt x="3137" y="21835"/>
                    <a:pt x="3123" y="21828"/>
                  </a:cubicBezTo>
                  <a:lnTo>
                    <a:pt x="3116" y="21824"/>
                  </a:lnTo>
                  <a:cubicBezTo>
                    <a:pt x="3098" y="21817"/>
                    <a:pt x="3084" y="21810"/>
                    <a:pt x="3067" y="21803"/>
                  </a:cubicBezTo>
                  <a:lnTo>
                    <a:pt x="3056" y="21800"/>
                  </a:lnTo>
                  <a:cubicBezTo>
                    <a:pt x="3042" y="21793"/>
                    <a:pt x="3025" y="21789"/>
                    <a:pt x="3011" y="21786"/>
                  </a:cubicBezTo>
                  <a:cubicBezTo>
                    <a:pt x="2937" y="21766"/>
                    <a:pt x="2827" y="21758"/>
                    <a:pt x="2704" y="21758"/>
                  </a:cubicBezTo>
                  <a:cubicBezTo>
                    <a:pt x="2481" y="21758"/>
                    <a:pt x="2219" y="21783"/>
                    <a:pt x="2066" y="21803"/>
                  </a:cubicBezTo>
                  <a:cubicBezTo>
                    <a:pt x="2060" y="21804"/>
                    <a:pt x="2053" y="21805"/>
                    <a:pt x="2047" y="21805"/>
                  </a:cubicBezTo>
                  <a:cubicBezTo>
                    <a:pt x="2027" y="21805"/>
                    <a:pt x="2007" y="21801"/>
                    <a:pt x="1989" y="21793"/>
                  </a:cubicBezTo>
                  <a:cubicBezTo>
                    <a:pt x="1919" y="21768"/>
                    <a:pt x="1873" y="21695"/>
                    <a:pt x="1838" y="21639"/>
                  </a:cubicBezTo>
                  <a:cubicBezTo>
                    <a:pt x="1824" y="21614"/>
                    <a:pt x="1807" y="21593"/>
                    <a:pt x="1789" y="21572"/>
                  </a:cubicBezTo>
                  <a:cubicBezTo>
                    <a:pt x="1758" y="21569"/>
                    <a:pt x="1733" y="21555"/>
                    <a:pt x="1716" y="21530"/>
                  </a:cubicBezTo>
                  <a:cubicBezTo>
                    <a:pt x="1649" y="21436"/>
                    <a:pt x="1642" y="21131"/>
                    <a:pt x="1681" y="20939"/>
                  </a:cubicBezTo>
                  <a:cubicBezTo>
                    <a:pt x="1684" y="20914"/>
                    <a:pt x="1691" y="20886"/>
                    <a:pt x="1702" y="20862"/>
                  </a:cubicBezTo>
                  <a:cubicBezTo>
                    <a:pt x="1702" y="20858"/>
                    <a:pt x="1705" y="20851"/>
                    <a:pt x="1705" y="20844"/>
                  </a:cubicBezTo>
                  <a:cubicBezTo>
                    <a:pt x="1684" y="20820"/>
                    <a:pt x="1544" y="20816"/>
                    <a:pt x="1474" y="20813"/>
                  </a:cubicBezTo>
                  <a:cubicBezTo>
                    <a:pt x="1376" y="20813"/>
                    <a:pt x="1285" y="20809"/>
                    <a:pt x="1226" y="20778"/>
                  </a:cubicBezTo>
                  <a:cubicBezTo>
                    <a:pt x="1117" y="20725"/>
                    <a:pt x="1135" y="20634"/>
                    <a:pt x="1145" y="20575"/>
                  </a:cubicBezTo>
                  <a:cubicBezTo>
                    <a:pt x="1156" y="20515"/>
                    <a:pt x="1163" y="20466"/>
                    <a:pt x="1107" y="20403"/>
                  </a:cubicBezTo>
                  <a:cubicBezTo>
                    <a:pt x="1058" y="20351"/>
                    <a:pt x="1029" y="20284"/>
                    <a:pt x="1019" y="20217"/>
                  </a:cubicBezTo>
                  <a:cubicBezTo>
                    <a:pt x="1012" y="20116"/>
                    <a:pt x="1022" y="20014"/>
                    <a:pt x="1054" y="19920"/>
                  </a:cubicBezTo>
                  <a:cubicBezTo>
                    <a:pt x="1061" y="19899"/>
                    <a:pt x="1068" y="19878"/>
                    <a:pt x="1072" y="19857"/>
                  </a:cubicBezTo>
                  <a:cubicBezTo>
                    <a:pt x="1072" y="19850"/>
                    <a:pt x="1072" y="19846"/>
                    <a:pt x="1075" y="19839"/>
                  </a:cubicBezTo>
                  <a:cubicBezTo>
                    <a:pt x="1093" y="19703"/>
                    <a:pt x="1205" y="19423"/>
                    <a:pt x="1436" y="19423"/>
                  </a:cubicBezTo>
                  <a:cubicBezTo>
                    <a:pt x="1464" y="19423"/>
                    <a:pt x="1471" y="19423"/>
                    <a:pt x="1485" y="19325"/>
                  </a:cubicBezTo>
                  <a:cubicBezTo>
                    <a:pt x="1499" y="19241"/>
                    <a:pt x="1516" y="19129"/>
                    <a:pt x="1628" y="19055"/>
                  </a:cubicBezTo>
                  <a:cubicBezTo>
                    <a:pt x="1656" y="19038"/>
                    <a:pt x="1670" y="19031"/>
                    <a:pt x="1607" y="18926"/>
                  </a:cubicBezTo>
                  <a:cubicBezTo>
                    <a:pt x="1562" y="18849"/>
                    <a:pt x="1492" y="18726"/>
                    <a:pt x="1607" y="18635"/>
                  </a:cubicBezTo>
                  <a:cubicBezTo>
                    <a:pt x="1646" y="18604"/>
                    <a:pt x="1653" y="18562"/>
                    <a:pt x="1663" y="18495"/>
                  </a:cubicBezTo>
                  <a:cubicBezTo>
                    <a:pt x="1670" y="18411"/>
                    <a:pt x="1688" y="18285"/>
                    <a:pt x="1866" y="18261"/>
                  </a:cubicBezTo>
                  <a:cubicBezTo>
                    <a:pt x="1919" y="18253"/>
                    <a:pt x="1926" y="18243"/>
                    <a:pt x="1915" y="18127"/>
                  </a:cubicBezTo>
                  <a:cubicBezTo>
                    <a:pt x="1908" y="18050"/>
                    <a:pt x="1894" y="17921"/>
                    <a:pt x="2020" y="17882"/>
                  </a:cubicBezTo>
                  <a:cubicBezTo>
                    <a:pt x="2027" y="17882"/>
                    <a:pt x="2034" y="17879"/>
                    <a:pt x="2041" y="17875"/>
                  </a:cubicBezTo>
                  <a:cubicBezTo>
                    <a:pt x="2038" y="17844"/>
                    <a:pt x="2031" y="17809"/>
                    <a:pt x="2020" y="17781"/>
                  </a:cubicBezTo>
                  <a:cubicBezTo>
                    <a:pt x="1996" y="17714"/>
                    <a:pt x="1985" y="17648"/>
                    <a:pt x="1982" y="17581"/>
                  </a:cubicBezTo>
                  <a:cubicBezTo>
                    <a:pt x="1985" y="17553"/>
                    <a:pt x="1985" y="17529"/>
                    <a:pt x="1992" y="17504"/>
                  </a:cubicBezTo>
                  <a:cubicBezTo>
                    <a:pt x="2003" y="17445"/>
                    <a:pt x="1999" y="17385"/>
                    <a:pt x="1982" y="17329"/>
                  </a:cubicBezTo>
                  <a:cubicBezTo>
                    <a:pt x="1961" y="17235"/>
                    <a:pt x="1933" y="17102"/>
                    <a:pt x="2115" y="17032"/>
                  </a:cubicBezTo>
                  <a:cubicBezTo>
                    <a:pt x="2153" y="17018"/>
                    <a:pt x="2178" y="17000"/>
                    <a:pt x="2178" y="16983"/>
                  </a:cubicBezTo>
                  <a:cubicBezTo>
                    <a:pt x="2181" y="16955"/>
                    <a:pt x="2143" y="16885"/>
                    <a:pt x="2017" y="16787"/>
                  </a:cubicBezTo>
                  <a:cubicBezTo>
                    <a:pt x="1989" y="16762"/>
                    <a:pt x="1915" y="16706"/>
                    <a:pt x="1940" y="16636"/>
                  </a:cubicBezTo>
                  <a:cubicBezTo>
                    <a:pt x="1968" y="16552"/>
                    <a:pt x="2087" y="16552"/>
                    <a:pt x="2269" y="16552"/>
                  </a:cubicBezTo>
                  <a:cubicBezTo>
                    <a:pt x="2286" y="16552"/>
                    <a:pt x="2293" y="16549"/>
                    <a:pt x="2297" y="16545"/>
                  </a:cubicBezTo>
                  <a:lnTo>
                    <a:pt x="2297" y="16542"/>
                  </a:lnTo>
                  <a:cubicBezTo>
                    <a:pt x="2297" y="16538"/>
                    <a:pt x="2297" y="16531"/>
                    <a:pt x="2297" y="16524"/>
                  </a:cubicBezTo>
                  <a:cubicBezTo>
                    <a:pt x="2297" y="16510"/>
                    <a:pt x="2293" y="16496"/>
                    <a:pt x="2286" y="16482"/>
                  </a:cubicBezTo>
                  <a:cubicBezTo>
                    <a:pt x="2283" y="16475"/>
                    <a:pt x="2276" y="16465"/>
                    <a:pt x="2272" y="16461"/>
                  </a:cubicBezTo>
                  <a:cubicBezTo>
                    <a:pt x="2259" y="16443"/>
                    <a:pt x="2242" y="16434"/>
                    <a:pt x="2222" y="16434"/>
                  </a:cubicBezTo>
                  <a:cubicBezTo>
                    <a:pt x="2216" y="16434"/>
                    <a:pt x="2209" y="16435"/>
                    <a:pt x="2202" y="16437"/>
                  </a:cubicBezTo>
                  <a:cubicBezTo>
                    <a:pt x="2172" y="16446"/>
                    <a:pt x="2142" y="16450"/>
                    <a:pt x="2113" y="16450"/>
                  </a:cubicBezTo>
                  <a:cubicBezTo>
                    <a:pt x="2030" y="16450"/>
                    <a:pt x="1958" y="16413"/>
                    <a:pt x="1919" y="16346"/>
                  </a:cubicBezTo>
                  <a:cubicBezTo>
                    <a:pt x="1863" y="16251"/>
                    <a:pt x="1884" y="16135"/>
                    <a:pt x="1975" y="16048"/>
                  </a:cubicBezTo>
                  <a:cubicBezTo>
                    <a:pt x="2010" y="16013"/>
                    <a:pt x="2010" y="15995"/>
                    <a:pt x="1943" y="15918"/>
                  </a:cubicBezTo>
                  <a:cubicBezTo>
                    <a:pt x="1898" y="15866"/>
                    <a:pt x="1838" y="15799"/>
                    <a:pt x="1880" y="15719"/>
                  </a:cubicBezTo>
                  <a:cubicBezTo>
                    <a:pt x="1915" y="15649"/>
                    <a:pt x="1919" y="15551"/>
                    <a:pt x="1852" y="15509"/>
                  </a:cubicBezTo>
                  <a:cubicBezTo>
                    <a:pt x="1747" y="15439"/>
                    <a:pt x="1772" y="15180"/>
                    <a:pt x="1800" y="15054"/>
                  </a:cubicBezTo>
                  <a:cubicBezTo>
                    <a:pt x="1831" y="14914"/>
                    <a:pt x="1884" y="14833"/>
                    <a:pt x="1954" y="14816"/>
                  </a:cubicBezTo>
                  <a:cubicBezTo>
                    <a:pt x="1982" y="14763"/>
                    <a:pt x="1961" y="14539"/>
                    <a:pt x="1950" y="14438"/>
                  </a:cubicBezTo>
                  <a:cubicBezTo>
                    <a:pt x="1943" y="14378"/>
                    <a:pt x="1940" y="14322"/>
                    <a:pt x="1940" y="14287"/>
                  </a:cubicBezTo>
                  <a:cubicBezTo>
                    <a:pt x="1933" y="14231"/>
                    <a:pt x="1912" y="14175"/>
                    <a:pt x="1884" y="14126"/>
                  </a:cubicBezTo>
                  <a:cubicBezTo>
                    <a:pt x="1849" y="14056"/>
                    <a:pt x="1814" y="13979"/>
                    <a:pt x="1824" y="13902"/>
                  </a:cubicBezTo>
                  <a:cubicBezTo>
                    <a:pt x="1835" y="13849"/>
                    <a:pt x="1859" y="13800"/>
                    <a:pt x="1894" y="13758"/>
                  </a:cubicBezTo>
                  <a:cubicBezTo>
                    <a:pt x="1947" y="13695"/>
                    <a:pt x="1975" y="13615"/>
                    <a:pt x="1971" y="13534"/>
                  </a:cubicBezTo>
                  <a:cubicBezTo>
                    <a:pt x="1971" y="13373"/>
                    <a:pt x="1992" y="13160"/>
                    <a:pt x="2164" y="13125"/>
                  </a:cubicBezTo>
                  <a:cubicBezTo>
                    <a:pt x="2171" y="13069"/>
                    <a:pt x="2167" y="13013"/>
                    <a:pt x="2160" y="12957"/>
                  </a:cubicBezTo>
                  <a:cubicBezTo>
                    <a:pt x="2150" y="12894"/>
                    <a:pt x="2150" y="12831"/>
                    <a:pt x="2153" y="12768"/>
                  </a:cubicBezTo>
                  <a:cubicBezTo>
                    <a:pt x="2167" y="12663"/>
                    <a:pt x="2272" y="12649"/>
                    <a:pt x="2332" y="12638"/>
                  </a:cubicBezTo>
                  <a:cubicBezTo>
                    <a:pt x="2419" y="12628"/>
                    <a:pt x="2454" y="12617"/>
                    <a:pt x="2465" y="12551"/>
                  </a:cubicBezTo>
                  <a:cubicBezTo>
                    <a:pt x="2472" y="12523"/>
                    <a:pt x="2468" y="12491"/>
                    <a:pt x="2458" y="12463"/>
                  </a:cubicBezTo>
                  <a:cubicBezTo>
                    <a:pt x="2444" y="12442"/>
                    <a:pt x="2430" y="12425"/>
                    <a:pt x="2409" y="12411"/>
                  </a:cubicBezTo>
                  <a:cubicBezTo>
                    <a:pt x="2370" y="12379"/>
                    <a:pt x="2311" y="12330"/>
                    <a:pt x="2335" y="12232"/>
                  </a:cubicBezTo>
                  <a:cubicBezTo>
                    <a:pt x="2353" y="12152"/>
                    <a:pt x="2346" y="12054"/>
                    <a:pt x="2335" y="11917"/>
                  </a:cubicBezTo>
                  <a:cubicBezTo>
                    <a:pt x="2325" y="11812"/>
                    <a:pt x="2314" y="11682"/>
                    <a:pt x="2314" y="11525"/>
                  </a:cubicBezTo>
                  <a:cubicBezTo>
                    <a:pt x="2314" y="11203"/>
                    <a:pt x="2524" y="11077"/>
                    <a:pt x="2661" y="10989"/>
                  </a:cubicBezTo>
                  <a:cubicBezTo>
                    <a:pt x="2692" y="10972"/>
                    <a:pt x="2720" y="10954"/>
                    <a:pt x="2748" y="10933"/>
                  </a:cubicBezTo>
                  <a:cubicBezTo>
                    <a:pt x="2773" y="10902"/>
                    <a:pt x="2738" y="10744"/>
                    <a:pt x="2720" y="10657"/>
                  </a:cubicBezTo>
                  <a:cubicBezTo>
                    <a:pt x="2678" y="10468"/>
                    <a:pt x="2640" y="10289"/>
                    <a:pt x="2762" y="10233"/>
                  </a:cubicBezTo>
                  <a:cubicBezTo>
                    <a:pt x="2804" y="10216"/>
                    <a:pt x="2811" y="10170"/>
                    <a:pt x="2822" y="10079"/>
                  </a:cubicBezTo>
                  <a:cubicBezTo>
                    <a:pt x="2829" y="9995"/>
                    <a:pt x="2839" y="9900"/>
                    <a:pt x="2916" y="9844"/>
                  </a:cubicBezTo>
                  <a:cubicBezTo>
                    <a:pt x="2962" y="9809"/>
                    <a:pt x="2976" y="9746"/>
                    <a:pt x="2990" y="9638"/>
                  </a:cubicBezTo>
                  <a:cubicBezTo>
                    <a:pt x="3000" y="9561"/>
                    <a:pt x="3018" y="9487"/>
                    <a:pt x="3039" y="9417"/>
                  </a:cubicBezTo>
                  <a:cubicBezTo>
                    <a:pt x="3067" y="9337"/>
                    <a:pt x="3035" y="9281"/>
                    <a:pt x="2986" y="9200"/>
                  </a:cubicBezTo>
                  <a:cubicBezTo>
                    <a:pt x="2937" y="9130"/>
                    <a:pt x="2909" y="9046"/>
                    <a:pt x="2906" y="8962"/>
                  </a:cubicBezTo>
                  <a:cubicBezTo>
                    <a:pt x="2906" y="8910"/>
                    <a:pt x="2902" y="8861"/>
                    <a:pt x="2895" y="8808"/>
                  </a:cubicBezTo>
                  <a:cubicBezTo>
                    <a:pt x="2871" y="8682"/>
                    <a:pt x="2818" y="8560"/>
                    <a:pt x="2738" y="8458"/>
                  </a:cubicBezTo>
                  <a:cubicBezTo>
                    <a:pt x="2601" y="8280"/>
                    <a:pt x="2612" y="7979"/>
                    <a:pt x="2675" y="7845"/>
                  </a:cubicBezTo>
                  <a:cubicBezTo>
                    <a:pt x="2685" y="7828"/>
                    <a:pt x="2696" y="7810"/>
                    <a:pt x="2713" y="7793"/>
                  </a:cubicBezTo>
                  <a:cubicBezTo>
                    <a:pt x="2727" y="7779"/>
                    <a:pt x="2748" y="7768"/>
                    <a:pt x="2773" y="7761"/>
                  </a:cubicBezTo>
                  <a:cubicBezTo>
                    <a:pt x="2783" y="7730"/>
                    <a:pt x="2794" y="7695"/>
                    <a:pt x="2801" y="7660"/>
                  </a:cubicBezTo>
                  <a:cubicBezTo>
                    <a:pt x="2825" y="7541"/>
                    <a:pt x="2860" y="7376"/>
                    <a:pt x="3000" y="7338"/>
                  </a:cubicBezTo>
                  <a:cubicBezTo>
                    <a:pt x="3018" y="7334"/>
                    <a:pt x="3035" y="7324"/>
                    <a:pt x="3042" y="7306"/>
                  </a:cubicBezTo>
                  <a:cubicBezTo>
                    <a:pt x="3088" y="7226"/>
                    <a:pt x="3011" y="7016"/>
                    <a:pt x="2955" y="6865"/>
                  </a:cubicBezTo>
                  <a:cubicBezTo>
                    <a:pt x="2899" y="6704"/>
                    <a:pt x="2965" y="6645"/>
                    <a:pt x="3046" y="6610"/>
                  </a:cubicBezTo>
                  <a:cubicBezTo>
                    <a:pt x="3088" y="6592"/>
                    <a:pt x="3098" y="6585"/>
                    <a:pt x="3098" y="6547"/>
                  </a:cubicBezTo>
                  <a:cubicBezTo>
                    <a:pt x="3098" y="6344"/>
                    <a:pt x="3207" y="6074"/>
                    <a:pt x="3386" y="5994"/>
                  </a:cubicBezTo>
                  <a:cubicBezTo>
                    <a:pt x="3477" y="5955"/>
                    <a:pt x="3512" y="5752"/>
                    <a:pt x="3512" y="5594"/>
                  </a:cubicBezTo>
                  <a:cubicBezTo>
                    <a:pt x="3512" y="5482"/>
                    <a:pt x="3620" y="5423"/>
                    <a:pt x="3725" y="5367"/>
                  </a:cubicBezTo>
                  <a:cubicBezTo>
                    <a:pt x="3774" y="5342"/>
                    <a:pt x="3820" y="5314"/>
                    <a:pt x="3862" y="5283"/>
                  </a:cubicBezTo>
                  <a:cubicBezTo>
                    <a:pt x="3862" y="5279"/>
                    <a:pt x="3862" y="5279"/>
                    <a:pt x="3865" y="5279"/>
                  </a:cubicBezTo>
                  <a:cubicBezTo>
                    <a:pt x="3855" y="5251"/>
                    <a:pt x="3841" y="5223"/>
                    <a:pt x="3827" y="5202"/>
                  </a:cubicBezTo>
                  <a:cubicBezTo>
                    <a:pt x="3792" y="5146"/>
                    <a:pt x="3750" y="5083"/>
                    <a:pt x="3767" y="5013"/>
                  </a:cubicBezTo>
                  <a:cubicBezTo>
                    <a:pt x="3781" y="4968"/>
                    <a:pt x="3813" y="4933"/>
                    <a:pt x="3855" y="4912"/>
                  </a:cubicBezTo>
                  <a:cubicBezTo>
                    <a:pt x="3872" y="4905"/>
                    <a:pt x="3879" y="4884"/>
                    <a:pt x="3876" y="4859"/>
                  </a:cubicBezTo>
                  <a:cubicBezTo>
                    <a:pt x="3865" y="4786"/>
                    <a:pt x="3844" y="4712"/>
                    <a:pt x="3813" y="4646"/>
                  </a:cubicBezTo>
                  <a:cubicBezTo>
                    <a:pt x="3778" y="4548"/>
                    <a:pt x="3739" y="4457"/>
                    <a:pt x="3760" y="4387"/>
                  </a:cubicBezTo>
                  <a:cubicBezTo>
                    <a:pt x="3764" y="4366"/>
                    <a:pt x="3778" y="4345"/>
                    <a:pt x="3795" y="4331"/>
                  </a:cubicBezTo>
                  <a:cubicBezTo>
                    <a:pt x="3830" y="4303"/>
                    <a:pt x="3823" y="4240"/>
                    <a:pt x="3813" y="4145"/>
                  </a:cubicBezTo>
                  <a:cubicBezTo>
                    <a:pt x="3802" y="4089"/>
                    <a:pt x="3802" y="4033"/>
                    <a:pt x="3806" y="3977"/>
                  </a:cubicBezTo>
                  <a:cubicBezTo>
                    <a:pt x="3820" y="3879"/>
                    <a:pt x="3956" y="3785"/>
                    <a:pt x="4184" y="3644"/>
                  </a:cubicBezTo>
                  <a:cubicBezTo>
                    <a:pt x="4282" y="3581"/>
                    <a:pt x="4418" y="3497"/>
                    <a:pt x="4439" y="3459"/>
                  </a:cubicBezTo>
                  <a:cubicBezTo>
                    <a:pt x="4439" y="3455"/>
                    <a:pt x="4443" y="3452"/>
                    <a:pt x="4446" y="3448"/>
                  </a:cubicBezTo>
                  <a:lnTo>
                    <a:pt x="4446" y="3441"/>
                  </a:lnTo>
                  <a:lnTo>
                    <a:pt x="4450" y="3431"/>
                  </a:lnTo>
                  <a:lnTo>
                    <a:pt x="4453" y="3424"/>
                  </a:lnTo>
                  <a:lnTo>
                    <a:pt x="4457" y="3410"/>
                  </a:lnTo>
                  <a:lnTo>
                    <a:pt x="4460" y="3399"/>
                  </a:lnTo>
                  <a:lnTo>
                    <a:pt x="4464" y="3385"/>
                  </a:lnTo>
                  <a:lnTo>
                    <a:pt x="4467" y="3375"/>
                  </a:lnTo>
                  <a:lnTo>
                    <a:pt x="4471" y="3357"/>
                  </a:lnTo>
                  <a:lnTo>
                    <a:pt x="4474" y="3347"/>
                  </a:lnTo>
                  <a:cubicBezTo>
                    <a:pt x="4478" y="3336"/>
                    <a:pt x="4478" y="3326"/>
                    <a:pt x="4481" y="3315"/>
                  </a:cubicBezTo>
                  <a:lnTo>
                    <a:pt x="4481" y="3308"/>
                  </a:lnTo>
                  <a:lnTo>
                    <a:pt x="4488" y="3284"/>
                  </a:lnTo>
                  <a:lnTo>
                    <a:pt x="4488" y="3266"/>
                  </a:lnTo>
                  <a:lnTo>
                    <a:pt x="4495" y="3245"/>
                  </a:lnTo>
                  <a:lnTo>
                    <a:pt x="4495" y="3228"/>
                  </a:lnTo>
                  <a:lnTo>
                    <a:pt x="4499" y="3207"/>
                  </a:lnTo>
                  <a:lnTo>
                    <a:pt x="4502" y="3189"/>
                  </a:lnTo>
                  <a:lnTo>
                    <a:pt x="4506" y="3168"/>
                  </a:lnTo>
                  <a:lnTo>
                    <a:pt x="4509" y="3147"/>
                  </a:lnTo>
                  <a:lnTo>
                    <a:pt x="4513" y="3123"/>
                  </a:lnTo>
                  <a:lnTo>
                    <a:pt x="4516" y="3105"/>
                  </a:lnTo>
                  <a:cubicBezTo>
                    <a:pt x="4516" y="3091"/>
                    <a:pt x="4520" y="3074"/>
                    <a:pt x="4520" y="3060"/>
                  </a:cubicBezTo>
                  <a:lnTo>
                    <a:pt x="4523" y="3035"/>
                  </a:lnTo>
                  <a:lnTo>
                    <a:pt x="4527" y="3014"/>
                  </a:lnTo>
                  <a:lnTo>
                    <a:pt x="4527" y="2990"/>
                  </a:lnTo>
                  <a:lnTo>
                    <a:pt x="4527" y="2976"/>
                  </a:lnTo>
                  <a:lnTo>
                    <a:pt x="4513" y="2997"/>
                  </a:lnTo>
                  <a:lnTo>
                    <a:pt x="4478" y="3014"/>
                  </a:lnTo>
                  <a:cubicBezTo>
                    <a:pt x="4396" y="3053"/>
                    <a:pt x="4344" y="3063"/>
                    <a:pt x="4313" y="3063"/>
                  </a:cubicBezTo>
                  <a:cubicBezTo>
                    <a:pt x="4293" y="3063"/>
                    <a:pt x="4281" y="3059"/>
                    <a:pt x="4275" y="3056"/>
                  </a:cubicBezTo>
                  <a:lnTo>
                    <a:pt x="4268" y="3053"/>
                  </a:lnTo>
                  <a:lnTo>
                    <a:pt x="4257" y="3049"/>
                  </a:lnTo>
                  <a:cubicBezTo>
                    <a:pt x="4254" y="3046"/>
                    <a:pt x="4250" y="3046"/>
                    <a:pt x="4243" y="3042"/>
                  </a:cubicBezTo>
                  <a:lnTo>
                    <a:pt x="4236" y="3035"/>
                  </a:lnTo>
                  <a:cubicBezTo>
                    <a:pt x="4233" y="3032"/>
                    <a:pt x="4229" y="3028"/>
                    <a:pt x="4226" y="3025"/>
                  </a:cubicBezTo>
                  <a:lnTo>
                    <a:pt x="4219" y="3018"/>
                  </a:lnTo>
                  <a:cubicBezTo>
                    <a:pt x="4215" y="3011"/>
                    <a:pt x="4212" y="3004"/>
                    <a:pt x="4208" y="2997"/>
                  </a:cubicBezTo>
                  <a:cubicBezTo>
                    <a:pt x="4191" y="2948"/>
                    <a:pt x="4180" y="2899"/>
                    <a:pt x="4180" y="2850"/>
                  </a:cubicBezTo>
                  <a:cubicBezTo>
                    <a:pt x="4180" y="2829"/>
                    <a:pt x="4180" y="2804"/>
                    <a:pt x="4177" y="2783"/>
                  </a:cubicBezTo>
                  <a:cubicBezTo>
                    <a:pt x="4173" y="2654"/>
                    <a:pt x="4166" y="2493"/>
                    <a:pt x="4089" y="2419"/>
                  </a:cubicBezTo>
                  <a:cubicBezTo>
                    <a:pt x="4002" y="2332"/>
                    <a:pt x="3988" y="2209"/>
                    <a:pt x="3974" y="2104"/>
                  </a:cubicBezTo>
                  <a:cubicBezTo>
                    <a:pt x="3963" y="2006"/>
                    <a:pt x="3953" y="1947"/>
                    <a:pt x="3918" y="1929"/>
                  </a:cubicBezTo>
                  <a:cubicBezTo>
                    <a:pt x="3788" y="1873"/>
                    <a:pt x="3655" y="1691"/>
                    <a:pt x="3641" y="1547"/>
                  </a:cubicBezTo>
                  <a:cubicBezTo>
                    <a:pt x="3627" y="1477"/>
                    <a:pt x="3655" y="1407"/>
                    <a:pt x="3708" y="1365"/>
                  </a:cubicBezTo>
                  <a:cubicBezTo>
                    <a:pt x="3746" y="1337"/>
                    <a:pt x="3750" y="1292"/>
                    <a:pt x="3746" y="1218"/>
                  </a:cubicBezTo>
                  <a:cubicBezTo>
                    <a:pt x="3743" y="1141"/>
                    <a:pt x="3739" y="1047"/>
                    <a:pt x="3820" y="980"/>
                  </a:cubicBezTo>
                  <a:lnTo>
                    <a:pt x="3823" y="973"/>
                  </a:lnTo>
                  <a:cubicBezTo>
                    <a:pt x="3813" y="963"/>
                    <a:pt x="3792" y="949"/>
                    <a:pt x="3774" y="935"/>
                  </a:cubicBezTo>
                  <a:cubicBezTo>
                    <a:pt x="3704" y="886"/>
                    <a:pt x="3641" y="830"/>
                    <a:pt x="3585" y="763"/>
                  </a:cubicBezTo>
                  <a:cubicBezTo>
                    <a:pt x="3491" y="648"/>
                    <a:pt x="3505" y="518"/>
                    <a:pt x="3519" y="413"/>
                  </a:cubicBezTo>
                  <a:cubicBezTo>
                    <a:pt x="3529" y="301"/>
                    <a:pt x="3533" y="238"/>
                    <a:pt x="3466" y="189"/>
                  </a:cubicBezTo>
                  <a:cubicBezTo>
                    <a:pt x="3456" y="182"/>
                    <a:pt x="3442" y="172"/>
                    <a:pt x="3431" y="161"/>
                  </a:cubicBezTo>
                  <a:lnTo>
                    <a:pt x="3421" y="151"/>
                  </a:lnTo>
                  <a:lnTo>
                    <a:pt x="3403" y="133"/>
                  </a:lnTo>
                  <a:lnTo>
                    <a:pt x="3386" y="119"/>
                  </a:lnTo>
                  <a:lnTo>
                    <a:pt x="3375" y="109"/>
                  </a:lnTo>
                  <a:cubicBezTo>
                    <a:pt x="3347" y="74"/>
                    <a:pt x="3319" y="39"/>
                    <a:pt x="32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4" name="Google Shape;6271;p64">
              <a:extLst>
                <a:ext uri="{FF2B5EF4-FFF2-40B4-BE49-F238E27FC236}">
                  <a16:creationId xmlns:a16="http://schemas.microsoft.com/office/drawing/2014/main" id="{83506293-1F27-37E0-DABF-C4E77220E9EF}"/>
                </a:ext>
              </a:extLst>
            </p:cNvPr>
            <p:cNvSpPr/>
            <p:nvPr/>
          </p:nvSpPr>
          <p:spPr>
            <a:xfrm>
              <a:off x="1538223" y="2504929"/>
              <a:ext cx="4671" cy="855"/>
            </a:xfrm>
            <a:custGeom>
              <a:avLst/>
              <a:gdLst/>
              <a:ahLst/>
              <a:cxnLst/>
              <a:rect l="l" t="t" r="r" b="b"/>
              <a:pathLst>
                <a:path w="344" h="6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63" y="20"/>
                  </a:lnTo>
                  <a:cubicBezTo>
                    <a:pt x="101" y="31"/>
                    <a:pt x="198" y="62"/>
                    <a:pt x="265" y="62"/>
                  </a:cubicBezTo>
                  <a:cubicBezTo>
                    <a:pt x="285" y="62"/>
                    <a:pt x="303" y="59"/>
                    <a:pt x="315" y="52"/>
                  </a:cubicBezTo>
                  <a:cubicBezTo>
                    <a:pt x="333" y="45"/>
                    <a:pt x="340" y="31"/>
                    <a:pt x="343" y="13"/>
                  </a:cubicBezTo>
                  <a:lnTo>
                    <a:pt x="336" y="13"/>
                  </a:lnTo>
                  <a:lnTo>
                    <a:pt x="319" y="10"/>
                  </a:lnTo>
                  <a:lnTo>
                    <a:pt x="294" y="6"/>
                  </a:lnTo>
                  <a:lnTo>
                    <a:pt x="280" y="6"/>
                  </a:lnTo>
                  <a:lnTo>
                    <a:pt x="245" y="3"/>
                  </a:ln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5" name="Google Shape;6272;p64">
              <a:extLst>
                <a:ext uri="{FF2B5EF4-FFF2-40B4-BE49-F238E27FC236}">
                  <a16:creationId xmlns:a16="http://schemas.microsoft.com/office/drawing/2014/main" id="{5B204592-B6E2-5F92-93D0-E31ACC235439}"/>
                </a:ext>
              </a:extLst>
            </p:cNvPr>
            <p:cNvSpPr/>
            <p:nvPr/>
          </p:nvSpPr>
          <p:spPr>
            <a:xfrm>
              <a:off x="1490593" y="2404157"/>
              <a:ext cx="3476" cy="4236"/>
            </a:xfrm>
            <a:custGeom>
              <a:avLst/>
              <a:gdLst/>
              <a:ahLst/>
              <a:cxnLst/>
              <a:rect l="l" t="t" r="r" b="b"/>
              <a:pathLst>
                <a:path w="256" h="312" extrusionOk="0">
                  <a:moveTo>
                    <a:pt x="42" y="0"/>
                  </a:moveTo>
                  <a:cubicBezTo>
                    <a:pt x="32" y="0"/>
                    <a:pt x="21" y="2"/>
                    <a:pt x="11" y="7"/>
                  </a:cubicBezTo>
                  <a:lnTo>
                    <a:pt x="0" y="10"/>
                  </a:lnTo>
                  <a:cubicBezTo>
                    <a:pt x="25" y="52"/>
                    <a:pt x="56" y="87"/>
                    <a:pt x="88" y="122"/>
                  </a:cubicBezTo>
                  <a:cubicBezTo>
                    <a:pt x="144" y="178"/>
                    <a:pt x="189" y="241"/>
                    <a:pt x="221" y="311"/>
                  </a:cubicBezTo>
                  <a:lnTo>
                    <a:pt x="224" y="308"/>
                  </a:lnTo>
                  <a:cubicBezTo>
                    <a:pt x="256" y="262"/>
                    <a:pt x="235" y="168"/>
                    <a:pt x="179" y="91"/>
                  </a:cubicBezTo>
                  <a:cubicBezTo>
                    <a:pt x="144" y="44"/>
                    <a:pt x="93" y="0"/>
                    <a:pt x="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6" name="Google Shape;6273;p64">
              <a:extLst>
                <a:ext uri="{FF2B5EF4-FFF2-40B4-BE49-F238E27FC236}">
                  <a16:creationId xmlns:a16="http://schemas.microsoft.com/office/drawing/2014/main" id="{EAEE6A6A-32E2-236A-BBDF-2C59385A1B83}"/>
                </a:ext>
              </a:extLst>
            </p:cNvPr>
            <p:cNvSpPr/>
            <p:nvPr/>
          </p:nvSpPr>
          <p:spPr>
            <a:xfrm>
              <a:off x="1481225" y="2421916"/>
              <a:ext cx="163" cy="869"/>
            </a:xfrm>
            <a:custGeom>
              <a:avLst/>
              <a:gdLst/>
              <a:ahLst/>
              <a:cxnLst/>
              <a:rect l="l" t="t" r="r" b="b"/>
              <a:pathLst>
                <a:path w="12" h="64" extrusionOk="0">
                  <a:moveTo>
                    <a:pt x="11" y="1"/>
                  </a:moveTo>
                  <a:lnTo>
                    <a:pt x="11" y="1"/>
                  </a:lnTo>
                  <a:cubicBezTo>
                    <a:pt x="8" y="15"/>
                    <a:pt x="1" y="25"/>
                    <a:pt x="1" y="39"/>
                  </a:cubicBezTo>
                  <a:cubicBezTo>
                    <a:pt x="1" y="46"/>
                    <a:pt x="1" y="53"/>
                    <a:pt x="4" y="64"/>
                  </a:cubicBezTo>
                  <a:lnTo>
                    <a:pt x="4" y="57"/>
                  </a:lnTo>
                  <a:cubicBezTo>
                    <a:pt x="4" y="36"/>
                    <a:pt x="8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7" name="Google Shape;6274;p64">
              <a:extLst>
                <a:ext uri="{FF2B5EF4-FFF2-40B4-BE49-F238E27FC236}">
                  <a16:creationId xmlns:a16="http://schemas.microsoft.com/office/drawing/2014/main" id="{3B735FDC-EE1A-F361-FD5C-A15A16EF6ACB}"/>
                </a:ext>
              </a:extLst>
            </p:cNvPr>
            <p:cNvSpPr/>
            <p:nvPr/>
          </p:nvSpPr>
          <p:spPr>
            <a:xfrm>
              <a:off x="1543206" y="221900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8" name="Google Shape;6275;p64">
              <a:extLst>
                <a:ext uri="{FF2B5EF4-FFF2-40B4-BE49-F238E27FC236}">
                  <a16:creationId xmlns:a16="http://schemas.microsoft.com/office/drawing/2014/main" id="{9627D307-20F3-AFD6-ABC2-F16C8E276A47}"/>
                </a:ext>
              </a:extLst>
            </p:cNvPr>
            <p:cNvSpPr/>
            <p:nvPr/>
          </p:nvSpPr>
          <p:spPr>
            <a:xfrm>
              <a:off x="1542351" y="2224132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9" name="Google Shape;6276;p64">
              <a:extLst>
                <a:ext uri="{FF2B5EF4-FFF2-40B4-BE49-F238E27FC236}">
                  <a16:creationId xmlns:a16="http://schemas.microsoft.com/office/drawing/2014/main" id="{63D39266-3769-88D9-5107-EAD299CE1BFF}"/>
                </a:ext>
              </a:extLst>
            </p:cNvPr>
            <p:cNvSpPr/>
            <p:nvPr/>
          </p:nvSpPr>
          <p:spPr>
            <a:xfrm>
              <a:off x="1542446" y="2223617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0" name="Google Shape;6277;p64">
              <a:extLst>
                <a:ext uri="{FF2B5EF4-FFF2-40B4-BE49-F238E27FC236}">
                  <a16:creationId xmlns:a16="http://schemas.microsoft.com/office/drawing/2014/main" id="{E0222BC4-F4F2-3421-C06E-81B2619A88BF}"/>
                </a:ext>
              </a:extLst>
            </p:cNvPr>
            <p:cNvSpPr/>
            <p:nvPr/>
          </p:nvSpPr>
          <p:spPr>
            <a:xfrm>
              <a:off x="1542256" y="2224513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1" name="Google Shape;6278;p64">
              <a:extLst>
                <a:ext uri="{FF2B5EF4-FFF2-40B4-BE49-F238E27FC236}">
                  <a16:creationId xmlns:a16="http://schemas.microsoft.com/office/drawing/2014/main" id="{72CF72CD-6AC8-F5FA-46FC-971739E970A9}"/>
                </a:ext>
              </a:extLst>
            </p:cNvPr>
            <p:cNvSpPr/>
            <p:nvPr/>
          </p:nvSpPr>
          <p:spPr>
            <a:xfrm>
              <a:off x="1542066" y="2225137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4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2" name="Google Shape;6279;p64">
              <a:extLst>
                <a:ext uri="{FF2B5EF4-FFF2-40B4-BE49-F238E27FC236}">
                  <a16:creationId xmlns:a16="http://schemas.microsoft.com/office/drawing/2014/main" id="{3DB4DFA4-5F59-E0D4-0499-B6D450AF20E4}"/>
                </a:ext>
              </a:extLst>
            </p:cNvPr>
            <p:cNvSpPr/>
            <p:nvPr/>
          </p:nvSpPr>
          <p:spPr>
            <a:xfrm>
              <a:off x="1532466" y="2238158"/>
              <a:ext cx="1874" cy="6381"/>
            </a:xfrm>
            <a:custGeom>
              <a:avLst/>
              <a:gdLst/>
              <a:ahLst/>
              <a:cxnLst/>
              <a:rect l="l" t="t" r="r" b="b"/>
              <a:pathLst>
                <a:path w="138" h="470" extrusionOk="0">
                  <a:moveTo>
                    <a:pt x="74" y="256"/>
                  </a:moveTo>
                  <a:cubicBezTo>
                    <a:pt x="106" y="323"/>
                    <a:pt x="127" y="396"/>
                    <a:pt x="137" y="470"/>
                  </a:cubicBezTo>
                  <a:cubicBezTo>
                    <a:pt x="127" y="396"/>
                    <a:pt x="106" y="323"/>
                    <a:pt x="74" y="256"/>
                  </a:cubicBezTo>
                  <a:cubicBezTo>
                    <a:pt x="36" y="162"/>
                    <a:pt x="1" y="67"/>
                    <a:pt x="18" y="1"/>
                  </a:cubicBezTo>
                  <a:cubicBezTo>
                    <a:pt x="1" y="67"/>
                    <a:pt x="36" y="162"/>
                    <a:pt x="74" y="2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3" name="Google Shape;6280;p64">
              <a:extLst>
                <a:ext uri="{FF2B5EF4-FFF2-40B4-BE49-F238E27FC236}">
                  <a16:creationId xmlns:a16="http://schemas.microsoft.com/office/drawing/2014/main" id="{1A0C3A70-8680-20B6-7AAA-7CBE7C75BCA4}"/>
                </a:ext>
              </a:extLst>
            </p:cNvPr>
            <p:cNvSpPr/>
            <p:nvPr/>
          </p:nvSpPr>
          <p:spPr>
            <a:xfrm>
              <a:off x="1542161" y="2224893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4" name="Google Shape;6281;p64">
              <a:extLst>
                <a:ext uri="{FF2B5EF4-FFF2-40B4-BE49-F238E27FC236}">
                  <a16:creationId xmlns:a16="http://schemas.microsoft.com/office/drawing/2014/main" id="{3B656551-318B-F191-2933-86B4137FD327}"/>
                </a:ext>
              </a:extLst>
            </p:cNvPr>
            <p:cNvSpPr/>
            <p:nvPr/>
          </p:nvSpPr>
          <p:spPr>
            <a:xfrm>
              <a:off x="1543016" y="2220141"/>
              <a:ext cx="68" cy="584"/>
            </a:xfrm>
            <a:custGeom>
              <a:avLst/>
              <a:gdLst/>
              <a:ahLst/>
              <a:cxnLst/>
              <a:rect l="l" t="t" r="r" b="b"/>
              <a:pathLst>
                <a:path w="5" h="43" extrusionOk="0">
                  <a:moveTo>
                    <a:pt x="4" y="1"/>
                  </a:moveTo>
                  <a:cubicBezTo>
                    <a:pt x="4" y="15"/>
                    <a:pt x="1" y="29"/>
                    <a:pt x="1" y="43"/>
                  </a:cubicBezTo>
                  <a:cubicBezTo>
                    <a:pt x="1" y="29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5" name="Google Shape;6282;p64">
              <a:extLst>
                <a:ext uri="{FF2B5EF4-FFF2-40B4-BE49-F238E27FC236}">
                  <a16:creationId xmlns:a16="http://schemas.microsoft.com/office/drawing/2014/main" id="{D6291472-951F-D898-B120-009F650CC67D}"/>
                </a:ext>
              </a:extLst>
            </p:cNvPr>
            <p:cNvSpPr/>
            <p:nvPr/>
          </p:nvSpPr>
          <p:spPr>
            <a:xfrm>
              <a:off x="1531611" y="2504576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cubicBezTo>
                    <a:pt x="8" y="15"/>
                    <a:pt x="4" y="8"/>
                    <a:pt x="1" y="1"/>
                  </a:cubicBezTo>
                  <a:cubicBezTo>
                    <a:pt x="4" y="8"/>
                    <a:pt x="8" y="15"/>
                    <a:pt x="15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6" name="Google Shape;6283;p64">
              <a:extLst>
                <a:ext uri="{FF2B5EF4-FFF2-40B4-BE49-F238E27FC236}">
                  <a16:creationId xmlns:a16="http://schemas.microsoft.com/office/drawing/2014/main" id="{D386AA2E-E0D4-0FAB-9D3D-E5417B7EE461}"/>
                </a:ext>
              </a:extLst>
            </p:cNvPr>
            <p:cNvSpPr/>
            <p:nvPr/>
          </p:nvSpPr>
          <p:spPr>
            <a:xfrm>
              <a:off x="1508556" y="2474447"/>
              <a:ext cx="1059" cy="149"/>
            </a:xfrm>
            <a:custGeom>
              <a:avLst/>
              <a:gdLst/>
              <a:ahLst/>
              <a:cxnLst/>
              <a:rect l="l" t="t" r="r" b="b"/>
              <a:pathLst>
                <a:path w="78" h="11" extrusionOk="0">
                  <a:moveTo>
                    <a:pt x="78" y="7"/>
                  </a:moveTo>
                  <a:lnTo>
                    <a:pt x="78" y="7"/>
                  </a:lnTo>
                  <a:cubicBezTo>
                    <a:pt x="53" y="11"/>
                    <a:pt x="25" y="7"/>
                    <a:pt x="1" y="0"/>
                  </a:cubicBezTo>
                  <a:cubicBezTo>
                    <a:pt x="25" y="7"/>
                    <a:pt x="53" y="11"/>
                    <a:pt x="78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7" name="Google Shape;6284;p64">
              <a:extLst>
                <a:ext uri="{FF2B5EF4-FFF2-40B4-BE49-F238E27FC236}">
                  <a16:creationId xmlns:a16="http://schemas.microsoft.com/office/drawing/2014/main" id="{F8483C76-6DFE-E69E-DB8B-24B1BC3F0132}"/>
                </a:ext>
              </a:extLst>
            </p:cNvPr>
            <p:cNvSpPr/>
            <p:nvPr/>
          </p:nvSpPr>
          <p:spPr>
            <a:xfrm>
              <a:off x="1542921" y="2220955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8" name="Google Shape;6285;p64">
              <a:extLst>
                <a:ext uri="{FF2B5EF4-FFF2-40B4-BE49-F238E27FC236}">
                  <a16:creationId xmlns:a16="http://schemas.microsoft.com/office/drawing/2014/main" id="{D54DEC49-CF93-02A3-574B-771ADE08E165}"/>
                </a:ext>
              </a:extLst>
            </p:cNvPr>
            <p:cNvSpPr/>
            <p:nvPr/>
          </p:nvSpPr>
          <p:spPr>
            <a:xfrm>
              <a:off x="153299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9" name="Google Shape;6286;p64">
              <a:extLst>
                <a:ext uri="{FF2B5EF4-FFF2-40B4-BE49-F238E27FC236}">
                  <a16:creationId xmlns:a16="http://schemas.microsoft.com/office/drawing/2014/main" id="{4B384213-82D9-5CF6-5C22-5ABD656E3973}"/>
                </a:ext>
              </a:extLst>
            </p:cNvPr>
            <p:cNvSpPr/>
            <p:nvPr/>
          </p:nvSpPr>
          <p:spPr>
            <a:xfrm>
              <a:off x="1542826" y="2221566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lnTo>
                    <a:pt x="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0" name="Google Shape;6287;p64">
              <a:extLst>
                <a:ext uri="{FF2B5EF4-FFF2-40B4-BE49-F238E27FC236}">
                  <a16:creationId xmlns:a16="http://schemas.microsoft.com/office/drawing/2014/main" id="{4C5013AB-9C39-2891-1633-2CF98810596C}"/>
                </a:ext>
              </a:extLst>
            </p:cNvPr>
            <p:cNvSpPr/>
            <p:nvPr/>
          </p:nvSpPr>
          <p:spPr>
            <a:xfrm>
              <a:off x="1540830" y="2504861"/>
              <a:ext cx="638" cy="68"/>
            </a:xfrm>
            <a:custGeom>
              <a:avLst/>
              <a:gdLst/>
              <a:ahLst/>
              <a:cxnLst/>
              <a:rect l="l" t="t" r="r" b="b"/>
              <a:pathLst>
                <a:path w="47" h="5" extrusionOk="0">
                  <a:moveTo>
                    <a:pt x="1" y="1"/>
                  </a:moveTo>
                  <a:lnTo>
                    <a:pt x="46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1" name="Google Shape;6288;p64">
              <a:extLst>
                <a:ext uri="{FF2B5EF4-FFF2-40B4-BE49-F238E27FC236}">
                  <a16:creationId xmlns:a16="http://schemas.microsoft.com/office/drawing/2014/main" id="{91C8295A-35D8-8E8A-EE01-041FE25F8D3C}"/>
                </a:ext>
              </a:extLst>
            </p:cNvPr>
            <p:cNvSpPr/>
            <p:nvPr/>
          </p:nvSpPr>
          <p:spPr>
            <a:xfrm>
              <a:off x="1543111" y="2219530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2" name="Google Shape;6289;p64">
              <a:extLst>
                <a:ext uri="{FF2B5EF4-FFF2-40B4-BE49-F238E27FC236}">
                  <a16:creationId xmlns:a16="http://schemas.microsoft.com/office/drawing/2014/main" id="{208A6F47-FA3A-8805-99FA-70443327FE53}"/>
                </a:ext>
              </a:extLst>
            </p:cNvPr>
            <p:cNvSpPr/>
            <p:nvPr/>
          </p:nvSpPr>
          <p:spPr>
            <a:xfrm>
              <a:off x="1508516" y="2416173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0" y="77"/>
                  </a:moveTo>
                  <a:cubicBezTo>
                    <a:pt x="0" y="49"/>
                    <a:pt x="4" y="25"/>
                    <a:pt x="11" y="0"/>
                  </a:cubicBezTo>
                  <a:cubicBezTo>
                    <a:pt x="4" y="25"/>
                    <a:pt x="0" y="49"/>
                    <a:pt x="0" y="7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3" name="Google Shape;6290;p64">
              <a:extLst>
                <a:ext uri="{FF2B5EF4-FFF2-40B4-BE49-F238E27FC236}">
                  <a16:creationId xmlns:a16="http://schemas.microsoft.com/office/drawing/2014/main" id="{9980A017-5B75-1EFE-4ACF-720E7EC466B0}"/>
                </a:ext>
              </a:extLst>
            </p:cNvPr>
            <p:cNvSpPr/>
            <p:nvPr/>
          </p:nvSpPr>
          <p:spPr>
            <a:xfrm>
              <a:off x="1512738" y="240286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18"/>
                  </a:moveTo>
                  <a:lnTo>
                    <a:pt x="1" y="18"/>
                  </a:lnTo>
                  <a:cubicBezTo>
                    <a:pt x="4" y="11"/>
                    <a:pt x="4" y="7"/>
                    <a:pt x="4" y="0"/>
                  </a:cubicBezTo>
                  <a:cubicBezTo>
                    <a:pt x="4" y="7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4" name="Google Shape;6291;p64">
              <a:extLst>
                <a:ext uri="{FF2B5EF4-FFF2-40B4-BE49-F238E27FC236}">
                  <a16:creationId xmlns:a16="http://schemas.microsoft.com/office/drawing/2014/main" id="{EE0FF373-FE12-1DB1-C402-6FBD8910D8F5}"/>
                </a:ext>
              </a:extLst>
            </p:cNvPr>
            <p:cNvSpPr/>
            <p:nvPr/>
          </p:nvSpPr>
          <p:spPr>
            <a:xfrm>
              <a:off x="1507660" y="2400396"/>
              <a:ext cx="3910" cy="1724"/>
            </a:xfrm>
            <a:custGeom>
              <a:avLst/>
              <a:gdLst/>
              <a:ahLst/>
              <a:cxnLst/>
              <a:rect l="l" t="t" r="r" b="b"/>
              <a:pathLst>
                <a:path w="288" h="127" extrusionOk="0">
                  <a:moveTo>
                    <a:pt x="287" y="91"/>
                  </a:moveTo>
                  <a:cubicBezTo>
                    <a:pt x="168" y="126"/>
                    <a:pt x="56" y="91"/>
                    <a:pt x="0" y="0"/>
                  </a:cubicBezTo>
                  <a:cubicBezTo>
                    <a:pt x="56" y="91"/>
                    <a:pt x="168" y="126"/>
                    <a:pt x="287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5" name="Google Shape;6292;p64">
              <a:extLst>
                <a:ext uri="{FF2B5EF4-FFF2-40B4-BE49-F238E27FC236}">
                  <a16:creationId xmlns:a16="http://schemas.microsoft.com/office/drawing/2014/main" id="{F52992DE-4D86-87CE-688C-F71A91972DF4}"/>
                </a:ext>
              </a:extLst>
            </p:cNvPr>
            <p:cNvSpPr/>
            <p:nvPr/>
          </p:nvSpPr>
          <p:spPr>
            <a:xfrm>
              <a:off x="1542541" y="2223141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8" y="0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6" name="Google Shape;6293;p64">
              <a:extLst>
                <a:ext uri="{FF2B5EF4-FFF2-40B4-BE49-F238E27FC236}">
                  <a16:creationId xmlns:a16="http://schemas.microsoft.com/office/drawing/2014/main" id="{2B1DBB10-B72C-6DE8-DF58-B8C0768AFAA3}"/>
                </a:ext>
              </a:extLst>
            </p:cNvPr>
            <p:cNvSpPr/>
            <p:nvPr/>
          </p:nvSpPr>
          <p:spPr>
            <a:xfrm>
              <a:off x="1542785" y="222213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7" name="Google Shape;6294;p64">
              <a:extLst>
                <a:ext uri="{FF2B5EF4-FFF2-40B4-BE49-F238E27FC236}">
                  <a16:creationId xmlns:a16="http://schemas.microsoft.com/office/drawing/2014/main" id="{E2763AA8-1749-D6E2-96F0-DB5A2618E223}"/>
                </a:ext>
              </a:extLst>
            </p:cNvPr>
            <p:cNvSpPr/>
            <p:nvPr/>
          </p:nvSpPr>
          <p:spPr>
            <a:xfrm>
              <a:off x="1541590" y="25049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8" name="Google Shape;6295;p64">
              <a:extLst>
                <a:ext uri="{FF2B5EF4-FFF2-40B4-BE49-F238E27FC236}">
                  <a16:creationId xmlns:a16="http://schemas.microsoft.com/office/drawing/2014/main" id="{2DAB1AF7-63C0-FAB6-56F8-43E3AC9F5605}"/>
                </a:ext>
              </a:extLst>
            </p:cNvPr>
            <p:cNvSpPr/>
            <p:nvPr/>
          </p:nvSpPr>
          <p:spPr>
            <a:xfrm>
              <a:off x="1542636" y="2222666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9" name="Google Shape;6296;p64">
              <a:extLst>
                <a:ext uri="{FF2B5EF4-FFF2-40B4-BE49-F238E27FC236}">
                  <a16:creationId xmlns:a16="http://schemas.microsoft.com/office/drawing/2014/main" id="{6C16A0FE-12F3-9E21-CEC9-0EF32540D526}"/>
                </a:ext>
              </a:extLst>
            </p:cNvPr>
            <p:cNvSpPr/>
            <p:nvPr/>
          </p:nvSpPr>
          <p:spPr>
            <a:xfrm>
              <a:off x="1514978" y="2347728"/>
              <a:ext cx="204" cy="1195"/>
            </a:xfrm>
            <a:custGeom>
              <a:avLst/>
              <a:gdLst/>
              <a:ahLst/>
              <a:cxnLst/>
              <a:rect l="l" t="t" r="r" b="b"/>
              <a:pathLst>
                <a:path w="15" h="88" extrusionOk="0">
                  <a:moveTo>
                    <a:pt x="7" y="88"/>
                  </a:moveTo>
                  <a:cubicBezTo>
                    <a:pt x="14" y="60"/>
                    <a:pt x="14" y="28"/>
                    <a:pt x="0" y="0"/>
                  </a:cubicBezTo>
                  <a:cubicBezTo>
                    <a:pt x="14" y="28"/>
                    <a:pt x="14" y="60"/>
                    <a:pt x="7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0" name="Google Shape;6297;p64">
              <a:extLst>
                <a:ext uri="{FF2B5EF4-FFF2-40B4-BE49-F238E27FC236}">
                  <a16:creationId xmlns:a16="http://schemas.microsoft.com/office/drawing/2014/main" id="{8E0272DC-8B43-1920-7F07-4670A604D8BE}"/>
                </a:ext>
              </a:extLst>
            </p:cNvPr>
            <p:cNvSpPr/>
            <p:nvPr/>
          </p:nvSpPr>
          <p:spPr>
            <a:xfrm>
              <a:off x="1530620" y="2480530"/>
              <a:ext cx="1005" cy="24059"/>
            </a:xfrm>
            <a:custGeom>
              <a:avLst/>
              <a:gdLst/>
              <a:ahLst/>
              <a:cxnLst/>
              <a:rect l="l" t="t" r="r" b="b"/>
              <a:pathLst>
                <a:path w="74" h="1772" extrusionOk="0">
                  <a:moveTo>
                    <a:pt x="74" y="1772"/>
                  </a:moveTo>
                  <a:cubicBezTo>
                    <a:pt x="25" y="1681"/>
                    <a:pt x="0" y="1338"/>
                    <a:pt x="63" y="0"/>
                  </a:cubicBezTo>
                  <a:lnTo>
                    <a:pt x="63" y="0"/>
                  </a:lnTo>
                  <a:cubicBezTo>
                    <a:pt x="0" y="1338"/>
                    <a:pt x="25" y="1681"/>
                    <a:pt x="74" y="17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1" name="Google Shape;6298;p64">
              <a:extLst>
                <a:ext uri="{FF2B5EF4-FFF2-40B4-BE49-F238E27FC236}">
                  <a16:creationId xmlns:a16="http://schemas.microsoft.com/office/drawing/2014/main" id="{CC363E5B-957A-E44C-DBB7-688D7D8DFE8C}"/>
                </a:ext>
              </a:extLst>
            </p:cNvPr>
            <p:cNvSpPr/>
            <p:nvPr/>
          </p:nvSpPr>
          <p:spPr>
            <a:xfrm>
              <a:off x="1523858" y="247486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2" name="Google Shape;6299;p64">
              <a:extLst>
                <a:ext uri="{FF2B5EF4-FFF2-40B4-BE49-F238E27FC236}">
                  <a16:creationId xmlns:a16="http://schemas.microsoft.com/office/drawing/2014/main" id="{30FAACAE-014E-6AE3-4E87-E1B57D556632}"/>
                </a:ext>
              </a:extLst>
            </p:cNvPr>
            <p:cNvSpPr/>
            <p:nvPr/>
          </p:nvSpPr>
          <p:spPr>
            <a:xfrm>
              <a:off x="1525243" y="2475724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3" name="Google Shape;6300;p64">
              <a:extLst>
                <a:ext uri="{FF2B5EF4-FFF2-40B4-BE49-F238E27FC236}">
                  <a16:creationId xmlns:a16="http://schemas.microsoft.com/office/drawing/2014/main" id="{CDFF092D-8A67-092D-AA3A-BD26368CD645}"/>
                </a:ext>
              </a:extLst>
            </p:cNvPr>
            <p:cNvSpPr/>
            <p:nvPr/>
          </p:nvSpPr>
          <p:spPr>
            <a:xfrm>
              <a:off x="1524483" y="247524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4" name="Google Shape;6301;p64">
              <a:extLst>
                <a:ext uri="{FF2B5EF4-FFF2-40B4-BE49-F238E27FC236}">
                  <a16:creationId xmlns:a16="http://schemas.microsoft.com/office/drawing/2014/main" id="{6924968C-703A-5FB5-4179-68300EEFBD6A}"/>
                </a:ext>
              </a:extLst>
            </p:cNvPr>
            <p:cNvSpPr/>
            <p:nvPr/>
          </p:nvSpPr>
          <p:spPr>
            <a:xfrm>
              <a:off x="1523057" y="247448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5" name="Google Shape;6302;p64">
              <a:extLst>
                <a:ext uri="{FF2B5EF4-FFF2-40B4-BE49-F238E27FC236}">
                  <a16:creationId xmlns:a16="http://schemas.microsoft.com/office/drawing/2014/main" id="{4F988974-0C9F-FADE-CAD7-8AC647D6C30C}"/>
                </a:ext>
              </a:extLst>
            </p:cNvPr>
            <p:cNvSpPr/>
            <p:nvPr/>
          </p:nvSpPr>
          <p:spPr>
            <a:xfrm>
              <a:off x="1495386" y="2453008"/>
              <a:ext cx="1208" cy="2539"/>
            </a:xfrm>
            <a:custGeom>
              <a:avLst/>
              <a:gdLst/>
              <a:ahLst/>
              <a:cxnLst/>
              <a:rect l="l" t="t" r="r" b="b"/>
              <a:pathLst>
                <a:path w="89" h="187" extrusionOk="0">
                  <a:moveTo>
                    <a:pt x="1" y="0"/>
                  </a:moveTo>
                  <a:cubicBezTo>
                    <a:pt x="11" y="70"/>
                    <a:pt x="40" y="134"/>
                    <a:pt x="89" y="186"/>
                  </a:cubicBezTo>
                  <a:cubicBezTo>
                    <a:pt x="40" y="134"/>
                    <a:pt x="11" y="7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6" name="Google Shape;6303;p64">
              <a:extLst>
                <a:ext uri="{FF2B5EF4-FFF2-40B4-BE49-F238E27FC236}">
                  <a16:creationId xmlns:a16="http://schemas.microsoft.com/office/drawing/2014/main" id="{A6CE486D-9B05-248D-014E-69FEACD7E9B1}"/>
                </a:ext>
              </a:extLst>
            </p:cNvPr>
            <p:cNvSpPr/>
            <p:nvPr/>
          </p:nvSpPr>
          <p:spPr>
            <a:xfrm>
              <a:off x="1542215" y="2504956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7" name="Google Shape;6304;p64">
              <a:extLst>
                <a:ext uri="{FF2B5EF4-FFF2-40B4-BE49-F238E27FC236}">
                  <a16:creationId xmlns:a16="http://schemas.microsoft.com/office/drawing/2014/main" id="{9E6CCF43-C6A8-21D2-5435-F9F59AE833B2}"/>
                </a:ext>
              </a:extLst>
            </p:cNvPr>
            <p:cNvSpPr/>
            <p:nvPr/>
          </p:nvSpPr>
          <p:spPr>
            <a:xfrm>
              <a:off x="1531801" y="2504861"/>
              <a:ext cx="543" cy="258"/>
            </a:xfrm>
            <a:custGeom>
              <a:avLst/>
              <a:gdLst/>
              <a:ahLst/>
              <a:cxnLst/>
              <a:rect l="l" t="t" r="r" b="b"/>
              <a:pathLst>
                <a:path w="40" h="19" extrusionOk="0">
                  <a:moveTo>
                    <a:pt x="1" y="1"/>
                  </a:moveTo>
                  <a:cubicBezTo>
                    <a:pt x="11" y="11"/>
                    <a:pt x="25" y="15"/>
                    <a:pt x="39" y="18"/>
                  </a:cubicBezTo>
                  <a:cubicBezTo>
                    <a:pt x="25" y="15"/>
                    <a:pt x="11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8" name="Google Shape;6305;p64">
              <a:extLst>
                <a:ext uri="{FF2B5EF4-FFF2-40B4-BE49-F238E27FC236}">
                  <a16:creationId xmlns:a16="http://schemas.microsoft.com/office/drawing/2014/main" id="{81E6F31B-8C69-BD35-7899-B0718D6C9441}"/>
                </a:ext>
              </a:extLst>
            </p:cNvPr>
            <p:cNvSpPr/>
            <p:nvPr/>
          </p:nvSpPr>
          <p:spPr>
            <a:xfrm>
              <a:off x="153246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9" name="Google Shape;6306;p64">
              <a:extLst>
                <a:ext uri="{FF2B5EF4-FFF2-40B4-BE49-F238E27FC236}">
                  <a16:creationId xmlns:a16="http://schemas.microsoft.com/office/drawing/2014/main" id="{64ADB93C-ED68-4133-3FE8-70CFA77D0D5D}"/>
                </a:ext>
              </a:extLst>
            </p:cNvPr>
            <p:cNvSpPr/>
            <p:nvPr/>
          </p:nvSpPr>
          <p:spPr>
            <a:xfrm>
              <a:off x="1532656" y="250510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0" name="Google Shape;6307;p64">
              <a:extLst>
                <a:ext uri="{FF2B5EF4-FFF2-40B4-BE49-F238E27FC236}">
                  <a16:creationId xmlns:a16="http://schemas.microsoft.com/office/drawing/2014/main" id="{CFEB37FD-FAEB-4AA9-E81E-E9B01A839FB4}"/>
                </a:ext>
              </a:extLst>
            </p:cNvPr>
            <p:cNvSpPr/>
            <p:nvPr/>
          </p:nvSpPr>
          <p:spPr>
            <a:xfrm>
              <a:off x="1542785" y="250510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1" name="Google Shape;6308;p64">
              <a:extLst>
                <a:ext uri="{FF2B5EF4-FFF2-40B4-BE49-F238E27FC236}">
                  <a16:creationId xmlns:a16="http://schemas.microsoft.com/office/drawing/2014/main" id="{1021717D-9209-0D5D-AB0C-8BB8D3829E4A}"/>
                </a:ext>
              </a:extLst>
            </p:cNvPr>
            <p:cNvSpPr/>
            <p:nvPr/>
          </p:nvSpPr>
          <p:spPr>
            <a:xfrm>
              <a:off x="1522297" y="2306412"/>
              <a:ext cx="625" cy="3014"/>
            </a:xfrm>
            <a:custGeom>
              <a:avLst/>
              <a:gdLst/>
              <a:ahLst/>
              <a:cxnLst/>
              <a:rect l="l" t="t" r="r" b="b"/>
              <a:pathLst>
                <a:path w="46" h="222" extrusionOk="0">
                  <a:moveTo>
                    <a:pt x="46" y="1"/>
                  </a:moveTo>
                  <a:cubicBezTo>
                    <a:pt x="25" y="71"/>
                    <a:pt x="7" y="144"/>
                    <a:pt x="0" y="221"/>
                  </a:cubicBezTo>
                  <a:cubicBezTo>
                    <a:pt x="7" y="144"/>
                    <a:pt x="25" y="71"/>
                    <a:pt x="4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2" name="Google Shape;6309;p64">
              <a:extLst>
                <a:ext uri="{FF2B5EF4-FFF2-40B4-BE49-F238E27FC236}">
                  <a16:creationId xmlns:a16="http://schemas.microsoft.com/office/drawing/2014/main" id="{20D425B2-2906-F7D3-C7CA-652E52882AC0}"/>
                </a:ext>
              </a:extLst>
            </p:cNvPr>
            <p:cNvSpPr/>
            <p:nvPr/>
          </p:nvSpPr>
          <p:spPr>
            <a:xfrm>
              <a:off x="1541930" y="222536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"/>
                  </a:moveTo>
                  <a:cubicBezTo>
                    <a:pt x="4" y="4"/>
                    <a:pt x="4" y="11"/>
                    <a:pt x="0" y="15"/>
                  </a:cubicBezTo>
                  <a:cubicBezTo>
                    <a:pt x="4" y="11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3" name="Google Shape;6310;p64">
              <a:extLst>
                <a:ext uri="{FF2B5EF4-FFF2-40B4-BE49-F238E27FC236}">
                  <a16:creationId xmlns:a16="http://schemas.microsoft.com/office/drawing/2014/main" id="{D358F9A1-A2CD-C717-65B4-BB00D2D1A930}"/>
                </a:ext>
              </a:extLst>
            </p:cNvPr>
            <p:cNvSpPr/>
            <p:nvPr/>
          </p:nvSpPr>
          <p:spPr>
            <a:xfrm>
              <a:off x="1538223" y="2504834"/>
              <a:ext cx="2620" cy="41"/>
            </a:xfrm>
            <a:custGeom>
              <a:avLst/>
              <a:gdLst/>
              <a:ahLst/>
              <a:cxnLst/>
              <a:rect l="l" t="t" r="r" b="b"/>
              <a:pathLst>
                <a:path w="193" h="3" extrusionOk="0">
                  <a:moveTo>
                    <a:pt x="97" y="0"/>
                  </a:moveTo>
                  <a:cubicBezTo>
                    <a:pt x="64" y="0"/>
                    <a:pt x="32" y="1"/>
                    <a:pt x="0" y="3"/>
                  </a:cubicBezTo>
                  <a:lnTo>
                    <a:pt x="193" y="3"/>
                  </a:lnTo>
                  <a:cubicBezTo>
                    <a:pt x="161" y="1"/>
                    <a:pt x="129" y="0"/>
                    <a:pt x="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4" name="Google Shape;6311;p64">
              <a:extLst>
                <a:ext uri="{FF2B5EF4-FFF2-40B4-BE49-F238E27FC236}">
                  <a16:creationId xmlns:a16="http://schemas.microsoft.com/office/drawing/2014/main" id="{42AD31EC-B8C5-33AE-3B5E-180296E16A6F}"/>
                </a:ext>
              </a:extLst>
            </p:cNvPr>
            <p:cNvSpPr/>
            <p:nvPr/>
          </p:nvSpPr>
          <p:spPr>
            <a:xfrm>
              <a:off x="1518495" y="2283982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60" y="0"/>
                  </a:moveTo>
                  <a:cubicBezTo>
                    <a:pt x="39" y="4"/>
                    <a:pt x="14" y="14"/>
                    <a:pt x="0" y="32"/>
                  </a:cubicBezTo>
                  <a:cubicBezTo>
                    <a:pt x="14" y="14"/>
                    <a:pt x="39" y="4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5" name="Google Shape;6312;p64">
              <a:extLst>
                <a:ext uri="{FF2B5EF4-FFF2-40B4-BE49-F238E27FC236}">
                  <a16:creationId xmlns:a16="http://schemas.microsoft.com/office/drawing/2014/main" id="{3FA9A454-1973-8D10-17F2-430A6D4B730A}"/>
                </a:ext>
              </a:extLst>
            </p:cNvPr>
            <p:cNvSpPr/>
            <p:nvPr/>
          </p:nvSpPr>
          <p:spPr>
            <a:xfrm>
              <a:off x="1578290" y="2191723"/>
              <a:ext cx="61669" cy="63298"/>
            </a:xfrm>
            <a:custGeom>
              <a:avLst/>
              <a:gdLst/>
              <a:ahLst/>
              <a:cxnLst/>
              <a:rect l="l" t="t" r="r" b="b"/>
              <a:pathLst>
                <a:path w="4542" h="4662" extrusionOk="0">
                  <a:moveTo>
                    <a:pt x="1803" y="0"/>
                  </a:moveTo>
                  <a:cubicBezTo>
                    <a:pt x="1628" y="0"/>
                    <a:pt x="1453" y="0"/>
                    <a:pt x="1334" y="60"/>
                  </a:cubicBezTo>
                  <a:cubicBezTo>
                    <a:pt x="1250" y="105"/>
                    <a:pt x="1142" y="105"/>
                    <a:pt x="1030" y="105"/>
                  </a:cubicBezTo>
                  <a:cubicBezTo>
                    <a:pt x="900" y="105"/>
                    <a:pt x="771" y="105"/>
                    <a:pt x="680" y="168"/>
                  </a:cubicBezTo>
                  <a:cubicBezTo>
                    <a:pt x="473" y="305"/>
                    <a:pt x="277" y="560"/>
                    <a:pt x="284" y="623"/>
                  </a:cubicBezTo>
                  <a:cubicBezTo>
                    <a:pt x="291" y="683"/>
                    <a:pt x="249" y="1478"/>
                    <a:pt x="77" y="1534"/>
                  </a:cubicBezTo>
                  <a:cubicBezTo>
                    <a:pt x="74" y="1537"/>
                    <a:pt x="67" y="1537"/>
                    <a:pt x="60" y="1541"/>
                  </a:cubicBezTo>
                  <a:lnTo>
                    <a:pt x="0" y="1541"/>
                  </a:lnTo>
                  <a:lnTo>
                    <a:pt x="11" y="1555"/>
                  </a:lnTo>
                  <a:lnTo>
                    <a:pt x="25" y="1572"/>
                  </a:lnTo>
                  <a:lnTo>
                    <a:pt x="49" y="1604"/>
                  </a:lnTo>
                  <a:lnTo>
                    <a:pt x="60" y="1618"/>
                  </a:lnTo>
                  <a:lnTo>
                    <a:pt x="102" y="1667"/>
                  </a:lnTo>
                  <a:lnTo>
                    <a:pt x="144" y="1716"/>
                  </a:lnTo>
                  <a:lnTo>
                    <a:pt x="158" y="1730"/>
                  </a:lnTo>
                  <a:lnTo>
                    <a:pt x="190" y="1768"/>
                  </a:lnTo>
                  <a:lnTo>
                    <a:pt x="207" y="1786"/>
                  </a:lnTo>
                  <a:lnTo>
                    <a:pt x="239" y="1817"/>
                  </a:lnTo>
                  <a:lnTo>
                    <a:pt x="256" y="1835"/>
                  </a:lnTo>
                  <a:lnTo>
                    <a:pt x="291" y="1870"/>
                  </a:lnTo>
                  <a:lnTo>
                    <a:pt x="305" y="1887"/>
                  </a:lnTo>
                  <a:lnTo>
                    <a:pt x="344" y="1926"/>
                  </a:lnTo>
                  <a:lnTo>
                    <a:pt x="354" y="1936"/>
                  </a:lnTo>
                  <a:lnTo>
                    <a:pt x="407" y="1982"/>
                  </a:lnTo>
                  <a:lnTo>
                    <a:pt x="417" y="1992"/>
                  </a:lnTo>
                  <a:lnTo>
                    <a:pt x="456" y="2027"/>
                  </a:lnTo>
                  <a:lnTo>
                    <a:pt x="473" y="2041"/>
                  </a:lnTo>
                  <a:lnTo>
                    <a:pt x="505" y="2069"/>
                  </a:lnTo>
                  <a:lnTo>
                    <a:pt x="526" y="2083"/>
                  </a:lnTo>
                  <a:lnTo>
                    <a:pt x="554" y="2108"/>
                  </a:lnTo>
                  <a:lnTo>
                    <a:pt x="571" y="2122"/>
                  </a:lnTo>
                  <a:lnTo>
                    <a:pt x="606" y="2146"/>
                  </a:lnTo>
                  <a:lnTo>
                    <a:pt x="620" y="2157"/>
                  </a:lnTo>
                  <a:cubicBezTo>
                    <a:pt x="634" y="2167"/>
                    <a:pt x="648" y="2174"/>
                    <a:pt x="662" y="2185"/>
                  </a:cubicBezTo>
                  <a:cubicBezTo>
                    <a:pt x="757" y="2241"/>
                    <a:pt x="841" y="2307"/>
                    <a:pt x="914" y="2388"/>
                  </a:cubicBezTo>
                  <a:cubicBezTo>
                    <a:pt x="1002" y="2475"/>
                    <a:pt x="1061" y="2535"/>
                    <a:pt x="1243" y="2552"/>
                  </a:cubicBezTo>
                  <a:cubicBezTo>
                    <a:pt x="1618" y="2591"/>
                    <a:pt x="1789" y="2752"/>
                    <a:pt x="1894" y="2889"/>
                  </a:cubicBezTo>
                  <a:cubicBezTo>
                    <a:pt x="1943" y="2952"/>
                    <a:pt x="2220" y="3064"/>
                    <a:pt x="2420" y="3144"/>
                  </a:cubicBezTo>
                  <a:cubicBezTo>
                    <a:pt x="2745" y="3277"/>
                    <a:pt x="2882" y="3337"/>
                    <a:pt x="2920" y="3407"/>
                  </a:cubicBezTo>
                  <a:cubicBezTo>
                    <a:pt x="2973" y="3498"/>
                    <a:pt x="2885" y="3603"/>
                    <a:pt x="2763" y="3743"/>
                  </a:cubicBezTo>
                  <a:cubicBezTo>
                    <a:pt x="2647" y="3872"/>
                    <a:pt x="2504" y="4040"/>
                    <a:pt x="2504" y="4180"/>
                  </a:cubicBezTo>
                  <a:cubicBezTo>
                    <a:pt x="2504" y="4397"/>
                    <a:pt x="2409" y="4471"/>
                    <a:pt x="2350" y="4516"/>
                  </a:cubicBezTo>
                  <a:lnTo>
                    <a:pt x="2336" y="4527"/>
                  </a:lnTo>
                  <a:cubicBezTo>
                    <a:pt x="2388" y="4534"/>
                    <a:pt x="2437" y="4537"/>
                    <a:pt x="2486" y="4541"/>
                  </a:cubicBezTo>
                  <a:cubicBezTo>
                    <a:pt x="2605" y="4544"/>
                    <a:pt x="2724" y="4551"/>
                    <a:pt x="2801" y="4600"/>
                  </a:cubicBezTo>
                  <a:cubicBezTo>
                    <a:pt x="2826" y="4614"/>
                    <a:pt x="2857" y="4618"/>
                    <a:pt x="2885" y="4618"/>
                  </a:cubicBezTo>
                  <a:cubicBezTo>
                    <a:pt x="2924" y="4618"/>
                    <a:pt x="2959" y="4614"/>
                    <a:pt x="2997" y="4611"/>
                  </a:cubicBezTo>
                  <a:lnTo>
                    <a:pt x="3050" y="4604"/>
                  </a:lnTo>
                  <a:lnTo>
                    <a:pt x="3064" y="4604"/>
                  </a:lnTo>
                  <a:cubicBezTo>
                    <a:pt x="3085" y="4604"/>
                    <a:pt x="3106" y="4600"/>
                    <a:pt x="3123" y="4600"/>
                  </a:cubicBezTo>
                  <a:lnTo>
                    <a:pt x="3162" y="4600"/>
                  </a:lnTo>
                  <a:cubicBezTo>
                    <a:pt x="3176" y="4600"/>
                    <a:pt x="3190" y="4600"/>
                    <a:pt x="3200" y="4604"/>
                  </a:cubicBezTo>
                  <a:cubicBezTo>
                    <a:pt x="3214" y="4607"/>
                    <a:pt x="3225" y="4611"/>
                    <a:pt x="3239" y="4614"/>
                  </a:cubicBezTo>
                  <a:lnTo>
                    <a:pt x="3246" y="4614"/>
                  </a:lnTo>
                  <a:cubicBezTo>
                    <a:pt x="3256" y="4618"/>
                    <a:pt x="3270" y="4621"/>
                    <a:pt x="3281" y="4625"/>
                  </a:cubicBezTo>
                  <a:lnTo>
                    <a:pt x="3288" y="4628"/>
                  </a:lnTo>
                  <a:cubicBezTo>
                    <a:pt x="3298" y="4632"/>
                    <a:pt x="3312" y="4639"/>
                    <a:pt x="3323" y="4646"/>
                  </a:cubicBezTo>
                  <a:cubicBezTo>
                    <a:pt x="3341" y="4657"/>
                    <a:pt x="3360" y="4662"/>
                    <a:pt x="3380" y="4662"/>
                  </a:cubicBezTo>
                  <a:cubicBezTo>
                    <a:pt x="3425" y="4662"/>
                    <a:pt x="3477" y="4638"/>
                    <a:pt x="3547" y="4604"/>
                  </a:cubicBezTo>
                  <a:cubicBezTo>
                    <a:pt x="3611" y="4569"/>
                    <a:pt x="3675" y="4537"/>
                    <a:pt x="3741" y="4537"/>
                  </a:cubicBezTo>
                  <a:cubicBezTo>
                    <a:pt x="3754" y="4537"/>
                    <a:pt x="3768" y="4538"/>
                    <a:pt x="3781" y="4541"/>
                  </a:cubicBezTo>
                  <a:cubicBezTo>
                    <a:pt x="3784" y="4541"/>
                    <a:pt x="3786" y="4542"/>
                    <a:pt x="3788" y="4542"/>
                  </a:cubicBezTo>
                  <a:cubicBezTo>
                    <a:pt x="3821" y="4542"/>
                    <a:pt x="3873" y="4499"/>
                    <a:pt x="3921" y="4457"/>
                  </a:cubicBezTo>
                  <a:cubicBezTo>
                    <a:pt x="3988" y="4401"/>
                    <a:pt x="4065" y="4334"/>
                    <a:pt x="4159" y="4327"/>
                  </a:cubicBezTo>
                  <a:lnTo>
                    <a:pt x="4198" y="4327"/>
                  </a:lnTo>
                  <a:cubicBezTo>
                    <a:pt x="4208" y="4324"/>
                    <a:pt x="4219" y="4317"/>
                    <a:pt x="4226" y="4310"/>
                  </a:cubicBezTo>
                  <a:cubicBezTo>
                    <a:pt x="4338" y="4191"/>
                    <a:pt x="4433" y="3778"/>
                    <a:pt x="4408" y="3599"/>
                  </a:cubicBezTo>
                  <a:lnTo>
                    <a:pt x="4401" y="3599"/>
                  </a:lnTo>
                  <a:lnTo>
                    <a:pt x="4401" y="3529"/>
                  </a:lnTo>
                  <a:lnTo>
                    <a:pt x="4401" y="3470"/>
                  </a:lnTo>
                  <a:lnTo>
                    <a:pt x="4405" y="3470"/>
                  </a:lnTo>
                  <a:cubicBezTo>
                    <a:pt x="4415" y="3382"/>
                    <a:pt x="4436" y="3281"/>
                    <a:pt x="4461" y="3169"/>
                  </a:cubicBezTo>
                  <a:cubicBezTo>
                    <a:pt x="4492" y="3011"/>
                    <a:pt x="4541" y="2766"/>
                    <a:pt x="4520" y="2661"/>
                  </a:cubicBezTo>
                  <a:cubicBezTo>
                    <a:pt x="4517" y="2640"/>
                    <a:pt x="4506" y="2622"/>
                    <a:pt x="4489" y="2612"/>
                  </a:cubicBezTo>
                  <a:cubicBezTo>
                    <a:pt x="4464" y="2598"/>
                    <a:pt x="4436" y="2591"/>
                    <a:pt x="4408" y="2591"/>
                  </a:cubicBezTo>
                  <a:cubicBezTo>
                    <a:pt x="4324" y="2591"/>
                    <a:pt x="4243" y="2636"/>
                    <a:pt x="4180" y="2671"/>
                  </a:cubicBezTo>
                  <a:cubicBezTo>
                    <a:pt x="4145" y="2696"/>
                    <a:pt x="4103" y="2713"/>
                    <a:pt x="4058" y="2717"/>
                  </a:cubicBezTo>
                  <a:cubicBezTo>
                    <a:pt x="4002" y="2717"/>
                    <a:pt x="3953" y="2675"/>
                    <a:pt x="3862" y="2440"/>
                  </a:cubicBezTo>
                  <a:cubicBezTo>
                    <a:pt x="3806" y="2307"/>
                    <a:pt x="3757" y="2150"/>
                    <a:pt x="3732" y="2062"/>
                  </a:cubicBezTo>
                  <a:cubicBezTo>
                    <a:pt x="3690" y="1908"/>
                    <a:pt x="3557" y="1674"/>
                    <a:pt x="3470" y="1642"/>
                  </a:cubicBezTo>
                  <a:cubicBezTo>
                    <a:pt x="3465" y="1640"/>
                    <a:pt x="3461" y="1640"/>
                    <a:pt x="3458" y="1640"/>
                  </a:cubicBezTo>
                  <a:cubicBezTo>
                    <a:pt x="3456" y="1640"/>
                    <a:pt x="3454" y="1640"/>
                    <a:pt x="3452" y="1642"/>
                  </a:cubicBezTo>
                  <a:cubicBezTo>
                    <a:pt x="3418" y="1668"/>
                    <a:pt x="3377" y="1682"/>
                    <a:pt x="3335" y="1682"/>
                  </a:cubicBezTo>
                  <a:cubicBezTo>
                    <a:pt x="3305" y="1682"/>
                    <a:pt x="3274" y="1675"/>
                    <a:pt x="3246" y="1660"/>
                  </a:cubicBezTo>
                  <a:cubicBezTo>
                    <a:pt x="3148" y="1621"/>
                    <a:pt x="3046" y="1604"/>
                    <a:pt x="2941" y="1604"/>
                  </a:cubicBezTo>
                  <a:cubicBezTo>
                    <a:pt x="2756" y="1593"/>
                    <a:pt x="2647" y="1576"/>
                    <a:pt x="2591" y="1499"/>
                  </a:cubicBezTo>
                  <a:cubicBezTo>
                    <a:pt x="2525" y="1415"/>
                    <a:pt x="2553" y="1296"/>
                    <a:pt x="2602" y="1082"/>
                  </a:cubicBezTo>
                  <a:lnTo>
                    <a:pt x="2602" y="1079"/>
                  </a:lnTo>
                  <a:cubicBezTo>
                    <a:pt x="2640" y="907"/>
                    <a:pt x="2574" y="767"/>
                    <a:pt x="2518" y="655"/>
                  </a:cubicBezTo>
                  <a:cubicBezTo>
                    <a:pt x="2472" y="553"/>
                    <a:pt x="2413" y="431"/>
                    <a:pt x="2535" y="364"/>
                  </a:cubicBezTo>
                  <a:cubicBezTo>
                    <a:pt x="2546" y="357"/>
                    <a:pt x="2560" y="347"/>
                    <a:pt x="2570" y="336"/>
                  </a:cubicBezTo>
                  <a:cubicBezTo>
                    <a:pt x="2574" y="333"/>
                    <a:pt x="2577" y="329"/>
                    <a:pt x="2577" y="326"/>
                  </a:cubicBezTo>
                  <a:cubicBezTo>
                    <a:pt x="2577" y="322"/>
                    <a:pt x="2577" y="322"/>
                    <a:pt x="2577" y="319"/>
                  </a:cubicBezTo>
                  <a:lnTo>
                    <a:pt x="2577" y="315"/>
                  </a:lnTo>
                  <a:cubicBezTo>
                    <a:pt x="2577" y="315"/>
                    <a:pt x="2577" y="312"/>
                    <a:pt x="2577" y="312"/>
                  </a:cubicBezTo>
                  <a:lnTo>
                    <a:pt x="2577" y="308"/>
                  </a:lnTo>
                  <a:lnTo>
                    <a:pt x="2577" y="298"/>
                  </a:lnTo>
                  <a:lnTo>
                    <a:pt x="2577" y="294"/>
                  </a:lnTo>
                  <a:lnTo>
                    <a:pt x="2574" y="284"/>
                  </a:lnTo>
                  <a:lnTo>
                    <a:pt x="2570" y="277"/>
                  </a:lnTo>
                  <a:lnTo>
                    <a:pt x="2563" y="263"/>
                  </a:lnTo>
                  <a:lnTo>
                    <a:pt x="2560" y="259"/>
                  </a:lnTo>
                  <a:cubicBezTo>
                    <a:pt x="2556" y="252"/>
                    <a:pt x="2553" y="245"/>
                    <a:pt x="2546" y="235"/>
                  </a:cubicBezTo>
                  <a:lnTo>
                    <a:pt x="2542" y="231"/>
                  </a:lnTo>
                  <a:lnTo>
                    <a:pt x="2532" y="210"/>
                  </a:lnTo>
                  <a:cubicBezTo>
                    <a:pt x="2518" y="217"/>
                    <a:pt x="2507" y="221"/>
                    <a:pt x="2493" y="224"/>
                  </a:cubicBezTo>
                  <a:lnTo>
                    <a:pt x="2486" y="224"/>
                  </a:lnTo>
                  <a:cubicBezTo>
                    <a:pt x="2476" y="228"/>
                    <a:pt x="2465" y="228"/>
                    <a:pt x="2455" y="228"/>
                  </a:cubicBezTo>
                  <a:cubicBezTo>
                    <a:pt x="2378" y="228"/>
                    <a:pt x="2304" y="179"/>
                    <a:pt x="2230" y="126"/>
                  </a:cubicBezTo>
                  <a:cubicBezTo>
                    <a:pt x="2143" y="67"/>
                    <a:pt x="2045" y="0"/>
                    <a:pt x="193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6" name="Google Shape;6313;p64">
              <a:extLst>
                <a:ext uri="{FF2B5EF4-FFF2-40B4-BE49-F238E27FC236}">
                  <a16:creationId xmlns:a16="http://schemas.microsoft.com/office/drawing/2014/main" id="{F0C812DB-0A17-CD45-9BBB-5A77066C8121}"/>
                </a:ext>
              </a:extLst>
            </p:cNvPr>
            <p:cNvSpPr/>
            <p:nvPr/>
          </p:nvSpPr>
          <p:spPr>
            <a:xfrm>
              <a:off x="1613184" y="2195620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7" name="Google Shape;6314;p64">
              <a:extLst>
                <a:ext uri="{FF2B5EF4-FFF2-40B4-BE49-F238E27FC236}">
                  <a16:creationId xmlns:a16="http://schemas.microsoft.com/office/drawing/2014/main" id="{1B274C07-56B9-33CE-04CD-3EED47C02A18}"/>
                </a:ext>
              </a:extLst>
            </p:cNvPr>
            <p:cNvSpPr/>
            <p:nvPr/>
          </p:nvSpPr>
          <p:spPr>
            <a:xfrm>
              <a:off x="1612804" y="2194954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0"/>
                  </a:moveTo>
                  <a:cubicBezTo>
                    <a:pt x="7" y="11"/>
                    <a:pt x="11" y="18"/>
                    <a:pt x="14" y="25"/>
                  </a:cubicBezTo>
                  <a:cubicBezTo>
                    <a:pt x="11" y="18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8" name="Google Shape;6315;p64">
              <a:extLst>
                <a:ext uri="{FF2B5EF4-FFF2-40B4-BE49-F238E27FC236}">
                  <a16:creationId xmlns:a16="http://schemas.microsoft.com/office/drawing/2014/main" id="{3622EB28-A874-8DC6-261D-E0EC9ADB50A5}"/>
                </a:ext>
              </a:extLst>
            </p:cNvPr>
            <p:cNvSpPr/>
            <p:nvPr/>
          </p:nvSpPr>
          <p:spPr>
            <a:xfrm>
              <a:off x="1613035" y="2195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0"/>
                  </a:moveTo>
                  <a:lnTo>
                    <a:pt x="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9" name="Google Shape;6316;p64">
              <a:extLst>
                <a:ext uri="{FF2B5EF4-FFF2-40B4-BE49-F238E27FC236}">
                  <a16:creationId xmlns:a16="http://schemas.microsoft.com/office/drawing/2014/main" id="{6E210E63-0BCA-880A-A660-3BC7AA1D2AA5}"/>
                </a:ext>
              </a:extLst>
            </p:cNvPr>
            <p:cNvSpPr/>
            <p:nvPr/>
          </p:nvSpPr>
          <p:spPr>
            <a:xfrm>
              <a:off x="1638086" y="2239733"/>
              <a:ext cx="109" cy="910"/>
            </a:xfrm>
            <a:custGeom>
              <a:avLst/>
              <a:gdLst/>
              <a:ahLst/>
              <a:cxnLst/>
              <a:rect l="l" t="t" r="r" b="b"/>
              <a:pathLst>
                <a:path w="8" h="67" extrusionOk="0">
                  <a:moveTo>
                    <a:pt x="1" y="0"/>
                  </a:moveTo>
                  <a:lnTo>
                    <a:pt x="1" y="67"/>
                  </a:lnTo>
                  <a:lnTo>
                    <a:pt x="8" y="67"/>
                  </a:lnTo>
                  <a:cubicBezTo>
                    <a:pt x="4" y="53"/>
                    <a:pt x="4" y="42"/>
                    <a:pt x="4" y="32"/>
                  </a:cubicBezTo>
                  <a:lnTo>
                    <a:pt x="4" y="18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0" name="Google Shape;6317;p64">
              <a:extLst>
                <a:ext uri="{FF2B5EF4-FFF2-40B4-BE49-F238E27FC236}">
                  <a16:creationId xmlns:a16="http://schemas.microsoft.com/office/drawing/2014/main" id="{33671947-7B4B-A947-6BD8-551168B7BFE6}"/>
                </a:ext>
              </a:extLst>
            </p:cNvPr>
            <p:cNvSpPr/>
            <p:nvPr/>
          </p:nvSpPr>
          <p:spPr>
            <a:xfrm>
              <a:off x="1612560" y="2194615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5" y="22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1" name="Google Shape;6318;p64">
              <a:extLst>
                <a:ext uri="{FF2B5EF4-FFF2-40B4-BE49-F238E27FC236}">
                  <a16:creationId xmlns:a16="http://schemas.microsoft.com/office/drawing/2014/main" id="{AD63601C-E781-D8CA-6ADF-777D1B461633}"/>
                </a:ext>
              </a:extLst>
            </p:cNvPr>
            <p:cNvSpPr/>
            <p:nvPr/>
          </p:nvSpPr>
          <p:spPr>
            <a:xfrm>
              <a:off x="1625201" y="2214031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7" y="0"/>
                  </a:moveTo>
                  <a:cubicBezTo>
                    <a:pt x="4" y="0"/>
                    <a:pt x="3" y="1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7" y="2"/>
                    <a:pt x="14" y="2"/>
                  </a:cubicBezTo>
                  <a:cubicBezTo>
                    <a:pt x="16" y="2"/>
                    <a:pt x="19" y="2"/>
                    <a:pt x="22" y="3"/>
                  </a:cubicBezTo>
                  <a:cubicBezTo>
                    <a:pt x="15" y="1"/>
                    <a:pt x="10" y="0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2" name="Google Shape;6319;p64">
              <a:extLst>
                <a:ext uri="{FF2B5EF4-FFF2-40B4-BE49-F238E27FC236}">
                  <a16:creationId xmlns:a16="http://schemas.microsoft.com/office/drawing/2014/main" id="{BC5336EA-12C5-57DB-F667-7F2CD895CDA1}"/>
                </a:ext>
              </a:extLst>
            </p:cNvPr>
            <p:cNvSpPr/>
            <p:nvPr/>
          </p:nvSpPr>
          <p:spPr>
            <a:xfrm>
              <a:off x="1613184" y="21960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cubicBezTo>
                    <a:pt x="4" y="14"/>
                    <a:pt x="7" y="11"/>
                    <a:pt x="11" y="7"/>
                  </a:cubicBezTo>
                  <a:cubicBezTo>
                    <a:pt x="11" y="4"/>
                    <a:pt x="11" y="0"/>
                    <a:pt x="11" y="0"/>
                  </a:cubicBezTo>
                  <a:cubicBezTo>
                    <a:pt x="11" y="0"/>
                    <a:pt x="11" y="4"/>
                    <a:pt x="11" y="7"/>
                  </a:cubicBezTo>
                  <a:cubicBezTo>
                    <a:pt x="7" y="11"/>
                    <a:pt x="4" y="14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3" name="Google Shape;6320;p64">
              <a:extLst>
                <a:ext uri="{FF2B5EF4-FFF2-40B4-BE49-F238E27FC236}">
                  <a16:creationId xmlns:a16="http://schemas.microsoft.com/office/drawing/2014/main" id="{D7901BF7-7589-68F3-7062-4615A9F0A15E}"/>
                </a:ext>
              </a:extLst>
            </p:cNvPr>
            <p:cNvSpPr/>
            <p:nvPr/>
          </p:nvSpPr>
          <p:spPr>
            <a:xfrm>
              <a:off x="1639280" y="2227228"/>
              <a:ext cx="434" cy="679"/>
            </a:xfrm>
            <a:custGeom>
              <a:avLst/>
              <a:gdLst/>
              <a:ahLst/>
              <a:cxnLst/>
              <a:rect l="l" t="t" r="r" b="b"/>
              <a:pathLst>
                <a:path w="32" h="50" extrusionOk="0">
                  <a:moveTo>
                    <a:pt x="32" y="49"/>
                  </a:moveTo>
                  <a:cubicBezTo>
                    <a:pt x="28" y="32"/>
                    <a:pt x="18" y="11"/>
                    <a:pt x="0" y="0"/>
                  </a:cubicBezTo>
                  <a:lnTo>
                    <a:pt x="0" y="0"/>
                  </a:lnTo>
                  <a:cubicBezTo>
                    <a:pt x="18" y="11"/>
                    <a:pt x="28" y="32"/>
                    <a:pt x="3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4" name="Google Shape;6321;p64">
              <a:extLst>
                <a:ext uri="{FF2B5EF4-FFF2-40B4-BE49-F238E27FC236}">
                  <a16:creationId xmlns:a16="http://schemas.microsoft.com/office/drawing/2014/main" id="{80CDE791-221F-754B-7827-352E3752E4CE}"/>
                </a:ext>
              </a:extLst>
            </p:cNvPr>
            <p:cNvSpPr/>
            <p:nvPr/>
          </p:nvSpPr>
          <p:spPr>
            <a:xfrm>
              <a:off x="1613320" y="2196000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0"/>
                  </a:moveTo>
                  <a:cubicBezTo>
                    <a:pt x="1" y="4"/>
                    <a:pt x="1" y="4"/>
                    <a:pt x="1" y="7"/>
                  </a:cubicBezTo>
                  <a:cubicBezTo>
                    <a:pt x="1" y="4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5" name="Google Shape;6322;p64">
              <a:extLst>
                <a:ext uri="{FF2B5EF4-FFF2-40B4-BE49-F238E27FC236}">
                  <a16:creationId xmlns:a16="http://schemas.microsoft.com/office/drawing/2014/main" id="{CABD1B7F-F60E-69FA-9617-804078F3000F}"/>
                </a:ext>
              </a:extLst>
            </p:cNvPr>
            <p:cNvSpPr/>
            <p:nvPr/>
          </p:nvSpPr>
          <p:spPr>
            <a:xfrm>
              <a:off x="1613280" y="219581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6" name="Google Shape;6323;p64">
              <a:extLst>
                <a:ext uri="{FF2B5EF4-FFF2-40B4-BE49-F238E27FC236}">
                  <a16:creationId xmlns:a16="http://schemas.microsoft.com/office/drawing/2014/main" id="{121BE0DC-AA24-E732-09E4-5AD812A1106B}"/>
                </a:ext>
              </a:extLst>
            </p:cNvPr>
            <p:cNvSpPr/>
            <p:nvPr/>
          </p:nvSpPr>
          <p:spPr>
            <a:xfrm>
              <a:off x="1638181" y="2226943"/>
              <a:ext cx="1113" cy="299"/>
            </a:xfrm>
            <a:custGeom>
              <a:avLst/>
              <a:gdLst/>
              <a:ahLst/>
              <a:cxnLst/>
              <a:rect l="l" t="t" r="r" b="b"/>
              <a:pathLst>
                <a:path w="82" h="22" extrusionOk="0">
                  <a:moveTo>
                    <a:pt x="1" y="0"/>
                  </a:moveTo>
                  <a:cubicBezTo>
                    <a:pt x="29" y="4"/>
                    <a:pt x="57" y="11"/>
                    <a:pt x="81" y="21"/>
                  </a:cubicBezTo>
                  <a:cubicBezTo>
                    <a:pt x="57" y="11"/>
                    <a:pt x="29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7" name="Google Shape;6324;p64">
              <a:extLst>
                <a:ext uri="{FF2B5EF4-FFF2-40B4-BE49-F238E27FC236}">
                  <a16:creationId xmlns:a16="http://schemas.microsoft.com/office/drawing/2014/main" id="{E4179520-B3F3-4025-D603-89E5BFD6C673}"/>
                </a:ext>
              </a:extLst>
            </p:cNvPr>
            <p:cNvSpPr/>
            <p:nvPr/>
          </p:nvSpPr>
          <p:spPr>
            <a:xfrm>
              <a:off x="1634759" y="2250514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1"/>
                  </a:moveTo>
                  <a:cubicBezTo>
                    <a:pt x="14" y="1"/>
                    <a:pt x="28" y="1"/>
                    <a:pt x="42" y="1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8" name="Google Shape;6325;p64">
              <a:extLst>
                <a:ext uri="{FF2B5EF4-FFF2-40B4-BE49-F238E27FC236}">
                  <a16:creationId xmlns:a16="http://schemas.microsoft.com/office/drawing/2014/main" id="{D6F1D2AC-B34F-1B98-AF1A-206CB5F09A14}"/>
                </a:ext>
              </a:extLst>
            </p:cNvPr>
            <p:cNvSpPr/>
            <p:nvPr/>
          </p:nvSpPr>
          <p:spPr>
            <a:xfrm>
              <a:off x="1581101" y="2216013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9" name="Google Shape;6326;p64">
              <a:extLst>
                <a:ext uri="{FF2B5EF4-FFF2-40B4-BE49-F238E27FC236}">
                  <a16:creationId xmlns:a16="http://schemas.microsoft.com/office/drawing/2014/main" id="{2C161E9B-60C2-79D6-79CE-B4C4AE5C37F8}"/>
                </a:ext>
              </a:extLst>
            </p:cNvPr>
            <p:cNvSpPr/>
            <p:nvPr/>
          </p:nvSpPr>
          <p:spPr>
            <a:xfrm>
              <a:off x="1580436" y="2215294"/>
              <a:ext cx="489" cy="489"/>
            </a:xfrm>
            <a:custGeom>
              <a:avLst/>
              <a:gdLst/>
              <a:ahLst/>
              <a:cxnLst/>
              <a:rect l="l" t="t" r="r" b="b"/>
              <a:pathLst>
                <a:path w="36" h="36" extrusionOk="0">
                  <a:moveTo>
                    <a:pt x="35" y="36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0" name="Google Shape;6327;p64">
              <a:extLst>
                <a:ext uri="{FF2B5EF4-FFF2-40B4-BE49-F238E27FC236}">
                  <a16:creationId xmlns:a16="http://schemas.microsoft.com/office/drawing/2014/main" id="{CBD72F99-A4AD-B691-9A01-4C292D1096DA}"/>
                </a:ext>
              </a:extLst>
            </p:cNvPr>
            <p:cNvSpPr/>
            <p:nvPr/>
          </p:nvSpPr>
          <p:spPr>
            <a:xfrm>
              <a:off x="1581807" y="2216719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1" name="Google Shape;6328;p64">
              <a:extLst>
                <a:ext uri="{FF2B5EF4-FFF2-40B4-BE49-F238E27FC236}">
                  <a16:creationId xmlns:a16="http://schemas.microsoft.com/office/drawing/2014/main" id="{66E6D1FF-D60A-6580-61B5-8B66A5A19A1A}"/>
                </a:ext>
              </a:extLst>
            </p:cNvPr>
            <p:cNvSpPr/>
            <p:nvPr/>
          </p:nvSpPr>
          <p:spPr>
            <a:xfrm>
              <a:off x="1582472" y="2217439"/>
              <a:ext cx="543" cy="530"/>
            </a:xfrm>
            <a:custGeom>
              <a:avLst/>
              <a:gdLst/>
              <a:ahLst/>
              <a:cxnLst/>
              <a:rect l="l" t="t" r="r" b="b"/>
              <a:pathLst>
                <a:path w="40" h="39" extrusionOk="0">
                  <a:moveTo>
                    <a:pt x="39" y="39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2" name="Google Shape;6329;p64">
              <a:extLst>
                <a:ext uri="{FF2B5EF4-FFF2-40B4-BE49-F238E27FC236}">
                  <a16:creationId xmlns:a16="http://schemas.microsoft.com/office/drawing/2014/main" id="{547B0AD7-7BAD-F2F8-DA7A-61FE9BE28616}"/>
                </a:ext>
              </a:extLst>
            </p:cNvPr>
            <p:cNvSpPr/>
            <p:nvPr/>
          </p:nvSpPr>
          <p:spPr>
            <a:xfrm>
              <a:off x="1638140" y="2238878"/>
              <a:ext cx="14" cy="869"/>
            </a:xfrm>
            <a:custGeom>
              <a:avLst/>
              <a:gdLst/>
              <a:ahLst/>
              <a:cxnLst/>
              <a:rect l="l" t="t" r="r" b="b"/>
              <a:pathLst>
                <a:path w="1" h="64" extrusionOk="0">
                  <a:moveTo>
                    <a:pt x="0" y="0"/>
                  </a:moveTo>
                  <a:lnTo>
                    <a:pt x="0" y="63"/>
                  </a:lnTo>
                  <a:lnTo>
                    <a:pt x="0" y="5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3" name="Google Shape;6330;p64">
              <a:extLst>
                <a:ext uri="{FF2B5EF4-FFF2-40B4-BE49-F238E27FC236}">
                  <a16:creationId xmlns:a16="http://schemas.microsoft.com/office/drawing/2014/main" id="{0FE1697C-4672-0134-D4D6-ECA09799D4F6}"/>
                </a:ext>
              </a:extLst>
            </p:cNvPr>
            <p:cNvSpPr/>
            <p:nvPr/>
          </p:nvSpPr>
          <p:spPr>
            <a:xfrm>
              <a:off x="1579662" y="2214438"/>
              <a:ext cx="638" cy="679"/>
            </a:xfrm>
            <a:custGeom>
              <a:avLst/>
              <a:gdLst/>
              <a:ahLst/>
              <a:cxnLst/>
              <a:rect l="l" t="t" r="r" b="b"/>
              <a:pathLst>
                <a:path w="47" h="50" extrusionOk="0">
                  <a:moveTo>
                    <a:pt x="46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4" name="Google Shape;6331;p64">
              <a:extLst>
                <a:ext uri="{FF2B5EF4-FFF2-40B4-BE49-F238E27FC236}">
                  <a16:creationId xmlns:a16="http://schemas.microsoft.com/office/drawing/2014/main" id="{1D0487B7-1526-6E7B-9232-8DF17D859F54}"/>
                </a:ext>
              </a:extLst>
            </p:cNvPr>
            <p:cNvSpPr/>
            <p:nvPr/>
          </p:nvSpPr>
          <p:spPr>
            <a:xfrm>
              <a:off x="1579146" y="2213773"/>
              <a:ext cx="530" cy="679"/>
            </a:xfrm>
            <a:custGeom>
              <a:avLst/>
              <a:gdLst/>
              <a:ahLst/>
              <a:cxnLst/>
              <a:rect l="l" t="t" r="r" b="b"/>
              <a:pathLst>
                <a:path w="39" h="50" extrusionOk="0">
                  <a:moveTo>
                    <a:pt x="39" y="50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5" name="Google Shape;6332;p64">
              <a:extLst>
                <a:ext uri="{FF2B5EF4-FFF2-40B4-BE49-F238E27FC236}">
                  <a16:creationId xmlns:a16="http://schemas.microsoft.com/office/drawing/2014/main" id="{959A8BD0-90F2-72E3-7266-07BD8A8C57BF}"/>
                </a:ext>
              </a:extLst>
            </p:cNvPr>
            <p:cNvSpPr/>
            <p:nvPr/>
          </p:nvSpPr>
          <p:spPr>
            <a:xfrm>
              <a:off x="1578290" y="221268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6" name="Google Shape;6333;p64">
              <a:extLst>
                <a:ext uri="{FF2B5EF4-FFF2-40B4-BE49-F238E27FC236}">
                  <a16:creationId xmlns:a16="http://schemas.microsoft.com/office/drawing/2014/main" id="{2825776E-5DAC-50BD-C2F5-3FC7D7B4B965}"/>
                </a:ext>
              </a:extLst>
            </p:cNvPr>
            <p:cNvSpPr/>
            <p:nvPr/>
          </p:nvSpPr>
          <p:spPr>
            <a:xfrm>
              <a:off x="1619932" y="2254220"/>
              <a:ext cx="774" cy="68"/>
            </a:xfrm>
            <a:custGeom>
              <a:avLst/>
              <a:gdLst/>
              <a:ahLst/>
              <a:cxnLst/>
              <a:rect l="l" t="t" r="r" b="b"/>
              <a:pathLst>
                <a:path w="57" h="5" extrusionOk="0">
                  <a:moveTo>
                    <a:pt x="56" y="1"/>
                  </a:moveTo>
                  <a:cubicBezTo>
                    <a:pt x="39" y="1"/>
                    <a:pt x="18" y="1"/>
                    <a:pt x="0" y="4"/>
                  </a:cubicBezTo>
                  <a:cubicBezTo>
                    <a:pt x="18" y="4"/>
                    <a:pt x="39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7" name="Google Shape;6334;p64">
              <a:extLst>
                <a:ext uri="{FF2B5EF4-FFF2-40B4-BE49-F238E27FC236}">
                  <a16:creationId xmlns:a16="http://schemas.microsoft.com/office/drawing/2014/main" id="{E1A4D20B-9E49-222E-A867-581D982ED042}"/>
                </a:ext>
              </a:extLst>
            </p:cNvPr>
            <p:cNvSpPr/>
            <p:nvPr/>
          </p:nvSpPr>
          <p:spPr>
            <a:xfrm>
              <a:off x="1578616" y="2213108"/>
              <a:ext cx="394" cy="489"/>
            </a:xfrm>
            <a:custGeom>
              <a:avLst/>
              <a:gdLst/>
              <a:ahLst/>
              <a:cxnLst/>
              <a:rect l="l" t="t" r="r" b="b"/>
              <a:pathLst>
                <a:path w="29" h="36" extrusionOk="0">
                  <a:moveTo>
                    <a:pt x="29" y="36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8" name="Google Shape;6335;p64">
              <a:extLst>
                <a:ext uri="{FF2B5EF4-FFF2-40B4-BE49-F238E27FC236}">
                  <a16:creationId xmlns:a16="http://schemas.microsoft.com/office/drawing/2014/main" id="{AE925177-0967-1045-A45E-A8AFFDD0EB09}"/>
                </a:ext>
              </a:extLst>
            </p:cNvPr>
            <p:cNvSpPr/>
            <p:nvPr/>
          </p:nvSpPr>
          <p:spPr>
            <a:xfrm>
              <a:off x="1622254" y="22544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9" name="Google Shape;6336;p64">
              <a:extLst>
                <a:ext uri="{FF2B5EF4-FFF2-40B4-BE49-F238E27FC236}">
                  <a16:creationId xmlns:a16="http://schemas.microsoft.com/office/drawing/2014/main" id="{F7DB12A7-3566-C736-FE5C-381CA40B12D4}"/>
                </a:ext>
              </a:extLst>
            </p:cNvPr>
            <p:cNvSpPr/>
            <p:nvPr/>
          </p:nvSpPr>
          <p:spPr>
            <a:xfrm>
              <a:off x="1618982" y="2254275"/>
              <a:ext cx="774" cy="109"/>
            </a:xfrm>
            <a:custGeom>
              <a:avLst/>
              <a:gdLst/>
              <a:ahLst/>
              <a:cxnLst/>
              <a:rect l="l" t="t" r="r" b="b"/>
              <a:pathLst>
                <a:path w="57" h="8" extrusionOk="0">
                  <a:moveTo>
                    <a:pt x="56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0" name="Google Shape;6337;p64">
              <a:extLst>
                <a:ext uri="{FF2B5EF4-FFF2-40B4-BE49-F238E27FC236}">
                  <a16:creationId xmlns:a16="http://schemas.microsoft.com/office/drawing/2014/main" id="{2A83BBE2-F2F5-FD34-32C9-6EB1FD71BC4F}"/>
                </a:ext>
              </a:extLst>
            </p:cNvPr>
            <p:cNvSpPr/>
            <p:nvPr/>
          </p:nvSpPr>
          <p:spPr>
            <a:xfrm>
              <a:off x="1621263" y="22542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1" name="Google Shape;6338;p64">
              <a:extLst>
                <a:ext uri="{FF2B5EF4-FFF2-40B4-BE49-F238E27FC236}">
                  <a16:creationId xmlns:a16="http://schemas.microsoft.com/office/drawing/2014/main" id="{80090F35-D1D1-C2B2-D48C-EB9AF03E8FD8}"/>
                </a:ext>
              </a:extLst>
            </p:cNvPr>
            <p:cNvSpPr/>
            <p:nvPr/>
          </p:nvSpPr>
          <p:spPr>
            <a:xfrm>
              <a:off x="1617461" y="2254370"/>
              <a:ext cx="1534" cy="109"/>
            </a:xfrm>
            <a:custGeom>
              <a:avLst/>
              <a:gdLst/>
              <a:ahLst/>
              <a:cxnLst/>
              <a:rect l="l" t="t" r="r" b="b"/>
              <a:pathLst>
                <a:path w="113" h="8" extrusionOk="0">
                  <a:moveTo>
                    <a:pt x="112" y="0"/>
                  </a:moveTo>
                  <a:cubicBezTo>
                    <a:pt x="74" y="4"/>
                    <a:pt x="39" y="7"/>
                    <a:pt x="0" y="7"/>
                  </a:cubicBezTo>
                  <a:cubicBezTo>
                    <a:pt x="39" y="7"/>
                    <a:pt x="74" y="4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2" name="Google Shape;6339;p64">
              <a:extLst>
                <a:ext uri="{FF2B5EF4-FFF2-40B4-BE49-F238E27FC236}">
                  <a16:creationId xmlns:a16="http://schemas.microsoft.com/office/drawing/2014/main" id="{B545FCCE-1BB1-E223-9871-3893EAEB49B3}"/>
                </a:ext>
              </a:extLst>
            </p:cNvPr>
            <p:cNvSpPr/>
            <p:nvPr/>
          </p:nvSpPr>
          <p:spPr>
            <a:xfrm>
              <a:off x="1622824" y="225460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3" name="Google Shape;6340;p64">
              <a:extLst>
                <a:ext uri="{FF2B5EF4-FFF2-40B4-BE49-F238E27FC236}">
                  <a16:creationId xmlns:a16="http://schemas.microsoft.com/office/drawing/2014/main" id="{5A592299-33DD-A526-C3E9-5114B6B44C45}"/>
                </a:ext>
              </a:extLst>
            </p:cNvPr>
            <p:cNvSpPr/>
            <p:nvPr/>
          </p:nvSpPr>
          <p:spPr>
            <a:xfrm>
              <a:off x="1621779" y="22543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4" name="Google Shape;6341;p64">
              <a:extLst>
                <a:ext uri="{FF2B5EF4-FFF2-40B4-BE49-F238E27FC236}">
                  <a16:creationId xmlns:a16="http://schemas.microsoft.com/office/drawing/2014/main" id="{45FA01BD-EBA5-8346-D1C0-EC95485B8F93}"/>
                </a:ext>
              </a:extLst>
            </p:cNvPr>
            <p:cNvSpPr/>
            <p:nvPr/>
          </p:nvSpPr>
          <p:spPr>
            <a:xfrm>
              <a:off x="1584712" y="2219475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3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5" name="Google Shape;6342;p64">
              <a:extLst>
                <a:ext uri="{FF2B5EF4-FFF2-40B4-BE49-F238E27FC236}">
                  <a16:creationId xmlns:a16="http://schemas.microsoft.com/office/drawing/2014/main" id="{840C77BB-0464-6754-3766-F7281E2D48FC}"/>
                </a:ext>
              </a:extLst>
            </p:cNvPr>
            <p:cNvSpPr/>
            <p:nvPr/>
          </p:nvSpPr>
          <p:spPr>
            <a:xfrm>
              <a:off x="1583137" y="2218050"/>
              <a:ext cx="679" cy="679"/>
            </a:xfrm>
            <a:custGeom>
              <a:avLst/>
              <a:gdLst/>
              <a:ahLst/>
              <a:cxnLst/>
              <a:rect l="l" t="t" r="r" b="b"/>
              <a:pathLst>
                <a:path w="50" h="50" extrusionOk="0">
                  <a:moveTo>
                    <a:pt x="50" y="50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6" name="Google Shape;6343;p64">
              <a:extLst>
                <a:ext uri="{FF2B5EF4-FFF2-40B4-BE49-F238E27FC236}">
                  <a16:creationId xmlns:a16="http://schemas.microsoft.com/office/drawing/2014/main" id="{0648B00A-9607-FEE1-7F90-87C7C58F9B23}"/>
                </a:ext>
              </a:extLst>
            </p:cNvPr>
            <p:cNvSpPr/>
            <p:nvPr/>
          </p:nvSpPr>
          <p:spPr>
            <a:xfrm>
              <a:off x="1586084" y="2220616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7" name="Google Shape;6344;p64">
              <a:extLst>
                <a:ext uri="{FF2B5EF4-FFF2-40B4-BE49-F238E27FC236}">
                  <a16:creationId xmlns:a16="http://schemas.microsoft.com/office/drawing/2014/main" id="{97D840E5-659C-1786-9425-B9916E932CF2}"/>
                </a:ext>
              </a:extLst>
            </p:cNvPr>
            <p:cNvSpPr/>
            <p:nvPr/>
          </p:nvSpPr>
          <p:spPr>
            <a:xfrm>
              <a:off x="1583952" y="2218810"/>
              <a:ext cx="584" cy="543"/>
            </a:xfrm>
            <a:custGeom>
              <a:avLst/>
              <a:gdLst/>
              <a:ahLst/>
              <a:cxnLst/>
              <a:rect l="l" t="t" r="r" b="b"/>
              <a:pathLst>
                <a:path w="43" h="40" extrusionOk="0">
                  <a:moveTo>
                    <a:pt x="42" y="3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8" name="Google Shape;6345;p64">
              <a:extLst>
                <a:ext uri="{FF2B5EF4-FFF2-40B4-BE49-F238E27FC236}">
                  <a16:creationId xmlns:a16="http://schemas.microsoft.com/office/drawing/2014/main" id="{13410547-253E-021D-BF9C-7650AB447793}"/>
                </a:ext>
              </a:extLst>
            </p:cNvPr>
            <p:cNvSpPr/>
            <p:nvPr/>
          </p:nvSpPr>
          <p:spPr>
            <a:xfrm>
              <a:off x="1585418" y="2220100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3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9" name="Google Shape;6346;p64">
              <a:extLst>
                <a:ext uri="{FF2B5EF4-FFF2-40B4-BE49-F238E27FC236}">
                  <a16:creationId xmlns:a16="http://schemas.microsoft.com/office/drawing/2014/main" id="{82EAA6D0-BE01-5DF2-D802-C6C553C2892F}"/>
                </a:ext>
              </a:extLst>
            </p:cNvPr>
            <p:cNvSpPr/>
            <p:nvPr/>
          </p:nvSpPr>
          <p:spPr>
            <a:xfrm>
              <a:off x="1586749" y="2221050"/>
              <a:ext cx="584" cy="394"/>
            </a:xfrm>
            <a:custGeom>
              <a:avLst/>
              <a:gdLst/>
              <a:ahLst/>
              <a:cxnLst/>
              <a:rect l="l" t="t" r="r" b="b"/>
              <a:pathLst>
                <a:path w="43" h="29" extrusionOk="0">
                  <a:moveTo>
                    <a:pt x="43" y="28"/>
                  </a:moveTo>
                  <a:cubicBezTo>
                    <a:pt x="29" y="21"/>
                    <a:pt x="15" y="11"/>
                    <a:pt x="1" y="0"/>
                  </a:cubicBezTo>
                  <a:cubicBezTo>
                    <a:pt x="15" y="11"/>
                    <a:pt x="29" y="2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0" name="Google Shape;6347;p64">
              <a:extLst>
                <a:ext uri="{FF2B5EF4-FFF2-40B4-BE49-F238E27FC236}">
                  <a16:creationId xmlns:a16="http://schemas.microsoft.com/office/drawing/2014/main" id="{2211972E-CE10-D98F-0DF8-B8E579573B77}"/>
                </a:ext>
              </a:extLst>
            </p:cNvPr>
            <p:cNvSpPr/>
            <p:nvPr/>
          </p:nvSpPr>
          <p:spPr>
            <a:xfrm>
              <a:off x="1638086" y="2239638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1" y="7"/>
                  </a:moveTo>
                  <a:lnTo>
                    <a:pt x="1" y="25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1" name="Google Shape;6348;p64">
              <a:extLst>
                <a:ext uri="{FF2B5EF4-FFF2-40B4-BE49-F238E27FC236}">
                  <a16:creationId xmlns:a16="http://schemas.microsoft.com/office/drawing/2014/main" id="{09CFB8D9-E52A-38EB-33EC-639BDDE924DB}"/>
                </a:ext>
              </a:extLst>
            </p:cNvPr>
            <p:cNvSpPr/>
            <p:nvPr/>
          </p:nvSpPr>
          <p:spPr>
            <a:xfrm>
              <a:off x="1638086" y="2240168"/>
              <a:ext cx="68" cy="475"/>
            </a:xfrm>
            <a:custGeom>
              <a:avLst/>
              <a:gdLst/>
              <a:ahLst/>
              <a:cxnLst/>
              <a:rect l="l" t="t" r="r" b="b"/>
              <a:pathLst>
                <a:path w="5" h="35" extrusionOk="0">
                  <a:moveTo>
                    <a:pt x="1" y="0"/>
                  </a:moveTo>
                  <a:cubicBezTo>
                    <a:pt x="1" y="11"/>
                    <a:pt x="4" y="24"/>
                    <a:pt x="4" y="35"/>
                  </a:cubicBezTo>
                  <a:cubicBezTo>
                    <a:pt x="4" y="21"/>
                    <a:pt x="1" y="1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2" name="Google Shape;6349;p64">
              <a:extLst>
                <a:ext uri="{FF2B5EF4-FFF2-40B4-BE49-F238E27FC236}">
                  <a16:creationId xmlns:a16="http://schemas.microsoft.com/office/drawing/2014/main" id="{AD548575-20AE-2B3B-A769-64A2BAAEE536}"/>
                </a:ext>
              </a:extLst>
            </p:cNvPr>
            <p:cNvSpPr/>
            <p:nvPr/>
          </p:nvSpPr>
          <p:spPr>
            <a:xfrm>
              <a:off x="1638140" y="2239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3" name="Google Shape;6350;p64">
              <a:extLst>
                <a:ext uri="{FF2B5EF4-FFF2-40B4-BE49-F238E27FC236}">
                  <a16:creationId xmlns:a16="http://schemas.microsoft.com/office/drawing/2014/main" id="{51B0BFCD-4C90-10C2-E679-4F45F1291FC4}"/>
                </a:ext>
              </a:extLst>
            </p:cNvPr>
            <p:cNvSpPr/>
            <p:nvPr/>
          </p:nvSpPr>
          <p:spPr>
            <a:xfrm>
              <a:off x="1405367" y="1962046"/>
              <a:ext cx="22118" cy="18031"/>
            </a:xfrm>
            <a:custGeom>
              <a:avLst/>
              <a:gdLst/>
              <a:ahLst/>
              <a:cxnLst/>
              <a:rect l="l" t="t" r="r" b="b"/>
              <a:pathLst>
                <a:path w="1629" h="1328" extrusionOk="0">
                  <a:moveTo>
                    <a:pt x="137" y="0"/>
                  </a:moveTo>
                  <a:cubicBezTo>
                    <a:pt x="151" y="77"/>
                    <a:pt x="119" y="158"/>
                    <a:pt x="56" y="207"/>
                  </a:cubicBezTo>
                  <a:cubicBezTo>
                    <a:pt x="18" y="245"/>
                    <a:pt x="0" y="294"/>
                    <a:pt x="11" y="347"/>
                  </a:cubicBezTo>
                  <a:cubicBezTo>
                    <a:pt x="21" y="448"/>
                    <a:pt x="91" y="532"/>
                    <a:pt x="186" y="567"/>
                  </a:cubicBezTo>
                  <a:cubicBezTo>
                    <a:pt x="243" y="589"/>
                    <a:pt x="275" y="597"/>
                    <a:pt x="296" y="597"/>
                  </a:cubicBezTo>
                  <a:cubicBezTo>
                    <a:pt x="319" y="597"/>
                    <a:pt x="327" y="587"/>
                    <a:pt x="336" y="574"/>
                  </a:cubicBezTo>
                  <a:cubicBezTo>
                    <a:pt x="366" y="528"/>
                    <a:pt x="415" y="501"/>
                    <a:pt x="467" y="501"/>
                  </a:cubicBezTo>
                  <a:cubicBezTo>
                    <a:pt x="470" y="501"/>
                    <a:pt x="473" y="501"/>
                    <a:pt x="477" y="501"/>
                  </a:cubicBezTo>
                  <a:cubicBezTo>
                    <a:pt x="585" y="501"/>
                    <a:pt x="631" y="585"/>
                    <a:pt x="662" y="641"/>
                  </a:cubicBezTo>
                  <a:cubicBezTo>
                    <a:pt x="690" y="690"/>
                    <a:pt x="701" y="704"/>
                    <a:pt x="718" y="704"/>
                  </a:cubicBezTo>
                  <a:cubicBezTo>
                    <a:pt x="813" y="704"/>
                    <a:pt x="974" y="770"/>
                    <a:pt x="1079" y="879"/>
                  </a:cubicBezTo>
                  <a:cubicBezTo>
                    <a:pt x="1142" y="942"/>
                    <a:pt x="1173" y="1026"/>
                    <a:pt x="1173" y="1114"/>
                  </a:cubicBezTo>
                  <a:cubicBezTo>
                    <a:pt x="1163" y="1166"/>
                    <a:pt x="1177" y="1222"/>
                    <a:pt x="1212" y="1264"/>
                  </a:cubicBezTo>
                  <a:cubicBezTo>
                    <a:pt x="1250" y="1303"/>
                    <a:pt x="1320" y="1324"/>
                    <a:pt x="1422" y="1324"/>
                  </a:cubicBezTo>
                  <a:cubicBezTo>
                    <a:pt x="1450" y="1324"/>
                    <a:pt x="1478" y="1324"/>
                    <a:pt x="1509" y="1327"/>
                  </a:cubicBezTo>
                  <a:lnTo>
                    <a:pt x="1509" y="1324"/>
                  </a:lnTo>
                  <a:cubicBezTo>
                    <a:pt x="1516" y="1303"/>
                    <a:pt x="1523" y="1285"/>
                    <a:pt x="1530" y="1268"/>
                  </a:cubicBezTo>
                  <a:cubicBezTo>
                    <a:pt x="1537" y="1250"/>
                    <a:pt x="1541" y="1236"/>
                    <a:pt x="1544" y="1222"/>
                  </a:cubicBezTo>
                  <a:cubicBezTo>
                    <a:pt x="1562" y="1191"/>
                    <a:pt x="1569" y="1152"/>
                    <a:pt x="1565" y="1117"/>
                  </a:cubicBezTo>
                  <a:cubicBezTo>
                    <a:pt x="1562" y="1107"/>
                    <a:pt x="1562" y="1096"/>
                    <a:pt x="1558" y="1086"/>
                  </a:cubicBezTo>
                  <a:lnTo>
                    <a:pt x="1558" y="1072"/>
                  </a:lnTo>
                  <a:lnTo>
                    <a:pt x="1558" y="1044"/>
                  </a:lnTo>
                  <a:lnTo>
                    <a:pt x="1558" y="1026"/>
                  </a:lnTo>
                  <a:lnTo>
                    <a:pt x="1558" y="998"/>
                  </a:lnTo>
                  <a:lnTo>
                    <a:pt x="1558" y="977"/>
                  </a:lnTo>
                  <a:cubicBezTo>
                    <a:pt x="1558" y="973"/>
                    <a:pt x="1562" y="959"/>
                    <a:pt x="1562" y="949"/>
                  </a:cubicBezTo>
                  <a:cubicBezTo>
                    <a:pt x="1565" y="935"/>
                    <a:pt x="1565" y="935"/>
                    <a:pt x="1569" y="924"/>
                  </a:cubicBezTo>
                  <a:cubicBezTo>
                    <a:pt x="1569" y="917"/>
                    <a:pt x="1572" y="903"/>
                    <a:pt x="1576" y="893"/>
                  </a:cubicBezTo>
                  <a:cubicBezTo>
                    <a:pt x="1576" y="882"/>
                    <a:pt x="1579" y="879"/>
                    <a:pt x="1579" y="872"/>
                  </a:cubicBezTo>
                  <a:cubicBezTo>
                    <a:pt x="1583" y="865"/>
                    <a:pt x="1586" y="851"/>
                    <a:pt x="1593" y="840"/>
                  </a:cubicBezTo>
                  <a:cubicBezTo>
                    <a:pt x="1597" y="826"/>
                    <a:pt x="1597" y="823"/>
                    <a:pt x="1600" y="816"/>
                  </a:cubicBezTo>
                  <a:cubicBezTo>
                    <a:pt x="1604" y="809"/>
                    <a:pt x="1611" y="795"/>
                    <a:pt x="1618" y="784"/>
                  </a:cubicBezTo>
                  <a:cubicBezTo>
                    <a:pt x="1621" y="770"/>
                    <a:pt x="1621" y="770"/>
                    <a:pt x="1628" y="763"/>
                  </a:cubicBezTo>
                  <a:lnTo>
                    <a:pt x="1628" y="760"/>
                  </a:lnTo>
                  <a:cubicBezTo>
                    <a:pt x="1453" y="560"/>
                    <a:pt x="1289" y="357"/>
                    <a:pt x="1138" y="140"/>
                  </a:cubicBezTo>
                  <a:lnTo>
                    <a:pt x="1114" y="140"/>
                  </a:lnTo>
                  <a:cubicBezTo>
                    <a:pt x="1096" y="140"/>
                    <a:pt x="1075" y="144"/>
                    <a:pt x="1058" y="144"/>
                  </a:cubicBezTo>
                  <a:lnTo>
                    <a:pt x="1023" y="144"/>
                  </a:lnTo>
                  <a:lnTo>
                    <a:pt x="995" y="140"/>
                  </a:lnTo>
                  <a:lnTo>
                    <a:pt x="984" y="140"/>
                  </a:lnTo>
                  <a:lnTo>
                    <a:pt x="960" y="137"/>
                  </a:lnTo>
                  <a:lnTo>
                    <a:pt x="953" y="137"/>
                  </a:lnTo>
                  <a:cubicBezTo>
                    <a:pt x="942" y="137"/>
                    <a:pt x="932" y="133"/>
                    <a:pt x="925" y="130"/>
                  </a:cubicBezTo>
                  <a:lnTo>
                    <a:pt x="918" y="126"/>
                  </a:lnTo>
                  <a:cubicBezTo>
                    <a:pt x="907" y="123"/>
                    <a:pt x="900" y="119"/>
                    <a:pt x="893" y="116"/>
                  </a:cubicBezTo>
                  <a:lnTo>
                    <a:pt x="886" y="112"/>
                  </a:lnTo>
                  <a:cubicBezTo>
                    <a:pt x="876" y="109"/>
                    <a:pt x="869" y="102"/>
                    <a:pt x="858" y="95"/>
                  </a:cubicBezTo>
                  <a:cubicBezTo>
                    <a:pt x="809" y="60"/>
                    <a:pt x="694" y="56"/>
                    <a:pt x="592" y="53"/>
                  </a:cubicBezTo>
                  <a:cubicBezTo>
                    <a:pt x="491" y="49"/>
                    <a:pt x="396" y="46"/>
                    <a:pt x="329" y="14"/>
                  </a:cubicBezTo>
                  <a:cubicBezTo>
                    <a:pt x="322" y="11"/>
                    <a:pt x="315" y="7"/>
                    <a:pt x="308" y="4"/>
                  </a:cubicBezTo>
                  <a:lnTo>
                    <a:pt x="301" y="4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4" name="Google Shape;6351;p64">
              <a:extLst>
                <a:ext uri="{FF2B5EF4-FFF2-40B4-BE49-F238E27FC236}">
                  <a16:creationId xmlns:a16="http://schemas.microsoft.com/office/drawing/2014/main" id="{722A67FB-BBB0-9BA9-C494-91371CD09D3A}"/>
                </a:ext>
              </a:extLst>
            </p:cNvPr>
            <p:cNvSpPr/>
            <p:nvPr/>
          </p:nvSpPr>
          <p:spPr>
            <a:xfrm>
              <a:off x="1408599" y="1961951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5" name="Google Shape;6352;p64">
              <a:extLst>
                <a:ext uri="{FF2B5EF4-FFF2-40B4-BE49-F238E27FC236}">
                  <a16:creationId xmlns:a16="http://schemas.microsoft.com/office/drawing/2014/main" id="{BE1237A5-80B9-D22D-0707-B09513F8AFBE}"/>
                </a:ext>
              </a:extLst>
            </p:cNvPr>
            <p:cNvSpPr/>
            <p:nvPr/>
          </p:nvSpPr>
          <p:spPr>
            <a:xfrm>
              <a:off x="140755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6" name="Google Shape;6353;p64">
              <a:extLst>
                <a:ext uri="{FF2B5EF4-FFF2-40B4-BE49-F238E27FC236}">
                  <a16:creationId xmlns:a16="http://schemas.microsoft.com/office/drawing/2014/main" id="{FC3ABA6E-A735-91F8-A7BF-4986B9708256}"/>
                </a:ext>
              </a:extLst>
            </p:cNvPr>
            <p:cNvSpPr/>
            <p:nvPr/>
          </p:nvSpPr>
          <p:spPr>
            <a:xfrm>
              <a:off x="1418918" y="1963988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0" y="1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7" name="Google Shape;6354;p64">
              <a:extLst>
                <a:ext uri="{FF2B5EF4-FFF2-40B4-BE49-F238E27FC236}">
                  <a16:creationId xmlns:a16="http://schemas.microsoft.com/office/drawing/2014/main" id="{3C56510A-464C-6169-9CB4-15FE94E4FC47}"/>
                </a:ext>
              </a:extLst>
            </p:cNvPr>
            <p:cNvSpPr/>
            <p:nvPr/>
          </p:nvSpPr>
          <p:spPr>
            <a:xfrm>
              <a:off x="1408123" y="19619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8" name="Google Shape;6355;p64">
              <a:extLst>
                <a:ext uri="{FF2B5EF4-FFF2-40B4-BE49-F238E27FC236}">
                  <a16:creationId xmlns:a16="http://schemas.microsoft.com/office/drawing/2014/main" id="{E8F1E952-AAF3-B028-F84D-50DED623A88A}"/>
                </a:ext>
              </a:extLst>
            </p:cNvPr>
            <p:cNvSpPr/>
            <p:nvPr/>
          </p:nvSpPr>
          <p:spPr>
            <a:xfrm>
              <a:off x="1407214" y="19619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9" name="Google Shape;6356;p64">
              <a:extLst>
                <a:ext uri="{FF2B5EF4-FFF2-40B4-BE49-F238E27FC236}">
                  <a16:creationId xmlns:a16="http://schemas.microsoft.com/office/drawing/2014/main" id="{34B4B81A-690B-0526-B86D-D9DB03A44C5C}"/>
                </a:ext>
              </a:extLst>
            </p:cNvPr>
            <p:cNvSpPr/>
            <p:nvPr/>
          </p:nvSpPr>
          <p:spPr>
            <a:xfrm>
              <a:off x="1419773" y="19640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0" name="Google Shape;6357;p64">
              <a:extLst>
                <a:ext uri="{FF2B5EF4-FFF2-40B4-BE49-F238E27FC236}">
                  <a16:creationId xmlns:a16="http://schemas.microsoft.com/office/drawing/2014/main" id="{9B8F4D0D-7E9D-06AC-E58E-78FFB9EF21CA}"/>
                </a:ext>
              </a:extLst>
            </p:cNvPr>
            <p:cNvSpPr/>
            <p:nvPr/>
          </p:nvSpPr>
          <p:spPr>
            <a:xfrm>
              <a:off x="1420533" y="19639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1" name="Google Shape;6358;p64">
              <a:extLst>
                <a:ext uri="{FF2B5EF4-FFF2-40B4-BE49-F238E27FC236}">
                  <a16:creationId xmlns:a16="http://schemas.microsoft.com/office/drawing/2014/main" id="{3D950E26-CA05-8CD8-07FB-A0A69974D03D}"/>
                </a:ext>
              </a:extLst>
            </p:cNvPr>
            <p:cNvSpPr/>
            <p:nvPr/>
          </p:nvSpPr>
          <p:spPr>
            <a:xfrm>
              <a:off x="1418442" y="1963893"/>
              <a:ext cx="339" cy="68"/>
            </a:xfrm>
            <a:custGeom>
              <a:avLst/>
              <a:gdLst/>
              <a:ahLst/>
              <a:cxnLst/>
              <a:rect l="l" t="t" r="r" b="b"/>
              <a:pathLst>
                <a:path w="25" h="5" extrusionOk="0">
                  <a:moveTo>
                    <a:pt x="0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2" name="Google Shape;6359;p64">
              <a:extLst>
                <a:ext uri="{FF2B5EF4-FFF2-40B4-BE49-F238E27FC236}">
                  <a16:creationId xmlns:a16="http://schemas.microsoft.com/office/drawing/2014/main" id="{048CDFA4-CDF5-9E65-FD7E-D1AA4CB444B4}"/>
                </a:ext>
              </a:extLst>
            </p:cNvPr>
            <p:cNvSpPr/>
            <p:nvPr/>
          </p:nvSpPr>
          <p:spPr>
            <a:xfrm>
              <a:off x="1417057" y="1963322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8" y="8"/>
                    <a:pt x="18" y="11"/>
                    <a:pt x="25" y="18"/>
                  </a:cubicBezTo>
                  <a:cubicBezTo>
                    <a:pt x="18" y="11"/>
                    <a:pt x="8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3" name="Google Shape;6360;p64">
              <a:extLst>
                <a:ext uri="{FF2B5EF4-FFF2-40B4-BE49-F238E27FC236}">
                  <a16:creationId xmlns:a16="http://schemas.microsoft.com/office/drawing/2014/main" id="{8B800EA8-F623-D19A-7E1C-E7EC3226F30B}"/>
                </a:ext>
              </a:extLst>
            </p:cNvPr>
            <p:cNvSpPr/>
            <p:nvPr/>
          </p:nvSpPr>
          <p:spPr>
            <a:xfrm>
              <a:off x="1417533" y="196360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1"/>
                  </a:moveTo>
                  <a:cubicBezTo>
                    <a:pt x="8" y="4"/>
                    <a:pt x="15" y="8"/>
                    <a:pt x="22" y="8"/>
                  </a:cubicBezTo>
                  <a:cubicBezTo>
                    <a:pt x="15" y="8"/>
                    <a:pt x="8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4" name="Google Shape;6361;p64">
              <a:extLst>
                <a:ext uri="{FF2B5EF4-FFF2-40B4-BE49-F238E27FC236}">
                  <a16:creationId xmlns:a16="http://schemas.microsoft.com/office/drawing/2014/main" id="{AA30A1F2-2C1D-E21E-4DC9-BD7996D0B987}"/>
                </a:ext>
              </a:extLst>
            </p:cNvPr>
            <p:cNvSpPr/>
            <p:nvPr/>
          </p:nvSpPr>
          <p:spPr>
            <a:xfrm>
              <a:off x="1409115" y="1961992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1" y="1"/>
                  </a:moveTo>
                  <a:lnTo>
                    <a:pt x="2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5" name="Google Shape;6362;p64">
              <a:extLst>
                <a:ext uri="{FF2B5EF4-FFF2-40B4-BE49-F238E27FC236}">
                  <a16:creationId xmlns:a16="http://schemas.microsoft.com/office/drawing/2014/main" id="{9835430A-AC75-D1CF-A866-2CCDE16C17EB}"/>
                </a:ext>
              </a:extLst>
            </p:cNvPr>
            <p:cNvSpPr/>
            <p:nvPr/>
          </p:nvSpPr>
          <p:spPr>
            <a:xfrm>
              <a:off x="1409549" y="196208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1"/>
                  </a:moveTo>
                  <a:cubicBezTo>
                    <a:pt x="7" y="1"/>
                    <a:pt x="14" y="4"/>
                    <a:pt x="21" y="8"/>
                  </a:cubicBezTo>
                  <a:cubicBezTo>
                    <a:pt x="14" y="4"/>
                    <a:pt x="7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6" name="Google Shape;6363;p64">
              <a:extLst>
                <a:ext uri="{FF2B5EF4-FFF2-40B4-BE49-F238E27FC236}">
                  <a16:creationId xmlns:a16="http://schemas.microsoft.com/office/drawing/2014/main" id="{2DA62AF8-0386-81A9-E404-20E9ECE6A2BC}"/>
                </a:ext>
              </a:extLst>
            </p:cNvPr>
            <p:cNvSpPr/>
            <p:nvPr/>
          </p:nvSpPr>
          <p:spPr>
            <a:xfrm>
              <a:off x="1417913" y="1963757"/>
              <a:ext cx="448" cy="149"/>
            </a:xfrm>
            <a:custGeom>
              <a:avLst/>
              <a:gdLst/>
              <a:ahLst/>
              <a:cxnLst/>
              <a:rect l="l" t="t" r="r" b="b"/>
              <a:pathLst>
                <a:path w="33" h="11" extrusionOk="0">
                  <a:moveTo>
                    <a:pt x="1" y="0"/>
                  </a:moveTo>
                  <a:cubicBezTo>
                    <a:pt x="11" y="4"/>
                    <a:pt x="22" y="7"/>
                    <a:pt x="32" y="11"/>
                  </a:cubicBezTo>
                  <a:cubicBezTo>
                    <a:pt x="22" y="7"/>
                    <a:pt x="1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7" name="Google Shape;6364;p64">
              <a:extLst>
                <a:ext uri="{FF2B5EF4-FFF2-40B4-BE49-F238E27FC236}">
                  <a16:creationId xmlns:a16="http://schemas.microsoft.com/office/drawing/2014/main" id="{197AEAB2-AABF-B9C8-06AA-CDA83BE7DB60}"/>
                </a:ext>
              </a:extLst>
            </p:cNvPr>
            <p:cNvSpPr/>
            <p:nvPr/>
          </p:nvSpPr>
          <p:spPr>
            <a:xfrm>
              <a:off x="1427662" y="1972433"/>
              <a:ext cx="41031" cy="16768"/>
            </a:xfrm>
            <a:custGeom>
              <a:avLst/>
              <a:gdLst/>
              <a:ahLst/>
              <a:cxnLst/>
              <a:rect l="l" t="t" r="r" b="b"/>
              <a:pathLst>
                <a:path w="3022" h="1235" extrusionOk="0">
                  <a:moveTo>
                    <a:pt x="1846" y="0"/>
                  </a:moveTo>
                  <a:cubicBezTo>
                    <a:pt x="1649" y="0"/>
                    <a:pt x="1430" y="158"/>
                    <a:pt x="1268" y="307"/>
                  </a:cubicBezTo>
                  <a:cubicBezTo>
                    <a:pt x="1141" y="422"/>
                    <a:pt x="1003" y="464"/>
                    <a:pt x="867" y="464"/>
                  </a:cubicBezTo>
                  <a:cubicBezTo>
                    <a:pt x="668" y="464"/>
                    <a:pt x="473" y="374"/>
                    <a:pt x="319" y="289"/>
                  </a:cubicBezTo>
                  <a:cubicBezTo>
                    <a:pt x="231" y="237"/>
                    <a:pt x="151" y="166"/>
                    <a:pt x="81" y="89"/>
                  </a:cubicBezTo>
                  <a:lnTo>
                    <a:pt x="77" y="100"/>
                  </a:lnTo>
                  <a:lnTo>
                    <a:pt x="74" y="114"/>
                  </a:lnTo>
                  <a:cubicBezTo>
                    <a:pt x="70" y="124"/>
                    <a:pt x="67" y="131"/>
                    <a:pt x="63" y="142"/>
                  </a:cubicBezTo>
                  <a:cubicBezTo>
                    <a:pt x="63" y="145"/>
                    <a:pt x="60" y="149"/>
                    <a:pt x="60" y="152"/>
                  </a:cubicBezTo>
                  <a:cubicBezTo>
                    <a:pt x="56" y="166"/>
                    <a:pt x="53" y="177"/>
                    <a:pt x="53" y="187"/>
                  </a:cubicBezTo>
                  <a:lnTo>
                    <a:pt x="53" y="191"/>
                  </a:lnTo>
                  <a:cubicBezTo>
                    <a:pt x="49" y="205"/>
                    <a:pt x="49" y="215"/>
                    <a:pt x="46" y="226"/>
                  </a:cubicBezTo>
                  <a:lnTo>
                    <a:pt x="46" y="237"/>
                  </a:lnTo>
                  <a:lnTo>
                    <a:pt x="46" y="261"/>
                  </a:lnTo>
                  <a:lnTo>
                    <a:pt x="46" y="268"/>
                  </a:lnTo>
                  <a:lnTo>
                    <a:pt x="46" y="286"/>
                  </a:lnTo>
                  <a:lnTo>
                    <a:pt x="46" y="293"/>
                  </a:lnTo>
                  <a:cubicBezTo>
                    <a:pt x="49" y="300"/>
                    <a:pt x="49" y="307"/>
                    <a:pt x="49" y="314"/>
                  </a:cubicBezTo>
                  <a:cubicBezTo>
                    <a:pt x="60" y="366"/>
                    <a:pt x="56" y="426"/>
                    <a:pt x="35" y="478"/>
                  </a:cubicBezTo>
                  <a:cubicBezTo>
                    <a:pt x="28" y="499"/>
                    <a:pt x="21" y="524"/>
                    <a:pt x="11" y="541"/>
                  </a:cubicBezTo>
                  <a:lnTo>
                    <a:pt x="0" y="580"/>
                  </a:lnTo>
                  <a:cubicBezTo>
                    <a:pt x="228" y="618"/>
                    <a:pt x="518" y="723"/>
                    <a:pt x="669" y="909"/>
                  </a:cubicBezTo>
                  <a:cubicBezTo>
                    <a:pt x="714" y="972"/>
                    <a:pt x="784" y="1014"/>
                    <a:pt x="861" y="1028"/>
                  </a:cubicBezTo>
                  <a:cubicBezTo>
                    <a:pt x="956" y="1042"/>
                    <a:pt x="1033" y="1101"/>
                    <a:pt x="1075" y="1185"/>
                  </a:cubicBezTo>
                  <a:cubicBezTo>
                    <a:pt x="1088" y="1214"/>
                    <a:pt x="1116" y="1235"/>
                    <a:pt x="1148" y="1235"/>
                  </a:cubicBezTo>
                  <a:cubicBezTo>
                    <a:pt x="1150" y="1235"/>
                    <a:pt x="1153" y="1234"/>
                    <a:pt x="1156" y="1234"/>
                  </a:cubicBezTo>
                  <a:cubicBezTo>
                    <a:pt x="1243" y="1234"/>
                    <a:pt x="1352" y="1140"/>
                    <a:pt x="1383" y="1077"/>
                  </a:cubicBezTo>
                  <a:cubicBezTo>
                    <a:pt x="1394" y="1059"/>
                    <a:pt x="1394" y="1049"/>
                    <a:pt x="1334" y="989"/>
                  </a:cubicBezTo>
                  <a:cubicBezTo>
                    <a:pt x="1278" y="944"/>
                    <a:pt x="1240" y="884"/>
                    <a:pt x="1219" y="814"/>
                  </a:cubicBezTo>
                  <a:cubicBezTo>
                    <a:pt x="1198" y="699"/>
                    <a:pt x="1303" y="657"/>
                    <a:pt x="1373" y="629"/>
                  </a:cubicBezTo>
                  <a:cubicBezTo>
                    <a:pt x="1450" y="601"/>
                    <a:pt x="1495" y="576"/>
                    <a:pt x="1513" y="520"/>
                  </a:cubicBezTo>
                  <a:cubicBezTo>
                    <a:pt x="1534" y="440"/>
                    <a:pt x="1600" y="373"/>
                    <a:pt x="1698" y="324"/>
                  </a:cubicBezTo>
                  <a:cubicBezTo>
                    <a:pt x="1800" y="277"/>
                    <a:pt x="1921" y="250"/>
                    <a:pt x="2029" y="250"/>
                  </a:cubicBezTo>
                  <a:cubicBezTo>
                    <a:pt x="2097" y="250"/>
                    <a:pt x="2160" y="261"/>
                    <a:pt x="2209" y="282"/>
                  </a:cubicBezTo>
                  <a:cubicBezTo>
                    <a:pt x="2356" y="345"/>
                    <a:pt x="2444" y="426"/>
                    <a:pt x="2468" y="520"/>
                  </a:cubicBezTo>
                  <a:cubicBezTo>
                    <a:pt x="2486" y="597"/>
                    <a:pt x="2458" y="678"/>
                    <a:pt x="2388" y="758"/>
                  </a:cubicBezTo>
                  <a:cubicBezTo>
                    <a:pt x="2318" y="839"/>
                    <a:pt x="2531" y="1070"/>
                    <a:pt x="2661" y="1192"/>
                  </a:cubicBezTo>
                  <a:lnTo>
                    <a:pt x="2671" y="1182"/>
                  </a:lnTo>
                  <a:lnTo>
                    <a:pt x="2692" y="1161"/>
                  </a:lnTo>
                  <a:lnTo>
                    <a:pt x="2731" y="1122"/>
                  </a:lnTo>
                  <a:lnTo>
                    <a:pt x="2752" y="1101"/>
                  </a:lnTo>
                  <a:lnTo>
                    <a:pt x="2783" y="1066"/>
                  </a:lnTo>
                  <a:lnTo>
                    <a:pt x="2804" y="1045"/>
                  </a:lnTo>
                  <a:lnTo>
                    <a:pt x="2832" y="1017"/>
                  </a:lnTo>
                  <a:lnTo>
                    <a:pt x="2853" y="1000"/>
                  </a:lnTo>
                  <a:lnTo>
                    <a:pt x="2878" y="975"/>
                  </a:lnTo>
                  <a:lnTo>
                    <a:pt x="2895" y="958"/>
                  </a:lnTo>
                  <a:lnTo>
                    <a:pt x="2920" y="937"/>
                  </a:lnTo>
                  <a:lnTo>
                    <a:pt x="2934" y="923"/>
                  </a:lnTo>
                  <a:lnTo>
                    <a:pt x="2955" y="905"/>
                  </a:lnTo>
                  <a:lnTo>
                    <a:pt x="2966" y="895"/>
                  </a:lnTo>
                  <a:cubicBezTo>
                    <a:pt x="2976" y="888"/>
                    <a:pt x="2983" y="881"/>
                    <a:pt x="2990" y="874"/>
                  </a:cubicBezTo>
                  <a:lnTo>
                    <a:pt x="2994" y="874"/>
                  </a:lnTo>
                  <a:lnTo>
                    <a:pt x="2997" y="870"/>
                  </a:lnTo>
                  <a:lnTo>
                    <a:pt x="3001" y="863"/>
                  </a:lnTo>
                  <a:lnTo>
                    <a:pt x="3001" y="860"/>
                  </a:lnTo>
                  <a:lnTo>
                    <a:pt x="3004" y="853"/>
                  </a:lnTo>
                  <a:lnTo>
                    <a:pt x="3004" y="849"/>
                  </a:lnTo>
                  <a:cubicBezTo>
                    <a:pt x="3004" y="846"/>
                    <a:pt x="3008" y="839"/>
                    <a:pt x="3011" y="835"/>
                  </a:cubicBezTo>
                  <a:cubicBezTo>
                    <a:pt x="3015" y="828"/>
                    <a:pt x="3015" y="821"/>
                    <a:pt x="3018" y="814"/>
                  </a:cubicBezTo>
                  <a:lnTo>
                    <a:pt x="3018" y="807"/>
                  </a:lnTo>
                  <a:lnTo>
                    <a:pt x="3022" y="793"/>
                  </a:lnTo>
                  <a:cubicBezTo>
                    <a:pt x="2945" y="723"/>
                    <a:pt x="2860" y="590"/>
                    <a:pt x="2755" y="433"/>
                  </a:cubicBezTo>
                  <a:lnTo>
                    <a:pt x="2710" y="366"/>
                  </a:lnTo>
                  <a:cubicBezTo>
                    <a:pt x="2591" y="184"/>
                    <a:pt x="2398" y="138"/>
                    <a:pt x="2213" y="96"/>
                  </a:cubicBezTo>
                  <a:cubicBezTo>
                    <a:pt x="2129" y="79"/>
                    <a:pt x="2052" y="58"/>
                    <a:pt x="1975" y="26"/>
                  </a:cubicBezTo>
                  <a:cubicBezTo>
                    <a:pt x="1933" y="8"/>
                    <a:pt x="1890" y="0"/>
                    <a:pt x="18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8" name="Google Shape;6365;p64">
              <a:extLst>
                <a:ext uri="{FF2B5EF4-FFF2-40B4-BE49-F238E27FC236}">
                  <a16:creationId xmlns:a16="http://schemas.microsoft.com/office/drawing/2014/main" id="{4E1B1515-8AA7-3FA3-FF6A-E195018C5199}"/>
                </a:ext>
              </a:extLst>
            </p:cNvPr>
            <p:cNvSpPr/>
            <p:nvPr/>
          </p:nvSpPr>
          <p:spPr>
            <a:xfrm>
              <a:off x="1428272" y="1975013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cubicBezTo>
                    <a:pt x="4" y="11"/>
                    <a:pt x="1" y="25"/>
                    <a:pt x="1" y="36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9" name="Google Shape;6366;p64">
              <a:extLst>
                <a:ext uri="{FF2B5EF4-FFF2-40B4-BE49-F238E27FC236}">
                  <a16:creationId xmlns:a16="http://schemas.microsoft.com/office/drawing/2014/main" id="{1E58F7ED-A5B1-8D26-DEF3-45C43D25FDDC}"/>
                </a:ext>
              </a:extLst>
            </p:cNvPr>
            <p:cNvSpPr/>
            <p:nvPr/>
          </p:nvSpPr>
          <p:spPr>
            <a:xfrm>
              <a:off x="1428272" y="197563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ubicBezTo>
                    <a:pt x="1" y="8"/>
                    <a:pt x="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0" name="Google Shape;6367;p64">
              <a:extLst>
                <a:ext uri="{FF2B5EF4-FFF2-40B4-BE49-F238E27FC236}">
                  <a16:creationId xmlns:a16="http://schemas.microsoft.com/office/drawing/2014/main" id="{BA0321F0-D254-C799-9F6A-13DE765DE4FC}"/>
                </a:ext>
              </a:extLst>
            </p:cNvPr>
            <p:cNvSpPr/>
            <p:nvPr/>
          </p:nvSpPr>
          <p:spPr>
            <a:xfrm>
              <a:off x="1428707" y="197364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ubicBezTo>
                    <a:pt x="4" y="7"/>
                    <a:pt x="7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1" name="Google Shape;6368;p64">
              <a:extLst>
                <a:ext uri="{FF2B5EF4-FFF2-40B4-BE49-F238E27FC236}">
                  <a16:creationId xmlns:a16="http://schemas.microsoft.com/office/drawing/2014/main" id="{A4B9878B-B3C4-EB3B-3742-A286B842FFD2}"/>
                </a:ext>
              </a:extLst>
            </p:cNvPr>
            <p:cNvSpPr/>
            <p:nvPr/>
          </p:nvSpPr>
          <p:spPr>
            <a:xfrm>
              <a:off x="1428272" y="1976072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4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2" name="Google Shape;6369;p64">
              <a:extLst>
                <a:ext uri="{FF2B5EF4-FFF2-40B4-BE49-F238E27FC236}">
                  <a16:creationId xmlns:a16="http://schemas.microsoft.com/office/drawing/2014/main" id="{A0271BBC-A707-44EE-0CA7-CBB84942FB36}"/>
                </a:ext>
              </a:extLst>
            </p:cNvPr>
            <p:cNvSpPr/>
            <p:nvPr/>
          </p:nvSpPr>
          <p:spPr>
            <a:xfrm>
              <a:off x="1427797" y="1978923"/>
              <a:ext cx="299" cy="869"/>
            </a:xfrm>
            <a:custGeom>
              <a:avLst/>
              <a:gdLst/>
              <a:ahLst/>
              <a:cxnLst/>
              <a:rect l="l" t="t" r="r" b="b"/>
              <a:pathLst>
                <a:path w="22" h="64" extrusionOk="0">
                  <a:moveTo>
                    <a:pt x="22" y="0"/>
                  </a:moveTo>
                  <a:lnTo>
                    <a:pt x="22" y="0"/>
                  </a:lnTo>
                  <a:cubicBezTo>
                    <a:pt x="15" y="18"/>
                    <a:pt x="8" y="42"/>
                    <a:pt x="1" y="63"/>
                  </a:cubicBezTo>
                  <a:cubicBezTo>
                    <a:pt x="11" y="42"/>
                    <a:pt x="18" y="2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3" name="Google Shape;6370;p64">
              <a:extLst>
                <a:ext uri="{FF2B5EF4-FFF2-40B4-BE49-F238E27FC236}">
                  <a16:creationId xmlns:a16="http://schemas.microsoft.com/office/drawing/2014/main" id="{6B9F8A99-415A-C853-98D8-E5D144E8CAF3}"/>
                </a:ext>
              </a:extLst>
            </p:cNvPr>
            <p:cNvSpPr/>
            <p:nvPr/>
          </p:nvSpPr>
          <p:spPr>
            <a:xfrm>
              <a:off x="1428082" y="1976642"/>
              <a:ext cx="394" cy="2295"/>
            </a:xfrm>
            <a:custGeom>
              <a:avLst/>
              <a:gdLst/>
              <a:ahLst/>
              <a:cxnLst/>
              <a:rect l="l" t="t" r="r" b="b"/>
              <a:pathLst>
                <a:path w="29" h="169" extrusionOk="0">
                  <a:moveTo>
                    <a:pt x="18" y="0"/>
                  </a:moveTo>
                  <a:lnTo>
                    <a:pt x="18" y="0"/>
                  </a:lnTo>
                  <a:cubicBezTo>
                    <a:pt x="29" y="56"/>
                    <a:pt x="25" y="116"/>
                    <a:pt x="1" y="168"/>
                  </a:cubicBezTo>
                  <a:cubicBezTo>
                    <a:pt x="25" y="116"/>
                    <a:pt x="29" y="56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4" name="Google Shape;6371;p64">
              <a:extLst>
                <a:ext uri="{FF2B5EF4-FFF2-40B4-BE49-F238E27FC236}">
                  <a16:creationId xmlns:a16="http://schemas.microsoft.com/office/drawing/2014/main" id="{942C8832-964D-866B-4D2E-7995E6F7965E}"/>
                </a:ext>
              </a:extLst>
            </p:cNvPr>
            <p:cNvSpPr/>
            <p:nvPr/>
          </p:nvSpPr>
          <p:spPr>
            <a:xfrm>
              <a:off x="1428272" y="1976397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1" y="8"/>
                    <a:pt x="1" y="1"/>
                  </a:cubicBezTo>
                  <a:cubicBezTo>
                    <a:pt x="1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5" name="Google Shape;6372;p64">
              <a:extLst>
                <a:ext uri="{FF2B5EF4-FFF2-40B4-BE49-F238E27FC236}">
                  <a16:creationId xmlns:a16="http://schemas.microsoft.com/office/drawing/2014/main" id="{5FB6147F-0689-8A26-252E-4AE296C69944}"/>
                </a:ext>
              </a:extLst>
            </p:cNvPr>
            <p:cNvSpPr/>
            <p:nvPr/>
          </p:nvSpPr>
          <p:spPr>
            <a:xfrm>
              <a:off x="1428368" y="1974497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5"/>
                    <a:pt x="1" y="25"/>
                    <a:pt x="1" y="35"/>
                  </a:cubicBezTo>
                  <a:cubicBezTo>
                    <a:pt x="4" y="25"/>
                    <a:pt x="4" y="15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6" name="Google Shape;6373;p64">
              <a:extLst>
                <a:ext uri="{FF2B5EF4-FFF2-40B4-BE49-F238E27FC236}">
                  <a16:creationId xmlns:a16="http://schemas.microsoft.com/office/drawing/2014/main" id="{76F47A79-2060-A42B-A021-B06E81C6C738}"/>
                </a:ext>
              </a:extLst>
            </p:cNvPr>
            <p:cNvSpPr/>
            <p:nvPr/>
          </p:nvSpPr>
          <p:spPr>
            <a:xfrm>
              <a:off x="1427662" y="1979778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35"/>
                  </a:moveTo>
                  <a:lnTo>
                    <a:pt x="0" y="35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7" name="Google Shape;6374;p64">
              <a:extLst>
                <a:ext uri="{FF2B5EF4-FFF2-40B4-BE49-F238E27FC236}">
                  <a16:creationId xmlns:a16="http://schemas.microsoft.com/office/drawing/2014/main" id="{79DDD0EA-FE0D-EDF7-E011-B4154E8ACB24}"/>
                </a:ext>
              </a:extLst>
            </p:cNvPr>
            <p:cNvSpPr/>
            <p:nvPr/>
          </p:nvSpPr>
          <p:spPr>
            <a:xfrm>
              <a:off x="1428558" y="197396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1" y="18"/>
                    <a:pt x="1" y="29"/>
                  </a:cubicBezTo>
                  <a:cubicBezTo>
                    <a:pt x="1" y="18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8" name="Google Shape;6375;p64">
              <a:extLst>
                <a:ext uri="{FF2B5EF4-FFF2-40B4-BE49-F238E27FC236}">
                  <a16:creationId xmlns:a16="http://schemas.microsoft.com/office/drawing/2014/main" id="{BCE3A317-F1A7-E4CE-0639-5DC4C8126E5A}"/>
                </a:ext>
              </a:extLst>
            </p:cNvPr>
            <p:cNvSpPr/>
            <p:nvPr/>
          </p:nvSpPr>
          <p:spPr>
            <a:xfrm>
              <a:off x="1456704" y="1951401"/>
              <a:ext cx="86665" cy="123066"/>
            </a:xfrm>
            <a:custGeom>
              <a:avLst/>
              <a:gdLst/>
              <a:ahLst/>
              <a:cxnLst/>
              <a:rect l="l" t="t" r="r" b="b"/>
              <a:pathLst>
                <a:path w="6383" h="9064" extrusionOk="0">
                  <a:moveTo>
                    <a:pt x="4068" y="1"/>
                  </a:moveTo>
                  <a:cubicBezTo>
                    <a:pt x="4013" y="1"/>
                    <a:pt x="3957" y="46"/>
                    <a:pt x="3869" y="130"/>
                  </a:cubicBezTo>
                  <a:cubicBezTo>
                    <a:pt x="3781" y="210"/>
                    <a:pt x="3683" y="301"/>
                    <a:pt x="3554" y="319"/>
                  </a:cubicBezTo>
                  <a:cubicBezTo>
                    <a:pt x="3414" y="340"/>
                    <a:pt x="3347" y="399"/>
                    <a:pt x="3270" y="466"/>
                  </a:cubicBezTo>
                  <a:cubicBezTo>
                    <a:pt x="3221" y="515"/>
                    <a:pt x="3162" y="557"/>
                    <a:pt x="3099" y="592"/>
                  </a:cubicBezTo>
                  <a:cubicBezTo>
                    <a:pt x="3015" y="627"/>
                    <a:pt x="2920" y="648"/>
                    <a:pt x="2825" y="648"/>
                  </a:cubicBezTo>
                  <a:cubicBezTo>
                    <a:pt x="2748" y="655"/>
                    <a:pt x="2640" y="665"/>
                    <a:pt x="2640" y="697"/>
                  </a:cubicBezTo>
                  <a:cubicBezTo>
                    <a:pt x="2636" y="728"/>
                    <a:pt x="2629" y="791"/>
                    <a:pt x="2577" y="816"/>
                  </a:cubicBezTo>
                  <a:cubicBezTo>
                    <a:pt x="2563" y="823"/>
                    <a:pt x="2550" y="826"/>
                    <a:pt x="2536" y="826"/>
                  </a:cubicBezTo>
                  <a:cubicBezTo>
                    <a:pt x="2498" y="826"/>
                    <a:pt x="2459" y="801"/>
                    <a:pt x="2423" y="777"/>
                  </a:cubicBezTo>
                  <a:cubicBezTo>
                    <a:pt x="2384" y="753"/>
                    <a:pt x="2346" y="732"/>
                    <a:pt x="2304" y="718"/>
                  </a:cubicBezTo>
                  <a:cubicBezTo>
                    <a:pt x="2301" y="717"/>
                    <a:pt x="2298" y="717"/>
                    <a:pt x="2294" y="717"/>
                  </a:cubicBezTo>
                  <a:cubicBezTo>
                    <a:pt x="2259" y="717"/>
                    <a:pt x="2181" y="748"/>
                    <a:pt x="2076" y="833"/>
                  </a:cubicBezTo>
                  <a:cubicBezTo>
                    <a:pt x="1961" y="931"/>
                    <a:pt x="1870" y="1057"/>
                    <a:pt x="1873" y="1124"/>
                  </a:cubicBezTo>
                  <a:cubicBezTo>
                    <a:pt x="1873" y="1148"/>
                    <a:pt x="1877" y="1169"/>
                    <a:pt x="1880" y="1194"/>
                  </a:cubicBezTo>
                  <a:cubicBezTo>
                    <a:pt x="1898" y="1355"/>
                    <a:pt x="1915" y="1537"/>
                    <a:pt x="1649" y="1705"/>
                  </a:cubicBezTo>
                  <a:cubicBezTo>
                    <a:pt x="1467" y="1821"/>
                    <a:pt x="1338" y="2013"/>
                    <a:pt x="1233" y="2164"/>
                  </a:cubicBezTo>
                  <a:cubicBezTo>
                    <a:pt x="1191" y="2227"/>
                    <a:pt x="1156" y="2279"/>
                    <a:pt x="1121" y="2321"/>
                  </a:cubicBezTo>
                  <a:cubicBezTo>
                    <a:pt x="1093" y="2360"/>
                    <a:pt x="1047" y="2384"/>
                    <a:pt x="998" y="2384"/>
                  </a:cubicBezTo>
                  <a:lnTo>
                    <a:pt x="998" y="2388"/>
                  </a:lnTo>
                  <a:cubicBezTo>
                    <a:pt x="995" y="2405"/>
                    <a:pt x="988" y="2419"/>
                    <a:pt x="984" y="2433"/>
                  </a:cubicBezTo>
                  <a:lnTo>
                    <a:pt x="981" y="2440"/>
                  </a:lnTo>
                  <a:cubicBezTo>
                    <a:pt x="977" y="2451"/>
                    <a:pt x="970" y="2461"/>
                    <a:pt x="967" y="2472"/>
                  </a:cubicBezTo>
                  <a:lnTo>
                    <a:pt x="963" y="2475"/>
                  </a:lnTo>
                  <a:cubicBezTo>
                    <a:pt x="956" y="2486"/>
                    <a:pt x="949" y="2496"/>
                    <a:pt x="942" y="2503"/>
                  </a:cubicBezTo>
                  <a:lnTo>
                    <a:pt x="939" y="2510"/>
                  </a:lnTo>
                  <a:cubicBezTo>
                    <a:pt x="932" y="2517"/>
                    <a:pt x="925" y="2524"/>
                    <a:pt x="914" y="2531"/>
                  </a:cubicBezTo>
                  <a:lnTo>
                    <a:pt x="900" y="2542"/>
                  </a:lnTo>
                  <a:lnTo>
                    <a:pt x="897" y="2549"/>
                  </a:lnTo>
                  <a:lnTo>
                    <a:pt x="886" y="2556"/>
                  </a:lnTo>
                  <a:lnTo>
                    <a:pt x="879" y="2563"/>
                  </a:lnTo>
                  <a:lnTo>
                    <a:pt x="869" y="2573"/>
                  </a:lnTo>
                  <a:lnTo>
                    <a:pt x="858" y="2580"/>
                  </a:lnTo>
                  <a:lnTo>
                    <a:pt x="848" y="2591"/>
                  </a:lnTo>
                  <a:lnTo>
                    <a:pt x="841" y="2598"/>
                  </a:lnTo>
                  <a:lnTo>
                    <a:pt x="827" y="2612"/>
                  </a:lnTo>
                  <a:lnTo>
                    <a:pt x="816" y="2619"/>
                  </a:lnTo>
                  <a:lnTo>
                    <a:pt x="798" y="2636"/>
                  </a:lnTo>
                  <a:lnTo>
                    <a:pt x="788" y="2647"/>
                  </a:lnTo>
                  <a:lnTo>
                    <a:pt x="770" y="2664"/>
                  </a:lnTo>
                  <a:lnTo>
                    <a:pt x="760" y="2675"/>
                  </a:lnTo>
                  <a:lnTo>
                    <a:pt x="746" y="2685"/>
                  </a:lnTo>
                  <a:lnTo>
                    <a:pt x="735" y="2699"/>
                  </a:lnTo>
                  <a:lnTo>
                    <a:pt x="721" y="2710"/>
                  </a:lnTo>
                  <a:lnTo>
                    <a:pt x="711" y="2724"/>
                  </a:lnTo>
                  <a:lnTo>
                    <a:pt x="697" y="2734"/>
                  </a:lnTo>
                  <a:lnTo>
                    <a:pt x="686" y="2748"/>
                  </a:lnTo>
                  <a:lnTo>
                    <a:pt x="676" y="2759"/>
                  </a:lnTo>
                  <a:lnTo>
                    <a:pt x="662" y="2773"/>
                  </a:lnTo>
                  <a:lnTo>
                    <a:pt x="658" y="2780"/>
                  </a:lnTo>
                  <a:lnTo>
                    <a:pt x="599" y="2836"/>
                  </a:lnTo>
                  <a:cubicBezTo>
                    <a:pt x="651" y="2885"/>
                    <a:pt x="697" y="2927"/>
                    <a:pt x="732" y="2965"/>
                  </a:cubicBezTo>
                  <a:cubicBezTo>
                    <a:pt x="823" y="3056"/>
                    <a:pt x="865" y="3186"/>
                    <a:pt x="848" y="3315"/>
                  </a:cubicBezTo>
                  <a:cubicBezTo>
                    <a:pt x="841" y="3347"/>
                    <a:pt x="844" y="3375"/>
                    <a:pt x="851" y="3403"/>
                  </a:cubicBezTo>
                  <a:cubicBezTo>
                    <a:pt x="974" y="3644"/>
                    <a:pt x="897" y="3746"/>
                    <a:pt x="834" y="3788"/>
                  </a:cubicBezTo>
                  <a:cubicBezTo>
                    <a:pt x="784" y="3872"/>
                    <a:pt x="848" y="4443"/>
                    <a:pt x="939" y="4541"/>
                  </a:cubicBezTo>
                  <a:cubicBezTo>
                    <a:pt x="1054" y="4674"/>
                    <a:pt x="988" y="4793"/>
                    <a:pt x="900" y="4950"/>
                  </a:cubicBezTo>
                  <a:cubicBezTo>
                    <a:pt x="879" y="4989"/>
                    <a:pt x="851" y="5038"/>
                    <a:pt x="827" y="5087"/>
                  </a:cubicBezTo>
                  <a:cubicBezTo>
                    <a:pt x="704" y="5328"/>
                    <a:pt x="585" y="5472"/>
                    <a:pt x="322" y="5486"/>
                  </a:cubicBezTo>
                  <a:cubicBezTo>
                    <a:pt x="235" y="5493"/>
                    <a:pt x="200" y="5577"/>
                    <a:pt x="165" y="5689"/>
                  </a:cubicBezTo>
                  <a:cubicBezTo>
                    <a:pt x="140" y="5759"/>
                    <a:pt x="116" y="5832"/>
                    <a:pt x="49" y="5839"/>
                  </a:cubicBezTo>
                  <a:cubicBezTo>
                    <a:pt x="21" y="5878"/>
                    <a:pt x="7" y="5927"/>
                    <a:pt x="0" y="5973"/>
                  </a:cubicBezTo>
                  <a:lnTo>
                    <a:pt x="11" y="5983"/>
                  </a:lnTo>
                  <a:lnTo>
                    <a:pt x="28" y="5997"/>
                  </a:lnTo>
                  <a:lnTo>
                    <a:pt x="53" y="6015"/>
                  </a:lnTo>
                  <a:lnTo>
                    <a:pt x="74" y="6029"/>
                  </a:lnTo>
                  <a:lnTo>
                    <a:pt x="98" y="6050"/>
                  </a:lnTo>
                  <a:lnTo>
                    <a:pt x="119" y="6060"/>
                  </a:lnTo>
                  <a:lnTo>
                    <a:pt x="147" y="6081"/>
                  </a:lnTo>
                  <a:lnTo>
                    <a:pt x="165" y="6095"/>
                  </a:lnTo>
                  <a:lnTo>
                    <a:pt x="193" y="6113"/>
                  </a:lnTo>
                  <a:lnTo>
                    <a:pt x="214" y="6123"/>
                  </a:lnTo>
                  <a:lnTo>
                    <a:pt x="242" y="6141"/>
                  </a:lnTo>
                  <a:lnTo>
                    <a:pt x="259" y="6155"/>
                  </a:lnTo>
                  <a:lnTo>
                    <a:pt x="287" y="6169"/>
                  </a:lnTo>
                  <a:lnTo>
                    <a:pt x="308" y="6183"/>
                  </a:lnTo>
                  <a:lnTo>
                    <a:pt x="333" y="6197"/>
                  </a:lnTo>
                  <a:lnTo>
                    <a:pt x="354" y="6207"/>
                  </a:lnTo>
                  <a:lnTo>
                    <a:pt x="378" y="6221"/>
                  </a:lnTo>
                  <a:lnTo>
                    <a:pt x="396" y="6232"/>
                  </a:lnTo>
                  <a:lnTo>
                    <a:pt x="420" y="6242"/>
                  </a:lnTo>
                  <a:lnTo>
                    <a:pt x="438" y="6253"/>
                  </a:lnTo>
                  <a:lnTo>
                    <a:pt x="459" y="6263"/>
                  </a:lnTo>
                  <a:lnTo>
                    <a:pt x="476" y="6270"/>
                  </a:lnTo>
                  <a:lnTo>
                    <a:pt x="497" y="6281"/>
                  </a:lnTo>
                  <a:lnTo>
                    <a:pt x="511" y="6288"/>
                  </a:lnTo>
                  <a:lnTo>
                    <a:pt x="529" y="6295"/>
                  </a:lnTo>
                  <a:lnTo>
                    <a:pt x="543" y="6298"/>
                  </a:lnTo>
                  <a:lnTo>
                    <a:pt x="557" y="6305"/>
                  </a:lnTo>
                  <a:lnTo>
                    <a:pt x="567" y="6309"/>
                  </a:lnTo>
                  <a:lnTo>
                    <a:pt x="585" y="6312"/>
                  </a:lnTo>
                  <a:lnTo>
                    <a:pt x="606" y="6312"/>
                  </a:lnTo>
                  <a:cubicBezTo>
                    <a:pt x="700" y="6312"/>
                    <a:pt x="763" y="6379"/>
                    <a:pt x="834" y="6449"/>
                  </a:cubicBezTo>
                  <a:cubicBezTo>
                    <a:pt x="876" y="6494"/>
                    <a:pt x="928" y="6540"/>
                    <a:pt x="981" y="6575"/>
                  </a:cubicBezTo>
                  <a:lnTo>
                    <a:pt x="1002" y="6582"/>
                  </a:lnTo>
                  <a:cubicBezTo>
                    <a:pt x="1053" y="6609"/>
                    <a:pt x="1111" y="6621"/>
                    <a:pt x="1169" y="6621"/>
                  </a:cubicBezTo>
                  <a:cubicBezTo>
                    <a:pt x="1202" y="6621"/>
                    <a:pt x="1235" y="6617"/>
                    <a:pt x="1268" y="6610"/>
                  </a:cubicBezTo>
                  <a:cubicBezTo>
                    <a:pt x="1285" y="6606"/>
                    <a:pt x="1303" y="6599"/>
                    <a:pt x="1313" y="6589"/>
                  </a:cubicBezTo>
                  <a:cubicBezTo>
                    <a:pt x="1334" y="6564"/>
                    <a:pt x="1362" y="6550"/>
                    <a:pt x="1394" y="6550"/>
                  </a:cubicBezTo>
                  <a:lnTo>
                    <a:pt x="1418" y="6550"/>
                  </a:lnTo>
                  <a:lnTo>
                    <a:pt x="1432" y="6554"/>
                  </a:lnTo>
                  <a:lnTo>
                    <a:pt x="1439" y="6554"/>
                  </a:lnTo>
                  <a:lnTo>
                    <a:pt x="1450" y="6557"/>
                  </a:lnTo>
                  <a:lnTo>
                    <a:pt x="1457" y="6561"/>
                  </a:lnTo>
                  <a:lnTo>
                    <a:pt x="1471" y="6564"/>
                  </a:lnTo>
                  <a:lnTo>
                    <a:pt x="1478" y="6568"/>
                  </a:lnTo>
                  <a:lnTo>
                    <a:pt x="1492" y="6578"/>
                  </a:lnTo>
                  <a:lnTo>
                    <a:pt x="1495" y="6582"/>
                  </a:lnTo>
                  <a:lnTo>
                    <a:pt x="1513" y="6592"/>
                  </a:lnTo>
                  <a:lnTo>
                    <a:pt x="1534" y="6606"/>
                  </a:lnTo>
                  <a:lnTo>
                    <a:pt x="1537" y="6610"/>
                  </a:lnTo>
                  <a:lnTo>
                    <a:pt x="1558" y="6627"/>
                  </a:lnTo>
                  <a:cubicBezTo>
                    <a:pt x="1649" y="6708"/>
                    <a:pt x="1737" y="6799"/>
                    <a:pt x="1821" y="6890"/>
                  </a:cubicBezTo>
                  <a:lnTo>
                    <a:pt x="1835" y="6886"/>
                  </a:lnTo>
                  <a:lnTo>
                    <a:pt x="1870" y="6883"/>
                  </a:lnTo>
                  <a:lnTo>
                    <a:pt x="1901" y="6876"/>
                  </a:lnTo>
                  <a:lnTo>
                    <a:pt x="1929" y="6872"/>
                  </a:lnTo>
                  <a:lnTo>
                    <a:pt x="1957" y="6865"/>
                  </a:lnTo>
                  <a:lnTo>
                    <a:pt x="1985" y="6862"/>
                  </a:lnTo>
                  <a:lnTo>
                    <a:pt x="2010" y="6858"/>
                  </a:lnTo>
                  <a:lnTo>
                    <a:pt x="2230" y="6858"/>
                  </a:lnTo>
                  <a:lnTo>
                    <a:pt x="2241" y="6862"/>
                  </a:lnTo>
                  <a:lnTo>
                    <a:pt x="2248" y="6862"/>
                  </a:lnTo>
                  <a:lnTo>
                    <a:pt x="2258" y="6865"/>
                  </a:lnTo>
                  <a:lnTo>
                    <a:pt x="2265" y="6865"/>
                  </a:lnTo>
                  <a:lnTo>
                    <a:pt x="2272" y="6869"/>
                  </a:lnTo>
                  <a:lnTo>
                    <a:pt x="2276" y="6869"/>
                  </a:lnTo>
                  <a:lnTo>
                    <a:pt x="2283" y="6872"/>
                  </a:lnTo>
                  <a:lnTo>
                    <a:pt x="2286" y="6872"/>
                  </a:lnTo>
                  <a:lnTo>
                    <a:pt x="2293" y="6876"/>
                  </a:lnTo>
                  <a:lnTo>
                    <a:pt x="2300" y="6879"/>
                  </a:lnTo>
                  <a:cubicBezTo>
                    <a:pt x="2388" y="6932"/>
                    <a:pt x="2423" y="7033"/>
                    <a:pt x="2454" y="7131"/>
                  </a:cubicBezTo>
                  <a:cubicBezTo>
                    <a:pt x="2500" y="7261"/>
                    <a:pt x="2528" y="7320"/>
                    <a:pt x="2594" y="7327"/>
                  </a:cubicBezTo>
                  <a:cubicBezTo>
                    <a:pt x="2724" y="7341"/>
                    <a:pt x="2843" y="7408"/>
                    <a:pt x="2920" y="7513"/>
                  </a:cubicBezTo>
                  <a:cubicBezTo>
                    <a:pt x="2976" y="7576"/>
                    <a:pt x="3004" y="7660"/>
                    <a:pt x="2997" y="7744"/>
                  </a:cubicBezTo>
                  <a:cubicBezTo>
                    <a:pt x="2994" y="7761"/>
                    <a:pt x="3036" y="7796"/>
                    <a:pt x="3064" y="7821"/>
                  </a:cubicBezTo>
                  <a:cubicBezTo>
                    <a:pt x="3130" y="7877"/>
                    <a:pt x="3221" y="7957"/>
                    <a:pt x="3207" y="8084"/>
                  </a:cubicBezTo>
                  <a:cubicBezTo>
                    <a:pt x="3207" y="8084"/>
                    <a:pt x="3214" y="8098"/>
                    <a:pt x="3256" y="8112"/>
                  </a:cubicBezTo>
                  <a:cubicBezTo>
                    <a:pt x="3311" y="8128"/>
                    <a:pt x="3384" y="8135"/>
                    <a:pt x="3457" y="8135"/>
                  </a:cubicBezTo>
                  <a:cubicBezTo>
                    <a:pt x="3580" y="8135"/>
                    <a:pt x="3704" y="8116"/>
                    <a:pt x="3732" y="8101"/>
                  </a:cubicBezTo>
                  <a:cubicBezTo>
                    <a:pt x="3793" y="8053"/>
                    <a:pt x="3886" y="8021"/>
                    <a:pt x="3975" y="8021"/>
                  </a:cubicBezTo>
                  <a:cubicBezTo>
                    <a:pt x="4029" y="8021"/>
                    <a:pt x="4081" y="8033"/>
                    <a:pt x="4124" y="8059"/>
                  </a:cubicBezTo>
                  <a:cubicBezTo>
                    <a:pt x="4133" y="8063"/>
                    <a:pt x="4143" y="8065"/>
                    <a:pt x="4156" y="8065"/>
                  </a:cubicBezTo>
                  <a:cubicBezTo>
                    <a:pt x="4187" y="8065"/>
                    <a:pt x="4229" y="8055"/>
                    <a:pt x="4271" y="8045"/>
                  </a:cubicBezTo>
                  <a:lnTo>
                    <a:pt x="4303" y="8038"/>
                  </a:lnTo>
                  <a:lnTo>
                    <a:pt x="4306" y="8038"/>
                  </a:lnTo>
                  <a:lnTo>
                    <a:pt x="4334" y="8031"/>
                  </a:lnTo>
                  <a:lnTo>
                    <a:pt x="4341" y="8031"/>
                  </a:lnTo>
                  <a:cubicBezTo>
                    <a:pt x="4362" y="8028"/>
                    <a:pt x="4383" y="8024"/>
                    <a:pt x="4404" y="8024"/>
                  </a:cubicBezTo>
                  <a:lnTo>
                    <a:pt x="4408" y="8024"/>
                  </a:lnTo>
                  <a:cubicBezTo>
                    <a:pt x="4418" y="8024"/>
                    <a:pt x="4429" y="8024"/>
                    <a:pt x="4439" y="8028"/>
                  </a:cubicBezTo>
                  <a:lnTo>
                    <a:pt x="4446" y="8028"/>
                  </a:lnTo>
                  <a:cubicBezTo>
                    <a:pt x="4457" y="8028"/>
                    <a:pt x="4467" y="8031"/>
                    <a:pt x="4474" y="8035"/>
                  </a:cubicBezTo>
                  <a:cubicBezTo>
                    <a:pt x="4604" y="8080"/>
                    <a:pt x="4726" y="8147"/>
                    <a:pt x="4835" y="8227"/>
                  </a:cubicBezTo>
                  <a:cubicBezTo>
                    <a:pt x="4873" y="8255"/>
                    <a:pt x="4901" y="8294"/>
                    <a:pt x="4919" y="8336"/>
                  </a:cubicBezTo>
                  <a:cubicBezTo>
                    <a:pt x="4933" y="8374"/>
                    <a:pt x="4929" y="8416"/>
                    <a:pt x="4908" y="8451"/>
                  </a:cubicBezTo>
                  <a:cubicBezTo>
                    <a:pt x="4870" y="8511"/>
                    <a:pt x="4824" y="8567"/>
                    <a:pt x="4779" y="8619"/>
                  </a:cubicBezTo>
                  <a:cubicBezTo>
                    <a:pt x="4726" y="8675"/>
                    <a:pt x="4607" y="8812"/>
                    <a:pt x="4625" y="8847"/>
                  </a:cubicBezTo>
                  <a:cubicBezTo>
                    <a:pt x="4639" y="8875"/>
                    <a:pt x="4695" y="8910"/>
                    <a:pt x="4747" y="8941"/>
                  </a:cubicBezTo>
                  <a:lnTo>
                    <a:pt x="4786" y="8962"/>
                  </a:lnTo>
                  <a:lnTo>
                    <a:pt x="4793" y="8969"/>
                  </a:lnTo>
                  <a:lnTo>
                    <a:pt x="4831" y="8994"/>
                  </a:lnTo>
                  <a:lnTo>
                    <a:pt x="4838" y="9001"/>
                  </a:lnTo>
                  <a:cubicBezTo>
                    <a:pt x="4852" y="9008"/>
                    <a:pt x="4863" y="9018"/>
                    <a:pt x="4873" y="9025"/>
                  </a:cubicBezTo>
                  <a:lnTo>
                    <a:pt x="4877" y="9029"/>
                  </a:lnTo>
                  <a:cubicBezTo>
                    <a:pt x="4887" y="9039"/>
                    <a:pt x="4901" y="9050"/>
                    <a:pt x="4912" y="9060"/>
                  </a:cubicBezTo>
                  <a:lnTo>
                    <a:pt x="4915" y="9064"/>
                  </a:lnTo>
                  <a:lnTo>
                    <a:pt x="4919" y="9060"/>
                  </a:lnTo>
                  <a:cubicBezTo>
                    <a:pt x="4922" y="9057"/>
                    <a:pt x="4926" y="9050"/>
                    <a:pt x="4929" y="9046"/>
                  </a:cubicBezTo>
                  <a:lnTo>
                    <a:pt x="4933" y="9043"/>
                  </a:lnTo>
                  <a:cubicBezTo>
                    <a:pt x="4936" y="9036"/>
                    <a:pt x="4940" y="9029"/>
                    <a:pt x="4943" y="9022"/>
                  </a:cubicBezTo>
                  <a:lnTo>
                    <a:pt x="4947" y="9015"/>
                  </a:lnTo>
                  <a:cubicBezTo>
                    <a:pt x="4950" y="9011"/>
                    <a:pt x="4954" y="9001"/>
                    <a:pt x="4954" y="8994"/>
                  </a:cubicBezTo>
                  <a:lnTo>
                    <a:pt x="4957" y="8983"/>
                  </a:lnTo>
                  <a:cubicBezTo>
                    <a:pt x="4961" y="8976"/>
                    <a:pt x="4965" y="8969"/>
                    <a:pt x="4968" y="8959"/>
                  </a:cubicBezTo>
                  <a:lnTo>
                    <a:pt x="4972" y="8948"/>
                  </a:lnTo>
                  <a:cubicBezTo>
                    <a:pt x="4975" y="8938"/>
                    <a:pt x="4979" y="8927"/>
                    <a:pt x="4982" y="8917"/>
                  </a:cubicBezTo>
                  <a:lnTo>
                    <a:pt x="4986" y="8903"/>
                  </a:lnTo>
                  <a:cubicBezTo>
                    <a:pt x="4989" y="8892"/>
                    <a:pt x="4993" y="8885"/>
                    <a:pt x="4993" y="8875"/>
                  </a:cubicBezTo>
                  <a:lnTo>
                    <a:pt x="5000" y="8857"/>
                  </a:lnTo>
                  <a:cubicBezTo>
                    <a:pt x="5000" y="8847"/>
                    <a:pt x="5003" y="8836"/>
                    <a:pt x="5007" y="8826"/>
                  </a:cubicBezTo>
                  <a:lnTo>
                    <a:pt x="5010" y="8808"/>
                  </a:lnTo>
                  <a:cubicBezTo>
                    <a:pt x="5014" y="8798"/>
                    <a:pt x="5014" y="8787"/>
                    <a:pt x="5017" y="8777"/>
                  </a:cubicBezTo>
                  <a:lnTo>
                    <a:pt x="5021" y="8756"/>
                  </a:lnTo>
                  <a:cubicBezTo>
                    <a:pt x="5021" y="8745"/>
                    <a:pt x="5024" y="8735"/>
                    <a:pt x="5028" y="8724"/>
                  </a:cubicBezTo>
                  <a:lnTo>
                    <a:pt x="5031" y="8703"/>
                  </a:lnTo>
                  <a:cubicBezTo>
                    <a:pt x="5031" y="8693"/>
                    <a:pt x="5035" y="8682"/>
                    <a:pt x="5035" y="8672"/>
                  </a:cubicBezTo>
                  <a:cubicBezTo>
                    <a:pt x="5038" y="8658"/>
                    <a:pt x="5038" y="8654"/>
                    <a:pt x="5038" y="8647"/>
                  </a:cubicBezTo>
                  <a:cubicBezTo>
                    <a:pt x="5042" y="8640"/>
                    <a:pt x="5042" y="8626"/>
                    <a:pt x="5045" y="8616"/>
                  </a:cubicBezTo>
                  <a:lnTo>
                    <a:pt x="5045" y="8595"/>
                  </a:lnTo>
                  <a:cubicBezTo>
                    <a:pt x="5045" y="8584"/>
                    <a:pt x="5049" y="8574"/>
                    <a:pt x="5049" y="8563"/>
                  </a:cubicBezTo>
                  <a:cubicBezTo>
                    <a:pt x="5052" y="8553"/>
                    <a:pt x="5049" y="8549"/>
                    <a:pt x="5052" y="8542"/>
                  </a:cubicBezTo>
                  <a:cubicBezTo>
                    <a:pt x="5056" y="8535"/>
                    <a:pt x="5052" y="8518"/>
                    <a:pt x="5056" y="8507"/>
                  </a:cubicBezTo>
                  <a:cubicBezTo>
                    <a:pt x="5059" y="8497"/>
                    <a:pt x="5056" y="8497"/>
                    <a:pt x="5056" y="8490"/>
                  </a:cubicBezTo>
                  <a:lnTo>
                    <a:pt x="5056" y="8455"/>
                  </a:lnTo>
                  <a:lnTo>
                    <a:pt x="5056" y="8441"/>
                  </a:lnTo>
                  <a:lnTo>
                    <a:pt x="5056" y="8392"/>
                  </a:lnTo>
                  <a:cubicBezTo>
                    <a:pt x="5070" y="8136"/>
                    <a:pt x="5108" y="7880"/>
                    <a:pt x="5171" y="7628"/>
                  </a:cubicBezTo>
                  <a:cubicBezTo>
                    <a:pt x="5210" y="7488"/>
                    <a:pt x="5122" y="7366"/>
                    <a:pt x="5021" y="7226"/>
                  </a:cubicBezTo>
                  <a:cubicBezTo>
                    <a:pt x="4933" y="7100"/>
                    <a:pt x="4831" y="6963"/>
                    <a:pt x="4817" y="6795"/>
                  </a:cubicBezTo>
                  <a:lnTo>
                    <a:pt x="4817" y="6760"/>
                  </a:lnTo>
                  <a:cubicBezTo>
                    <a:pt x="4817" y="6505"/>
                    <a:pt x="4915" y="6477"/>
                    <a:pt x="5045" y="6466"/>
                  </a:cubicBezTo>
                  <a:cubicBezTo>
                    <a:pt x="5108" y="6463"/>
                    <a:pt x="5168" y="6445"/>
                    <a:pt x="5217" y="6414"/>
                  </a:cubicBezTo>
                  <a:cubicBezTo>
                    <a:pt x="5241" y="6400"/>
                    <a:pt x="5259" y="6382"/>
                    <a:pt x="5273" y="6361"/>
                  </a:cubicBezTo>
                  <a:cubicBezTo>
                    <a:pt x="5266" y="6354"/>
                    <a:pt x="5234" y="6330"/>
                    <a:pt x="5133" y="6305"/>
                  </a:cubicBezTo>
                  <a:cubicBezTo>
                    <a:pt x="5119" y="6302"/>
                    <a:pt x="5101" y="6298"/>
                    <a:pt x="5087" y="6291"/>
                  </a:cubicBezTo>
                  <a:cubicBezTo>
                    <a:pt x="5045" y="6263"/>
                    <a:pt x="5007" y="6228"/>
                    <a:pt x="4982" y="6183"/>
                  </a:cubicBezTo>
                  <a:cubicBezTo>
                    <a:pt x="4947" y="6120"/>
                    <a:pt x="4929" y="6050"/>
                    <a:pt x="4929" y="5980"/>
                  </a:cubicBezTo>
                  <a:cubicBezTo>
                    <a:pt x="4929" y="5962"/>
                    <a:pt x="4933" y="5941"/>
                    <a:pt x="4940" y="5920"/>
                  </a:cubicBezTo>
                  <a:cubicBezTo>
                    <a:pt x="4967" y="5833"/>
                    <a:pt x="5102" y="5805"/>
                    <a:pt x="5391" y="5805"/>
                  </a:cubicBezTo>
                  <a:cubicBezTo>
                    <a:pt x="5475" y="5805"/>
                    <a:pt x="5571" y="5808"/>
                    <a:pt x="5682" y="5811"/>
                  </a:cubicBezTo>
                  <a:cubicBezTo>
                    <a:pt x="5742" y="5811"/>
                    <a:pt x="5794" y="5815"/>
                    <a:pt x="5829" y="5815"/>
                  </a:cubicBezTo>
                  <a:lnTo>
                    <a:pt x="5885" y="5815"/>
                  </a:lnTo>
                  <a:cubicBezTo>
                    <a:pt x="5952" y="5804"/>
                    <a:pt x="6015" y="5787"/>
                    <a:pt x="6078" y="5769"/>
                  </a:cubicBezTo>
                  <a:lnTo>
                    <a:pt x="6081" y="5769"/>
                  </a:lnTo>
                  <a:lnTo>
                    <a:pt x="6106" y="5759"/>
                  </a:lnTo>
                  <a:lnTo>
                    <a:pt x="6134" y="5752"/>
                  </a:lnTo>
                  <a:lnTo>
                    <a:pt x="6137" y="5752"/>
                  </a:lnTo>
                  <a:cubicBezTo>
                    <a:pt x="6193" y="5731"/>
                    <a:pt x="6242" y="5713"/>
                    <a:pt x="6284" y="5696"/>
                  </a:cubicBezTo>
                  <a:lnTo>
                    <a:pt x="6337" y="5671"/>
                  </a:lnTo>
                  <a:lnTo>
                    <a:pt x="6344" y="5668"/>
                  </a:lnTo>
                  <a:cubicBezTo>
                    <a:pt x="6365" y="5657"/>
                    <a:pt x="6375" y="5654"/>
                    <a:pt x="6382" y="5647"/>
                  </a:cubicBezTo>
                  <a:lnTo>
                    <a:pt x="6382" y="5640"/>
                  </a:lnTo>
                  <a:lnTo>
                    <a:pt x="6382" y="5633"/>
                  </a:lnTo>
                  <a:lnTo>
                    <a:pt x="6382" y="5619"/>
                  </a:lnTo>
                  <a:lnTo>
                    <a:pt x="6382" y="5612"/>
                  </a:lnTo>
                  <a:lnTo>
                    <a:pt x="6382" y="5598"/>
                  </a:lnTo>
                  <a:lnTo>
                    <a:pt x="6382" y="5591"/>
                  </a:lnTo>
                  <a:cubicBezTo>
                    <a:pt x="6382" y="5587"/>
                    <a:pt x="6382" y="5580"/>
                    <a:pt x="6379" y="5573"/>
                  </a:cubicBezTo>
                  <a:cubicBezTo>
                    <a:pt x="6379" y="5570"/>
                    <a:pt x="6379" y="5570"/>
                    <a:pt x="6379" y="5566"/>
                  </a:cubicBezTo>
                  <a:cubicBezTo>
                    <a:pt x="6379" y="5563"/>
                    <a:pt x="6375" y="5556"/>
                    <a:pt x="6375" y="5549"/>
                  </a:cubicBezTo>
                  <a:cubicBezTo>
                    <a:pt x="6372" y="5545"/>
                    <a:pt x="6372" y="5542"/>
                    <a:pt x="6372" y="5538"/>
                  </a:cubicBezTo>
                  <a:cubicBezTo>
                    <a:pt x="6368" y="5535"/>
                    <a:pt x="6365" y="5528"/>
                    <a:pt x="6361" y="5524"/>
                  </a:cubicBezTo>
                  <a:cubicBezTo>
                    <a:pt x="6358" y="5517"/>
                    <a:pt x="6358" y="5517"/>
                    <a:pt x="6354" y="5514"/>
                  </a:cubicBezTo>
                  <a:cubicBezTo>
                    <a:pt x="6351" y="5507"/>
                    <a:pt x="6347" y="5500"/>
                    <a:pt x="6340" y="5496"/>
                  </a:cubicBezTo>
                  <a:cubicBezTo>
                    <a:pt x="6337" y="5493"/>
                    <a:pt x="6337" y="5489"/>
                    <a:pt x="6333" y="5486"/>
                  </a:cubicBezTo>
                  <a:cubicBezTo>
                    <a:pt x="6323" y="5475"/>
                    <a:pt x="6312" y="5465"/>
                    <a:pt x="6302" y="5458"/>
                  </a:cubicBezTo>
                  <a:cubicBezTo>
                    <a:pt x="6239" y="5412"/>
                    <a:pt x="6197" y="5342"/>
                    <a:pt x="6190" y="5262"/>
                  </a:cubicBezTo>
                  <a:cubicBezTo>
                    <a:pt x="6176" y="5139"/>
                    <a:pt x="6253" y="5027"/>
                    <a:pt x="6316" y="4954"/>
                  </a:cubicBezTo>
                  <a:cubicBezTo>
                    <a:pt x="6358" y="4901"/>
                    <a:pt x="6326" y="4849"/>
                    <a:pt x="6186" y="4709"/>
                  </a:cubicBezTo>
                  <a:cubicBezTo>
                    <a:pt x="6158" y="4681"/>
                    <a:pt x="6130" y="4649"/>
                    <a:pt x="6102" y="4621"/>
                  </a:cubicBezTo>
                  <a:cubicBezTo>
                    <a:pt x="5931" y="4429"/>
                    <a:pt x="6057" y="3819"/>
                    <a:pt x="6225" y="3543"/>
                  </a:cubicBezTo>
                  <a:cubicBezTo>
                    <a:pt x="6246" y="3508"/>
                    <a:pt x="6253" y="3483"/>
                    <a:pt x="6246" y="3476"/>
                  </a:cubicBezTo>
                  <a:cubicBezTo>
                    <a:pt x="6228" y="3448"/>
                    <a:pt x="6154" y="3438"/>
                    <a:pt x="6062" y="3438"/>
                  </a:cubicBezTo>
                  <a:cubicBezTo>
                    <a:pt x="5919" y="3438"/>
                    <a:pt x="5734" y="3461"/>
                    <a:pt x="5651" y="3469"/>
                  </a:cubicBezTo>
                  <a:cubicBezTo>
                    <a:pt x="5609" y="3475"/>
                    <a:pt x="5568" y="3477"/>
                    <a:pt x="5528" y="3477"/>
                  </a:cubicBezTo>
                  <a:cubicBezTo>
                    <a:pt x="5253" y="3477"/>
                    <a:pt x="5014" y="3353"/>
                    <a:pt x="4824" y="3112"/>
                  </a:cubicBezTo>
                  <a:cubicBezTo>
                    <a:pt x="4757" y="3025"/>
                    <a:pt x="4684" y="2996"/>
                    <a:pt x="4574" y="2996"/>
                  </a:cubicBezTo>
                  <a:cubicBezTo>
                    <a:pt x="4507" y="2996"/>
                    <a:pt x="4428" y="3007"/>
                    <a:pt x="4327" y="3021"/>
                  </a:cubicBezTo>
                  <a:cubicBezTo>
                    <a:pt x="4201" y="3039"/>
                    <a:pt x="4072" y="3049"/>
                    <a:pt x="3942" y="3056"/>
                  </a:cubicBezTo>
                  <a:lnTo>
                    <a:pt x="3890" y="3056"/>
                  </a:lnTo>
                  <a:cubicBezTo>
                    <a:pt x="3788" y="3053"/>
                    <a:pt x="3687" y="3011"/>
                    <a:pt x="3617" y="2937"/>
                  </a:cubicBezTo>
                  <a:cubicBezTo>
                    <a:pt x="3463" y="2766"/>
                    <a:pt x="3494" y="2475"/>
                    <a:pt x="3515" y="2300"/>
                  </a:cubicBezTo>
                  <a:lnTo>
                    <a:pt x="3519" y="2262"/>
                  </a:lnTo>
                  <a:cubicBezTo>
                    <a:pt x="3529" y="2188"/>
                    <a:pt x="3484" y="2150"/>
                    <a:pt x="3410" y="2097"/>
                  </a:cubicBezTo>
                  <a:cubicBezTo>
                    <a:pt x="3347" y="2052"/>
                    <a:pt x="3277" y="1999"/>
                    <a:pt x="3277" y="1908"/>
                  </a:cubicBezTo>
                  <a:cubicBezTo>
                    <a:pt x="3277" y="1880"/>
                    <a:pt x="3270" y="1873"/>
                    <a:pt x="3267" y="1870"/>
                  </a:cubicBezTo>
                  <a:cubicBezTo>
                    <a:pt x="3237" y="1855"/>
                    <a:pt x="3206" y="1848"/>
                    <a:pt x="3174" y="1848"/>
                  </a:cubicBezTo>
                  <a:cubicBezTo>
                    <a:pt x="3167" y="1848"/>
                    <a:pt x="3161" y="1848"/>
                    <a:pt x="3155" y="1849"/>
                  </a:cubicBezTo>
                  <a:cubicBezTo>
                    <a:pt x="3130" y="1849"/>
                    <a:pt x="3106" y="1852"/>
                    <a:pt x="3092" y="1852"/>
                  </a:cubicBezTo>
                  <a:cubicBezTo>
                    <a:pt x="3084" y="1854"/>
                    <a:pt x="3077" y="1855"/>
                    <a:pt x="3070" y="1855"/>
                  </a:cubicBezTo>
                  <a:cubicBezTo>
                    <a:pt x="3034" y="1855"/>
                    <a:pt x="3000" y="1835"/>
                    <a:pt x="2983" y="1803"/>
                  </a:cubicBezTo>
                  <a:cubicBezTo>
                    <a:pt x="2945" y="1733"/>
                    <a:pt x="2997" y="1645"/>
                    <a:pt x="3120" y="1498"/>
                  </a:cubicBezTo>
                  <a:cubicBezTo>
                    <a:pt x="3179" y="1418"/>
                    <a:pt x="3179" y="1358"/>
                    <a:pt x="3186" y="1183"/>
                  </a:cubicBezTo>
                  <a:lnTo>
                    <a:pt x="3186" y="1131"/>
                  </a:lnTo>
                  <a:cubicBezTo>
                    <a:pt x="3190" y="963"/>
                    <a:pt x="3337" y="823"/>
                    <a:pt x="3480" y="686"/>
                  </a:cubicBezTo>
                  <a:cubicBezTo>
                    <a:pt x="3554" y="620"/>
                    <a:pt x="3620" y="550"/>
                    <a:pt x="3680" y="476"/>
                  </a:cubicBezTo>
                  <a:cubicBezTo>
                    <a:pt x="3690" y="462"/>
                    <a:pt x="3701" y="448"/>
                    <a:pt x="3715" y="438"/>
                  </a:cubicBezTo>
                  <a:cubicBezTo>
                    <a:pt x="3718" y="434"/>
                    <a:pt x="3722" y="431"/>
                    <a:pt x="3729" y="424"/>
                  </a:cubicBezTo>
                  <a:cubicBezTo>
                    <a:pt x="3739" y="417"/>
                    <a:pt x="3746" y="410"/>
                    <a:pt x="3757" y="403"/>
                  </a:cubicBezTo>
                  <a:cubicBezTo>
                    <a:pt x="3764" y="399"/>
                    <a:pt x="3771" y="396"/>
                    <a:pt x="3778" y="392"/>
                  </a:cubicBezTo>
                  <a:cubicBezTo>
                    <a:pt x="3781" y="389"/>
                    <a:pt x="3795" y="378"/>
                    <a:pt x="3809" y="375"/>
                  </a:cubicBezTo>
                  <a:lnTo>
                    <a:pt x="3830" y="364"/>
                  </a:lnTo>
                  <a:cubicBezTo>
                    <a:pt x="3837" y="361"/>
                    <a:pt x="3844" y="357"/>
                    <a:pt x="3848" y="357"/>
                  </a:cubicBezTo>
                  <a:cubicBezTo>
                    <a:pt x="3883" y="294"/>
                    <a:pt x="3946" y="249"/>
                    <a:pt x="4016" y="238"/>
                  </a:cubicBezTo>
                  <a:cubicBezTo>
                    <a:pt x="4142" y="214"/>
                    <a:pt x="4215" y="161"/>
                    <a:pt x="4219" y="123"/>
                  </a:cubicBezTo>
                  <a:cubicBezTo>
                    <a:pt x="4226" y="95"/>
                    <a:pt x="4191" y="56"/>
                    <a:pt x="4131" y="21"/>
                  </a:cubicBezTo>
                  <a:cubicBezTo>
                    <a:pt x="4109" y="8"/>
                    <a:pt x="4088" y="1"/>
                    <a:pt x="406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9" name="Google Shape;6376;p64">
              <a:extLst>
                <a:ext uri="{FF2B5EF4-FFF2-40B4-BE49-F238E27FC236}">
                  <a16:creationId xmlns:a16="http://schemas.microsoft.com/office/drawing/2014/main" id="{C2873BC7-CD7C-743A-D7BD-671702E8DA6F}"/>
                </a:ext>
              </a:extLst>
            </p:cNvPr>
            <p:cNvSpPr/>
            <p:nvPr/>
          </p:nvSpPr>
          <p:spPr>
            <a:xfrm>
              <a:off x="1525392" y="2067095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4" y="0"/>
                  </a:moveTo>
                  <a:cubicBezTo>
                    <a:pt x="0" y="11"/>
                    <a:pt x="0" y="21"/>
                    <a:pt x="0" y="32"/>
                  </a:cubicBezTo>
                  <a:cubicBezTo>
                    <a:pt x="0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0" name="Google Shape;6377;p64">
              <a:extLst>
                <a:ext uri="{FF2B5EF4-FFF2-40B4-BE49-F238E27FC236}">
                  <a16:creationId xmlns:a16="http://schemas.microsoft.com/office/drawing/2014/main" id="{9F8209DB-1F6B-0C72-08EC-297B71BD3977}"/>
                </a:ext>
              </a:extLst>
            </p:cNvPr>
            <p:cNvSpPr/>
            <p:nvPr/>
          </p:nvSpPr>
          <p:spPr>
            <a:xfrm>
              <a:off x="1536743" y="2029771"/>
              <a:ext cx="2675" cy="679"/>
            </a:xfrm>
            <a:custGeom>
              <a:avLst/>
              <a:gdLst/>
              <a:ahLst/>
              <a:cxnLst/>
              <a:rect l="l" t="t" r="r" b="b"/>
              <a:pathLst>
                <a:path w="197" h="50" extrusionOk="0">
                  <a:moveTo>
                    <a:pt x="1" y="50"/>
                  </a:moveTo>
                  <a:cubicBezTo>
                    <a:pt x="67" y="39"/>
                    <a:pt x="134" y="22"/>
                    <a:pt x="197" y="1"/>
                  </a:cubicBezTo>
                  <a:cubicBezTo>
                    <a:pt x="134" y="22"/>
                    <a:pt x="67" y="39"/>
                    <a:pt x="1" y="5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1" name="Google Shape;6378;p64">
              <a:extLst>
                <a:ext uri="{FF2B5EF4-FFF2-40B4-BE49-F238E27FC236}">
                  <a16:creationId xmlns:a16="http://schemas.microsoft.com/office/drawing/2014/main" id="{7B794074-CC30-BEB2-EFA9-11C9CC4A33EC}"/>
                </a:ext>
              </a:extLst>
            </p:cNvPr>
            <p:cNvSpPr/>
            <p:nvPr/>
          </p:nvSpPr>
          <p:spPr>
            <a:xfrm>
              <a:off x="1540124" y="202954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2" name="Google Shape;6379;p64">
              <a:extLst>
                <a:ext uri="{FF2B5EF4-FFF2-40B4-BE49-F238E27FC236}">
                  <a16:creationId xmlns:a16="http://schemas.microsoft.com/office/drawing/2014/main" id="{EC16F9B7-7F6D-22C5-2394-BB6EA616AF9D}"/>
                </a:ext>
              </a:extLst>
            </p:cNvPr>
            <p:cNvSpPr/>
            <p:nvPr/>
          </p:nvSpPr>
          <p:spPr>
            <a:xfrm>
              <a:off x="1536363" y="2030436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3" name="Google Shape;6380;p64">
              <a:extLst>
                <a:ext uri="{FF2B5EF4-FFF2-40B4-BE49-F238E27FC236}">
                  <a16:creationId xmlns:a16="http://schemas.microsoft.com/office/drawing/2014/main" id="{66398A4C-E969-1A51-D7DC-81462966FA87}"/>
                </a:ext>
              </a:extLst>
            </p:cNvPr>
            <p:cNvSpPr/>
            <p:nvPr/>
          </p:nvSpPr>
          <p:spPr>
            <a:xfrm>
              <a:off x="1542215" y="2028440"/>
              <a:ext cx="720" cy="353"/>
            </a:xfrm>
            <a:custGeom>
              <a:avLst/>
              <a:gdLst/>
              <a:ahLst/>
              <a:cxnLst/>
              <a:rect l="l" t="t" r="r" b="b"/>
              <a:pathLst>
                <a:path w="53" h="26" extrusionOk="0">
                  <a:moveTo>
                    <a:pt x="53" y="1"/>
                  </a:moveTo>
                  <a:lnTo>
                    <a:pt x="28" y="1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4" name="Google Shape;6381;p64">
              <a:extLst>
                <a:ext uri="{FF2B5EF4-FFF2-40B4-BE49-F238E27FC236}">
                  <a16:creationId xmlns:a16="http://schemas.microsoft.com/office/drawing/2014/main" id="{A6A344F4-2BF4-D619-D37F-25844E38BBE7}"/>
                </a:ext>
              </a:extLst>
            </p:cNvPr>
            <p:cNvSpPr/>
            <p:nvPr/>
          </p:nvSpPr>
          <p:spPr>
            <a:xfrm>
              <a:off x="1525433" y="2066335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25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5" name="Google Shape;6382;p64">
              <a:extLst>
                <a:ext uri="{FF2B5EF4-FFF2-40B4-BE49-F238E27FC236}">
                  <a16:creationId xmlns:a16="http://schemas.microsoft.com/office/drawing/2014/main" id="{692398FE-B8DC-DEC4-4A87-16910AE3276F}"/>
                </a:ext>
              </a:extLst>
            </p:cNvPr>
            <p:cNvSpPr/>
            <p:nvPr/>
          </p:nvSpPr>
          <p:spPr>
            <a:xfrm>
              <a:off x="1525487" y="206552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lnTo>
                    <a:pt x="0" y="46"/>
                  </a:lnTo>
                  <a:cubicBezTo>
                    <a:pt x="0" y="29"/>
                    <a:pt x="4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6" name="Google Shape;6383;p64">
              <a:extLst>
                <a:ext uri="{FF2B5EF4-FFF2-40B4-BE49-F238E27FC236}">
                  <a16:creationId xmlns:a16="http://schemas.microsoft.com/office/drawing/2014/main" id="{E529484C-4415-74AA-B07E-04D0A2234DED}"/>
                </a:ext>
              </a:extLst>
            </p:cNvPr>
            <p:cNvSpPr/>
            <p:nvPr/>
          </p:nvSpPr>
          <p:spPr>
            <a:xfrm>
              <a:off x="1539459" y="2029676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7" name="Google Shape;6384;p64">
              <a:extLst>
                <a:ext uri="{FF2B5EF4-FFF2-40B4-BE49-F238E27FC236}">
                  <a16:creationId xmlns:a16="http://schemas.microsoft.com/office/drawing/2014/main" id="{08154602-6ED2-F468-A667-4F7B96F9B6CF}"/>
                </a:ext>
              </a:extLst>
            </p:cNvPr>
            <p:cNvSpPr/>
            <p:nvPr/>
          </p:nvSpPr>
          <p:spPr>
            <a:xfrm>
              <a:off x="1525202" y="2068521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8" name="Google Shape;6385;p64">
              <a:extLst>
                <a:ext uri="{FF2B5EF4-FFF2-40B4-BE49-F238E27FC236}">
                  <a16:creationId xmlns:a16="http://schemas.microsoft.com/office/drawing/2014/main" id="{F156B92F-9962-3677-204E-E8AD7F652072}"/>
                </a:ext>
              </a:extLst>
            </p:cNvPr>
            <p:cNvSpPr/>
            <p:nvPr/>
          </p:nvSpPr>
          <p:spPr>
            <a:xfrm>
              <a:off x="1524157" y="2073178"/>
              <a:ext cx="95" cy="394"/>
            </a:xfrm>
            <a:custGeom>
              <a:avLst/>
              <a:gdLst/>
              <a:ahLst/>
              <a:cxnLst/>
              <a:rect l="l" t="t" r="r" b="b"/>
              <a:pathLst>
                <a:path w="7" h="29" extrusionOk="0">
                  <a:moveTo>
                    <a:pt x="7" y="0"/>
                  </a:moveTo>
                  <a:cubicBezTo>
                    <a:pt x="4" y="11"/>
                    <a:pt x="4" y="18"/>
                    <a:pt x="0" y="28"/>
                  </a:cubicBezTo>
                  <a:cubicBezTo>
                    <a:pt x="4" y="18"/>
                    <a:pt x="7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9" name="Google Shape;6386;p64">
              <a:extLst>
                <a:ext uri="{FF2B5EF4-FFF2-40B4-BE49-F238E27FC236}">
                  <a16:creationId xmlns:a16="http://schemas.microsoft.com/office/drawing/2014/main" id="{857CEC9C-40D6-1F03-A933-C6C2602E6E99}"/>
                </a:ext>
              </a:extLst>
            </p:cNvPr>
            <p:cNvSpPr/>
            <p:nvPr/>
          </p:nvSpPr>
          <p:spPr>
            <a:xfrm>
              <a:off x="1525338" y="206785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1" y="7"/>
                    <a:pt x="1" y="18"/>
                    <a:pt x="1" y="32"/>
                  </a:cubicBezTo>
                  <a:cubicBezTo>
                    <a:pt x="1" y="21"/>
                    <a:pt x="1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0" name="Google Shape;6387;p64">
              <a:extLst>
                <a:ext uri="{FF2B5EF4-FFF2-40B4-BE49-F238E27FC236}">
                  <a16:creationId xmlns:a16="http://schemas.microsoft.com/office/drawing/2014/main" id="{101BF712-B10C-E6A6-EACC-657918465F7A}"/>
                </a:ext>
              </a:extLst>
            </p:cNvPr>
            <p:cNvSpPr/>
            <p:nvPr/>
          </p:nvSpPr>
          <p:spPr>
            <a:xfrm>
              <a:off x="1524483" y="2071983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1"/>
                  </a:moveTo>
                  <a:lnTo>
                    <a:pt x="1" y="32"/>
                  </a:lnTo>
                  <a:cubicBezTo>
                    <a:pt x="4" y="25"/>
                    <a:pt x="8" y="15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1" name="Google Shape;6388;p64">
              <a:extLst>
                <a:ext uri="{FF2B5EF4-FFF2-40B4-BE49-F238E27FC236}">
                  <a16:creationId xmlns:a16="http://schemas.microsoft.com/office/drawing/2014/main" id="{2ADB8085-2D6E-F531-E687-FA800DB5561D}"/>
                </a:ext>
              </a:extLst>
            </p:cNvPr>
            <p:cNvSpPr/>
            <p:nvPr/>
          </p:nvSpPr>
          <p:spPr>
            <a:xfrm>
              <a:off x="1523953" y="2073653"/>
              <a:ext cx="163" cy="339"/>
            </a:xfrm>
            <a:custGeom>
              <a:avLst/>
              <a:gdLst/>
              <a:ahLst/>
              <a:cxnLst/>
              <a:rect l="l" t="t" r="r" b="b"/>
              <a:pathLst>
                <a:path w="12" h="25" extrusionOk="0">
                  <a:moveTo>
                    <a:pt x="1" y="25"/>
                  </a:moveTo>
                  <a:cubicBezTo>
                    <a:pt x="4" y="18"/>
                    <a:pt x="8" y="11"/>
                    <a:pt x="12" y="0"/>
                  </a:cubicBezTo>
                  <a:cubicBezTo>
                    <a:pt x="8" y="11"/>
                    <a:pt x="4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2" name="Google Shape;6389;p64">
              <a:extLst>
                <a:ext uri="{FF2B5EF4-FFF2-40B4-BE49-F238E27FC236}">
                  <a16:creationId xmlns:a16="http://schemas.microsoft.com/office/drawing/2014/main" id="{261E7E19-803A-4367-2904-CB288D5D9F29}"/>
                </a:ext>
              </a:extLst>
            </p:cNvPr>
            <p:cNvSpPr/>
            <p:nvPr/>
          </p:nvSpPr>
          <p:spPr>
            <a:xfrm>
              <a:off x="1523532" y="20746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3" name="Google Shape;6390;p64">
              <a:extLst>
                <a:ext uri="{FF2B5EF4-FFF2-40B4-BE49-F238E27FC236}">
                  <a16:creationId xmlns:a16="http://schemas.microsoft.com/office/drawing/2014/main" id="{DE0D0756-C1E5-A5D1-717A-69FBA1C9E841}"/>
                </a:ext>
              </a:extLst>
            </p:cNvPr>
            <p:cNvSpPr/>
            <p:nvPr/>
          </p:nvSpPr>
          <p:spPr>
            <a:xfrm>
              <a:off x="1523573" y="2074413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cubicBezTo>
                    <a:pt x="4" y="7"/>
                    <a:pt x="8" y="4"/>
                    <a:pt x="11" y="0"/>
                  </a:cubicBezTo>
                  <a:cubicBezTo>
                    <a:pt x="8" y="4"/>
                    <a:pt x="4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4" name="Google Shape;6391;p64">
              <a:extLst>
                <a:ext uri="{FF2B5EF4-FFF2-40B4-BE49-F238E27FC236}">
                  <a16:creationId xmlns:a16="http://schemas.microsoft.com/office/drawing/2014/main" id="{4E23A5C8-BE83-9E9C-9EE5-404B4A8DD7EB}"/>
                </a:ext>
              </a:extLst>
            </p:cNvPr>
            <p:cNvSpPr/>
            <p:nvPr/>
          </p:nvSpPr>
          <p:spPr>
            <a:xfrm>
              <a:off x="1523763" y="2074074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cubicBezTo>
                    <a:pt x="4" y="15"/>
                    <a:pt x="8" y="8"/>
                    <a:pt x="11" y="1"/>
                  </a:cubicBezTo>
                  <a:cubicBezTo>
                    <a:pt x="8" y="8"/>
                    <a:pt x="4" y="15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5" name="Google Shape;6392;p64">
              <a:extLst>
                <a:ext uri="{FF2B5EF4-FFF2-40B4-BE49-F238E27FC236}">
                  <a16:creationId xmlns:a16="http://schemas.microsoft.com/office/drawing/2014/main" id="{BD94DFDC-E48C-00B7-9E3C-BCEAF8B230A8}"/>
                </a:ext>
              </a:extLst>
            </p:cNvPr>
            <p:cNvSpPr/>
            <p:nvPr/>
          </p:nvSpPr>
          <p:spPr>
            <a:xfrm>
              <a:off x="1524347" y="2072608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0" y="32"/>
                  </a:moveTo>
                  <a:cubicBezTo>
                    <a:pt x="0" y="21"/>
                    <a:pt x="4" y="11"/>
                    <a:pt x="7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6" name="Google Shape;6393;p64">
              <a:extLst>
                <a:ext uri="{FF2B5EF4-FFF2-40B4-BE49-F238E27FC236}">
                  <a16:creationId xmlns:a16="http://schemas.microsoft.com/office/drawing/2014/main" id="{12DFAC6A-E10A-F7AD-D44D-60A7ED5CADE6}"/>
                </a:ext>
              </a:extLst>
            </p:cNvPr>
            <p:cNvSpPr/>
            <p:nvPr/>
          </p:nvSpPr>
          <p:spPr>
            <a:xfrm>
              <a:off x="1525107" y="2069281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32"/>
                  </a:moveTo>
                  <a:cubicBezTo>
                    <a:pt x="0" y="21"/>
                    <a:pt x="4" y="11"/>
                    <a:pt x="4" y="0"/>
                  </a:cubicBezTo>
                  <a:cubicBezTo>
                    <a:pt x="4" y="11"/>
                    <a:pt x="0" y="21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7" name="Google Shape;6394;p64">
              <a:extLst>
                <a:ext uri="{FF2B5EF4-FFF2-40B4-BE49-F238E27FC236}">
                  <a16:creationId xmlns:a16="http://schemas.microsoft.com/office/drawing/2014/main" id="{9D30321E-5465-9B31-AECB-349E6785CD9E}"/>
                </a:ext>
              </a:extLst>
            </p:cNvPr>
            <p:cNvSpPr/>
            <p:nvPr/>
          </p:nvSpPr>
          <p:spPr>
            <a:xfrm>
              <a:off x="1524822" y="2070707"/>
              <a:ext cx="95" cy="434"/>
            </a:xfrm>
            <a:custGeom>
              <a:avLst/>
              <a:gdLst/>
              <a:ahLst/>
              <a:cxnLst/>
              <a:rect l="l" t="t" r="r" b="b"/>
              <a:pathLst>
                <a:path w="7" h="32" extrusionOk="0">
                  <a:moveTo>
                    <a:pt x="7" y="0"/>
                  </a:moveTo>
                  <a:cubicBezTo>
                    <a:pt x="4" y="11"/>
                    <a:pt x="0" y="21"/>
                    <a:pt x="0" y="32"/>
                  </a:cubicBezTo>
                  <a:cubicBezTo>
                    <a:pt x="4" y="21"/>
                    <a:pt x="4" y="11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8" name="Google Shape;6395;p64">
              <a:extLst>
                <a:ext uri="{FF2B5EF4-FFF2-40B4-BE49-F238E27FC236}">
                  <a16:creationId xmlns:a16="http://schemas.microsoft.com/office/drawing/2014/main" id="{2DE7C317-51CA-BA78-B76E-D9BC712CB9F1}"/>
                </a:ext>
              </a:extLst>
            </p:cNvPr>
            <p:cNvSpPr/>
            <p:nvPr/>
          </p:nvSpPr>
          <p:spPr>
            <a:xfrm>
              <a:off x="1524958" y="2069987"/>
              <a:ext cx="109" cy="448"/>
            </a:xfrm>
            <a:custGeom>
              <a:avLst/>
              <a:gdLst/>
              <a:ahLst/>
              <a:cxnLst/>
              <a:rect l="l" t="t" r="r" b="b"/>
              <a:pathLst>
                <a:path w="8" h="33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11"/>
                    <a:pt x="1" y="22"/>
                    <a:pt x="1" y="32"/>
                  </a:cubicBezTo>
                  <a:cubicBezTo>
                    <a:pt x="4" y="22"/>
                    <a:pt x="4" y="11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9" name="Google Shape;6396;p64">
              <a:extLst>
                <a:ext uri="{FF2B5EF4-FFF2-40B4-BE49-F238E27FC236}">
                  <a16:creationId xmlns:a16="http://schemas.microsoft.com/office/drawing/2014/main" id="{859EB7A6-8C26-408F-A61A-1C0B75F143A4}"/>
                </a:ext>
              </a:extLst>
            </p:cNvPr>
            <p:cNvSpPr/>
            <p:nvPr/>
          </p:nvSpPr>
          <p:spPr>
            <a:xfrm>
              <a:off x="1524673" y="2071372"/>
              <a:ext cx="109" cy="489"/>
            </a:xfrm>
            <a:custGeom>
              <a:avLst/>
              <a:gdLst/>
              <a:ahLst/>
              <a:cxnLst/>
              <a:rect l="l" t="t" r="r" b="b"/>
              <a:pathLst>
                <a:path w="8" h="36" extrusionOk="0">
                  <a:moveTo>
                    <a:pt x="8" y="0"/>
                  </a:moveTo>
                  <a:cubicBezTo>
                    <a:pt x="4" y="11"/>
                    <a:pt x="1" y="21"/>
                    <a:pt x="1" y="35"/>
                  </a:cubicBezTo>
                  <a:cubicBezTo>
                    <a:pt x="1" y="25"/>
                    <a:pt x="4" y="1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0" name="Google Shape;6397;p64">
              <a:extLst>
                <a:ext uri="{FF2B5EF4-FFF2-40B4-BE49-F238E27FC236}">
                  <a16:creationId xmlns:a16="http://schemas.microsoft.com/office/drawing/2014/main" id="{AD11E3FD-A10C-95AF-625E-92C28B024A8F}"/>
                </a:ext>
              </a:extLst>
            </p:cNvPr>
            <p:cNvSpPr/>
            <p:nvPr/>
          </p:nvSpPr>
          <p:spPr>
            <a:xfrm>
              <a:off x="1467063" y="1987667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1" name="Google Shape;6398;p64">
              <a:extLst>
                <a:ext uri="{FF2B5EF4-FFF2-40B4-BE49-F238E27FC236}">
                  <a16:creationId xmlns:a16="http://schemas.microsoft.com/office/drawing/2014/main" id="{08330369-91B2-50C8-EB58-C2F0C73277B4}"/>
                </a:ext>
              </a:extLst>
            </p:cNvPr>
            <p:cNvSpPr/>
            <p:nvPr/>
          </p:nvSpPr>
          <p:spPr>
            <a:xfrm>
              <a:off x="1467783" y="1986906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2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2" name="Google Shape;6399;p64">
              <a:extLst>
                <a:ext uri="{FF2B5EF4-FFF2-40B4-BE49-F238E27FC236}">
                  <a16:creationId xmlns:a16="http://schemas.microsoft.com/office/drawing/2014/main" id="{B0356E77-F347-9331-4BCB-8BA440ECF2E9}"/>
                </a:ext>
              </a:extLst>
            </p:cNvPr>
            <p:cNvSpPr/>
            <p:nvPr/>
          </p:nvSpPr>
          <p:spPr>
            <a:xfrm>
              <a:off x="1466724" y="198799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3" name="Google Shape;6400;p64">
              <a:extLst>
                <a:ext uri="{FF2B5EF4-FFF2-40B4-BE49-F238E27FC236}">
                  <a16:creationId xmlns:a16="http://schemas.microsoft.com/office/drawing/2014/main" id="{817FEDCC-2B80-748D-0DAC-0673B6BF0975}"/>
                </a:ext>
              </a:extLst>
            </p:cNvPr>
            <p:cNvSpPr/>
            <p:nvPr/>
          </p:nvSpPr>
          <p:spPr>
            <a:xfrm>
              <a:off x="1467389" y="1987287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" y="18"/>
                  </a:moveTo>
                  <a:lnTo>
                    <a:pt x="1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4" name="Google Shape;6401;p64">
              <a:extLst>
                <a:ext uri="{FF2B5EF4-FFF2-40B4-BE49-F238E27FC236}">
                  <a16:creationId xmlns:a16="http://schemas.microsoft.com/office/drawing/2014/main" id="{88F2D7F9-F394-AC8C-DC5B-66E0C1E94940}"/>
                </a:ext>
              </a:extLst>
            </p:cNvPr>
            <p:cNvSpPr/>
            <p:nvPr/>
          </p:nvSpPr>
          <p:spPr>
            <a:xfrm>
              <a:off x="1468163" y="1986662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5" name="Google Shape;6402;p64">
              <a:extLst>
                <a:ext uri="{FF2B5EF4-FFF2-40B4-BE49-F238E27FC236}">
                  <a16:creationId xmlns:a16="http://schemas.microsoft.com/office/drawing/2014/main" id="{D5612BA1-4EDB-6509-CB54-B001D74D5323}"/>
                </a:ext>
              </a:extLst>
            </p:cNvPr>
            <p:cNvSpPr/>
            <p:nvPr/>
          </p:nvSpPr>
          <p:spPr>
            <a:xfrm>
              <a:off x="1469344" y="1985481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0"/>
                  </a:moveTo>
                  <a:cubicBezTo>
                    <a:pt x="15" y="7"/>
                    <a:pt x="8" y="14"/>
                    <a:pt x="1" y="21"/>
                  </a:cubicBezTo>
                  <a:cubicBezTo>
                    <a:pt x="8" y="14"/>
                    <a:pt x="18" y="7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6" name="Google Shape;6403;p64">
              <a:extLst>
                <a:ext uri="{FF2B5EF4-FFF2-40B4-BE49-F238E27FC236}">
                  <a16:creationId xmlns:a16="http://schemas.microsoft.com/office/drawing/2014/main" id="{D0C6D8F3-2E61-F893-4AC2-BD415AB86929}"/>
                </a:ext>
              </a:extLst>
            </p:cNvPr>
            <p:cNvSpPr/>
            <p:nvPr/>
          </p:nvSpPr>
          <p:spPr>
            <a:xfrm>
              <a:off x="1465828" y="19889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7" name="Google Shape;6404;p64">
              <a:extLst>
                <a:ext uri="{FF2B5EF4-FFF2-40B4-BE49-F238E27FC236}">
                  <a16:creationId xmlns:a16="http://schemas.microsoft.com/office/drawing/2014/main" id="{E4BE08AA-7B0C-1442-D204-7C50ACE90579}"/>
                </a:ext>
              </a:extLst>
            </p:cNvPr>
            <p:cNvSpPr/>
            <p:nvPr/>
          </p:nvSpPr>
          <p:spPr>
            <a:xfrm>
              <a:off x="1466059" y="198865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" y="15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8" name="Google Shape;6405;p64">
              <a:extLst>
                <a:ext uri="{FF2B5EF4-FFF2-40B4-BE49-F238E27FC236}">
                  <a16:creationId xmlns:a16="http://schemas.microsoft.com/office/drawing/2014/main" id="{2CEC56CF-88B4-0597-2A9A-7E77823EA6CD}"/>
                </a:ext>
              </a:extLst>
            </p:cNvPr>
            <p:cNvSpPr/>
            <p:nvPr/>
          </p:nvSpPr>
          <p:spPr>
            <a:xfrm>
              <a:off x="1466398" y="1988332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9" name="Google Shape;6406;p64">
              <a:extLst>
                <a:ext uri="{FF2B5EF4-FFF2-40B4-BE49-F238E27FC236}">
                  <a16:creationId xmlns:a16="http://schemas.microsoft.com/office/drawing/2014/main" id="{78F51BF4-CC90-2EBF-0C95-241128C6E4E5}"/>
                </a:ext>
              </a:extLst>
            </p:cNvPr>
            <p:cNvSpPr/>
            <p:nvPr/>
          </p:nvSpPr>
          <p:spPr>
            <a:xfrm>
              <a:off x="1470010" y="1984476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5"/>
                    <a:pt x="11" y="15"/>
                    <a:pt x="18" y="1"/>
                  </a:cubicBezTo>
                  <a:cubicBezTo>
                    <a:pt x="11" y="15"/>
                    <a:pt x="8" y="25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0" name="Google Shape;6407;p64">
              <a:extLst>
                <a:ext uri="{FF2B5EF4-FFF2-40B4-BE49-F238E27FC236}">
                  <a16:creationId xmlns:a16="http://schemas.microsoft.com/office/drawing/2014/main" id="{222FE582-6B43-C94B-24C4-53871236DCE3}"/>
                </a:ext>
              </a:extLst>
            </p:cNvPr>
            <p:cNvSpPr/>
            <p:nvPr/>
          </p:nvSpPr>
          <p:spPr>
            <a:xfrm>
              <a:off x="1468448" y="198637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1" name="Google Shape;6408;p64">
              <a:extLst>
                <a:ext uri="{FF2B5EF4-FFF2-40B4-BE49-F238E27FC236}">
                  <a16:creationId xmlns:a16="http://schemas.microsoft.com/office/drawing/2014/main" id="{B49919FD-6818-A050-C415-DF401EE57F47}"/>
                </a:ext>
              </a:extLst>
            </p:cNvPr>
            <p:cNvSpPr/>
            <p:nvPr/>
          </p:nvSpPr>
          <p:spPr>
            <a:xfrm>
              <a:off x="1469154" y="198576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2" name="Google Shape;6409;p64">
              <a:extLst>
                <a:ext uri="{FF2B5EF4-FFF2-40B4-BE49-F238E27FC236}">
                  <a16:creationId xmlns:a16="http://schemas.microsoft.com/office/drawing/2014/main" id="{ECC30B90-15C3-6BB7-9748-FD9CF6E67624}"/>
                </a:ext>
              </a:extLst>
            </p:cNvPr>
            <p:cNvSpPr/>
            <p:nvPr/>
          </p:nvSpPr>
          <p:spPr>
            <a:xfrm>
              <a:off x="1470295" y="1983811"/>
              <a:ext cx="204" cy="584"/>
            </a:xfrm>
            <a:custGeom>
              <a:avLst/>
              <a:gdLst/>
              <a:ahLst/>
              <a:cxnLst/>
              <a:rect l="l" t="t" r="r" b="b"/>
              <a:pathLst>
                <a:path w="15" h="43" extrusionOk="0">
                  <a:moveTo>
                    <a:pt x="1" y="43"/>
                  </a:moveTo>
                  <a:cubicBezTo>
                    <a:pt x="4" y="29"/>
                    <a:pt x="11" y="15"/>
                    <a:pt x="15" y="1"/>
                  </a:cubicBezTo>
                  <a:cubicBezTo>
                    <a:pt x="11" y="15"/>
                    <a:pt x="4" y="29"/>
                    <a:pt x="1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3" name="Google Shape;6410;p64">
              <a:extLst>
                <a:ext uri="{FF2B5EF4-FFF2-40B4-BE49-F238E27FC236}">
                  <a16:creationId xmlns:a16="http://schemas.microsoft.com/office/drawing/2014/main" id="{F0320A90-9223-E412-FAE7-57603E7EF33D}"/>
                </a:ext>
              </a:extLst>
            </p:cNvPr>
            <p:cNvSpPr/>
            <p:nvPr/>
          </p:nvSpPr>
          <p:spPr>
            <a:xfrm>
              <a:off x="1469725" y="198500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28"/>
                  </a:moveTo>
                  <a:cubicBezTo>
                    <a:pt x="8" y="18"/>
                    <a:pt x="15" y="11"/>
                    <a:pt x="22" y="0"/>
                  </a:cubicBezTo>
                  <a:cubicBezTo>
                    <a:pt x="15" y="11"/>
                    <a:pt x="8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4" name="Google Shape;6411;p64">
              <a:extLst>
                <a:ext uri="{FF2B5EF4-FFF2-40B4-BE49-F238E27FC236}">
                  <a16:creationId xmlns:a16="http://schemas.microsoft.com/office/drawing/2014/main" id="{199FFCBE-8FF3-E88F-07CC-46966741185F}"/>
                </a:ext>
              </a:extLst>
            </p:cNvPr>
            <p:cNvSpPr/>
            <p:nvPr/>
          </p:nvSpPr>
          <p:spPr>
            <a:xfrm>
              <a:off x="1468679" y="198614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5" name="Google Shape;6412;p64">
              <a:extLst>
                <a:ext uri="{FF2B5EF4-FFF2-40B4-BE49-F238E27FC236}">
                  <a16:creationId xmlns:a16="http://schemas.microsoft.com/office/drawing/2014/main" id="{D36D828C-A2F5-A2F1-F733-BB9DB60D3B68}"/>
                </a:ext>
              </a:extLst>
            </p:cNvPr>
            <p:cNvSpPr/>
            <p:nvPr/>
          </p:nvSpPr>
          <p:spPr>
            <a:xfrm>
              <a:off x="1468964" y="198595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6" name="Google Shape;6413;p64">
              <a:extLst>
                <a:ext uri="{FF2B5EF4-FFF2-40B4-BE49-F238E27FC236}">
                  <a16:creationId xmlns:a16="http://schemas.microsoft.com/office/drawing/2014/main" id="{61F9C269-9054-7370-5164-2C529FBFCB0B}"/>
                </a:ext>
              </a:extLst>
            </p:cNvPr>
            <p:cNvSpPr/>
            <p:nvPr/>
          </p:nvSpPr>
          <p:spPr>
            <a:xfrm>
              <a:off x="1527008" y="2118853"/>
              <a:ext cx="88322" cy="99360"/>
            </a:xfrm>
            <a:custGeom>
              <a:avLst/>
              <a:gdLst/>
              <a:ahLst/>
              <a:cxnLst/>
              <a:rect l="l" t="t" r="r" b="b"/>
              <a:pathLst>
                <a:path w="6505" h="7318" extrusionOk="0">
                  <a:moveTo>
                    <a:pt x="2265" y="1"/>
                  </a:moveTo>
                  <a:cubicBezTo>
                    <a:pt x="2192" y="1"/>
                    <a:pt x="2122" y="8"/>
                    <a:pt x="2048" y="22"/>
                  </a:cubicBezTo>
                  <a:cubicBezTo>
                    <a:pt x="1971" y="36"/>
                    <a:pt x="1891" y="46"/>
                    <a:pt x="1810" y="46"/>
                  </a:cubicBezTo>
                  <a:cubicBezTo>
                    <a:pt x="1663" y="46"/>
                    <a:pt x="1505" y="144"/>
                    <a:pt x="1337" y="246"/>
                  </a:cubicBezTo>
                  <a:cubicBezTo>
                    <a:pt x="1292" y="274"/>
                    <a:pt x="1243" y="302"/>
                    <a:pt x="1197" y="330"/>
                  </a:cubicBezTo>
                  <a:cubicBezTo>
                    <a:pt x="1113" y="375"/>
                    <a:pt x="1029" y="417"/>
                    <a:pt x="942" y="449"/>
                  </a:cubicBezTo>
                  <a:cubicBezTo>
                    <a:pt x="910" y="463"/>
                    <a:pt x="882" y="473"/>
                    <a:pt x="854" y="484"/>
                  </a:cubicBezTo>
                  <a:cubicBezTo>
                    <a:pt x="812" y="505"/>
                    <a:pt x="774" y="529"/>
                    <a:pt x="739" y="561"/>
                  </a:cubicBezTo>
                  <a:cubicBezTo>
                    <a:pt x="651" y="652"/>
                    <a:pt x="529" y="708"/>
                    <a:pt x="403" y="718"/>
                  </a:cubicBezTo>
                  <a:cubicBezTo>
                    <a:pt x="390" y="720"/>
                    <a:pt x="377" y="721"/>
                    <a:pt x="364" y="721"/>
                  </a:cubicBezTo>
                  <a:cubicBezTo>
                    <a:pt x="351" y="721"/>
                    <a:pt x="338" y="720"/>
                    <a:pt x="326" y="718"/>
                  </a:cubicBezTo>
                  <a:cubicBezTo>
                    <a:pt x="284" y="715"/>
                    <a:pt x="242" y="708"/>
                    <a:pt x="203" y="690"/>
                  </a:cubicBezTo>
                  <a:lnTo>
                    <a:pt x="175" y="683"/>
                  </a:lnTo>
                  <a:lnTo>
                    <a:pt x="165" y="680"/>
                  </a:lnTo>
                  <a:lnTo>
                    <a:pt x="154" y="676"/>
                  </a:lnTo>
                  <a:lnTo>
                    <a:pt x="158" y="690"/>
                  </a:lnTo>
                  <a:lnTo>
                    <a:pt x="186" y="746"/>
                  </a:lnTo>
                  <a:lnTo>
                    <a:pt x="196" y="764"/>
                  </a:lnTo>
                  <a:lnTo>
                    <a:pt x="235" y="837"/>
                  </a:lnTo>
                  <a:lnTo>
                    <a:pt x="238" y="848"/>
                  </a:lnTo>
                  <a:lnTo>
                    <a:pt x="273" y="918"/>
                  </a:lnTo>
                  <a:lnTo>
                    <a:pt x="284" y="935"/>
                  </a:lnTo>
                  <a:lnTo>
                    <a:pt x="322" y="1009"/>
                  </a:lnTo>
                  <a:cubicBezTo>
                    <a:pt x="382" y="1114"/>
                    <a:pt x="434" y="1222"/>
                    <a:pt x="483" y="1334"/>
                  </a:cubicBezTo>
                  <a:cubicBezTo>
                    <a:pt x="550" y="1520"/>
                    <a:pt x="434" y="1607"/>
                    <a:pt x="364" y="1660"/>
                  </a:cubicBezTo>
                  <a:cubicBezTo>
                    <a:pt x="350" y="1674"/>
                    <a:pt x="336" y="1684"/>
                    <a:pt x="326" y="1691"/>
                  </a:cubicBezTo>
                  <a:cubicBezTo>
                    <a:pt x="305" y="1744"/>
                    <a:pt x="322" y="1958"/>
                    <a:pt x="375" y="2329"/>
                  </a:cubicBezTo>
                  <a:cubicBezTo>
                    <a:pt x="382" y="2367"/>
                    <a:pt x="385" y="2399"/>
                    <a:pt x="389" y="2416"/>
                  </a:cubicBezTo>
                  <a:cubicBezTo>
                    <a:pt x="399" y="2497"/>
                    <a:pt x="350" y="2584"/>
                    <a:pt x="301" y="2668"/>
                  </a:cubicBezTo>
                  <a:cubicBezTo>
                    <a:pt x="277" y="2717"/>
                    <a:pt x="228" y="2805"/>
                    <a:pt x="235" y="2829"/>
                  </a:cubicBezTo>
                  <a:cubicBezTo>
                    <a:pt x="329" y="2910"/>
                    <a:pt x="263" y="3043"/>
                    <a:pt x="200" y="3158"/>
                  </a:cubicBezTo>
                  <a:cubicBezTo>
                    <a:pt x="168" y="3225"/>
                    <a:pt x="130" y="3302"/>
                    <a:pt x="130" y="3347"/>
                  </a:cubicBezTo>
                  <a:cubicBezTo>
                    <a:pt x="130" y="3386"/>
                    <a:pt x="154" y="3403"/>
                    <a:pt x="214" y="3438"/>
                  </a:cubicBezTo>
                  <a:cubicBezTo>
                    <a:pt x="270" y="3473"/>
                    <a:pt x="340" y="3515"/>
                    <a:pt x="340" y="3606"/>
                  </a:cubicBezTo>
                  <a:cubicBezTo>
                    <a:pt x="340" y="3750"/>
                    <a:pt x="144" y="4027"/>
                    <a:pt x="14" y="4100"/>
                  </a:cubicBezTo>
                  <a:lnTo>
                    <a:pt x="11" y="4104"/>
                  </a:lnTo>
                  <a:lnTo>
                    <a:pt x="7" y="4107"/>
                  </a:lnTo>
                  <a:lnTo>
                    <a:pt x="7" y="4111"/>
                  </a:lnTo>
                  <a:lnTo>
                    <a:pt x="4" y="4114"/>
                  </a:lnTo>
                  <a:lnTo>
                    <a:pt x="4" y="4121"/>
                  </a:lnTo>
                  <a:cubicBezTo>
                    <a:pt x="4" y="4125"/>
                    <a:pt x="4" y="4125"/>
                    <a:pt x="4" y="4128"/>
                  </a:cubicBezTo>
                  <a:cubicBezTo>
                    <a:pt x="0" y="4132"/>
                    <a:pt x="4" y="4132"/>
                    <a:pt x="4" y="4135"/>
                  </a:cubicBezTo>
                  <a:lnTo>
                    <a:pt x="4" y="4146"/>
                  </a:lnTo>
                  <a:lnTo>
                    <a:pt x="4" y="4156"/>
                  </a:lnTo>
                  <a:lnTo>
                    <a:pt x="4" y="4170"/>
                  </a:lnTo>
                  <a:lnTo>
                    <a:pt x="4" y="4184"/>
                  </a:lnTo>
                  <a:lnTo>
                    <a:pt x="4" y="4205"/>
                  </a:lnTo>
                  <a:lnTo>
                    <a:pt x="4" y="4219"/>
                  </a:lnTo>
                  <a:lnTo>
                    <a:pt x="4" y="4223"/>
                  </a:lnTo>
                  <a:cubicBezTo>
                    <a:pt x="18" y="4240"/>
                    <a:pt x="32" y="4261"/>
                    <a:pt x="42" y="4282"/>
                  </a:cubicBezTo>
                  <a:cubicBezTo>
                    <a:pt x="81" y="4356"/>
                    <a:pt x="137" y="4422"/>
                    <a:pt x="200" y="4471"/>
                  </a:cubicBezTo>
                  <a:lnTo>
                    <a:pt x="203" y="4475"/>
                  </a:lnTo>
                  <a:cubicBezTo>
                    <a:pt x="214" y="4482"/>
                    <a:pt x="221" y="4489"/>
                    <a:pt x="228" y="4492"/>
                  </a:cubicBezTo>
                  <a:cubicBezTo>
                    <a:pt x="235" y="4499"/>
                    <a:pt x="242" y="4506"/>
                    <a:pt x="245" y="4513"/>
                  </a:cubicBezTo>
                  <a:cubicBezTo>
                    <a:pt x="252" y="4517"/>
                    <a:pt x="256" y="4524"/>
                    <a:pt x="259" y="4527"/>
                  </a:cubicBezTo>
                  <a:lnTo>
                    <a:pt x="263" y="4534"/>
                  </a:lnTo>
                  <a:cubicBezTo>
                    <a:pt x="270" y="4545"/>
                    <a:pt x="277" y="4555"/>
                    <a:pt x="284" y="4569"/>
                  </a:cubicBezTo>
                  <a:cubicBezTo>
                    <a:pt x="326" y="4650"/>
                    <a:pt x="315" y="4741"/>
                    <a:pt x="305" y="4818"/>
                  </a:cubicBezTo>
                  <a:cubicBezTo>
                    <a:pt x="294" y="4912"/>
                    <a:pt x="284" y="4993"/>
                    <a:pt x="343" y="5066"/>
                  </a:cubicBezTo>
                  <a:cubicBezTo>
                    <a:pt x="392" y="5126"/>
                    <a:pt x="448" y="5175"/>
                    <a:pt x="511" y="5217"/>
                  </a:cubicBezTo>
                  <a:cubicBezTo>
                    <a:pt x="571" y="5262"/>
                    <a:pt x="620" y="5297"/>
                    <a:pt x="623" y="5357"/>
                  </a:cubicBezTo>
                  <a:cubicBezTo>
                    <a:pt x="620" y="5402"/>
                    <a:pt x="599" y="5441"/>
                    <a:pt x="564" y="5465"/>
                  </a:cubicBezTo>
                  <a:cubicBezTo>
                    <a:pt x="532" y="5493"/>
                    <a:pt x="532" y="5535"/>
                    <a:pt x="536" y="5602"/>
                  </a:cubicBezTo>
                  <a:lnTo>
                    <a:pt x="536" y="5633"/>
                  </a:lnTo>
                  <a:cubicBezTo>
                    <a:pt x="543" y="5703"/>
                    <a:pt x="522" y="5773"/>
                    <a:pt x="476" y="5829"/>
                  </a:cubicBezTo>
                  <a:cubicBezTo>
                    <a:pt x="466" y="5840"/>
                    <a:pt x="455" y="5847"/>
                    <a:pt x="445" y="5857"/>
                  </a:cubicBezTo>
                  <a:cubicBezTo>
                    <a:pt x="441" y="5861"/>
                    <a:pt x="424" y="5875"/>
                    <a:pt x="427" y="5920"/>
                  </a:cubicBezTo>
                  <a:cubicBezTo>
                    <a:pt x="452" y="6036"/>
                    <a:pt x="525" y="6138"/>
                    <a:pt x="627" y="6197"/>
                  </a:cubicBezTo>
                  <a:cubicBezTo>
                    <a:pt x="735" y="6246"/>
                    <a:pt x="749" y="6369"/>
                    <a:pt x="763" y="6474"/>
                  </a:cubicBezTo>
                  <a:cubicBezTo>
                    <a:pt x="774" y="6561"/>
                    <a:pt x="784" y="6656"/>
                    <a:pt x="840" y="6712"/>
                  </a:cubicBezTo>
                  <a:cubicBezTo>
                    <a:pt x="952" y="6824"/>
                    <a:pt x="959" y="7013"/>
                    <a:pt x="966" y="7163"/>
                  </a:cubicBezTo>
                  <a:cubicBezTo>
                    <a:pt x="966" y="7188"/>
                    <a:pt x="966" y="7216"/>
                    <a:pt x="970" y="7237"/>
                  </a:cubicBezTo>
                  <a:lnTo>
                    <a:pt x="970" y="7247"/>
                  </a:lnTo>
                  <a:lnTo>
                    <a:pt x="970" y="7265"/>
                  </a:lnTo>
                  <a:lnTo>
                    <a:pt x="970" y="7286"/>
                  </a:lnTo>
                  <a:lnTo>
                    <a:pt x="970" y="7296"/>
                  </a:lnTo>
                  <a:cubicBezTo>
                    <a:pt x="970" y="7300"/>
                    <a:pt x="970" y="7310"/>
                    <a:pt x="973" y="7317"/>
                  </a:cubicBezTo>
                  <a:cubicBezTo>
                    <a:pt x="1001" y="7314"/>
                    <a:pt x="1078" y="7289"/>
                    <a:pt x="1222" y="7198"/>
                  </a:cubicBezTo>
                  <a:cubicBezTo>
                    <a:pt x="1348" y="7118"/>
                    <a:pt x="1463" y="7023"/>
                    <a:pt x="1568" y="6918"/>
                  </a:cubicBezTo>
                  <a:lnTo>
                    <a:pt x="1610" y="6876"/>
                  </a:lnTo>
                  <a:cubicBezTo>
                    <a:pt x="1717" y="6763"/>
                    <a:pt x="1792" y="6719"/>
                    <a:pt x="1861" y="6719"/>
                  </a:cubicBezTo>
                  <a:cubicBezTo>
                    <a:pt x="1871" y="6719"/>
                    <a:pt x="1881" y="6720"/>
                    <a:pt x="1891" y="6722"/>
                  </a:cubicBezTo>
                  <a:lnTo>
                    <a:pt x="1912" y="6729"/>
                  </a:lnTo>
                  <a:cubicBezTo>
                    <a:pt x="1926" y="6736"/>
                    <a:pt x="1940" y="6740"/>
                    <a:pt x="1954" y="6747"/>
                  </a:cubicBezTo>
                  <a:cubicBezTo>
                    <a:pt x="1971" y="6757"/>
                    <a:pt x="1985" y="6764"/>
                    <a:pt x="1999" y="6775"/>
                  </a:cubicBezTo>
                  <a:cubicBezTo>
                    <a:pt x="2045" y="6810"/>
                    <a:pt x="2097" y="6831"/>
                    <a:pt x="2153" y="6838"/>
                  </a:cubicBezTo>
                  <a:lnTo>
                    <a:pt x="2248" y="6852"/>
                  </a:lnTo>
                  <a:cubicBezTo>
                    <a:pt x="2468" y="6876"/>
                    <a:pt x="2720" y="6904"/>
                    <a:pt x="2832" y="7135"/>
                  </a:cubicBezTo>
                  <a:cubicBezTo>
                    <a:pt x="2836" y="7142"/>
                    <a:pt x="2843" y="7149"/>
                    <a:pt x="2846" y="7156"/>
                  </a:cubicBezTo>
                  <a:cubicBezTo>
                    <a:pt x="2878" y="7125"/>
                    <a:pt x="2934" y="7013"/>
                    <a:pt x="2962" y="6957"/>
                  </a:cubicBezTo>
                  <a:lnTo>
                    <a:pt x="2983" y="6908"/>
                  </a:lnTo>
                  <a:cubicBezTo>
                    <a:pt x="3000" y="6869"/>
                    <a:pt x="3021" y="6834"/>
                    <a:pt x="3049" y="6799"/>
                  </a:cubicBezTo>
                  <a:cubicBezTo>
                    <a:pt x="3092" y="6754"/>
                    <a:pt x="3166" y="6739"/>
                    <a:pt x="3272" y="6739"/>
                  </a:cubicBezTo>
                  <a:cubicBezTo>
                    <a:pt x="3355" y="6739"/>
                    <a:pt x="3458" y="6748"/>
                    <a:pt x="3581" y="6761"/>
                  </a:cubicBezTo>
                  <a:lnTo>
                    <a:pt x="3655" y="6771"/>
                  </a:lnTo>
                  <a:cubicBezTo>
                    <a:pt x="3691" y="6776"/>
                    <a:pt x="3729" y="6780"/>
                    <a:pt x="3767" y="6780"/>
                  </a:cubicBezTo>
                  <a:cubicBezTo>
                    <a:pt x="3781" y="6780"/>
                    <a:pt x="3795" y="6779"/>
                    <a:pt x="3809" y="6778"/>
                  </a:cubicBezTo>
                  <a:cubicBezTo>
                    <a:pt x="3826" y="6743"/>
                    <a:pt x="3844" y="6705"/>
                    <a:pt x="3851" y="6663"/>
                  </a:cubicBezTo>
                  <a:lnTo>
                    <a:pt x="3851" y="6659"/>
                  </a:lnTo>
                  <a:lnTo>
                    <a:pt x="3858" y="6638"/>
                  </a:lnTo>
                  <a:lnTo>
                    <a:pt x="3858" y="6631"/>
                  </a:lnTo>
                  <a:lnTo>
                    <a:pt x="3861" y="6614"/>
                  </a:lnTo>
                  <a:lnTo>
                    <a:pt x="3865" y="6589"/>
                  </a:lnTo>
                  <a:lnTo>
                    <a:pt x="3865" y="6586"/>
                  </a:lnTo>
                  <a:cubicBezTo>
                    <a:pt x="3910" y="6383"/>
                    <a:pt x="3942" y="6089"/>
                    <a:pt x="3931" y="6008"/>
                  </a:cubicBezTo>
                  <a:cubicBezTo>
                    <a:pt x="3907" y="5840"/>
                    <a:pt x="4208" y="5539"/>
                    <a:pt x="4380" y="5427"/>
                  </a:cubicBezTo>
                  <a:cubicBezTo>
                    <a:pt x="4502" y="5343"/>
                    <a:pt x="4663" y="5343"/>
                    <a:pt x="4800" y="5339"/>
                  </a:cubicBezTo>
                  <a:lnTo>
                    <a:pt x="4873" y="5339"/>
                  </a:lnTo>
                  <a:cubicBezTo>
                    <a:pt x="4881" y="5340"/>
                    <a:pt x="4888" y="5340"/>
                    <a:pt x="4896" y="5340"/>
                  </a:cubicBezTo>
                  <a:cubicBezTo>
                    <a:pt x="4948" y="5340"/>
                    <a:pt x="4999" y="5330"/>
                    <a:pt x="5048" y="5311"/>
                  </a:cubicBezTo>
                  <a:cubicBezTo>
                    <a:pt x="5164" y="5252"/>
                    <a:pt x="5311" y="5241"/>
                    <a:pt x="5461" y="5238"/>
                  </a:cubicBezTo>
                  <a:lnTo>
                    <a:pt x="5710" y="5238"/>
                  </a:lnTo>
                  <a:cubicBezTo>
                    <a:pt x="5857" y="5238"/>
                    <a:pt x="5979" y="5318"/>
                    <a:pt x="6074" y="5385"/>
                  </a:cubicBezTo>
                  <a:cubicBezTo>
                    <a:pt x="6134" y="5423"/>
                    <a:pt x="6190" y="5465"/>
                    <a:pt x="6225" y="5465"/>
                  </a:cubicBezTo>
                  <a:cubicBezTo>
                    <a:pt x="6246" y="5462"/>
                    <a:pt x="6267" y="5455"/>
                    <a:pt x="6284" y="5441"/>
                  </a:cubicBezTo>
                  <a:cubicBezTo>
                    <a:pt x="6340" y="5399"/>
                    <a:pt x="6386" y="5339"/>
                    <a:pt x="6407" y="5273"/>
                  </a:cubicBezTo>
                  <a:cubicBezTo>
                    <a:pt x="6410" y="5259"/>
                    <a:pt x="6414" y="5245"/>
                    <a:pt x="6417" y="5231"/>
                  </a:cubicBezTo>
                  <a:lnTo>
                    <a:pt x="6417" y="5224"/>
                  </a:lnTo>
                  <a:cubicBezTo>
                    <a:pt x="6421" y="5213"/>
                    <a:pt x="6421" y="5203"/>
                    <a:pt x="6421" y="5189"/>
                  </a:cubicBezTo>
                  <a:lnTo>
                    <a:pt x="6421" y="5182"/>
                  </a:lnTo>
                  <a:cubicBezTo>
                    <a:pt x="6421" y="5164"/>
                    <a:pt x="6421" y="5150"/>
                    <a:pt x="6417" y="5136"/>
                  </a:cubicBezTo>
                  <a:cubicBezTo>
                    <a:pt x="6403" y="5038"/>
                    <a:pt x="6428" y="4933"/>
                    <a:pt x="6456" y="4821"/>
                  </a:cubicBezTo>
                  <a:cubicBezTo>
                    <a:pt x="6466" y="4790"/>
                    <a:pt x="6473" y="4758"/>
                    <a:pt x="6480" y="4723"/>
                  </a:cubicBezTo>
                  <a:cubicBezTo>
                    <a:pt x="6494" y="4674"/>
                    <a:pt x="6501" y="4625"/>
                    <a:pt x="6501" y="4576"/>
                  </a:cubicBezTo>
                  <a:cubicBezTo>
                    <a:pt x="6505" y="4527"/>
                    <a:pt x="6498" y="4482"/>
                    <a:pt x="6484" y="4436"/>
                  </a:cubicBezTo>
                  <a:cubicBezTo>
                    <a:pt x="6452" y="4352"/>
                    <a:pt x="6400" y="4282"/>
                    <a:pt x="6333" y="4223"/>
                  </a:cubicBezTo>
                  <a:cubicBezTo>
                    <a:pt x="6253" y="4142"/>
                    <a:pt x="6158" y="4051"/>
                    <a:pt x="6158" y="3879"/>
                  </a:cubicBezTo>
                  <a:cubicBezTo>
                    <a:pt x="6158" y="3788"/>
                    <a:pt x="6148" y="3739"/>
                    <a:pt x="6120" y="3711"/>
                  </a:cubicBezTo>
                  <a:cubicBezTo>
                    <a:pt x="6095" y="3694"/>
                    <a:pt x="6067" y="3680"/>
                    <a:pt x="6036" y="3676"/>
                  </a:cubicBezTo>
                  <a:cubicBezTo>
                    <a:pt x="5980" y="3670"/>
                    <a:pt x="5925" y="3667"/>
                    <a:pt x="5869" y="3667"/>
                  </a:cubicBezTo>
                  <a:cubicBezTo>
                    <a:pt x="5837" y="3667"/>
                    <a:pt x="5805" y="3668"/>
                    <a:pt x="5773" y="3669"/>
                  </a:cubicBezTo>
                  <a:lnTo>
                    <a:pt x="5755" y="3669"/>
                  </a:lnTo>
                  <a:cubicBezTo>
                    <a:pt x="5730" y="3670"/>
                    <a:pt x="5705" y="3671"/>
                    <a:pt x="5681" y="3671"/>
                  </a:cubicBezTo>
                  <a:cubicBezTo>
                    <a:pt x="5232" y="3671"/>
                    <a:pt x="5118" y="3490"/>
                    <a:pt x="5108" y="3337"/>
                  </a:cubicBezTo>
                  <a:cubicBezTo>
                    <a:pt x="5097" y="3263"/>
                    <a:pt x="5073" y="3197"/>
                    <a:pt x="5038" y="3134"/>
                  </a:cubicBezTo>
                  <a:cubicBezTo>
                    <a:pt x="4992" y="3039"/>
                    <a:pt x="4922" y="2896"/>
                    <a:pt x="5080" y="2819"/>
                  </a:cubicBezTo>
                  <a:cubicBezTo>
                    <a:pt x="5083" y="2815"/>
                    <a:pt x="5090" y="2812"/>
                    <a:pt x="5094" y="2808"/>
                  </a:cubicBezTo>
                  <a:cubicBezTo>
                    <a:pt x="5083" y="2780"/>
                    <a:pt x="5069" y="2752"/>
                    <a:pt x="5052" y="2728"/>
                  </a:cubicBezTo>
                  <a:cubicBezTo>
                    <a:pt x="5006" y="2658"/>
                    <a:pt x="4943" y="2560"/>
                    <a:pt x="4964" y="2448"/>
                  </a:cubicBezTo>
                  <a:cubicBezTo>
                    <a:pt x="4985" y="2315"/>
                    <a:pt x="4922" y="2259"/>
                    <a:pt x="4814" y="2168"/>
                  </a:cubicBezTo>
                  <a:lnTo>
                    <a:pt x="4775" y="2136"/>
                  </a:lnTo>
                  <a:cubicBezTo>
                    <a:pt x="4753" y="2117"/>
                    <a:pt x="4672" y="2115"/>
                    <a:pt x="4598" y="2115"/>
                  </a:cubicBezTo>
                  <a:cubicBezTo>
                    <a:pt x="4577" y="2115"/>
                    <a:pt x="4556" y="2115"/>
                    <a:pt x="4537" y="2115"/>
                  </a:cubicBezTo>
                  <a:cubicBezTo>
                    <a:pt x="4506" y="2116"/>
                    <a:pt x="4475" y="2117"/>
                    <a:pt x="4445" y="2117"/>
                  </a:cubicBezTo>
                  <a:cubicBezTo>
                    <a:pt x="4341" y="2117"/>
                    <a:pt x="4248" y="2107"/>
                    <a:pt x="4194" y="2056"/>
                  </a:cubicBezTo>
                  <a:cubicBezTo>
                    <a:pt x="4170" y="2031"/>
                    <a:pt x="4152" y="1993"/>
                    <a:pt x="4156" y="1958"/>
                  </a:cubicBezTo>
                  <a:cubicBezTo>
                    <a:pt x="4156" y="1842"/>
                    <a:pt x="3910" y="1810"/>
                    <a:pt x="3767" y="1810"/>
                  </a:cubicBezTo>
                  <a:cubicBezTo>
                    <a:pt x="3637" y="1810"/>
                    <a:pt x="3613" y="1716"/>
                    <a:pt x="3599" y="1667"/>
                  </a:cubicBezTo>
                  <a:cubicBezTo>
                    <a:pt x="3588" y="1625"/>
                    <a:pt x="3586" y="1617"/>
                    <a:pt x="3569" y="1617"/>
                  </a:cubicBezTo>
                  <a:cubicBezTo>
                    <a:pt x="3565" y="1617"/>
                    <a:pt x="3560" y="1617"/>
                    <a:pt x="3553" y="1618"/>
                  </a:cubicBezTo>
                  <a:lnTo>
                    <a:pt x="3536" y="1618"/>
                  </a:lnTo>
                  <a:cubicBezTo>
                    <a:pt x="3530" y="1618"/>
                    <a:pt x="3525" y="1618"/>
                    <a:pt x="3519" y="1618"/>
                  </a:cubicBezTo>
                  <a:cubicBezTo>
                    <a:pt x="3458" y="1618"/>
                    <a:pt x="3398" y="1601"/>
                    <a:pt x="3350" y="1569"/>
                  </a:cubicBezTo>
                  <a:cubicBezTo>
                    <a:pt x="3315" y="1547"/>
                    <a:pt x="3288" y="1529"/>
                    <a:pt x="3224" y="1529"/>
                  </a:cubicBezTo>
                  <a:cubicBezTo>
                    <a:pt x="3207" y="1529"/>
                    <a:pt x="3186" y="1531"/>
                    <a:pt x="3161" y="1534"/>
                  </a:cubicBezTo>
                  <a:cubicBezTo>
                    <a:pt x="3130" y="1538"/>
                    <a:pt x="3101" y="1540"/>
                    <a:pt x="3072" y="1540"/>
                  </a:cubicBezTo>
                  <a:cubicBezTo>
                    <a:pt x="2847" y="1540"/>
                    <a:pt x="2691" y="1404"/>
                    <a:pt x="2458" y="1124"/>
                  </a:cubicBezTo>
                  <a:cubicBezTo>
                    <a:pt x="2185" y="802"/>
                    <a:pt x="2209" y="193"/>
                    <a:pt x="22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7" name="Google Shape;6414;p64">
              <a:extLst>
                <a:ext uri="{FF2B5EF4-FFF2-40B4-BE49-F238E27FC236}">
                  <a16:creationId xmlns:a16="http://schemas.microsoft.com/office/drawing/2014/main" id="{59C1C0B2-9825-775D-0C61-7AA784C0AB5E}"/>
                </a:ext>
              </a:extLst>
            </p:cNvPr>
            <p:cNvSpPr/>
            <p:nvPr/>
          </p:nvSpPr>
          <p:spPr>
            <a:xfrm>
              <a:off x="1596443" y="2164147"/>
              <a:ext cx="8812" cy="4820"/>
            </a:xfrm>
            <a:custGeom>
              <a:avLst/>
              <a:gdLst/>
              <a:ahLst/>
              <a:cxnLst/>
              <a:rect l="l" t="t" r="r" b="b"/>
              <a:pathLst>
                <a:path w="649" h="355" extrusionOk="0">
                  <a:moveTo>
                    <a:pt x="648" y="337"/>
                  </a:moveTo>
                  <a:cubicBezTo>
                    <a:pt x="134" y="354"/>
                    <a:pt x="11" y="165"/>
                    <a:pt x="1" y="1"/>
                  </a:cubicBezTo>
                  <a:cubicBezTo>
                    <a:pt x="11" y="165"/>
                    <a:pt x="134" y="354"/>
                    <a:pt x="648" y="33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8" name="Google Shape;6415;p64">
              <a:extLst>
                <a:ext uri="{FF2B5EF4-FFF2-40B4-BE49-F238E27FC236}">
                  <a16:creationId xmlns:a16="http://schemas.microsoft.com/office/drawing/2014/main" id="{D7661317-BC6A-756A-04CA-46ACB3A391BF}"/>
                </a:ext>
              </a:extLst>
            </p:cNvPr>
            <p:cNvSpPr/>
            <p:nvPr/>
          </p:nvSpPr>
          <p:spPr>
            <a:xfrm>
              <a:off x="1614230" y="2188587"/>
              <a:ext cx="54" cy="625"/>
            </a:xfrm>
            <a:custGeom>
              <a:avLst/>
              <a:gdLst/>
              <a:ahLst/>
              <a:cxnLst/>
              <a:rect l="l" t="t" r="r" b="b"/>
              <a:pathLst>
                <a:path w="4" h="46" extrusionOk="0">
                  <a:moveTo>
                    <a:pt x="0" y="0"/>
                  </a:moveTo>
                  <a:cubicBezTo>
                    <a:pt x="4" y="14"/>
                    <a:pt x="4" y="32"/>
                    <a:pt x="4" y="46"/>
                  </a:cubicBezTo>
                  <a:cubicBezTo>
                    <a:pt x="4" y="32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9" name="Google Shape;6416;p64">
              <a:extLst>
                <a:ext uri="{FF2B5EF4-FFF2-40B4-BE49-F238E27FC236}">
                  <a16:creationId xmlns:a16="http://schemas.microsoft.com/office/drawing/2014/main" id="{ECD15F9E-A3C3-B29A-84D1-0C3A962C5FA9}"/>
                </a:ext>
              </a:extLst>
            </p:cNvPr>
            <p:cNvSpPr/>
            <p:nvPr/>
          </p:nvSpPr>
          <p:spPr>
            <a:xfrm>
              <a:off x="1584047" y="2146754"/>
              <a:ext cx="4616" cy="923"/>
            </a:xfrm>
            <a:custGeom>
              <a:avLst/>
              <a:gdLst/>
              <a:ahLst/>
              <a:cxnLst/>
              <a:rect l="l" t="t" r="r" b="b"/>
              <a:pathLst>
                <a:path w="340" h="68" extrusionOk="0">
                  <a:moveTo>
                    <a:pt x="340" y="60"/>
                  </a:moveTo>
                  <a:cubicBezTo>
                    <a:pt x="200" y="64"/>
                    <a:pt x="67" y="67"/>
                    <a:pt x="0" y="1"/>
                  </a:cubicBezTo>
                  <a:cubicBezTo>
                    <a:pt x="67" y="67"/>
                    <a:pt x="200" y="64"/>
                    <a:pt x="340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0" name="Google Shape;6417;p64">
              <a:extLst>
                <a:ext uri="{FF2B5EF4-FFF2-40B4-BE49-F238E27FC236}">
                  <a16:creationId xmlns:a16="http://schemas.microsoft.com/office/drawing/2014/main" id="{661810C9-4007-C4F3-EB41-A39A6C186568}"/>
                </a:ext>
              </a:extLst>
            </p:cNvPr>
            <p:cNvSpPr/>
            <p:nvPr/>
          </p:nvSpPr>
          <p:spPr>
            <a:xfrm>
              <a:off x="1612370" y="2190433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7" y="1"/>
                  </a:moveTo>
                  <a:cubicBezTo>
                    <a:pt x="114" y="34"/>
                    <a:pt x="99" y="63"/>
                    <a:pt x="82" y="90"/>
                  </a:cubicBezTo>
                  <a:lnTo>
                    <a:pt x="82" y="90"/>
                  </a:lnTo>
                  <a:cubicBezTo>
                    <a:pt x="100" y="63"/>
                    <a:pt x="115" y="33"/>
                    <a:pt x="127" y="1"/>
                  </a:cubicBezTo>
                  <a:close/>
                  <a:moveTo>
                    <a:pt x="82" y="90"/>
                  </a:moveTo>
                  <a:cubicBezTo>
                    <a:pt x="70" y="108"/>
                    <a:pt x="56" y="124"/>
                    <a:pt x="40" y="140"/>
                  </a:cubicBezTo>
                  <a:lnTo>
                    <a:pt x="40" y="140"/>
                  </a:lnTo>
                  <a:cubicBezTo>
                    <a:pt x="47" y="133"/>
                    <a:pt x="54" y="126"/>
                    <a:pt x="60" y="120"/>
                  </a:cubicBezTo>
                  <a:cubicBezTo>
                    <a:pt x="68" y="110"/>
                    <a:pt x="75" y="100"/>
                    <a:pt x="82" y="90"/>
                  </a:cubicBezTo>
                  <a:close/>
                  <a:moveTo>
                    <a:pt x="40" y="140"/>
                  </a:moveTo>
                  <a:lnTo>
                    <a:pt x="40" y="140"/>
                  </a:lnTo>
                  <a:cubicBezTo>
                    <a:pt x="32" y="147"/>
                    <a:pt x="24" y="154"/>
                    <a:pt x="15" y="162"/>
                  </a:cubicBezTo>
                  <a:lnTo>
                    <a:pt x="1" y="172"/>
                  </a:lnTo>
                  <a:cubicBezTo>
                    <a:pt x="15" y="162"/>
                    <a:pt x="28" y="151"/>
                    <a:pt x="4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1" name="Google Shape;6418;p64">
              <a:extLst>
                <a:ext uri="{FF2B5EF4-FFF2-40B4-BE49-F238E27FC236}">
                  <a16:creationId xmlns:a16="http://schemas.microsoft.com/office/drawing/2014/main" id="{96338AF3-1B19-0B2A-9A6C-BB95136FEB12}"/>
                </a:ext>
              </a:extLst>
            </p:cNvPr>
            <p:cNvSpPr/>
            <p:nvPr/>
          </p:nvSpPr>
          <p:spPr>
            <a:xfrm>
              <a:off x="1614040" y="2189917"/>
              <a:ext cx="149" cy="530"/>
            </a:xfrm>
            <a:custGeom>
              <a:avLst/>
              <a:gdLst/>
              <a:ahLst/>
              <a:cxnLst/>
              <a:rect l="l" t="t" r="r" b="b"/>
              <a:pathLst>
                <a:path w="11" h="39" extrusionOk="0">
                  <a:moveTo>
                    <a:pt x="11" y="0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4" y="25"/>
                    <a:pt x="7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2" name="Google Shape;6419;p64">
              <a:extLst>
                <a:ext uri="{FF2B5EF4-FFF2-40B4-BE49-F238E27FC236}">
                  <a16:creationId xmlns:a16="http://schemas.microsoft.com/office/drawing/2014/main" id="{0F999F99-4C73-9894-E747-A3CE92BB282A}"/>
                </a:ext>
              </a:extLst>
            </p:cNvPr>
            <p:cNvSpPr/>
            <p:nvPr/>
          </p:nvSpPr>
          <p:spPr>
            <a:xfrm>
              <a:off x="1529140" y="2128031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3" name="Google Shape;6420;p64">
              <a:extLst>
                <a:ext uri="{FF2B5EF4-FFF2-40B4-BE49-F238E27FC236}">
                  <a16:creationId xmlns:a16="http://schemas.microsoft.com/office/drawing/2014/main" id="{47FB67D1-7002-0301-E3A2-C23DD0D07B68}"/>
                </a:ext>
              </a:extLst>
            </p:cNvPr>
            <p:cNvSpPr/>
            <p:nvPr/>
          </p:nvSpPr>
          <p:spPr>
            <a:xfrm>
              <a:off x="1614230" y="2189293"/>
              <a:ext cx="54" cy="489"/>
            </a:xfrm>
            <a:custGeom>
              <a:avLst/>
              <a:gdLst/>
              <a:ahLst/>
              <a:cxnLst/>
              <a:rect l="l" t="t" r="r" b="b"/>
              <a:pathLst>
                <a:path w="4" h="36" extrusionOk="0">
                  <a:moveTo>
                    <a:pt x="4" y="1"/>
                  </a:moveTo>
                  <a:cubicBezTo>
                    <a:pt x="4" y="15"/>
                    <a:pt x="0" y="25"/>
                    <a:pt x="0" y="36"/>
                  </a:cubicBezTo>
                  <a:cubicBezTo>
                    <a:pt x="0" y="25"/>
                    <a:pt x="4" y="15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4" name="Google Shape;6421;p64">
              <a:extLst>
                <a:ext uri="{FF2B5EF4-FFF2-40B4-BE49-F238E27FC236}">
                  <a16:creationId xmlns:a16="http://schemas.microsoft.com/office/drawing/2014/main" id="{D26E8021-6AF6-0921-52E9-5E636E6DFF63}"/>
                </a:ext>
              </a:extLst>
            </p:cNvPr>
            <p:cNvSpPr/>
            <p:nvPr/>
          </p:nvSpPr>
          <p:spPr>
            <a:xfrm>
              <a:off x="1529425" y="212812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lnTo>
                    <a:pt x="29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5" name="Google Shape;6422;p64">
              <a:extLst>
                <a:ext uri="{FF2B5EF4-FFF2-40B4-BE49-F238E27FC236}">
                  <a16:creationId xmlns:a16="http://schemas.microsoft.com/office/drawing/2014/main" id="{E8121156-301A-66D7-70A5-FFF3AAD2627E}"/>
                </a:ext>
              </a:extLst>
            </p:cNvPr>
            <p:cNvSpPr/>
            <p:nvPr/>
          </p:nvSpPr>
          <p:spPr>
            <a:xfrm>
              <a:off x="1575290" y="21408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6" name="Google Shape;6423;p64">
              <a:extLst>
                <a:ext uri="{FF2B5EF4-FFF2-40B4-BE49-F238E27FC236}">
                  <a16:creationId xmlns:a16="http://schemas.microsoft.com/office/drawing/2014/main" id="{87A79240-FAA1-F0FD-C75D-136504F27C06}"/>
                </a:ext>
              </a:extLst>
            </p:cNvPr>
            <p:cNvSpPr/>
            <p:nvPr/>
          </p:nvSpPr>
          <p:spPr>
            <a:xfrm>
              <a:off x="1615085" y="2180983"/>
              <a:ext cx="299" cy="2009"/>
            </a:xfrm>
            <a:custGeom>
              <a:avLst/>
              <a:gdLst/>
              <a:ahLst/>
              <a:cxnLst/>
              <a:rect l="l" t="t" r="r" b="b"/>
              <a:pathLst>
                <a:path w="22" h="148" extrusionOk="0">
                  <a:moveTo>
                    <a:pt x="21" y="0"/>
                  </a:moveTo>
                  <a:cubicBezTo>
                    <a:pt x="18" y="49"/>
                    <a:pt x="11" y="98"/>
                    <a:pt x="0" y="147"/>
                  </a:cubicBezTo>
                  <a:cubicBezTo>
                    <a:pt x="11" y="98"/>
                    <a:pt x="18" y="49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7" name="Google Shape;6424;p64">
              <a:extLst>
                <a:ext uri="{FF2B5EF4-FFF2-40B4-BE49-F238E27FC236}">
                  <a16:creationId xmlns:a16="http://schemas.microsoft.com/office/drawing/2014/main" id="{1EDDF477-CF1D-3CC9-3A0D-2A1277930434}"/>
                </a:ext>
              </a:extLst>
            </p:cNvPr>
            <p:cNvSpPr/>
            <p:nvPr/>
          </p:nvSpPr>
          <p:spPr>
            <a:xfrm>
              <a:off x="1595493" y="2161391"/>
              <a:ext cx="964" cy="2770"/>
            </a:xfrm>
            <a:custGeom>
              <a:avLst/>
              <a:gdLst/>
              <a:ahLst/>
              <a:cxnLst/>
              <a:rect l="l" t="t" r="r" b="b"/>
              <a:pathLst>
                <a:path w="71" h="204" extrusionOk="0">
                  <a:moveTo>
                    <a:pt x="1" y="1"/>
                  </a:moveTo>
                  <a:cubicBezTo>
                    <a:pt x="36" y="64"/>
                    <a:pt x="60" y="134"/>
                    <a:pt x="71" y="204"/>
                  </a:cubicBezTo>
                  <a:cubicBezTo>
                    <a:pt x="60" y="134"/>
                    <a:pt x="36" y="6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8" name="Google Shape;6425;p64">
              <a:extLst>
                <a:ext uri="{FF2B5EF4-FFF2-40B4-BE49-F238E27FC236}">
                  <a16:creationId xmlns:a16="http://schemas.microsoft.com/office/drawing/2014/main" id="{9B6EAA19-C991-74DB-69EC-28667ADC1C17}"/>
                </a:ext>
              </a:extLst>
            </p:cNvPr>
            <p:cNvSpPr/>
            <p:nvPr/>
          </p:nvSpPr>
          <p:spPr>
            <a:xfrm>
              <a:off x="1543736" y="2212822"/>
              <a:ext cx="4711" cy="3775"/>
            </a:xfrm>
            <a:custGeom>
              <a:avLst/>
              <a:gdLst/>
              <a:ahLst/>
              <a:cxnLst/>
              <a:rect l="l" t="t" r="r" b="b"/>
              <a:pathLst>
                <a:path w="347" h="278" extrusionOk="0">
                  <a:moveTo>
                    <a:pt x="347" y="1"/>
                  </a:moveTo>
                  <a:cubicBezTo>
                    <a:pt x="245" y="96"/>
                    <a:pt x="137" y="185"/>
                    <a:pt x="23" y="262"/>
                  </a:cubicBezTo>
                  <a:lnTo>
                    <a:pt x="23" y="262"/>
                  </a:lnTo>
                  <a:lnTo>
                    <a:pt x="53" y="242"/>
                  </a:lnTo>
                  <a:cubicBezTo>
                    <a:pt x="158" y="172"/>
                    <a:pt x="256" y="88"/>
                    <a:pt x="347" y="1"/>
                  </a:cubicBezTo>
                  <a:close/>
                  <a:moveTo>
                    <a:pt x="23" y="262"/>
                  </a:moveTo>
                  <a:lnTo>
                    <a:pt x="0" y="277"/>
                  </a:lnTo>
                  <a:cubicBezTo>
                    <a:pt x="8" y="272"/>
                    <a:pt x="16" y="267"/>
                    <a:pt x="23" y="2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9" name="Google Shape;6426;p64">
              <a:extLst>
                <a:ext uri="{FF2B5EF4-FFF2-40B4-BE49-F238E27FC236}">
                  <a16:creationId xmlns:a16="http://schemas.microsoft.com/office/drawing/2014/main" id="{993B4353-6313-C8F9-6B81-83E93E0CB381}"/>
                </a:ext>
              </a:extLst>
            </p:cNvPr>
            <p:cNvSpPr/>
            <p:nvPr/>
          </p:nvSpPr>
          <p:spPr>
            <a:xfrm>
              <a:off x="1568542" y="2210324"/>
              <a:ext cx="8092" cy="855"/>
            </a:xfrm>
            <a:custGeom>
              <a:avLst/>
              <a:gdLst/>
              <a:ahLst/>
              <a:cxnLst/>
              <a:rect l="l" t="t" r="r" b="b"/>
              <a:pathLst>
                <a:path w="596" h="63" extrusionOk="0">
                  <a:moveTo>
                    <a:pt x="210" y="0"/>
                  </a:moveTo>
                  <a:cubicBezTo>
                    <a:pt x="107" y="0"/>
                    <a:pt x="36" y="17"/>
                    <a:pt x="1" y="62"/>
                  </a:cubicBezTo>
                  <a:cubicBezTo>
                    <a:pt x="38" y="17"/>
                    <a:pt x="109" y="1"/>
                    <a:pt x="213" y="0"/>
                  </a:cubicBezTo>
                  <a:lnTo>
                    <a:pt x="213" y="0"/>
                  </a:lnTo>
                  <a:cubicBezTo>
                    <a:pt x="292" y="1"/>
                    <a:pt x="389" y="10"/>
                    <a:pt x="505" y="24"/>
                  </a:cubicBezTo>
                  <a:lnTo>
                    <a:pt x="596" y="34"/>
                  </a:lnTo>
                  <a:lnTo>
                    <a:pt x="522" y="24"/>
                  </a:lnTo>
                  <a:cubicBezTo>
                    <a:pt x="401" y="10"/>
                    <a:pt x="299" y="0"/>
                    <a:pt x="217" y="0"/>
                  </a:cubicBezTo>
                  <a:cubicBezTo>
                    <a:pt x="216" y="0"/>
                    <a:pt x="214" y="0"/>
                    <a:pt x="213" y="0"/>
                  </a:cubicBezTo>
                  <a:lnTo>
                    <a:pt x="213" y="0"/>
                  </a:lnTo>
                  <a:cubicBezTo>
                    <a:pt x="212" y="0"/>
                    <a:pt x="211" y="0"/>
                    <a:pt x="21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0" name="Google Shape;6427;p64">
              <a:extLst>
                <a:ext uri="{FF2B5EF4-FFF2-40B4-BE49-F238E27FC236}">
                  <a16:creationId xmlns:a16="http://schemas.microsoft.com/office/drawing/2014/main" id="{69148232-5F2F-4788-DDAE-25A1F436ACB7}"/>
                </a:ext>
              </a:extLst>
            </p:cNvPr>
            <p:cNvSpPr/>
            <p:nvPr/>
          </p:nvSpPr>
          <p:spPr>
            <a:xfrm>
              <a:off x="1530375" y="218012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1" name="Google Shape;6428;p64">
              <a:extLst>
                <a:ext uri="{FF2B5EF4-FFF2-40B4-BE49-F238E27FC236}">
                  <a16:creationId xmlns:a16="http://schemas.microsoft.com/office/drawing/2014/main" id="{62B3106A-B55C-698B-C22C-6B71A0CA9E07}"/>
                </a:ext>
              </a:extLst>
            </p:cNvPr>
            <p:cNvSpPr/>
            <p:nvPr/>
          </p:nvSpPr>
          <p:spPr>
            <a:xfrm>
              <a:off x="1527049" y="2176177"/>
              <a:ext cx="2675" cy="3340"/>
            </a:xfrm>
            <a:custGeom>
              <a:avLst/>
              <a:gdLst/>
              <a:ahLst/>
              <a:cxnLst/>
              <a:rect l="l" t="t" r="r" b="b"/>
              <a:pathLst>
                <a:path w="197" h="246" extrusionOk="0">
                  <a:moveTo>
                    <a:pt x="39" y="60"/>
                  </a:moveTo>
                  <a:cubicBezTo>
                    <a:pt x="29" y="39"/>
                    <a:pt x="15" y="18"/>
                    <a:pt x="1" y="1"/>
                  </a:cubicBezTo>
                  <a:lnTo>
                    <a:pt x="1" y="1"/>
                  </a:lnTo>
                  <a:cubicBezTo>
                    <a:pt x="15" y="18"/>
                    <a:pt x="29" y="39"/>
                    <a:pt x="39" y="60"/>
                  </a:cubicBezTo>
                  <a:cubicBezTo>
                    <a:pt x="78" y="134"/>
                    <a:pt x="134" y="197"/>
                    <a:pt x="197" y="246"/>
                  </a:cubicBezTo>
                  <a:cubicBezTo>
                    <a:pt x="134" y="197"/>
                    <a:pt x="78" y="134"/>
                    <a:pt x="39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2" name="Google Shape;6429;p64">
              <a:extLst>
                <a:ext uri="{FF2B5EF4-FFF2-40B4-BE49-F238E27FC236}">
                  <a16:creationId xmlns:a16="http://schemas.microsoft.com/office/drawing/2014/main" id="{3A2C0CDA-3C14-829D-EDD6-FD161F7FA7F6}"/>
                </a:ext>
              </a:extLst>
            </p:cNvPr>
            <p:cNvSpPr/>
            <p:nvPr/>
          </p:nvSpPr>
          <p:spPr>
            <a:xfrm>
              <a:off x="1540314" y="2216583"/>
              <a:ext cx="3435" cy="1629"/>
            </a:xfrm>
            <a:custGeom>
              <a:avLst/>
              <a:gdLst/>
              <a:ahLst/>
              <a:cxnLst/>
              <a:rect l="l" t="t" r="r" b="b"/>
              <a:pathLst>
                <a:path w="253" h="120" extrusionOk="0">
                  <a:moveTo>
                    <a:pt x="252" y="0"/>
                  </a:moveTo>
                  <a:lnTo>
                    <a:pt x="224" y="18"/>
                  </a:lnTo>
                  <a:cubicBezTo>
                    <a:pt x="177" y="47"/>
                    <a:pt x="133" y="72"/>
                    <a:pt x="96" y="89"/>
                  </a:cubicBezTo>
                  <a:lnTo>
                    <a:pt x="96" y="89"/>
                  </a:lnTo>
                  <a:cubicBezTo>
                    <a:pt x="135" y="71"/>
                    <a:pt x="187" y="43"/>
                    <a:pt x="252" y="0"/>
                  </a:cubicBezTo>
                  <a:close/>
                  <a:moveTo>
                    <a:pt x="96" y="89"/>
                  </a:moveTo>
                  <a:cubicBezTo>
                    <a:pt x="48" y="110"/>
                    <a:pt x="17" y="117"/>
                    <a:pt x="0" y="119"/>
                  </a:cubicBezTo>
                  <a:cubicBezTo>
                    <a:pt x="21" y="119"/>
                    <a:pt x="54" y="109"/>
                    <a:pt x="96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3" name="Google Shape;6430;p64">
              <a:extLst>
                <a:ext uri="{FF2B5EF4-FFF2-40B4-BE49-F238E27FC236}">
                  <a16:creationId xmlns:a16="http://schemas.microsoft.com/office/drawing/2014/main" id="{BB6337D6-1088-AC08-2B13-641B11E35276}"/>
                </a:ext>
              </a:extLst>
            </p:cNvPr>
            <p:cNvSpPr/>
            <p:nvPr/>
          </p:nvSpPr>
          <p:spPr>
            <a:xfrm>
              <a:off x="1530565" y="2180413"/>
              <a:ext cx="353" cy="489"/>
            </a:xfrm>
            <a:custGeom>
              <a:avLst/>
              <a:gdLst/>
              <a:ahLst/>
              <a:cxnLst/>
              <a:rect l="l" t="t" r="r" b="b"/>
              <a:pathLst>
                <a:path w="26" h="36" extrusionOk="0">
                  <a:moveTo>
                    <a:pt x="25" y="35"/>
                  </a:moveTo>
                  <a:cubicBezTo>
                    <a:pt x="18" y="25"/>
                    <a:pt x="11" y="11"/>
                    <a:pt x="1" y="0"/>
                  </a:cubicBezTo>
                  <a:cubicBezTo>
                    <a:pt x="11" y="11"/>
                    <a:pt x="18" y="25"/>
                    <a:pt x="25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4" name="Google Shape;6431;p64">
              <a:extLst>
                <a:ext uri="{FF2B5EF4-FFF2-40B4-BE49-F238E27FC236}">
                  <a16:creationId xmlns:a16="http://schemas.microsoft.com/office/drawing/2014/main" id="{0C080D69-78AF-FA5A-7D02-FEE080F6DFE9}"/>
                </a:ext>
              </a:extLst>
            </p:cNvPr>
            <p:cNvSpPr/>
            <p:nvPr/>
          </p:nvSpPr>
          <p:spPr>
            <a:xfrm>
              <a:off x="1540260" y="221781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5" name="Google Shape;6432;p64">
              <a:extLst>
                <a:ext uri="{FF2B5EF4-FFF2-40B4-BE49-F238E27FC236}">
                  <a16:creationId xmlns:a16="http://schemas.microsoft.com/office/drawing/2014/main" id="{64CBBA04-D1C7-CABF-2FD9-2850DCF96C5C}"/>
                </a:ext>
              </a:extLst>
            </p:cNvPr>
            <p:cNvSpPr/>
            <p:nvPr/>
          </p:nvSpPr>
          <p:spPr>
            <a:xfrm>
              <a:off x="1540124" y="2216149"/>
              <a:ext cx="109" cy="1018"/>
            </a:xfrm>
            <a:custGeom>
              <a:avLst/>
              <a:gdLst/>
              <a:ahLst/>
              <a:cxnLst/>
              <a:rect l="l" t="t" r="r" b="b"/>
              <a:pathLst>
                <a:path w="8" h="75" extrusionOk="0">
                  <a:moveTo>
                    <a:pt x="0" y="1"/>
                  </a:moveTo>
                  <a:cubicBezTo>
                    <a:pt x="4" y="25"/>
                    <a:pt x="4" y="50"/>
                    <a:pt x="7" y="74"/>
                  </a:cubicBezTo>
                  <a:cubicBezTo>
                    <a:pt x="7" y="50"/>
                    <a:pt x="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6" name="Google Shape;6433;p64">
              <a:extLst>
                <a:ext uri="{FF2B5EF4-FFF2-40B4-BE49-F238E27FC236}">
                  <a16:creationId xmlns:a16="http://schemas.microsoft.com/office/drawing/2014/main" id="{D411A5FD-8868-B319-7FB2-9FBB3ACBFFA4}"/>
                </a:ext>
              </a:extLst>
            </p:cNvPr>
            <p:cNvSpPr/>
            <p:nvPr/>
          </p:nvSpPr>
          <p:spPr>
            <a:xfrm>
              <a:off x="1540219" y="2217289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7" name="Google Shape;6434;p64">
              <a:extLst>
                <a:ext uri="{FF2B5EF4-FFF2-40B4-BE49-F238E27FC236}">
                  <a16:creationId xmlns:a16="http://schemas.microsoft.com/office/drawing/2014/main" id="{2A226200-4FD0-EE7B-C42C-5EAC6748E26A}"/>
                </a:ext>
              </a:extLst>
            </p:cNvPr>
            <p:cNvSpPr/>
            <p:nvPr/>
          </p:nvSpPr>
          <p:spPr>
            <a:xfrm>
              <a:off x="1533512" y="2195335"/>
              <a:ext cx="869" cy="2675"/>
            </a:xfrm>
            <a:custGeom>
              <a:avLst/>
              <a:gdLst/>
              <a:ahLst/>
              <a:cxnLst/>
              <a:rect l="l" t="t" r="r" b="b"/>
              <a:pathLst>
                <a:path w="64" h="197" extrusionOk="0">
                  <a:moveTo>
                    <a:pt x="60" y="0"/>
                  </a:moveTo>
                  <a:cubicBezTo>
                    <a:pt x="64" y="70"/>
                    <a:pt x="43" y="140"/>
                    <a:pt x="1" y="196"/>
                  </a:cubicBezTo>
                  <a:cubicBezTo>
                    <a:pt x="43" y="140"/>
                    <a:pt x="64" y="70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8" name="Google Shape;6435;p64">
              <a:extLst>
                <a:ext uri="{FF2B5EF4-FFF2-40B4-BE49-F238E27FC236}">
                  <a16:creationId xmlns:a16="http://schemas.microsoft.com/office/drawing/2014/main" id="{F2687566-E8A3-F06A-BC66-2943732EC094}"/>
                </a:ext>
              </a:extLst>
            </p:cNvPr>
            <p:cNvSpPr/>
            <p:nvPr/>
          </p:nvSpPr>
          <p:spPr>
            <a:xfrm>
              <a:off x="1530090" y="21798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9" name="Google Shape;6436;p64">
              <a:extLst>
                <a:ext uri="{FF2B5EF4-FFF2-40B4-BE49-F238E27FC236}">
                  <a16:creationId xmlns:a16="http://schemas.microsoft.com/office/drawing/2014/main" id="{7D6EBE27-30C1-D35D-0DC4-1EA700E37D51}"/>
                </a:ext>
              </a:extLst>
            </p:cNvPr>
            <p:cNvSpPr/>
            <p:nvPr/>
          </p:nvSpPr>
          <p:spPr>
            <a:xfrm>
              <a:off x="1543355" y="2216108"/>
              <a:ext cx="1100" cy="720"/>
            </a:xfrm>
            <a:custGeom>
              <a:avLst/>
              <a:gdLst/>
              <a:ahLst/>
              <a:cxnLst/>
              <a:rect l="l" t="t" r="r" b="b"/>
              <a:pathLst>
                <a:path w="81" h="53" extrusionOk="0">
                  <a:moveTo>
                    <a:pt x="81" y="0"/>
                  </a:moveTo>
                  <a:lnTo>
                    <a:pt x="28" y="32"/>
                  </a:lnTo>
                  <a:lnTo>
                    <a:pt x="28" y="35"/>
                  </a:lnTo>
                  <a:lnTo>
                    <a:pt x="28" y="35"/>
                  </a:lnTo>
                  <a:cubicBezTo>
                    <a:pt x="46" y="23"/>
                    <a:pt x="63" y="12"/>
                    <a:pt x="81" y="0"/>
                  </a:cubicBezTo>
                  <a:close/>
                  <a:moveTo>
                    <a:pt x="28" y="35"/>
                  </a:moveTo>
                  <a:lnTo>
                    <a:pt x="28" y="35"/>
                  </a:lnTo>
                  <a:cubicBezTo>
                    <a:pt x="19" y="41"/>
                    <a:pt x="10" y="47"/>
                    <a:pt x="0" y="53"/>
                  </a:cubicBezTo>
                  <a:lnTo>
                    <a:pt x="28" y="35"/>
                  </a:lnTo>
                  <a:lnTo>
                    <a:pt x="28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0" name="Google Shape;6437;p64">
              <a:extLst>
                <a:ext uri="{FF2B5EF4-FFF2-40B4-BE49-F238E27FC236}">
                  <a16:creationId xmlns:a16="http://schemas.microsoft.com/office/drawing/2014/main" id="{74DAE127-7BEC-D336-3041-6AA134F68D18}"/>
                </a:ext>
              </a:extLst>
            </p:cNvPr>
            <p:cNvSpPr/>
            <p:nvPr/>
          </p:nvSpPr>
          <p:spPr>
            <a:xfrm>
              <a:off x="1579281" y="220898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1" name="Google Shape;6438;p64">
              <a:extLst>
                <a:ext uri="{FF2B5EF4-FFF2-40B4-BE49-F238E27FC236}">
                  <a16:creationId xmlns:a16="http://schemas.microsoft.com/office/drawing/2014/main" id="{95F47444-DB0A-97B6-3A03-3A6DA3F24C00}"/>
                </a:ext>
              </a:extLst>
            </p:cNvPr>
            <p:cNvSpPr/>
            <p:nvPr/>
          </p:nvSpPr>
          <p:spPr>
            <a:xfrm>
              <a:off x="1579376" y="2208641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2" name="Google Shape;6439;p64">
              <a:extLst>
                <a:ext uri="{FF2B5EF4-FFF2-40B4-BE49-F238E27FC236}">
                  <a16:creationId xmlns:a16="http://schemas.microsoft.com/office/drawing/2014/main" id="{D5AEF10F-09E7-8987-90DA-C8EFDD82B64D}"/>
                </a:ext>
              </a:extLst>
            </p:cNvPr>
            <p:cNvSpPr/>
            <p:nvPr/>
          </p:nvSpPr>
          <p:spPr>
            <a:xfrm>
              <a:off x="1576620" y="2210786"/>
              <a:ext cx="2105" cy="122"/>
            </a:xfrm>
            <a:custGeom>
              <a:avLst/>
              <a:gdLst/>
              <a:ahLst/>
              <a:cxnLst/>
              <a:rect l="l" t="t" r="r" b="b"/>
              <a:pathLst>
                <a:path w="155" h="9" extrusionOk="0">
                  <a:moveTo>
                    <a:pt x="1" y="0"/>
                  </a:moveTo>
                  <a:cubicBezTo>
                    <a:pt x="38" y="5"/>
                    <a:pt x="73" y="8"/>
                    <a:pt x="109" y="9"/>
                  </a:cubicBezTo>
                  <a:lnTo>
                    <a:pt x="109" y="9"/>
                  </a:lnTo>
                  <a:cubicBezTo>
                    <a:pt x="84" y="8"/>
                    <a:pt x="60" y="6"/>
                    <a:pt x="36" y="4"/>
                  </a:cubicBezTo>
                  <a:lnTo>
                    <a:pt x="1" y="0"/>
                  </a:lnTo>
                  <a:close/>
                  <a:moveTo>
                    <a:pt x="155" y="7"/>
                  </a:moveTo>
                  <a:lnTo>
                    <a:pt x="155" y="7"/>
                  </a:lnTo>
                  <a:cubicBezTo>
                    <a:pt x="141" y="8"/>
                    <a:pt x="127" y="9"/>
                    <a:pt x="113" y="9"/>
                  </a:cubicBezTo>
                  <a:cubicBezTo>
                    <a:pt x="112" y="9"/>
                    <a:pt x="111" y="9"/>
                    <a:pt x="109" y="9"/>
                  </a:cubicBezTo>
                  <a:lnTo>
                    <a:pt x="109" y="9"/>
                  </a:lnTo>
                  <a:cubicBezTo>
                    <a:pt x="113" y="9"/>
                    <a:pt x="116" y="9"/>
                    <a:pt x="119" y="9"/>
                  </a:cubicBezTo>
                  <a:cubicBezTo>
                    <a:pt x="131" y="9"/>
                    <a:pt x="143" y="8"/>
                    <a:pt x="15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3" name="Google Shape;6440;p64">
              <a:extLst>
                <a:ext uri="{FF2B5EF4-FFF2-40B4-BE49-F238E27FC236}">
                  <a16:creationId xmlns:a16="http://schemas.microsoft.com/office/drawing/2014/main" id="{14D26A6B-83C2-0AFF-80D9-EABFD5B3D51A}"/>
                </a:ext>
              </a:extLst>
            </p:cNvPr>
            <p:cNvSpPr/>
            <p:nvPr/>
          </p:nvSpPr>
          <p:spPr>
            <a:xfrm>
              <a:off x="1595588" y="2189958"/>
              <a:ext cx="5621" cy="1018"/>
            </a:xfrm>
            <a:custGeom>
              <a:avLst/>
              <a:gdLst/>
              <a:ahLst/>
              <a:cxnLst/>
              <a:rect l="l" t="t" r="r" b="b"/>
              <a:pathLst>
                <a:path w="414" h="75" extrusionOk="0">
                  <a:moveTo>
                    <a:pt x="414" y="1"/>
                  </a:moveTo>
                  <a:cubicBezTo>
                    <a:pt x="263" y="1"/>
                    <a:pt x="116" y="15"/>
                    <a:pt x="1" y="74"/>
                  </a:cubicBezTo>
                  <a:cubicBezTo>
                    <a:pt x="116" y="15"/>
                    <a:pt x="263" y="4"/>
                    <a:pt x="4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4" name="Google Shape;6441;p64">
              <a:extLst>
                <a:ext uri="{FF2B5EF4-FFF2-40B4-BE49-F238E27FC236}">
                  <a16:creationId xmlns:a16="http://schemas.microsoft.com/office/drawing/2014/main" id="{F7638C72-022A-6054-C94E-E120C4080CA4}"/>
                </a:ext>
              </a:extLst>
            </p:cNvPr>
            <p:cNvSpPr/>
            <p:nvPr/>
          </p:nvSpPr>
          <p:spPr>
            <a:xfrm>
              <a:off x="1611609" y="2192768"/>
              <a:ext cx="774" cy="299"/>
            </a:xfrm>
            <a:custGeom>
              <a:avLst/>
              <a:gdLst/>
              <a:ahLst/>
              <a:cxnLst/>
              <a:rect l="l" t="t" r="r" b="b"/>
              <a:pathLst>
                <a:path w="57" h="22" extrusionOk="0">
                  <a:moveTo>
                    <a:pt x="57" y="0"/>
                  </a:moveTo>
                  <a:cubicBezTo>
                    <a:pt x="39" y="11"/>
                    <a:pt x="18" y="18"/>
                    <a:pt x="1" y="21"/>
                  </a:cubicBezTo>
                  <a:cubicBezTo>
                    <a:pt x="15" y="21"/>
                    <a:pt x="29" y="18"/>
                    <a:pt x="43" y="11"/>
                  </a:cubicBezTo>
                  <a:lnTo>
                    <a:pt x="5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5" name="Google Shape;6442;p64">
              <a:extLst>
                <a:ext uri="{FF2B5EF4-FFF2-40B4-BE49-F238E27FC236}">
                  <a16:creationId xmlns:a16="http://schemas.microsoft.com/office/drawing/2014/main" id="{28E2F8E1-AED8-258A-DEBF-9D6201C2CF20}"/>
                </a:ext>
              </a:extLst>
            </p:cNvPr>
            <p:cNvSpPr/>
            <p:nvPr/>
          </p:nvSpPr>
          <p:spPr>
            <a:xfrm>
              <a:off x="1579526" y="220826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6" name="Google Shape;6443;p64">
              <a:extLst>
                <a:ext uri="{FF2B5EF4-FFF2-40B4-BE49-F238E27FC236}">
                  <a16:creationId xmlns:a16="http://schemas.microsoft.com/office/drawing/2014/main" id="{807DC23D-8643-D5B4-AFDD-08D2D12933C8}"/>
                </a:ext>
              </a:extLst>
            </p:cNvPr>
            <p:cNvSpPr/>
            <p:nvPr/>
          </p:nvSpPr>
          <p:spPr>
            <a:xfrm>
              <a:off x="1612180" y="219261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9" y="1"/>
                  </a:moveTo>
                  <a:lnTo>
                    <a:pt x="29" y="1"/>
                  </a:lnTo>
                  <a:cubicBezTo>
                    <a:pt x="18" y="8"/>
                    <a:pt x="8" y="15"/>
                    <a:pt x="1" y="18"/>
                  </a:cubicBezTo>
                  <a:lnTo>
                    <a:pt x="15" y="1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7" name="Google Shape;6444;p64">
              <a:extLst>
                <a:ext uri="{FF2B5EF4-FFF2-40B4-BE49-F238E27FC236}">
                  <a16:creationId xmlns:a16="http://schemas.microsoft.com/office/drawing/2014/main" id="{A42D8A48-29F8-C497-FC64-F52E9531AACB}"/>
                </a:ext>
              </a:extLst>
            </p:cNvPr>
            <p:cNvSpPr/>
            <p:nvPr/>
          </p:nvSpPr>
          <p:spPr>
            <a:xfrm>
              <a:off x="1575385" y="2210636"/>
              <a:ext cx="1724" cy="204"/>
            </a:xfrm>
            <a:custGeom>
              <a:avLst/>
              <a:gdLst/>
              <a:ahLst/>
              <a:cxnLst/>
              <a:rect l="l" t="t" r="r" b="b"/>
              <a:pathLst>
                <a:path w="127" h="15" extrusionOk="0">
                  <a:moveTo>
                    <a:pt x="1" y="1"/>
                  </a:moveTo>
                  <a:lnTo>
                    <a:pt x="92" y="11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8" name="Google Shape;6445;p64">
              <a:extLst>
                <a:ext uri="{FF2B5EF4-FFF2-40B4-BE49-F238E27FC236}">
                  <a16:creationId xmlns:a16="http://schemas.microsoft.com/office/drawing/2014/main" id="{657A271D-9EF6-4A51-EDA4-A549BDDE93A4}"/>
                </a:ext>
              </a:extLst>
            </p:cNvPr>
            <p:cNvSpPr/>
            <p:nvPr/>
          </p:nvSpPr>
          <p:spPr>
            <a:xfrm>
              <a:off x="1438877" y="2046607"/>
              <a:ext cx="93508" cy="136291"/>
            </a:xfrm>
            <a:custGeom>
              <a:avLst/>
              <a:gdLst/>
              <a:ahLst/>
              <a:cxnLst/>
              <a:rect l="l" t="t" r="r" b="b"/>
              <a:pathLst>
                <a:path w="6887" h="10038" extrusionOk="0">
                  <a:moveTo>
                    <a:pt x="3333" y="0"/>
                  </a:moveTo>
                  <a:lnTo>
                    <a:pt x="3312" y="4"/>
                  </a:lnTo>
                  <a:lnTo>
                    <a:pt x="3295" y="7"/>
                  </a:lnTo>
                  <a:lnTo>
                    <a:pt x="3274" y="11"/>
                  </a:lnTo>
                  <a:lnTo>
                    <a:pt x="3232" y="18"/>
                  </a:lnTo>
                  <a:lnTo>
                    <a:pt x="3249" y="39"/>
                  </a:lnTo>
                  <a:lnTo>
                    <a:pt x="3263" y="56"/>
                  </a:lnTo>
                  <a:lnTo>
                    <a:pt x="3281" y="81"/>
                  </a:lnTo>
                  <a:lnTo>
                    <a:pt x="3295" y="98"/>
                  </a:lnTo>
                  <a:lnTo>
                    <a:pt x="3309" y="119"/>
                  </a:lnTo>
                  <a:lnTo>
                    <a:pt x="3319" y="133"/>
                  </a:lnTo>
                  <a:cubicBezTo>
                    <a:pt x="3326" y="147"/>
                    <a:pt x="3333" y="161"/>
                    <a:pt x="3340" y="175"/>
                  </a:cubicBezTo>
                  <a:cubicBezTo>
                    <a:pt x="3340" y="179"/>
                    <a:pt x="3344" y="182"/>
                    <a:pt x="3347" y="189"/>
                  </a:cubicBezTo>
                  <a:cubicBezTo>
                    <a:pt x="3347" y="193"/>
                    <a:pt x="3351" y="203"/>
                    <a:pt x="3354" y="210"/>
                  </a:cubicBezTo>
                  <a:cubicBezTo>
                    <a:pt x="3354" y="217"/>
                    <a:pt x="3358" y="217"/>
                    <a:pt x="3358" y="224"/>
                  </a:cubicBezTo>
                  <a:cubicBezTo>
                    <a:pt x="3358" y="231"/>
                    <a:pt x="3361" y="235"/>
                    <a:pt x="3361" y="242"/>
                  </a:cubicBezTo>
                  <a:lnTo>
                    <a:pt x="3361" y="259"/>
                  </a:lnTo>
                  <a:cubicBezTo>
                    <a:pt x="3361" y="263"/>
                    <a:pt x="3361" y="270"/>
                    <a:pt x="3361" y="273"/>
                  </a:cubicBezTo>
                  <a:cubicBezTo>
                    <a:pt x="3354" y="329"/>
                    <a:pt x="3323" y="378"/>
                    <a:pt x="3277" y="410"/>
                  </a:cubicBezTo>
                  <a:lnTo>
                    <a:pt x="3274" y="413"/>
                  </a:lnTo>
                  <a:cubicBezTo>
                    <a:pt x="3239" y="438"/>
                    <a:pt x="3218" y="469"/>
                    <a:pt x="3211" y="511"/>
                  </a:cubicBezTo>
                  <a:lnTo>
                    <a:pt x="3204" y="529"/>
                  </a:lnTo>
                  <a:cubicBezTo>
                    <a:pt x="3186" y="606"/>
                    <a:pt x="3162" y="721"/>
                    <a:pt x="2983" y="959"/>
                  </a:cubicBezTo>
                  <a:cubicBezTo>
                    <a:pt x="2966" y="980"/>
                    <a:pt x="2948" y="1005"/>
                    <a:pt x="2927" y="1026"/>
                  </a:cubicBezTo>
                  <a:cubicBezTo>
                    <a:pt x="2647" y="1348"/>
                    <a:pt x="2227" y="1464"/>
                    <a:pt x="1975" y="1537"/>
                  </a:cubicBezTo>
                  <a:cubicBezTo>
                    <a:pt x="1936" y="1544"/>
                    <a:pt x="1905" y="1555"/>
                    <a:pt x="1873" y="1565"/>
                  </a:cubicBezTo>
                  <a:cubicBezTo>
                    <a:pt x="1712" y="1614"/>
                    <a:pt x="1611" y="1887"/>
                    <a:pt x="1516" y="2153"/>
                  </a:cubicBezTo>
                  <a:cubicBezTo>
                    <a:pt x="1485" y="2237"/>
                    <a:pt x="1457" y="2321"/>
                    <a:pt x="1422" y="2398"/>
                  </a:cubicBezTo>
                  <a:cubicBezTo>
                    <a:pt x="1355" y="2559"/>
                    <a:pt x="1285" y="2636"/>
                    <a:pt x="1198" y="2647"/>
                  </a:cubicBezTo>
                  <a:lnTo>
                    <a:pt x="1180" y="2647"/>
                  </a:lnTo>
                  <a:cubicBezTo>
                    <a:pt x="1170" y="2647"/>
                    <a:pt x="1156" y="2647"/>
                    <a:pt x="1145" y="2643"/>
                  </a:cubicBezTo>
                  <a:cubicBezTo>
                    <a:pt x="1135" y="2640"/>
                    <a:pt x="1121" y="2636"/>
                    <a:pt x="1110" y="2629"/>
                  </a:cubicBezTo>
                  <a:cubicBezTo>
                    <a:pt x="1040" y="2598"/>
                    <a:pt x="981" y="2521"/>
                    <a:pt x="921" y="2437"/>
                  </a:cubicBezTo>
                  <a:cubicBezTo>
                    <a:pt x="890" y="2397"/>
                    <a:pt x="868" y="2384"/>
                    <a:pt x="839" y="2384"/>
                  </a:cubicBezTo>
                  <a:cubicBezTo>
                    <a:pt x="822" y="2384"/>
                    <a:pt x="802" y="2388"/>
                    <a:pt x="778" y="2395"/>
                  </a:cubicBezTo>
                  <a:cubicBezTo>
                    <a:pt x="751" y="2404"/>
                    <a:pt x="723" y="2408"/>
                    <a:pt x="696" y="2408"/>
                  </a:cubicBezTo>
                  <a:cubicBezTo>
                    <a:pt x="628" y="2408"/>
                    <a:pt x="561" y="2382"/>
                    <a:pt x="512" y="2335"/>
                  </a:cubicBezTo>
                  <a:cubicBezTo>
                    <a:pt x="470" y="2300"/>
                    <a:pt x="435" y="2258"/>
                    <a:pt x="407" y="2209"/>
                  </a:cubicBezTo>
                  <a:cubicBezTo>
                    <a:pt x="400" y="2195"/>
                    <a:pt x="393" y="2178"/>
                    <a:pt x="393" y="2157"/>
                  </a:cubicBezTo>
                  <a:cubicBezTo>
                    <a:pt x="396" y="2108"/>
                    <a:pt x="421" y="2062"/>
                    <a:pt x="456" y="2031"/>
                  </a:cubicBezTo>
                  <a:cubicBezTo>
                    <a:pt x="473" y="2010"/>
                    <a:pt x="487" y="1992"/>
                    <a:pt x="501" y="1971"/>
                  </a:cubicBezTo>
                  <a:cubicBezTo>
                    <a:pt x="505" y="1968"/>
                    <a:pt x="505" y="1961"/>
                    <a:pt x="508" y="1957"/>
                  </a:cubicBezTo>
                  <a:lnTo>
                    <a:pt x="508" y="1954"/>
                  </a:lnTo>
                  <a:cubicBezTo>
                    <a:pt x="508" y="1950"/>
                    <a:pt x="508" y="1947"/>
                    <a:pt x="508" y="1943"/>
                  </a:cubicBezTo>
                  <a:lnTo>
                    <a:pt x="508" y="1936"/>
                  </a:lnTo>
                  <a:cubicBezTo>
                    <a:pt x="505" y="1929"/>
                    <a:pt x="505" y="1926"/>
                    <a:pt x="505" y="1922"/>
                  </a:cubicBezTo>
                  <a:cubicBezTo>
                    <a:pt x="505" y="1919"/>
                    <a:pt x="505" y="1919"/>
                    <a:pt x="501" y="1915"/>
                  </a:cubicBezTo>
                  <a:cubicBezTo>
                    <a:pt x="498" y="1912"/>
                    <a:pt x="498" y="1905"/>
                    <a:pt x="498" y="1901"/>
                  </a:cubicBezTo>
                  <a:lnTo>
                    <a:pt x="491" y="1891"/>
                  </a:lnTo>
                  <a:lnTo>
                    <a:pt x="484" y="1873"/>
                  </a:lnTo>
                  <a:lnTo>
                    <a:pt x="477" y="1863"/>
                  </a:lnTo>
                  <a:lnTo>
                    <a:pt x="466" y="1845"/>
                  </a:lnTo>
                  <a:lnTo>
                    <a:pt x="456" y="1835"/>
                  </a:lnTo>
                  <a:lnTo>
                    <a:pt x="442" y="1814"/>
                  </a:lnTo>
                  <a:lnTo>
                    <a:pt x="431" y="1803"/>
                  </a:lnTo>
                  <a:lnTo>
                    <a:pt x="431" y="1800"/>
                  </a:lnTo>
                  <a:cubicBezTo>
                    <a:pt x="295" y="1852"/>
                    <a:pt x="144" y="2052"/>
                    <a:pt x="57" y="2230"/>
                  </a:cubicBezTo>
                  <a:cubicBezTo>
                    <a:pt x="0" y="2349"/>
                    <a:pt x="116" y="2591"/>
                    <a:pt x="190" y="2748"/>
                  </a:cubicBezTo>
                  <a:cubicBezTo>
                    <a:pt x="221" y="2811"/>
                    <a:pt x="246" y="2874"/>
                    <a:pt x="267" y="2941"/>
                  </a:cubicBezTo>
                  <a:cubicBezTo>
                    <a:pt x="281" y="2979"/>
                    <a:pt x="277" y="3021"/>
                    <a:pt x="253" y="3056"/>
                  </a:cubicBezTo>
                  <a:cubicBezTo>
                    <a:pt x="227" y="3085"/>
                    <a:pt x="191" y="3099"/>
                    <a:pt x="153" y="3099"/>
                  </a:cubicBezTo>
                  <a:cubicBezTo>
                    <a:pt x="149" y="3099"/>
                    <a:pt x="145" y="3099"/>
                    <a:pt x="141" y="3099"/>
                  </a:cubicBezTo>
                  <a:cubicBezTo>
                    <a:pt x="127" y="3099"/>
                    <a:pt x="116" y="3102"/>
                    <a:pt x="102" y="3102"/>
                  </a:cubicBezTo>
                  <a:cubicBezTo>
                    <a:pt x="102" y="3106"/>
                    <a:pt x="99" y="3109"/>
                    <a:pt x="99" y="3113"/>
                  </a:cubicBezTo>
                  <a:cubicBezTo>
                    <a:pt x="99" y="3169"/>
                    <a:pt x="333" y="3309"/>
                    <a:pt x="442" y="3375"/>
                  </a:cubicBezTo>
                  <a:cubicBezTo>
                    <a:pt x="529" y="3428"/>
                    <a:pt x="606" y="3477"/>
                    <a:pt x="669" y="3522"/>
                  </a:cubicBezTo>
                  <a:cubicBezTo>
                    <a:pt x="788" y="3610"/>
                    <a:pt x="893" y="3785"/>
                    <a:pt x="995" y="3953"/>
                  </a:cubicBezTo>
                  <a:cubicBezTo>
                    <a:pt x="1061" y="4068"/>
                    <a:pt x="1135" y="4180"/>
                    <a:pt x="1222" y="4282"/>
                  </a:cubicBezTo>
                  <a:cubicBezTo>
                    <a:pt x="1359" y="4425"/>
                    <a:pt x="1404" y="4558"/>
                    <a:pt x="1485" y="4779"/>
                  </a:cubicBezTo>
                  <a:cubicBezTo>
                    <a:pt x="1520" y="4873"/>
                    <a:pt x="1562" y="4992"/>
                    <a:pt x="1621" y="5139"/>
                  </a:cubicBezTo>
                  <a:cubicBezTo>
                    <a:pt x="1810" y="5598"/>
                    <a:pt x="2196" y="6396"/>
                    <a:pt x="2462" y="6736"/>
                  </a:cubicBezTo>
                  <a:cubicBezTo>
                    <a:pt x="2633" y="6953"/>
                    <a:pt x="2899" y="7342"/>
                    <a:pt x="2794" y="7513"/>
                  </a:cubicBezTo>
                  <a:cubicBezTo>
                    <a:pt x="2759" y="7573"/>
                    <a:pt x="2805" y="7800"/>
                    <a:pt x="2980" y="7923"/>
                  </a:cubicBezTo>
                  <a:cubicBezTo>
                    <a:pt x="3043" y="7968"/>
                    <a:pt x="3106" y="8017"/>
                    <a:pt x="3165" y="8070"/>
                  </a:cubicBezTo>
                  <a:cubicBezTo>
                    <a:pt x="3365" y="8252"/>
                    <a:pt x="3589" y="8406"/>
                    <a:pt x="3834" y="8525"/>
                  </a:cubicBezTo>
                  <a:cubicBezTo>
                    <a:pt x="4793" y="9004"/>
                    <a:pt x="5332" y="9341"/>
                    <a:pt x="5437" y="9523"/>
                  </a:cubicBezTo>
                  <a:cubicBezTo>
                    <a:pt x="5549" y="9708"/>
                    <a:pt x="5896" y="9901"/>
                    <a:pt x="6029" y="9971"/>
                  </a:cubicBezTo>
                  <a:lnTo>
                    <a:pt x="6067" y="9995"/>
                  </a:lnTo>
                  <a:cubicBezTo>
                    <a:pt x="6085" y="10006"/>
                    <a:pt x="6099" y="10020"/>
                    <a:pt x="6109" y="10037"/>
                  </a:cubicBezTo>
                  <a:lnTo>
                    <a:pt x="6123" y="10027"/>
                  </a:lnTo>
                  <a:lnTo>
                    <a:pt x="6134" y="10023"/>
                  </a:lnTo>
                  <a:cubicBezTo>
                    <a:pt x="6141" y="10016"/>
                    <a:pt x="6151" y="10013"/>
                    <a:pt x="6158" y="10009"/>
                  </a:cubicBezTo>
                  <a:cubicBezTo>
                    <a:pt x="6214" y="9971"/>
                    <a:pt x="6253" y="9915"/>
                    <a:pt x="6270" y="9848"/>
                  </a:cubicBezTo>
                  <a:cubicBezTo>
                    <a:pt x="6288" y="9810"/>
                    <a:pt x="6299" y="9768"/>
                    <a:pt x="6309" y="9729"/>
                  </a:cubicBezTo>
                  <a:cubicBezTo>
                    <a:pt x="6320" y="9684"/>
                    <a:pt x="6334" y="9638"/>
                    <a:pt x="6355" y="9596"/>
                  </a:cubicBezTo>
                  <a:lnTo>
                    <a:pt x="6365" y="9565"/>
                  </a:lnTo>
                  <a:lnTo>
                    <a:pt x="6365" y="9561"/>
                  </a:lnTo>
                  <a:cubicBezTo>
                    <a:pt x="6365" y="9551"/>
                    <a:pt x="6365" y="9544"/>
                    <a:pt x="6362" y="9533"/>
                  </a:cubicBezTo>
                  <a:lnTo>
                    <a:pt x="6362" y="9530"/>
                  </a:lnTo>
                  <a:lnTo>
                    <a:pt x="6362" y="9502"/>
                  </a:lnTo>
                  <a:lnTo>
                    <a:pt x="6362" y="9498"/>
                  </a:lnTo>
                  <a:lnTo>
                    <a:pt x="6362" y="9467"/>
                  </a:lnTo>
                  <a:lnTo>
                    <a:pt x="6362" y="9460"/>
                  </a:lnTo>
                  <a:cubicBezTo>
                    <a:pt x="6362" y="9449"/>
                    <a:pt x="6365" y="9439"/>
                    <a:pt x="6365" y="9428"/>
                  </a:cubicBezTo>
                  <a:lnTo>
                    <a:pt x="6365" y="9425"/>
                  </a:lnTo>
                  <a:cubicBezTo>
                    <a:pt x="6369" y="9414"/>
                    <a:pt x="6372" y="9404"/>
                    <a:pt x="6376" y="9393"/>
                  </a:cubicBezTo>
                  <a:lnTo>
                    <a:pt x="6376" y="9390"/>
                  </a:lnTo>
                  <a:cubicBezTo>
                    <a:pt x="6379" y="9383"/>
                    <a:pt x="6383" y="9372"/>
                    <a:pt x="6390" y="9362"/>
                  </a:cubicBezTo>
                  <a:lnTo>
                    <a:pt x="6390" y="9358"/>
                  </a:lnTo>
                  <a:cubicBezTo>
                    <a:pt x="6397" y="9348"/>
                    <a:pt x="6404" y="9341"/>
                    <a:pt x="6411" y="9334"/>
                  </a:cubicBezTo>
                  <a:lnTo>
                    <a:pt x="6414" y="9327"/>
                  </a:lnTo>
                  <a:cubicBezTo>
                    <a:pt x="6425" y="9320"/>
                    <a:pt x="6435" y="9313"/>
                    <a:pt x="6446" y="9306"/>
                  </a:cubicBezTo>
                  <a:cubicBezTo>
                    <a:pt x="6540" y="9253"/>
                    <a:pt x="6701" y="9015"/>
                    <a:pt x="6701" y="8927"/>
                  </a:cubicBezTo>
                  <a:cubicBezTo>
                    <a:pt x="6701" y="8913"/>
                    <a:pt x="6677" y="8896"/>
                    <a:pt x="6638" y="8871"/>
                  </a:cubicBezTo>
                  <a:cubicBezTo>
                    <a:pt x="6582" y="8836"/>
                    <a:pt x="6491" y="8784"/>
                    <a:pt x="6491" y="8668"/>
                  </a:cubicBezTo>
                  <a:cubicBezTo>
                    <a:pt x="6491" y="8591"/>
                    <a:pt x="6537" y="8504"/>
                    <a:pt x="6579" y="8420"/>
                  </a:cubicBezTo>
                  <a:cubicBezTo>
                    <a:pt x="6607" y="8371"/>
                    <a:pt x="6656" y="8273"/>
                    <a:pt x="6645" y="8248"/>
                  </a:cubicBezTo>
                  <a:cubicBezTo>
                    <a:pt x="6551" y="8171"/>
                    <a:pt x="6621" y="8042"/>
                    <a:pt x="6680" y="7930"/>
                  </a:cubicBezTo>
                  <a:cubicBezTo>
                    <a:pt x="6712" y="7870"/>
                    <a:pt x="6757" y="7790"/>
                    <a:pt x="6750" y="7755"/>
                  </a:cubicBezTo>
                  <a:cubicBezTo>
                    <a:pt x="6750" y="7734"/>
                    <a:pt x="6747" y="7706"/>
                    <a:pt x="6740" y="7667"/>
                  </a:cubicBezTo>
                  <a:cubicBezTo>
                    <a:pt x="6666" y="7156"/>
                    <a:pt x="6663" y="6981"/>
                    <a:pt x="6722" y="6925"/>
                  </a:cubicBezTo>
                  <a:cubicBezTo>
                    <a:pt x="6740" y="6907"/>
                    <a:pt x="6757" y="6893"/>
                    <a:pt x="6778" y="6879"/>
                  </a:cubicBezTo>
                  <a:cubicBezTo>
                    <a:pt x="6848" y="6823"/>
                    <a:pt x="6887" y="6792"/>
                    <a:pt x="6852" y="6704"/>
                  </a:cubicBezTo>
                  <a:cubicBezTo>
                    <a:pt x="6831" y="6641"/>
                    <a:pt x="6764" y="6519"/>
                    <a:pt x="6698" y="6389"/>
                  </a:cubicBezTo>
                  <a:lnTo>
                    <a:pt x="6670" y="6333"/>
                  </a:lnTo>
                  <a:lnTo>
                    <a:pt x="6638" y="6277"/>
                  </a:lnTo>
                  <a:lnTo>
                    <a:pt x="6635" y="6270"/>
                  </a:lnTo>
                  <a:lnTo>
                    <a:pt x="6610" y="6221"/>
                  </a:lnTo>
                  <a:lnTo>
                    <a:pt x="6603" y="6204"/>
                  </a:lnTo>
                  <a:lnTo>
                    <a:pt x="6582" y="6165"/>
                  </a:lnTo>
                  <a:lnTo>
                    <a:pt x="6572" y="6144"/>
                  </a:lnTo>
                  <a:lnTo>
                    <a:pt x="6554" y="6109"/>
                  </a:lnTo>
                  <a:lnTo>
                    <a:pt x="6544" y="6088"/>
                  </a:lnTo>
                  <a:lnTo>
                    <a:pt x="6530" y="6057"/>
                  </a:lnTo>
                  <a:lnTo>
                    <a:pt x="6519" y="6032"/>
                  </a:lnTo>
                  <a:lnTo>
                    <a:pt x="6505" y="6004"/>
                  </a:lnTo>
                  <a:lnTo>
                    <a:pt x="6495" y="5983"/>
                  </a:lnTo>
                  <a:lnTo>
                    <a:pt x="6491" y="5973"/>
                  </a:lnTo>
                  <a:cubicBezTo>
                    <a:pt x="6435" y="5967"/>
                    <a:pt x="6379" y="5964"/>
                    <a:pt x="6324" y="5964"/>
                  </a:cubicBezTo>
                  <a:cubicBezTo>
                    <a:pt x="6208" y="5964"/>
                    <a:pt x="6102" y="5977"/>
                    <a:pt x="6032" y="6001"/>
                  </a:cubicBezTo>
                  <a:cubicBezTo>
                    <a:pt x="6017" y="6007"/>
                    <a:pt x="6000" y="6010"/>
                    <a:pt x="5984" y="6010"/>
                  </a:cubicBezTo>
                  <a:cubicBezTo>
                    <a:pt x="5958" y="6010"/>
                    <a:pt x="5932" y="6002"/>
                    <a:pt x="5910" y="5987"/>
                  </a:cubicBezTo>
                  <a:cubicBezTo>
                    <a:pt x="5805" y="5910"/>
                    <a:pt x="5801" y="5661"/>
                    <a:pt x="5812" y="5346"/>
                  </a:cubicBezTo>
                  <a:cubicBezTo>
                    <a:pt x="5812" y="5301"/>
                    <a:pt x="5815" y="5259"/>
                    <a:pt x="5815" y="5227"/>
                  </a:cubicBezTo>
                  <a:cubicBezTo>
                    <a:pt x="5815" y="5210"/>
                    <a:pt x="5815" y="5196"/>
                    <a:pt x="5808" y="5178"/>
                  </a:cubicBezTo>
                  <a:cubicBezTo>
                    <a:pt x="5759" y="5206"/>
                    <a:pt x="5721" y="5248"/>
                    <a:pt x="5696" y="5301"/>
                  </a:cubicBezTo>
                  <a:cubicBezTo>
                    <a:pt x="5648" y="5413"/>
                    <a:pt x="5534" y="5436"/>
                    <a:pt x="5398" y="5436"/>
                  </a:cubicBezTo>
                  <a:cubicBezTo>
                    <a:pt x="5348" y="5436"/>
                    <a:pt x="5295" y="5433"/>
                    <a:pt x="5241" y="5430"/>
                  </a:cubicBezTo>
                  <a:cubicBezTo>
                    <a:pt x="5178" y="5427"/>
                    <a:pt x="5119" y="5423"/>
                    <a:pt x="5056" y="5423"/>
                  </a:cubicBezTo>
                  <a:cubicBezTo>
                    <a:pt x="4860" y="5423"/>
                    <a:pt x="4825" y="5273"/>
                    <a:pt x="4804" y="5185"/>
                  </a:cubicBezTo>
                  <a:cubicBezTo>
                    <a:pt x="4800" y="5161"/>
                    <a:pt x="4790" y="5136"/>
                    <a:pt x="4779" y="5115"/>
                  </a:cubicBezTo>
                  <a:lnTo>
                    <a:pt x="4772" y="5115"/>
                  </a:lnTo>
                  <a:cubicBezTo>
                    <a:pt x="4756" y="5116"/>
                    <a:pt x="4740" y="5117"/>
                    <a:pt x="4724" y="5117"/>
                  </a:cubicBezTo>
                  <a:cubicBezTo>
                    <a:pt x="4626" y="5117"/>
                    <a:pt x="4543" y="5089"/>
                    <a:pt x="4489" y="5038"/>
                  </a:cubicBezTo>
                  <a:cubicBezTo>
                    <a:pt x="4436" y="4982"/>
                    <a:pt x="4415" y="4905"/>
                    <a:pt x="4426" y="4831"/>
                  </a:cubicBezTo>
                  <a:cubicBezTo>
                    <a:pt x="4436" y="4733"/>
                    <a:pt x="4370" y="4639"/>
                    <a:pt x="4289" y="4527"/>
                  </a:cubicBezTo>
                  <a:cubicBezTo>
                    <a:pt x="4261" y="4488"/>
                    <a:pt x="4237" y="4450"/>
                    <a:pt x="4209" y="4404"/>
                  </a:cubicBezTo>
                  <a:lnTo>
                    <a:pt x="4180" y="4362"/>
                  </a:lnTo>
                  <a:cubicBezTo>
                    <a:pt x="4065" y="4184"/>
                    <a:pt x="3946" y="3998"/>
                    <a:pt x="4068" y="3858"/>
                  </a:cubicBezTo>
                  <a:cubicBezTo>
                    <a:pt x="4089" y="3834"/>
                    <a:pt x="4089" y="3816"/>
                    <a:pt x="4079" y="3764"/>
                  </a:cubicBezTo>
                  <a:cubicBezTo>
                    <a:pt x="4051" y="3669"/>
                    <a:pt x="4079" y="3568"/>
                    <a:pt x="4152" y="3501"/>
                  </a:cubicBezTo>
                  <a:cubicBezTo>
                    <a:pt x="4202" y="3456"/>
                    <a:pt x="4258" y="3417"/>
                    <a:pt x="4317" y="3386"/>
                  </a:cubicBezTo>
                  <a:cubicBezTo>
                    <a:pt x="4391" y="3351"/>
                    <a:pt x="4394" y="3347"/>
                    <a:pt x="4377" y="3274"/>
                  </a:cubicBezTo>
                  <a:cubicBezTo>
                    <a:pt x="4345" y="3141"/>
                    <a:pt x="4408" y="3035"/>
                    <a:pt x="4464" y="2944"/>
                  </a:cubicBezTo>
                  <a:cubicBezTo>
                    <a:pt x="4510" y="2885"/>
                    <a:pt x="4541" y="2811"/>
                    <a:pt x="4552" y="2734"/>
                  </a:cubicBezTo>
                  <a:cubicBezTo>
                    <a:pt x="4566" y="2566"/>
                    <a:pt x="4688" y="2524"/>
                    <a:pt x="4811" y="2486"/>
                  </a:cubicBezTo>
                  <a:cubicBezTo>
                    <a:pt x="4870" y="2468"/>
                    <a:pt x="4926" y="2444"/>
                    <a:pt x="4982" y="2416"/>
                  </a:cubicBezTo>
                  <a:cubicBezTo>
                    <a:pt x="5010" y="2402"/>
                    <a:pt x="5038" y="2384"/>
                    <a:pt x="5063" y="2363"/>
                  </a:cubicBezTo>
                  <a:cubicBezTo>
                    <a:pt x="5147" y="2300"/>
                    <a:pt x="5248" y="2255"/>
                    <a:pt x="5353" y="2237"/>
                  </a:cubicBezTo>
                  <a:cubicBezTo>
                    <a:pt x="5381" y="2234"/>
                    <a:pt x="5413" y="2227"/>
                    <a:pt x="5444" y="2223"/>
                  </a:cubicBezTo>
                  <a:cubicBezTo>
                    <a:pt x="5549" y="2206"/>
                    <a:pt x="5644" y="2192"/>
                    <a:pt x="5724" y="2122"/>
                  </a:cubicBezTo>
                  <a:cubicBezTo>
                    <a:pt x="5735" y="2115"/>
                    <a:pt x="5742" y="2108"/>
                    <a:pt x="5752" y="2101"/>
                  </a:cubicBezTo>
                  <a:lnTo>
                    <a:pt x="5763" y="2094"/>
                  </a:lnTo>
                  <a:lnTo>
                    <a:pt x="5784" y="2083"/>
                  </a:lnTo>
                  <a:lnTo>
                    <a:pt x="5794" y="2076"/>
                  </a:lnTo>
                  <a:lnTo>
                    <a:pt x="5812" y="2066"/>
                  </a:lnTo>
                  <a:lnTo>
                    <a:pt x="5822" y="2062"/>
                  </a:lnTo>
                  <a:lnTo>
                    <a:pt x="5843" y="2055"/>
                  </a:lnTo>
                  <a:lnTo>
                    <a:pt x="5850" y="2052"/>
                  </a:lnTo>
                  <a:lnTo>
                    <a:pt x="5868" y="2045"/>
                  </a:lnTo>
                  <a:lnTo>
                    <a:pt x="5878" y="2045"/>
                  </a:lnTo>
                  <a:lnTo>
                    <a:pt x="5892" y="2041"/>
                  </a:lnTo>
                  <a:lnTo>
                    <a:pt x="5906" y="2041"/>
                  </a:lnTo>
                  <a:cubicBezTo>
                    <a:pt x="5920" y="2041"/>
                    <a:pt x="5938" y="2038"/>
                    <a:pt x="5952" y="2038"/>
                  </a:cubicBezTo>
                  <a:cubicBezTo>
                    <a:pt x="5938" y="2031"/>
                    <a:pt x="5927" y="2024"/>
                    <a:pt x="5913" y="2013"/>
                  </a:cubicBezTo>
                  <a:lnTo>
                    <a:pt x="5910" y="2013"/>
                  </a:lnTo>
                  <a:cubicBezTo>
                    <a:pt x="5899" y="2003"/>
                    <a:pt x="5889" y="1996"/>
                    <a:pt x="5882" y="1989"/>
                  </a:cubicBezTo>
                  <a:lnTo>
                    <a:pt x="5875" y="1985"/>
                  </a:lnTo>
                  <a:cubicBezTo>
                    <a:pt x="5864" y="1975"/>
                    <a:pt x="5857" y="1968"/>
                    <a:pt x="5847" y="1957"/>
                  </a:cubicBezTo>
                  <a:lnTo>
                    <a:pt x="5843" y="1950"/>
                  </a:lnTo>
                  <a:cubicBezTo>
                    <a:pt x="5836" y="1940"/>
                    <a:pt x="5829" y="1929"/>
                    <a:pt x="5822" y="1919"/>
                  </a:cubicBezTo>
                  <a:cubicBezTo>
                    <a:pt x="5766" y="1803"/>
                    <a:pt x="5882" y="1674"/>
                    <a:pt x="5994" y="1544"/>
                  </a:cubicBezTo>
                  <a:cubicBezTo>
                    <a:pt x="6036" y="1499"/>
                    <a:pt x="6074" y="1453"/>
                    <a:pt x="6109" y="1401"/>
                  </a:cubicBezTo>
                  <a:lnTo>
                    <a:pt x="6109" y="1394"/>
                  </a:lnTo>
                  <a:cubicBezTo>
                    <a:pt x="6102" y="1366"/>
                    <a:pt x="6046" y="1292"/>
                    <a:pt x="5745" y="1173"/>
                  </a:cubicBezTo>
                  <a:cubicBezTo>
                    <a:pt x="5735" y="1172"/>
                    <a:pt x="5724" y="1172"/>
                    <a:pt x="5713" y="1172"/>
                  </a:cubicBezTo>
                  <a:cubicBezTo>
                    <a:pt x="5679" y="1172"/>
                    <a:pt x="5645" y="1176"/>
                    <a:pt x="5616" y="1187"/>
                  </a:cubicBezTo>
                  <a:cubicBezTo>
                    <a:pt x="5569" y="1199"/>
                    <a:pt x="5518" y="1213"/>
                    <a:pt x="5470" y="1213"/>
                  </a:cubicBezTo>
                  <a:cubicBezTo>
                    <a:pt x="5435" y="1213"/>
                    <a:pt x="5401" y="1206"/>
                    <a:pt x="5371" y="1187"/>
                  </a:cubicBezTo>
                  <a:cubicBezTo>
                    <a:pt x="5348" y="1175"/>
                    <a:pt x="5322" y="1169"/>
                    <a:pt x="5296" y="1169"/>
                  </a:cubicBezTo>
                  <a:cubicBezTo>
                    <a:pt x="5291" y="1169"/>
                    <a:pt x="5285" y="1169"/>
                    <a:pt x="5280" y="1170"/>
                  </a:cubicBezTo>
                  <a:cubicBezTo>
                    <a:pt x="5220" y="1173"/>
                    <a:pt x="5168" y="1191"/>
                    <a:pt x="5119" y="1222"/>
                  </a:cubicBezTo>
                  <a:cubicBezTo>
                    <a:pt x="5070" y="1259"/>
                    <a:pt x="4922" y="1284"/>
                    <a:pt x="4774" y="1284"/>
                  </a:cubicBezTo>
                  <a:cubicBezTo>
                    <a:pt x="4655" y="1284"/>
                    <a:pt x="4536" y="1268"/>
                    <a:pt x="4468" y="1229"/>
                  </a:cubicBezTo>
                  <a:cubicBezTo>
                    <a:pt x="4412" y="1205"/>
                    <a:pt x="4380" y="1145"/>
                    <a:pt x="4387" y="1086"/>
                  </a:cubicBezTo>
                  <a:cubicBezTo>
                    <a:pt x="4394" y="1030"/>
                    <a:pt x="4356" y="995"/>
                    <a:pt x="4289" y="938"/>
                  </a:cubicBezTo>
                  <a:cubicBezTo>
                    <a:pt x="4226" y="882"/>
                    <a:pt x="4163" y="830"/>
                    <a:pt x="4177" y="739"/>
                  </a:cubicBezTo>
                  <a:cubicBezTo>
                    <a:pt x="4177" y="690"/>
                    <a:pt x="4159" y="644"/>
                    <a:pt x="4124" y="609"/>
                  </a:cubicBezTo>
                  <a:cubicBezTo>
                    <a:pt x="4068" y="536"/>
                    <a:pt x="3988" y="487"/>
                    <a:pt x="3893" y="473"/>
                  </a:cubicBezTo>
                  <a:cubicBezTo>
                    <a:pt x="3732" y="459"/>
                    <a:pt x="3683" y="312"/>
                    <a:pt x="3641" y="189"/>
                  </a:cubicBezTo>
                  <a:cubicBezTo>
                    <a:pt x="3617" y="116"/>
                    <a:pt x="3589" y="35"/>
                    <a:pt x="3543" y="7"/>
                  </a:cubicBezTo>
                  <a:lnTo>
                    <a:pt x="3536" y="4"/>
                  </a:lnTo>
                  <a:lnTo>
                    <a:pt x="3494" y="4"/>
                  </a:lnTo>
                  <a:cubicBezTo>
                    <a:pt x="3477" y="4"/>
                    <a:pt x="3463" y="0"/>
                    <a:pt x="34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9" name="Google Shape;6446;p64">
              <a:extLst>
                <a:ext uri="{FF2B5EF4-FFF2-40B4-BE49-F238E27FC236}">
                  <a16:creationId xmlns:a16="http://schemas.microsoft.com/office/drawing/2014/main" id="{936E9430-03D8-4848-6010-C440704CA524}"/>
                </a:ext>
              </a:extLst>
            </p:cNvPr>
            <p:cNvSpPr/>
            <p:nvPr/>
          </p:nvSpPr>
          <p:spPr>
            <a:xfrm>
              <a:off x="1518685" y="20742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0" name="Google Shape;6447;p64">
              <a:extLst>
                <a:ext uri="{FF2B5EF4-FFF2-40B4-BE49-F238E27FC236}">
                  <a16:creationId xmlns:a16="http://schemas.microsoft.com/office/drawing/2014/main" id="{F0E7A60A-CFB1-0023-BC76-C23C8A594994}"/>
                </a:ext>
              </a:extLst>
            </p:cNvPr>
            <p:cNvSpPr/>
            <p:nvPr/>
          </p:nvSpPr>
          <p:spPr>
            <a:xfrm>
              <a:off x="1517545" y="207454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0" y="1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1" name="Google Shape;6448;p64">
              <a:extLst>
                <a:ext uri="{FF2B5EF4-FFF2-40B4-BE49-F238E27FC236}">
                  <a16:creationId xmlns:a16="http://schemas.microsoft.com/office/drawing/2014/main" id="{1B787DD1-33BC-DBDF-F21E-47BA60DF7671}"/>
                </a:ext>
              </a:extLst>
            </p:cNvPr>
            <p:cNvSpPr/>
            <p:nvPr/>
          </p:nvSpPr>
          <p:spPr>
            <a:xfrm>
              <a:off x="1518305" y="207431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0" y="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2" name="Google Shape;6449;p64">
              <a:extLst>
                <a:ext uri="{FF2B5EF4-FFF2-40B4-BE49-F238E27FC236}">
                  <a16:creationId xmlns:a16="http://schemas.microsoft.com/office/drawing/2014/main" id="{AD2E1717-3602-50A2-D3BE-5F5341789B0C}"/>
                </a:ext>
              </a:extLst>
            </p:cNvPr>
            <p:cNvSpPr/>
            <p:nvPr/>
          </p:nvSpPr>
          <p:spPr>
            <a:xfrm>
              <a:off x="1517110" y="207479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3" name="Google Shape;6450;p64">
              <a:extLst>
                <a:ext uri="{FF2B5EF4-FFF2-40B4-BE49-F238E27FC236}">
                  <a16:creationId xmlns:a16="http://schemas.microsoft.com/office/drawing/2014/main" id="{8F396ED0-DBE3-D8DC-AC22-23216DFCE609}"/>
                </a:ext>
              </a:extLst>
            </p:cNvPr>
            <p:cNvSpPr/>
            <p:nvPr/>
          </p:nvSpPr>
          <p:spPr>
            <a:xfrm>
              <a:off x="1516594" y="2075024"/>
              <a:ext cx="434" cy="353"/>
            </a:xfrm>
            <a:custGeom>
              <a:avLst/>
              <a:gdLst/>
              <a:ahLst/>
              <a:cxnLst/>
              <a:rect l="l" t="t" r="r" b="b"/>
              <a:pathLst>
                <a:path w="32" h="26" extrusionOk="0">
                  <a:moveTo>
                    <a:pt x="0" y="25"/>
                  </a:moveTo>
                  <a:cubicBezTo>
                    <a:pt x="11" y="15"/>
                    <a:pt x="21" y="8"/>
                    <a:pt x="32" y="1"/>
                  </a:cubicBezTo>
                  <a:cubicBezTo>
                    <a:pt x="21" y="8"/>
                    <a:pt x="11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4" name="Google Shape;6451;p64">
              <a:extLst>
                <a:ext uri="{FF2B5EF4-FFF2-40B4-BE49-F238E27FC236}">
                  <a16:creationId xmlns:a16="http://schemas.microsoft.com/office/drawing/2014/main" id="{D88DE967-0693-2B18-1F23-EB509B1D2C0A}"/>
                </a:ext>
              </a:extLst>
            </p:cNvPr>
            <p:cNvSpPr/>
            <p:nvPr/>
          </p:nvSpPr>
          <p:spPr>
            <a:xfrm>
              <a:off x="1519065" y="207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5" name="Google Shape;6452;p64">
              <a:extLst>
                <a:ext uri="{FF2B5EF4-FFF2-40B4-BE49-F238E27FC236}">
                  <a16:creationId xmlns:a16="http://schemas.microsoft.com/office/drawing/2014/main" id="{496E69B5-2209-0D51-726B-D702C0CEF8F1}"/>
                </a:ext>
              </a:extLst>
            </p:cNvPr>
            <p:cNvSpPr/>
            <p:nvPr/>
          </p:nvSpPr>
          <p:spPr>
            <a:xfrm>
              <a:off x="1504184" y="2079356"/>
              <a:ext cx="2349" cy="964"/>
            </a:xfrm>
            <a:custGeom>
              <a:avLst/>
              <a:gdLst/>
              <a:ahLst/>
              <a:cxnLst/>
              <a:rect l="l" t="t" r="r" b="b"/>
              <a:pathLst>
                <a:path w="173" h="71" extrusionOk="0">
                  <a:moveTo>
                    <a:pt x="1" y="70"/>
                  </a:moveTo>
                  <a:cubicBezTo>
                    <a:pt x="60" y="49"/>
                    <a:pt x="120" y="28"/>
                    <a:pt x="172" y="0"/>
                  </a:cubicBezTo>
                  <a:cubicBezTo>
                    <a:pt x="120" y="28"/>
                    <a:pt x="60" y="49"/>
                    <a:pt x="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6" name="Google Shape;6453;p64">
              <a:extLst>
                <a:ext uri="{FF2B5EF4-FFF2-40B4-BE49-F238E27FC236}">
                  <a16:creationId xmlns:a16="http://schemas.microsoft.com/office/drawing/2014/main" id="{D3C5268B-4CAF-FE14-585A-544EF7E959B0}"/>
                </a:ext>
              </a:extLst>
            </p:cNvPr>
            <p:cNvSpPr/>
            <p:nvPr/>
          </p:nvSpPr>
          <p:spPr>
            <a:xfrm>
              <a:off x="1517925" y="207441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7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7" name="Google Shape;6454;p64">
              <a:extLst>
                <a:ext uri="{FF2B5EF4-FFF2-40B4-BE49-F238E27FC236}">
                  <a16:creationId xmlns:a16="http://schemas.microsoft.com/office/drawing/2014/main" id="{FD41B845-06A3-45EA-10AD-5780621DACBE}"/>
                </a:ext>
              </a:extLst>
            </p:cNvPr>
            <p:cNvSpPr/>
            <p:nvPr/>
          </p:nvSpPr>
          <p:spPr>
            <a:xfrm>
              <a:off x="1522052" y="218235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8" name="Google Shape;6455;p64">
              <a:extLst>
                <a:ext uri="{FF2B5EF4-FFF2-40B4-BE49-F238E27FC236}">
                  <a16:creationId xmlns:a16="http://schemas.microsoft.com/office/drawing/2014/main" id="{2D0D38C9-854B-7CCD-D1FF-3D56938D6E05}"/>
                </a:ext>
              </a:extLst>
            </p:cNvPr>
            <p:cNvSpPr/>
            <p:nvPr/>
          </p:nvSpPr>
          <p:spPr>
            <a:xfrm>
              <a:off x="1518305" y="2072988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cubicBezTo>
                    <a:pt x="18" y="21"/>
                    <a:pt x="11" y="11"/>
                    <a:pt x="0" y="0"/>
                  </a:cubicBezTo>
                  <a:cubicBezTo>
                    <a:pt x="11" y="11"/>
                    <a:pt x="18" y="21"/>
                    <a:pt x="28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9" name="Google Shape;6456;p64">
              <a:extLst>
                <a:ext uri="{FF2B5EF4-FFF2-40B4-BE49-F238E27FC236}">
                  <a16:creationId xmlns:a16="http://schemas.microsoft.com/office/drawing/2014/main" id="{92C7065D-ECDD-9601-0273-2EB664CC5A37}"/>
                </a:ext>
              </a:extLst>
            </p:cNvPr>
            <p:cNvSpPr/>
            <p:nvPr/>
          </p:nvSpPr>
          <p:spPr>
            <a:xfrm>
              <a:off x="1485176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0" name="Google Shape;6457;p64">
              <a:extLst>
                <a:ext uri="{FF2B5EF4-FFF2-40B4-BE49-F238E27FC236}">
                  <a16:creationId xmlns:a16="http://schemas.microsoft.com/office/drawing/2014/main" id="{5CEC1618-F7A4-04D0-D441-A22B5EA7E2FA}"/>
                </a:ext>
              </a:extLst>
            </p:cNvPr>
            <p:cNvSpPr/>
            <p:nvPr/>
          </p:nvSpPr>
          <p:spPr>
            <a:xfrm>
              <a:off x="1485692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1" name="Google Shape;6458;p64">
              <a:extLst>
                <a:ext uri="{FF2B5EF4-FFF2-40B4-BE49-F238E27FC236}">
                  <a16:creationId xmlns:a16="http://schemas.microsoft.com/office/drawing/2014/main" id="{6D4209B4-968D-E1E2-7326-9ADC204AD387}"/>
                </a:ext>
              </a:extLst>
            </p:cNvPr>
            <p:cNvSpPr/>
            <p:nvPr/>
          </p:nvSpPr>
          <p:spPr>
            <a:xfrm>
              <a:off x="1486411" y="204626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2" name="Google Shape;6459;p64">
              <a:extLst>
                <a:ext uri="{FF2B5EF4-FFF2-40B4-BE49-F238E27FC236}">
                  <a16:creationId xmlns:a16="http://schemas.microsoft.com/office/drawing/2014/main" id="{5A06A63B-E7C9-C305-8493-3712E517EEF3}"/>
                </a:ext>
              </a:extLst>
            </p:cNvPr>
            <p:cNvSpPr/>
            <p:nvPr/>
          </p:nvSpPr>
          <p:spPr>
            <a:xfrm>
              <a:off x="1486982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3" name="Google Shape;6460;p64">
              <a:extLst>
                <a:ext uri="{FF2B5EF4-FFF2-40B4-BE49-F238E27FC236}">
                  <a16:creationId xmlns:a16="http://schemas.microsoft.com/office/drawing/2014/main" id="{3B983D4E-C17E-52BF-1371-26F442A96C8C}"/>
                </a:ext>
              </a:extLst>
            </p:cNvPr>
            <p:cNvSpPr/>
            <p:nvPr/>
          </p:nvSpPr>
          <p:spPr>
            <a:xfrm>
              <a:off x="1486506" y="204632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4" name="Google Shape;6461;p64">
              <a:extLst>
                <a:ext uri="{FF2B5EF4-FFF2-40B4-BE49-F238E27FC236}">
                  <a16:creationId xmlns:a16="http://schemas.microsoft.com/office/drawing/2014/main" id="{39D8C622-52BA-F4F7-C872-7A7388A256CB}"/>
                </a:ext>
              </a:extLst>
            </p:cNvPr>
            <p:cNvSpPr/>
            <p:nvPr/>
          </p:nvSpPr>
          <p:spPr>
            <a:xfrm>
              <a:off x="1486792" y="204641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5" name="Google Shape;6462;p64">
              <a:extLst>
                <a:ext uri="{FF2B5EF4-FFF2-40B4-BE49-F238E27FC236}">
                  <a16:creationId xmlns:a16="http://schemas.microsoft.com/office/drawing/2014/main" id="{44392C4C-0394-F6D0-E6B7-AA6F71E76CDB}"/>
                </a:ext>
              </a:extLst>
            </p:cNvPr>
            <p:cNvSpPr/>
            <p:nvPr/>
          </p:nvSpPr>
          <p:spPr>
            <a:xfrm>
              <a:off x="1486887" y="2046457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6" name="Google Shape;6463;p64">
              <a:extLst>
                <a:ext uri="{FF2B5EF4-FFF2-40B4-BE49-F238E27FC236}">
                  <a16:creationId xmlns:a16="http://schemas.microsoft.com/office/drawing/2014/main" id="{2B37B34A-E731-6281-49B2-FE19CB6A74E6}"/>
                </a:ext>
              </a:extLst>
            </p:cNvPr>
            <p:cNvSpPr/>
            <p:nvPr/>
          </p:nvSpPr>
          <p:spPr>
            <a:xfrm>
              <a:off x="1517965" y="207251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32"/>
                  </a:moveTo>
                  <a:cubicBezTo>
                    <a:pt x="15" y="21"/>
                    <a:pt x="8" y="11"/>
                    <a:pt x="1" y="0"/>
                  </a:cubicBezTo>
                  <a:cubicBezTo>
                    <a:pt x="8" y="11"/>
                    <a:pt x="15" y="21"/>
                    <a:pt x="2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7" name="Google Shape;6464;p64">
              <a:extLst>
                <a:ext uri="{FF2B5EF4-FFF2-40B4-BE49-F238E27FC236}">
                  <a16:creationId xmlns:a16="http://schemas.microsoft.com/office/drawing/2014/main" id="{EF718233-C7E4-A859-D4E0-B65CF256B1BE}"/>
                </a:ext>
              </a:extLst>
            </p:cNvPr>
            <p:cNvSpPr/>
            <p:nvPr/>
          </p:nvSpPr>
          <p:spPr>
            <a:xfrm>
              <a:off x="1484171" y="204626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8" name="Google Shape;6465;p64">
              <a:extLst>
                <a:ext uri="{FF2B5EF4-FFF2-40B4-BE49-F238E27FC236}">
                  <a16:creationId xmlns:a16="http://schemas.microsoft.com/office/drawing/2014/main" id="{A892A2DD-430E-88F0-2C31-DD302079225E}"/>
                </a:ext>
              </a:extLst>
            </p:cNvPr>
            <p:cNvSpPr/>
            <p:nvPr/>
          </p:nvSpPr>
          <p:spPr>
            <a:xfrm>
              <a:off x="1485407" y="2046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9" name="Google Shape;6466;p64">
              <a:extLst>
                <a:ext uri="{FF2B5EF4-FFF2-40B4-BE49-F238E27FC236}">
                  <a16:creationId xmlns:a16="http://schemas.microsoft.com/office/drawing/2014/main" id="{3EF6680D-DB51-DB24-CAAE-61F20B91A97F}"/>
                </a:ext>
              </a:extLst>
            </p:cNvPr>
            <p:cNvSpPr/>
            <p:nvPr/>
          </p:nvSpPr>
          <p:spPr>
            <a:xfrm>
              <a:off x="1483655" y="204636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0" name="Google Shape;6467;p64">
              <a:extLst>
                <a:ext uri="{FF2B5EF4-FFF2-40B4-BE49-F238E27FC236}">
                  <a16:creationId xmlns:a16="http://schemas.microsoft.com/office/drawing/2014/main" id="{4A9671C2-C5D2-D41C-7012-A1645A63C36E}"/>
                </a:ext>
              </a:extLst>
            </p:cNvPr>
            <p:cNvSpPr/>
            <p:nvPr/>
          </p:nvSpPr>
          <p:spPr>
            <a:xfrm>
              <a:off x="1482800" y="204641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0" y="7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1" name="Google Shape;6468;p64">
              <a:extLst>
                <a:ext uri="{FF2B5EF4-FFF2-40B4-BE49-F238E27FC236}">
                  <a16:creationId xmlns:a16="http://schemas.microsoft.com/office/drawing/2014/main" id="{0E82ED1D-87C8-1160-16D4-0295B3373E70}"/>
                </a:ext>
              </a:extLst>
            </p:cNvPr>
            <p:cNvSpPr/>
            <p:nvPr/>
          </p:nvSpPr>
          <p:spPr>
            <a:xfrm>
              <a:off x="1519201" y="2073789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cubicBezTo>
                    <a:pt x="25" y="18"/>
                    <a:pt x="15" y="8"/>
                    <a:pt x="1" y="1"/>
                  </a:cubicBezTo>
                  <a:cubicBezTo>
                    <a:pt x="15" y="8"/>
                    <a:pt x="25" y="18"/>
                    <a:pt x="3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2" name="Google Shape;6469;p64">
              <a:extLst>
                <a:ext uri="{FF2B5EF4-FFF2-40B4-BE49-F238E27FC236}">
                  <a16:creationId xmlns:a16="http://schemas.microsoft.com/office/drawing/2014/main" id="{FCFE6A6A-A620-81A1-D1EB-AE0C683093EB}"/>
                </a:ext>
              </a:extLst>
            </p:cNvPr>
            <p:cNvSpPr/>
            <p:nvPr/>
          </p:nvSpPr>
          <p:spPr>
            <a:xfrm>
              <a:off x="1510606" y="2062248"/>
              <a:ext cx="1249" cy="299"/>
            </a:xfrm>
            <a:custGeom>
              <a:avLst/>
              <a:gdLst/>
              <a:ahLst/>
              <a:cxnLst/>
              <a:rect l="l" t="t" r="r" b="b"/>
              <a:pathLst>
                <a:path w="92" h="22" extrusionOk="0">
                  <a:moveTo>
                    <a:pt x="0" y="0"/>
                  </a:moveTo>
                  <a:cubicBezTo>
                    <a:pt x="32" y="0"/>
                    <a:pt x="63" y="7"/>
                    <a:pt x="91" y="21"/>
                  </a:cubicBezTo>
                  <a:cubicBezTo>
                    <a:pt x="63" y="7"/>
                    <a:pt x="32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3" name="Google Shape;6470;p64">
              <a:extLst>
                <a:ext uri="{FF2B5EF4-FFF2-40B4-BE49-F238E27FC236}">
                  <a16:creationId xmlns:a16="http://schemas.microsoft.com/office/drawing/2014/main" id="{4D6BA56C-A4C4-E26C-49B5-8D46AE46D93F}"/>
                </a:ext>
              </a:extLst>
            </p:cNvPr>
            <p:cNvSpPr/>
            <p:nvPr/>
          </p:nvSpPr>
          <p:spPr>
            <a:xfrm>
              <a:off x="1518726" y="2073463"/>
              <a:ext cx="448" cy="299"/>
            </a:xfrm>
            <a:custGeom>
              <a:avLst/>
              <a:gdLst/>
              <a:ahLst/>
              <a:cxnLst/>
              <a:rect l="l" t="t" r="r" b="b"/>
              <a:pathLst>
                <a:path w="33" h="22" extrusionOk="0">
                  <a:moveTo>
                    <a:pt x="32" y="21"/>
                  </a:moveTo>
                  <a:cubicBezTo>
                    <a:pt x="22" y="14"/>
                    <a:pt x="11" y="7"/>
                    <a:pt x="1" y="0"/>
                  </a:cubicBezTo>
                  <a:cubicBezTo>
                    <a:pt x="11" y="7"/>
                    <a:pt x="22" y="14"/>
                    <a:pt x="32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4" name="Google Shape;6471;p64">
              <a:extLst>
                <a:ext uri="{FF2B5EF4-FFF2-40B4-BE49-F238E27FC236}">
                  <a16:creationId xmlns:a16="http://schemas.microsoft.com/office/drawing/2014/main" id="{C55972BB-3E2F-B6C3-99C8-29BE644B3E70}"/>
                </a:ext>
              </a:extLst>
            </p:cNvPr>
            <p:cNvSpPr/>
            <p:nvPr/>
          </p:nvSpPr>
          <p:spPr>
            <a:xfrm>
              <a:off x="1484646" y="204626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5" name="Google Shape;6472;p64">
              <a:extLst>
                <a:ext uri="{FF2B5EF4-FFF2-40B4-BE49-F238E27FC236}">
                  <a16:creationId xmlns:a16="http://schemas.microsoft.com/office/drawing/2014/main" id="{77E0B4D7-BF7E-6E09-FAD9-343AF216B60A}"/>
                </a:ext>
              </a:extLst>
            </p:cNvPr>
            <p:cNvSpPr/>
            <p:nvPr/>
          </p:nvSpPr>
          <p:spPr>
            <a:xfrm>
              <a:off x="1486642" y="204636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6" name="Google Shape;6473;p64">
              <a:extLst>
                <a:ext uri="{FF2B5EF4-FFF2-40B4-BE49-F238E27FC236}">
                  <a16:creationId xmlns:a16="http://schemas.microsoft.com/office/drawing/2014/main" id="{94E4BC8D-B154-E6E2-9F75-A2D0A00EC204}"/>
                </a:ext>
              </a:extLst>
            </p:cNvPr>
            <p:cNvSpPr/>
            <p:nvPr/>
          </p:nvSpPr>
          <p:spPr>
            <a:xfrm>
              <a:off x="1526003" y="2172945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9" y="1"/>
                  </a:moveTo>
                  <a:cubicBezTo>
                    <a:pt x="18" y="8"/>
                    <a:pt x="11" y="15"/>
                    <a:pt x="1" y="22"/>
                  </a:cubicBezTo>
                  <a:cubicBezTo>
                    <a:pt x="11" y="15"/>
                    <a:pt x="18" y="8"/>
                    <a:pt x="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7" name="Google Shape;6474;p64">
              <a:extLst>
                <a:ext uri="{FF2B5EF4-FFF2-40B4-BE49-F238E27FC236}">
                  <a16:creationId xmlns:a16="http://schemas.microsoft.com/office/drawing/2014/main" id="{63C15262-B8BC-F254-FF6D-144235572088}"/>
                </a:ext>
              </a:extLst>
            </p:cNvPr>
            <p:cNvSpPr/>
            <p:nvPr/>
          </p:nvSpPr>
          <p:spPr>
            <a:xfrm>
              <a:off x="1525677" y="217332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25"/>
                  </a:moveTo>
                  <a:cubicBezTo>
                    <a:pt x="7" y="15"/>
                    <a:pt x="14" y="8"/>
                    <a:pt x="21" y="1"/>
                  </a:cubicBezTo>
                  <a:cubicBezTo>
                    <a:pt x="14" y="8"/>
                    <a:pt x="7" y="1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8" name="Google Shape;6475;p64">
              <a:extLst>
                <a:ext uri="{FF2B5EF4-FFF2-40B4-BE49-F238E27FC236}">
                  <a16:creationId xmlns:a16="http://schemas.microsoft.com/office/drawing/2014/main" id="{8BC67E17-DC6A-3718-AB92-92698450563A}"/>
                </a:ext>
              </a:extLst>
            </p:cNvPr>
            <p:cNvSpPr/>
            <p:nvPr/>
          </p:nvSpPr>
          <p:spPr>
            <a:xfrm>
              <a:off x="1529425" y="21325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9" name="Google Shape;6476;p64">
              <a:extLst>
                <a:ext uri="{FF2B5EF4-FFF2-40B4-BE49-F238E27FC236}">
                  <a16:creationId xmlns:a16="http://schemas.microsoft.com/office/drawing/2014/main" id="{DC5532D0-9D8D-A9F6-1126-33E07AE825AE}"/>
                </a:ext>
              </a:extLst>
            </p:cNvPr>
            <p:cNvSpPr/>
            <p:nvPr/>
          </p:nvSpPr>
          <p:spPr>
            <a:xfrm>
              <a:off x="1527714" y="2129212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0" name="Google Shape;6477;p64">
              <a:extLst>
                <a:ext uri="{FF2B5EF4-FFF2-40B4-BE49-F238E27FC236}">
                  <a16:creationId xmlns:a16="http://schemas.microsoft.com/office/drawing/2014/main" id="{B8C8A160-3717-C7AB-B9C4-2F3B711394ED}"/>
                </a:ext>
              </a:extLst>
            </p:cNvPr>
            <p:cNvSpPr/>
            <p:nvPr/>
          </p:nvSpPr>
          <p:spPr>
            <a:xfrm>
              <a:off x="1527049" y="2127787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1" name="Google Shape;6478;p64">
              <a:extLst>
                <a:ext uri="{FF2B5EF4-FFF2-40B4-BE49-F238E27FC236}">
                  <a16:creationId xmlns:a16="http://schemas.microsoft.com/office/drawing/2014/main" id="{D8C3F661-A7B8-6ABA-E011-4E4AD35A2FE1}"/>
                </a:ext>
              </a:extLst>
            </p:cNvPr>
            <p:cNvSpPr/>
            <p:nvPr/>
          </p:nvSpPr>
          <p:spPr>
            <a:xfrm>
              <a:off x="1527388" y="2128452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2" name="Google Shape;6479;p64">
              <a:extLst>
                <a:ext uri="{FF2B5EF4-FFF2-40B4-BE49-F238E27FC236}">
                  <a16:creationId xmlns:a16="http://schemas.microsoft.com/office/drawing/2014/main" id="{7601AF23-2B07-CE49-679A-1EA822288869}"/>
                </a:ext>
              </a:extLst>
            </p:cNvPr>
            <p:cNvSpPr/>
            <p:nvPr/>
          </p:nvSpPr>
          <p:spPr>
            <a:xfrm>
              <a:off x="1525202" y="2175661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0" y="25"/>
                  </a:lnTo>
                  <a:cubicBezTo>
                    <a:pt x="4" y="18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3" name="Google Shape;6480;p64">
              <a:extLst>
                <a:ext uri="{FF2B5EF4-FFF2-40B4-BE49-F238E27FC236}">
                  <a16:creationId xmlns:a16="http://schemas.microsoft.com/office/drawing/2014/main" id="{E622DBDD-E27A-4176-96A5-FE1B23636F62}"/>
                </a:ext>
              </a:extLst>
            </p:cNvPr>
            <p:cNvSpPr/>
            <p:nvPr/>
          </p:nvSpPr>
          <p:spPr>
            <a:xfrm>
              <a:off x="1525243" y="2176041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0"/>
                  </a:moveTo>
                  <a:cubicBezTo>
                    <a:pt x="1" y="11"/>
                    <a:pt x="1" y="21"/>
                    <a:pt x="1" y="28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4" name="Google Shape;6481;p64">
              <a:extLst>
                <a:ext uri="{FF2B5EF4-FFF2-40B4-BE49-F238E27FC236}">
                  <a16:creationId xmlns:a16="http://schemas.microsoft.com/office/drawing/2014/main" id="{EF54B161-F969-A5AA-12EB-82B6092909E9}"/>
                </a:ext>
              </a:extLst>
            </p:cNvPr>
            <p:cNvSpPr/>
            <p:nvPr/>
          </p:nvSpPr>
          <p:spPr>
            <a:xfrm>
              <a:off x="1528094" y="2129973"/>
              <a:ext cx="163" cy="299"/>
            </a:xfrm>
            <a:custGeom>
              <a:avLst/>
              <a:gdLst/>
              <a:ahLst/>
              <a:cxnLst/>
              <a:rect l="l" t="t" r="r" b="b"/>
              <a:pathLst>
                <a:path w="12" h="22" extrusionOk="0">
                  <a:moveTo>
                    <a:pt x="1" y="1"/>
                  </a:moveTo>
                  <a:lnTo>
                    <a:pt x="1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5" name="Google Shape;6482;p64">
              <a:extLst>
                <a:ext uri="{FF2B5EF4-FFF2-40B4-BE49-F238E27FC236}">
                  <a16:creationId xmlns:a16="http://schemas.microsoft.com/office/drawing/2014/main" id="{D25986C6-B566-71F7-9602-A556A8B5C47B}"/>
                </a:ext>
              </a:extLst>
            </p:cNvPr>
            <p:cNvSpPr/>
            <p:nvPr/>
          </p:nvSpPr>
          <p:spPr>
            <a:xfrm>
              <a:off x="1525243" y="2174615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1" y="21"/>
                    <a:pt x="1" y="32"/>
                  </a:cubicBezTo>
                  <a:cubicBezTo>
                    <a:pt x="1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6" name="Google Shape;6483;p64">
              <a:extLst>
                <a:ext uri="{FF2B5EF4-FFF2-40B4-BE49-F238E27FC236}">
                  <a16:creationId xmlns:a16="http://schemas.microsoft.com/office/drawing/2014/main" id="{6678373C-0287-1CF1-AAE4-E6A75BA278C7}"/>
                </a:ext>
              </a:extLst>
            </p:cNvPr>
            <p:cNvSpPr/>
            <p:nvPr/>
          </p:nvSpPr>
          <p:spPr>
            <a:xfrm>
              <a:off x="1525297" y="2174181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8"/>
                    <a:pt x="4" y="18"/>
                    <a:pt x="0" y="29"/>
                  </a:cubicBezTo>
                  <a:cubicBezTo>
                    <a:pt x="4" y="18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7" name="Google Shape;6484;p64">
              <a:extLst>
                <a:ext uri="{FF2B5EF4-FFF2-40B4-BE49-F238E27FC236}">
                  <a16:creationId xmlns:a16="http://schemas.microsoft.com/office/drawing/2014/main" id="{4688DBC1-747D-BBC6-6890-9EA5DF2C3404}"/>
                </a:ext>
              </a:extLst>
            </p:cNvPr>
            <p:cNvSpPr/>
            <p:nvPr/>
          </p:nvSpPr>
          <p:spPr>
            <a:xfrm>
              <a:off x="1525433" y="2173706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5" y="1"/>
                  </a:moveTo>
                  <a:cubicBezTo>
                    <a:pt x="11" y="11"/>
                    <a:pt x="4" y="22"/>
                    <a:pt x="1" y="32"/>
                  </a:cubicBezTo>
                  <a:cubicBezTo>
                    <a:pt x="4" y="22"/>
                    <a:pt x="11" y="11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8" name="Google Shape;6485;p64">
              <a:extLst>
                <a:ext uri="{FF2B5EF4-FFF2-40B4-BE49-F238E27FC236}">
                  <a16:creationId xmlns:a16="http://schemas.microsoft.com/office/drawing/2014/main" id="{894828EF-F9CF-E231-5853-8489A4A16B73}"/>
                </a:ext>
              </a:extLst>
            </p:cNvPr>
            <p:cNvSpPr/>
            <p:nvPr/>
          </p:nvSpPr>
          <p:spPr>
            <a:xfrm>
              <a:off x="1528950" y="2131683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9" name="Google Shape;6486;p64">
              <a:extLst>
                <a:ext uri="{FF2B5EF4-FFF2-40B4-BE49-F238E27FC236}">
                  <a16:creationId xmlns:a16="http://schemas.microsoft.com/office/drawing/2014/main" id="{B83D70A9-526A-92D7-DDB7-6B81699E4438}"/>
                </a:ext>
              </a:extLst>
            </p:cNvPr>
            <p:cNvSpPr/>
            <p:nvPr/>
          </p:nvSpPr>
          <p:spPr>
            <a:xfrm>
              <a:off x="1525202" y="2175131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0" y="1"/>
                  </a:moveTo>
                  <a:lnTo>
                    <a:pt x="0" y="32"/>
                  </a:lnTo>
                  <a:cubicBezTo>
                    <a:pt x="0" y="22"/>
                    <a:pt x="4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0" name="Google Shape;6487;p64">
              <a:extLst>
                <a:ext uri="{FF2B5EF4-FFF2-40B4-BE49-F238E27FC236}">
                  <a16:creationId xmlns:a16="http://schemas.microsoft.com/office/drawing/2014/main" id="{702A6DA3-48FF-163E-18FC-E635276FCD6C}"/>
                </a:ext>
              </a:extLst>
            </p:cNvPr>
            <p:cNvSpPr/>
            <p:nvPr/>
          </p:nvSpPr>
          <p:spPr>
            <a:xfrm>
              <a:off x="1528529" y="21307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1" name="Google Shape;6488;p64">
              <a:extLst>
                <a:ext uri="{FF2B5EF4-FFF2-40B4-BE49-F238E27FC236}">
                  <a16:creationId xmlns:a16="http://schemas.microsoft.com/office/drawing/2014/main" id="{F3E193F3-CB6F-882A-5747-07FF3BE3B346}"/>
                </a:ext>
              </a:extLst>
            </p:cNvPr>
            <p:cNvSpPr/>
            <p:nvPr/>
          </p:nvSpPr>
          <p:spPr>
            <a:xfrm>
              <a:off x="1499201" y="1953967"/>
              <a:ext cx="99781" cy="84031"/>
            </a:xfrm>
            <a:custGeom>
              <a:avLst/>
              <a:gdLst/>
              <a:ahLst/>
              <a:cxnLst/>
              <a:rect l="l" t="t" r="r" b="b"/>
              <a:pathLst>
                <a:path w="7349" h="6189" extrusionOk="0">
                  <a:moveTo>
                    <a:pt x="1908" y="0"/>
                  </a:moveTo>
                  <a:cubicBezTo>
                    <a:pt x="1877" y="0"/>
                    <a:pt x="1870" y="7"/>
                    <a:pt x="1870" y="7"/>
                  </a:cubicBezTo>
                  <a:cubicBezTo>
                    <a:pt x="1863" y="39"/>
                    <a:pt x="1863" y="67"/>
                    <a:pt x="1870" y="95"/>
                  </a:cubicBezTo>
                  <a:cubicBezTo>
                    <a:pt x="1877" y="175"/>
                    <a:pt x="1894" y="294"/>
                    <a:pt x="1778" y="347"/>
                  </a:cubicBezTo>
                  <a:cubicBezTo>
                    <a:pt x="1740" y="364"/>
                    <a:pt x="1684" y="385"/>
                    <a:pt x="1617" y="410"/>
                  </a:cubicBezTo>
                  <a:cubicBezTo>
                    <a:pt x="1435" y="473"/>
                    <a:pt x="1096" y="592"/>
                    <a:pt x="1075" y="725"/>
                  </a:cubicBezTo>
                  <a:cubicBezTo>
                    <a:pt x="1061" y="802"/>
                    <a:pt x="1113" y="921"/>
                    <a:pt x="1166" y="1040"/>
                  </a:cubicBezTo>
                  <a:cubicBezTo>
                    <a:pt x="1243" y="1215"/>
                    <a:pt x="1323" y="1393"/>
                    <a:pt x="1250" y="1544"/>
                  </a:cubicBezTo>
                  <a:cubicBezTo>
                    <a:pt x="1209" y="1625"/>
                    <a:pt x="1126" y="1677"/>
                    <a:pt x="1032" y="1677"/>
                  </a:cubicBezTo>
                  <a:cubicBezTo>
                    <a:pt x="1028" y="1677"/>
                    <a:pt x="1025" y="1677"/>
                    <a:pt x="1022" y="1677"/>
                  </a:cubicBezTo>
                  <a:cubicBezTo>
                    <a:pt x="847" y="1677"/>
                    <a:pt x="634" y="1526"/>
                    <a:pt x="550" y="1348"/>
                  </a:cubicBezTo>
                  <a:cubicBezTo>
                    <a:pt x="473" y="1187"/>
                    <a:pt x="595" y="994"/>
                    <a:pt x="693" y="840"/>
                  </a:cubicBezTo>
                  <a:cubicBezTo>
                    <a:pt x="732" y="781"/>
                    <a:pt x="805" y="662"/>
                    <a:pt x="795" y="634"/>
                  </a:cubicBezTo>
                  <a:cubicBezTo>
                    <a:pt x="742" y="543"/>
                    <a:pt x="711" y="441"/>
                    <a:pt x="700" y="336"/>
                  </a:cubicBezTo>
                  <a:lnTo>
                    <a:pt x="693" y="343"/>
                  </a:lnTo>
                  <a:lnTo>
                    <a:pt x="686" y="347"/>
                  </a:lnTo>
                  <a:cubicBezTo>
                    <a:pt x="679" y="354"/>
                    <a:pt x="672" y="361"/>
                    <a:pt x="665" y="371"/>
                  </a:cubicBezTo>
                  <a:cubicBezTo>
                    <a:pt x="637" y="406"/>
                    <a:pt x="606" y="445"/>
                    <a:pt x="574" y="480"/>
                  </a:cubicBezTo>
                  <a:lnTo>
                    <a:pt x="567" y="487"/>
                  </a:lnTo>
                  <a:cubicBezTo>
                    <a:pt x="529" y="522"/>
                    <a:pt x="490" y="560"/>
                    <a:pt x="452" y="595"/>
                  </a:cubicBezTo>
                  <a:cubicBezTo>
                    <a:pt x="329" y="714"/>
                    <a:pt x="200" y="837"/>
                    <a:pt x="200" y="952"/>
                  </a:cubicBezTo>
                  <a:lnTo>
                    <a:pt x="200" y="1001"/>
                  </a:lnTo>
                  <a:cubicBezTo>
                    <a:pt x="193" y="1187"/>
                    <a:pt x="193" y="1281"/>
                    <a:pt x="105" y="1397"/>
                  </a:cubicBezTo>
                  <a:cubicBezTo>
                    <a:pt x="67" y="1439"/>
                    <a:pt x="32" y="1488"/>
                    <a:pt x="0" y="1537"/>
                  </a:cubicBezTo>
                  <a:cubicBezTo>
                    <a:pt x="15" y="1536"/>
                    <a:pt x="30" y="1536"/>
                    <a:pt x="44" y="1536"/>
                  </a:cubicBezTo>
                  <a:cubicBezTo>
                    <a:pt x="119" y="1536"/>
                    <a:pt x="188" y="1546"/>
                    <a:pt x="238" y="1593"/>
                  </a:cubicBezTo>
                  <a:cubicBezTo>
                    <a:pt x="277" y="1628"/>
                    <a:pt x="294" y="1677"/>
                    <a:pt x="294" y="1726"/>
                  </a:cubicBezTo>
                  <a:cubicBezTo>
                    <a:pt x="294" y="1751"/>
                    <a:pt x="329" y="1779"/>
                    <a:pt x="371" y="1810"/>
                  </a:cubicBezTo>
                  <a:cubicBezTo>
                    <a:pt x="445" y="1866"/>
                    <a:pt x="550" y="1943"/>
                    <a:pt x="532" y="2094"/>
                  </a:cubicBezTo>
                  <a:lnTo>
                    <a:pt x="529" y="2136"/>
                  </a:lnTo>
                  <a:cubicBezTo>
                    <a:pt x="511" y="2276"/>
                    <a:pt x="480" y="2542"/>
                    <a:pt x="595" y="2668"/>
                  </a:cubicBezTo>
                  <a:cubicBezTo>
                    <a:pt x="641" y="2717"/>
                    <a:pt x="713" y="2745"/>
                    <a:pt x="806" y="2745"/>
                  </a:cubicBezTo>
                  <a:cubicBezTo>
                    <a:pt x="811" y="2745"/>
                    <a:pt x="817" y="2745"/>
                    <a:pt x="823" y="2745"/>
                  </a:cubicBezTo>
                  <a:cubicBezTo>
                    <a:pt x="945" y="2741"/>
                    <a:pt x="1068" y="2727"/>
                    <a:pt x="1190" y="2710"/>
                  </a:cubicBezTo>
                  <a:cubicBezTo>
                    <a:pt x="1284" y="2697"/>
                    <a:pt x="1370" y="2685"/>
                    <a:pt x="1450" y="2685"/>
                  </a:cubicBezTo>
                  <a:cubicBezTo>
                    <a:pt x="1589" y="2685"/>
                    <a:pt x="1708" y="2721"/>
                    <a:pt x="1810" y="2850"/>
                  </a:cubicBezTo>
                  <a:cubicBezTo>
                    <a:pt x="1974" y="3060"/>
                    <a:pt x="2185" y="3167"/>
                    <a:pt x="2423" y="3167"/>
                  </a:cubicBezTo>
                  <a:cubicBezTo>
                    <a:pt x="2454" y="3167"/>
                    <a:pt x="2485" y="3165"/>
                    <a:pt x="2517" y="3161"/>
                  </a:cubicBezTo>
                  <a:cubicBezTo>
                    <a:pt x="2669" y="3141"/>
                    <a:pt x="2812" y="3125"/>
                    <a:pt x="2931" y="3125"/>
                  </a:cubicBezTo>
                  <a:cubicBezTo>
                    <a:pt x="3080" y="3125"/>
                    <a:pt x="3192" y="3150"/>
                    <a:pt x="3238" y="3224"/>
                  </a:cubicBezTo>
                  <a:cubicBezTo>
                    <a:pt x="3277" y="3280"/>
                    <a:pt x="3270" y="3350"/>
                    <a:pt x="3221" y="3431"/>
                  </a:cubicBezTo>
                  <a:cubicBezTo>
                    <a:pt x="3056" y="3697"/>
                    <a:pt x="2976" y="4233"/>
                    <a:pt x="3081" y="4352"/>
                  </a:cubicBezTo>
                  <a:cubicBezTo>
                    <a:pt x="3109" y="4383"/>
                    <a:pt x="3137" y="4411"/>
                    <a:pt x="3161" y="4436"/>
                  </a:cubicBezTo>
                  <a:cubicBezTo>
                    <a:pt x="3280" y="4558"/>
                    <a:pt x="3427" y="4709"/>
                    <a:pt x="3294" y="4859"/>
                  </a:cubicBezTo>
                  <a:cubicBezTo>
                    <a:pt x="3228" y="4936"/>
                    <a:pt x="3193" y="5013"/>
                    <a:pt x="3200" y="5073"/>
                  </a:cubicBezTo>
                  <a:cubicBezTo>
                    <a:pt x="3207" y="5115"/>
                    <a:pt x="3228" y="5150"/>
                    <a:pt x="3263" y="5174"/>
                  </a:cubicBezTo>
                  <a:cubicBezTo>
                    <a:pt x="3371" y="5251"/>
                    <a:pt x="3420" y="5388"/>
                    <a:pt x="3385" y="5514"/>
                  </a:cubicBezTo>
                  <a:lnTo>
                    <a:pt x="3385" y="5521"/>
                  </a:lnTo>
                  <a:cubicBezTo>
                    <a:pt x="3382" y="5538"/>
                    <a:pt x="3368" y="5552"/>
                    <a:pt x="3354" y="5563"/>
                  </a:cubicBezTo>
                  <a:lnTo>
                    <a:pt x="3361" y="5570"/>
                  </a:lnTo>
                  <a:cubicBezTo>
                    <a:pt x="3378" y="5594"/>
                    <a:pt x="3399" y="5615"/>
                    <a:pt x="3417" y="5636"/>
                  </a:cubicBezTo>
                  <a:lnTo>
                    <a:pt x="3420" y="5640"/>
                  </a:lnTo>
                  <a:cubicBezTo>
                    <a:pt x="3434" y="5664"/>
                    <a:pt x="3452" y="5685"/>
                    <a:pt x="3466" y="5706"/>
                  </a:cubicBezTo>
                  <a:lnTo>
                    <a:pt x="3476" y="5720"/>
                  </a:lnTo>
                  <a:cubicBezTo>
                    <a:pt x="3490" y="5742"/>
                    <a:pt x="3504" y="5759"/>
                    <a:pt x="3515" y="5780"/>
                  </a:cubicBezTo>
                  <a:lnTo>
                    <a:pt x="3525" y="5798"/>
                  </a:lnTo>
                  <a:lnTo>
                    <a:pt x="3560" y="5854"/>
                  </a:lnTo>
                  <a:cubicBezTo>
                    <a:pt x="3599" y="5924"/>
                    <a:pt x="3648" y="5990"/>
                    <a:pt x="3707" y="6046"/>
                  </a:cubicBezTo>
                  <a:lnTo>
                    <a:pt x="3767" y="6095"/>
                  </a:lnTo>
                  <a:cubicBezTo>
                    <a:pt x="3849" y="6163"/>
                    <a:pt x="3884" y="6189"/>
                    <a:pt x="3915" y="6189"/>
                  </a:cubicBezTo>
                  <a:cubicBezTo>
                    <a:pt x="3930" y="6189"/>
                    <a:pt x="3945" y="6182"/>
                    <a:pt x="3963" y="6172"/>
                  </a:cubicBezTo>
                  <a:lnTo>
                    <a:pt x="3970" y="6169"/>
                  </a:lnTo>
                  <a:cubicBezTo>
                    <a:pt x="4047" y="6125"/>
                    <a:pt x="4120" y="6083"/>
                    <a:pt x="4199" y="6083"/>
                  </a:cubicBezTo>
                  <a:cubicBezTo>
                    <a:pt x="4228" y="6083"/>
                    <a:pt x="4258" y="6089"/>
                    <a:pt x="4289" y="6102"/>
                  </a:cubicBezTo>
                  <a:cubicBezTo>
                    <a:pt x="4299" y="6109"/>
                    <a:pt x="4313" y="6116"/>
                    <a:pt x="4327" y="6127"/>
                  </a:cubicBezTo>
                  <a:lnTo>
                    <a:pt x="4334" y="6127"/>
                  </a:lnTo>
                  <a:cubicBezTo>
                    <a:pt x="4339" y="6129"/>
                    <a:pt x="4344" y="6129"/>
                    <a:pt x="4349" y="6129"/>
                  </a:cubicBezTo>
                  <a:cubicBezTo>
                    <a:pt x="4403" y="6129"/>
                    <a:pt x="4501" y="6042"/>
                    <a:pt x="4590" y="5966"/>
                  </a:cubicBezTo>
                  <a:lnTo>
                    <a:pt x="4625" y="5934"/>
                  </a:lnTo>
                  <a:cubicBezTo>
                    <a:pt x="4691" y="5878"/>
                    <a:pt x="4775" y="5847"/>
                    <a:pt x="4859" y="5843"/>
                  </a:cubicBezTo>
                  <a:cubicBezTo>
                    <a:pt x="4936" y="5833"/>
                    <a:pt x="4954" y="5829"/>
                    <a:pt x="4964" y="5784"/>
                  </a:cubicBezTo>
                  <a:cubicBezTo>
                    <a:pt x="5027" y="5584"/>
                    <a:pt x="5139" y="5479"/>
                    <a:pt x="5328" y="5444"/>
                  </a:cubicBezTo>
                  <a:cubicBezTo>
                    <a:pt x="5398" y="5430"/>
                    <a:pt x="5423" y="5384"/>
                    <a:pt x="5419" y="5356"/>
                  </a:cubicBezTo>
                  <a:cubicBezTo>
                    <a:pt x="5419" y="5342"/>
                    <a:pt x="5412" y="5342"/>
                    <a:pt x="5405" y="5342"/>
                  </a:cubicBezTo>
                  <a:cubicBezTo>
                    <a:pt x="5374" y="5346"/>
                    <a:pt x="5346" y="5353"/>
                    <a:pt x="5318" y="5367"/>
                  </a:cubicBezTo>
                  <a:cubicBezTo>
                    <a:pt x="5278" y="5380"/>
                    <a:pt x="5237" y="5393"/>
                    <a:pt x="5197" y="5393"/>
                  </a:cubicBezTo>
                  <a:cubicBezTo>
                    <a:pt x="5171" y="5393"/>
                    <a:pt x="5146" y="5387"/>
                    <a:pt x="5122" y="5370"/>
                  </a:cubicBezTo>
                  <a:cubicBezTo>
                    <a:pt x="5080" y="5332"/>
                    <a:pt x="5059" y="5279"/>
                    <a:pt x="5062" y="5223"/>
                  </a:cubicBezTo>
                  <a:lnTo>
                    <a:pt x="5062" y="5213"/>
                  </a:lnTo>
                  <a:cubicBezTo>
                    <a:pt x="5066" y="5157"/>
                    <a:pt x="5045" y="5104"/>
                    <a:pt x="5003" y="5069"/>
                  </a:cubicBezTo>
                  <a:cubicBezTo>
                    <a:pt x="4943" y="5020"/>
                    <a:pt x="4912" y="4943"/>
                    <a:pt x="4915" y="4866"/>
                  </a:cubicBezTo>
                  <a:cubicBezTo>
                    <a:pt x="4915" y="4691"/>
                    <a:pt x="4898" y="4611"/>
                    <a:pt x="4733" y="4513"/>
                  </a:cubicBezTo>
                  <a:cubicBezTo>
                    <a:pt x="4677" y="4481"/>
                    <a:pt x="4649" y="4439"/>
                    <a:pt x="4653" y="4394"/>
                  </a:cubicBezTo>
                  <a:cubicBezTo>
                    <a:pt x="4656" y="4366"/>
                    <a:pt x="4674" y="4324"/>
                    <a:pt x="4744" y="4299"/>
                  </a:cubicBezTo>
                  <a:cubicBezTo>
                    <a:pt x="4787" y="4283"/>
                    <a:pt x="4854" y="4272"/>
                    <a:pt x="4924" y="4272"/>
                  </a:cubicBezTo>
                  <a:cubicBezTo>
                    <a:pt x="5020" y="4272"/>
                    <a:pt x="5122" y="4292"/>
                    <a:pt x="5174" y="4345"/>
                  </a:cubicBezTo>
                  <a:cubicBezTo>
                    <a:pt x="5202" y="4373"/>
                    <a:pt x="5290" y="4380"/>
                    <a:pt x="5360" y="4387"/>
                  </a:cubicBezTo>
                  <a:cubicBezTo>
                    <a:pt x="5489" y="4397"/>
                    <a:pt x="5640" y="4411"/>
                    <a:pt x="5664" y="4541"/>
                  </a:cubicBezTo>
                  <a:cubicBezTo>
                    <a:pt x="5678" y="4594"/>
                    <a:pt x="5716" y="4622"/>
                    <a:pt x="5735" y="4622"/>
                  </a:cubicBezTo>
                  <a:cubicBezTo>
                    <a:pt x="5736" y="4622"/>
                    <a:pt x="5737" y="4621"/>
                    <a:pt x="5738" y="4621"/>
                  </a:cubicBezTo>
                  <a:cubicBezTo>
                    <a:pt x="5741" y="4621"/>
                    <a:pt x="5748" y="4607"/>
                    <a:pt x="5748" y="4572"/>
                  </a:cubicBezTo>
                  <a:cubicBezTo>
                    <a:pt x="5748" y="4492"/>
                    <a:pt x="5783" y="4418"/>
                    <a:pt x="5846" y="4369"/>
                  </a:cubicBezTo>
                  <a:cubicBezTo>
                    <a:pt x="5922" y="4312"/>
                    <a:pt x="6015" y="4282"/>
                    <a:pt x="6110" y="4282"/>
                  </a:cubicBezTo>
                  <a:cubicBezTo>
                    <a:pt x="6143" y="4282"/>
                    <a:pt x="6175" y="4285"/>
                    <a:pt x="6207" y="4292"/>
                  </a:cubicBezTo>
                  <a:cubicBezTo>
                    <a:pt x="6214" y="4293"/>
                    <a:pt x="6221" y="4294"/>
                    <a:pt x="6229" y="4294"/>
                  </a:cubicBezTo>
                  <a:cubicBezTo>
                    <a:pt x="6325" y="4294"/>
                    <a:pt x="6511" y="4199"/>
                    <a:pt x="6638" y="4131"/>
                  </a:cubicBezTo>
                  <a:cubicBezTo>
                    <a:pt x="6704" y="4093"/>
                    <a:pt x="6774" y="4061"/>
                    <a:pt x="6844" y="4033"/>
                  </a:cubicBezTo>
                  <a:cubicBezTo>
                    <a:pt x="6851" y="4030"/>
                    <a:pt x="6855" y="4030"/>
                    <a:pt x="6858" y="4026"/>
                  </a:cubicBezTo>
                  <a:cubicBezTo>
                    <a:pt x="6890" y="3998"/>
                    <a:pt x="6914" y="3960"/>
                    <a:pt x="6928" y="3918"/>
                  </a:cubicBezTo>
                  <a:lnTo>
                    <a:pt x="6935" y="3904"/>
                  </a:lnTo>
                  <a:lnTo>
                    <a:pt x="6928" y="3893"/>
                  </a:lnTo>
                  <a:lnTo>
                    <a:pt x="6911" y="3869"/>
                  </a:lnTo>
                  <a:lnTo>
                    <a:pt x="6890" y="3844"/>
                  </a:lnTo>
                  <a:lnTo>
                    <a:pt x="6872" y="3820"/>
                  </a:lnTo>
                  <a:lnTo>
                    <a:pt x="6855" y="3795"/>
                  </a:lnTo>
                  <a:lnTo>
                    <a:pt x="6837" y="3774"/>
                  </a:lnTo>
                  <a:lnTo>
                    <a:pt x="6823" y="3753"/>
                  </a:lnTo>
                  <a:lnTo>
                    <a:pt x="6806" y="3732"/>
                  </a:lnTo>
                  <a:lnTo>
                    <a:pt x="6792" y="3715"/>
                  </a:lnTo>
                  <a:lnTo>
                    <a:pt x="6778" y="3697"/>
                  </a:lnTo>
                  <a:lnTo>
                    <a:pt x="6767" y="3680"/>
                  </a:lnTo>
                  <a:lnTo>
                    <a:pt x="6753" y="3665"/>
                  </a:lnTo>
                  <a:lnTo>
                    <a:pt x="6743" y="3651"/>
                  </a:lnTo>
                  <a:lnTo>
                    <a:pt x="6732" y="3637"/>
                  </a:lnTo>
                  <a:lnTo>
                    <a:pt x="6718" y="3623"/>
                  </a:lnTo>
                  <a:lnTo>
                    <a:pt x="6711" y="3613"/>
                  </a:lnTo>
                  <a:lnTo>
                    <a:pt x="6697" y="3599"/>
                  </a:lnTo>
                  <a:lnTo>
                    <a:pt x="6690" y="3592"/>
                  </a:lnTo>
                  <a:lnTo>
                    <a:pt x="6680" y="3578"/>
                  </a:lnTo>
                  <a:lnTo>
                    <a:pt x="6673" y="3571"/>
                  </a:lnTo>
                  <a:lnTo>
                    <a:pt x="6666" y="3560"/>
                  </a:lnTo>
                  <a:lnTo>
                    <a:pt x="6659" y="3557"/>
                  </a:lnTo>
                  <a:lnTo>
                    <a:pt x="6652" y="3546"/>
                  </a:lnTo>
                  <a:lnTo>
                    <a:pt x="6648" y="3543"/>
                  </a:lnTo>
                  <a:lnTo>
                    <a:pt x="6638" y="3532"/>
                  </a:lnTo>
                  <a:lnTo>
                    <a:pt x="6638" y="3529"/>
                  </a:lnTo>
                  <a:lnTo>
                    <a:pt x="6631" y="3522"/>
                  </a:lnTo>
                  <a:lnTo>
                    <a:pt x="6627" y="3522"/>
                  </a:lnTo>
                  <a:lnTo>
                    <a:pt x="6620" y="3515"/>
                  </a:lnTo>
                  <a:lnTo>
                    <a:pt x="6613" y="3508"/>
                  </a:lnTo>
                  <a:cubicBezTo>
                    <a:pt x="6501" y="3417"/>
                    <a:pt x="6571" y="3319"/>
                    <a:pt x="6606" y="3273"/>
                  </a:cubicBezTo>
                  <a:cubicBezTo>
                    <a:pt x="6641" y="3228"/>
                    <a:pt x="6655" y="3207"/>
                    <a:pt x="6652" y="3175"/>
                  </a:cubicBezTo>
                  <a:cubicBezTo>
                    <a:pt x="6641" y="3102"/>
                    <a:pt x="6638" y="3018"/>
                    <a:pt x="6690" y="2951"/>
                  </a:cubicBezTo>
                  <a:cubicBezTo>
                    <a:pt x="6743" y="2885"/>
                    <a:pt x="6827" y="2853"/>
                    <a:pt x="6967" y="2843"/>
                  </a:cubicBezTo>
                  <a:cubicBezTo>
                    <a:pt x="7037" y="2839"/>
                    <a:pt x="7082" y="2818"/>
                    <a:pt x="7089" y="2787"/>
                  </a:cubicBezTo>
                  <a:cubicBezTo>
                    <a:pt x="7089" y="2734"/>
                    <a:pt x="7061" y="2692"/>
                    <a:pt x="7016" y="2671"/>
                  </a:cubicBezTo>
                  <a:cubicBezTo>
                    <a:pt x="6967" y="2647"/>
                    <a:pt x="6939" y="2594"/>
                    <a:pt x="6935" y="2542"/>
                  </a:cubicBezTo>
                  <a:cubicBezTo>
                    <a:pt x="6935" y="2405"/>
                    <a:pt x="7103" y="2251"/>
                    <a:pt x="7212" y="2185"/>
                  </a:cubicBezTo>
                  <a:cubicBezTo>
                    <a:pt x="7219" y="2185"/>
                    <a:pt x="7222" y="2181"/>
                    <a:pt x="7226" y="2178"/>
                  </a:cubicBezTo>
                  <a:lnTo>
                    <a:pt x="7233" y="2171"/>
                  </a:lnTo>
                  <a:lnTo>
                    <a:pt x="7243" y="2160"/>
                  </a:lnTo>
                  <a:lnTo>
                    <a:pt x="7250" y="2157"/>
                  </a:lnTo>
                  <a:lnTo>
                    <a:pt x="7261" y="2143"/>
                  </a:lnTo>
                  <a:lnTo>
                    <a:pt x="7271" y="2136"/>
                  </a:lnTo>
                  <a:lnTo>
                    <a:pt x="7285" y="2115"/>
                  </a:lnTo>
                  <a:lnTo>
                    <a:pt x="7289" y="2108"/>
                  </a:lnTo>
                  <a:cubicBezTo>
                    <a:pt x="7296" y="2101"/>
                    <a:pt x="7303" y="2090"/>
                    <a:pt x="7310" y="2080"/>
                  </a:cubicBezTo>
                  <a:lnTo>
                    <a:pt x="7317" y="2069"/>
                  </a:lnTo>
                  <a:lnTo>
                    <a:pt x="7334" y="2045"/>
                  </a:lnTo>
                  <a:lnTo>
                    <a:pt x="7341" y="2031"/>
                  </a:lnTo>
                  <a:lnTo>
                    <a:pt x="7348" y="2017"/>
                  </a:lnTo>
                  <a:cubicBezTo>
                    <a:pt x="7179" y="1971"/>
                    <a:pt x="6976" y="1960"/>
                    <a:pt x="6823" y="1960"/>
                  </a:cubicBezTo>
                  <a:cubicBezTo>
                    <a:pt x="6755" y="1960"/>
                    <a:pt x="6696" y="1962"/>
                    <a:pt x="6655" y="1964"/>
                  </a:cubicBezTo>
                  <a:cubicBezTo>
                    <a:pt x="6651" y="1964"/>
                    <a:pt x="6645" y="1964"/>
                    <a:pt x="6637" y="1964"/>
                  </a:cubicBezTo>
                  <a:cubicBezTo>
                    <a:pt x="6608" y="1964"/>
                    <a:pt x="6558" y="1960"/>
                    <a:pt x="6533" y="1915"/>
                  </a:cubicBezTo>
                  <a:cubicBezTo>
                    <a:pt x="6501" y="1859"/>
                    <a:pt x="6543" y="1789"/>
                    <a:pt x="6606" y="1702"/>
                  </a:cubicBezTo>
                  <a:cubicBezTo>
                    <a:pt x="6659" y="1625"/>
                    <a:pt x="6729" y="1526"/>
                    <a:pt x="6732" y="1449"/>
                  </a:cubicBezTo>
                  <a:cubicBezTo>
                    <a:pt x="6739" y="1330"/>
                    <a:pt x="6340" y="1274"/>
                    <a:pt x="6148" y="1243"/>
                  </a:cubicBezTo>
                  <a:cubicBezTo>
                    <a:pt x="6078" y="1232"/>
                    <a:pt x="6018" y="1222"/>
                    <a:pt x="5972" y="1211"/>
                  </a:cubicBezTo>
                  <a:cubicBezTo>
                    <a:pt x="5818" y="1180"/>
                    <a:pt x="5769" y="1075"/>
                    <a:pt x="5776" y="998"/>
                  </a:cubicBezTo>
                  <a:cubicBezTo>
                    <a:pt x="5790" y="900"/>
                    <a:pt x="5860" y="823"/>
                    <a:pt x="5955" y="798"/>
                  </a:cubicBezTo>
                  <a:cubicBezTo>
                    <a:pt x="5881" y="778"/>
                    <a:pt x="5806" y="768"/>
                    <a:pt x="5731" y="768"/>
                  </a:cubicBezTo>
                  <a:cubicBezTo>
                    <a:pt x="5689" y="768"/>
                    <a:pt x="5647" y="771"/>
                    <a:pt x="5605" y="777"/>
                  </a:cubicBezTo>
                  <a:cubicBezTo>
                    <a:pt x="5290" y="823"/>
                    <a:pt x="4838" y="1001"/>
                    <a:pt x="4572" y="1145"/>
                  </a:cubicBezTo>
                  <a:cubicBezTo>
                    <a:pt x="4531" y="1167"/>
                    <a:pt x="4488" y="1177"/>
                    <a:pt x="4443" y="1177"/>
                  </a:cubicBezTo>
                  <a:cubicBezTo>
                    <a:pt x="4307" y="1177"/>
                    <a:pt x="4155" y="1088"/>
                    <a:pt x="4005" y="1001"/>
                  </a:cubicBezTo>
                  <a:cubicBezTo>
                    <a:pt x="3863" y="918"/>
                    <a:pt x="3717" y="831"/>
                    <a:pt x="3601" y="831"/>
                  </a:cubicBezTo>
                  <a:cubicBezTo>
                    <a:pt x="3577" y="831"/>
                    <a:pt x="3554" y="835"/>
                    <a:pt x="3532" y="844"/>
                  </a:cubicBezTo>
                  <a:cubicBezTo>
                    <a:pt x="3404" y="896"/>
                    <a:pt x="3248" y="931"/>
                    <a:pt x="3108" y="931"/>
                  </a:cubicBezTo>
                  <a:cubicBezTo>
                    <a:pt x="2996" y="931"/>
                    <a:pt x="2895" y="909"/>
                    <a:pt x="2825" y="858"/>
                  </a:cubicBezTo>
                  <a:cubicBezTo>
                    <a:pt x="2759" y="812"/>
                    <a:pt x="2724" y="739"/>
                    <a:pt x="2727" y="658"/>
                  </a:cubicBezTo>
                  <a:cubicBezTo>
                    <a:pt x="2741" y="557"/>
                    <a:pt x="2706" y="455"/>
                    <a:pt x="2636" y="382"/>
                  </a:cubicBezTo>
                  <a:cubicBezTo>
                    <a:pt x="2585" y="330"/>
                    <a:pt x="2513" y="303"/>
                    <a:pt x="2420" y="303"/>
                  </a:cubicBezTo>
                  <a:cubicBezTo>
                    <a:pt x="2405" y="303"/>
                    <a:pt x="2390" y="303"/>
                    <a:pt x="2374" y="305"/>
                  </a:cubicBezTo>
                  <a:cubicBezTo>
                    <a:pt x="2360" y="306"/>
                    <a:pt x="2348" y="306"/>
                    <a:pt x="2336" y="306"/>
                  </a:cubicBezTo>
                  <a:cubicBezTo>
                    <a:pt x="2161" y="306"/>
                    <a:pt x="2094" y="194"/>
                    <a:pt x="2045" y="112"/>
                  </a:cubicBezTo>
                  <a:cubicBezTo>
                    <a:pt x="1999" y="39"/>
                    <a:pt x="1975" y="0"/>
                    <a:pt x="190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2" name="Google Shape;6489;p64">
              <a:extLst>
                <a:ext uri="{FF2B5EF4-FFF2-40B4-BE49-F238E27FC236}">
                  <a16:creationId xmlns:a16="http://schemas.microsoft.com/office/drawing/2014/main" id="{9EBA70CC-1B17-151E-E404-CADFAA0004BF}"/>
                </a:ext>
              </a:extLst>
            </p:cNvPr>
            <p:cNvSpPr/>
            <p:nvPr/>
          </p:nvSpPr>
          <p:spPr>
            <a:xfrm>
              <a:off x="1578575" y="2011862"/>
              <a:ext cx="4915" cy="1385"/>
            </a:xfrm>
            <a:custGeom>
              <a:avLst/>
              <a:gdLst/>
              <a:ahLst/>
              <a:cxnLst/>
              <a:rect l="l" t="t" r="r" b="b"/>
              <a:pathLst>
                <a:path w="362" h="102" extrusionOk="0">
                  <a:moveTo>
                    <a:pt x="0" y="102"/>
                  </a:moveTo>
                  <a:cubicBezTo>
                    <a:pt x="105" y="28"/>
                    <a:pt x="235" y="0"/>
                    <a:pt x="361" y="28"/>
                  </a:cubicBezTo>
                  <a:cubicBezTo>
                    <a:pt x="235" y="0"/>
                    <a:pt x="105" y="28"/>
                    <a:pt x="0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3" name="Google Shape;6490;p64">
              <a:extLst>
                <a:ext uri="{FF2B5EF4-FFF2-40B4-BE49-F238E27FC236}">
                  <a16:creationId xmlns:a16="http://schemas.microsoft.com/office/drawing/2014/main" id="{FCA659E1-5238-D3D1-6F61-2790D094CB52}"/>
                </a:ext>
              </a:extLst>
            </p:cNvPr>
            <p:cNvSpPr/>
            <p:nvPr/>
          </p:nvSpPr>
          <p:spPr>
            <a:xfrm>
              <a:off x="1547062" y="2032676"/>
              <a:ext cx="489" cy="774"/>
            </a:xfrm>
            <a:custGeom>
              <a:avLst/>
              <a:gdLst/>
              <a:ahLst/>
              <a:cxnLst/>
              <a:rect l="l" t="t" r="r" b="b"/>
              <a:pathLst>
                <a:path w="36" h="57" extrusionOk="0">
                  <a:moveTo>
                    <a:pt x="35" y="57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4" name="Google Shape;6491;p64">
              <a:extLst>
                <a:ext uri="{FF2B5EF4-FFF2-40B4-BE49-F238E27FC236}">
                  <a16:creationId xmlns:a16="http://schemas.microsoft.com/office/drawing/2014/main" id="{B1D24B1E-049E-FD31-8953-6DB4EC23463B}"/>
                </a:ext>
              </a:extLst>
            </p:cNvPr>
            <p:cNvSpPr/>
            <p:nvPr/>
          </p:nvSpPr>
          <p:spPr>
            <a:xfrm>
              <a:off x="1557381" y="2036817"/>
              <a:ext cx="625" cy="339"/>
            </a:xfrm>
            <a:custGeom>
              <a:avLst/>
              <a:gdLst/>
              <a:ahLst/>
              <a:cxnLst/>
              <a:rect l="l" t="t" r="r" b="b"/>
              <a:pathLst>
                <a:path w="46" h="25" extrusionOk="0">
                  <a:moveTo>
                    <a:pt x="0" y="0"/>
                  </a:moveTo>
                  <a:cubicBezTo>
                    <a:pt x="14" y="7"/>
                    <a:pt x="28" y="14"/>
                    <a:pt x="39" y="21"/>
                  </a:cubicBezTo>
                  <a:lnTo>
                    <a:pt x="46" y="25"/>
                  </a:lnTo>
                  <a:lnTo>
                    <a:pt x="39" y="21"/>
                  </a:lnTo>
                  <a:cubicBezTo>
                    <a:pt x="28" y="14"/>
                    <a:pt x="1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5" name="Google Shape;6492;p64">
              <a:extLst>
                <a:ext uri="{FF2B5EF4-FFF2-40B4-BE49-F238E27FC236}">
                  <a16:creationId xmlns:a16="http://schemas.microsoft.com/office/drawing/2014/main" id="{9E9F844C-39A0-2683-56F5-00DEFEEF8D16}"/>
                </a:ext>
              </a:extLst>
            </p:cNvPr>
            <p:cNvSpPr/>
            <p:nvPr/>
          </p:nvSpPr>
          <p:spPr>
            <a:xfrm>
              <a:off x="1592316" y="2006960"/>
              <a:ext cx="1100" cy="1684"/>
            </a:xfrm>
            <a:custGeom>
              <a:avLst/>
              <a:gdLst/>
              <a:ahLst/>
              <a:cxnLst/>
              <a:rect l="l" t="t" r="r" b="b"/>
              <a:pathLst>
                <a:path w="81" h="124" extrusionOk="0">
                  <a:moveTo>
                    <a:pt x="74" y="15"/>
                  </a:moveTo>
                  <a:cubicBezTo>
                    <a:pt x="56" y="57"/>
                    <a:pt x="32" y="92"/>
                    <a:pt x="0" y="123"/>
                  </a:cubicBezTo>
                  <a:cubicBezTo>
                    <a:pt x="32" y="92"/>
                    <a:pt x="56" y="57"/>
                    <a:pt x="74" y="15"/>
                  </a:cubicBezTo>
                  <a:lnTo>
                    <a:pt x="81" y="1"/>
                  </a:lnTo>
                  <a:lnTo>
                    <a:pt x="8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6" name="Google Shape;6493;p64">
              <a:extLst>
                <a:ext uri="{FF2B5EF4-FFF2-40B4-BE49-F238E27FC236}">
                  <a16:creationId xmlns:a16="http://schemas.microsoft.com/office/drawing/2014/main" id="{69DA82AC-C0E4-247C-2C46-5B29A3786349}"/>
                </a:ext>
              </a:extLst>
            </p:cNvPr>
            <p:cNvSpPr/>
            <p:nvPr/>
          </p:nvSpPr>
          <p:spPr>
            <a:xfrm>
              <a:off x="1547537" y="2033436"/>
              <a:ext cx="2009" cy="2634"/>
            </a:xfrm>
            <a:custGeom>
              <a:avLst/>
              <a:gdLst/>
              <a:ahLst/>
              <a:cxnLst/>
              <a:rect l="l" t="t" r="r" b="b"/>
              <a:pathLst>
                <a:path w="148" h="194" extrusionOk="0">
                  <a:moveTo>
                    <a:pt x="0" y="1"/>
                  </a:moveTo>
                  <a:cubicBezTo>
                    <a:pt x="39" y="71"/>
                    <a:pt x="88" y="137"/>
                    <a:pt x="147" y="193"/>
                  </a:cubicBezTo>
                  <a:cubicBezTo>
                    <a:pt x="88" y="137"/>
                    <a:pt x="39" y="7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7" name="Google Shape;6494;p64">
              <a:extLst>
                <a:ext uri="{FF2B5EF4-FFF2-40B4-BE49-F238E27FC236}">
                  <a16:creationId xmlns:a16="http://schemas.microsoft.com/office/drawing/2014/main" id="{F70E8840-E6B0-3371-671F-9CE707251DD1}"/>
                </a:ext>
              </a:extLst>
            </p:cNvPr>
            <p:cNvSpPr/>
            <p:nvPr/>
          </p:nvSpPr>
          <p:spPr>
            <a:xfrm>
              <a:off x="1546397" y="2031576"/>
              <a:ext cx="530" cy="869"/>
            </a:xfrm>
            <a:custGeom>
              <a:avLst/>
              <a:gdLst/>
              <a:ahLst/>
              <a:cxnLst/>
              <a:rect l="l" t="t" r="r" b="b"/>
              <a:pathLst>
                <a:path w="39" h="64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26"/>
                    <a:pt x="28" y="43"/>
                    <a:pt x="39" y="64"/>
                  </a:cubicBezTo>
                  <a:cubicBezTo>
                    <a:pt x="28" y="43"/>
                    <a:pt x="14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8" name="Google Shape;6495;p64">
              <a:extLst>
                <a:ext uri="{FF2B5EF4-FFF2-40B4-BE49-F238E27FC236}">
                  <a16:creationId xmlns:a16="http://schemas.microsoft.com/office/drawing/2014/main" id="{2632FC5A-14E6-C32A-A40C-D234DB16F2B3}"/>
                </a:ext>
              </a:extLst>
            </p:cNvPr>
            <p:cNvSpPr/>
            <p:nvPr/>
          </p:nvSpPr>
          <p:spPr>
            <a:xfrm>
              <a:off x="1545582" y="2030544"/>
              <a:ext cx="679" cy="910"/>
            </a:xfrm>
            <a:custGeom>
              <a:avLst/>
              <a:gdLst/>
              <a:ahLst/>
              <a:cxnLst/>
              <a:rect l="l" t="t" r="r" b="b"/>
              <a:pathLst>
                <a:path w="50" h="67" extrusionOk="0">
                  <a:moveTo>
                    <a:pt x="1" y="0"/>
                  </a:moveTo>
                  <a:cubicBezTo>
                    <a:pt x="18" y="21"/>
                    <a:pt x="36" y="46"/>
                    <a:pt x="50" y="66"/>
                  </a:cubicBezTo>
                  <a:cubicBezTo>
                    <a:pt x="36" y="42"/>
                    <a:pt x="18" y="2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9" name="Google Shape;6496;p64">
              <a:extLst>
                <a:ext uri="{FF2B5EF4-FFF2-40B4-BE49-F238E27FC236}">
                  <a16:creationId xmlns:a16="http://schemas.microsoft.com/office/drawing/2014/main" id="{9243B823-0389-114E-093E-160B757B62FF}"/>
                </a:ext>
              </a:extLst>
            </p:cNvPr>
            <p:cNvSpPr/>
            <p:nvPr/>
          </p:nvSpPr>
          <p:spPr>
            <a:xfrm>
              <a:off x="1544822" y="2029580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1" y="1"/>
                  </a:moveTo>
                  <a:cubicBezTo>
                    <a:pt x="18" y="25"/>
                    <a:pt x="39" y="50"/>
                    <a:pt x="57" y="67"/>
                  </a:cubicBezTo>
                  <a:cubicBezTo>
                    <a:pt x="39" y="46"/>
                    <a:pt x="22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0" name="Google Shape;6497;p64">
              <a:extLst>
                <a:ext uri="{FF2B5EF4-FFF2-40B4-BE49-F238E27FC236}">
                  <a16:creationId xmlns:a16="http://schemas.microsoft.com/office/drawing/2014/main" id="{56273403-BFF6-2CB2-9ACB-49A0CB24A2FE}"/>
                </a:ext>
              </a:extLst>
            </p:cNvPr>
            <p:cNvSpPr/>
            <p:nvPr/>
          </p:nvSpPr>
          <p:spPr>
            <a:xfrm>
              <a:off x="1506941" y="196037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1" name="Google Shape;6498;p64">
              <a:extLst>
                <a:ext uri="{FF2B5EF4-FFF2-40B4-BE49-F238E27FC236}">
                  <a16:creationId xmlns:a16="http://schemas.microsoft.com/office/drawing/2014/main" id="{C1FE3E65-2B96-7AF2-961E-CB728EE0A2BD}"/>
                </a:ext>
              </a:extLst>
            </p:cNvPr>
            <p:cNvSpPr/>
            <p:nvPr/>
          </p:nvSpPr>
          <p:spPr>
            <a:xfrm>
              <a:off x="1508651" y="195843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2" name="Google Shape;6499;p64">
              <a:extLst>
                <a:ext uri="{FF2B5EF4-FFF2-40B4-BE49-F238E27FC236}">
                  <a16:creationId xmlns:a16="http://schemas.microsoft.com/office/drawing/2014/main" id="{BDF5E8EE-9DDC-5B13-C8FF-F3D31D731931}"/>
                </a:ext>
              </a:extLst>
            </p:cNvPr>
            <p:cNvSpPr/>
            <p:nvPr/>
          </p:nvSpPr>
          <p:spPr>
            <a:xfrm>
              <a:off x="1508271" y="1958624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21"/>
                  </a:moveTo>
                  <a:cubicBezTo>
                    <a:pt x="8" y="14"/>
                    <a:pt x="15" y="7"/>
                    <a:pt x="22" y="0"/>
                  </a:cubicBezTo>
                  <a:cubicBezTo>
                    <a:pt x="15" y="7"/>
                    <a:pt x="8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3" name="Google Shape;6500;p64">
              <a:extLst>
                <a:ext uri="{FF2B5EF4-FFF2-40B4-BE49-F238E27FC236}">
                  <a16:creationId xmlns:a16="http://schemas.microsoft.com/office/drawing/2014/main" id="{635BBC27-B106-56D3-176F-14F4112EA8D9}"/>
                </a:ext>
              </a:extLst>
            </p:cNvPr>
            <p:cNvSpPr/>
            <p:nvPr/>
          </p:nvSpPr>
          <p:spPr>
            <a:xfrm>
              <a:off x="1507280" y="1990084"/>
              <a:ext cx="3096" cy="1086"/>
            </a:xfrm>
            <a:custGeom>
              <a:avLst/>
              <a:gdLst/>
              <a:ahLst/>
              <a:cxnLst/>
              <a:rect l="l" t="t" r="r" b="b"/>
              <a:pathLst>
                <a:path w="228" h="80" extrusionOk="0">
                  <a:moveTo>
                    <a:pt x="0" y="1"/>
                  </a:moveTo>
                  <a:cubicBezTo>
                    <a:pt x="52" y="52"/>
                    <a:pt x="121" y="80"/>
                    <a:pt x="193" y="80"/>
                  </a:cubicBezTo>
                  <a:cubicBezTo>
                    <a:pt x="205" y="80"/>
                    <a:pt x="216" y="79"/>
                    <a:pt x="228" y="78"/>
                  </a:cubicBezTo>
                  <a:lnTo>
                    <a:pt x="228" y="78"/>
                  </a:lnTo>
                  <a:cubicBezTo>
                    <a:pt x="222" y="78"/>
                    <a:pt x="216" y="78"/>
                    <a:pt x="211" y="78"/>
                  </a:cubicBezTo>
                  <a:cubicBezTo>
                    <a:pt x="118" y="78"/>
                    <a:pt x="50" y="50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4" name="Google Shape;6501;p64">
              <a:extLst>
                <a:ext uri="{FF2B5EF4-FFF2-40B4-BE49-F238E27FC236}">
                  <a16:creationId xmlns:a16="http://schemas.microsoft.com/office/drawing/2014/main" id="{37B2B11B-E0B7-E643-26E7-C8FB2ABE4DD2}"/>
                </a:ext>
              </a:extLst>
            </p:cNvPr>
            <p:cNvSpPr/>
            <p:nvPr/>
          </p:nvSpPr>
          <p:spPr>
            <a:xfrm>
              <a:off x="1614271" y="1998868"/>
              <a:ext cx="28730" cy="30970"/>
            </a:xfrm>
            <a:custGeom>
              <a:avLst/>
              <a:gdLst/>
              <a:ahLst/>
              <a:cxnLst/>
              <a:rect l="l" t="t" r="r" b="b"/>
              <a:pathLst>
                <a:path w="2116" h="2281" extrusionOk="0">
                  <a:moveTo>
                    <a:pt x="758" y="0"/>
                  </a:moveTo>
                  <a:cubicBezTo>
                    <a:pt x="705" y="0"/>
                    <a:pt x="641" y="31"/>
                    <a:pt x="575" y="85"/>
                  </a:cubicBezTo>
                  <a:cubicBezTo>
                    <a:pt x="561" y="96"/>
                    <a:pt x="543" y="106"/>
                    <a:pt x="526" y="110"/>
                  </a:cubicBezTo>
                  <a:lnTo>
                    <a:pt x="522" y="117"/>
                  </a:lnTo>
                  <a:lnTo>
                    <a:pt x="515" y="145"/>
                  </a:lnTo>
                  <a:lnTo>
                    <a:pt x="508" y="162"/>
                  </a:lnTo>
                  <a:lnTo>
                    <a:pt x="501" y="183"/>
                  </a:lnTo>
                  <a:lnTo>
                    <a:pt x="494" y="204"/>
                  </a:lnTo>
                  <a:lnTo>
                    <a:pt x="487" y="222"/>
                  </a:lnTo>
                  <a:cubicBezTo>
                    <a:pt x="487" y="229"/>
                    <a:pt x="484" y="236"/>
                    <a:pt x="484" y="243"/>
                  </a:cubicBezTo>
                  <a:cubicBezTo>
                    <a:pt x="480" y="250"/>
                    <a:pt x="480" y="253"/>
                    <a:pt x="480" y="260"/>
                  </a:cubicBezTo>
                  <a:cubicBezTo>
                    <a:pt x="477" y="264"/>
                    <a:pt x="477" y="271"/>
                    <a:pt x="473" y="278"/>
                  </a:cubicBezTo>
                  <a:cubicBezTo>
                    <a:pt x="473" y="285"/>
                    <a:pt x="473" y="288"/>
                    <a:pt x="473" y="292"/>
                  </a:cubicBezTo>
                  <a:cubicBezTo>
                    <a:pt x="470" y="295"/>
                    <a:pt x="473" y="306"/>
                    <a:pt x="473" y="313"/>
                  </a:cubicBezTo>
                  <a:lnTo>
                    <a:pt x="473" y="323"/>
                  </a:lnTo>
                  <a:cubicBezTo>
                    <a:pt x="473" y="330"/>
                    <a:pt x="473" y="337"/>
                    <a:pt x="473" y="341"/>
                  </a:cubicBezTo>
                  <a:lnTo>
                    <a:pt x="473" y="348"/>
                  </a:lnTo>
                  <a:cubicBezTo>
                    <a:pt x="473" y="355"/>
                    <a:pt x="473" y="362"/>
                    <a:pt x="477" y="369"/>
                  </a:cubicBezTo>
                  <a:cubicBezTo>
                    <a:pt x="501" y="415"/>
                    <a:pt x="512" y="467"/>
                    <a:pt x="498" y="516"/>
                  </a:cubicBezTo>
                  <a:cubicBezTo>
                    <a:pt x="494" y="534"/>
                    <a:pt x="491" y="548"/>
                    <a:pt x="484" y="562"/>
                  </a:cubicBezTo>
                  <a:cubicBezTo>
                    <a:pt x="417" y="681"/>
                    <a:pt x="242" y="712"/>
                    <a:pt x="172" y="723"/>
                  </a:cubicBezTo>
                  <a:cubicBezTo>
                    <a:pt x="127" y="726"/>
                    <a:pt x="106" y="838"/>
                    <a:pt x="88" y="926"/>
                  </a:cubicBezTo>
                  <a:cubicBezTo>
                    <a:pt x="71" y="1017"/>
                    <a:pt x="50" y="1111"/>
                    <a:pt x="1" y="1167"/>
                  </a:cubicBezTo>
                  <a:cubicBezTo>
                    <a:pt x="18" y="1202"/>
                    <a:pt x="109" y="1283"/>
                    <a:pt x="172" y="1342"/>
                  </a:cubicBezTo>
                  <a:cubicBezTo>
                    <a:pt x="288" y="1444"/>
                    <a:pt x="417" y="1559"/>
                    <a:pt x="459" y="1678"/>
                  </a:cubicBezTo>
                  <a:lnTo>
                    <a:pt x="470" y="1696"/>
                  </a:lnTo>
                  <a:lnTo>
                    <a:pt x="470" y="1699"/>
                  </a:lnTo>
                  <a:lnTo>
                    <a:pt x="477" y="1717"/>
                  </a:lnTo>
                  <a:lnTo>
                    <a:pt x="477" y="1724"/>
                  </a:lnTo>
                  <a:lnTo>
                    <a:pt x="487" y="1741"/>
                  </a:lnTo>
                  <a:lnTo>
                    <a:pt x="491" y="1752"/>
                  </a:lnTo>
                  <a:lnTo>
                    <a:pt x="498" y="1769"/>
                  </a:lnTo>
                  <a:lnTo>
                    <a:pt x="505" y="1780"/>
                  </a:lnTo>
                  <a:lnTo>
                    <a:pt x="512" y="1801"/>
                  </a:lnTo>
                  <a:lnTo>
                    <a:pt x="519" y="1811"/>
                  </a:lnTo>
                  <a:lnTo>
                    <a:pt x="529" y="1832"/>
                  </a:lnTo>
                  <a:lnTo>
                    <a:pt x="536" y="1846"/>
                  </a:lnTo>
                  <a:lnTo>
                    <a:pt x="547" y="1867"/>
                  </a:lnTo>
                  <a:lnTo>
                    <a:pt x="554" y="1881"/>
                  </a:lnTo>
                  <a:lnTo>
                    <a:pt x="564" y="1902"/>
                  </a:lnTo>
                  <a:lnTo>
                    <a:pt x="575" y="1920"/>
                  </a:lnTo>
                  <a:lnTo>
                    <a:pt x="585" y="1941"/>
                  </a:lnTo>
                  <a:lnTo>
                    <a:pt x="596" y="1962"/>
                  </a:lnTo>
                  <a:lnTo>
                    <a:pt x="606" y="1979"/>
                  </a:lnTo>
                  <a:lnTo>
                    <a:pt x="620" y="2004"/>
                  </a:lnTo>
                  <a:lnTo>
                    <a:pt x="631" y="2021"/>
                  </a:lnTo>
                  <a:lnTo>
                    <a:pt x="645" y="2053"/>
                  </a:lnTo>
                  <a:lnTo>
                    <a:pt x="655" y="2067"/>
                  </a:lnTo>
                  <a:lnTo>
                    <a:pt x="673" y="2102"/>
                  </a:lnTo>
                  <a:lnTo>
                    <a:pt x="680" y="2112"/>
                  </a:lnTo>
                  <a:lnTo>
                    <a:pt x="701" y="2151"/>
                  </a:lnTo>
                  <a:lnTo>
                    <a:pt x="708" y="2158"/>
                  </a:lnTo>
                  <a:lnTo>
                    <a:pt x="732" y="2203"/>
                  </a:lnTo>
                  <a:lnTo>
                    <a:pt x="736" y="2210"/>
                  </a:lnTo>
                  <a:lnTo>
                    <a:pt x="760" y="2256"/>
                  </a:lnTo>
                  <a:cubicBezTo>
                    <a:pt x="806" y="2270"/>
                    <a:pt x="855" y="2277"/>
                    <a:pt x="900" y="2280"/>
                  </a:cubicBezTo>
                  <a:lnTo>
                    <a:pt x="928" y="2266"/>
                  </a:lnTo>
                  <a:lnTo>
                    <a:pt x="970" y="2266"/>
                  </a:lnTo>
                  <a:cubicBezTo>
                    <a:pt x="974" y="2266"/>
                    <a:pt x="981" y="2263"/>
                    <a:pt x="988" y="2259"/>
                  </a:cubicBezTo>
                  <a:cubicBezTo>
                    <a:pt x="995" y="2256"/>
                    <a:pt x="1002" y="2249"/>
                    <a:pt x="1009" y="2242"/>
                  </a:cubicBezTo>
                  <a:cubicBezTo>
                    <a:pt x="1026" y="2207"/>
                    <a:pt x="1037" y="2165"/>
                    <a:pt x="1040" y="2126"/>
                  </a:cubicBezTo>
                  <a:cubicBezTo>
                    <a:pt x="1054" y="2043"/>
                    <a:pt x="1073" y="1905"/>
                    <a:pt x="1231" y="1905"/>
                  </a:cubicBezTo>
                  <a:cubicBezTo>
                    <a:pt x="1238" y="1905"/>
                    <a:pt x="1246" y="1905"/>
                    <a:pt x="1254" y="1906"/>
                  </a:cubicBezTo>
                  <a:cubicBezTo>
                    <a:pt x="1267" y="1906"/>
                    <a:pt x="1281" y="1907"/>
                    <a:pt x="1294" y="1907"/>
                  </a:cubicBezTo>
                  <a:cubicBezTo>
                    <a:pt x="1362" y="1907"/>
                    <a:pt x="1432" y="1899"/>
                    <a:pt x="1499" y="1885"/>
                  </a:cubicBezTo>
                  <a:cubicBezTo>
                    <a:pt x="1541" y="1881"/>
                    <a:pt x="1583" y="1874"/>
                    <a:pt x="1621" y="1871"/>
                  </a:cubicBezTo>
                  <a:lnTo>
                    <a:pt x="1625" y="1871"/>
                  </a:lnTo>
                  <a:lnTo>
                    <a:pt x="1653" y="1867"/>
                  </a:lnTo>
                  <a:lnTo>
                    <a:pt x="1776" y="1867"/>
                  </a:lnTo>
                  <a:lnTo>
                    <a:pt x="1790" y="1871"/>
                  </a:lnTo>
                  <a:lnTo>
                    <a:pt x="1800" y="1874"/>
                  </a:lnTo>
                  <a:lnTo>
                    <a:pt x="1814" y="1878"/>
                  </a:lnTo>
                  <a:lnTo>
                    <a:pt x="1825" y="1881"/>
                  </a:lnTo>
                  <a:lnTo>
                    <a:pt x="1835" y="1885"/>
                  </a:lnTo>
                  <a:lnTo>
                    <a:pt x="1846" y="1892"/>
                  </a:lnTo>
                  <a:lnTo>
                    <a:pt x="1856" y="1895"/>
                  </a:lnTo>
                  <a:lnTo>
                    <a:pt x="1867" y="1902"/>
                  </a:lnTo>
                  <a:lnTo>
                    <a:pt x="1877" y="1909"/>
                  </a:lnTo>
                  <a:lnTo>
                    <a:pt x="1884" y="1920"/>
                  </a:lnTo>
                  <a:lnTo>
                    <a:pt x="1895" y="1927"/>
                  </a:lnTo>
                  <a:lnTo>
                    <a:pt x="1902" y="1937"/>
                  </a:lnTo>
                  <a:lnTo>
                    <a:pt x="1905" y="1944"/>
                  </a:lnTo>
                  <a:lnTo>
                    <a:pt x="1937" y="1895"/>
                  </a:lnTo>
                  <a:lnTo>
                    <a:pt x="1951" y="1874"/>
                  </a:lnTo>
                  <a:lnTo>
                    <a:pt x="1958" y="1867"/>
                  </a:lnTo>
                  <a:lnTo>
                    <a:pt x="1968" y="1846"/>
                  </a:lnTo>
                  <a:lnTo>
                    <a:pt x="1972" y="1839"/>
                  </a:lnTo>
                  <a:lnTo>
                    <a:pt x="1986" y="1822"/>
                  </a:lnTo>
                  <a:lnTo>
                    <a:pt x="2003" y="1790"/>
                  </a:lnTo>
                  <a:lnTo>
                    <a:pt x="2007" y="1783"/>
                  </a:lnTo>
                  <a:lnTo>
                    <a:pt x="2010" y="1776"/>
                  </a:lnTo>
                  <a:cubicBezTo>
                    <a:pt x="2038" y="1720"/>
                    <a:pt x="2045" y="1332"/>
                    <a:pt x="1951" y="1104"/>
                  </a:cubicBezTo>
                  <a:cubicBezTo>
                    <a:pt x="1877" y="912"/>
                    <a:pt x="1888" y="698"/>
                    <a:pt x="1972" y="509"/>
                  </a:cubicBezTo>
                  <a:cubicBezTo>
                    <a:pt x="1993" y="460"/>
                    <a:pt x="2024" y="418"/>
                    <a:pt x="2063" y="383"/>
                  </a:cubicBezTo>
                  <a:lnTo>
                    <a:pt x="2063" y="380"/>
                  </a:lnTo>
                  <a:lnTo>
                    <a:pt x="2063" y="376"/>
                  </a:lnTo>
                  <a:lnTo>
                    <a:pt x="2063" y="373"/>
                  </a:lnTo>
                  <a:lnTo>
                    <a:pt x="2063" y="369"/>
                  </a:lnTo>
                  <a:lnTo>
                    <a:pt x="2063" y="366"/>
                  </a:lnTo>
                  <a:lnTo>
                    <a:pt x="2063" y="362"/>
                  </a:lnTo>
                  <a:lnTo>
                    <a:pt x="2063" y="358"/>
                  </a:lnTo>
                  <a:lnTo>
                    <a:pt x="2066" y="351"/>
                  </a:lnTo>
                  <a:lnTo>
                    <a:pt x="2066" y="348"/>
                  </a:lnTo>
                  <a:lnTo>
                    <a:pt x="2070" y="341"/>
                  </a:lnTo>
                  <a:lnTo>
                    <a:pt x="2070" y="337"/>
                  </a:lnTo>
                  <a:lnTo>
                    <a:pt x="2077" y="320"/>
                  </a:lnTo>
                  <a:lnTo>
                    <a:pt x="2080" y="306"/>
                  </a:lnTo>
                  <a:lnTo>
                    <a:pt x="2084" y="299"/>
                  </a:lnTo>
                  <a:lnTo>
                    <a:pt x="2087" y="285"/>
                  </a:lnTo>
                  <a:lnTo>
                    <a:pt x="2091" y="278"/>
                  </a:lnTo>
                  <a:lnTo>
                    <a:pt x="2094" y="264"/>
                  </a:lnTo>
                  <a:lnTo>
                    <a:pt x="2098" y="253"/>
                  </a:lnTo>
                  <a:lnTo>
                    <a:pt x="2101" y="243"/>
                  </a:lnTo>
                  <a:lnTo>
                    <a:pt x="2105" y="229"/>
                  </a:lnTo>
                  <a:lnTo>
                    <a:pt x="2108" y="215"/>
                  </a:lnTo>
                  <a:lnTo>
                    <a:pt x="2115" y="201"/>
                  </a:lnTo>
                  <a:lnTo>
                    <a:pt x="2115" y="197"/>
                  </a:lnTo>
                  <a:cubicBezTo>
                    <a:pt x="1964" y="140"/>
                    <a:pt x="1829" y="96"/>
                    <a:pt x="1712" y="96"/>
                  </a:cubicBezTo>
                  <a:cubicBezTo>
                    <a:pt x="1693" y="96"/>
                    <a:pt x="1674" y="97"/>
                    <a:pt x="1656" y="99"/>
                  </a:cubicBezTo>
                  <a:cubicBezTo>
                    <a:pt x="1579" y="110"/>
                    <a:pt x="1499" y="124"/>
                    <a:pt x="1422" y="141"/>
                  </a:cubicBezTo>
                  <a:cubicBezTo>
                    <a:pt x="1316" y="165"/>
                    <a:pt x="1212" y="188"/>
                    <a:pt x="1121" y="188"/>
                  </a:cubicBezTo>
                  <a:cubicBezTo>
                    <a:pt x="1025" y="188"/>
                    <a:pt x="944" y="163"/>
                    <a:pt x="890" y="85"/>
                  </a:cubicBezTo>
                  <a:cubicBezTo>
                    <a:pt x="865" y="43"/>
                    <a:pt x="823" y="12"/>
                    <a:pt x="774" y="1"/>
                  </a:cubicBezTo>
                  <a:cubicBezTo>
                    <a:pt x="769" y="1"/>
                    <a:pt x="764" y="0"/>
                    <a:pt x="75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5" name="Google Shape;6502;p64">
              <a:extLst>
                <a:ext uri="{FF2B5EF4-FFF2-40B4-BE49-F238E27FC236}">
                  <a16:creationId xmlns:a16="http://schemas.microsoft.com/office/drawing/2014/main" id="{2B92E65C-6E8F-FFF2-FBFA-2DC5B3593A3C}"/>
                </a:ext>
              </a:extLst>
            </p:cNvPr>
            <p:cNvSpPr/>
            <p:nvPr/>
          </p:nvSpPr>
          <p:spPr>
            <a:xfrm>
              <a:off x="1636321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6" name="Google Shape;6503;p64">
              <a:extLst>
                <a:ext uri="{FF2B5EF4-FFF2-40B4-BE49-F238E27FC236}">
                  <a16:creationId xmlns:a16="http://schemas.microsoft.com/office/drawing/2014/main" id="{901045E7-5DAB-33E4-34EE-E811CBD2A08E}"/>
                </a:ext>
              </a:extLst>
            </p:cNvPr>
            <p:cNvSpPr/>
            <p:nvPr/>
          </p:nvSpPr>
          <p:spPr>
            <a:xfrm>
              <a:off x="1639185" y="202444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7" name="Google Shape;6504;p64">
              <a:extLst>
                <a:ext uri="{FF2B5EF4-FFF2-40B4-BE49-F238E27FC236}">
                  <a16:creationId xmlns:a16="http://schemas.microsoft.com/office/drawing/2014/main" id="{DB92F774-FD01-2804-12F9-F12B1DE363F8}"/>
                </a:ext>
              </a:extLst>
            </p:cNvPr>
            <p:cNvSpPr/>
            <p:nvPr/>
          </p:nvSpPr>
          <p:spPr>
            <a:xfrm>
              <a:off x="1636796" y="20241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8" name="Google Shape;6505;p64">
              <a:extLst>
                <a:ext uri="{FF2B5EF4-FFF2-40B4-BE49-F238E27FC236}">
                  <a16:creationId xmlns:a16="http://schemas.microsoft.com/office/drawing/2014/main" id="{B6A29E83-F4A6-3F06-9CE8-B1EE436F2411}"/>
                </a:ext>
              </a:extLst>
            </p:cNvPr>
            <p:cNvSpPr/>
            <p:nvPr/>
          </p:nvSpPr>
          <p:spPr>
            <a:xfrm>
              <a:off x="1638900" y="202431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9" name="Google Shape;6506;p64">
              <a:extLst>
                <a:ext uri="{FF2B5EF4-FFF2-40B4-BE49-F238E27FC236}">
                  <a16:creationId xmlns:a16="http://schemas.microsoft.com/office/drawing/2014/main" id="{E423ED07-41A9-6288-829A-17DA56E864B1}"/>
                </a:ext>
              </a:extLst>
            </p:cNvPr>
            <p:cNvSpPr/>
            <p:nvPr/>
          </p:nvSpPr>
          <p:spPr>
            <a:xfrm>
              <a:off x="1626871" y="202963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0" name="Google Shape;6507;p64">
              <a:extLst>
                <a:ext uri="{FF2B5EF4-FFF2-40B4-BE49-F238E27FC236}">
                  <a16:creationId xmlns:a16="http://schemas.microsoft.com/office/drawing/2014/main" id="{53C657DD-6732-593B-C911-755B976BF4F7}"/>
                </a:ext>
              </a:extLst>
            </p:cNvPr>
            <p:cNvSpPr/>
            <p:nvPr/>
          </p:nvSpPr>
          <p:spPr>
            <a:xfrm>
              <a:off x="1639471" y="202459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1" name="Google Shape;6508;p64">
              <a:extLst>
                <a:ext uri="{FF2B5EF4-FFF2-40B4-BE49-F238E27FC236}">
                  <a16:creationId xmlns:a16="http://schemas.microsoft.com/office/drawing/2014/main" id="{445D834F-646B-216E-3392-75188B5E1B86}"/>
                </a:ext>
              </a:extLst>
            </p:cNvPr>
            <p:cNvSpPr/>
            <p:nvPr/>
          </p:nvSpPr>
          <p:spPr>
            <a:xfrm>
              <a:off x="1627441" y="2029255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0" y="25"/>
                  </a:moveTo>
                  <a:cubicBezTo>
                    <a:pt x="4" y="25"/>
                    <a:pt x="11" y="21"/>
                    <a:pt x="18" y="18"/>
                  </a:cubicBezTo>
                  <a:cubicBezTo>
                    <a:pt x="25" y="14"/>
                    <a:pt x="32" y="7"/>
                    <a:pt x="39" y="0"/>
                  </a:cubicBezTo>
                  <a:cubicBezTo>
                    <a:pt x="32" y="7"/>
                    <a:pt x="25" y="14"/>
                    <a:pt x="18" y="18"/>
                  </a:cubicBezTo>
                  <a:cubicBezTo>
                    <a:pt x="11" y="21"/>
                    <a:pt x="4" y="25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2" name="Google Shape;6509;p64">
              <a:extLst>
                <a:ext uri="{FF2B5EF4-FFF2-40B4-BE49-F238E27FC236}">
                  <a16:creationId xmlns:a16="http://schemas.microsoft.com/office/drawing/2014/main" id="{048BB868-2B61-DEF6-41BF-E2F183E60830}"/>
                </a:ext>
              </a:extLst>
            </p:cNvPr>
            <p:cNvSpPr/>
            <p:nvPr/>
          </p:nvSpPr>
          <p:spPr>
            <a:xfrm>
              <a:off x="1627156" y="20295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3" name="Google Shape;6510;p64">
              <a:extLst>
                <a:ext uri="{FF2B5EF4-FFF2-40B4-BE49-F238E27FC236}">
                  <a16:creationId xmlns:a16="http://schemas.microsoft.com/office/drawing/2014/main" id="{2F1620A3-0473-FB99-241E-364211B568E1}"/>
                </a:ext>
              </a:extLst>
            </p:cNvPr>
            <p:cNvSpPr/>
            <p:nvPr/>
          </p:nvSpPr>
          <p:spPr>
            <a:xfrm>
              <a:off x="1638561" y="2024258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4" name="Google Shape;6511;p64">
              <a:extLst>
                <a:ext uri="{FF2B5EF4-FFF2-40B4-BE49-F238E27FC236}">
                  <a16:creationId xmlns:a16="http://schemas.microsoft.com/office/drawing/2014/main" id="{8EA7F493-76D8-23A4-7D4F-D00A403E7842}"/>
                </a:ext>
              </a:extLst>
            </p:cNvPr>
            <p:cNvSpPr/>
            <p:nvPr/>
          </p:nvSpPr>
          <p:spPr>
            <a:xfrm>
              <a:off x="1637475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5" name="Google Shape;6512;p64">
              <a:extLst>
                <a:ext uri="{FF2B5EF4-FFF2-40B4-BE49-F238E27FC236}">
                  <a16:creationId xmlns:a16="http://schemas.microsoft.com/office/drawing/2014/main" id="{11363DBF-120A-1815-F587-7EE86798BC4E}"/>
                </a:ext>
              </a:extLst>
            </p:cNvPr>
            <p:cNvSpPr/>
            <p:nvPr/>
          </p:nvSpPr>
          <p:spPr>
            <a:xfrm>
              <a:off x="1637230" y="20241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6" name="Google Shape;6513;p64">
              <a:extLst>
                <a:ext uri="{FF2B5EF4-FFF2-40B4-BE49-F238E27FC236}">
                  <a16:creationId xmlns:a16="http://schemas.microsoft.com/office/drawing/2014/main" id="{EA2CF511-72E7-E5A1-8C5B-621ACBE311CC}"/>
                </a:ext>
              </a:extLst>
            </p:cNvPr>
            <p:cNvSpPr/>
            <p:nvPr/>
          </p:nvSpPr>
          <p:spPr>
            <a:xfrm>
              <a:off x="1638235" y="20242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7" name="Google Shape;6514;p64">
              <a:extLst>
                <a:ext uri="{FF2B5EF4-FFF2-40B4-BE49-F238E27FC236}">
                  <a16:creationId xmlns:a16="http://schemas.microsoft.com/office/drawing/2014/main" id="{FB92810B-61E8-842C-27E3-870DE283ED31}"/>
                </a:ext>
              </a:extLst>
            </p:cNvPr>
            <p:cNvSpPr/>
            <p:nvPr/>
          </p:nvSpPr>
          <p:spPr>
            <a:xfrm>
              <a:off x="1639756" y="2024788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8" name="Google Shape;6515;p64">
              <a:extLst>
                <a:ext uri="{FF2B5EF4-FFF2-40B4-BE49-F238E27FC236}">
                  <a16:creationId xmlns:a16="http://schemas.microsoft.com/office/drawing/2014/main" id="{24666899-2966-5CA1-439C-D018F1110BD6}"/>
                </a:ext>
              </a:extLst>
            </p:cNvPr>
            <p:cNvSpPr/>
            <p:nvPr/>
          </p:nvSpPr>
          <p:spPr>
            <a:xfrm>
              <a:off x="1637855" y="202416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9" name="Google Shape;6516;p64">
              <a:extLst>
                <a:ext uri="{FF2B5EF4-FFF2-40B4-BE49-F238E27FC236}">
                  <a16:creationId xmlns:a16="http://schemas.microsoft.com/office/drawing/2014/main" id="{500B234B-F67D-2284-743A-9BE99A9CA14E}"/>
                </a:ext>
              </a:extLst>
            </p:cNvPr>
            <p:cNvSpPr/>
            <p:nvPr/>
          </p:nvSpPr>
          <p:spPr>
            <a:xfrm>
              <a:off x="1639946" y="2025018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0" name="Google Shape;6517;p64">
              <a:extLst>
                <a:ext uri="{FF2B5EF4-FFF2-40B4-BE49-F238E27FC236}">
                  <a16:creationId xmlns:a16="http://schemas.microsoft.com/office/drawing/2014/main" id="{8D64F571-E4B1-06D7-3909-2837E6CE46E2}"/>
                </a:ext>
              </a:extLst>
            </p:cNvPr>
            <p:cNvSpPr/>
            <p:nvPr/>
          </p:nvSpPr>
          <p:spPr>
            <a:xfrm>
              <a:off x="1589940" y="1981910"/>
              <a:ext cx="32613" cy="51690"/>
            </a:xfrm>
            <a:custGeom>
              <a:avLst/>
              <a:gdLst/>
              <a:ahLst/>
              <a:cxnLst/>
              <a:rect l="l" t="t" r="r" b="b"/>
              <a:pathLst>
                <a:path w="2402" h="3807" extrusionOk="0">
                  <a:moveTo>
                    <a:pt x="791" y="1"/>
                  </a:moveTo>
                  <a:cubicBezTo>
                    <a:pt x="784" y="15"/>
                    <a:pt x="774" y="32"/>
                    <a:pt x="767" y="43"/>
                  </a:cubicBezTo>
                  <a:lnTo>
                    <a:pt x="756" y="57"/>
                  </a:lnTo>
                  <a:lnTo>
                    <a:pt x="739" y="85"/>
                  </a:lnTo>
                  <a:lnTo>
                    <a:pt x="728" y="99"/>
                  </a:lnTo>
                  <a:lnTo>
                    <a:pt x="711" y="123"/>
                  </a:lnTo>
                  <a:lnTo>
                    <a:pt x="700" y="137"/>
                  </a:lnTo>
                  <a:lnTo>
                    <a:pt x="683" y="158"/>
                  </a:lnTo>
                  <a:lnTo>
                    <a:pt x="672" y="169"/>
                  </a:lnTo>
                  <a:lnTo>
                    <a:pt x="655" y="186"/>
                  </a:lnTo>
                  <a:lnTo>
                    <a:pt x="644" y="197"/>
                  </a:lnTo>
                  <a:lnTo>
                    <a:pt x="627" y="211"/>
                  </a:lnTo>
                  <a:lnTo>
                    <a:pt x="620" y="218"/>
                  </a:lnTo>
                  <a:cubicBezTo>
                    <a:pt x="613" y="225"/>
                    <a:pt x="602" y="228"/>
                    <a:pt x="595" y="235"/>
                  </a:cubicBezTo>
                  <a:cubicBezTo>
                    <a:pt x="553" y="260"/>
                    <a:pt x="518" y="288"/>
                    <a:pt x="483" y="323"/>
                  </a:cubicBezTo>
                  <a:cubicBezTo>
                    <a:pt x="462" y="344"/>
                    <a:pt x="441" y="368"/>
                    <a:pt x="420" y="393"/>
                  </a:cubicBezTo>
                  <a:cubicBezTo>
                    <a:pt x="413" y="407"/>
                    <a:pt x="403" y="421"/>
                    <a:pt x="396" y="438"/>
                  </a:cubicBezTo>
                  <a:cubicBezTo>
                    <a:pt x="389" y="449"/>
                    <a:pt x="385" y="463"/>
                    <a:pt x="385" y="477"/>
                  </a:cubicBezTo>
                  <a:cubicBezTo>
                    <a:pt x="385" y="484"/>
                    <a:pt x="385" y="487"/>
                    <a:pt x="399" y="494"/>
                  </a:cubicBezTo>
                  <a:cubicBezTo>
                    <a:pt x="501" y="554"/>
                    <a:pt x="557" y="659"/>
                    <a:pt x="536" y="753"/>
                  </a:cubicBezTo>
                  <a:cubicBezTo>
                    <a:pt x="525" y="795"/>
                    <a:pt x="483" y="900"/>
                    <a:pt x="294" y="914"/>
                  </a:cubicBezTo>
                  <a:cubicBezTo>
                    <a:pt x="196" y="921"/>
                    <a:pt x="133" y="939"/>
                    <a:pt x="109" y="970"/>
                  </a:cubicBezTo>
                  <a:cubicBezTo>
                    <a:pt x="91" y="995"/>
                    <a:pt x="88" y="1030"/>
                    <a:pt x="98" y="1093"/>
                  </a:cubicBezTo>
                  <a:cubicBezTo>
                    <a:pt x="105" y="1166"/>
                    <a:pt x="81" y="1236"/>
                    <a:pt x="32" y="1289"/>
                  </a:cubicBezTo>
                  <a:cubicBezTo>
                    <a:pt x="18" y="1303"/>
                    <a:pt x="11" y="1317"/>
                    <a:pt x="0" y="1334"/>
                  </a:cubicBezTo>
                  <a:cubicBezTo>
                    <a:pt x="0" y="1334"/>
                    <a:pt x="7" y="1338"/>
                    <a:pt x="14" y="1348"/>
                  </a:cubicBezTo>
                  <a:cubicBezTo>
                    <a:pt x="25" y="1355"/>
                    <a:pt x="32" y="1362"/>
                    <a:pt x="42" y="1369"/>
                  </a:cubicBezTo>
                  <a:lnTo>
                    <a:pt x="49" y="1380"/>
                  </a:lnTo>
                  <a:lnTo>
                    <a:pt x="70" y="1401"/>
                  </a:lnTo>
                  <a:lnTo>
                    <a:pt x="84" y="1418"/>
                  </a:lnTo>
                  <a:lnTo>
                    <a:pt x="109" y="1443"/>
                  </a:lnTo>
                  <a:lnTo>
                    <a:pt x="123" y="1460"/>
                  </a:lnTo>
                  <a:lnTo>
                    <a:pt x="147" y="1492"/>
                  </a:lnTo>
                  <a:lnTo>
                    <a:pt x="165" y="1513"/>
                  </a:lnTo>
                  <a:lnTo>
                    <a:pt x="193" y="1548"/>
                  </a:lnTo>
                  <a:lnTo>
                    <a:pt x="214" y="1572"/>
                  </a:lnTo>
                  <a:lnTo>
                    <a:pt x="245" y="1615"/>
                  </a:lnTo>
                  <a:lnTo>
                    <a:pt x="266" y="1643"/>
                  </a:lnTo>
                  <a:lnTo>
                    <a:pt x="305" y="1692"/>
                  </a:lnTo>
                  <a:lnTo>
                    <a:pt x="322" y="1716"/>
                  </a:lnTo>
                  <a:lnTo>
                    <a:pt x="329" y="1727"/>
                  </a:lnTo>
                  <a:lnTo>
                    <a:pt x="336" y="1723"/>
                  </a:lnTo>
                  <a:lnTo>
                    <a:pt x="343" y="1713"/>
                  </a:lnTo>
                  <a:cubicBezTo>
                    <a:pt x="382" y="1678"/>
                    <a:pt x="434" y="1657"/>
                    <a:pt x="490" y="1657"/>
                  </a:cubicBezTo>
                  <a:lnTo>
                    <a:pt x="497" y="1657"/>
                  </a:lnTo>
                  <a:cubicBezTo>
                    <a:pt x="508" y="1657"/>
                    <a:pt x="522" y="1660"/>
                    <a:pt x="536" y="1660"/>
                  </a:cubicBezTo>
                  <a:cubicBezTo>
                    <a:pt x="658" y="1678"/>
                    <a:pt x="700" y="1762"/>
                    <a:pt x="714" y="1842"/>
                  </a:cubicBezTo>
                  <a:cubicBezTo>
                    <a:pt x="718" y="1860"/>
                    <a:pt x="721" y="1874"/>
                    <a:pt x="721" y="1888"/>
                  </a:cubicBezTo>
                  <a:cubicBezTo>
                    <a:pt x="725" y="1909"/>
                    <a:pt x="725" y="1930"/>
                    <a:pt x="725" y="1951"/>
                  </a:cubicBezTo>
                  <a:cubicBezTo>
                    <a:pt x="732" y="2045"/>
                    <a:pt x="739" y="2105"/>
                    <a:pt x="784" y="2126"/>
                  </a:cubicBezTo>
                  <a:cubicBezTo>
                    <a:pt x="886" y="2175"/>
                    <a:pt x="952" y="2273"/>
                    <a:pt x="963" y="2388"/>
                  </a:cubicBezTo>
                  <a:cubicBezTo>
                    <a:pt x="977" y="2504"/>
                    <a:pt x="935" y="2619"/>
                    <a:pt x="844" y="2696"/>
                  </a:cubicBezTo>
                  <a:cubicBezTo>
                    <a:pt x="840" y="2700"/>
                    <a:pt x="837" y="2703"/>
                    <a:pt x="833" y="2707"/>
                  </a:cubicBezTo>
                  <a:cubicBezTo>
                    <a:pt x="795" y="2766"/>
                    <a:pt x="774" y="2840"/>
                    <a:pt x="770" y="2913"/>
                  </a:cubicBezTo>
                  <a:cubicBezTo>
                    <a:pt x="753" y="3102"/>
                    <a:pt x="795" y="3375"/>
                    <a:pt x="970" y="3568"/>
                  </a:cubicBezTo>
                  <a:cubicBezTo>
                    <a:pt x="1159" y="3778"/>
                    <a:pt x="1299" y="3806"/>
                    <a:pt x="1365" y="3806"/>
                  </a:cubicBezTo>
                  <a:cubicBezTo>
                    <a:pt x="1401" y="3806"/>
                    <a:pt x="1436" y="3792"/>
                    <a:pt x="1460" y="3768"/>
                  </a:cubicBezTo>
                  <a:cubicBezTo>
                    <a:pt x="1506" y="3712"/>
                    <a:pt x="1586" y="3705"/>
                    <a:pt x="1660" y="3698"/>
                  </a:cubicBezTo>
                  <a:cubicBezTo>
                    <a:pt x="1737" y="3694"/>
                    <a:pt x="1796" y="3687"/>
                    <a:pt x="1814" y="3648"/>
                  </a:cubicBezTo>
                  <a:cubicBezTo>
                    <a:pt x="1838" y="3591"/>
                    <a:pt x="1897" y="3551"/>
                    <a:pt x="1958" y="3551"/>
                  </a:cubicBezTo>
                  <a:cubicBezTo>
                    <a:pt x="1967" y="3551"/>
                    <a:pt x="1976" y="3552"/>
                    <a:pt x="1985" y="3554"/>
                  </a:cubicBezTo>
                  <a:cubicBezTo>
                    <a:pt x="1991" y="3555"/>
                    <a:pt x="1997" y="3555"/>
                    <a:pt x="2003" y="3555"/>
                  </a:cubicBezTo>
                  <a:cubicBezTo>
                    <a:pt x="2042" y="3555"/>
                    <a:pt x="2079" y="3535"/>
                    <a:pt x="2101" y="3501"/>
                  </a:cubicBezTo>
                  <a:cubicBezTo>
                    <a:pt x="2111" y="3494"/>
                    <a:pt x="2118" y="3487"/>
                    <a:pt x="2129" y="3480"/>
                  </a:cubicBezTo>
                  <a:lnTo>
                    <a:pt x="2136" y="3473"/>
                  </a:lnTo>
                  <a:cubicBezTo>
                    <a:pt x="2143" y="3470"/>
                    <a:pt x="2153" y="3463"/>
                    <a:pt x="2160" y="3459"/>
                  </a:cubicBezTo>
                  <a:lnTo>
                    <a:pt x="2164" y="3456"/>
                  </a:lnTo>
                  <a:cubicBezTo>
                    <a:pt x="2174" y="3452"/>
                    <a:pt x="2185" y="3449"/>
                    <a:pt x="2195" y="3445"/>
                  </a:cubicBezTo>
                  <a:lnTo>
                    <a:pt x="2206" y="3442"/>
                  </a:lnTo>
                  <a:lnTo>
                    <a:pt x="2230" y="3438"/>
                  </a:lnTo>
                  <a:lnTo>
                    <a:pt x="2237" y="3438"/>
                  </a:lnTo>
                  <a:cubicBezTo>
                    <a:pt x="2248" y="3438"/>
                    <a:pt x="2258" y="3438"/>
                    <a:pt x="2269" y="3435"/>
                  </a:cubicBezTo>
                  <a:lnTo>
                    <a:pt x="2335" y="3435"/>
                  </a:lnTo>
                  <a:lnTo>
                    <a:pt x="2381" y="3442"/>
                  </a:lnTo>
                  <a:lnTo>
                    <a:pt x="2388" y="3442"/>
                  </a:lnTo>
                  <a:lnTo>
                    <a:pt x="2402" y="3445"/>
                  </a:lnTo>
                  <a:lnTo>
                    <a:pt x="2395" y="3428"/>
                  </a:lnTo>
                  <a:lnTo>
                    <a:pt x="2370" y="3386"/>
                  </a:lnTo>
                  <a:lnTo>
                    <a:pt x="2360" y="3368"/>
                  </a:lnTo>
                  <a:lnTo>
                    <a:pt x="2328" y="3312"/>
                  </a:lnTo>
                  <a:lnTo>
                    <a:pt x="2318" y="3295"/>
                  </a:lnTo>
                  <a:lnTo>
                    <a:pt x="2290" y="3239"/>
                  </a:lnTo>
                  <a:lnTo>
                    <a:pt x="2286" y="3232"/>
                  </a:lnTo>
                  <a:lnTo>
                    <a:pt x="2255" y="3176"/>
                  </a:lnTo>
                  <a:lnTo>
                    <a:pt x="2248" y="3162"/>
                  </a:lnTo>
                  <a:lnTo>
                    <a:pt x="2220" y="3109"/>
                  </a:lnTo>
                  <a:lnTo>
                    <a:pt x="2216" y="3099"/>
                  </a:lnTo>
                  <a:lnTo>
                    <a:pt x="2195" y="3057"/>
                  </a:lnTo>
                  <a:lnTo>
                    <a:pt x="2192" y="3046"/>
                  </a:lnTo>
                  <a:cubicBezTo>
                    <a:pt x="2181" y="3032"/>
                    <a:pt x="2178" y="3015"/>
                    <a:pt x="2171" y="3004"/>
                  </a:cubicBezTo>
                  <a:lnTo>
                    <a:pt x="2167" y="2994"/>
                  </a:lnTo>
                  <a:cubicBezTo>
                    <a:pt x="2160" y="2980"/>
                    <a:pt x="2153" y="2966"/>
                    <a:pt x="2150" y="2955"/>
                  </a:cubicBezTo>
                  <a:cubicBezTo>
                    <a:pt x="2118" y="2868"/>
                    <a:pt x="2003" y="2763"/>
                    <a:pt x="1898" y="2672"/>
                  </a:cubicBezTo>
                  <a:cubicBezTo>
                    <a:pt x="1775" y="2560"/>
                    <a:pt x="1684" y="2479"/>
                    <a:pt x="1681" y="2399"/>
                  </a:cubicBezTo>
                  <a:cubicBezTo>
                    <a:pt x="1681" y="2367"/>
                    <a:pt x="1691" y="2336"/>
                    <a:pt x="1716" y="2315"/>
                  </a:cubicBezTo>
                  <a:cubicBezTo>
                    <a:pt x="1740" y="2290"/>
                    <a:pt x="1758" y="2206"/>
                    <a:pt x="1772" y="2136"/>
                  </a:cubicBezTo>
                  <a:cubicBezTo>
                    <a:pt x="1800" y="2000"/>
                    <a:pt x="1831" y="1842"/>
                    <a:pt x="1968" y="1825"/>
                  </a:cubicBezTo>
                  <a:cubicBezTo>
                    <a:pt x="2073" y="1814"/>
                    <a:pt x="2157" y="1776"/>
                    <a:pt x="2178" y="1734"/>
                  </a:cubicBezTo>
                  <a:cubicBezTo>
                    <a:pt x="2188" y="1713"/>
                    <a:pt x="2188" y="1685"/>
                    <a:pt x="2174" y="1664"/>
                  </a:cubicBezTo>
                  <a:lnTo>
                    <a:pt x="2174" y="1660"/>
                  </a:lnTo>
                  <a:cubicBezTo>
                    <a:pt x="2167" y="1650"/>
                    <a:pt x="2164" y="1639"/>
                    <a:pt x="2160" y="1629"/>
                  </a:cubicBezTo>
                  <a:cubicBezTo>
                    <a:pt x="2160" y="1622"/>
                    <a:pt x="2160" y="1618"/>
                    <a:pt x="2157" y="1611"/>
                  </a:cubicBezTo>
                  <a:cubicBezTo>
                    <a:pt x="2157" y="1604"/>
                    <a:pt x="2157" y="1597"/>
                    <a:pt x="2153" y="1586"/>
                  </a:cubicBezTo>
                  <a:lnTo>
                    <a:pt x="2153" y="1569"/>
                  </a:lnTo>
                  <a:lnTo>
                    <a:pt x="2153" y="1544"/>
                  </a:lnTo>
                  <a:lnTo>
                    <a:pt x="2153" y="1527"/>
                  </a:lnTo>
                  <a:cubicBezTo>
                    <a:pt x="2153" y="1520"/>
                    <a:pt x="2153" y="1509"/>
                    <a:pt x="2157" y="1502"/>
                  </a:cubicBezTo>
                  <a:cubicBezTo>
                    <a:pt x="2160" y="1492"/>
                    <a:pt x="2160" y="1488"/>
                    <a:pt x="2164" y="1481"/>
                  </a:cubicBezTo>
                  <a:cubicBezTo>
                    <a:pt x="2164" y="1474"/>
                    <a:pt x="2167" y="1464"/>
                    <a:pt x="2167" y="1453"/>
                  </a:cubicBezTo>
                  <a:lnTo>
                    <a:pt x="2174" y="1432"/>
                  </a:lnTo>
                  <a:cubicBezTo>
                    <a:pt x="2178" y="1422"/>
                    <a:pt x="2178" y="1415"/>
                    <a:pt x="2181" y="1404"/>
                  </a:cubicBezTo>
                  <a:lnTo>
                    <a:pt x="2188" y="1383"/>
                  </a:lnTo>
                  <a:lnTo>
                    <a:pt x="2199" y="1352"/>
                  </a:lnTo>
                  <a:lnTo>
                    <a:pt x="2206" y="1331"/>
                  </a:lnTo>
                  <a:lnTo>
                    <a:pt x="2209" y="1324"/>
                  </a:lnTo>
                  <a:cubicBezTo>
                    <a:pt x="2132" y="1278"/>
                    <a:pt x="2055" y="1184"/>
                    <a:pt x="1978" y="1089"/>
                  </a:cubicBezTo>
                  <a:cubicBezTo>
                    <a:pt x="1919" y="1019"/>
                    <a:pt x="1824" y="900"/>
                    <a:pt x="1789" y="897"/>
                  </a:cubicBezTo>
                  <a:cubicBezTo>
                    <a:pt x="1684" y="897"/>
                    <a:pt x="1583" y="851"/>
                    <a:pt x="1516" y="771"/>
                  </a:cubicBezTo>
                  <a:cubicBezTo>
                    <a:pt x="1450" y="694"/>
                    <a:pt x="1425" y="592"/>
                    <a:pt x="1446" y="494"/>
                  </a:cubicBezTo>
                  <a:cubicBezTo>
                    <a:pt x="1457" y="428"/>
                    <a:pt x="1394" y="389"/>
                    <a:pt x="1246" y="316"/>
                  </a:cubicBezTo>
                  <a:cubicBezTo>
                    <a:pt x="1120" y="260"/>
                    <a:pt x="1008" y="183"/>
                    <a:pt x="914" y="88"/>
                  </a:cubicBezTo>
                  <a:cubicBezTo>
                    <a:pt x="879" y="50"/>
                    <a:pt x="837" y="22"/>
                    <a:pt x="7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1" name="Google Shape;6518;p64">
              <a:extLst>
                <a:ext uri="{FF2B5EF4-FFF2-40B4-BE49-F238E27FC236}">
                  <a16:creationId xmlns:a16="http://schemas.microsoft.com/office/drawing/2014/main" id="{7BED7074-47CC-8A31-BE54-50CBDA363D9F}"/>
                </a:ext>
              </a:extLst>
            </p:cNvPr>
            <p:cNvSpPr/>
            <p:nvPr/>
          </p:nvSpPr>
          <p:spPr>
            <a:xfrm>
              <a:off x="1596688" y="20043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1"/>
                  </a:moveTo>
                  <a:cubicBezTo>
                    <a:pt x="14" y="1"/>
                    <a:pt x="28" y="1"/>
                    <a:pt x="42" y="4"/>
                  </a:cubicBezTo>
                  <a:cubicBezTo>
                    <a:pt x="28" y="1"/>
                    <a:pt x="14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2" name="Google Shape;6519;p64">
              <a:extLst>
                <a:ext uri="{FF2B5EF4-FFF2-40B4-BE49-F238E27FC236}">
                  <a16:creationId xmlns:a16="http://schemas.microsoft.com/office/drawing/2014/main" id="{ECE7AB7F-DE52-897C-A371-9A4F4B5F4B47}"/>
                </a:ext>
              </a:extLst>
            </p:cNvPr>
            <p:cNvSpPr/>
            <p:nvPr/>
          </p:nvSpPr>
          <p:spPr>
            <a:xfrm>
              <a:off x="1594502" y="2005155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3" name="Google Shape;6520;p64">
              <a:extLst>
                <a:ext uri="{FF2B5EF4-FFF2-40B4-BE49-F238E27FC236}">
                  <a16:creationId xmlns:a16="http://schemas.microsoft.com/office/drawing/2014/main" id="{C1CEB049-D588-D57B-7784-DC57DA832EA3}"/>
                </a:ext>
              </a:extLst>
            </p:cNvPr>
            <p:cNvSpPr/>
            <p:nvPr/>
          </p:nvSpPr>
          <p:spPr>
            <a:xfrm>
              <a:off x="1621019" y="202849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4" name="Google Shape;6521;p64">
              <a:extLst>
                <a:ext uri="{FF2B5EF4-FFF2-40B4-BE49-F238E27FC236}">
                  <a16:creationId xmlns:a16="http://schemas.microsoft.com/office/drawing/2014/main" id="{B3511F5A-22FE-302B-FE9F-A5D84BC74826}"/>
                </a:ext>
              </a:extLst>
            </p:cNvPr>
            <p:cNvSpPr/>
            <p:nvPr/>
          </p:nvSpPr>
          <p:spPr>
            <a:xfrm>
              <a:off x="1594638" y="2004394"/>
              <a:ext cx="1969" cy="774"/>
            </a:xfrm>
            <a:custGeom>
              <a:avLst/>
              <a:gdLst/>
              <a:ahLst/>
              <a:cxnLst/>
              <a:rect l="l" t="t" r="r" b="b"/>
              <a:pathLst>
                <a:path w="145" h="57" extrusionOk="0">
                  <a:moveTo>
                    <a:pt x="144" y="1"/>
                  </a:moveTo>
                  <a:cubicBezTo>
                    <a:pt x="92" y="1"/>
                    <a:pt x="39" y="18"/>
                    <a:pt x="1" y="57"/>
                  </a:cubicBezTo>
                  <a:cubicBezTo>
                    <a:pt x="39" y="18"/>
                    <a:pt x="92" y="1"/>
                    <a:pt x="1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5" name="Google Shape;6522;p64">
              <a:extLst>
                <a:ext uri="{FF2B5EF4-FFF2-40B4-BE49-F238E27FC236}">
                  <a16:creationId xmlns:a16="http://schemas.microsoft.com/office/drawing/2014/main" id="{46973428-BAE8-4D3F-1E74-273BB5A8A917}"/>
                </a:ext>
              </a:extLst>
            </p:cNvPr>
            <p:cNvSpPr/>
            <p:nvPr/>
          </p:nvSpPr>
          <p:spPr>
            <a:xfrm>
              <a:off x="1621494" y="202853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6" name="Google Shape;6523;p64">
              <a:extLst>
                <a:ext uri="{FF2B5EF4-FFF2-40B4-BE49-F238E27FC236}">
                  <a16:creationId xmlns:a16="http://schemas.microsoft.com/office/drawing/2014/main" id="{0DA61214-B3F0-00AC-0788-9631C2FC0820}"/>
                </a:ext>
              </a:extLst>
            </p:cNvPr>
            <p:cNvSpPr/>
            <p:nvPr/>
          </p:nvSpPr>
          <p:spPr>
            <a:xfrm>
              <a:off x="1619878" y="2028589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7" name="Google Shape;6524;p64">
              <a:extLst>
                <a:ext uri="{FF2B5EF4-FFF2-40B4-BE49-F238E27FC236}">
                  <a16:creationId xmlns:a16="http://schemas.microsoft.com/office/drawing/2014/main" id="{56AF3F86-9208-6F05-0E8B-477A192B7702}"/>
                </a:ext>
              </a:extLst>
            </p:cNvPr>
            <p:cNvSpPr/>
            <p:nvPr/>
          </p:nvSpPr>
          <p:spPr>
            <a:xfrm>
              <a:off x="1619362" y="2028684"/>
              <a:ext cx="434" cy="149"/>
            </a:xfrm>
            <a:custGeom>
              <a:avLst/>
              <a:gdLst/>
              <a:ahLst/>
              <a:cxnLst/>
              <a:rect l="l" t="t" r="r" b="b"/>
              <a:pathLst>
                <a:path w="32" h="11" extrusionOk="0">
                  <a:moveTo>
                    <a:pt x="32" y="0"/>
                  </a:moveTo>
                  <a:cubicBezTo>
                    <a:pt x="21" y="4"/>
                    <a:pt x="11" y="7"/>
                    <a:pt x="0" y="11"/>
                  </a:cubicBezTo>
                  <a:cubicBezTo>
                    <a:pt x="11" y="7"/>
                    <a:pt x="21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8" name="Google Shape;6525;p64">
              <a:extLst>
                <a:ext uri="{FF2B5EF4-FFF2-40B4-BE49-F238E27FC236}">
                  <a16:creationId xmlns:a16="http://schemas.microsoft.com/office/drawing/2014/main" id="{33DD5F92-6885-E0B7-EE8C-1BEE9B14866F}"/>
                </a:ext>
              </a:extLst>
            </p:cNvPr>
            <p:cNvSpPr/>
            <p:nvPr/>
          </p:nvSpPr>
          <p:spPr>
            <a:xfrm>
              <a:off x="1620353" y="2028494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32" y="0"/>
                  </a:moveTo>
                  <a:cubicBezTo>
                    <a:pt x="22" y="0"/>
                    <a:pt x="11" y="0"/>
                    <a:pt x="1" y="4"/>
                  </a:cubicBezTo>
                  <a:cubicBezTo>
                    <a:pt x="11" y="4"/>
                    <a:pt x="22" y="4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9" name="Google Shape;6526;p64">
              <a:extLst>
                <a:ext uri="{FF2B5EF4-FFF2-40B4-BE49-F238E27FC236}">
                  <a16:creationId xmlns:a16="http://schemas.microsoft.com/office/drawing/2014/main" id="{351C93B8-20B6-0D66-6BE0-EA8EEC5DB582}"/>
                </a:ext>
              </a:extLst>
            </p:cNvPr>
            <p:cNvSpPr/>
            <p:nvPr/>
          </p:nvSpPr>
          <p:spPr>
            <a:xfrm>
              <a:off x="1618507" y="202916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28" y="0"/>
                  </a:moveTo>
                  <a:cubicBezTo>
                    <a:pt x="18" y="7"/>
                    <a:pt x="7" y="14"/>
                    <a:pt x="0" y="21"/>
                  </a:cubicBezTo>
                  <a:cubicBezTo>
                    <a:pt x="7" y="14"/>
                    <a:pt x="18" y="7"/>
                    <a:pt x="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0" name="Google Shape;6527;p64">
              <a:extLst>
                <a:ext uri="{FF2B5EF4-FFF2-40B4-BE49-F238E27FC236}">
                  <a16:creationId xmlns:a16="http://schemas.microsoft.com/office/drawing/2014/main" id="{840A8B40-7EB1-83D2-C833-92D3DE718A43}"/>
                </a:ext>
              </a:extLst>
            </p:cNvPr>
            <p:cNvSpPr/>
            <p:nvPr/>
          </p:nvSpPr>
          <p:spPr>
            <a:xfrm>
              <a:off x="1618928" y="2028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8" y="4"/>
                    <a:pt x="8" y="7"/>
                    <a:pt x="1" y="14"/>
                  </a:cubicBezTo>
                  <a:cubicBezTo>
                    <a:pt x="8" y="7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1" name="Google Shape;6528;p64">
              <a:extLst>
                <a:ext uri="{FF2B5EF4-FFF2-40B4-BE49-F238E27FC236}">
                  <a16:creationId xmlns:a16="http://schemas.microsoft.com/office/drawing/2014/main" id="{ABE87E98-9D7C-0959-9B64-14C968E92E1F}"/>
                </a:ext>
              </a:extLst>
            </p:cNvPr>
            <p:cNvSpPr/>
            <p:nvPr/>
          </p:nvSpPr>
          <p:spPr>
            <a:xfrm>
              <a:off x="1622254" y="202863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2" name="Google Shape;6529;p64">
              <a:extLst>
                <a:ext uri="{FF2B5EF4-FFF2-40B4-BE49-F238E27FC236}">
                  <a16:creationId xmlns:a16="http://schemas.microsoft.com/office/drawing/2014/main" id="{297F6F34-285A-04E1-C40F-A3233BD3165A}"/>
                </a:ext>
              </a:extLst>
            </p:cNvPr>
            <p:cNvSpPr/>
            <p:nvPr/>
          </p:nvSpPr>
          <p:spPr>
            <a:xfrm>
              <a:off x="1599444" y="198362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3" name="Google Shape;6530;p64">
              <a:extLst>
                <a:ext uri="{FF2B5EF4-FFF2-40B4-BE49-F238E27FC236}">
                  <a16:creationId xmlns:a16="http://schemas.microsoft.com/office/drawing/2014/main" id="{C57C7A46-CBFE-138F-7E15-B7B05407DC7C}"/>
                </a:ext>
              </a:extLst>
            </p:cNvPr>
            <p:cNvSpPr/>
            <p:nvPr/>
          </p:nvSpPr>
          <p:spPr>
            <a:xfrm>
              <a:off x="1591365" y="2001489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4" name="Google Shape;6531;p64">
              <a:extLst>
                <a:ext uri="{FF2B5EF4-FFF2-40B4-BE49-F238E27FC236}">
                  <a16:creationId xmlns:a16="http://schemas.microsoft.com/office/drawing/2014/main" id="{A6EA1BEF-C3A9-39A8-FBA3-2A0D97BD103B}"/>
                </a:ext>
              </a:extLst>
            </p:cNvPr>
            <p:cNvSpPr/>
            <p:nvPr/>
          </p:nvSpPr>
          <p:spPr>
            <a:xfrm>
              <a:off x="1594067" y="2004869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8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5" name="Google Shape;6532;p64">
              <a:extLst>
                <a:ext uri="{FF2B5EF4-FFF2-40B4-BE49-F238E27FC236}">
                  <a16:creationId xmlns:a16="http://schemas.microsoft.com/office/drawing/2014/main" id="{A60D2660-65C5-46DA-8071-B318E9A24D63}"/>
                </a:ext>
              </a:extLst>
            </p:cNvPr>
            <p:cNvSpPr/>
            <p:nvPr/>
          </p:nvSpPr>
          <p:spPr>
            <a:xfrm>
              <a:off x="1599064" y="198405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6" name="Google Shape;6533;p64">
              <a:extLst>
                <a:ext uri="{FF2B5EF4-FFF2-40B4-BE49-F238E27FC236}">
                  <a16:creationId xmlns:a16="http://schemas.microsoft.com/office/drawing/2014/main" id="{B6023CF6-FB73-512B-85CE-D62761CF532C}"/>
                </a:ext>
              </a:extLst>
            </p:cNvPr>
            <p:cNvSpPr/>
            <p:nvPr/>
          </p:nvSpPr>
          <p:spPr>
            <a:xfrm>
              <a:off x="1599824" y="1983105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7" name="Google Shape;6534;p64">
              <a:extLst>
                <a:ext uri="{FF2B5EF4-FFF2-40B4-BE49-F238E27FC236}">
                  <a16:creationId xmlns:a16="http://schemas.microsoft.com/office/drawing/2014/main" id="{DD7EA057-6B21-1C28-A1BF-00EB28B92256}"/>
                </a:ext>
              </a:extLst>
            </p:cNvPr>
            <p:cNvSpPr/>
            <p:nvPr/>
          </p:nvSpPr>
          <p:spPr>
            <a:xfrm>
              <a:off x="1593266" y="200382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1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8" name="Google Shape;6535;p64">
              <a:extLst>
                <a:ext uri="{FF2B5EF4-FFF2-40B4-BE49-F238E27FC236}">
                  <a16:creationId xmlns:a16="http://schemas.microsoft.com/office/drawing/2014/main" id="{41D07458-F479-5691-405B-A22BE4E7C573}"/>
                </a:ext>
              </a:extLst>
            </p:cNvPr>
            <p:cNvSpPr/>
            <p:nvPr/>
          </p:nvSpPr>
          <p:spPr>
            <a:xfrm>
              <a:off x="1591936" y="200215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9" name="Google Shape;6536;p64">
              <a:extLst>
                <a:ext uri="{FF2B5EF4-FFF2-40B4-BE49-F238E27FC236}">
                  <a16:creationId xmlns:a16="http://schemas.microsoft.com/office/drawing/2014/main" id="{BF808F41-1ED6-24A5-6391-1860DCD88029}"/>
                </a:ext>
              </a:extLst>
            </p:cNvPr>
            <p:cNvSpPr/>
            <p:nvPr/>
          </p:nvSpPr>
          <p:spPr>
            <a:xfrm>
              <a:off x="1590890" y="2000973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0" name="Google Shape;6537;p64">
              <a:extLst>
                <a:ext uri="{FF2B5EF4-FFF2-40B4-BE49-F238E27FC236}">
                  <a16:creationId xmlns:a16="http://schemas.microsoft.com/office/drawing/2014/main" id="{94D4232A-EE47-CD29-7992-CC590BC933B1}"/>
                </a:ext>
              </a:extLst>
            </p:cNvPr>
            <p:cNvSpPr/>
            <p:nvPr/>
          </p:nvSpPr>
          <p:spPr>
            <a:xfrm>
              <a:off x="1598344" y="198481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1" name="Google Shape;6538;p64">
              <a:extLst>
                <a:ext uri="{FF2B5EF4-FFF2-40B4-BE49-F238E27FC236}">
                  <a16:creationId xmlns:a16="http://schemas.microsoft.com/office/drawing/2014/main" id="{CF061E20-6C7B-EC94-7600-7F2624A63A1C}"/>
                </a:ext>
              </a:extLst>
            </p:cNvPr>
            <p:cNvSpPr/>
            <p:nvPr/>
          </p:nvSpPr>
          <p:spPr>
            <a:xfrm>
              <a:off x="1592547" y="2002914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2" name="Google Shape;6539;p64">
              <a:extLst>
                <a:ext uri="{FF2B5EF4-FFF2-40B4-BE49-F238E27FC236}">
                  <a16:creationId xmlns:a16="http://schemas.microsoft.com/office/drawing/2014/main" id="{36F24373-EA8E-B9F5-8E56-C8F36A2EFC4D}"/>
                </a:ext>
              </a:extLst>
            </p:cNvPr>
            <p:cNvSpPr/>
            <p:nvPr/>
          </p:nvSpPr>
          <p:spPr>
            <a:xfrm>
              <a:off x="1595303" y="1987287"/>
              <a:ext cx="353" cy="584"/>
            </a:xfrm>
            <a:custGeom>
              <a:avLst/>
              <a:gdLst/>
              <a:ahLst/>
              <a:cxnLst/>
              <a:rect l="l" t="t" r="r" b="b"/>
              <a:pathLst>
                <a:path w="26" h="43" extrusionOk="0">
                  <a:moveTo>
                    <a:pt x="1" y="42"/>
                  </a:moveTo>
                  <a:cubicBezTo>
                    <a:pt x="8" y="28"/>
                    <a:pt x="15" y="11"/>
                    <a:pt x="25" y="0"/>
                  </a:cubicBezTo>
                  <a:cubicBezTo>
                    <a:pt x="15" y="11"/>
                    <a:pt x="8" y="28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3" name="Google Shape;6540;p64">
              <a:extLst>
                <a:ext uri="{FF2B5EF4-FFF2-40B4-BE49-F238E27FC236}">
                  <a16:creationId xmlns:a16="http://schemas.microsoft.com/office/drawing/2014/main" id="{29E20FBA-3475-48A2-5E5B-7F84765D048F}"/>
                </a:ext>
              </a:extLst>
            </p:cNvPr>
            <p:cNvSpPr/>
            <p:nvPr/>
          </p:nvSpPr>
          <p:spPr>
            <a:xfrm>
              <a:off x="1600245" y="1982534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4" name="Google Shape;6541;p64">
              <a:extLst>
                <a:ext uri="{FF2B5EF4-FFF2-40B4-BE49-F238E27FC236}">
                  <a16:creationId xmlns:a16="http://schemas.microsoft.com/office/drawing/2014/main" id="{7E6211F3-F042-F688-CB83-CEDE1B5534C2}"/>
                </a:ext>
              </a:extLst>
            </p:cNvPr>
            <p:cNvSpPr/>
            <p:nvPr/>
          </p:nvSpPr>
          <p:spPr>
            <a:xfrm>
              <a:off x="1598684" y="1984476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5" name="Google Shape;6542;p64">
              <a:extLst>
                <a:ext uri="{FF2B5EF4-FFF2-40B4-BE49-F238E27FC236}">
                  <a16:creationId xmlns:a16="http://schemas.microsoft.com/office/drawing/2014/main" id="{081EB854-3866-4614-EC98-C9307583EE86}"/>
                </a:ext>
              </a:extLst>
            </p:cNvPr>
            <p:cNvSpPr/>
            <p:nvPr/>
          </p:nvSpPr>
          <p:spPr>
            <a:xfrm>
              <a:off x="1596498" y="1985101"/>
              <a:ext cx="1534" cy="1195"/>
            </a:xfrm>
            <a:custGeom>
              <a:avLst/>
              <a:gdLst/>
              <a:ahLst/>
              <a:cxnLst/>
              <a:rect l="l" t="t" r="r" b="b"/>
              <a:pathLst>
                <a:path w="113" h="88" extrusionOk="0">
                  <a:moveTo>
                    <a:pt x="112" y="0"/>
                  </a:moveTo>
                  <a:lnTo>
                    <a:pt x="112" y="0"/>
                  </a:lnTo>
                  <a:cubicBezTo>
                    <a:pt x="74" y="25"/>
                    <a:pt x="35" y="56"/>
                    <a:pt x="0" y="88"/>
                  </a:cubicBezTo>
                  <a:cubicBezTo>
                    <a:pt x="35" y="56"/>
                    <a:pt x="74" y="25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6" name="Google Shape;6543;p64">
              <a:extLst>
                <a:ext uri="{FF2B5EF4-FFF2-40B4-BE49-F238E27FC236}">
                  <a16:creationId xmlns:a16="http://schemas.microsoft.com/office/drawing/2014/main" id="{BB51E8D5-FE1A-7FCD-71C9-E3929E248982}"/>
                </a:ext>
              </a:extLst>
            </p:cNvPr>
            <p:cNvSpPr/>
            <p:nvPr/>
          </p:nvSpPr>
          <p:spPr>
            <a:xfrm>
              <a:off x="1590456" y="200053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7" name="Google Shape;6544;p64">
              <a:extLst>
                <a:ext uri="{FF2B5EF4-FFF2-40B4-BE49-F238E27FC236}">
                  <a16:creationId xmlns:a16="http://schemas.microsoft.com/office/drawing/2014/main" id="{E548CDA2-6A1E-D9BD-8DBD-526B77D4521B}"/>
                </a:ext>
              </a:extLst>
            </p:cNvPr>
            <p:cNvSpPr/>
            <p:nvPr/>
          </p:nvSpPr>
          <p:spPr>
            <a:xfrm>
              <a:off x="1619783" y="1999968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8" name="Google Shape;6545;p64">
              <a:extLst>
                <a:ext uri="{FF2B5EF4-FFF2-40B4-BE49-F238E27FC236}">
                  <a16:creationId xmlns:a16="http://schemas.microsoft.com/office/drawing/2014/main" id="{E6AE26C8-7FBE-4FB7-E775-4499BFBC00F5}"/>
                </a:ext>
              </a:extLst>
            </p:cNvPr>
            <p:cNvSpPr/>
            <p:nvPr/>
          </p:nvSpPr>
          <p:spPr>
            <a:xfrm>
              <a:off x="1619213" y="2003783"/>
              <a:ext cx="68" cy="190"/>
            </a:xfrm>
            <a:custGeom>
              <a:avLst/>
              <a:gdLst/>
              <a:ahLst/>
              <a:cxnLst/>
              <a:rect l="l" t="t" r="r" b="b"/>
              <a:pathLst>
                <a:path w="5" h="14" extrusionOk="0">
                  <a:moveTo>
                    <a:pt x="1" y="0"/>
                  </a:moveTo>
                  <a:cubicBezTo>
                    <a:pt x="1" y="4"/>
                    <a:pt x="1" y="11"/>
                    <a:pt x="4" y="14"/>
                  </a:cubicBezTo>
                  <a:cubicBezTo>
                    <a:pt x="4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9" name="Google Shape;6546;p64">
              <a:extLst>
                <a:ext uri="{FF2B5EF4-FFF2-40B4-BE49-F238E27FC236}">
                  <a16:creationId xmlns:a16="http://schemas.microsoft.com/office/drawing/2014/main" id="{DB2BEFFD-6A7E-1DB1-8D52-429FC3AF6A30}"/>
                </a:ext>
              </a:extLst>
            </p:cNvPr>
            <p:cNvSpPr/>
            <p:nvPr/>
          </p:nvSpPr>
          <p:spPr>
            <a:xfrm>
              <a:off x="1619267" y="2001964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1"/>
                  </a:moveTo>
                  <a:cubicBezTo>
                    <a:pt x="0" y="11"/>
                    <a:pt x="0" y="18"/>
                    <a:pt x="0" y="22"/>
                  </a:cubicBezTo>
                  <a:cubicBezTo>
                    <a:pt x="0" y="18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0" name="Google Shape;6547;p64">
              <a:extLst>
                <a:ext uri="{FF2B5EF4-FFF2-40B4-BE49-F238E27FC236}">
                  <a16:creationId xmlns:a16="http://schemas.microsoft.com/office/drawing/2014/main" id="{7A5DCC01-8ED4-7DA1-F947-5BFA04E40FC5}"/>
                </a:ext>
              </a:extLst>
            </p:cNvPr>
            <p:cNvSpPr/>
            <p:nvPr/>
          </p:nvSpPr>
          <p:spPr>
            <a:xfrm>
              <a:off x="1619362" y="2001353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1" name="Google Shape;6548;p64">
              <a:extLst>
                <a:ext uri="{FF2B5EF4-FFF2-40B4-BE49-F238E27FC236}">
                  <a16:creationId xmlns:a16="http://schemas.microsoft.com/office/drawing/2014/main" id="{8DDEC747-45DB-2984-5B1C-ACAA3CC1140C}"/>
                </a:ext>
              </a:extLst>
            </p:cNvPr>
            <p:cNvSpPr/>
            <p:nvPr/>
          </p:nvSpPr>
          <p:spPr>
            <a:xfrm>
              <a:off x="1619552" y="200068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2" name="Google Shape;6549;p64">
              <a:extLst>
                <a:ext uri="{FF2B5EF4-FFF2-40B4-BE49-F238E27FC236}">
                  <a16:creationId xmlns:a16="http://schemas.microsoft.com/office/drawing/2014/main" id="{9A89BEE7-DA47-788E-3AD1-A77A41DECB60}"/>
                </a:ext>
              </a:extLst>
            </p:cNvPr>
            <p:cNvSpPr/>
            <p:nvPr/>
          </p:nvSpPr>
          <p:spPr>
            <a:xfrm>
              <a:off x="1619172" y="2003199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ubicBezTo>
                    <a:pt x="0" y="8"/>
                    <a:pt x="0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3" name="Google Shape;6550;p64">
              <a:extLst>
                <a:ext uri="{FF2B5EF4-FFF2-40B4-BE49-F238E27FC236}">
                  <a16:creationId xmlns:a16="http://schemas.microsoft.com/office/drawing/2014/main" id="{31188A13-8E71-EA85-21A8-BACB8AE5D64A}"/>
                </a:ext>
              </a:extLst>
            </p:cNvPr>
            <p:cNvSpPr/>
            <p:nvPr/>
          </p:nvSpPr>
          <p:spPr>
            <a:xfrm>
              <a:off x="1620598" y="2025073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4" name="Google Shape;6551;p64">
              <a:extLst>
                <a:ext uri="{FF2B5EF4-FFF2-40B4-BE49-F238E27FC236}">
                  <a16:creationId xmlns:a16="http://schemas.microsoft.com/office/drawing/2014/main" id="{2C45DACA-8E44-6A72-B68B-1F15732C0C12}"/>
                </a:ext>
              </a:extLst>
            </p:cNvPr>
            <p:cNvSpPr/>
            <p:nvPr/>
          </p:nvSpPr>
          <p:spPr>
            <a:xfrm>
              <a:off x="1619118" y="2022031"/>
              <a:ext cx="258" cy="530"/>
            </a:xfrm>
            <a:custGeom>
              <a:avLst/>
              <a:gdLst/>
              <a:ahLst/>
              <a:cxnLst/>
              <a:rect l="l" t="t" r="r" b="b"/>
              <a:pathLst>
                <a:path w="19" h="39" extrusionOk="0">
                  <a:moveTo>
                    <a:pt x="1" y="0"/>
                  </a:moveTo>
                  <a:cubicBezTo>
                    <a:pt x="8" y="11"/>
                    <a:pt x="11" y="25"/>
                    <a:pt x="18" y="39"/>
                  </a:cubicBezTo>
                  <a:cubicBezTo>
                    <a:pt x="11" y="25"/>
                    <a:pt x="8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5" name="Google Shape;6552;p64">
              <a:extLst>
                <a:ext uri="{FF2B5EF4-FFF2-40B4-BE49-F238E27FC236}">
                  <a16:creationId xmlns:a16="http://schemas.microsoft.com/office/drawing/2014/main" id="{61D278BC-B461-8708-96A1-4FD8ED9B186F}"/>
                </a:ext>
              </a:extLst>
            </p:cNvPr>
            <p:cNvSpPr/>
            <p:nvPr/>
          </p:nvSpPr>
          <p:spPr>
            <a:xfrm>
              <a:off x="1622118" y="2027924"/>
              <a:ext cx="339" cy="584"/>
            </a:xfrm>
            <a:custGeom>
              <a:avLst/>
              <a:gdLst/>
              <a:ahLst/>
              <a:cxnLst/>
              <a:rect l="l" t="t" r="r" b="b"/>
              <a:pathLst>
                <a:path w="25" h="43" extrusionOk="0">
                  <a:moveTo>
                    <a:pt x="0" y="0"/>
                  </a:moveTo>
                  <a:lnTo>
                    <a:pt x="25" y="4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6" name="Google Shape;6553;p64">
              <a:extLst>
                <a:ext uri="{FF2B5EF4-FFF2-40B4-BE49-F238E27FC236}">
                  <a16:creationId xmlns:a16="http://schemas.microsoft.com/office/drawing/2014/main" id="{72A0946D-28F8-3C99-83B3-EC5A8F41BFCE}"/>
                </a:ext>
              </a:extLst>
            </p:cNvPr>
            <p:cNvSpPr/>
            <p:nvPr/>
          </p:nvSpPr>
          <p:spPr>
            <a:xfrm>
              <a:off x="1619172" y="2002588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0" y="7"/>
                    <a:pt x="0" y="14"/>
                    <a:pt x="4" y="21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7" name="Google Shape;6554;p64">
              <a:extLst>
                <a:ext uri="{FF2B5EF4-FFF2-40B4-BE49-F238E27FC236}">
                  <a16:creationId xmlns:a16="http://schemas.microsoft.com/office/drawing/2014/main" id="{DE5D9C51-E0F9-2BFB-0786-3680DC84DDED}"/>
                </a:ext>
              </a:extLst>
            </p:cNvPr>
            <p:cNvSpPr/>
            <p:nvPr/>
          </p:nvSpPr>
          <p:spPr>
            <a:xfrm>
              <a:off x="1619742" y="2023403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0" y="1"/>
                  </a:moveTo>
                  <a:lnTo>
                    <a:pt x="21" y="4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8" name="Google Shape;6555;p64">
              <a:extLst>
                <a:ext uri="{FF2B5EF4-FFF2-40B4-BE49-F238E27FC236}">
                  <a16:creationId xmlns:a16="http://schemas.microsoft.com/office/drawing/2014/main" id="{F4E54E89-7E94-5ACD-06AB-504FDEBA1BBE}"/>
                </a:ext>
              </a:extLst>
            </p:cNvPr>
            <p:cNvSpPr/>
            <p:nvPr/>
          </p:nvSpPr>
          <p:spPr>
            <a:xfrm>
              <a:off x="1621548" y="2026879"/>
              <a:ext cx="434" cy="815"/>
            </a:xfrm>
            <a:custGeom>
              <a:avLst/>
              <a:gdLst/>
              <a:ahLst/>
              <a:cxnLst/>
              <a:rect l="l" t="t" r="r" b="b"/>
              <a:pathLst>
                <a:path w="32" h="60" extrusionOk="0">
                  <a:moveTo>
                    <a:pt x="0" y="0"/>
                  </a:moveTo>
                  <a:lnTo>
                    <a:pt x="32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9" name="Google Shape;6556;p64">
              <a:extLst>
                <a:ext uri="{FF2B5EF4-FFF2-40B4-BE49-F238E27FC236}">
                  <a16:creationId xmlns:a16="http://schemas.microsoft.com/office/drawing/2014/main" id="{3341A7CD-378E-F2F8-D581-CB7C3D620880}"/>
                </a:ext>
              </a:extLst>
            </p:cNvPr>
            <p:cNvSpPr/>
            <p:nvPr/>
          </p:nvSpPr>
          <p:spPr>
            <a:xfrm>
              <a:off x="1621073" y="2025928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0" name="Google Shape;6557;p64">
              <a:extLst>
                <a:ext uri="{FF2B5EF4-FFF2-40B4-BE49-F238E27FC236}">
                  <a16:creationId xmlns:a16="http://schemas.microsoft.com/office/drawing/2014/main" id="{A7136CE5-6881-9AFC-9DEA-6EC505E96D1D}"/>
                </a:ext>
              </a:extLst>
            </p:cNvPr>
            <p:cNvSpPr/>
            <p:nvPr/>
          </p:nvSpPr>
          <p:spPr>
            <a:xfrm>
              <a:off x="1620123" y="202412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0" y="0"/>
                  </a:moveTo>
                  <a:lnTo>
                    <a:pt x="28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1" name="Google Shape;6558;p64">
              <a:extLst>
                <a:ext uri="{FF2B5EF4-FFF2-40B4-BE49-F238E27FC236}">
                  <a16:creationId xmlns:a16="http://schemas.microsoft.com/office/drawing/2014/main" id="{A5280833-5FF3-800D-6CFA-0A61969F688B}"/>
                </a:ext>
              </a:extLst>
            </p:cNvPr>
            <p:cNvSpPr/>
            <p:nvPr/>
          </p:nvSpPr>
          <p:spPr>
            <a:xfrm>
              <a:off x="1619403" y="2022642"/>
              <a:ext cx="299" cy="638"/>
            </a:xfrm>
            <a:custGeom>
              <a:avLst/>
              <a:gdLst/>
              <a:ahLst/>
              <a:cxnLst/>
              <a:rect l="l" t="t" r="r" b="b"/>
              <a:pathLst>
                <a:path w="22" h="47" extrusionOk="0">
                  <a:moveTo>
                    <a:pt x="1" y="1"/>
                  </a:moveTo>
                  <a:cubicBezTo>
                    <a:pt x="8" y="15"/>
                    <a:pt x="15" y="32"/>
                    <a:pt x="22" y="46"/>
                  </a:cubicBezTo>
                  <a:cubicBezTo>
                    <a:pt x="15" y="32"/>
                    <a:pt x="8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2" name="Google Shape;6559;p64">
              <a:extLst>
                <a:ext uri="{FF2B5EF4-FFF2-40B4-BE49-F238E27FC236}">
                  <a16:creationId xmlns:a16="http://schemas.microsoft.com/office/drawing/2014/main" id="{DFB0ADAF-D4F9-B4A3-8305-033EC63D1AE8}"/>
                </a:ext>
              </a:extLst>
            </p:cNvPr>
            <p:cNvSpPr/>
            <p:nvPr/>
          </p:nvSpPr>
          <p:spPr>
            <a:xfrm>
              <a:off x="1619457" y="200444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3" name="Google Shape;6560;p64">
              <a:extLst>
                <a:ext uri="{FF2B5EF4-FFF2-40B4-BE49-F238E27FC236}">
                  <a16:creationId xmlns:a16="http://schemas.microsoft.com/office/drawing/2014/main" id="{1E8B02BA-25AB-9344-D38F-BC1302EF9684}"/>
                </a:ext>
              </a:extLst>
            </p:cNvPr>
            <p:cNvSpPr/>
            <p:nvPr/>
          </p:nvSpPr>
          <p:spPr>
            <a:xfrm>
              <a:off x="1641466" y="2001964"/>
              <a:ext cx="20488" cy="25689"/>
            </a:xfrm>
            <a:custGeom>
              <a:avLst/>
              <a:gdLst/>
              <a:ahLst/>
              <a:cxnLst/>
              <a:rect l="l" t="t" r="r" b="b"/>
              <a:pathLst>
                <a:path w="1509" h="1892" extrusionOk="0">
                  <a:moveTo>
                    <a:pt x="256" y="1"/>
                  </a:moveTo>
                  <a:lnTo>
                    <a:pt x="256" y="8"/>
                  </a:lnTo>
                  <a:lnTo>
                    <a:pt x="249" y="25"/>
                  </a:lnTo>
                  <a:lnTo>
                    <a:pt x="242" y="43"/>
                  </a:lnTo>
                  <a:lnTo>
                    <a:pt x="238" y="57"/>
                  </a:lnTo>
                  <a:lnTo>
                    <a:pt x="231" y="78"/>
                  </a:lnTo>
                  <a:lnTo>
                    <a:pt x="228" y="88"/>
                  </a:lnTo>
                  <a:lnTo>
                    <a:pt x="221" y="106"/>
                  </a:lnTo>
                  <a:lnTo>
                    <a:pt x="221" y="113"/>
                  </a:lnTo>
                  <a:lnTo>
                    <a:pt x="214" y="130"/>
                  </a:lnTo>
                  <a:lnTo>
                    <a:pt x="214" y="138"/>
                  </a:lnTo>
                  <a:cubicBezTo>
                    <a:pt x="207" y="152"/>
                    <a:pt x="203" y="162"/>
                    <a:pt x="196" y="173"/>
                  </a:cubicBezTo>
                  <a:lnTo>
                    <a:pt x="196" y="176"/>
                  </a:lnTo>
                  <a:lnTo>
                    <a:pt x="193" y="190"/>
                  </a:lnTo>
                  <a:lnTo>
                    <a:pt x="193" y="194"/>
                  </a:lnTo>
                  <a:lnTo>
                    <a:pt x="186" y="201"/>
                  </a:lnTo>
                  <a:lnTo>
                    <a:pt x="186" y="204"/>
                  </a:lnTo>
                  <a:lnTo>
                    <a:pt x="182" y="211"/>
                  </a:lnTo>
                  <a:lnTo>
                    <a:pt x="182" y="215"/>
                  </a:lnTo>
                  <a:lnTo>
                    <a:pt x="179" y="222"/>
                  </a:lnTo>
                  <a:lnTo>
                    <a:pt x="179" y="225"/>
                  </a:lnTo>
                  <a:lnTo>
                    <a:pt x="175" y="229"/>
                  </a:lnTo>
                  <a:lnTo>
                    <a:pt x="175" y="232"/>
                  </a:lnTo>
                  <a:lnTo>
                    <a:pt x="172" y="236"/>
                  </a:lnTo>
                  <a:lnTo>
                    <a:pt x="168" y="239"/>
                  </a:lnTo>
                  <a:lnTo>
                    <a:pt x="165" y="243"/>
                  </a:lnTo>
                  <a:cubicBezTo>
                    <a:pt x="158" y="246"/>
                    <a:pt x="154" y="253"/>
                    <a:pt x="147" y="260"/>
                  </a:cubicBezTo>
                  <a:cubicBezTo>
                    <a:pt x="63" y="355"/>
                    <a:pt x="0" y="614"/>
                    <a:pt x="84" y="817"/>
                  </a:cubicBezTo>
                  <a:cubicBezTo>
                    <a:pt x="161" y="999"/>
                    <a:pt x="186" y="1286"/>
                    <a:pt x="172" y="1464"/>
                  </a:cubicBezTo>
                  <a:cubicBezTo>
                    <a:pt x="168" y="1492"/>
                    <a:pt x="165" y="1517"/>
                    <a:pt x="158" y="1545"/>
                  </a:cubicBezTo>
                  <a:cubicBezTo>
                    <a:pt x="154" y="1562"/>
                    <a:pt x="151" y="1580"/>
                    <a:pt x="144" y="1597"/>
                  </a:cubicBezTo>
                  <a:lnTo>
                    <a:pt x="137" y="1608"/>
                  </a:lnTo>
                  <a:lnTo>
                    <a:pt x="137" y="1611"/>
                  </a:lnTo>
                  <a:lnTo>
                    <a:pt x="133" y="1615"/>
                  </a:lnTo>
                  <a:lnTo>
                    <a:pt x="133" y="1618"/>
                  </a:lnTo>
                  <a:lnTo>
                    <a:pt x="130" y="1622"/>
                  </a:lnTo>
                  <a:lnTo>
                    <a:pt x="130" y="1625"/>
                  </a:lnTo>
                  <a:lnTo>
                    <a:pt x="126" y="1632"/>
                  </a:lnTo>
                  <a:lnTo>
                    <a:pt x="126" y="1636"/>
                  </a:lnTo>
                  <a:lnTo>
                    <a:pt x="123" y="1643"/>
                  </a:lnTo>
                  <a:lnTo>
                    <a:pt x="119" y="1650"/>
                  </a:lnTo>
                  <a:lnTo>
                    <a:pt x="112" y="1657"/>
                  </a:lnTo>
                  <a:lnTo>
                    <a:pt x="109" y="1664"/>
                  </a:lnTo>
                  <a:lnTo>
                    <a:pt x="105" y="1671"/>
                  </a:lnTo>
                  <a:lnTo>
                    <a:pt x="98" y="1685"/>
                  </a:lnTo>
                  <a:lnTo>
                    <a:pt x="95" y="1688"/>
                  </a:lnTo>
                  <a:lnTo>
                    <a:pt x="81" y="1709"/>
                  </a:lnTo>
                  <a:cubicBezTo>
                    <a:pt x="63" y="1737"/>
                    <a:pt x="42" y="1769"/>
                    <a:pt x="14" y="1814"/>
                  </a:cubicBezTo>
                  <a:cubicBezTo>
                    <a:pt x="14" y="1821"/>
                    <a:pt x="14" y="1832"/>
                    <a:pt x="18" y="1839"/>
                  </a:cubicBezTo>
                  <a:cubicBezTo>
                    <a:pt x="74" y="1875"/>
                    <a:pt x="137" y="1892"/>
                    <a:pt x="201" y="1892"/>
                  </a:cubicBezTo>
                  <a:cubicBezTo>
                    <a:pt x="225" y="1892"/>
                    <a:pt x="249" y="1889"/>
                    <a:pt x="273" y="1884"/>
                  </a:cubicBezTo>
                  <a:lnTo>
                    <a:pt x="280" y="1884"/>
                  </a:lnTo>
                  <a:lnTo>
                    <a:pt x="315" y="1874"/>
                  </a:lnTo>
                  <a:lnTo>
                    <a:pt x="329" y="1874"/>
                  </a:lnTo>
                  <a:cubicBezTo>
                    <a:pt x="343" y="1867"/>
                    <a:pt x="361" y="1863"/>
                    <a:pt x="375" y="1860"/>
                  </a:cubicBezTo>
                  <a:cubicBezTo>
                    <a:pt x="453" y="1835"/>
                    <a:pt x="535" y="1823"/>
                    <a:pt x="614" y="1823"/>
                  </a:cubicBezTo>
                  <a:cubicBezTo>
                    <a:pt x="634" y="1823"/>
                    <a:pt x="653" y="1824"/>
                    <a:pt x="672" y="1825"/>
                  </a:cubicBezTo>
                  <a:cubicBezTo>
                    <a:pt x="691" y="1825"/>
                    <a:pt x="707" y="1826"/>
                    <a:pt x="723" y="1826"/>
                  </a:cubicBezTo>
                  <a:cubicBezTo>
                    <a:pt x="817" y="1826"/>
                    <a:pt x="856" y="1807"/>
                    <a:pt x="907" y="1653"/>
                  </a:cubicBezTo>
                  <a:cubicBezTo>
                    <a:pt x="914" y="1636"/>
                    <a:pt x="921" y="1615"/>
                    <a:pt x="931" y="1594"/>
                  </a:cubicBezTo>
                  <a:cubicBezTo>
                    <a:pt x="935" y="1587"/>
                    <a:pt x="938" y="1580"/>
                    <a:pt x="938" y="1573"/>
                  </a:cubicBezTo>
                  <a:cubicBezTo>
                    <a:pt x="945" y="1559"/>
                    <a:pt x="952" y="1545"/>
                    <a:pt x="959" y="1531"/>
                  </a:cubicBezTo>
                  <a:lnTo>
                    <a:pt x="973" y="1506"/>
                  </a:lnTo>
                  <a:cubicBezTo>
                    <a:pt x="980" y="1492"/>
                    <a:pt x="987" y="1478"/>
                    <a:pt x="994" y="1468"/>
                  </a:cubicBezTo>
                  <a:lnTo>
                    <a:pt x="1008" y="1440"/>
                  </a:lnTo>
                  <a:lnTo>
                    <a:pt x="1033" y="1401"/>
                  </a:lnTo>
                  <a:lnTo>
                    <a:pt x="1047" y="1377"/>
                  </a:lnTo>
                  <a:lnTo>
                    <a:pt x="1075" y="1338"/>
                  </a:lnTo>
                  <a:lnTo>
                    <a:pt x="1089" y="1314"/>
                  </a:lnTo>
                  <a:lnTo>
                    <a:pt x="1120" y="1268"/>
                  </a:lnTo>
                  <a:lnTo>
                    <a:pt x="1134" y="1251"/>
                  </a:lnTo>
                  <a:cubicBezTo>
                    <a:pt x="1166" y="1205"/>
                    <a:pt x="1197" y="1167"/>
                    <a:pt x="1229" y="1128"/>
                  </a:cubicBezTo>
                  <a:lnTo>
                    <a:pt x="1243" y="1111"/>
                  </a:lnTo>
                  <a:lnTo>
                    <a:pt x="1278" y="1069"/>
                  </a:lnTo>
                  <a:lnTo>
                    <a:pt x="1295" y="1051"/>
                  </a:lnTo>
                  <a:lnTo>
                    <a:pt x="1327" y="1016"/>
                  </a:lnTo>
                  <a:lnTo>
                    <a:pt x="1344" y="995"/>
                  </a:lnTo>
                  <a:lnTo>
                    <a:pt x="1372" y="960"/>
                  </a:lnTo>
                  <a:lnTo>
                    <a:pt x="1390" y="943"/>
                  </a:lnTo>
                  <a:lnTo>
                    <a:pt x="1418" y="911"/>
                  </a:lnTo>
                  <a:lnTo>
                    <a:pt x="1432" y="897"/>
                  </a:lnTo>
                  <a:lnTo>
                    <a:pt x="1463" y="862"/>
                  </a:lnTo>
                  <a:lnTo>
                    <a:pt x="1470" y="855"/>
                  </a:lnTo>
                  <a:lnTo>
                    <a:pt x="1509" y="817"/>
                  </a:lnTo>
                  <a:cubicBezTo>
                    <a:pt x="1407" y="740"/>
                    <a:pt x="1309" y="652"/>
                    <a:pt x="1225" y="558"/>
                  </a:cubicBezTo>
                  <a:cubicBezTo>
                    <a:pt x="1050" y="376"/>
                    <a:pt x="847" y="173"/>
                    <a:pt x="662" y="134"/>
                  </a:cubicBezTo>
                  <a:cubicBezTo>
                    <a:pt x="522" y="99"/>
                    <a:pt x="389" y="57"/>
                    <a:pt x="2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4" name="Google Shape;6561;p64">
              <a:extLst>
                <a:ext uri="{FF2B5EF4-FFF2-40B4-BE49-F238E27FC236}">
                  <a16:creationId xmlns:a16="http://schemas.microsoft.com/office/drawing/2014/main" id="{7DC5ACA4-419A-43D8-93AA-3444428E6561}"/>
                </a:ext>
              </a:extLst>
            </p:cNvPr>
            <p:cNvSpPr/>
            <p:nvPr/>
          </p:nvSpPr>
          <p:spPr>
            <a:xfrm>
              <a:off x="1659470" y="201547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lnTo>
                    <a:pt x="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5" name="Google Shape;6562;p64">
              <a:extLst>
                <a:ext uri="{FF2B5EF4-FFF2-40B4-BE49-F238E27FC236}">
                  <a16:creationId xmlns:a16="http://schemas.microsoft.com/office/drawing/2014/main" id="{4112F391-C05F-3A81-73E2-7DCD407CC1B2}"/>
                </a:ext>
              </a:extLst>
            </p:cNvPr>
            <p:cNvSpPr/>
            <p:nvPr/>
          </p:nvSpPr>
          <p:spPr>
            <a:xfrm>
              <a:off x="1656714" y="2018936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6" name="Google Shape;6563;p64">
              <a:extLst>
                <a:ext uri="{FF2B5EF4-FFF2-40B4-BE49-F238E27FC236}">
                  <a16:creationId xmlns:a16="http://schemas.microsoft.com/office/drawing/2014/main" id="{B9E8939E-4686-849A-0A12-1EEF4B62F166}"/>
                </a:ext>
              </a:extLst>
            </p:cNvPr>
            <p:cNvSpPr/>
            <p:nvPr/>
          </p:nvSpPr>
          <p:spPr>
            <a:xfrm>
              <a:off x="1660760" y="201414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7" name="Google Shape;6564;p64">
              <a:extLst>
                <a:ext uri="{FF2B5EF4-FFF2-40B4-BE49-F238E27FC236}">
                  <a16:creationId xmlns:a16="http://schemas.microsoft.com/office/drawing/2014/main" id="{2B8229AD-433B-C4B1-C008-AEB095A7618F}"/>
                </a:ext>
              </a:extLst>
            </p:cNvPr>
            <p:cNvSpPr/>
            <p:nvPr/>
          </p:nvSpPr>
          <p:spPr>
            <a:xfrm>
              <a:off x="1654487" y="2022412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8" name="Google Shape;6565;p64">
              <a:extLst>
                <a:ext uri="{FF2B5EF4-FFF2-40B4-BE49-F238E27FC236}">
                  <a16:creationId xmlns:a16="http://schemas.microsoft.com/office/drawing/2014/main" id="{74857843-0F64-FC9B-D8C1-46362A8882B8}"/>
                </a:ext>
              </a:extLst>
            </p:cNvPr>
            <p:cNvSpPr/>
            <p:nvPr/>
          </p:nvSpPr>
          <p:spPr>
            <a:xfrm>
              <a:off x="1660095" y="2014808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18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9" name="Google Shape;6566;p64">
              <a:extLst>
                <a:ext uri="{FF2B5EF4-FFF2-40B4-BE49-F238E27FC236}">
                  <a16:creationId xmlns:a16="http://schemas.microsoft.com/office/drawing/2014/main" id="{2E28E463-515B-BB9E-5241-EFEE31D33586}"/>
                </a:ext>
              </a:extLst>
            </p:cNvPr>
            <p:cNvSpPr/>
            <p:nvPr/>
          </p:nvSpPr>
          <p:spPr>
            <a:xfrm>
              <a:off x="1655478" y="2020646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1"/>
                  </a:moveTo>
                  <a:lnTo>
                    <a:pt x="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0" name="Google Shape;6567;p64">
              <a:extLst>
                <a:ext uri="{FF2B5EF4-FFF2-40B4-BE49-F238E27FC236}">
                  <a16:creationId xmlns:a16="http://schemas.microsoft.com/office/drawing/2014/main" id="{88A44249-0562-39D8-3BA2-BAE64C7D990D}"/>
                </a:ext>
              </a:extLst>
            </p:cNvPr>
            <p:cNvSpPr/>
            <p:nvPr/>
          </p:nvSpPr>
          <p:spPr>
            <a:xfrm>
              <a:off x="1654962" y="2021556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14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1" name="Google Shape;6568;p64">
              <a:extLst>
                <a:ext uri="{FF2B5EF4-FFF2-40B4-BE49-F238E27FC236}">
                  <a16:creationId xmlns:a16="http://schemas.microsoft.com/office/drawing/2014/main" id="{47BB98AE-F87C-23CB-4F09-147CC691A555}"/>
                </a:ext>
              </a:extLst>
            </p:cNvPr>
            <p:cNvSpPr/>
            <p:nvPr/>
          </p:nvSpPr>
          <p:spPr>
            <a:xfrm>
              <a:off x="1656049" y="2019791"/>
              <a:ext cx="258" cy="353"/>
            </a:xfrm>
            <a:custGeom>
              <a:avLst/>
              <a:gdLst/>
              <a:ahLst/>
              <a:cxnLst/>
              <a:rect l="l" t="t" r="r" b="b"/>
              <a:pathLst>
                <a:path w="19" h="26" extrusionOk="0">
                  <a:moveTo>
                    <a:pt x="18" y="1"/>
                  </a:moveTo>
                  <a:lnTo>
                    <a:pt x="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2" name="Google Shape;6569;p64">
              <a:extLst>
                <a:ext uri="{FF2B5EF4-FFF2-40B4-BE49-F238E27FC236}">
                  <a16:creationId xmlns:a16="http://schemas.microsoft.com/office/drawing/2014/main" id="{65BEBF7B-B601-B799-EB89-BD98E8056E5C}"/>
                </a:ext>
              </a:extLst>
            </p:cNvPr>
            <p:cNvSpPr/>
            <p:nvPr/>
          </p:nvSpPr>
          <p:spPr>
            <a:xfrm>
              <a:off x="1645933" y="2026634"/>
              <a:ext cx="4711" cy="774"/>
            </a:xfrm>
            <a:custGeom>
              <a:avLst/>
              <a:gdLst/>
              <a:ahLst/>
              <a:cxnLst/>
              <a:rect l="l" t="t" r="r" b="b"/>
              <a:pathLst>
                <a:path w="347" h="57" extrusionOk="0">
                  <a:moveTo>
                    <a:pt x="46" y="43"/>
                  </a:moveTo>
                  <a:cubicBezTo>
                    <a:pt x="32" y="46"/>
                    <a:pt x="14" y="50"/>
                    <a:pt x="0" y="57"/>
                  </a:cubicBezTo>
                  <a:cubicBezTo>
                    <a:pt x="14" y="50"/>
                    <a:pt x="32" y="46"/>
                    <a:pt x="46" y="43"/>
                  </a:cubicBezTo>
                  <a:cubicBezTo>
                    <a:pt x="144" y="11"/>
                    <a:pt x="245" y="1"/>
                    <a:pt x="347" y="8"/>
                  </a:cubicBezTo>
                  <a:cubicBezTo>
                    <a:pt x="245" y="1"/>
                    <a:pt x="144" y="11"/>
                    <a:pt x="46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3" name="Google Shape;6570;p64">
              <a:extLst>
                <a:ext uri="{FF2B5EF4-FFF2-40B4-BE49-F238E27FC236}">
                  <a16:creationId xmlns:a16="http://schemas.microsoft.com/office/drawing/2014/main" id="{E0C538B6-80EF-5579-D9DC-B0F700C9367C}"/>
                </a:ext>
              </a:extLst>
            </p:cNvPr>
            <p:cNvSpPr/>
            <p:nvPr/>
          </p:nvSpPr>
          <p:spPr>
            <a:xfrm>
              <a:off x="1658194" y="2017035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4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4" name="Google Shape;6571;p64">
              <a:extLst>
                <a:ext uri="{FF2B5EF4-FFF2-40B4-BE49-F238E27FC236}">
                  <a16:creationId xmlns:a16="http://schemas.microsoft.com/office/drawing/2014/main" id="{CAC62C31-1718-3531-2AB2-6CEF92F29129}"/>
                </a:ext>
              </a:extLst>
            </p:cNvPr>
            <p:cNvSpPr/>
            <p:nvPr/>
          </p:nvSpPr>
          <p:spPr>
            <a:xfrm>
              <a:off x="1645268" y="2027395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5" name="Google Shape;6572;p64">
              <a:extLst>
                <a:ext uri="{FF2B5EF4-FFF2-40B4-BE49-F238E27FC236}">
                  <a16:creationId xmlns:a16="http://schemas.microsoft.com/office/drawing/2014/main" id="{C2D71EB5-497B-B213-FC7E-8A93CD23C1BD}"/>
                </a:ext>
              </a:extLst>
            </p:cNvPr>
            <p:cNvSpPr/>
            <p:nvPr/>
          </p:nvSpPr>
          <p:spPr>
            <a:xfrm>
              <a:off x="1658859" y="2016234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18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6" name="Google Shape;6573;p64">
              <a:extLst>
                <a:ext uri="{FF2B5EF4-FFF2-40B4-BE49-F238E27FC236}">
                  <a16:creationId xmlns:a16="http://schemas.microsoft.com/office/drawing/2014/main" id="{BBCC1939-063A-3230-E2DC-8BD1A328B45A}"/>
                </a:ext>
              </a:extLst>
            </p:cNvPr>
            <p:cNvSpPr/>
            <p:nvPr/>
          </p:nvSpPr>
          <p:spPr>
            <a:xfrm>
              <a:off x="1661371" y="201361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7" name="Google Shape;6574;p64">
              <a:extLst>
                <a:ext uri="{FF2B5EF4-FFF2-40B4-BE49-F238E27FC236}">
                  <a16:creationId xmlns:a16="http://schemas.microsoft.com/office/drawing/2014/main" id="{D4CFFC9D-D144-B482-F8F5-29EEB971EC90}"/>
                </a:ext>
              </a:extLst>
            </p:cNvPr>
            <p:cNvSpPr/>
            <p:nvPr/>
          </p:nvSpPr>
          <p:spPr>
            <a:xfrm>
              <a:off x="1654107" y="2023308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1"/>
                  </a:moveTo>
                  <a:cubicBezTo>
                    <a:pt x="7" y="8"/>
                    <a:pt x="4" y="15"/>
                    <a:pt x="0" y="22"/>
                  </a:cubicBezTo>
                  <a:cubicBezTo>
                    <a:pt x="4" y="15"/>
                    <a:pt x="7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8" name="Google Shape;6575;p64">
              <a:extLst>
                <a:ext uri="{FF2B5EF4-FFF2-40B4-BE49-F238E27FC236}">
                  <a16:creationId xmlns:a16="http://schemas.microsoft.com/office/drawing/2014/main" id="{CE1AA44F-6E71-E817-0F10-FBE0A1080324}"/>
                </a:ext>
              </a:extLst>
            </p:cNvPr>
            <p:cNvSpPr/>
            <p:nvPr/>
          </p:nvSpPr>
          <p:spPr>
            <a:xfrm>
              <a:off x="1641697" y="2026919"/>
              <a:ext cx="3476" cy="733"/>
            </a:xfrm>
            <a:custGeom>
              <a:avLst/>
              <a:gdLst/>
              <a:ahLst/>
              <a:cxnLst/>
              <a:rect l="l" t="t" r="r" b="b"/>
              <a:pathLst>
                <a:path w="256" h="54" extrusionOk="0">
                  <a:moveTo>
                    <a:pt x="1" y="1"/>
                  </a:moveTo>
                  <a:cubicBezTo>
                    <a:pt x="54" y="37"/>
                    <a:pt x="118" y="54"/>
                    <a:pt x="183" y="54"/>
                  </a:cubicBezTo>
                  <a:cubicBezTo>
                    <a:pt x="183" y="54"/>
                    <a:pt x="183" y="54"/>
                    <a:pt x="184" y="54"/>
                  </a:cubicBezTo>
                  <a:lnTo>
                    <a:pt x="184" y="54"/>
                  </a:lnTo>
                  <a:cubicBezTo>
                    <a:pt x="184" y="54"/>
                    <a:pt x="184" y="54"/>
                    <a:pt x="184" y="54"/>
                  </a:cubicBezTo>
                  <a:cubicBezTo>
                    <a:pt x="208" y="54"/>
                    <a:pt x="232" y="51"/>
                    <a:pt x="256" y="46"/>
                  </a:cubicBezTo>
                  <a:lnTo>
                    <a:pt x="256" y="46"/>
                  </a:lnTo>
                  <a:cubicBezTo>
                    <a:pt x="232" y="51"/>
                    <a:pt x="208" y="54"/>
                    <a:pt x="184" y="54"/>
                  </a:cubicBezTo>
                  <a:lnTo>
                    <a:pt x="184" y="54"/>
                  </a:lnTo>
                  <a:cubicBezTo>
                    <a:pt x="120" y="54"/>
                    <a:pt x="56" y="36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9" name="Google Shape;6576;p64">
              <a:extLst>
                <a:ext uri="{FF2B5EF4-FFF2-40B4-BE49-F238E27FC236}">
                  <a16:creationId xmlns:a16="http://schemas.microsoft.com/office/drawing/2014/main" id="{C59D3FE6-14DD-E3C9-FECB-4DDD2D38E1F2}"/>
                </a:ext>
              </a:extLst>
            </p:cNvPr>
            <p:cNvSpPr/>
            <p:nvPr/>
          </p:nvSpPr>
          <p:spPr>
            <a:xfrm>
              <a:off x="1643123" y="2023688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0" name="Google Shape;6577;p64">
              <a:extLst>
                <a:ext uri="{FF2B5EF4-FFF2-40B4-BE49-F238E27FC236}">
                  <a16:creationId xmlns:a16="http://schemas.microsoft.com/office/drawing/2014/main" id="{1B162DB0-AB40-926C-CA17-4DC982009564}"/>
                </a:ext>
              </a:extLst>
            </p:cNvPr>
            <p:cNvSpPr/>
            <p:nvPr/>
          </p:nvSpPr>
          <p:spPr>
            <a:xfrm>
              <a:off x="1643082" y="202383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1" name="Google Shape;6578;p64">
              <a:extLst>
                <a:ext uri="{FF2B5EF4-FFF2-40B4-BE49-F238E27FC236}">
                  <a16:creationId xmlns:a16="http://schemas.microsoft.com/office/drawing/2014/main" id="{A9205EC8-8727-EEC1-7C80-7CC4F01B66B6}"/>
                </a:ext>
              </a:extLst>
            </p:cNvPr>
            <p:cNvSpPr/>
            <p:nvPr/>
          </p:nvSpPr>
          <p:spPr>
            <a:xfrm>
              <a:off x="1642458" y="2013097"/>
              <a:ext cx="1344" cy="8798"/>
            </a:xfrm>
            <a:custGeom>
              <a:avLst/>
              <a:gdLst/>
              <a:ahLst/>
              <a:cxnLst/>
              <a:rect l="l" t="t" r="r" b="b"/>
              <a:pathLst>
                <a:path w="99" h="648" extrusionOk="0">
                  <a:moveTo>
                    <a:pt x="1" y="1"/>
                  </a:moveTo>
                  <a:lnTo>
                    <a:pt x="1" y="1"/>
                  </a:lnTo>
                  <a:cubicBezTo>
                    <a:pt x="74" y="183"/>
                    <a:pt x="95" y="473"/>
                    <a:pt x="85" y="648"/>
                  </a:cubicBezTo>
                  <a:cubicBezTo>
                    <a:pt x="99" y="473"/>
                    <a:pt x="74" y="18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2" name="Google Shape;6579;p64">
              <a:extLst>
                <a:ext uri="{FF2B5EF4-FFF2-40B4-BE49-F238E27FC236}">
                  <a16:creationId xmlns:a16="http://schemas.microsoft.com/office/drawing/2014/main" id="{FECEA63F-C734-F602-FA11-FA8917701217}"/>
                </a:ext>
              </a:extLst>
            </p:cNvPr>
            <p:cNvSpPr/>
            <p:nvPr/>
          </p:nvSpPr>
          <p:spPr>
            <a:xfrm>
              <a:off x="1644128" y="200435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3" name="Google Shape;6580;p64">
              <a:extLst>
                <a:ext uri="{FF2B5EF4-FFF2-40B4-BE49-F238E27FC236}">
                  <a16:creationId xmlns:a16="http://schemas.microsoft.com/office/drawing/2014/main" id="{8285EDA5-6211-AFFB-FC31-FD148AA0CCCF}"/>
                </a:ext>
              </a:extLst>
            </p:cNvPr>
            <p:cNvSpPr/>
            <p:nvPr/>
          </p:nvSpPr>
          <p:spPr>
            <a:xfrm>
              <a:off x="1644358" y="20037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4" name="Google Shape;6581;p64">
              <a:extLst>
                <a:ext uri="{FF2B5EF4-FFF2-40B4-BE49-F238E27FC236}">
                  <a16:creationId xmlns:a16="http://schemas.microsoft.com/office/drawing/2014/main" id="{EC5F76C3-A62F-BB7D-6BD0-A77D076F52CD}"/>
                </a:ext>
              </a:extLst>
            </p:cNvPr>
            <p:cNvSpPr/>
            <p:nvPr/>
          </p:nvSpPr>
          <p:spPr>
            <a:xfrm>
              <a:off x="1644834" y="200205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5" name="Google Shape;6582;p64">
              <a:extLst>
                <a:ext uri="{FF2B5EF4-FFF2-40B4-BE49-F238E27FC236}">
                  <a16:creationId xmlns:a16="http://schemas.microsoft.com/office/drawing/2014/main" id="{C655FF8B-2B26-B886-49C7-3913EDAF1507}"/>
                </a:ext>
              </a:extLst>
            </p:cNvPr>
            <p:cNvSpPr/>
            <p:nvPr/>
          </p:nvSpPr>
          <p:spPr>
            <a:xfrm>
              <a:off x="1644033" y="200454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6" name="Google Shape;6583;p64">
              <a:extLst>
                <a:ext uri="{FF2B5EF4-FFF2-40B4-BE49-F238E27FC236}">
                  <a16:creationId xmlns:a16="http://schemas.microsoft.com/office/drawing/2014/main" id="{5A372F61-FBA4-4B89-FBA5-C5167BD787E3}"/>
                </a:ext>
              </a:extLst>
            </p:cNvPr>
            <p:cNvSpPr/>
            <p:nvPr/>
          </p:nvSpPr>
          <p:spPr>
            <a:xfrm>
              <a:off x="1643028" y="202387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7" name="Google Shape;6584;p64">
              <a:extLst>
                <a:ext uri="{FF2B5EF4-FFF2-40B4-BE49-F238E27FC236}">
                  <a16:creationId xmlns:a16="http://schemas.microsoft.com/office/drawing/2014/main" id="{DDACA5FF-19DD-87E9-8129-4DE6A8236884}"/>
                </a:ext>
              </a:extLst>
            </p:cNvPr>
            <p:cNvSpPr/>
            <p:nvPr/>
          </p:nvSpPr>
          <p:spPr>
            <a:xfrm>
              <a:off x="1643693" y="200511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8" name="Google Shape;6585;p64">
              <a:extLst>
                <a:ext uri="{FF2B5EF4-FFF2-40B4-BE49-F238E27FC236}">
                  <a16:creationId xmlns:a16="http://schemas.microsoft.com/office/drawing/2014/main" id="{06C0B3C7-8872-A9A3-062B-9EA321E59D64}"/>
                </a:ext>
              </a:extLst>
            </p:cNvPr>
            <p:cNvSpPr/>
            <p:nvPr/>
          </p:nvSpPr>
          <p:spPr>
            <a:xfrm>
              <a:off x="1644453" y="200338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9" name="Google Shape;6586;p64">
              <a:extLst>
                <a:ext uri="{FF2B5EF4-FFF2-40B4-BE49-F238E27FC236}">
                  <a16:creationId xmlns:a16="http://schemas.microsoft.com/office/drawing/2014/main" id="{2B436E43-DEDA-C8F7-5FF9-DD09945F39AF}"/>
                </a:ext>
              </a:extLst>
            </p:cNvPr>
            <p:cNvSpPr/>
            <p:nvPr/>
          </p:nvSpPr>
          <p:spPr>
            <a:xfrm>
              <a:off x="1642607" y="202459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0" name="Google Shape;6587;p64">
              <a:extLst>
                <a:ext uri="{FF2B5EF4-FFF2-40B4-BE49-F238E27FC236}">
                  <a16:creationId xmlns:a16="http://schemas.microsoft.com/office/drawing/2014/main" id="{5AAD4CC5-0AA1-D5F3-01FE-6AA5E5B61DF4}"/>
                </a:ext>
              </a:extLst>
            </p:cNvPr>
            <p:cNvSpPr/>
            <p:nvPr/>
          </p:nvSpPr>
          <p:spPr>
            <a:xfrm>
              <a:off x="1642987" y="202402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1" name="Google Shape;6588;p64">
              <a:extLst>
                <a:ext uri="{FF2B5EF4-FFF2-40B4-BE49-F238E27FC236}">
                  <a16:creationId xmlns:a16="http://schemas.microsoft.com/office/drawing/2014/main" id="{D99066C1-AB9A-58F8-33B3-9EF7B66DF9DA}"/>
                </a:ext>
              </a:extLst>
            </p:cNvPr>
            <p:cNvSpPr/>
            <p:nvPr/>
          </p:nvSpPr>
          <p:spPr>
            <a:xfrm>
              <a:off x="1642702" y="20244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2" name="Google Shape;6589;p64">
              <a:extLst>
                <a:ext uri="{FF2B5EF4-FFF2-40B4-BE49-F238E27FC236}">
                  <a16:creationId xmlns:a16="http://schemas.microsoft.com/office/drawing/2014/main" id="{67508833-03C5-FD00-B276-75CFEAF17BB7}"/>
                </a:ext>
              </a:extLst>
            </p:cNvPr>
            <p:cNvSpPr/>
            <p:nvPr/>
          </p:nvSpPr>
          <p:spPr>
            <a:xfrm>
              <a:off x="1643652" y="200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3" name="Google Shape;6590;p64">
              <a:extLst>
                <a:ext uri="{FF2B5EF4-FFF2-40B4-BE49-F238E27FC236}">
                  <a16:creationId xmlns:a16="http://schemas.microsoft.com/office/drawing/2014/main" id="{E004796B-F8B0-8F43-6F6C-80FA0B216118}"/>
                </a:ext>
              </a:extLst>
            </p:cNvPr>
            <p:cNvSpPr/>
            <p:nvPr/>
          </p:nvSpPr>
          <p:spPr>
            <a:xfrm>
              <a:off x="1642838" y="20242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4" name="Google Shape;6591;p64">
              <a:extLst>
                <a:ext uri="{FF2B5EF4-FFF2-40B4-BE49-F238E27FC236}">
                  <a16:creationId xmlns:a16="http://schemas.microsoft.com/office/drawing/2014/main" id="{E7DA5557-0F07-FEA8-7FBF-7B786885575B}"/>
                </a:ext>
              </a:extLst>
            </p:cNvPr>
            <p:cNvSpPr/>
            <p:nvPr/>
          </p:nvSpPr>
          <p:spPr>
            <a:xfrm>
              <a:off x="1643408" y="2021882"/>
              <a:ext cx="163" cy="1113"/>
            </a:xfrm>
            <a:custGeom>
              <a:avLst/>
              <a:gdLst/>
              <a:ahLst/>
              <a:cxnLst/>
              <a:rect l="l" t="t" r="r" b="b"/>
              <a:pathLst>
                <a:path w="12" h="82" extrusionOk="0">
                  <a:moveTo>
                    <a:pt x="1" y="81"/>
                  </a:moveTo>
                  <a:cubicBezTo>
                    <a:pt x="4" y="53"/>
                    <a:pt x="11" y="29"/>
                    <a:pt x="11" y="1"/>
                  </a:cubicBezTo>
                  <a:cubicBezTo>
                    <a:pt x="11" y="29"/>
                    <a:pt x="4" y="53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5" name="Google Shape;6592;p64">
              <a:extLst>
                <a:ext uri="{FF2B5EF4-FFF2-40B4-BE49-F238E27FC236}">
                  <a16:creationId xmlns:a16="http://schemas.microsoft.com/office/drawing/2014/main" id="{8BD65CD1-E857-0A25-7CD6-B788B9B2D041}"/>
                </a:ext>
              </a:extLst>
            </p:cNvPr>
            <p:cNvSpPr/>
            <p:nvPr/>
          </p:nvSpPr>
          <p:spPr>
            <a:xfrm>
              <a:off x="1644698" y="200258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6" name="Google Shape;6593;p64">
              <a:extLst>
                <a:ext uri="{FF2B5EF4-FFF2-40B4-BE49-F238E27FC236}">
                  <a16:creationId xmlns:a16="http://schemas.microsoft.com/office/drawing/2014/main" id="{DD6DA71E-3196-35C4-360F-BFD5FEFEF477}"/>
                </a:ext>
              </a:extLst>
            </p:cNvPr>
            <p:cNvSpPr/>
            <p:nvPr/>
          </p:nvSpPr>
          <p:spPr>
            <a:xfrm>
              <a:off x="1643937" y="200473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7" name="Google Shape;6594;p64">
              <a:extLst>
                <a:ext uri="{FF2B5EF4-FFF2-40B4-BE49-F238E27FC236}">
                  <a16:creationId xmlns:a16="http://schemas.microsoft.com/office/drawing/2014/main" id="{E0BA924E-124B-5132-314C-97F59F415789}"/>
                </a:ext>
              </a:extLst>
            </p:cNvPr>
            <p:cNvSpPr/>
            <p:nvPr/>
          </p:nvSpPr>
          <p:spPr>
            <a:xfrm>
              <a:off x="1642267" y="20252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8" name="Google Shape;6595;p64">
              <a:extLst>
                <a:ext uri="{FF2B5EF4-FFF2-40B4-BE49-F238E27FC236}">
                  <a16:creationId xmlns:a16="http://schemas.microsoft.com/office/drawing/2014/main" id="{E753DC8F-8093-10F7-9040-01D24CFD35AE}"/>
                </a:ext>
              </a:extLst>
            </p:cNvPr>
            <p:cNvSpPr/>
            <p:nvPr/>
          </p:nvSpPr>
          <p:spPr>
            <a:xfrm>
              <a:off x="1644603" y="2003009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9" name="Google Shape;6596;p64">
              <a:extLst>
                <a:ext uri="{FF2B5EF4-FFF2-40B4-BE49-F238E27FC236}">
                  <a16:creationId xmlns:a16="http://schemas.microsoft.com/office/drawing/2014/main" id="{9C8AB142-A383-0046-EF1D-2EC9438ADDD9}"/>
                </a:ext>
              </a:extLst>
            </p:cNvPr>
            <p:cNvSpPr/>
            <p:nvPr/>
          </p:nvSpPr>
          <p:spPr>
            <a:xfrm>
              <a:off x="1642892" y="20241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0" name="Google Shape;6597;p64">
              <a:extLst>
                <a:ext uri="{FF2B5EF4-FFF2-40B4-BE49-F238E27FC236}">
                  <a16:creationId xmlns:a16="http://schemas.microsoft.com/office/drawing/2014/main" id="{A8F76FFE-8BAE-1586-BF41-914C5DE22784}"/>
                </a:ext>
              </a:extLst>
            </p:cNvPr>
            <p:cNvSpPr/>
            <p:nvPr/>
          </p:nvSpPr>
          <p:spPr>
            <a:xfrm>
              <a:off x="1643598" y="200525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1" name="Google Shape;6598;p64">
              <a:extLst>
                <a:ext uri="{FF2B5EF4-FFF2-40B4-BE49-F238E27FC236}">
                  <a16:creationId xmlns:a16="http://schemas.microsoft.com/office/drawing/2014/main" id="{A17AB47D-9489-2D1A-D973-331C76B2C19A}"/>
                </a:ext>
              </a:extLst>
            </p:cNvPr>
            <p:cNvSpPr/>
            <p:nvPr/>
          </p:nvSpPr>
          <p:spPr>
            <a:xfrm>
              <a:off x="1643842" y="200486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2" name="Google Shape;6599;p64">
              <a:extLst>
                <a:ext uri="{FF2B5EF4-FFF2-40B4-BE49-F238E27FC236}">
                  <a16:creationId xmlns:a16="http://schemas.microsoft.com/office/drawing/2014/main" id="{FC1ADD8F-7202-DD0C-CD32-E1C4C4A53B8A}"/>
                </a:ext>
              </a:extLst>
            </p:cNvPr>
            <p:cNvSpPr/>
            <p:nvPr/>
          </p:nvSpPr>
          <p:spPr>
            <a:xfrm>
              <a:off x="1642458" y="202488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3" name="Google Shape;6600;p64">
              <a:extLst>
                <a:ext uri="{FF2B5EF4-FFF2-40B4-BE49-F238E27FC236}">
                  <a16:creationId xmlns:a16="http://schemas.microsoft.com/office/drawing/2014/main" id="{846CDCE8-8AC2-641B-0818-48CFDE73CC95}"/>
                </a:ext>
              </a:extLst>
            </p:cNvPr>
            <p:cNvSpPr/>
            <p:nvPr/>
          </p:nvSpPr>
          <p:spPr>
            <a:xfrm>
              <a:off x="1643747" y="20049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4" name="Google Shape;6601;p64">
              <a:extLst>
                <a:ext uri="{FF2B5EF4-FFF2-40B4-BE49-F238E27FC236}">
                  <a16:creationId xmlns:a16="http://schemas.microsoft.com/office/drawing/2014/main" id="{E7D35D3A-5509-FE97-82C4-EBA1DD50B9C6}"/>
                </a:ext>
              </a:extLst>
            </p:cNvPr>
            <p:cNvSpPr/>
            <p:nvPr/>
          </p:nvSpPr>
          <p:spPr>
            <a:xfrm>
              <a:off x="1415781" y="1868483"/>
              <a:ext cx="74445" cy="23055"/>
            </a:xfrm>
            <a:custGeom>
              <a:avLst/>
              <a:gdLst/>
              <a:ahLst/>
              <a:cxnLst/>
              <a:rect l="l" t="t" r="r" b="b"/>
              <a:pathLst>
                <a:path w="5483" h="1698" extrusionOk="0">
                  <a:moveTo>
                    <a:pt x="1463" y="0"/>
                  </a:moveTo>
                  <a:cubicBezTo>
                    <a:pt x="950" y="0"/>
                    <a:pt x="486" y="202"/>
                    <a:pt x="210" y="411"/>
                  </a:cubicBezTo>
                  <a:cubicBezTo>
                    <a:pt x="67" y="516"/>
                    <a:pt x="11" y="597"/>
                    <a:pt x="0" y="628"/>
                  </a:cubicBezTo>
                  <a:cubicBezTo>
                    <a:pt x="13" y="640"/>
                    <a:pt x="31" y="646"/>
                    <a:pt x="54" y="646"/>
                  </a:cubicBezTo>
                  <a:cubicBezTo>
                    <a:pt x="212" y="646"/>
                    <a:pt x="577" y="372"/>
                    <a:pt x="746" y="247"/>
                  </a:cubicBezTo>
                  <a:lnTo>
                    <a:pt x="847" y="170"/>
                  </a:lnTo>
                  <a:cubicBezTo>
                    <a:pt x="912" y="121"/>
                    <a:pt x="989" y="94"/>
                    <a:pt x="1068" y="94"/>
                  </a:cubicBezTo>
                  <a:cubicBezTo>
                    <a:pt x="1113" y="94"/>
                    <a:pt x="1158" y="103"/>
                    <a:pt x="1201" y="121"/>
                  </a:cubicBezTo>
                  <a:cubicBezTo>
                    <a:pt x="1337" y="177"/>
                    <a:pt x="1439" y="289"/>
                    <a:pt x="1484" y="429"/>
                  </a:cubicBezTo>
                  <a:cubicBezTo>
                    <a:pt x="1484" y="429"/>
                    <a:pt x="1519" y="562"/>
                    <a:pt x="2346" y="597"/>
                  </a:cubicBezTo>
                  <a:cubicBezTo>
                    <a:pt x="2668" y="611"/>
                    <a:pt x="2843" y="761"/>
                    <a:pt x="3011" y="908"/>
                  </a:cubicBezTo>
                  <a:cubicBezTo>
                    <a:pt x="3154" y="1034"/>
                    <a:pt x="3291" y="1150"/>
                    <a:pt x="3522" y="1202"/>
                  </a:cubicBezTo>
                  <a:cubicBezTo>
                    <a:pt x="3683" y="1241"/>
                    <a:pt x="3770" y="1290"/>
                    <a:pt x="3805" y="1360"/>
                  </a:cubicBezTo>
                  <a:cubicBezTo>
                    <a:pt x="3841" y="1433"/>
                    <a:pt x="3805" y="1507"/>
                    <a:pt x="3781" y="1563"/>
                  </a:cubicBezTo>
                  <a:cubicBezTo>
                    <a:pt x="3770" y="1580"/>
                    <a:pt x="3763" y="1601"/>
                    <a:pt x="3760" y="1622"/>
                  </a:cubicBezTo>
                  <a:cubicBezTo>
                    <a:pt x="3770" y="1633"/>
                    <a:pt x="3781" y="1640"/>
                    <a:pt x="3795" y="1643"/>
                  </a:cubicBezTo>
                  <a:cubicBezTo>
                    <a:pt x="3902" y="1682"/>
                    <a:pt x="4174" y="1698"/>
                    <a:pt x="4469" y="1698"/>
                  </a:cubicBezTo>
                  <a:cubicBezTo>
                    <a:pt x="4899" y="1698"/>
                    <a:pt x="5379" y="1665"/>
                    <a:pt x="5482" y="1619"/>
                  </a:cubicBezTo>
                  <a:cubicBezTo>
                    <a:pt x="5426" y="1493"/>
                    <a:pt x="4842" y="1115"/>
                    <a:pt x="4527" y="1115"/>
                  </a:cubicBezTo>
                  <a:cubicBezTo>
                    <a:pt x="4352" y="1115"/>
                    <a:pt x="4044" y="961"/>
                    <a:pt x="3623" y="751"/>
                  </a:cubicBezTo>
                  <a:cubicBezTo>
                    <a:pt x="3112" y="495"/>
                    <a:pt x="2475" y="180"/>
                    <a:pt x="1866" y="44"/>
                  </a:cubicBezTo>
                  <a:cubicBezTo>
                    <a:pt x="1730" y="14"/>
                    <a:pt x="1595" y="0"/>
                    <a:pt x="1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5" name="Google Shape;6602;p64">
              <a:extLst>
                <a:ext uri="{FF2B5EF4-FFF2-40B4-BE49-F238E27FC236}">
                  <a16:creationId xmlns:a16="http://schemas.microsoft.com/office/drawing/2014/main" id="{19200A52-2249-EA05-F1BF-27A0C709A7CA}"/>
                </a:ext>
              </a:extLst>
            </p:cNvPr>
            <p:cNvSpPr/>
            <p:nvPr/>
          </p:nvSpPr>
          <p:spPr>
            <a:xfrm>
              <a:off x="1460410" y="1905007"/>
              <a:ext cx="815" cy="434"/>
            </a:xfrm>
            <a:custGeom>
              <a:avLst/>
              <a:gdLst/>
              <a:ahLst/>
              <a:cxnLst/>
              <a:rect l="l" t="t" r="r" b="b"/>
              <a:pathLst>
                <a:path w="60" h="32" extrusionOk="0">
                  <a:moveTo>
                    <a:pt x="56" y="0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6" name="Google Shape;6603;p64">
              <a:extLst>
                <a:ext uri="{FF2B5EF4-FFF2-40B4-BE49-F238E27FC236}">
                  <a16:creationId xmlns:a16="http://schemas.microsoft.com/office/drawing/2014/main" id="{40127740-9E3B-4C6E-8332-6CA9D509F6F1}"/>
                </a:ext>
              </a:extLst>
            </p:cNvPr>
            <p:cNvSpPr/>
            <p:nvPr/>
          </p:nvSpPr>
          <p:spPr>
            <a:xfrm>
              <a:off x="1461402" y="1905075"/>
              <a:ext cx="13333" cy="3286"/>
            </a:xfrm>
            <a:custGeom>
              <a:avLst/>
              <a:gdLst/>
              <a:ahLst/>
              <a:cxnLst/>
              <a:rect l="l" t="t" r="r" b="b"/>
              <a:pathLst>
                <a:path w="982" h="242" extrusionOk="0">
                  <a:moveTo>
                    <a:pt x="141" y="0"/>
                  </a:moveTo>
                  <a:cubicBezTo>
                    <a:pt x="79" y="0"/>
                    <a:pt x="29" y="5"/>
                    <a:pt x="1" y="13"/>
                  </a:cubicBezTo>
                  <a:cubicBezTo>
                    <a:pt x="95" y="103"/>
                    <a:pt x="511" y="241"/>
                    <a:pt x="798" y="241"/>
                  </a:cubicBezTo>
                  <a:cubicBezTo>
                    <a:pt x="812" y="241"/>
                    <a:pt x="825" y="241"/>
                    <a:pt x="838" y="240"/>
                  </a:cubicBezTo>
                  <a:cubicBezTo>
                    <a:pt x="925" y="237"/>
                    <a:pt x="967" y="216"/>
                    <a:pt x="981" y="198"/>
                  </a:cubicBezTo>
                  <a:cubicBezTo>
                    <a:pt x="971" y="181"/>
                    <a:pt x="911" y="135"/>
                    <a:pt x="736" y="83"/>
                  </a:cubicBezTo>
                  <a:cubicBezTo>
                    <a:pt x="525" y="26"/>
                    <a:pt x="293" y="0"/>
                    <a:pt x="14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7" name="Google Shape;6604;p64">
              <a:extLst>
                <a:ext uri="{FF2B5EF4-FFF2-40B4-BE49-F238E27FC236}">
                  <a16:creationId xmlns:a16="http://schemas.microsoft.com/office/drawing/2014/main" id="{21F896FF-E08E-A91C-A648-8294C9308EC1}"/>
                </a:ext>
              </a:extLst>
            </p:cNvPr>
            <p:cNvSpPr/>
            <p:nvPr/>
          </p:nvSpPr>
          <p:spPr>
            <a:xfrm>
              <a:off x="1545446" y="1904002"/>
              <a:ext cx="11039" cy="3720"/>
            </a:xfrm>
            <a:custGeom>
              <a:avLst/>
              <a:gdLst/>
              <a:ahLst/>
              <a:cxnLst/>
              <a:rect l="l" t="t" r="r" b="b"/>
              <a:pathLst>
                <a:path w="813" h="274" extrusionOk="0">
                  <a:moveTo>
                    <a:pt x="308" y="1"/>
                  </a:moveTo>
                  <a:cubicBezTo>
                    <a:pt x="179" y="1"/>
                    <a:pt x="63" y="18"/>
                    <a:pt x="21" y="60"/>
                  </a:cubicBezTo>
                  <a:cubicBezTo>
                    <a:pt x="14" y="67"/>
                    <a:pt x="0" y="78"/>
                    <a:pt x="28" y="120"/>
                  </a:cubicBezTo>
                  <a:cubicBezTo>
                    <a:pt x="109" y="246"/>
                    <a:pt x="260" y="274"/>
                    <a:pt x="371" y="274"/>
                  </a:cubicBezTo>
                  <a:cubicBezTo>
                    <a:pt x="396" y="274"/>
                    <a:pt x="418" y="272"/>
                    <a:pt x="438" y="270"/>
                  </a:cubicBezTo>
                  <a:cubicBezTo>
                    <a:pt x="641" y="253"/>
                    <a:pt x="795" y="165"/>
                    <a:pt x="809" y="130"/>
                  </a:cubicBezTo>
                  <a:cubicBezTo>
                    <a:pt x="813" y="120"/>
                    <a:pt x="781" y="99"/>
                    <a:pt x="781" y="99"/>
                  </a:cubicBezTo>
                  <a:cubicBezTo>
                    <a:pt x="687" y="36"/>
                    <a:pt x="483" y="1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8" name="Google Shape;6605;p64">
              <a:extLst>
                <a:ext uri="{FF2B5EF4-FFF2-40B4-BE49-F238E27FC236}">
                  <a16:creationId xmlns:a16="http://schemas.microsoft.com/office/drawing/2014/main" id="{E4520388-98AB-9468-9BE3-52AD70562DFC}"/>
                </a:ext>
              </a:extLst>
            </p:cNvPr>
            <p:cNvSpPr/>
            <p:nvPr/>
          </p:nvSpPr>
          <p:spPr>
            <a:xfrm>
              <a:off x="1591976" y="2466518"/>
              <a:ext cx="8907" cy="7115"/>
            </a:xfrm>
            <a:custGeom>
              <a:avLst/>
              <a:gdLst/>
              <a:ahLst/>
              <a:cxnLst/>
              <a:rect l="l" t="t" r="r" b="b"/>
              <a:pathLst>
                <a:path w="656" h="524" extrusionOk="0">
                  <a:moveTo>
                    <a:pt x="619" y="1"/>
                  </a:moveTo>
                  <a:cubicBezTo>
                    <a:pt x="614" y="1"/>
                    <a:pt x="610" y="1"/>
                    <a:pt x="606" y="3"/>
                  </a:cubicBezTo>
                  <a:cubicBezTo>
                    <a:pt x="431" y="3"/>
                    <a:pt x="78" y="255"/>
                    <a:pt x="18" y="434"/>
                  </a:cubicBezTo>
                  <a:cubicBezTo>
                    <a:pt x="1" y="486"/>
                    <a:pt x="18" y="500"/>
                    <a:pt x="43" y="511"/>
                  </a:cubicBezTo>
                  <a:cubicBezTo>
                    <a:pt x="59" y="519"/>
                    <a:pt x="79" y="523"/>
                    <a:pt x="100" y="523"/>
                  </a:cubicBezTo>
                  <a:cubicBezTo>
                    <a:pt x="197" y="523"/>
                    <a:pt x="338" y="442"/>
                    <a:pt x="470" y="304"/>
                  </a:cubicBezTo>
                  <a:cubicBezTo>
                    <a:pt x="620" y="147"/>
                    <a:pt x="655" y="28"/>
                    <a:pt x="645" y="7"/>
                  </a:cubicBezTo>
                  <a:cubicBezTo>
                    <a:pt x="641" y="3"/>
                    <a:pt x="638" y="3"/>
                    <a:pt x="634" y="3"/>
                  </a:cubicBezTo>
                  <a:cubicBezTo>
                    <a:pt x="629" y="1"/>
                    <a:pt x="624" y="1"/>
                    <a:pt x="6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9" name="Google Shape;6606;p64">
              <a:extLst>
                <a:ext uri="{FF2B5EF4-FFF2-40B4-BE49-F238E27FC236}">
                  <a16:creationId xmlns:a16="http://schemas.microsoft.com/office/drawing/2014/main" id="{F0B82C93-3946-8003-1233-158C5355F97E}"/>
                </a:ext>
              </a:extLst>
            </p:cNvPr>
            <p:cNvSpPr/>
            <p:nvPr/>
          </p:nvSpPr>
          <p:spPr>
            <a:xfrm>
              <a:off x="1602621" y="2468718"/>
              <a:ext cx="10862" cy="5540"/>
            </a:xfrm>
            <a:custGeom>
              <a:avLst/>
              <a:gdLst/>
              <a:ahLst/>
              <a:cxnLst/>
              <a:rect l="l" t="t" r="r" b="b"/>
              <a:pathLst>
                <a:path w="800" h="408" extrusionOk="0">
                  <a:moveTo>
                    <a:pt x="660" y="1"/>
                  </a:moveTo>
                  <a:cubicBezTo>
                    <a:pt x="633" y="1"/>
                    <a:pt x="604" y="5"/>
                    <a:pt x="572" y="13"/>
                  </a:cubicBezTo>
                  <a:cubicBezTo>
                    <a:pt x="309" y="72"/>
                    <a:pt x="29" y="317"/>
                    <a:pt x="1" y="401"/>
                  </a:cubicBezTo>
                  <a:cubicBezTo>
                    <a:pt x="15" y="405"/>
                    <a:pt x="32" y="407"/>
                    <a:pt x="53" y="407"/>
                  </a:cubicBezTo>
                  <a:cubicBezTo>
                    <a:pt x="197" y="407"/>
                    <a:pt x="491" y="316"/>
                    <a:pt x="684" y="188"/>
                  </a:cubicBezTo>
                  <a:cubicBezTo>
                    <a:pt x="782" y="121"/>
                    <a:pt x="799" y="79"/>
                    <a:pt x="799" y="72"/>
                  </a:cubicBezTo>
                  <a:cubicBezTo>
                    <a:pt x="772" y="25"/>
                    <a:pt x="725" y="1"/>
                    <a:pt x="6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0" name="Google Shape;6607;p64">
              <a:extLst>
                <a:ext uri="{FF2B5EF4-FFF2-40B4-BE49-F238E27FC236}">
                  <a16:creationId xmlns:a16="http://schemas.microsoft.com/office/drawing/2014/main" id="{A10255F8-563A-CFAD-D2FB-C687D4300221}"/>
                </a:ext>
              </a:extLst>
            </p:cNvPr>
            <p:cNvSpPr/>
            <p:nvPr/>
          </p:nvSpPr>
          <p:spPr>
            <a:xfrm>
              <a:off x="1441633" y="2034672"/>
              <a:ext cx="41181" cy="45838"/>
            </a:xfrm>
            <a:custGeom>
              <a:avLst/>
              <a:gdLst/>
              <a:ahLst/>
              <a:cxnLst/>
              <a:rect l="l" t="t" r="r" b="b"/>
              <a:pathLst>
                <a:path w="3033" h="3376" extrusionOk="0">
                  <a:moveTo>
                    <a:pt x="1117" y="1"/>
                  </a:moveTo>
                  <a:cubicBezTo>
                    <a:pt x="1110" y="25"/>
                    <a:pt x="1100" y="46"/>
                    <a:pt x="1082" y="64"/>
                  </a:cubicBezTo>
                  <a:cubicBezTo>
                    <a:pt x="1019" y="141"/>
                    <a:pt x="869" y="197"/>
                    <a:pt x="687" y="207"/>
                  </a:cubicBezTo>
                  <a:cubicBezTo>
                    <a:pt x="578" y="214"/>
                    <a:pt x="564" y="295"/>
                    <a:pt x="564" y="494"/>
                  </a:cubicBezTo>
                  <a:lnTo>
                    <a:pt x="564" y="540"/>
                  </a:lnTo>
                  <a:cubicBezTo>
                    <a:pt x="564" y="659"/>
                    <a:pt x="494" y="715"/>
                    <a:pt x="435" y="764"/>
                  </a:cubicBezTo>
                  <a:cubicBezTo>
                    <a:pt x="386" y="795"/>
                    <a:pt x="344" y="841"/>
                    <a:pt x="319" y="893"/>
                  </a:cubicBezTo>
                  <a:cubicBezTo>
                    <a:pt x="302" y="932"/>
                    <a:pt x="291" y="974"/>
                    <a:pt x="291" y="1019"/>
                  </a:cubicBezTo>
                  <a:cubicBezTo>
                    <a:pt x="284" y="1096"/>
                    <a:pt x="270" y="1152"/>
                    <a:pt x="141" y="1219"/>
                  </a:cubicBezTo>
                  <a:cubicBezTo>
                    <a:pt x="81" y="1240"/>
                    <a:pt x="32" y="1289"/>
                    <a:pt x="11" y="1352"/>
                  </a:cubicBezTo>
                  <a:cubicBezTo>
                    <a:pt x="1" y="1404"/>
                    <a:pt x="11" y="1457"/>
                    <a:pt x="43" y="1499"/>
                  </a:cubicBezTo>
                  <a:cubicBezTo>
                    <a:pt x="141" y="1642"/>
                    <a:pt x="78" y="1772"/>
                    <a:pt x="39" y="1859"/>
                  </a:cubicBezTo>
                  <a:cubicBezTo>
                    <a:pt x="32" y="1877"/>
                    <a:pt x="25" y="1895"/>
                    <a:pt x="18" y="1912"/>
                  </a:cubicBezTo>
                  <a:cubicBezTo>
                    <a:pt x="46" y="1937"/>
                    <a:pt x="74" y="1958"/>
                    <a:pt x="106" y="1979"/>
                  </a:cubicBezTo>
                  <a:cubicBezTo>
                    <a:pt x="179" y="2021"/>
                    <a:pt x="249" y="2073"/>
                    <a:pt x="312" y="2129"/>
                  </a:cubicBezTo>
                  <a:cubicBezTo>
                    <a:pt x="346" y="2161"/>
                    <a:pt x="365" y="2171"/>
                    <a:pt x="381" y="2171"/>
                  </a:cubicBezTo>
                  <a:cubicBezTo>
                    <a:pt x="393" y="2171"/>
                    <a:pt x="403" y="2165"/>
                    <a:pt x="417" y="2157"/>
                  </a:cubicBezTo>
                  <a:cubicBezTo>
                    <a:pt x="431" y="2150"/>
                    <a:pt x="458" y="2134"/>
                    <a:pt x="490" y="2134"/>
                  </a:cubicBezTo>
                  <a:cubicBezTo>
                    <a:pt x="522" y="2134"/>
                    <a:pt x="559" y="2150"/>
                    <a:pt x="592" y="2206"/>
                  </a:cubicBezTo>
                  <a:cubicBezTo>
                    <a:pt x="634" y="2290"/>
                    <a:pt x="631" y="2392"/>
                    <a:pt x="582" y="2472"/>
                  </a:cubicBezTo>
                  <a:cubicBezTo>
                    <a:pt x="536" y="2549"/>
                    <a:pt x="459" y="2609"/>
                    <a:pt x="372" y="2633"/>
                  </a:cubicBezTo>
                  <a:lnTo>
                    <a:pt x="375" y="2640"/>
                  </a:lnTo>
                  <a:lnTo>
                    <a:pt x="386" y="2654"/>
                  </a:lnTo>
                  <a:cubicBezTo>
                    <a:pt x="393" y="2665"/>
                    <a:pt x="396" y="2675"/>
                    <a:pt x="403" y="2686"/>
                  </a:cubicBezTo>
                  <a:lnTo>
                    <a:pt x="410" y="2700"/>
                  </a:lnTo>
                  <a:cubicBezTo>
                    <a:pt x="417" y="2710"/>
                    <a:pt x="421" y="2721"/>
                    <a:pt x="424" y="2735"/>
                  </a:cubicBezTo>
                  <a:cubicBezTo>
                    <a:pt x="424" y="2738"/>
                    <a:pt x="428" y="2742"/>
                    <a:pt x="428" y="2745"/>
                  </a:cubicBezTo>
                  <a:cubicBezTo>
                    <a:pt x="431" y="2756"/>
                    <a:pt x="435" y="2770"/>
                    <a:pt x="435" y="2784"/>
                  </a:cubicBezTo>
                  <a:lnTo>
                    <a:pt x="435" y="2794"/>
                  </a:lnTo>
                  <a:cubicBezTo>
                    <a:pt x="438" y="2805"/>
                    <a:pt x="438" y="2812"/>
                    <a:pt x="435" y="2822"/>
                  </a:cubicBezTo>
                  <a:lnTo>
                    <a:pt x="435" y="2836"/>
                  </a:lnTo>
                  <a:cubicBezTo>
                    <a:pt x="435" y="2843"/>
                    <a:pt x="431" y="2854"/>
                    <a:pt x="431" y="2861"/>
                  </a:cubicBezTo>
                  <a:cubicBezTo>
                    <a:pt x="431" y="2864"/>
                    <a:pt x="431" y="2868"/>
                    <a:pt x="428" y="2871"/>
                  </a:cubicBezTo>
                  <a:cubicBezTo>
                    <a:pt x="421" y="2882"/>
                    <a:pt x="417" y="2896"/>
                    <a:pt x="410" y="2906"/>
                  </a:cubicBezTo>
                  <a:cubicBezTo>
                    <a:pt x="393" y="2927"/>
                    <a:pt x="375" y="2952"/>
                    <a:pt x="354" y="2973"/>
                  </a:cubicBezTo>
                  <a:cubicBezTo>
                    <a:pt x="344" y="2987"/>
                    <a:pt x="333" y="3001"/>
                    <a:pt x="323" y="3015"/>
                  </a:cubicBezTo>
                  <a:cubicBezTo>
                    <a:pt x="344" y="3046"/>
                    <a:pt x="372" y="3074"/>
                    <a:pt x="400" y="3099"/>
                  </a:cubicBezTo>
                  <a:cubicBezTo>
                    <a:pt x="430" y="3127"/>
                    <a:pt x="456" y="3136"/>
                    <a:pt x="484" y="3136"/>
                  </a:cubicBezTo>
                  <a:cubicBezTo>
                    <a:pt x="504" y="3136"/>
                    <a:pt x="525" y="3131"/>
                    <a:pt x="550" y="3127"/>
                  </a:cubicBezTo>
                  <a:lnTo>
                    <a:pt x="592" y="3116"/>
                  </a:lnTo>
                  <a:lnTo>
                    <a:pt x="596" y="3116"/>
                  </a:lnTo>
                  <a:cubicBezTo>
                    <a:pt x="610" y="3116"/>
                    <a:pt x="624" y="3113"/>
                    <a:pt x="638" y="3113"/>
                  </a:cubicBezTo>
                  <a:lnTo>
                    <a:pt x="666" y="3113"/>
                  </a:lnTo>
                  <a:lnTo>
                    <a:pt x="683" y="3116"/>
                  </a:lnTo>
                  <a:lnTo>
                    <a:pt x="690" y="3116"/>
                  </a:lnTo>
                  <a:lnTo>
                    <a:pt x="704" y="3120"/>
                  </a:lnTo>
                  <a:lnTo>
                    <a:pt x="711" y="3123"/>
                  </a:lnTo>
                  <a:lnTo>
                    <a:pt x="725" y="3130"/>
                  </a:lnTo>
                  <a:lnTo>
                    <a:pt x="732" y="3134"/>
                  </a:lnTo>
                  <a:cubicBezTo>
                    <a:pt x="739" y="3137"/>
                    <a:pt x="746" y="3141"/>
                    <a:pt x="753" y="3144"/>
                  </a:cubicBezTo>
                  <a:lnTo>
                    <a:pt x="760" y="3151"/>
                  </a:lnTo>
                  <a:lnTo>
                    <a:pt x="774" y="3162"/>
                  </a:lnTo>
                  <a:lnTo>
                    <a:pt x="781" y="3169"/>
                  </a:lnTo>
                  <a:lnTo>
                    <a:pt x="799" y="3186"/>
                  </a:lnTo>
                  <a:lnTo>
                    <a:pt x="806" y="3193"/>
                  </a:lnTo>
                  <a:cubicBezTo>
                    <a:pt x="813" y="3200"/>
                    <a:pt x="820" y="3207"/>
                    <a:pt x="827" y="3218"/>
                  </a:cubicBezTo>
                  <a:cubicBezTo>
                    <a:pt x="858" y="3267"/>
                    <a:pt x="897" y="3309"/>
                    <a:pt x="939" y="3351"/>
                  </a:cubicBezTo>
                  <a:cubicBezTo>
                    <a:pt x="949" y="3365"/>
                    <a:pt x="967" y="3372"/>
                    <a:pt x="988" y="3375"/>
                  </a:cubicBezTo>
                  <a:cubicBezTo>
                    <a:pt x="995" y="3375"/>
                    <a:pt x="1040" y="3361"/>
                    <a:pt x="1103" y="3207"/>
                  </a:cubicBezTo>
                  <a:cubicBezTo>
                    <a:pt x="1135" y="3134"/>
                    <a:pt x="1166" y="3053"/>
                    <a:pt x="1194" y="2966"/>
                  </a:cubicBezTo>
                  <a:cubicBezTo>
                    <a:pt x="1303" y="2672"/>
                    <a:pt x="1415" y="2364"/>
                    <a:pt x="1639" y="2297"/>
                  </a:cubicBezTo>
                  <a:cubicBezTo>
                    <a:pt x="1670" y="2287"/>
                    <a:pt x="1705" y="2280"/>
                    <a:pt x="1740" y="2269"/>
                  </a:cubicBezTo>
                  <a:cubicBezTo>
                    <a:pt x="2014" y="2192"/>
                    <a:pt x="2427" y="2077"/>
                    <a:pt x="2679" y="1737"/>
                  </a:cubicBezTo>
                  <a:cubicBezTo>
                    <a:pt x="2840" y="1523"/>
                    <a:pt x="2864" y="1429"/>
                    <a:pt x="2878" y="1359"/>
                  </a:cubicBezTo>
                  <a:cubicBezTo>
                    <a:pt x="2892" y="1282"/>
                    <a:pt x="2934" y="1215"/>
                    <a:pt x="2994" y="1170"/>
                  </a:cubicBezTo>
                  <a:lnTo>
                    <a:pt x="3008" y="1159"/>
                  </a:lnTo>
                  <a:lnTo>
                    <a:pt x="3015" y="1152"/>
                  </a:lnTo>
                  <a:lnTo>
                    <a:pt x="3018" y="1149"/>
                  </a:lnTo>
                  <a:lnTo>
                    <a:pt x="3025" y="1142"/>
                  </a:lnTo>
                  <a:lnTo>
                    <a:pt x="3029" y="1135"/>
                  </a:lnTo>
                  <a:lnTo>
                    <a:pt x="3029" y="1131"/>
                  </a:lnTo>
                  <a:cubicBezTo>
                    <a:pt x="3029" y="1128"/>
                    <a:pt x="3029" y="1128"/>
                    <a:pt x="3029" y="1124"/>
                  </a:cubicBezTo>
                  <a:lnTo>
                    <a:pt x="3029" y="1117"/>
                  </a:lnTo>
                  <a:cubicBezTo>
                    <a:pt x="3032" y="1082"/>
                    <a:pt x="2983" y="1016"/>
                    <a:pt x="2927" y="949"/>
                  </a:cubicBezTo>
                  <a:lnTo>
                    <a:pt x="2917" y="935"/>
                  </a:lnTo>
                  <a:lnTo>
                    <a:pt x="2892" y="911"/>
                  </a:lnTo>
                  <a:lnTo>
                    <a:pt x="2885" y="900"/>
                  </a:lnTo>
                  <a:lnTo>
                    <a:pt x="2857" y="872"/>
                  </a:lnTo>
                  <a:lnTo>
                    <a:pt x="2833" y="844"/>
                  </a:lnTo>
                  <a:cubicBezTo>
                    <a:pt x="2808" y="816"/>
                    <a:pt x="2763" y="764"/>
                    <a:pt x="2714" y="715"/>
                  </a:cubicBezTo>
                  <a:lnTo>
                    <a:pt x="2693" y="694"/>
                  </a:lnTo>
                  <a:lnTo>
                    <a:pt x="2682" y="683"/>
                  </a:lnTo>
                  <a:lnTo>
                    <a:pt x="2651" y="652"/>
                  </a:lnTo>
                  <a:lnTo>
                    <a:pt x="2619" y="624"/>
                  </a:lnTo>
                  <a:cubicBezTo>
                    <a:pt x="2602" y="603"/>
                    <a:pt x="2581" y="585"/>
                    <a:pt x="2560" y="571"/>
                  </a:cubicBezTo>
                  <a:cubicBezTo>
                    <a:pt x="2553" y="564"/>
                    <a:pt x="2542" y="557"/>
                    <a:pt x="2532" y="554"/>
                  </a:cubicBezTo>
                  <a:cubicBezTo>
                    <a:pt x="2525" y="557"/>
                    <a:pt x="2521" y="564"/>
                    <a:pt x="2514" y="568"/>
                  </a:cubicBezTo>
                  <a:cubicBezTo>
                    <a:pt x="2465" y="603"/>
                    <a:pt x="2386" y="623"/>
                    <a:pt x="2300" y="623"/>
                  </a:cubicBezTo>
                  <a:cubicBezTo>
                    <a:pt x="2214" y="623"/>
                    <a:pt x="2120" y="603"/>
                    <a:pt x="2042" y="557"/>
                  </a:cubicBezTo>
                  <a:cubicBezTo>
                    <a:pt x="1975" y="515"/>
                    <a:pt x="1916" y="466"/>
                    <a:pt x="1866" y="410"/>
                  </a:cubicBezTo>
                  <a:cubicBezTo>
                    <a:pt x="1814" y="358"/>
                    <a:pt x="1772" y="312"/>
                    <a:pt x="1733" y="312"/>
                  </a:cubicBezTo>
                  <a:lnTo>
                    <a:pt x="1695" y="312"/>
                  </a:lnTo>
                  <a:lnTo>
                    <a:pt x="1674" y="305"/>
                  </a:lnTo>
                  <a:lnTo>
                    <a:pt x="1660" y="302"/>
                  </a:lnTo>
                  <a:lnTo>
                    <a:pt x="1639" y="295"/>
                  </a:lnTo>
                  <a:lnTo>
                    <a:pt x="1625" y="291"/>
                  </a:lnTo>
                  <a:lnTo>
                    <a:pt x="1597" y="281"/>
                  </a:lnTo>
                  <a:lnTo>
                    <a:pt x="1583" y="274"/>
                  </a:lnTo>
                  <a:lnTo>
                    <a:pt x="1548" y="260"/>
                  </a:lnTo>
                  <a:lnTo>
                    <a:pt x="1541" y="256"/>
                  </a:lnTo>
                  <a:lnTo>
                    <a:pt x="1495" y="232"/>
                  </a:lnTo>
                  <a:lnTo>
                    <a:pt x="1481" y="225"/>
                  </a:lnTo>
                  <a:lnTo>
                    <a:pt x="1450" y="207"/>
                  </a:lnTo>
                  <a:lnTo>
                    <a:pt x="1432" y="197"/>
                  </a:lnTo>
                  <a:lnTo>
                    <a:pt x="1401" y="183"/>
                  </a:lnTo>
                  <a:lnTo>
                    <a:pt x="1380" y="169"/>
                  </a:lnTo>
                  <a:lnTo>
                    <a:pt x="1352" y="151"/>
                  </a:lnTo>
                  <a:lnTo>
                    <a:pt x="1331" y="141"/>
                  </a:lnTo>
                  <a:lnTo>
                    <a:pt x="1299" y="123"/>
                  </a:lnTo>
                  <a:lnTo>
                    <a:pt x="1285" y="113"/>
                  </a:lnTo>
                  <a:lnTo>
                    <a:pt x="1236" y="85"/>
                  </a:lnTo>
                  <a:lnTo>
                    <a:pt x="1226" y="74"/>
                  </a:lnTo>
                  <a:lnTo>
                    <a:pt x="1191" y="53"/>
                  </a:lnTo>
                  <a:lnTo>
                    <a:pt x="1173" y="39"/>
                  </a:lnTo>
                  <a:lnTo>
                    <a:pt x="1149" y="22"/>
                  </a:lnTo>
                  <a:lnTo>
                    <a:pt x="1128" y="8"/>
                  </a:lnTo>
                  <a:lnTo>
                    <a:pt x="11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1" name="Google Shape;6608;p64">
              <a:extLst>
                <a:ext uri="{FF2B5EF4-FFF2-40B4-BE49-F238E27FC236}">
                  <a16:creationId xmlns:a16="http://schemas.microsoft.com/office/drawing/2014/main" id="{70CC756B-3BFC-6E2C-0C8C-F0CE55B83243}"/>
                </a:ext>
              </a:extLst>
            </p:cNvPr>
            <p:cNvSpPr/>
            <p:nvPr/>
          </p:nvSpPr>
          <p:spPr>
            <a:xfrm>
              <a:off x="1464633" y="2038813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2" name="Google Shape;6609;p64">
              <a:extLst>
                <a:ext uri="{FF2B5EF4-FFF2-40B4-BE49-F238E27FC236}">
                  <a16:creationId xmlns:a16="http://schemas.microsoft.com/office/drawing/2014/main" id="{7F4A8607-C4BD-D221-E37A-D5A9E17FEAB0}"/>
                </a:ext>
              </a:extLst>
            </p:cNvPr>
            <p:cNvSpPr/>
            <p:nvPr/>
          </p:nvSpPr>
          <p:spPr>
            <a:xfrm>
              <a:off x="1462501" y="2038053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3" name="Google Shape;6610;p64">
              <a:extLst>
                <a:ext uri="{FF2B5EF4-FFF2-40B4-BE49-F238E27FC236}">
                  <a16:creationId xmlns:a16="http://schemas.microsoft.com/office/drawing/2014/main" id="{1A371020-CCD4-79CA-6B65-FDC03E6CC2A7}"/>
                </a:ext>
              </a:extLst>
            </p:cNvPr>
            <p:cNvSpPr/>
            <p:nvPr/>
          </p:nvSpPr>
          <p:spPr>
            <a:xfrm>
              <a:off x="1475767" y="2042140"/>
              <a:ext cx="244" cy="244"/>
            </a:xfrm>
            <a:custGeom>
              <a:avLst/>
              <a:gdLst/>
              <a:ahLst/>
              <a:cxnLst/>
              <a:rect l="l" t="t" r="r" b="b"/>
              <a:pathLst>
                <a:path w="18" h="18" extrusionOk="0">
                  <a:moveTo>
                    <a:pt x="0" y="18"/>
                  </a:moveTo>
                  <a:cubicBezTo>
                    <a:pt x="7" y="11"/>
                    <a:pt x="11" y="7"/>
                    <a:pt x="18" y="0"/>
                  </a:cubicBezTo>
                  <a:cubicBezTo>
                    <a:pt x="11" y="7"/>
                    <a:pt x="7" y="11"/>
                    <a:pt x="0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4" name="Google Shape;6611;p64">
              <a:extLst>
                <a:ext uri="{FF2B5EF4-FFF2-40B4-BE49-F238E27FC236}">
                  <a16:creationId xmlns:a16="http://schemas.microsoft.com/office/drawing/2014/main" id="{9064C37A-8EAE-4BCE-A161-ECD9A806BDC1}"/>
                </a:ext>
              </a:extLst>
            </p:cNvPr>
            <p:cNvSpPr/>
            <p:nvPr/>
          </p:nvSpPr>
          <p:spPr>
            <a:xfrm>
              <a:off x="1463112" y="203833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5" name="Google Shape;6612;p64">
              <a:extLst>
                <a:ext uri="{FF2B5EF4-FFF2-40B4-BE49-F238E27FC236}">
                  <a16:creationId xmlns:a16="http://schemas.microsoft.com/office/drawing/2014/main" id="{5BA3E975-6010-870F-B140-BC675ECD3C7A}"/>
                </a:ext>
              </a:extLst>
            </p:cNvPr>
            <p:cNvSpPr/>
            <p:nvPr/>
          </p:nvSpPr>
          <p:spPr>
            <a:xfrm>
              <a:off x="1464158" y="203871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6" name="Google Shape;6613;p64">
              <a:extLst>
                <a:ext uri="{FF2B5EF4-FFF2-40B4-BE49-F238E27FC236}">
                  <a16:creationId xmlns:a16="http://schemas.microsoft.com/office/drawing/2014/main" id="{4D6E16EE-2742-39AE-73C0-7BE07B10D5A7}"/>
                </a:ext>
              </a:extLst>
            </p:cNvPr>
            <p:cNvSpPr/>
            <p:nvPr/>
          </p:nvSpPr>
          <p:spPr>
            <a:xfrm>
              <a:off x="1463642" y="203856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7" name="Google Shape;6614;p64">
              <a:extLst>
                <a:ext uri="{FF2B5EF4-FFF2-40B4-BE49-F238E27FC236}">
                  <a16:creationId xmlns:a16="http://schemas.microsoft.com/office/drawing/2014/main" id="{4FA5BA9A-9489-6917-C2BB-6EA2F09493B4}"/>
                </a:ext>
              </a:extLst>
            </p:cNvPr>
            <p:cNvSpPr/>
            <p:nvPr/>
          </p:nvSpPr>
          <p:spPr>
            <a:xfrm>
              <a:off x="1478048" y="204389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8" name="Google Shape;6615;p64">
              <a:extLst>
                <a:ext uri="{FF2B5EF4-FFF2-40B4-BE49-F238E27FC236}">
                  <a16:creationId xmlns:a16="http://schemas.microsoft.com/office/drawing/2014/main" id="{56383646-1D8E-5014-9323-1CD941248E74}"/>
                </a:ext>
              </a:extLst>
            </p:cNvPr>
            <p:cNvSpPr/>
            <p:nvPr/>
          </p:nvSpPr>
          <p:spPr>
            <a:xfrm>
              <a:off x="1478428" y="2044326"/>
              <a:ext cx="1670" cy="1819"/>
            </a:xfrm>
            <a:custGeom>
              <a:avLst/>
              <a:gdLst/>
              <a:ahLst/>
              <a:cxnLst/>
              <a:rect l="l" t="t" r="r" b="b"/>
              <a:pathLst>
                <a:path w="12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49" y="49"/>
                    <a:pt x="91" y="98"/>
                    <a:pt x="116" y="130"/>
                  </a:cubicBezTo>
                  <a:lnTo>
                    <a:pt x="123" y="133"/>
                  </a:lnTo>
                  <a:cubicBezTo>
                    <a:pt x="98" y="105"/>
                    <a:pt x="53" y="5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9" name="Google Shape;6616;p64">
              <a:extLst>
                <a:ext uri="{FF2B5EF4-FFF2-40B4-BE49-F238E27FC236}">
                  <a16:creationId xmlns:a16="http://schemas.microsoft.com/office/drawing/2014/main" id="{5D6CA063-E83F-7A57-C969-91DE1457038D}"/>
                </a:ext>
              </a:extLst>
            </p:cNvPr>
            <p:cNvSpPr/>
            <p:nvPr/>
          </p:nvSpPr>
          <p:spPr>
            <a:xfrm>
              <a:off x="1459026" y="2036152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0" name="Google Shape;6617;p64">
              <a:extLst>
                <a:ext uri="{FF2B5EF4-FFF2-40B4-BE49-F238E27FC236}">
                  <a16:creationId xmlns:a16="http://schemas.microsoft.com/office/drawing/2014/main" id="{FC1BCB07-C11C-7AE4-DCF5-D2245834BA3C}"/>
                </a:ext>
              </a:extLst>
            </p:cNvPr>
            <p:cNvSpPr/>
            <p:nvPr/>
          </p:nvSpPr>
          <p:spPr>
            <a:xfrm>
              <a:off x="1457559" y="2035147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1" name="Google Shape;6618;p64">
              <a:extLst>
                <a:ext uri="{FF2B5EF4-FFF2-40B4-BE49-F238E27FC236}">
                  <a16:creationId xmlns:a16="http://schemas.microsoft.com/office/drawing/2014/main" id="{7EED9553-CF25-96A0-5E80-DA1EFDA9A7E7}"/>
                </a:ext>
              </a:extLst>
            </p:cNvPr>
            <p:cNvSpPr/>
            <p:nvPr/>
          </p:nvSpPr>
          <p:spPr>
            <a:xfrm>
              <a:off x="1458265" y="2035622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2" name="Google Shape;6619;p64">
              <a:extLst>
                <a:ext uri="{FF2B5EF4-FFF2-40B4-BE49-F238E27FC236}">
                  <a16:creationId xmlns:a16="http://schemas.microsoft.com/office/drawing/2014/main" id="{4EDA4FB0-1F7F-C0A1-6011-EC79BC9C986E}"/>
                </a:ext>
              </a:extLst>
            </p:cNvPr>
            <p:cNvSpPr/>
            <p:nvPr/>
          </p:nvSpPr>
          <p:spPr>
            <a:xfrm>
              <a:off x="1477192" y="2043090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lnTo>
                    <a:pt x="3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3" name="Google Shape;6620;p64">
              <a:extLst>
                <a:ext uri="{FF2B5EF4-FFF2-40B4-BE49-F238E27FC236}">
                  <a16:creationId xmlns:a16="http://schemas.microsoft.com/office/drawing/2014/main" id="{0BC6D256-130E-CCC2-CC1C-409A2C61B82D}"/>
                </a:ext>
              </a:extLst>
            </p:cNvPr>
            <p:cNvSpPr/>
            <p:nvPr/>
          </p:nvSpPr>
          <p:spPr>
            <a:xfrm>
              <a:off x="1460356" y="2036912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4" name="Google Shape;6621;p64">
              <a:extLst>
                <a:ext uri="{FF2B5EF4-FFF2-40B4-BE49-F238E27FC236}">
                  <a16:creationId xmlns:a16="http://schemas.microsoft.com/office/drawing/2014/main" id="{CF5400D7-1792-6B74-B6BE-81774BF6832B}"/>
                </a:ext>
              </a:extLst>
            </p:cNvPr>
            <p:cNvSpPr/>
            <p:nvPr/>
          </p:nvSpPr>
          <p:spPr>
            <a:xfrm>
              <a:off x="1456935" y="203472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5" name="Google Shape;6622;p64">
              <a:extLst>
                <a:ext uri="{FF2B5EF4-FFF2-40B4-BE49-F238E27FC236}">
                  <a16:creationId xmlns:a16="http://schemas.microsoft.com/office/drawing/2014/main" id="{D1020900-A3ED-DD59-2941-2F5713CA3B13}"/>
                </a:ext>
              </a:extLst>
            </p:cNvPr>
            <p:cNvSpPr/>
            <p:nvPr/>
          </p:nvSpPr>
          <p:spPr>
            <a:xfrm>
              <a:off x="1459691" y="203653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6" name="Google Shape;6623;p64">
              <a:extLst>
                <a:ext uri="{FF2B5EF4-FFF2-40B4-BE49-F238E27FC236}">
                  <a16:creationId xmlns:a16="http://schemas.microsoft.com/office/drawing/2014/main" id="{4004DDDF-C848-4805-0799-864799A55972}"/>
                </a:ext>
              </a:extLst>
            </p:cNvPr>
            <p:cNvSpPr/>
            <p:nvPr/>
          </p:nvSpPr>
          <p:spPr>
            <a:xfrm>
              <a:off x="1461021" y="2037293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7" name="Google Shape;6624;p64">
              <a:extLst>
                <a:ext uri="{FF2B5EF4-FFF2-40B4-BE49-F238E27FC236}">
                  <a16:creationId xmlns:a16="http://schemas.microsoft.com/office/drawing/2014/main" id="{F0355684-EA88-99C1-7FEA-4A306A324B91}"/>
                </a:ext>
              </a:extLst>
            </p:cNvPr>
            <p:cNvSpPr/>
            <p:nvPr/>
          </p:nvSpPr>
          <p:spPr>
            <a:xfrm>
              <a:off x="1461687" y="203767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0"/>
                  </a:moveTo>
                  <a:lnTo>
                    <a:pt x="15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8" name="Google Shape;6625;p64">
              <a:extLst>
                <a:ext uri="{FF2B5EF4-FFF2-40B4-BE49-F238E27FC236}">
                  <a16:creationId xmlns:a16="http://schemas.microsoft.com/office/drawing/2014/main" id="{4192AB6A-D996-0502-2F99-F986DB134B3B}"/>
                </a:ext>
              </a:extLst>
            </p:cNvPr>
            <p:cNvSpPr/>
            <p:nvPr/>
          </p:nvSpPr>
          <p:spPr>
            <a:xfrm>
              <a:off x="1452522" y="207797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11"/>
                    <a:pt x="14" y="18"/>
                    <a:pt x="21" y="29"/>
                  </a:cubicBezTo>
                  <a:cubicBezTo>
                    <a:pt x="14" y="18"/>
                    <a:pt x="7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9" name="Google Shape;6626;p64">
              <a:extLst>
                <a:ext uri="{FF2B5EF4-FFF2-40B4-BE49-F238E27FC236}">
                  <a16:creationId xmlns:a16="http://schemas.microsoft.com/office/drawing/2014/main" id="{C89588BB-693E-860A-AAB0-AD8BFEA4918F}"/>
                </a:ext>
              </a:extLst>
            </p:cNvPr>
            <p:cNvSpPr/>
            <p:nvPr/>
          </p:nvSpPr>
          <p:spPr>
            <a:xfrm>
              <a:off x="1480084" y="2046131"/>
              <a:ext cx="733" cy="815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1" y="0"/>
                  </a:moveTo>
                  <a:lnTo>
                    <a:pt x="25" y="28"/>
                  </a:lnTo>
                  <a:lnTo>
                    <a:pt x="53" y="60"/>
                  </a:lnTo>
                  <a:lnTo>
                    <a:pt x="15" y="14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0" name="Google Shape;6627;p64">
              <a:extLst>
                <a:ext uri="{FF2B5EF4-FFF2-40B4-BE49-F238E27FC236}">
                  <a16:creationId xmlns:a16="http://schemas.microsoft.com/office/drawing/2014/main" id="{D0032D2A-720E-BD43-E5A5-DAD8E851F2B4}"/>
                </a:ext>
              </a:extLst>
            </p:cNvPr>
            <p:cNvSpPr/>
            <p:nvPr/>
          </p:nvSpPr>
          <p:spPr>
            <a:xfrm>
              <a:off x="1449100" y="2076925"/>
              <a:ext cx="530" cy="109"/>
            </a:xfrm>
            <a:custGeom>
              <a:avLst/>
              <a:gdLst/>
              <a:ahLst/>
              <a:cxnLst/>
              <a:rect l="l" t="t" r="r" b="b"/>
              <a:pathLst>
                <a:path w="39" h="8" extrusionOk="0">
                  <a:moveTo>
                    <a:pt x="39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1" name="Google Shape;6628;p64">
              <a:extLst>
                <a:ext uri="{FF2B5EF4-FFF2-40B4-BE49-F238E27FC236}">
                  <a16:creationId xmlns:a16="http://schemas.microsoft.com/office/drawing/2014/main" id="{C93A85CE-D669-3562-3E1C-A5140C19C0E7}"/>
                </a:ext>
              </a:extLst>
            </p:cNvPr>
            <p:cNvSpPr/>
            <p:nvPr/>
          </p:nvSpPr>
          <p:spPr>
            <a:xfrm>
              <a:off x="1446724" y="207046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2" name="Google Shape;6629;p64">
              <a:extLst>
                <a:ext uri="{FF2B5EF4-FFF2-40B4-BE49-F238E27FC236}">
                  <a16:creationId xmlns:a16="http://schemas.microsoft.com/office/drawing/2014/main" id="{B9E33573-3B86-BB09-ACF2-3AE7C4D84427}"/>
                </a:ext>
              </a:extLst>
            </p:cNvPr>
            <p:cNvSpPr/>
            <p:nvPr/>
          </p:nvSpPr>
          <p:spPr>
            <a:xfrm>
              <a:off x="1451897" y="2077400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3" name="Google Shape;6630;p64">
              <a:extLst>
                <a:ext uri="{FF2B5EF4-FFF2-40B4-BE49-F238E27FC236}">
                  <a16:creationId xmlns:a16="http://schemas.microsoft.com/office/drawing/2014/main" id="{C79A960D-CF8A-C2DB-FBEE-40C301E7A80D}"/>
                </a:ext>
              </a:extLst>
            </p:cNvPr>
            <p:cNvSpPr/>
            <p:nvPr/>
          </p:nvSpPr>
          <p:spPr>
            <a:xfrm>
              <a:off x="1447390" y="2071698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4"/>
                    <a:pt x="4" y="11"/>
                    <a:pt x="4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4" name="Google Shape;6631;p64">
              <a:extLst>
                <a:ext uri="{FF2B5EF4-FFF2-40B4-BE49-F238E27FC236}">
                  <a16:creationId xmlns:a16="http://schemas.microsoft.com/office/drawing/2014/main" id="{C4FE270F-8428-7768-7F3A-80A2EE3BD4D3}"/>
                </a:ext>
              </a:extLst>
            </p:cNvPr>
            <p:cNvSpPr/>
            <p:nvPr/>
          </p:nvSpPr>
          <p:spPr>
            <a:xfrm>
              <a:off x="1447104" y="2071087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5" name="Google Shape;6632;p64">
              <a:extLst>
                <a:ext uri="{FF2B5EF4-FFF2-40B4-BE49-F238E27FC236}">
                  <a16:creationId xmlns:a16="http://schemas.microsoft.com/office/drawing/2014/main" id="{EFB89A4F-6735-1674-FDB2-2F775240166E}"/>
                </a:ext>
              </a:extLst>
            </p:cNvPr>
            <p:cNvSpPr/>
            <p:nvPr/>
          </p:nvSpPr>
          <p:spPr>
            <a:xfrm>
              <a:off x="1447580" y="207293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6" name="Google Shape;6633;p64">
              <a:extLst>
                <a:ext uri="{FF2B5EF4-FFF2-40B4-BE49-F238E27FC236}">
                  <a16:creationId xmlns:a16="http://schemas.microsoft.com/office/drawing/2014/main" id="{174F25EB-FD3B-A9D0-F4FC-9583AABFA99F}"/>
                </a:ext>
              </a:extLst>
            </p:cNvPr>
            <p:cNvSpPr/>
            <p:nvPr/>
          </p:nvSpPr>
          <p:spPr>
            <a:xfrm>
              <a:off x="1482705" y="204997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7" name="Google Shape;6634;p64">
              <a:extLst>
                <a:ext uri="{FF2B5EF4-FFF2-40B4-BE49-F238E27FC236}">
                  <a16:creationId xmlns:a16="http://schemas.microsoft.com/office/drawing/2014/main" id="{DBF80B5D-AEFC-3696-0F05-F1F7FB06C6D1}"/>
                </a:ext>
              </a:extLst>
            </p:cNvPr>
            <p:cNvSpPr/>
            <p:nvPr/>
          </p:nvSpPr>
          <p:spPr>
            <a:xfrm>
              <a:off x="1452807" y="2078351"/>
              <a:ext cx="1534" cy="1819"/>
            </a:xfrm>
            <a:custGeom>
              <a:avLst/>
              <a:gdLst/>
              <a:ahLst/>
              <a:cxnLst/>
              <a:rect l="l" t="t" r="r" b="b"/>
              <a:pathLst>
                <a:path w="113" h="134" extrusionOk="0">
                  <a:moveTo>
                    <a:pt x="0" y="1"/>
                  </a:moveTo>
                  <a:lnTo>
                    <a:pt x="0" y="1"/>
                  </a:lnTo>
                  <a:cubicBezTo>
                    <a:pt x="35" y="50"/>
                    <a:pt x="70" y="92"/>
                    <a:pt x="112" y="134"/>
                  </a:cubicBezTo>
                  <a:cubicBezTo>
                    <a:pt x="70" y="92"/>
                    <a:pt x="35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8" name="Google Shape;6635;p64">
              <a:extLst>
                <a:ext uri="{FF2B5EF4-FFF2-40B4-BE49-F238E27FC236}">
                  <a16:creationId xmlns:a16="http://schemas.microsoft.com/office/drawing/2014/main" id="{FE6815BE-2765-501F-DDC4-0F7A09D2AAD6}"/>
                </a:ext>
              </a:extLst>
            </p:cNvPr>
            <p:cNvSpPr/>
            <p:nvPr/>
          </p:nvSpPr>
          <p:spPr>
            <a:xfrm>
              <a:off x="1482460" y="2050313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9" name="Google Shape;6636;p64">
              <a:extLst>
                <a:ext uri="{FF2B5EF4-FFF2-40B4-BE49-F238E27FC236}">
                  <a16:creationId xmlns:a16="http://schemas.microsoft.com/office/drawing/2014/main" id="{2E6CB6AF-DC8A-487B-3DD2-69AA6D4EBAFB}"/>
                </a:ext>
              </a:extLst>
            </p:cNvPr>
            <p:cNvSpPr/>
            <p:nvPr/>
          </p:nvSpPr>
          <p:spPr>
            <a:xfrm>
              <a:off x="1482610" y="20501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0" name="Google Shape;6637;p64">
              <a:extLst>
                <a:ext uri="{FF2B5EF4-FFF2-40B4-BE49-F238E27FC236}">
                  <a16:creationId xmlns:a16="http://schemas.microsoft.com/office/drawing/2014/main" id="{75061773-A2E3-C4D2-0281-06504641ADF3}"/>
                </a:ext>
              </a:extLst>
            </p:cNvPr>
            <p:cNvSpPr/>
            <p:nvPr/>
          </p:nvSpPr>
          <p:spPr>
            <a:xfrm>
              <a:off x="1447390" y="207346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4"/>
                    <a:pt x="0" y="7"/>
                    <a:pt x="0" y="11"/>
                  </a:cubicBezTo>
                  <a:cubicBezTo>
                    <a:pt x="4" y="7"/>
                    <a:pt x="4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1" name="Google Shape;6638;p64">
              <a:extLst>
                <a:ext uri="{FF2B5EF4-FFF2-40B4-BE49-F238E27FC236}">
                  <a16:creationId xmlns:a16="http://schemas.microsoft.com/office/drawing/2014/main" id="{A0C9C93F-78F9-9DED-F4EF-4A0B80E5AE15}"/>
                </a:ext>
              </a:extLst>
            </p:cNvPr>
            <p:cNvSpPr/>
            <p:nvPr/>
          </p:nvSpPr>
          <p:spPr>
            <a:xfrm>
              <a:off x="1481320" y="2047598"/>
              <a:ext cx="1453" cy="2295"/>
            </a:xfrm>
            <a:custGeom>
              <a:avLst/>
              <a:gdLst/>
              <a:ahLst/>
              <a:cxnLst/>
              <a:rect l="l" t="t" r="r" b="b"/>
              <a:pathLst>
                <a:path w="107" h="169" extrusionOk="0">
                  <a:moveTo>
                    <a:pt x="1" y="1"/>
                  </a:moveTo>
                  <a:cubicBezTo>
                    <a:pt x="43" y="50"/>
                    <a:pt x="78" y="93"/>
                    <a:pt x="95" y="127"/>
                  </a:cubicBezTo>
                  <a:lnTo>
                    <a:pt x="95" y="127"/>
                  </a:lnTo>
                  <a:cubicBezTo>
                    <a:pt x="77" y="91"/>
                    <a:pt x="41" y="46"/>
                    <a:pt x="1" y="1"/>
                  </a:cubicBezTo>
                  <a:close/>
                  <a:moveTo>
                    <a:pt x="95" y="127"/>
                  </a:moveTo>
                  <a:cubicBezTo>
                    <a:pt x="103" y="143"/>
                    <a:pt x="107" y="158"/>
                    <a:pt x="106" y="169"/>
                  </a:cubicBezTo>
                  <a:cubicBezTo>
                    <a:pt x="107" y="157"/>
                    <a:pt x="103" y="143"/>
                    <a:pt x="95" y="12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2" name="Google Shape;6639;p64">
              <a:extLst>
                <a:ext uri="{FF2B5EF4-FFF2-40B4-BE49-F238E27FC236}">
                  <a16:creationId xmlns:a16="http://schemas.microsoft.com/office/drawing/2014/main" id="{0CA08F63-7109-B4E1-6B51-6FCCA99C63B4}"/>
                </a:ext>
              </a:extLst>
            </p:cNvPr>
            <p:cNvSpPr/>
            <p:nvPr/>
          </p:nvSpPr>
          <p:spPr>
            <a:xfrm>
              <a:off x="1451571" y="207717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cubicBezTo>
                    <a:pt x="14" y="7"/>
                    <a:pt x="7" y="4"/>
                    <a:pt x="0" y="0"/>
                  </a:cubicBezTo>
                  <a:cubicBezTo>
                    <a:pt x="7" y="4"/>
                    <a:pt x="14" y="7"/>
                    <a:pt x="2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3" name="Google Shape;6640;p64">
              <a:extLst>
                <a:ext uri="{FF2B5EF4-FFF2-40B4-BE49-F238E27FC236}">
                  <a16:creationId xmlns:a16="http://schemas.microsoft.com/office/drawing/2014/main" id="{FC0AF6D2-B8D2-C2D3-B39C-B659DB230910}"/>
                </a:ext>
              </a:extLst>
            </p:cNvPr>
            <p:cNvSpPr/>
            <p:nvPr/>
          </p:nvSpPr>
          <p:spPr>
            <a:xfrm>
              <a:off x="1450947" y="207698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4" name="Google Shape;6641;p64">
              <a:extLst>
                <a:ext uri="{FF2B5EF4-FFF2-40B4-BE49-F238E27FC236}">
                  <a16:creationId xmlns:a16="http://schemas.microsoft.com/office/drawing/2014/main" id="{B2BAC3A2-13C1-EE68-6243-E42F46164B7D}"/>
                </a:ext>
              </a:extLst>
            </p:cNvPr>
            <p:cNvSpPr/>
            <p:nvPr/>
          </p:nvSpPr>
          <p:spPr>
            <a:xfrm>
              <a:off x="1452237" y="2077645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5" name="Google Shape;6642;p64">
              <a:extLst>
                <a:ext uri="{FF2B5EF4-FFF2-40B4-BE49-F238E27FC236}">
                  <a16:creationId xmlns:a16="http://schemas.microsoft.com/office/drawing/2014/main" id="{D12F70B8-6E6E-5155-5860-EDAF5C210AB6}"/>
                </a:ext>
              </a:extLst>
            </p:cNvPr>
            <p:cNvSpPr/>
            <p:nvPr/>
          </p:nvSpPr>
          <p:spPr>
            <a:xfrm>
              <a:off x="1449671" y="2076884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cubicBezTo>
                    <a:pt x="28" y="0"/>
                    <a:pt x="14" y="0"/>
                    <a:pt x="0" y="4"/>
                  </a:cubicBezTo>
                  <a:cubicBezTo>
                    <a:pt x="14" y="0"/>
                    <a:pt x="28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6" name="Google Shape;6643;p64">
              <a:extLst>
                <a:ext uri="{FF2B5EF4-FFF2-40B4-BE49-F238E27FC236}">
                  <a16:creationId xmlns:a16="http://schemas.microsoft.com/office/drawing/2014/main" id="{5339F832-63D2-4C49-D271-B3C17833EF12}"/>
                </a:ext>
              </a:extLst>
            </p:cNvPr>
            <p:cNvSpPr/>
            <p:nvPr/>
          </p:nvSpPr>
          <p:spPr>
            <a:xfrm>
              <a:off x="1450621" y="207688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7" name="Google Shape;6644;p64">
              <a:extLst>
                <a:ext uri="{FF2B5EF4-FFF2-40B4-BE49-F238E27FC236}">
                  <a16:creationId xmlns:a16="http://schemas.microsoft.com/office/drawing/2014/main" id="{F1A8022D-5FC4-808A-F562-C84F42D4F5B4}"/>
                </a:ext>
              </a:extLst>
            </p:cNvPr>
            <p:cNvSpPr/>
            <p:nvPr/>
          </p:nvSpPr>
          <p:spPr>
            <a:xfrm>
              <a:off x="1451286" y="2077075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8" name="Google Shape;6645;p64">
              <a:extLst>
                <a:ext uri="{FF2B5EF4-FFF2-40B4-BE49-F238E27FC236}">
                  <a16:creationId xmlns:a16="http://schemas.microsoft.com/office/drawing/2014/main" id="{10A92AB9-1A6B-D2B8-0FC9-A5223CC558FF}"/>
                </a:ext>
              </a:extLst>
            </p:cNvPr>
            <p:cNvSpPr/>
            <p:nvPr/>
          </p:nvSpPr>
          <p:spPr>
            <a:xfrm>
              <a:off x="1450336" y="207688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9" name="Google Shape;6646;p64">
              <a:extLst>
                <a:ext uri="{FF2B5EF4-FFF2-40B4-BE49-F238E27FC236}">
                  <a16:creationId xmlns:a16="http://schemas.microsoft.com/office/drawing/2014/main" id="{8DC25916-9A6D-A353-A098-58C50B4FFB16}"/>
                </a:ext>
              </a:extLst>
            </p:cNvPr>
            <p:cNvSpPr/>
            <p:nvPr/>
          </p:nvSpPr>
          <p:spPr>
            <a:xfrm>
              <a:off x="1447580" y="207241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0" name="Google Shape;6647;p64">
              <a:extLst>
                <a:ext uri="{FF2B5EF4-FFF2-40B4-BE49-F238E27FC236}">
                  <a16:creationId xmlns:a16="http://schemas.microsoft.com/office/drawing/2014/main" id="{9F0516E1-3458-5173-00DE-E9C2BEE5435C}"/>
                </a:ext>
              </a:extLst>
            </p:cNvPr>
            <p:cNvSpPr/>
            <p:nvPr/>
          </p:nvSpPr>
          <p:spPr>
            <a:xfrm>
              <a:off x="1480899" y="204708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1" name="Google Shape;6648;p64">
              <a:extLst>
                <a:ext uri="{FF2B5EF4-FFF2-40B4-BE49-F238E27FC236}">
                  <a16:creationId xmlns:a16="http://schemas.microsoft.com/office/drawing/2014/main" id="{8E208F0C-0C2C-891E-7876-142AB978E6AF}"/>
                </a:ext>
              </a:extLst>
            </p:cNvPr>
            <p:cNvSpPr/>
            <p:nvPr/>
          </p:nvSpPr>
          <p:spPr>
            <a:xfrm>
              <a:off x="1479989" y="204607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8" y="4"/>
                  </a:moveTo>
                  <a:lnTo>
                    <a:pt x="1" y="1"/>
                  </a:lnTo>
                  <a:lnTo>
                    <a:pt x="8" y="4"/>
                  </a:lnTo>
                  <a:lnTo>
                    <a:pt x="2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2" name="Google Shape;6649;p64">
              <a:extLst>
                <a:ext uri="{FF2B5EF4-FFF2-40B4-BE49-F238E27FC236}">
                  <a16:creationId xmlns:a16="http://schemas.microsoft.com/office/drawing/2014/main" id="{2A94930C-B413-0D0C-AAA3-B9DAE493A40A}"/>
                </a:ext>
              </a:extLst>
            </p:cNvPr>
            <p:cNvSpPr/>
            <p:nvPr/>
          </p:nvSpPr>
          <p:spPr>
            <a:xfrm>
              <a:off x="1504429" y="1192826"/>
              <a:ext cx="453000" cy="337170"/>
            </a:xfrm>
            <a:custGeom>
              <a:avLst/>
              <a:gdLst/>
              <a:ahLst/>
              <a:cxnLst/>
              <a:rect l="l" t="t" r="r" b="b"/>
              <a:pathLst>
                <a:path w="33364" h="24833" extrusionOk="0">
                  <a:moveTo>
                    <a:pt x="22952" y="0"/>
                  </a:moveTo>
                  <a:cubicBezTo>
                    <a:pt x="22824" y="0"/>
                    <a:pt x="22695" y="5"/>
                    <a:pt x="22570" y="14"/>
                  </a:cubicBezTo>
                  <a:cubicBezTo>
                    <a:pt x="22217" y="39"/>
                    <a:pt x="21667" y="46"/>
                    <a:pt x="21184" y="53"/>
                  </a:cubicBezTo>
                  <a:cubicBezTo>
                    <a:pt x="20778" y="60"/>
                    <a:pt x="20431" y="63"/>
                    <a:pt x="20291" y="77"/>
                  </a:cubicBezTo>
                  <a:cubicBezTo>
                    <a:pt x="20179" y="91"/>
                    <a:pt x="20067" y="112"/>
                    <a:pt x="19958" y="144"/>
                  </a:cubicBezTo>
                  <a:cubicBezTo>
                    <a:pt x="19822" y="186"/>
                    <a:pt x="19679" y="207"/>
                    <a:pt x="19539" y="207"/>
                  </a:cubicBezTo>
                  <a:cubicBezTo>
                    <a:pt x="19528" y="207"/>
                    <a:pt x="19518" y="207"/>
                    <a:pt x="19507" y="207"/>
                  </a:cubicBezTo>
                  <a:cubicBezTo>
                    <a:pt x="19486" y="205"/>
                    <a:pt x="19464" y="205"/>
                    <a:pt x="19443" y="205"/>
                  </a:cubicBezTo>
                  <a:cubicBezTo>
                    <a:pt x="19233" y="205"/>
                    <a:pt x="19032" y="265"/>
                    <a:pt x="19006" y="319"/>
                  </a:cubicBezTo>
                  <a:cubicBezTo>
                    <a:pt x="19003" y="329"/>
                    <a:pt x="19017" y="347"/>
                    <a:pt x="19024" y="357"/>
                  </a:cubicBezTo>
                  <a:cubicBezTo>
                    <a:pt x="19160" y="504"/>
                    <a:pt x="19104" y="620"/>
                    <a:pt x="19073" y="662"/>
                  </a:cubicBezTo>
                  <a:cubicBezTo>
                    <a:pt x="19008" y="754"/>
                    <a:pt x="18871" y="802"/>
                    <a:pt x="18752" y="802"/>
                  </a:cubicBezTo>
                  <a:cubicBezTo>
                    <a:pt x="18703" y="802"/>
                    <a:pt x="18658" y="794"/>
                    <a:pt x="18621" y="777"/>
                  </a:cubicBezTo>
                  <a:cubicBezTo>
                    <a:pt x="18548" y="753"/>
                    <a:pt x="18506" y="676"/>
                    <a:pt x="18523" y="599"/>
                  </a:cubicBezTo>
                  <a:cubicBezTo>
                    <a:pt x="18530" y="553"/>
                    <a:pt x="18488" y="518"/>
                    <a:pt x="18450" y="497"/>
                  </a:cubicBezTo>
                  <a:cubicBezTo>
                    <a:pt x="18354" y="440"/>
                    <a:pt x="18210" y="411"/>
                    <a:pt x="18077" y="411"/>
                  </a:cubicBezTo>
                  <a:cubicBezTo>
                    <a:pt x="17957" y="411"/>
                    <a:pt x="17846" y="435"/>
                    <a:pt x="17788" y="483"/>
                  </a:cubicBezTo>
                  <a:cubicBezTo>
                    <a:pt x="17724" y="536"/>
                    <a:pt x="17624" y="555"/>
                    <a:pt x="17500" y="555"/>
                  </a:cubicBezTo>
                  <a:cubicBezTo>
                    <a:pt x="17346" y="555"/>
                    <a:pt x="17155" y="525"/>
                    <a:pt x="16958" y="494"/>
                  </a:cubicBezTo>
                  <a:cubicBezTo>
                    <a:pt x="16798" y="469"/>
                    <a:pt x="16599" y="437"/>
                    <a:pt x="16462" y="437"/>
                  </a:cubicBezTo>
                  <a:cubicBezTo>
                    <a:pt x="16387" y="437"/>
                    <a:pt x="16330" y="447"/>
                    <a:pt x="16311" y="473"/>
                  </a:cubicBezTo>
                  <a:cubicBezTo>
                    <a:pt x="16195" y="623"/>
                    <a:pt x="15719" y="651"/>
                    <a:pt x="15057" y="672"/>
                  </a:cubicBezTo>
                  <a:cubicBezTo>
                    <a:pt x="14858" y="672"/>
                    <a:pt x="14658" y="686"/>
                    <a:pt x="14462" y="707"/>
                  </a:cubicBezTo>
                  <a:cubicBezTo>
                    <a:pt x="14515" y="742"/>
                    <a:pt x="14609" y="791"/>
                    <a:pt x="14676" y="826"/>
                  </a:cubicBezTo>
                  <a:cubicBezTo>
                    <a:pt x="14931" y="956"/>
                    <a:pt x="15085" y="1040"/>
                    <a:pt x="15064" y="1159"/>
                  </a:cubicBezTo>
                  <a:cubicBezTo>
                    <a:pt x="15040" y="1274"/>
                    <a:pt x="14868" y="1285"/>
                    <a:pt x="14543" y="1299"/>
                  </a:cubicBezTo>
                  <a:cubicBezTo>
                    <a:pt x="14389" y="1306"/>
                    <a:pt x="14105" y="1323"/>
                    <a:pt x="14060" y="1369"/>
                  </a:cubicBezTo>
                  <a:cubicBezTo>
                    <a:pt x="14067" y="1376"/>
                    <a:pt x="14070" y="1386"/>
                    <a:pt x="14077" y="1393"/>
                  </a:cubicBezTo>
                  <a:cubicBezTo>
                    <a:pt x="14189" y="1523"/>
                    <a:pt x="14427" y="1645"/>
                    <a:pt x="14686" y="1772"/>
                  </a:cubicBezTo>
                  <a:cubicBezTo>
                    <a:pt x="14970" y="1915"/>
                    <a:pt x="15267" y="2066"/>
                    <a:pt x="15463" y="2262"/>
                  </a:cubicBezTo>
                  <a:cubicBezTo>
                    <a:pt x="15519" y="2314"/>
                    <a:pt x="15642" y="2440"/>
                    <a:pt x="15572" y="2528"/>
                  </a:cubicBezTo>
                  <a:cubicBezTo>
                    <a:pt x="15549" y="2555"/>
                    <a:pt x="15511" y="2566"/>
                    <a:pt x="15463" y="2566"/>
                  </a:cubicBezTo>
                  <a:cubicBezTo>
                    <a:pt x="15233" y="2566"/>
                    <a:pt x="14774" y="2300"/>
                    <a:pt x="14672" y="2234"/>
                  </a:cubicBezTo>
                  <a:cubicBezTo>
                    <a:pt x="14480" y="2108"/>
                    <a:pt x="14263" y="2066"/>
                    <a:pt x="14053" y="2024"/>
                  </a:cubicBezTo>
                  <a:cubicBezTo>
                    <a:pt x="13818" y="1975"/>
                    <a:pt x="13594" y="1929"/>
                    <a:pt x="13447" y="1772"/>
                  </a:cubicBezTo>
                  <a:cubicBezTo>
                    <a:pt x="13251" y="1565"/>
                    <a:pt x="12657" y="1411"/>
                    <a:pt x="12299" y="1411"/>
                  </a:cubicBezTo>
                  <a:cubicBezTo>
                    <a:pt x="12191" y="1411"/>
                    <a:pt x="12104" y="1426"/>
                    <a:pt x="12057" y="1456"/>
                  </a:cubicBezTo>
                  <a:cubicBezTo>
                    <a:pt x="12050" y="1463"/>
                    <a:pt x="12033" y="1474"/>
                    <a:pt x="12033" y="1488"/>
                  </a:cubicBezTo>
                  <a:cubicBezTo>
                    <a:pt x="12033" y="1554"/>
                    <a:pt x="12239" y="1691"/>
                    <a:pt x="12376" y="1786"/>
                  </a:cubicBezTo>
                  <a:cubicBezTo>
                    <a:pt x="12607" y="1943"/>
                    <a:pt x="12750" y="2045"/>
                    <a:pt x="12750" y="2164"/>
                  </a:cubicBezTo>
                  <a:cubicBezTo>
                    <a:pt x="12750" y="2202"/>
                    <a:pt x="12733" y="2241"/>
                    <a:pt x="12701" y="2269"/>
                  </a:cubicBezTo>
                  <a:cubicBezTo>
                    <a:pt x="12662" y="2301"/>
                    <a:pt x="12604" y="2313"/>
                    <a:pt x="12535" y="2313"/>
                  </a:cubicBezTo>
                  <a:cubicBezTo>
                    <a:pt x="12449" y="2313"/>
                    <a:pt x="12346" y="2295"/>
                    <a:pt x="12239" y="2276"/>
                  </a:cubicBezTo>
                  <a:cubicBezTo>
                    <a:pt x="12165" y="2262"/>
                    <a:pt x="12063" y="2245"/>
                    <a:pt x="12004" y="2245"/>
                  </a:cubicBezTo>
                  <a:cubicBezTo>
                    <a:pt x="11985" y="2245"/>
                    <a:pt x="11970" y="2247"/>
                    <a:pt x="11963" y="2251"/>
                  </a:cubicBezTo>
                  <a:cubicBezTo>
                    <a:pt x="11945" y="2264"/>
                    <a:pt x="11925" y="2270"/>
                    <a:pt x="11903" y="2270"/>
                  </a:cubicBezTo>
                  <a:cubicBezTo>
                    <a:pt x="11816" y="2270"/>
                    <a:pt x="11694" y="2178"/>
                    <a:pt x="11518" y="2045"/>
                  </a:cubicBezTo>
                  <a:cubicBezTo>
                    <a:pt x="11322" y="1898"/>
                    <a:pt x="11077" y="1712"/>
                    <a:pt x="10923" y="1712"/>
                  </a:cubicBezTo>
                  <a:cubicBezTo>
                    <a:pt x="10853" y="1712"/>
                    <a:pt x="10839" y="1726"/>
                    <a:pt x="10835" y="1730"/>
                  </a:cubicBezTo>
                  <a:cubicBezTo>
                    <a:pt x="10818" y="1754"/>
                    <a:pt x="10846" y="1849"/>
                    <a:pt x="10867" y="1926"/>
                  </a:cubicBezTo>
                  <a:cubicBezTo>
                    <a:pt x="10909" y="2062"/>
                    <a:pt x="10933" y="2199"/>
                    <a:pt x="10937" y="2342"/>
                  </a:cubicBezTo>
                  <a:cubicBezTo>
                    <a:pt x="10937" y="2615"/>
                    <a:pt x="10695" y="2818"/>
                    <a:pt x="10524" y="2878"/>
                  </a:cubicBezTo>
                  <a:cubicBezTo>
                    <a:pt x="10489" y="2890"/>
                    <a:pt x="10461" y="2894"/>
                    <a:pt x="10437" y="2894"/>
                  </a:cubicBezTo>
                  <a:cubicBezTo>
                    <a:pt x="10384" y="2894"/>
                    <a:pt x="10357" y="2871"/>
                    <a:pt x="10345" y="2857"/>
                  </a:cubicBezTo>
                  <a:cubicBezTo>
                    <a:pt x="10310" y="2811"/>
                    <a:pt x="10317" y="2752"/>
                    <a:pt x="10366" y="2678"/>
                  </a:cubicBezTo>
                  <a:cubicBezTo>
                    <a:pt x="10454" y="2542"/>
                    <a:pt x="10457" y="2265"/>
                    <a:pt x="10377" y="2017"/>
                  </a:cubicBezTo>
                  <a:cubicBezTo>
                    <a:pt x="10317" y="1831"/>
                    <a:pt x="10219" y="1702"/>
                    <a:pt x="10107" y="1660"/>
                  </a:cubicBezTo>
                  <a:cubicBezTo>
                    <a:pt x="10067" y="1644"/>
                    <a:pt x="10017" y="1637"/>
                    <a:pt x="9959" y="1637"/>
                  </a:cubicBezTo>
                  <a:cubicBezTo>
                    <a:pt x="9770" y="1637"/>
                    <a:pt x="9502" y="1709"/>
                    <a:pt x="9242" y="1779"/>
                  </a:cubicBezTo>
                  <a:cubicBezTo>
                    <a:pt x="8974" y="1849"/>
                    <a:pt x="8693" y="1923"/>
                    <a:pt x="8489" y="1923"/>
                  </a:cubicBezTo>
                  <a:cubicBezTo>
                    <a:pt x="8479" y="1923"/>
                    <a:pt x="8470" y="1922"/>
                    <a:pt x="8462" y="1922"/>
                  </a:cubicBezTo>
                  <a:cubicBezTo>
                    <a:pt x="8437" y="1921"/>
                    <a:pt x="8412" y="1921"/>
                    <a:pt x="8387" y="1921"/>
                  </a:cubicBezTo>
                  <a:cubicBezTo>
                    <a:pt x="8048" y="1921"/>
                    <a:pt x="7760" y="2007"/>
                    <a:pt x="7741" y="2069"/>
                  </a:cubicBezTo>
                  <a:cubicBezTo>
                    <a:pt x="7741" y="2076"/>
                    <a:pt x="7751" y="2108"/>
                    <a:pt x="7835" y="2153"/>
                  </a:cubicBezTo>
                  <a:cubicBezTo>
                    <a:pt x="7965" y="2230"/>
                    <a:pt x="8028" y="2307"/>
                    <a:pt x="8024" y="2381"/>
                  </a:cubicBezTo>
                  <a:cubicBezTo>
                    <a:pt x="8021" y="2430"/>
                    <a:pt x="7989" y="2475"/>
                    <a:pt x="7947" y="2496"/>
                  </a:cubicBezTo>
                  <a:cubicBezTo>
                    <a:pt x="7913" y="2513"/>
                    <a:pt x="7868" y="2521"/>
                    <a:pt x="7815" y="2521"/>
                  </a:cubicBezTo>
                  <a:cubicBezTo>
                    <a:pt x="7699" y="2521"/>
                    <a:pt x="7548" y="2478"/>
                    <a:pt x="7408" y="2377"/>
                  </a:cubicBezTo>
                  <a:cubicBezTo>
                    <a:pt x="7318" y="2314"/>
                    <a:pt x="7159" y="2287"/>
                    <a:pt x="6983" y="2287"/>
                  </a:cubicBezTo>
                  <a:cubicBezTo>
                    <a:pt x="6839" y="2287"/>
                    <a:pt x="6684" y="2305"/>
                    <a:pt x="6547" y="2335"/>
                  </a:cubicBezTo>
                  <a:cubicBezTo>
                    <a:pt x="6379" y="2370"/>
                    <a:pt x="6291" y="2412"/>
                    <a:pt x="6263" y="2437"/>
                  </a:cubicBezTo>
                  <a:cubicBezTo>
                    <a:pt x="6386" y="2528"/>
                    <a:pt x="6477" y="2703"/>
                    <a:pt x="6505" y="2902"/>
                  </a:cubicBezTo>
                  <a:cubicBezTo>
                    <a:pt x="6533" y="3084"/>
                    <a:pt x="6505" y="3249"/>
                    <a:pt x="6431" y="3350"/>
                  </a:cubicBezTo>
                  <a:cubicBezTo>
                    <a:pt x="6386" y="3410"/>
                    <a:pt x="6327" y="3432"/>
                    <a:pt x="6257" y="3432"/>
                  </a:cubicBezTo>
                  <a:cubicBezTo>
                    <a:pt x="6158" y="3432"/>
                    <a:pt x="6036" y="3387"/>
                    <a:pt x="5903" y="3340"/>
                  </a:cubicBezTo>
                  <a:cubicBezTo>
                    <a:pt x="5739" y="3279"/>
                    <a:pt x="5555" y="3212"/>
                    <a:pt x="5380" y="3212"/>
                  </a:cubicBezTo>
                  <a:cubicBezTo>
                    <a:pt x="5364" y="3212"/>
                    <a:pt x="5348" y="3213"/>
                    <a:pt x="5332" y="3214"/>
                  </a:cubicBezTo>
                  <a:cubicBezTo>
                    <a:pt x="5146" y="3228"/>
                    <a:pt x="4534" y="3469"/>
                    <a:pt x="3953" y="3767"/>
                  </a:cubicBezTo>
                  <a:cubicBezTo>
                    <a:pt x="3189" y="4152"/>
                    <a:pt x="2913" y="4401"/>
                    <a:pt x="2916" y="4467"/>
                  </a:cubicBezTo>
                  <a:cubicBezTo>
                    <a:pt x="2960" y="4560"/>
                    <a:pt x="3197" y="4573"/>
                    <a:pt x="3428" y="4573"/>
                  </a:cubicBezTo>
                  <a:cubicBezTo>
                    <a:pt x="3476" y="4573"/>
                    <a:pt x="3525" y="4573"/>
                    <a:pt x="3571" y="4572"/>
                  </a:cubicBezTo>
                  <a:cubicBezTo>
                    <a:pt x="3626" y="4571"/>
                    <a:pt x="3681" y="4571"/>
                    <a:pt x="3734" y="4571"/>
                  </a:cubicBezTo>
                  <a:cubicBezTo>
                    <a:pt x="3936" y="4571"/>
                    <a:pt x="4116" y="4581"/>
                    <a:pt x="4229" y="4642"/>
                  </a:cubicBezTo>
                  <a:cubicBezTo>
                    <a:pt x="4310" y="4688"/>
                    <a:pt x="4362" y="4775"/>
                    <a:pt x="4362" y="4870"/>
                  </a:cubicBezTo>
                  <a:cubicBezTo>
                    <a:pt x="4376" y="5150"/>
                    <a:pt x="4065" y="5563"/>
                    <a:pt x="3781" y="5759"/>
                  </a:cubicBezTo>
                  <a:cubicBezTo>
                    <a:pt x="3596" y="5882"/>
                    <a:pt x="3207" y="5892"/>
                    <a:pt x="2829" y="5903"/>
                  </a:cubicBezTo>
                  <a:cubicBezTo>
                    <a:pt x="2542" y="5910"/>
                    <a:pt x="2104" y="5920"/>
                    <a:pt x="2094" y="6018"/>
                  </a:cubicBezTo>
                  <a:cubicBezTo>
                    <a:pt x="2076" y="6186"/>
                    <a:pt x="1768" y="6256"/>
                    <a:pt x="1180" y="6375"/>
                  </a:cubicBezTo>
                  <a:cubicBezTo>
                    <a:pt x="686" y="6473"/>
                    <a:pt x="7" y="6610"/>
                    <a:pt x="7" y="6820"/>
                  </a:cubicBezTo>
                  <a:cubicBezTo>
                    <a:pt x="0" y="6984"/>
                    <a:pt x="116" y="7131"/>
                    <a:pt x="280" y="7159"/>
                  </a:cubicBezTo>
                  <a:cubicBezTo>
                    <a:pt x="364" y="7177"/>
                    <a:pt x="448" y="7184"/>
                    <a:pt x="536" y="7187"/>
                  </a:cubicBezTo>
                  <a:cubicBezTo>
                    <a:pt x="763" y="7198"/>
                    <a:pt x="1019" y="7212"/>
                    <a:pt x="1222" y="7439"/>
                  </a:cubicBezTo>
                  <a:cubicBezTo>
                    <a:pt x="1356" y="7591"/>
                    <a:pt x="1632" y="7659"/>
                    <a:pt x="1931" y="7659"/>
                  </a:cubicBezTo>
                  <a:cubicBezTo>
                    <a:pt x="2172" y="7659"/>
                    <a:pt x="2427" y="7615"/>
                    <a:pt x="2636" y="7534"/>
                  </a:cubicBezTo>
                  <a:cubicBezTo>
                    <a:pt x="2768" y="7484"/>
                    <a:pt x="2898" y="7459"/>
                    <a:pt x="3018" y="7459"/>
                  </a:cubicBezTo>
                  <a:cubicBezTo>
                    <a:pt x="3168" y="7459"/>
                    <a:pt x="3302" y="7497"/>
                    <a:pt x="3406" y="7572"/>
                  </a:cubicBezTo>
                  <a:cubicBezTo>
                    <a:pt x="3522" y="7649"/>
                    <a:pt x="3589" y="7782"/>
                    <a:pt x="3582" y="7923"/>
                  </a:cubicBezTo>
                  <a:cubicBezTo>
                    <a:pt x="3578" y="7965"/>
                    <a:pt x="3561" y="8007"/>
                    <a:pt x="3526" y="8035"/>
                  </a:cubicBezTo>
                  <a:cubicBezTo>
                    <a:pt x="3474" y="8079"/>
                    <a:pt x="3392" y="8095"/>
                    <a:pt x="3279" y="8095"/>
                  </a:cubicBezTo>
                  <a:cubicBezTo>
                    <a:pt x="3168" y="8095"/>
                    <a:pt x="3028" y="8080"/>
                    <a:pt x="2857" y="8059"/>
                  </a:cubicBezTo>
                  <a:cubicBezTo>
                    <a:pt x="2692" y="8040"/>
                    <a:pt x="2516" y="8018"/>
                    <a:pt x="2367" y="8018"/>
                  </a:cubicBezTo>
                  <a:cubicBezTo>
                    <a:pt x="2247" y="8018"/>
                    <a:pt x="2144" y="8032"/>
                    <a:pt x="2080" y="8073"/>
                  </a:cubicBezTo>
                  <a:cubicBezTo>
                    <a:pt x="1901" y="8182"/>
                    <a:pt x="1562" y="8192"/>
                    <a:pt x="1260" y="8203"/>
                  </a:cubicBezTo>
                  <a:cubicBezTo>
                    <a:pt x="1082" y="8210"/>
                    <a:pt x="809" y="8217"/>
                    <a:pt x="767" y="8262"/>
                  </a:cubicBezTo>
                  <a:cubicBezTo>
                    <a:pt x="795" y="8371"/>
                    <a:pt x="1054" y="8392"/>
                    <a:pt x="1302" y="8416"/>
                  </a:cubicBezTo>
                  <a:cubicBezTo>
                    <a:pt x="1432" y="8430"/>
                    <a:pt x="1572" y="8444"/>
                    <a:pt x="1702" y="8469"/>
                  </a:cubicBezTo>
                  <a:cubicBezTo>
                    <a:pt x="1842" y="8493"/>
                    <a:pt x="1919" y="8535"/>
                    <a:pt x="1943" y="8602"/>
                  </a:cubicBezTo>
                  <a:cubicBezTo>
                    <a:pt x="1971" y="8686"/>
                    <a:pt x="1912" y="8759"/>
                    <a:pt x="1856" y="8833"/>
                  </a:cubicBezTo>
                  <a:cubicBezTo>
                    <a:pt x="1817" y="8882"/>
                    <a:pt x="1775" y="8934"/>
                    <a:pt x="1772" y="8973"/>
                  </a:cubicBezTo>
                  <a:cubicBezTo>
                    <a:pt x="1765" y="9025"/>
                    <a:pt x="1793" y="9043"/>
                    <a:pt x="1975" y="9102"/>
                  </a:cubicBezTo>
                  <a:cubicBezTo>
                    <a:pt x="2115" y="9144"/>
                    <a:pt x="2251" y="9200"/>
                    <a:pt x="2381" y="9267"/>
                  </a:cubicBezTo>
                  <a:cubicBezTo>
                    <a:pt x="2674" y="9410"/>
                    <a:pt x="3018" y="9487"/>
                    <a:pt x="3166" y="9487"/>
                  </a:cubicBezTo>
                  <a:cubicBezTo>
                    <a:pt x="3184" y="9487"/>
                    <a:pt x="3199" y="9486"/>
                    <a:pt x="3210" y="9484"/>
                  </a:cubicBezTo>
                  <a:cubicBezTo>
                    <a:pt x="3203" y="9477"/>
                    <a:pt x="3200" y="9470"/>
                    <a:pt x="3193" y="9466"/>
                  </a:cubicBezTo>
                  <a:cubicBezTo>
                    <a:pt x="3137" y="9403"/>
                    <a:pt x="3116" y="9347"/>
                    <a:pt x="3137" y="9295"/>
                  </a:cubicBezTo>
                  <a:cubicBezTo>
                    <a:pt x="3154" y="9239"/>
                    <a:pt x="3210" y="9200"/>
                    <a:pt x="3301" y="9186"/>
                  </a:cubicBezTo>
                  <a:cubicBezTo>
                    <a:pt x="3333" y="9181"/>
                    <a:pt x="3371" y="9178"/>
                    <a:pt x="3412" y="9178"/>
                  </a:cubicBezTo>
                  <a:cubicBezTo>
                    <a:pt x="3568" y="9178"/>
                    <a:pt x="3769" y="9221"/>
                    <a:pt x="3844" y="9316"/>
                  </a:cubicBezTo>
                  <a:cubicBezTo>
                    <a:pt x="3849" y="9322"/>
                    <a:pt x="3857" y="9325"/>
                    <a:pt x="3868" y="9325"/>
                  </a:cubicBezTo>
                  <a:cubicBezTo>
                    <a:pt x="3906" y="9325"/>
                    <a:pt x="3976" y="9293"/>
                    <a:pt x="4044" y="9263"/>
                  </a:cubicBezTo>
                  <a:cubicBezTo>
                    <a:pt x="4151" y="9211"/>
                    <a:pt x="4282" y="9150"/>
                    <a:pt x="4421" y="9150"/>
                  </a:cubicBezTo>
                  <a:cubicBezTo>
                    <a:pt x="4459" y="9150"/>
                    <a:pt x="4498" y="9155"/>
                    <a:pt x="4537" y="9165"/>
                  </a:cubicBezTo>
                  <a:cubicBezTo>
                    <a:pt x="4561" y="9172"/>
                    <a:pt x="4583" y="9174"/>
                    <a:pt x="4605" y="9174"/>
                  </a:cubicBezTo>
                  <a:cubicBezTo>
                    <a:pt x="4690" y="9174"/>
                    <a:pt x="4758" y="9130"/>
                    <a:pt x="4828" y="9085"/>
                  </a:cubicBezTo>
                  <a:cubicBezTo>
                    <a:pt x="4894" y="9041"/>
                    <a:pt x="4971" y="8991"/>
                    <a:pt x="5062" y="8991"/>
                  </a:cubicBezTo>
                  <a:cubicBezTo>
                    <a:pt x="5110" y="8991"/>
                    <a:pt x="5163" y="9005"/>
                    <a:pt x="5220" y="9043"/>
                  </a:cubicBezTo>
                  <a:cubicBezTo>
                    <a:pt x="5325" y="9113"/>
                    <a:pt x="5658" y="9179"/>
                    <a:pt x="5976" y="9242"/>
                  </a:cubicBezTo>
                  <a:cubicBezTo>
                    <a:pt x="6365" y="9316"/>
                    <a:pt x="6764" y="9396"/>
                    <a:pt x="6977" y="9508"/>
                  </a:cubicBezTo>
                  <a:cubicBezTo>
                    <a:pt x="7096" y="9571"/>
                    <a:pt x="7222" y="9624"/>
                    <a:pt x="7352" y="9669"/>
                  </a:cubicBezTo>
                  <a:cubicBezTo>
                    <a:pt x="7646" y="9778"/>
                    <a:pt x="7926" y="9879"/>
                    <a:pt x="7884" y="10142"/>
                  </a:cubicBezTo>
                  <a:cubicBezTo>
                    <a:pt x="7839" y="10422"/>
                    <a:pt x="8245" y="10643"/>
                    <a:pt x="8605" y="10800"/>
                  </a:cubicBezTo>
                  <a:cubicBezTo>
                    <a:pt x="9144" y="11038"/>
                    <a:pt x="9155" y="11591"/>
                    <a:pt x="9144" y="11752"/>
                  </a:cubicBezTo>
                  <a:cubicBezTo>
                    <a:pt x="9137" y="11871"/>
                    <a:pt x="9263" y="11983"/>
                    <a:pt x="9372" y="12082"/>
                  </a:cubicBezTo>
                  <a:cubicBezTo>
                    <a:pt x="9480" y="12180"/>
                    <a:pt x="9589" y="12278"/>
                    <a:pt x="9522" y="12383"/>
                  </a:cubicBezTo>
                  <a:cubicBezTo>
                    <a:pt x="9459" y="12488"/>
                    <a:pt x="9547" y="12652"/>
                    <a:pt x="9785" y="12862"/>
                  </a:cubicBezTo>
                  <a:cubicBezTo>
                    <a:pt x="9841" y="12904"/>
                    <a:pt x="9873" y="12971"/>
                    <a:pt x="9876" y="13037"/>
                  </a:cubicBezTo>
                  <a:cubicBezTo>
                    <a:pt x="9876" y="13156"/>
                    <a:pt x="9768" y="13247"/>
                    <a:pt x="9662" y="13338"/>
                  </a:cubicBezTo>
                  <a:cubicBezTo>
                    <a:pt x="9526" y="13454"/>
                    <a:pt x="9484" y="13503"/>
                    <a:pt x="9519" y="13552"/>
                  </a:cubicBezTo>
                  <a:cubicBezTo>
                    <a:pt x="9606" y="13664"/>
                    <a:pt x="9578" y="13807"/>
                    <a:pt x="9554" y="13933"/>
                  </a:cubicBezTo>
                  <a:cubicBezTo>
                    <a:pt x="9533" y="14035"/>
                    <a:pt x="9512" y="14130"/>
                    <a:pt x="9554" y="14186"/>
                  </a:cubicBezTo>
                  <a:cubicBezTo>
                    <a:pt x="9582" y="14228"/>
                    <a:pt x="9641" y="14256"/>
                    <a:pt x="9736" y="14270"/>
                  </a:cubicBezTo>
                  <a:cubicBezTo>
                    <a:pt x="9776" y="14276"/>
                    <a:pt x="9812" y="14279"/>
                    <a:pt x="9845" y="14279"/>
                  </a:cubicBezTo>
                  <a:cubicBezTo>
                    <a:pt x="10015" y="14279"/>
                    <a:pt x="10088" y="14200"/>
                    <a:pt x="10170" y="14112"/>
                  </a:cubicBezTo>
                  <a:cubicBezTo>
                    <a:pt x="10254" y="14017"/>
                    <a:pt x="10349" y="13912"/>
                    <a:pt x="10552" y="13912"/>
                  </a:cubicBezTo>
                  <a:cubicBezTo>
                    <a:pt x="10618" y="13912"/>
                    <a:pt x="10713" y="13919"/>
                    <a:pt x="10762" y="13986"/>
                  </a:cubicBezTo>
                  <a:cubicBezTo>
                    <a:pt x="10814" y="14049"/>
                    <a:pt x="10793" y="14140"/>
                    <a:pt x="10772" y="14224"/>
                  </a:cubicBezTo>
                  <a:cubicBezTo>
                    <a:pt x="10744" y="14340"/>
                    <a:pt x="10727" y="14420"/>
                    <a:pt x="10793" y="14483"/>
                  </a:cubicBezTo>
                  <a:cubicBezTo>
                    <a:pt x="10877" y="14567"/>
                    <a:pt x="11010" y="14606"/>
                    <a:pt x="11164" y="14651"/>
                  </a:cubicBezTo>
                  <a:cubicBezTo>
                    <a:pt x="11360" y="14711"/>
                    <a:pt x="11605" y="14784"/>
                    <a:pt x="11840" y="14980"/>
                  </a:cubicBezTo>
                  <a:cubicBezTo>
                    <a:pt x="12127" y="15222"/>
                    <a:pt x="12075" y="15358"/>
                    <a:pt x="12040" y="15404"/>
                  </a:cubicBezTo>
                  <a:cubicBezTo>
                    <a:pt x="12008" y="15443"/>
                    <a:pt x="11959" y="15463"/>
                    <a:pt x="11899" y="15463"/>
                  </a:cubicBezTo>
                  <a:cubicBezTo>
                    <a:pt x="11799" y="15463"/>
                    <a:pt x="11667" y="15410"/>
                    <a:pt x="11532" y="15309"/>
                  </a:cubicBezTo>
                  <a:cubicBezTo>
                    <a:pt x="11344" y="15172"/>
                    <a:pt x="10956" y="15130"/>
                    <a:pt x="10640" y="15130"/>
                  </a:cubicBezTo>
                  <a:cubicBezTo>
                    <a:pt x="10456" y="15130"/>
                    <a:pt x="10297" y="15144"/>
                    <a:pt x="10216" y="15162"/>
                  </a:cubicBezTo>
                  <a:cubicBezTo>
                    <a:pt x="10415" y="15325"/>
                    <a:pt x="11234" y="15768"/>
                    <a:pt x="11512" y="15768"/>
                  </a:cubicBezTo>
                  <a:cubicBezTo>
                    <a:pt x="11532" y="15768"/>
                    <a:pt x="11549" y="15766"/>
                    <a:pt x="11563" y="15761"/>
                  </a:cubicBezTo>
                  <a:cubicBezTo>
                    <a:pt x="11595" y="15750"/>
                    <a:pt x="11626" y="15745"/>
                    <a:pt x="11659" y="15745"/>
                  </a:cubicBezTo>
                  <a:cubicBezTo>
                    <a:pt x="11825" y="15745"/>
                    <a:pt x="11996" y="15879"/>
                    <a:pt x="12096" y="16037"/>
                  </a:cubicBezTo>
                  <a:cubicBezTo>
                    <a:pt x="12194" y="16199"/>
                    <a:pt x="12204" y="16349"/>
                    <a:pt x="12117" y="16433"/>
                  </a:cubicBezTo>
                  <a:cubicBezTo>
                    <a:pt x="12033" y="16521"/>
                    <a:pt x="12029" y="16741"/>
                    <a:pt x="12029" y="16916"/>
                  </a:cubicBezTo>
                  <a:cubicBezTo>
                    <a:pt x="12033" y="16997"/>
                    <a:pt x="12033" y="17081"/>
                    <a:pt x="12022" y="17161"/>
                  </a:cubicBezTo>
                  <a:cubicBezTo>
                    <a:pt x="12015" y="17203"/>
                    <a:pt x="11994" y="17242"/>
                    <a:pt x="11959" y="17266"/>
                  </a:cubicBezTo>
                  <a:cubicBezTo>
                    <a:pt x="11920" y="17294"/>
                    <a:pt x="11871" y="17303"/>
                    <a:pt x="11813" y="17303"/>
                  </a:cubicBezTo>
                  <a:cubicBezTo>
                    <a:pt x="11746" y="17303"/>
                    <a:pt x="11668" y="17290"/>
                    <a:pt x="11584" y="17277"/>
                  </a:cubicBezTo>
                  <a:cubicBezTo>
                    <a:pt x="11501" y="17257"/>
                    <a:pt x="11417" y="17247"/>
                    <a:pt x="11334" y="17247"/>
                  </a:cubicBezTo>
                  <a:cubicBezTo>
                    <a:pt x="11312" y="17247"/>
                    <a:pt x="11291" y="17247"/>
                    <a:pt x="11269" y="17249"/>
                  </a:cubicBezTo>
                  <a:cubicBezTo>
                    <a:pt x="10989" y="17284"/>
                    <a:pt x="10891" y="17368"/>
                    <a:pt x="10891" y="17571"/>
                  </a:cubicBezTo>
                  <a:cubicBezTo>
                    <a:pt x="10891" y="17732"/>
                    <a:pt x="10779" y="17861"/>
                    <a:pt x="10667" y="17991"/>
                  </a:cubicBezTo>
                  <a:cubicBezTo>
                    <a:pt x="10566" y="18110"/>
                    <a:pt x="10457" y="18236"/>
                    <a:pt x="10436" y="18387"/>
                  </a:cubicBezTo>
                  <a:cubicBezTo>
                    <a:pt x="10412" y="18562"/>
                    <a:pt x="10520" y="18614"/>
                    <a:pt x="10709" y="18684"/>
                  </a:cubicBezTo>
                  <a:cubicBezTo>
                    <a:pt x="10793" y="18712"/>
                    <a:pt x="10870" y="18747"/>
                    <a:pt x="10944" y="18793"/>
                  </a:cubicBezTo>
                  <a:cubicBezTo>
                    <a:pt x="10986" y="18817"/>
                    <a:pt x="11014" y="18866"/>
                    <a:pt x="11017" y="18915"/>
                  </a:cubicBezTo>
                  <a:cubicBezTo>
                    <a:pt x="11014" y="19003"/>
                    <a:pt x="10919" y="19055"/>
                    <a:pt x="10804" y="19122"/>
                  </a:cubicBezTo>
                  <a:cubicBezTo>
                    <a:pt x="10695" y="19181"/>
                    <a:pt x="10562" y="19258"/>
                    <a:pt x="10552" y="19342"/>
                  </a:cubicBezTo>
                  <a:cubicBezTo>
                    <a:pt x="10527" y="19521"/>
                    <a:pt x="11021" y="19930"/>
                    <a:pt x="11276" y="20067"/>
                  </a:cubicBezTo>
                  <a:cubicBezTo>
                    <a:pt x="11441" y="20154"/>
                    <a:pt x="11420" y="20403"/>
                    <a:pt x="11399" y="20645"/>
                  </a:cubicBezTo>
                  <a:cubicBezTo>
                    <a:pt x="11388" y="20792"/>
                    <a:pt x="11374" y="20946"/>
                    <a:pt x="11406" y="21044"/>
                  </a:cubicBezTo>
                  <a:cubicBezTo>
                    <a:pt x="11422" y="21104"/>
                    <a:pt x="11443" y="21117"/>
                    <a:pt x="11482" y="21117"/>
                  </a:cubicBezTo>
                  <a:cubicBezTo>
                    <a:pt x="11495" y="21117"/>
                    <a:pt x="11511" y="21115"/>
                    <a:pt x="11528" y="21114"/>
                  </a:cubicBezTo>
                  <a:cubicBezTo>
                    <a:pt x="11544" y="21113"/>
                    <a:pt x="11560" y="21111"/>
                    <a:pt x="11577" y="21111"/>
                  </a:cubicBezTo>
                  <a:cubicBezTo>
                    <a:pt x="11615" y="21111"/>
                    <a:pt x="11654" y="21118"/>
                    <a:pt x="11686" y="21152"/>
                  </a:cubicBezTo>
                  <a:cubicBezTo>
                    <a:pt x="11735" y="21198"/>
                    <a:pt x="11742" y="21257"/>
                    <a:pt x="11731" y="21362"/>
                  </a:cubicBezTo>
                  <a:cubicBezTo>
                    <a:pt x="11714" y="21537"/>
                    <a:pt x="11784" y="21597"/>
                    <a:pt x="11861" y="21667"/>
                  </a:cubicBezTo>
                  <a:cubicBezTo>
                    <a:pt x="11924" y="21723"/>
                    <a:pt x="11994" y="21786"/>
                    <a:pt x="12005" y="21898"/>
                  </a:cubicBezTo>
                  <a:cubicBezTo>
                    <a:pt x="12008" y="21950"/>
                    <a:pt x="12075" y="21982"/>
                    <a:pt x="12176" y="22031"/>
                  </a:cubicBezTo>
                  <a:cubicBezTo>
                    <a:pt x="12302" y="22090"/>
                    <a:pt x="12495" y="22178"/>
                    <a:pt x="12421" y="22395"/>
                  </a:cubicBezTo>
                  <a:cubicBezTo>
                    <a:pt x="12355" y="22602"/>
                    <a:pt x="12484" y="22763"/>
                    <a:pt x="12596" y="22903"/>
                  </a:cubicBezTo>
                  <a:cubicBezTo>
                    <a:pt x="12624" y="22938"/>
                    <a:pt x="12649" y="22969"/>
                    <a:pt x="12670" y="23001"/>
                  </a:cubicBezTo>
                  <a:cubicBezTo>
                    <a:pt x="12740" y="23085"/>
                    <a:pt x="12820" y="23158"/>
                    <a:pt x="12904" y="23228"/>
                  </a:cubicBezTo>
                  <a:cubicBezTo>
                    <a:pt x="13069" y="23372"/>
                    <a:pt x="13240" y="23522"/>
                    <a:pt x="13293" y="23662"/>
                  </a:cubicBezTo>
                  <a:cubicBezTo>
                    <a:pt x="13358" y="23832"/>
                    <a:pt x="13535" y="24038"/>
                    <a:pt x="13744" y="24038"/>
                  </a:cubicBezTo>
                  <a:cubicBezTo>
                    <a:pt x="13771" y="24038"/>
                    <a:pt x="13800" y="24034"/>
                    <a:pt x="13828" y="24026"/>
                  </a:cubicBezTo>
                  <a:cubicBezTo>
                    <a:pt x="13873" y="24014"/>
                    <a:pt x="13913" y="24009"/>
                    <a:pt x="13948" y="24009"/>
                  </a:cubicBezTo>
                  <a:cubicBezTo>
                    <a:pt x="14066" y="24009"/>
                    <a:pt x="14138" y="24066"/>
                    <a:pt x="14200" y="24117"/>
                  </a:cubicBezTo>
                  <a:cubicBezTo>
                    <a:pt x="14256" y="24161"/>
                    <a:pt x="14293" y="24189"/>
                    <a:pt x="14351" y="24189"/>
                  </a:cubicBezTo>
                  <a:cubicBezTo>
                    <a:pt x="14357" y="24189"/>
                    <a:pt x="14364" y="24188"/>
                    <a:pt x="14371" y="24187"/>
                  </a:cubicBezTo>
                  <a:cubicBezTo>
                    <a:pt x="14399" y="24180"/>
                    <a:pt x="14424" y="24180"/>
                    <a:pt x="14452" y="24180"/>
                  </a:cubicBezTo>
                  <a:cubicBezTo>
                    <a:pt x="14700" y="24180"/>
                    <a:pt x="15019" y="24313"/>
                    <a:pt x="15089" y="24503"/>
                  </a:cubicBezTo>
                  <a:cubicBezTo>
                    <a:pt x="15131" y="24615"/>
                    <a:pt x="15656" y="24776"/>
                    <a:pt x="15992" y="24832"/>
                  </a:cubicBezTo>
                  <a:cubicBezTo>
                    <a:pt x="15996" y="24832"/>
                    <a:pt x="16001" y="24833"/>
                    <a:pt x="16005" y="24833"/>
                  </a:cubicBezTo>
                  <a:cubicBezTo>
                    <a:pt x="16054" y="24833"/>
                    <a:pt x="16092" y="24777"/>
                    <a:pt x="16153" y="24667"/>
                  </a:cubicBezTo>
                  <a:cubicBezTo>
                    <a:pt x="16202" y="24576"/>
                    <a:pt x="16262" y="24471"/>
                    <a:pt x="16353" y="24418"/>
                  </a:cubicBezTo>
                  <a:cubicBezTo>
                    <a:pt x="16416" y="24387"/>
                    <a:pt x="16444" y="24163"/>
                    <a:pt x="16465" y="24012"/>
                  </a:cubicBezTo>
                  <a:cubicBezTo>
                    <a:pt x="16496" y="23778"/>
                    <a:pt x="16521" y="23592"/>
                    <a:pt x="16640" y="23557"/>
                  </a:cubicBezTo>
                  <a:cubicBezTo>
                    <a:pt x="16664" y="23543"/>
                    <a:pt x="16703" y="23424"/>
                    <a:pt x="16689" y="23204"/>
                  </a:cubicBezTo>
                  <a:cubicBezTo>
                    <a:pt x="16678" y="22973"/>
                    <a:pt x="16615" y="22836"/>
                    <a:pt x="16587" y="22826"/>
                  </a:cubicBezTo>
                  <a:cubicBezTo>
                    <a:pt x="16496" y="22794"/>
                    <a:pt x="16444" y="22696"/>
                    <a:pt x="16468" y="22605"/>
                  </a:cubicBezTo>
                  <a:cubicBezTo>
                    <a:pt x="16493" y="22513"/>
                    <a:pt x="16592" y="22416"/>
                    <a:pt x="16798" y="22416"/>
                  </a:cubicBezTo>
                  <a:cubicBezTo>
                    <a:pt x="16828" y="22416"/>
                    <a:pt x="16860" y="22419"/>
                    <a:pt x="16895" y="22423"/>
                  </a:cubicBezTo>
                  <a:cubicBezTo>
                    <a:pt x="16917" y="22426"/>
                    <a:pt x="16936" y="22428"/>
                    <a:pt x="16953" y="22428"/>
                  </a:cubicBezTo>
                  <a:cubicBezTo>
                    <a:pt x="17073" y="22428"/>
                    <a:pt x="17096" y="22356"/>
                    <a:pt x="17126" y="22258"/>
                  </a:cubicBezTo>
                  <a:cubicBezTo>
                    <a:pt x="17154" y="22181"/>
                    <a:pt x="17186" y="22083"/>
                    <a:pt x="17287" y="22055"/>
                  </a:cubicBezTo>
                  <a:cubicBezTo>
                    <a:pt x="17340" y="22038"/>
                    <a:pt x="17357" y="21971"/>
                    <a:pt x="17375" y="21866"/>
                  </a:cubicBezTo>
                  <a:cubicBezTo>
                    <a:pt x="17396" y="21761"/>
                    <a:pt x="17413" y="21660"/>
                    <a:pt x="17515" y="21632"/>
                  </a:cubicBezTo>
                  <a:cubicBezTo>
                    <a:pt x="17522" y="21632"/>
                    <a:pt x="17539" y="21628"/>
                    <a:pt x="17550" y="21597"/>
                  </a:cubicBezTo>
                  <a:cubicBezTo>
                    <a:pt x="17567" y="21509"/>
                    <a:pt x="17550" y="21418"/>
                    <a:pt x="17494" y="21348"/>
                  </a:cubicBezTo>
                  <a:cubicBezTo>
                    <a:pt x="17448" y="21296"/>
                    <a:pt x="17434" y="21222"/>
                    <a:pt x="17459" y="21156"/>
                  </a:cubicBezTo>
                  <a:cubicBezTo>
                    <a:pt x="17494" y="21072"/>
                    <a:pt x="17595" y="21009"/>
                    <a:pt x="17746" y="20984"/>
                  </a:cubicBezTo>
                  <a:cubicBezTo>
                    <a:pt x="17788" y="20977"/>
                    <a:pt x="17805" y="20960"/>
                    <a:pt x="17809" y="20925"/>
                  </a:cubicBezTo>
                  <a:cubicBezTo>
                    <a:pt x="17816" y="20865"/>
                    <a:pt x="17760" y="20760"/>
                    <a:pt x="17620" y="20708"/>
                  </a:cubicBezTo>
                  <a:cubicBezTo>
                    <a:pt x="17480" y="20655"/>
                    <a:pt x="17427" y="20557"/>
                    <a:pt x="17420" y="20484"/>
                  </a:cubicBezTo>
                  <a:cubicBezTo>
                    <a:pt x="17413" y="20424"/>
                    <a:pt x="17441" y="20365"/>
                    <a:pt x="17494" y="20333"/>
                  </a:cubicBezTo>
                  <a:cubicBezTo>
                    <a:pt x="17513" y="20323"/>
                    <a:pt x="17542" y="20313"/>
                    <a:pt x="17581" y="20313"/>
                  </a:cubicBezTo>
                  <a:cubicBezTo>
                    <a:pt x="17628" y="20313"/>
                    <a:pt x="17689" y="20328"/>
                    <a:pt x="17763" y="20382"/>
                  </a:cubicBezTo>
                  <a:cubicBezTo>
                    <a:pt x="17841" y="20435"/>
                    <a:pt x="17908" y="20455"/>
                    <a:pt x="17953" y="20455"/>
                  </a:cubicBezTo>
                  <a:cubicBezTo>
                    <a:pt x="17979" y="20455"/>
                    <a:pt x="17998" y="20448"/>
                    <a:pt x="18008" y="20438"/>
                  </a:cubicBezTo>
                  <a:cubicBezTo>
                    <a:pt x="18026" y="20417"/>
                    <a:pt x="18015" y="20375"/>
                    <a:pt x="17980" y="20330"/>
                  </a:cubicBezTo>
                  <a:cubicBezTo>
                    <a:pt x="17931" y="20277"/>
                    <a:pt x="17917" y="20200"/>
                    <a:pt x="17945" y="20133"/>
                  </a:cubicBezTo>
                  <a:cubicBezTo>
                    <a:pt x="18012" y="19983"/>
                    <a:pt x="18310" y="19923"/>
                    <a:pt x="18544" y="19902"/>
                  </a:cubicBezTo>
                  <a:cubicBezTo>
                    <a:pt x="18716" y="19885"/>
                    <a:pt x="18845" y="19825"/>
                    <a:pt x="18908" y="19738"/>
                  </a:cubicBezTo>
                  <a:cubicBezTo>
                    <a:pt x="18950" y="19671"/>
                    <a:pt x="18964" y="19587"/>
                    <a:pt x="18940" y="19514"/>
                  </a:cubicBezTo>
                  <a:cubicBezTo>
                    <a:pt x="18908" y="19423"/>
                    <a:pt x="18947" y="19325"/>
                    <a:pt x="19031" y="19276"/>
                  </a:cubicBezTo>
                  <a:cubicBezTo>
                    <a:pt x="19069" y="19253"/>
                    <a:pt x="19113" y="19241"/>
                    <a:pt x="19156" y="19241"/>
                  </a:cubicBezTo>
                  <a:cubicBezTo>
                    <a:pt x="19211" y="19241"/>
                    <a:pt x="19266" y="19260"/>
                    <a:pt x="19311" y="19297"/>
                  </a:cubicBezTo>
                  <a:cubicBezTo>
                    <a:pt x="19367" y="19353"/>
                    <a:pt x="19377" y="19440"/>
                    <a:pt x="19335" y="19510"/>
                  </a:cubicBezTo>
                  <a:cubicBezTo>
                    <a:pt x="19276" y="19633"/>
                    <a:pt x="19279" y="19734"/>
                    <a:pt x="19297" y="19759"/>
                  </a:cubicBezTo>
                  <a:cubicBezTo>
                    <a:pt x="19314" y="19752"/>
                    <a:pt x="19332" y="19741"/>
                    <a:pt x="19346" y="19727"/>
                  </a:cubicBezTo>
                  <a:cubicBezTo>
                    <a:pt x="19447" y="19622"/>
                    <a:pt x="19584" y="19615"/>
                    <a:pt x="19776" y="19601"/>
                  </a:cubicBezTo>
                  <a:cubicBezTo>
                    <a:pt x="19983" y="19591"/>
                    <a:pt x="20190" y="19556"/>
                    <a:pt x="20389" y="19500"/>
                  </a:cubicBezTo>
                  <a:cubicBezTo>
                    <a:pt x="20925" y="19342"/>
                    <a:pt x="21439" y="18901"/>
                    <a:pt x="21558" y="18492"/>
                  </a:cubicBezTo>
                  <a:cubicBezTo>
                    <a:pt x="21635" y="18240"/>
                    <a:pt x="21852" y="18134"/>
                    <a:pt x="22027" y="18050"/>
                  </a:cubicBezTo>
                  <a:cubicBezTo>
                    <a:pt x="22209" y="17963"/>
                    <a:pt x="22259" y="17924"/>
                    <a:pt x="22238" y="17847"/>
                  </a:cubicBezTo>
                  <a:cubicBezTo>
                    <a:pt x="22181" y="17651"/>
                    <a:pt x="22252" y="17557"/>
                    <a:pt x="22301" y="17518"/>
                  </a:cubicBezTo>
                  <a:cubicBezTo>
                    <a:pt x="22338" y="17487"/>
                    <a:pt x="22396" y="17459"/>
                    <a:pt x="22485" y="17459"/>
                  </a:cubicBezTo>
                  <a:cubicBezTo>
                    <a:pt x="22573" y="17459"/>
                    <a:pt x="22690" y="17486"/>
                    <a:pt x="22847" y="17560"/>
                  </a:cubicBezTo>
                  <a:cubicBezTo>
                    <a:pt x="22892" y="17588"/>
                    <a:pt x="22945" y="17606"/>
                    <a:pt x="23001" y="17616"/>
                  </a:cubicBezTo>
                  <a:cubicBezTo>
                    <a:pt x="23004" y="17613"/>
                    <a:pt x="23008" y="17602"/>
                    <a:pt x="23008" y="17595"/>
                  </a:cubicBezTo>
                  <a:cubicBezTo>
                    <a:pt x="23046" y="17515"/>
                    <a:pt x="23109" y="17424"/>
                    <a:pt x="23351" y="17424"/>
                  </a:cubicBezTo>
                  <a:cubicBezTo>
                    <a:pt x="23571" y="17424"/>
                    <a:pt x="23655" y="17385"/>
                    <a:pt x="23743" y="17343"/>
                  </a:cubicBezTo>
                  <a:cubicBezTo>
                    <a:pt x="23866" y="17283"/>
                    <a:pt x="24000" y="17249"/>
                    <a:pt x="24139" y="17249"/>
                  </a:cubicBezTo>
                  <a:cubicBezTo>
                    <a:pt x="24146" y="17249"/>
                    <a:pt x="24153" y="17249"/>
                    <a:pt x="24159" y="17249"/>
                  </a:cubicBezTo>
                  <a:cubicBezTo>
                    <a:pt x="24618" y="17231"/>
                    <a:pt x="25710" y="17032"/>
                    <a:pt x="26074" y="16727"/>
                  </a:cubicBezTo>
                  <a:cubicBezTo>
                    <a:pt x="26319" y="16524"/>
                    <a:pt x="26729" y="16342"/>
                    <a:pt x="27090" y="16181"/>
                  </a:cubicBezTo>
                  <a:cubicBezTo>
                    <a:pt x="27275" y="16104"/>
                    <a:pt x="27457" y="16013"/>
                    <a:pt x="27636" y="15915"/>
                  </a:cubicBezTo>
                  <a:cubicBezTo>
                    <a:pt x="27692" y="15880"/>
                    <a:pt x="27748" y="15841"/>
                    <a:pt x="27800" y="15799"/>
                  </a:cubicBezTo>
                  <a:lnTo>
                    <a:pt x="27800" y="15799"/>
                  </a:lnTo>
                  <a:cubicBezTo>
                    <a:pt x="27676" y="15840"/>
                    <a:pt x="27516" y="15861"/>
                    <a:pt x="27349" y="15861"/>
                  </a:cubicBezTo>
                  <a:cubicBezTo>
                    <a:pt x="27196" y="15861"/>
                    <a:pt x="27037" y="15843"/>
                    <a:pt x="26894" y="15806"/>
                  </a:cubicBezTo>
                  <a:cubicBezTo>
                    <a:pt x="26820" y="15789"/>
                    <a:pt x="26733" y="15757"/>
                    <a:pt x="26642" y="15729"/>
                  </a:cubicBezTo>
                  <a:cubicBezTo>
                    <a:pt x="26449" y="15662"/>
                    <a:pt x="26225" y="15585"/>
                    <a:pt x="26021" y="15585"/>
                  </a:cubicBezTo>
                  <a:cubicBezTo>
                    <a:pt x="25917" y="15585"/>
                    <a:pt x="25819" y="15605"/>
                    <a:pt x="25731" y="15656"/>
                  </a:cubicBezTo>
                  <a:cubicBezTo>
                    <a:pt x="25701" y="15671"/>
                    <a:pt x="25627" y="15714"/>
                    <a:pt x="25558" y="15714"/>
                  </a:cubicBezTo>
                  <a:cubicBezTo>
                    <a:pt x="25531" y="15714"/>
                    <a:pt x="25505" y="15707"/>
                    <a:pt x="25483" y="15691"/>
                  </a:cubicBezTo>
                  <a:cubicBezTo>
                    <a:pt x="25458" y="15673"/>
                    <a:pt x="25423" y="15628"/>
                    <a:pt x="25444" y="15544"/>
                  </a:cubicBezTo>
                  <a:cubicBezTo>
                    <a:pt x="25479" y="15414"/>
                    <a:pt x="25640" y="15211"/>
                    <a:pt x="25850" y="15176"/>
                  </a:cubicBezTo>
                  <a:cubicBezTo>
                    <a:pt x="25941" y="15162"/>
                    <a:pt x="25973" y="15141"/>
                    <a:pt x="25980" y="15127"/>
                  </a:cubicBezTo>
                  <a:cubicBezTo>
                    <a:pt x="26001" y="15096"/>
                    <a:pt x="25973" y="15015"/>
                    <a:pt x="25945" y="14921"/>
                  </a:cubicBezTo>
                  <a:cubicBezTo>
                    <a:pt x="25927" y="14868"/>
                    <a:pt x="25910" y="14809"/>
                    <a:pt x="25892" y="14739"/>
                  </a:cubicBezTo>
                  <a:cubicBezTo>
                    <a:pt x="25854" y="14592"/>
                    <a:pt x="25934" y="14536"/>
                    <a:pt x="25976" y="14518"/>
                  </a:cubicBezTo>
                  <a:cubicBezTo>
                    <a:pt x="26003" y="14506"/>
                    <a:pt x="26035" y="14500"/>
                    <a:pt x="26071" y="14500"/>
                  </a:cubicBezTo>
                  <a:cubicBezTo>
                    <a:pt x="26280" y="14500"/>
                    <a:pt x="26614" y="14700"/>
                    <a:pt x="26785" y="14945"/>
                  </a:cubicBezTo>
                  <a:cubicBezTo>
                    <a:pt x="26969" y="15210"/>
                    <a:pt x="27293" y="15365"/>
                    <a:pt x="27621" y="15365"/>
                  </a:cubicBezTo>
                  <a:cubicBezTo>
                    <a:pt x="27718" y="15365"/>
                    <a:pt x="27815" y="15351"/>
                    <a:pt x="27909" y="15323"/>
                  </a:cubicBezTo>
                  <a:cubicBezTo>
                    <a:pt x="28105" y="15267"/>
                    <a:pt x="28084" y="15176"/>
                    <a:pt x="28042" y="15012"/>
                  </a:cubicBezTo>
                  <a:cubicBezTo>
                    <a:pt x="28010" y="14886"/>
                    <a:pt x="27975" y="14746"/>
                    <a:pt x="28066" y="14620"/>
                  </a:cubicBezTo>
                  <a:cubicBezTo>
                    <a:pt x="28066" y="14620"/>
                    <a:pt x="28070" y="14616"/>
                    <a:pt x="28066" y="14609"/>
                  </a:cubicBezTo>
                  <a:cubicBezTo>
                    <a:pt x="28045" y="14480"/>
                    <a:pt x="27618" y="14193"/>
                    <a:pt x="27310" y="13979"/>
                  </a:cubicBezTo>
                  <a:cubicBezTo>
                    <a:pt x="26915" y="13713"/>
                    <a:pt x="26673" y="13541"/>
                    <a:pt x="26635" y="13419"/>
                  </a:cubicBezTo>
                  <a:cubicBezTo>
                    <a:pt x="26603" y="13324"/>
                    <a:pt x="26635" y="13272"/>
                    <a:pt x="26663" y="13244"/>
                  </a:cubicBezTo>
                  <a:cubicBezTo>
                    <a:pt x="26694" y="13215"/>
                    <a:pt x="26739" y="13202"/>
                    <a:pt x="26797" y="13202"/>
                  </a:cubicBezTo>
                  <a:cubicBezTo>
                    <a:pt x="26947" y="13202"/>
                    <a:pt x="27188" y="13289"/>
                    <a:pt x="27531" y="13433"/>
                  </a:cubicBezTo>
                  <a:cubicBezTo>
                    <a:pt x="27580" y="13456"/>
                    <a:pt x="27624" y="13467"/>
                    <a:pt x="27665" y="13467"/>
                  </a:cubicBezTo>
                  <a:cubicBezTo>
                    <a:pt x="27706" y="13467"/>
                    <a:pt x="27743" y="13456"/>
                    <a:pt x="27776" y="13433"/>
                  </a:cubicBezTo>
                  <a:cubicBezTo>
                    <a:pt x="27909" y="13345"/>
                    <a:pt x="27958" y="13083"/>
                    <a:pt x="27958" y="12929"/>
                  </a:cubicBezTo>
                  <a:cubicBezTo>
                    <a:pt x="27958" y="12911"/>
                    <a:pt x="27930" y="12897"/>
                    <a:pt x="27919" y="12890"/>
                  </a:cubicBezTo>
                  <a:cubicBezTo>
                    <a:pt x="27837" y="12841"/>
                    <a:pt x="27677" y="12817"/>
                    <a:pt x="27495" y="12817"/>
                  </a:cubicBezTo>
                  <a:cubicBezTo>
                    <a:pt x="27233" y="12817"/>
                    <a:pt x="26927" y="12868"/>
                    <a:pt x="26743" y="12971"/>
                  </a:cubicBezTo>
                  <a:cubicBezTo>
                    <a:pt x="26673" y="13014"/>
                    <a:pt x="26593" y="13035"/>
                    <a:pt x="26513" y="13035"/>
                  </a:cubicBezTo>
                  <a:cubicBezTo>
                    <a:pt x="26418" y="13035"/>
                    <a:pt x="26322" y="13005"/>
                    <a:pt x="26242" y="12946"/>
                  </a:cubicBezTo>
                  <a:cubicBezTo>
                    <a:pt x="26155" y="12876"/>
                    <a:pt x="26113" y="12778"/>
                    <a:pt x="26141" y="12691"/>
                  </a:cubicBezTo>
                  <a:cubicBezTo>
                    <a:pt x="26158" y="12628"/>
                    <a:pt x="26221" y="12519"/>
                    <a:pt x="26463" y="12491"/>
                  </a:cubicBezTo>
                  <a:cubicBezTo>
                    <a:pt x="26645" y="12470"/>
                    <a:pt x="26666" y="12435"/>
                    <a:pt x="26670" y="12432"/>
                  </a:cubicBezTo>
                  <a:cubicBezTo>
                    <a:pt x="26677" y="12418"/>
                    <a:pt x="26649" y="12369"/>
                    <a:pt x="26635" y="12344"/>
                  </a:cubicBezTo>
                  <a:cubicBezTo>
                    <a:pt x="26596" y="12267"/>
                    <a:pt x="26537" y="12155"/>
                    <a:pt x="26635" y="12057"/>
                  </a:cubicBezTo>
                  <a:cubicBezTo>
                    <a:pt x="26667" y="12024"/>
                    <a:pt x="26707" y="12010"/>
                    <a:pt x="26755" y="12010"/>
                  </a:cubicBezTo>
                  <a:cubicBezTo>
                    <a:pt x="26870" y="12010"/>
                    <a:pt x="27026" y="12093"/>
                    <a:pt x="27212" y="12190"/>
                  </a:cubicBezTo>
                  <a:cubicBezTo>
                    <a:pt x="27402" y="12288"/>
                    <a:pt x="27630" y="12409"/>
                    <a:pt x="27794" y="12409"/>
                  </a:cubicBezTo>
                  <a:cubicBezTo>
                    <a:pt x="27823" y="12409"/>
                    <a:pt x="27850" y="12405"/>
                    <a:pt x="27874" y="12397"/>
                  </a:cubicBezTo>
                  <a:cubicBezTo>
                    <a:pt x="28003" y="12362"/>
                    <a:pt x="28136" y="12341"/>
                    <a:pt x="28273" y="12337"/>
                  </a:cubicBezTo>
                  <a:cubicBezTo>
                    <a:pt x="28452" y="12327"/>
                    <a:pt x="28606" y="12320"/>
                    <a:pt x="28777" y="12183"/>
                  </a:cubicBezTo>
                  <a:cubicBezTo>
                    <a:pt x="28795" y="12169"/>
                    <a:pt x="28819" y="12145"/>
                    <a:pt x="28816" y="12124"/>
                  </a:cubicBezTo>
                  <a:cubicBezTo>
                    <a:pt x="28809" y="12043"/>
                    <a:pt x="28574" y="11924"/>
                    <a:pt x="28416" y="11843"/>
                  </a:cubicBezTo>
                  <a:cubicBezTo>
                    <a:pt x="28262" y="11763"/>
                    <a:pt x="28108" y="11682"/>
                    <a:pt x="28038" y="11598"/>
                  </a:cubicBezTo>
                  <a:cubicBezTo>
                    <a:pt x="28003" y="11563"/>
                    <a:pt x="27993" y="11511"/>
                    <a:pt x="28014" y="11469"/>
                  </a:cubicBezTo>
                  <a:cubicBezTo>
                    <a:pt x="28055" y="11387"/>
                    <a:pt x="28210" y="11349"/>
                    <a:pt x="28574" y="11349"/>
                  </a:cubicBezTo>
                  <a:cubicBezTo>
                    <a:pt x="28736" y="11349"/>
                    <a:pt x="28940" y="11357"/>
                    <a:pt x="29194" y="11371"/>
                  </a:cubicBezTo>
                  <a:lnTo>
                    <a:pt x="29306" y="11378"/>
                  </a:lnTo>
                  <a:cubicBezTo>
                    <a:pt x="29309" y="11378"/>
                    <a:pt x="29311" y="11378"/>
                    <a:pt x="29314" y="11378"/>
                  </a:cubicBezTo>
                  <a:cubicBezTo>
                    <a:pt x="29402" y="11378"/>
                    <a:pt x="29482" y="11326"/>
                    <a:pt x="29516" y="11245"/>
                  </a:cubicBezTo>
                  <a:cubicBezTo>
                    <a:pt x="29540" y="11210"/>
                    <a:pt x="29544" y="11168"/>
                    <a:pt x="29526" y="11126"/>
                  </a:cubicBezTo>
                  <a:cubicBezTo>
                    <a:pt x="29524" y="11123"/>
                    <a:pt x="29520" y="11122"/>
                    <a:pt x="29514" y="11122"/>
                  </a:cubicBezTo>
                  <a:cubicBezTo>
                    <a:pt x="29504" y="11122"/>
                    <a:pt x="29488" y="11126"/>
                    <a:pt x="29470" y="11133"/>
                  </a:cubicBezTo>
                  <a:cubicBezTo>
                    <a:pt x="29437" y="11145"/>
                    <a:pt x="29397" y="11151"/>
                    <a:pt x="29351" y="11151"/>
                  </a:cubicBezTo>
                  <a:cubicBezTo>
                    <a:pt x="29079" y="11151"/>
                    <a:pt x="28618" y="10945"/>
                    <a:pt x="28445" y="10727"/>
                  </a:cubicBezTo>
                  <a:cubicBezTo>
                    <a:pt x="28329" y="10583"/>
                    <a:pt x="28371" y="10471"/>
                    <a:pt x="28406" y="10422"/>
                  </a:cubicBezTo>
                  <a:cubicBezTo>
                    <a:pt x="28489" y="10297"/>
                    <a:pt x="28597" y="10267"/>
                    <a:pt x="28712" y="10267"/>
                  </a:cubicBezTo>
                  <a:cubicBezTo>
                    <a:pt x="28771" y="10267"/>
                    <a:pt x="28832" y="10275"/>
                    <a:pt x="28893" y="10282"/>
                  </a:cubicBezTo>
                  <a:cubicBezTo>
                    <a:pt x="28963" y="10293"/>
                    <a:pt x="29033" y="10303"/>
                    <a:pt x="29105" y="10303"/>
                  </a:cubicBezTo>
                  <a:cubicBezTo>
                    <a:pt x="29196" y="10303"/>
                    <a:pt x="29289" y="10287"/>
                    <a:pt x="29386" y="10237"/>
                  </a:cubicBezTo>
                  <a:cubicBezTo>
                    <a:pt x="29568" y="10142"/>
                    <a:pt x="29533" y="9911"/>
                    <a:pt x="29509" y="9813"/>
                  </a:cubicBezTo>
                  <a:cubicBezTo>
                    <a:pt x="29453" y="9578"/>
                    <a:pt x="29281" y="9358"/>
                    <a:pt x="29159" y="9358"/>
                  </a:cubicBezTo>
                  <a:cubicBezTo>
                    <a:pt x="29148" y="9358"/>
                    <a:pt x="28122" y="9319"/>
                    <a:pt x="28122" y="9053"/>
                  </a:cubicBezTo>
                  <a:cubicBezTo>
                    <a:pt x="28115" y="9022"/>
                    <a:pt x="28000" y="8959"/>
                    <a:pt x="27937" y="8924"/>
                  </a:cubicBezTo>
                  <a:cubicBezTo>
                    <a:pt x="27811" y="8854"/>
                    <a:pt x="27702" y="8791"/>
                    <a:pt x="27692" y="8700"/>
                  </a:cubicBezTo>
                  <a:cubicBezTo>
                    <a:pt x="27685" y="8654"/>
                    <a:pt x="27706" y="8609"/>
                    <a:pt x="27741" y="8584"/>
                  </a:cubicBezTo>
                  <a:cubicBezTo>
                    <a:pt x="27789" y="8540"/>
                    <a:pt x="27839" y="8525"/>
                    <a:pt x="27889" y="8525"/>
                  </a:cubicBezTo>
                  <a:cubicBezTo>
                    <a:pt x="27938" y="8525"/>
                    <a:pt x="27987" y="8539"/>
                    <a:pt x="28035" y="8553"/>
                  </a:cubicBezTo>
                  <a:cubicBezTo>
                    <a:pt x="28090" y="8568"/>
                    <a:pt x="28148" y="8584"/>
                    <a:pt x="28213" y="8584"/>
                  </a:cubicBezTo>
                  <a:cubicBezTo>
                    <a:pt x="28293" y="8584"/>
                    <a:pt x="28384" y="8560"/>
                    <a:pt x="28490" y="8483"/>
                  </a:cubicBezTo>
                  <a:cubicBezTo>
                    <a:pt x="28613" y="8391"/>
                    <a:pt x="28771" y="8360"/>
                    <a:pt x="28942" y="8360"/>
                  </a:cubicBezTo>
                  <a:cubicBezTo>
                    <a:pt x="29123" y="8360"/>
                    <a:pt x="29318" y="8394"/>
                    <a:pt x="29502" y="8427"/>
                  </a:cubicBezTo>
                  <a:cubicBezTo>
                    <a:pt x="29654" y="8451"/>
                    <a:pt x="29799" y="8477"/>
                    <a:pt x="29910" y="8477"/>
                  </a:cubicBezTo>
                  <a:cubicBezTo>
                    <a:pt x="29944" y="8477"/>
                    <a:pt x="29975" y="8474"/>
                    <a:pt x="30002" y="8469"/>
                  </a:cubicBezTo>
                  <a:cubicBezTo>
                    <a:pt x="30058" y="8458"/>
                    <a:pt x="30062" y="8434"/>
                    <a:pt x="30065" y="8423"/>
                  </a:cubicBezTo>
                  <a:cubicBezTo>
                    <a:pt x="30086" y="8336"/>
                    <a:pt x="29971" y="8150"/>
                    <a:pt x="29841" y="8052"/>
                  </a:cubicBezTo>
                  <a:cubicBezTo>
                    <a:pt x="29800" y="8021"/>
                    <a:pt x="29760" y="8003"/>
                    <a:pt x="29734" y="8003"/>
                  </a:cubicBezTo>
                  <a:cubicBezTo>
                    <a:pt x="29725" y="8003"/>
                    <a:pt x="29717" y="8005"/>
                    <a:pt x="29712" y="8010"/>
                  </a:cubicBezTo>
                  <a:cubicBezTo>
                    <a:pt x="29624" y="8060"/>
                    <a:pt x="29456" y="8096"/>
                    <a:pt x="29282" y="8096"/>
                  </a:cubicBezTo>
                  <a:cubicBezTo>
                    <a:pt x="29151" y="8096"/>
                    <a:pt x="29016" y="8075"/>
                    <a:pt x="28910" y="8024"/>
                  </a:cubicBezTo>
                  <a:cubicBezTo>
                    <a:pt x="28802" y="7979"/>
                    <a:pt x="28725" y="7884"/>
                    <a:pt x="28707" y="7768"/>
                  </a:cubicBezTo>
                  <a:cubicBezTo>
                    <a:pt x="28693" y="7705"/>
                    <a:pt x="28711" y="7642"/>
                    <a:pt x="28753" y="7597"/>
                  </a:cubicBezTo>
                  <a:cubicBezTo>
                    <a:pt x="28799" y="7550"/>
                    <a:pt x="28868" y="7536"/>
                    <a:pt x="28947" y="7536"/>
                  </a:cubicBezTo>
                  <a:cubicBezTo>
                    <a:pt x="29017" y="7536"/>
                    <a:pt x="29096" y="7547"/>
                    <a:pt x="29176" y="7558"/>
                  </a:cubicBezTo>
                  <a:cubicBezTo>
                    <a:pt x="29236" y="7565"/>
                    <a:pt x="29322" y="7577"/>
                    <a:pt x="29385" y="7577"/>
                  </a:cubicBezTo>
                  <a:cubicBezTo>
                    <a:pt x="29417" y="7577"/>
                    <a:pt x="29443" y="7574"/>
                    <a:pt x="29456" y="7565"/>
                  </a:cubicBezTo>
                  <a:cubicBezTo>
                    <a:pt x="29418" y="7492"/>
                    <a:pt x="29092" y="7324"/>
                    <a:pt x="28784" y="7296"/>
                  </a:cubicBezTo>
                  <a:cubicBezTo>
                    <a:pt x="28761" y="7293"/>
                    <a:pt x="28733" y="7291"/>
                    <a:pt x="28704" y="7291"/>
                  </a:cubicBezTo>
                  <a:cubicBezTo>
                    <a:pt x="28614" y="7291"/>
                    <a:pt x="28510" y="7310"/>
                    <a:pt x="28476" y="7383"/>
                  </a:cubicBezTo>
                  <a:cubicBezTo>
                    <a:pt x="28393" y="7540"/>
                    <a:pt x="28231" y="7638"/>
                    <a:pt x="28054" y="7638"/>
                  </a:cubicBezTo>
                  <a:cubicBezTo>
                    <a:pt x="28038" y="7638"/>
                    <a:pt x="28021" y="7637"/>
                    <a:pt x="28003" y="7635"/>
                  </a:cubicBezTo>
                  <a:cubicBezTo>
                    <a:pt x="27905" y="7625"/>
                    <a:pt x="27842" y="7583"/>
                    <a:pt x="27828" y="7516"/>
                  </a:cubicBezTo>
                  <a:cubicBezTo>
                    <a:pt x="27818" y="7474"/>
                    <a:pt x="27828" y="7404"/>
                    <a:pt x="27944" y="7331"/>
                  </a:cubicBezTo>
                  <a:cubicBezTo>
                    <a:pt x="28213" y="7163"/>
                    <a:pt x="28287" y="6659"/>
                    <a:pt x="28255" y="6375"/>
                  </a:cubicBezTo>
                  <a:cubicBezTo>
                    <a:pt x="28234" y="6204"/>
                    <a:pt x="28455" y="6127"/>
                    <a:pt x="28711" y="6039"/>
                  </a:cubicBezTo>
                  <a:cubicBezTo>
                    <a:pt x="29047" y="5924"/>
                    <a:pt x="29281" y="5826"/>
                    <a:pt x="29225" y="5640"/>
                  </a:cubicBezTo>
                  <a:cubicBezTo>
                    <a:pt x="29187" y="5524"/>
                    <a:pt x="29204" y="5395"/>
                    <a:pt x="29281" y="5293"/>
                  </a:cubicBezTo>
                  <a:cubicBezTo>
                    <a:pt x="29481" y="5027"/>
                    <a:pt x="30030" y="5006"/>
                    <a:pt x="30195" y="5006"/>
                  </a:cubicBezTo>
                  <a:cubicBezTo>
                    <a:pt x="30251" y="5006"/>
                    <a:pt x="30275" y="4996"/>
                    <a:pt x="30279" y="4985"/>
                  </a:cubicBezTo>
                  <a:cubicBezTo>
                    <a:pt x="30282" y="4978"/>
                    <a:pt x="30279" y="4947"/>
                    <a:pt x="30247" y="4898"/>
                  </a:cubicBezTo>
                  <a:cubicBezTo>
                    <a:pt x="30174" y="4795"/>
                    <a:pt x="30019" y="4699"/>
                    <a:pt x="29872" y="4699"/>
                  </a:cubicBezTo>
                  <a:cubicBezTo>
                    <a:pt x="29858" y="4699"/>
                    <a:pt x="29845" y="4700"/>
                    <a:pt x="29831" y="4702"/>
                  </a:cubicBezTo>
                  <a:cubicBezTo>
                    <a:pt x="29691" y="4719"/>
                    <a:pt x="29537" y="4807"/>
                    <a:pt x="29404" y="4880"/>
                  </a:cubicBezTo>
                  <a:cubicBezTo>
                    <a:pt x="29265" y="4957"/>
                    <a:pt x="29132" y="5031"/>
                    <a:pt x="29018" y="5031"/>
                  </a:cubicBezTo>
                  <a:cubicBezTo>
                    <a:pt x="28964" y="5031"/>
                    <a:pt x="28915" y="5015"/>
                    <a:pt x="28872" y="4975"/>
                  </a:cubicBezTo>
                  <a:cubicBezTo>
                    <a:pt x="28823" y="4933"/>
                    <a:pt x="28805" y="4863"/>
                    <a:pt x="28830" y="4800"/>
                  </a:cubicBezTo>
                  <a:cubicBezTo>
                    <a:pt x="28907" y="4607"/>
                    <a:pt x="29376" y="4408"/>
                    <a:pt x="29659" y="4408"/>
                  </a:cubicBezTo>
                  <a:cubicBezTo>
                    <a:pt x="30016" y="4408"/>
                    <a:pt x="30755" y="4369"/>
                    <a:pt x="31000" y="4222"/>
                  </a:cubicBezTo>
                  <a:cubicBezTo>
                    <a:pt x="31007" y="4219"/>
                    <a:pt x="31014" y="4215"/>
                    <a:pt x="31021" y="4208"/>
                  </a:cubicBezTo>
                  <a:cubicBezTo>
                    <a:pt x="30957" y="4155"/>
                    <a:pt x="30639" y="4084"/>
                    <a:pt x="30300" y="4084"/>
                  </a:cubicBezTo>
                  <a:cubicBezTo>
                    <a:pt x="30214" y="4084"/>
                    <a:pt x="30126" y="4089"/>
                    <a:pt x="30041" y="4100"/>
                  </a:cubicBezTo>
                  <a:cubicBezTo>
                    <a:pt x="29989" y="4106"/>
                    <a:pt x="29924" y="4113"/>
                    <a:pt x="29860" y="4113"/>
                  </a:cubicBezTo>
                  <a:cubicBezTo>
                    <a:pt x="29759" y="4113"/>
                    <a:pt x="29661" y="4097"/>
                    <a:pt x="29624" y="4044"/>
                  </a:cubicBezTo>
                  <a:cubicBezTo>
                    <a:pt x="29603" y="4016"/>
                    <a:pt x="29600" y="3981"/>
                    <a:pt x="29617" y="3953"/>
                  </a:cubicBezTo>
                  <a:cubicBezTo>
                    <a:pt x="29684" y="3820"/>
                    <a:pt x="30111" y="3795"/>
                    <a:pt x="30289" y="3792"/>
                  </a:cubicBezTo>
                  <a:cubicBezTo>
                    <a:pt x="30727" y="3785"/>
                    <a:pt x="30867" y="3729"/>
                    <a:pt x="31011" y="3669"/>
                  </a:cubicBezTo>
                  <a:cubicBezTo>
                    <a:pt x="31161" y="3606"/>
                    <a:pt x="31319" y="3567"/>
                    <a:pt x="31480" y="3550"/>
                  </a:cubicBezTo>
                  <a:cubicBezTo>
                    <a:pt x="31760" y="3518"/>
                    <a:pt x="31830" y="3445"/>
                    <a:pt x="31896" y="3378"/>
                  </a:cubicBezTo>
                  <a:cubicBezTo>
                    <a:pt x="31959" y="3312"/>
                    <a:pt x="32019" y="3252"/>
                    <a:pt x="32197" y="3242"/>
                  </a:cubicBezTo>
                  <a:cubicBezTo>
                    <a:pt x="32547" y="3228"/>
                    <a:pt x="33321" y="2874"/>
                    <a:pt x="33363" y="2745"/>
                  </a:cubicBezTo>
                  <a:cubicBezTo>
                    <a:pt x="33276" y="2608"/>
                    <a:pt x="32159" y="2276"/>
                    <a:pt x="31553" y="2276"/>
                  </a:cubicBezTo>
                  <a:cubicBezTo>
                    <a:pt x="30853" y="2276"/>
                    <a:pt x="30528" y="2416"/>
                    <a:pt x="30503" y="2731"/>
                  </a:cubicBezTo>
                  <a:cubicBezTo>
                    <a:pt x="30499" y="2804"/>
                    <a:pt x="30468" y="2871"/>
                    <a:pt x="30408" y="2916"/>
                  </a:cubicBezTo>
                  <a:cubicBezTo>
                    <a:pt x="30360" y="2951"/>
                    <a:pt x="30299" y="2964"/>
                    <a:pt x="30229" y="2964"/>
                  </a:cubicBezTo>
                  <a:cubicBezTo>
                    <a:pt x="30121" y="2964"/>
                    <a:pt x="29992" y="2933"/>
                    <a:pt x="29859" y="2899"/>
                  </a:cubicBezTo>
                  <a:cubicBezTo>
                    <a:pt x="29728" y="2867"/>
                    <a:pt x="29586" y="2831"/>
                    <a:pt x="29473" y="2831"/>
                  </a:cubicBezTo>
                  <a:cubicBezTo>
                    <a:pt x="29425" y="2831"/>
                    <a:pt x="29382" y="2838"/>
                    <a:pt x="29348" y="2853"/>
                  </a:cubicBezTo>
                  <a:cubicBezTo>
                    <a:pt x="29297" y="2876"/>
                    <a:pt x="29253" y="2886"/>
                    <a:pt x="29217" y="2886"/>
                  </a:cubicBezTo>
                  <a:cubicBezTo>
                    <a:pt x="29098" y="2886"/>
                    <a:pt x="29048" y="2786"/>
                    <a:pt x="29019" y="2727"/>
                  </a:cubicBezTo>
                  <a:cubicBezTo>
                    <a:pt x="29001" y="2689"/>
                    <a:pt x="28984" y="2654"/>
                    <a:pt x="28963" y="2647"/>
                  </a:cubicBezTo>
                  <a:cubicBezTo>
                    <a:pt x="28960" y="2646"/>
                    <a:pt x="28956" y="2645"/>
                    <a:pt x="28951" y="2645"/>
                  </a:cubicBezTo>
                  <a:cubicBezTo>
                    <a:pt x="28935" y="2645"/>
                    <a:pt x="28909" y="2651"/>
                    <a:pt x="28865" y="2671"/>
                  </a:cubicBezTo>
                  <a:cubicBezTo>
                    <a:pt x="28711" y="2759"/>
                    <a:pt x="28564" y="2860"/>
                    <a:pt x="28427" y="2976"/>
                  </a:cubicBezTo>
                  <a:cubicBezTo>
                    <a:pt x="28227" y="3130"/>
                    <a:pt x="28017" y="3291"/>
                    <a:pt x="27797" y="3385"/>
                  </a:cubicBezTo>
                  <a:cubicBezTo>
                    <a:pt x="27611" y="3462"/>
                    <a:pt x="27447" y="3599"/>
                    <a:pt x="27303" y="3718"/>
                  </a:cubicBezTo>
                  <a:cubicBezTo>
                    <a:pt x="27139" y="3851"/>
                    <a:pt x="26995" y="3970"/>
                    <a:pt x="26855" y="3988"/>
                  </a:cubicBezTo>
                  <a:cubicBezTo>
                    <a:pt x="26847" y="3990"/>
                    <a:pt x="26839" y="3991"/>
                    <a:pt x="26831" y="3991"/>
                  </a:cubicBezTo>
                  <a:cubicBezTo>
                    <a:pt x="26797" y="3991"/>
                    <a:pt x="26764" y="3973"/>
                    <a:pt x="26747" y="3939"/>
                  </a:cubicBezTo>
                  <a:cubicBezTo>
                    <a:pt x="26712" y="3872"/>
                    <a:pt x="26670" y="3785"/>
                    <a:pt x="27709" y="2745"/>
                  </a:cubicBezTo>
                  <a:cubicBezTo>
                    <a:pt x="27874" y="2580"/>
                    <a:pt x="27930" y="2395"/>
                    <a:pt x="27860" y="2251"/>
                  </a:cubicBezTo>
                  <a:cubicBezTo>
                    <a:pt x="27804" y="2131"/>
                    <a:pt x="27669" y="2062"/>
                    <a:pt x="27494" y="2062"/>
                  </a:cubicBezTo>
                  <a:cubicBezTo>
                    <a:pt x="27471" y="2062"/>
                    <a:pt x="27447" y="2063"/>
                    <a:pt x="27422" y="2066"/>
                  </a:cubicBezTo>
                  <a:cubicBezTo>
                    <a:pt x="27149" y="2090"/>
                    <a:pt x="27076" y="2192"/>
                    <a:pt x="27002" y="2297"/>
                  </a:cubicBezTo>
                  <a:cubicBezTo>
                    <a:pt x="26943" y="2377"/>
                    <a:pt x="26880" y="2468"/>
                    <a:pt x="26733" y="2500"/>
                  </a:cubicBezTo>
                  <a:cubicBezTo>
                    <a:pt x="26645" y="2521"/>
                    <a:pt x="26421" y="2612"/>
                    <a:pt x="26190" y="2710"/>
                  </a:cubicBezTo>
                  <a:cubicBezTo>
                    <a:pt x="25648" y="2935"/>
                    <a:pt x="25259" y="3090"/>
                    <a:pt x="25061" y="3090"/>
                  </a:cubicBezTo>
                  <a:cubicBezTo>
                    <a:pt x="25025" y="3090"/>
                    <a:pt x="24995" y="3085"/>
                    <a:pt x="24972" y="3074"/>
                  </a:cubicBezTo>
                  <a:cubicBezTo>
                    <a:pt x="24944" y="3060"/>
                    <a:pt x="24919" y="3035"/>
                    <a:pt x="24909" y="3004"/>
                  </a:cubicBezTo>
                  <a:cubicBezTo>
                    <a:pt x="24860" y="2839"/>
                    <a:pt x="25136" y="2706"/>
                    <a:pt x="25591" y="2500"/>
                  </a:cubicBezTo>
                  <a:cubicBezTo>
                    <a:pt x="25745" y="2433"/>
                    <a:pt x="25945" y="2342"/>
                    <a:pt x="26018" y="2286"/>
                  </a:cubicBezTo>
                  <a:cubicBezTo>
                    <a:pt x="25887" y="2240"/>
                    <a:pt x="25456" y="2211"/>
                    <a:pt x="24986" y="2211"/>
                  </a:cubicBezTo>
                  <a:cubicBezTo>
                    <a:pt x="24605" y="2211"/>
                    <a:pt x="24198" y="2230"/>
                    <a:pt x="23900" y="2272"/>
                  </a:cubicBezTo>
                  <a:cubicBezTo>
                    <a:pt x="23659" y="2307"/>
                    <a:pt x="23354" y="2381"/>
                    <a:pt x="23057" y="2447"/>
                  </a:cubicBezTo>
                  <a:cubicBezTo>
                    <a:pt x="22618" y="2550"/>
                    <a:pt x="22313" y="2619"/>
                    <a:pt x="22133" y="2619"/>
                  </a:cubicBezTo>
                  <a:cubicBezTo>
                    <a:pt x="22062" y="2619"/>
                    <a:pt x="22010" y="2608"/>
                    <a:pt x="21978" y="2584"/>
                  </a:cubicBezTo>
                  <a:cubicBezTo>
                    <a:pt x="21950" y="2566"/>
                    <a:pt x="21936" y="2538"/>
                    <a:pt x="21933" y="2507"/>
                  </a:cubicBezTo>
                  <a:cubicBezTo>
                    <a:pt x="21929" y="2440"/>
                    <a:pt x="21919" y="2318"/>
                    <a:pt x="22763" y="2118"/>
                  </a:cubicBezTo>
                  <a:cubicBezTo>
                    <a:pt x="23200" y="2017"/>
                    <a:pt x="23645" y="1940"/>
                    <a:pt x="24093" y="1887"/>
                  </a:cubicBezTo>
                  <a:cubicBezTo>
                    <a:pt x="24370" y="1856"/>
                    <a:pt x="24720" y="1852"/>
                    <a:pt x="25087" y="1852"/>
                  </a:cubicBezTo>
                  <a:cubicBezTo>
                    <a:pt x="25693" y="1852"/>
                    <a:pt x="26312" y="1849"/>
                    <a:pt x="26649" y="1712"/>
                  </a:cubicBezTo>
                  <a:cubicBezTo>
                    <a:pt x="26915" y="1603"/>
                    <a:pt x="27240" y="1540"/>
                    <a:pt x="27531" y="1488"/>
                  </a:cubicBezTo>
                  <a:cubicBezTo>
                    <a:pt x="27800" y="1439"/>
                    <a:pt x="28080" y="1386"/>
                    <a:pt x="28143" y="1313"/>
                  </a:cubicBezTo>
                  <a:cubicBezTo>
                    <a:pt x="28143" y="1313"/>
                    <a:pt x="28143" y="1309"/>
                    <a:pt x="28143" y="1309"/>
                  </a:cubicBezTo>
                  <a:cubicBezTo>
                    <a:pt x="28140" y="1215"/>
                    <a:pt x="27600" y="1014"/>
                    <a:pt x="27222" y="1014"/>
                  </a:cubicBezTo>
                  <a:cubicBezTo>
                    <a:pt x="27207" y="1014"/>
                    <a:pt x="27192" y="1015"/>
                    <a:pt x="27177" y="1015"/>
                  </a:cubicBezTo>
                  <a:cubicBezTo>
                    <a:pt x="27132" y="1017"/>
                    <a:pt x="27086" y="1018"/>
                    <a:pt x="27038" y="1018"/>
                  </a:cubicBezTo>
                  <a:cubicBezTo>
                    <a:pt x="26788" y="1018"/>
                    <a:pt x="26516" y="989"/>
                    <a:pt x="26411" y="868"/>
                  </a:cubicBezTo>
                  <a:cubicBezTo>
                    <a:pt x="26372" y="826"/>
                    <a:pt x="26355" y="770"/>
                    <a:pt x="26365" y="714"/>
                  </a:cubicBezTo>
                  <a:cubicBezTo>
                    <a:pt x="26376" y="658"/>
                    <a:pt x="26165" y="592"/>
                    <a:pt x="26053" y="553"/>
                  </a:cubicBezTo>
                  <a:cubicBezTo>
                    <a:pt x="25892" y="501"/>
                    <a:pt x="25756" y="455"/>
                    <a:pt x="25710" y="368"/>
                  </a:cubicBezTo>
                  <a:cubicBezTo>
                    <a:pt x="25654" y="326"/>
                    <a:pt x="25329" y="319"/>
                    <a:pt x="25087" y="312"/>
                  </a:cubicBezTo>
                  <a:cubicBezTo>
                    <a:pt x="24723" y="301"/>
                    <a:pt x="24345" y="287"/>
                    <a:pt x="24198" y="196"/>
                  </a:cubicBezTo>
                  <a:cubicBezTo>
                    <a:pt x="24006" y="78"/>
                    <a:pt x="23485" y="0"/>
                    <a:pt x="2295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3" name="Google Shape;6650;p64">
              <a:extLst>
                <a:ext uri="{FF2B5EF4-FFF2-40B4-BE49-F238E27FC236}">
                  <a16:creationId xmlns:a16="http://schemas.microsoft.com/office/drawing/2014/main" id="{9DBDD30F-9951-F26E-CA9C-FCCDCC458DBF}"/>
                </a:ext>
              </a:extLst>
            </p:cNvPr>
            <p:cNvSpPr/>
            <p:nvPr/>
          </p:nvSpPr>
          <p:spPr>
            <a:xfrm>
              <a:off x="1636850" y="1405097"/>
              <a:ext cx="21547" cy="12491"/>
            </a:xfrm>
            <a:custGeom>
              <a:avLst/>
              <a:gdLst/>
              <a:ahLst/>
              <a:cxnLst/>
              <a:rect l="l" t="t" r="r" b="b"/>
              <a:pathLst>
                <a:path w="1587" h="920" extrusionOk="0">
                  <a:moveTo>
                    <a:pt x="456" y="1"/>
                  </a:moveTo>
                  <a:cubicBezTo>
                    <a:pt x="435" y="1"/>
                    <a:pt x="414" y="1"/>
                    <a:pt x="393" y="4"/>
                  </a:cubicBezTo>
                  <a:cubicBezTo>
                    <a:pt x="291" y="11"/>
                    <a:pt x="218" y="43"/>
                    <a:pt x="207" y="81"/>
                  </a:cubicBezTo>
                  <a:cubicBezTo>
                    <a:pt x="190" y="120"/>
                    <a:pt x="165" y="158"/>
                    <a:pt x="137" y="190"/>
                  </a:cubicBezTo>
                  <a:cubicBezTo>
                    <a:pt x="50" y="295"/>
                    <a:pt x="1" y="368"/>
                    <a:pt x="113" y="484"/>
                  </a:cubicBezTo>
                  <a:cubicBezTo>
                    <a:pt x="183" y="565"/>
                    <a:pt x="274" y="621"/>
                    <a:pt x="375" y="649"/>
                  </a:cubicBezTo>
                  <a:cubicBezTo>
                    <a:pt x="501" y="684"/>
                    <a:pt x="613" y="750"/>
                    <a:pt x="708" y="838"/>
                  </a:cubicBezTo>
                  <a:cubicBezTo>
                    <a:pt x="768" y="895"/>
                    <a:pt x="875" y="919"/>
                    <a:pt x="992" y="919"/>
                  </a:cubicBezTo>
                  <a:cubicBezTo>
                    <a:pt x="1112" y="919"/>
                    <a:pt x="1244" y="894"/>
                    <a:pt x="1352" y="852"/>
                  </a:cubicBezTo>
                  <a:cubicBezTo>
                    <a:pt x="1488" y="796"/>
                    <a:pt x="1579" y="719"/>
                    <a:pt x="1583" y="656"/>
                  </a:cubicBezTo>
                  <a:cubicBezTo>
                    <a:pt x="1586" y="579"/>
                    <a:pt x="1569" y="568"/>
                    <a:pt x="1471" y="537"/>
                  </a:cubicBezTo>
                  <a:cubicBezTo>
                    <a:pt x="1376" y="505"/>
                    <a:pt x="1247" y="459"/>
                    <a:pt x="1152" y="284"/>
                  </a:cubicBezTo>
                  <a:cubicBezTo>
                    <a:pt x="1065" y="116"/>
                    <a:pt x="718" y="1"/>
                    <a:pt x="4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4" name="Google Shape;6651;p64">
              <a:extLst>
                <a:ext uri="{FF2B5EF4-FFF2-40B4-BE49-F238E27FC236}">
                  <a16:creationId xmlns:a16="http://schemas.microsoft.com/office/drawing/2014/main" id="{200DC433-8800-09D7-1334-C882119C979F}"/>
                </a:ext>
              </a:extLst>
            </p:cNvPr>
            <p:cNvSpPr/>
            <p:nvPr/>
          </p:nvSpPr>
          <p:spPr>
            <a:xfrm>
              <a:off x="1089269" y="1627361"/>
              <a:ext cx="38085" cy="22688"/>
            </a:xfrm>
            <a:custGeom>
              <a:avLst/>
              <a:gdLst/>
              <a:ahLst/>
              <a:cxnLst/>
              <a:rect l="l" t="t" r="r" b="b"/>
              <a:pathLst>
                <a:path w="2805" h="1671" extrusionOk="0">
                  <a:moveTo>
                    <a:pt x="175" y="1"/>
                  </a:moveTo>
                  <a:cubicBezTo>
                    <a:pt x="111" y="1"/>
                    <a:pt x="57" y="24"/>
                    <a:pt x="1" y="60"/>
                  </a:cubicBezTo>
                  <a:cubicBezTo>
                    <a:pt x="11" y="67"/>
                    <a:pt x="29" y="74"/>
                    <a:pt x="39" y="81"/>
                  </a:cubicBezTo>
                  <a:cubicBezTo>
                    <a:pt x="109" y="120"/>
                    <a:pt x="207" y="169"/>
                    <a:pt x="197" y="267"/>
                  </a:cubicBezTo>
                  <a:cubicBezTo>
                    <a:pt x="193" y="291"/>
                    <a:pt x="204" y="316"/>
                    <a:pt x="221" y="333"/>
                  </a:cubicBezTo>
                  <a:cubicBezTo>
                    <a:pt x="255" y="357"/>
                    <a:pt x="294" y="370"/>
                    <a:pt x="333" y="370"/>
                  </a:cubicBezTo>
                  <a:cubicBezTo>
                    <a:pt x="348" y="370"/>
                    <a:pt x="362" y="369"/>
                    <a:pt x="375" y="365"/>
                  </a:cubicBezTo>
                  <a:cubicBezTo>
                    <a:pt x="385" y="364"/>
                    <a:pt x="393" y="363"/>
                    <a:pt x="402" y="363"/>
                  </a:cubicBezTo>
                  <a:cubicBezTo>
                    <a:pt x="503" y="363"/>
                    <a:pt x="573" y="452"/>
                    <a:pt x="634" y="533"/>
                  </a:cubicBezTo>
                  <a:cubicBezTo>
                    <a:pt x="680" y="589"/>
                    <a:pt x="729" y="652"/>
                    <a:pt x="767" y="655"/>
                  </a:cubicBezTo>
                  <a:cubicBezTo>
                    <a:pt x="862" y="662"/>
                    <a:pt x="922" y="732"/>
                    <a:pt x="974" y="792"/>
                  </a:cubicBezTo>
                  <a:cubicBezTo>
                    <a:pt x="1027" y="855"/>
                    <a:pt x="1069" y="897"/>
                    <a:pt x="1125" y="897"/>
                  </a:cubicBezTo>
                  <a:cubicBezTo>
                    <a:pt x="1286" y="897"/>
                    <a:pt x="1352" y="1027"/>
                    <a:pt x="1408" y="1128"/>
                  </a:cubicBezTo>
                  <a:cubicBezTo>
                    <a:pt x="1426" y="1163"/>
                    <a:pt x="1447" y="1195"/>
                    <a:pt x="1468" y="1226"/>
                  </a:cubicBezTo>
                  <a:cubicBezTo>
                    <a:pt x="1489" y="1254"/>
                    <a:pt x="1531" y="1258"/>
                    <a:pt x="1590" y="1261"/>
                  </a:cubicBezTo>
                  <a:cubicBezTo>
                    <a:pt x="1646" y="1265"/>
                    <a:pt x="1762" y="1272"/>
                    <a:pt x="1762" y="1387"/>
                  </a:cubicBezTo>
                  <a:cubicBezTo>
                    <a:pt x="1762" y="1412"/>
                    <a:pt x="1814" y="1461"/>
                    <a:pt x="1853" y="1492"/>
                  </a:cubicBezTo>
                  <a:cubicBezTo>
                    <a:pt x="1902" y="1534"/>
                    <a:pt x="1947" y="1583"/>
                    <a:pt x="1982" y="1636"/>
                  </a:cubicBezTo>
                  <a:lnTo>
                    <a:pt x="2003" y="1639"/>
                  </a:lnTo>
                  <a:lnTo>
                    <a:pt x="2070" y="1646"/>
                  </a:lnTo>
                  <a:lnTo>
                    <a:pt x="2143" y="1653"/>
                  </a:lnTo>
                  <a:lnTo>
                    <a:pt x="2178" y="1657"/>
                  </a:lnTo>
                  <a:cubicBezTo>
                    <a:pt x="2248" y="1664"/>
                    <a:pt x="2318" y="1671"/>
                    <a:pt x="2388" y="1671"/>
                  </a:cubicBezTo>
                  <a:lnTo>
                    <a:pt x="2581" y="1671"/>
                  </a:lnTo>
                  <a:lnTo>
                    <a:pt x="2619" y="1667"/>
                  </a:lnTo>
                  <a:cubicBezTo>
                    <a:pt x="2640" y="1667"/>
                    <a:pt x="2658" y="1660"/>
                    <a:pt x="2675" y="1660"/>
                  </a:cubicBezTo>
                  <a:lnTo>
                    <a:pt x="2714" y="1653"/>
                  </a:lnTo>
                  <a:lnTo>
                    <a:pt x="2742" y="1646"/>
                  </a:lnTo>
                  <a:cubicBezTo>
                    <a:pt x="2749" y="1573"/>
                    <a:pt x="2770" y="1506"/>
                    <a:pt x="2805" y="1443"/>
                  </a:cubicBezTo>
                  <a:cubicBezTo>
                    <a:pt x="2791" y="1440"/>
                    <a:pt x="2773" y="1436"/>
                    <a:pt x="2759" y="1433"/>
                  </a:cubicBezTo>
                  <a:cubicBezTo>
                    <a:pt x="2654" y="1422"/>
                    <a:pt x="2553" y="1377"/>
                    <a:pt x="2476" y="1303"/>
                  </a:cubicBezTo>
                  <a:cubicBezTo>
                    <a:pt x="2409" y="1233"/>
                    <a:pt x="2283" y="1202"/>
                    <a:pt x="2164" y="1170"/>
                  </a:cubicBezTo>
                  <a:cubicBezTo>
                    <a:pt x="2014" y="1135"/>
                    <a:pt x="1874" y="1100"/>
                    <a:pt x="1828" y="988"/>
                  </a:cubicBezTo>
                  <a:cubicBezTo>
                    <a:pt x="1765" y="817"/>
                    <a:pt x="1408" y="316"/>
                    <a:pt x="1254" y="316"/>
                  </a:cubicBezTo>
                  <a:lnTo>
                    <a:pt x="1251" y="316"/>
                  </a:lnTo>
                  <a:cubicBezTo>
                    <a:pt x="1202" y="319"/>
                    <a:pt x="1146" y="322"/>
                    <a:pt x="1087" y="322"/>
                  </a:cubicBezTo>
                  <a:cubicBezTo>
                    <a:pt x="909" y="322"/>
                    <a:pt x="694" y="294"/>
                    <a:pt x="494" y="144"/>
                  </a:cubicBezTo>
                  <a:cubicBezTo>
                    <a:pt x="357" y="41"/>
                    <a:pt x="258" y="1"/>
                    <a:pt x="17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5" name="Google Shape;6652;p64">
              <a:extLst>
                <a:ext uri="{FF2B5EF4-FFF2-40B4-BE49-F238E27FC236}">
                  <a16:creationId xmlns:a16="http://schemas.microsoft.com/office/drawing/2014/main" id="{DE180FD8-33F9-57D8-641C-E5709B43622C}"/>
                </a:ext>
              </a:extLst>
            </p:cNvPr>
            <p:cNvSpPr/>
            <p:nvPr/>
          </p:nvSpPr>
          <p:spPr>
            <a:xfrm>
              <a:off x="1108006" y="1344093"/>
              <a:ext cx="76156" cy="49612"/>
            </a:xfrm>
            <a:custGeom>
              <a:avLst/>
              <a:gdLst/>
              <a:ahLst/>
              <a:cxnLst/>
              <a:rect l="l" t="t" r="r" b="b"/>
              <a:pathLst>
                <a:path w="5609" h="3654" extrusionOk="0">
                  <a:moveTo>
                    <a:pt x="2303" y="0"/>
                  </a:moveTo>
                  <a:cubicBezTo>
                    <a:pt x="2146" y="0"/>
                    <a:pt x="1724" y="92"/>
                    <a:pt x="1432" y="156"/>
                  </a:cubicBezTo>
                  <a:cubicBezTo>
                    <a:pt x="1113" y="226"/>
                    <a:pt x="816" y="293"/>
                    <a:pt x="679" y="293"/>
                  </a:cubicBezTo>
                  <a:cubicBezTo>
                    <a:pt x="674" y="292"/>
                    <a:pt x="669" y="292"/>
                    <a:pt x="663" y="292"/>
                  </a:cubicBezTo>
                  <a:cubicBezTo>
                    <a:pt x="646" y="292"/>
                    <a:pt x="629" y="295"/>
                    <a:pt x="616" y="303"/>
                  </a:cubicBezTo>
                  <a:cubicBezTo>
                    <a:pt x="616" y="349"/>
                    <a:pt x="739" y="513"/>
                    <a:pt x="959" y="685"/>
                  </a:cubicBezTo>
                  <a:cubicBezTo>
                    <a:pt x="998" y="713"/>
                    <a:pt x="1022" y="755"/>
                    <a:pt x="1026" y="800"/>
                  </a:cubicBezTo>
                  <a:cubicBezTo>
                    <a:pt x="1040" y="930"/>
                    <a:pt x="907" y="1091"/>
                    <a:pt x="763" y="1256"/>
                  </a:cubicBezTo>
                  <a:cubicBezTo>
                    <a:pt x="693" y="1336"/>
                    <a:pt x="585" y="1469"/>
                    <a:pt x="578" y="1515"/>
                  </a:cubicBezTo>
                  <a:cubicBezTo>
                    <a:pt x="613" y="1546"/>
                    <a:pt x="634" y="1585"/>
                    <a:pt x="634" y="1630"/>
                  </a:cubicBezTo>
                  <a:cubicBezTo>
                    <a:pt x="648" y="1798"/>
                    <a:pt x="441" y="2036"/>
                    <a:pt x="151" y="2365"/>
                  </a:cubicBezTo>
                  <a:lnTo>
                    <a:pt x="95" y="2428"/>
                  </a:lnTo>
                  <a:cubicBezTo>
                    <a:pt x="32" y="2502"/>
                    <a:pt x="0" y="2565"/>
                    <a:pt x="14" y="2596"/>
                  </a:cubicBezTo>
                  <a:cubicBezTo>
                    <a:pt x="42" y="2670"/>
                    <a:pt x="273" y="2705"/>
                    <a:pt x="459" y="2733"/>
                  </a:cubicBezTo>
                  <a:cubicBezTo>
                    <a:pt x="553" y="2747"/>
                    <a:pt x="651" y="2764"/>
                    <a:pt x="742" y="2782"/>
                  </a:cubicBezTo>
                  <a:cubicBezTo>
                    <a:pt x="1005" y="2841"/>
                    <a:pt x="1134" y="3104"/>
                    <a:pt x="1250" y="3335"/>
                  </a:cubicBezTo>
                  <a:cubicBezTo>
                    <a:pt x="1330" y="3500"/>
                    <a:pt x="1407" y="3654"/>
                    <a:pt x="1505" y="3654"/>
                  </a:cubicBezTo>
                  <a:cubicBezTo>
                    <a:pt x="1544" y="3654"/>
                    <a:pt x="1547" y="3647"/>
                    <a:pt x="1572" y="3598"/>
                  </a:cubicBezTo>
                  <a:cubicBezTo>
                    <a:pt x="1600" y="3524"/>
                    <a:pt x="1649" y="3412"/>
                    <a:pt x="1866" y="3412"/>
                  </a:cubicBezTo>
                  <a:cubicBezTo>
                    <a:pt x="1876" y="3413"/>
                    <a:pt x="1886" y="3413"/>
                    <a:pt x="1895" y="3413"/>
                  </a:cubicBezTo>
                  <a:cubicBezTo>
                    <a:pt x="1972" y="3413"/>
                    <a:pt x="2045" y="3389"/>
                    <a:pt x="2104" y="3342"/>
                  </a:cubicBezTo>
                  <a:cubicBezTo>
                    <a:pt x="2159" y="3305"/>
                    <a:pt x="2220" y="3266"/>
                    <a:pt x="2346" y="3266"/>
                  </a:cubicBezTo>
                  <a:cubicBezTo>
                    <a:pt x="2364" y="3266"/>
                    <a:pt x="2384" y="3267"/>
                    <a:pt x="2405" y="3269"/>
                  </a:cubicBezTo>
                  <a:cubicBezTo>
                    <a:pt x="2426" y="3270"/>
                    <a:pt x="2447" y="3271"/>
                    <a:pt x="2470" y="3271"/>
                  </a:cubicBezTo>
                  <a:cubicBezTo>
                    <a:pt x="2574" y="3271"/>
                    <a:pt x="2696" y="3253"/>
                    <a:pt x="2776" y="3181"/>
                  </a:cubicBezTo>
                  <a:cubicBezTo>
                    <a:pt x="2836" y="3122"/>
                    <a:pt x="2867" y="3034"/>
                    <a:pt x="2867" y="2918"/>
                  </a:cubicBezTo>
                  <a:cubicBezTo>
                    <a:pt x="2867" y="2516"/>
                    <a:pt x="3151" y="2390"/>
                    <a:pt x="3427" y="2320"/>
                  </a:cubicBezTo>
                  <a:cubicBezTo>
                    <a:pt x="3515" y="2299"/>
                    <a:pt x="3529" y="2250"/>
                    <a:pt x="3546" y="2145"/>
                  </a:cubicBezTo>
                  <a:cubicBezTo>
                    <a:pt x="3567" y="2019"/>
                    <a:pt x="3599" y="1851"/>
                    <a:pt x="3865" y="1788"/>
                  </a:cubicBezTo>
                  <a:cubicBezTo>
                    <a:pt x="4271" y="1693"/>
                    <a:pt x="5402" y="1210"/>
                    <a:pt x="5587" y="1070"/>
                  </a:cubicBezTo>
                  <a:cubicBezTo>
                    <a:pt x="5591" y="1067"/>
                    <a:pt x="5608" y="1053"/>
                    <a:pt x="5608" y="1046"/>
                  </a:cubicBezTo>
                  <a:cubicBezTo>
                    <a:pt x="5605" y="976"/>
                    <a:pt x="5356" y="832"/>
                    <a:pt x="5153" y="716"/>
                  </a:cubicBezTo>
                  <a:cubicBezTo>
                    <a:pt x="5076" y="671"/>
                    <a:pt x="4996" y="622"/>
                    <a:pt x="4912" y="573"/>
                  </a:cubicBezTo>
                  <a:cubicBezTo>
                    <a:pt x="4650" y="411"/>
                    <a:pt x="4437" y="332"/>
                    <a:pt x="4246" y="332"/>
                  </a:cubicBezTo>
                  <a:cubicBezTo>
                    <a:pt x="4111" y="332"/>
                    <a:pt x="3987" y="372"/>
                    <a:pt x="3865" y="450"/>
                  </a:cubicBezTo>
                  <a:cubicBezTo>
                    <a:pt x="3792" y="498"/>
                    <a:pt x="3738" y="520"/>
                    <a:pt x="3692" y="520"/>
                  </a:cubicBezTo>
                  <a:cubicBezTo>
                    <a:pt x="3674" y="520"/>
                    <a:pt x="3657" y="517"/>
                    <a:pt x="3641" y="510"/>
                  </a:cubicBezTo>
                  <a:cubicBezTo>
                    <a:pt x="3581" y="482"/>
                    <a:pt x="3574" y="415"/>
                    <a:pt x="3567" y="366"/>
                  </a:cubicBezTo>
                  <a:cubicBezTo>
                    <a:pt x="3567" y="349"/>
                    <a:pt x="3564" y="335"/>
                    <a:pt x="3560" y="321"/>
                  </a:cubicBezTo>
                  <a:cubicBezTo>
                    <a:pt x="3546" y="324"/>
                    <a:pt x="3532" y="328"/>
                    <a:pt x="3518" y="335"/>
                  </a:cubicBezTo>
                  <a:cubicBezTo>
                    <a:pt x="3469" y="357"/>
                    <a:pt x="3407" y="367"/>
                    <a:pt x="3337" y="367"/>
                  </a:cubicBezTo>
                  <a:cubicBezTo>
                    <a:pt x="2994" y="367"/>
                    <a:pt x="2463" y="131"/>
                    <a:pt x="2353" y="6"/>
                  </a:cubicBezTo>
                  <a:cubicBezTo>
                    <a:pt x="2342" y="2"/>
                    <a:pt x="2325" y="0"/>
                    <a:pt x="2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6" name="Google Shape;6653;p64">
              <a:extLst>
                <a:ext uri="{FF2B5EF4-FFF2-40B4-BE49-F238E27FC236}">
                  <a16:creationId xmlns:a16="http://schemas.microsoft.com/office/drawing/2014/main" id="{6100A8BC-F36F-2F85-ACFB-C83F28D784A7}"/>
                </a:ext>
              </a:extLst>
            </p:cNvPr>
            <p:cNvSpPr/>
            <p:nvPr/>
          </p:nvSpPr>
          <p:spPr>
            <a:xfrm>
              <a:off x="1158773" y="1355960"/>
              <a:ext cx="133616" cy="70277"/>
            </a:xfrm>
            <a:custGeom>
              <a:avLst/>
              <a:gdLst/>
              <a:ahLst/>
              <a:cxnLst/>
              <a:rect l="l" t="t" r="r" b="b"/>
              <a:pathLst>
                <a:path w="9841" h="5176" extrusionOk="0">
                  <a:moveTo>
                    <a:pt x="7395" y="0"/>
                  </a:moveTo>
                  <a:cubicBezTo>
                    <a:pt x="7091" y="0"/>
                    <a:pt x="6765" y="137"/>
                    <a:pt x="6690" y="207"/>
                  </a:cubicBezTo>
                  <a:cubicBezTo>
                    <a:pt x="6729" y="242"/>
                    <a:pt x="6813" y="298"/>
                    <a:pt x="6890" y="354"/>
                  </a:cubicBezTo>
                  <a:cubicBezTo>
                    <a:pt x="7177" y="550"/>
                    <a:pt x="7362" y="690"/>
                    <a:pt x="7362" y="809"/>
                  </a:cubicBezTo>
                  <a:cubicBezTo>
                    <a:pt x="7366" y="840"/>
                    <a:pt x="7348" y="872"/>
                    <a:pt x="7320" y="889"/>
                  </a:cubicBezTo>
                  <a:cubicBezTo>
                    <a:pt x="7308" y="896"/>
                    <a:pt x="7294" y="899"/>
                    <a:pt x="7279" y="899"/>
                  </a:cubicBezTo>
                  <a:cubicBezTo>
                    <a:pt x="7222" y="899"/>
                    <a:pt x="7146" y="851"/>
                    <a:pt x="7023" y="770"/>
                  </a:cubicBezTo>
                  <a:cubicBezTo>
                    <a:pt x="6910" y="694"/>
                    <a:pt x="6715" y="565"/>
                    <a:pt x="6618" y="565"/>
                  </a:cubicBezTo>
                  <a:cubicBezTo>
                    <a:pt x="6603" y="565"/>
                    <a:pt x="6591" y="568"/>
                    <a:pt x="6582" y="574"/>
                  </a:cubicBezTo>
                  <a:cubicBezTo>
                    <a:pt x="6540" y="599"/>
                    <a:pt x="6498" y="608"/>
                    <a:pt x="6457" y="608"/>
                  </a:cubicBezTo>
                  <a:cubicBezTo>
                    <a:pt x="6382" y="608"/>
                    <a:pt x="6310" y="576"/>
                    <a:pt x="6249" y="546"/>
                  </a:cubicBezTo>
                  <a:cubicBezTo>
                    <a:pt x="6184" y="516"/>
                    <a:pt x="6140" y="497"/>
                    <a:pt x="6105" y="497"/>
                  </a:cubicBezTo>
                  <a:cubicBezTo>
                    <a:pt x="6071" y="497"/>
                    <a:pt x="6045" y="514"/>
                    <a:pt x="6018" y="553"/>
                  </a:cubicBezTo>
                  <a:cubicBezTo>
                    <a:pt x="5881" y="749"/>
                    <a:pt x="6218" y="1537"/>
                    <a:pt x="6382" y="1817"/>
                  </a:cubicBezTo>
                  <a:cubicBezTo>
                    <a:pt x="6435" y="1901"/>
                    <a:pt x="6445" y="1971"/>
                    <a:pt x="6417" y="2030"/>
                  </a:cubicBezTo>
                  <a:cubicBezTo>
                    <a:pt x="6375" y="2132"/>
                    <a:pt x="6235" y="2160"/>
                    <a:pt x="6105" y="2185"/>
                  </a:cubicBezTo>
                  <a:cubicBezTo>
                    <a:pt x="6070" y="2192"/>
                    <a:pt x="6035" y="2199"/>
                    <a:pt x="6004" y="2206"/>
                  </a:cubicBezTo>
                  <a:cubicBezTo>
                    <a:pt x="5990" y="2209"/>
                    <a:pt x="5977" y="2211"/>
                    <a:pt x="5964" y="2211"/>
                  </a:cubicBezTo>
                  <a:cubicBezTo>
                    <a:pt x="5822" y="2211"/>
                    <a:pt x="5763" y="1983"/>
                    <a:pt x="5696" y="1726"/>
                  </a:cubicBezTo>
                  <a:cubicBezTo>
                    <a:pt x="5654" y="1544"/>
                    <a:pt x="5598" y="1341"/>
                    <a:pt x="5521" y="1232"/>
                  </a:cubicBezTo>
                  <a:cubicBezTo>
                    <a:pt x="5384" y="1047"/>
                    <a:pt x="4919" y="826"/>
                    <a:pt x="4695" y="812"/>
                  </a:cubicBezTo>
                  <a:cubicBezTo>
                    <a:pt x="4688" y="812"/>
                    <a:pt x="4682" y="811"/>
                    <a:pt x="4676" y="811"/>
                  </a:cubicBezTo>
                  <a:cubicBezTo>
                    <a:pt x="4640" y="811"/>
                    <a:pt x="4624" y="820"/>
                    <a:pt x="4621" y="823"/>
                  </a:cubicBezTo>
                  <a:cubicBezTo>
                    <a:pt x="4611" y="858"/>
                    <a:pt x="4677" y="893"/>
                    <a:pt x="4772" y="938"/>
                  </a:cubicBezTo>
                  <a:cubicBezTo>
                    <a:pt x="4901" y="1001"/>
                    <a:pt x="5087" y="1089"/>
                    <a:pt x="5034" y="1288"/>
                  </a:cubicBezTo>
                  <a:cubicBezTo>
                    <a:pt x="5024" y="1341"/>
                    <a:pt x="4992" y="1383"/>
                    <a:pt x="4947" y="1411"/>
                  </a:cubicBezTo>
                  <a:cubicBezTo>
                    <a:pt x="4926" y="1421"/>
                    <a:pt x="4905" y="1425"/>
                    <a:pt x="4883" y="1425"/>
                  </a:cubicBezTo>
                  <a:cubicBezTo>
                    <a:pt x="4829" y="1425"/>
                    <a:pt x="4772" y="1401"/>
                    <a:pt x="4712" y="1376"/>
                  </a:cubicBezTo>
                  <a:cubicBezTo>
                    <a:pt x="4639" y="1344"/>
                    <a:pt x="4574" y="1320"/>
                    <a:pt x="4514" y="1320"/>
                  </a:cubicBezTo>
                  <a:cubicBezTo>
                    <a:pt x="4469" y="1320"/>
                    <a:pt x="4425" y="1334"/>
                    <a:pt x="4383" y="1369"/>
                  </a:cubicBezTo>
                  <a:cubicBezTo>
                    <a:pt x="4290" y="1446"/>
                    <a:pt x="4222" y="1492"/>
                    <a:pt x="4165" y="1492"/>
                  </a:cubicBezTo>
                  <a:cubicBezTo>
                    <a:pt x="4147" y="1492"/>
                    <a:pt x="4130" y="1488"/>
                    <a:pt x="4114" y="1477"/>
                  </a:cubicBezTo>
                  <a:cubicBezTo>
                    <a:pt x="4050" y="1439"/>
                    <a:pt x="4065" y="1341"/>
                    <a:pt x="4096" y="1201"/>
                  </a:cubicBezTo>
                  <a:lnTo>
                    <a:pt x="4107" y="1159"/>
                  </a:lnTo>
                  <a:cubicBezTo>
                    <a:pt x="4114" y="1113"/>
                    <a:pt x="4096" y="1068"/>
                    <a:pt x="4065" y="1036"/>
                  </a:cubicBezTo>
                  <a:cubicBezTo>
                    <a:pt x="3962" y="921"/>
                    <a:pt x="3714" y="817"/>
                    <a:pt x="3419" y="817"/>
                  </a:cubicBezTo>
                  <a:cubicBezTo>
                    <a:pt x="3382" y="817"/>
                    <a:pt x="3344" y="819"/>
                    <a:pt x="3305" y="823"/>
                  </a:cubicBezTo>
                  <a:cubicBezTo>
                    <a:pt x="3053" y="851"/>
                    <a:pt x="3053" y="945"/>
                    <a:pt x="3053" y="1078"/>
                  </a:cubicBezTo>
                  <a:cubicBezTo>
                    <a:pt x="3053" y="1162"/>
                    <a:pt x="3053" y="1253"/>
                    <a:pt x="2979" y="1320"/>
                  </a:cubicBezTo>
                  <a:cubicBezTo>
                    <a:pt x="2933" y="1358"/>
                    <a:pt x="2856" y="1373"/>
                    <a:pt x="2771" y="1373"/>
                  </a:cubicBezTo>
                  <a:cubicBezTo>
                    <a:pt x="2629" y="1373"/>
                    <a:pt x="2466" y="1332"/>
                    <a:pt x="2388" y="1288"/>
                  </a:cubicBezTo>
                  <a:cubicBezTo>
                    <a:pt x="2314" y="1246"/>
                    <a:pt x="2300" y="1197"/>
                    <a:pt x="2307" y="1162"/>
                  </a:cubicBezTo>
                  <a:cubicBezTo>
                    <a:pt x="2321" y="1085"/>
                    <a:pt x="2423" y="1054"/>
                    <a:pt x="2510" y="1033"/>
                  </a:cubicBezTo>
                  <a:cubicBezTo>
                    <a:pt x="2598" y="1012"/>
                    <a:pt x="2710" y="977"/>
                    <a:pt x="2738" y="910"/>
                  </a:cubicBezTo>
                  <a:cubicBezTo>
                    <a:pt x="2773" y="823"/>
                    <a:pt x="2678" y="679"/>
                    <a:pt x="2587" y="536"/>
                  </a:cubicBezTo>
                  <a:lnTo>
                    <a:pt x="2566" y="501"/>
                  </a:lnTo>
                  <a:cubicBezTo>
                    <a:pt x="2535" y="451"/>
                    <a:pt x="2487" y="430"/>
                    <a:pt x="2420" y="430"/>
                  </a:cubicBezTo>
                  <a:cubicBezTo>
                    <a:pt x="2292" y="430"/>
                    <a:pt x="2094" y="509"/>
                    <a:pt x="1806" y="627"/>
                  </a:cubicBezTo>
                  <a:cubicBezTo>
                    <a:pt x="1645" y="693"/>
                    <a:pt x="1463" y="770"/>
                    <a:pt x="1260" y="844"/>
                  </a:cubicBezTo>
                  <a:cubicBezTo>
                    <a:pt x="718" y="1036"/>
                    <a:pt x="406" y="1236"/>
                    <a:pt x="319" y="1323"/>
                  </a:cubicBezTo>
                  <a:cubicBezTo>
                    <a:pt x="347" y="1344"/>
                    <a:pt x="364" y="1372"/>
                    <a:pt x="371" y="1404"/>
                  </a:cubicBezTo>
                  <a:cubicBezTo>
                    <a:pt x="396" y="1509"/>
                    <a:pt x="312" y="1638"/>
                    <a:pt x="116" y="1799"/>
                  </a:cubicBezTo>
                  <a:cubicBezTo>
                    <a:pt x="60" y="1845"/>
                    <a:pt x="0" y="1915"/>
                    <a:pt x="25" y="1988"/>
                  </a:cubicBezTo>
                  <a:cubicBezTo>
                    <a:pt x="56" y="2076"/>
                    <a:pt x="200" y="2143"/>
                    <a:pt x="340" y="2143"/>
                  </a:cubicBezTo>
                  <a:cubicBezTo>
                    <a:pt x="420" y="2143"/>
                    <a:pt x="473" y="2160"/>
                    <a:pt x="508" y="2199"/>
                  </a:cubicBezTo>
                  <a:cubicBezTo>
                    <a:pt x="539" y="2237"/>
                    <a:pt x="553" y="2290"/>
                    <a:pt x="546" y="2342"/>
                  </a:cubicBezTo>
                  <a:cubicBezTo>
                    <a:pt x="543" y="2402"/>
                    <a:pt x="546" y="2405"/>
                    <a:pt x="578" y="2416"/>
                  </a:cubicBezTo>
                  <a:cubicBezTo>
                    <a:pt x="582" y="2417"/>
                    <a:pt x="587" y="2417"/>
                    <a:pt x="594" y="2417"/>
                  </a:cubicBezTo>
                  <a:cubicBezTo>
                    <a:pt x="661" y="2417"/>
                    <a:pt x="837" y="2370"/>
                    <a:pt x="980" y="2332"/>
                  </a:cubicBezTo>
                  <a:cubicBezTo>
                    <a:pt x="1212" y="2268"/>
                    <a:pt x="1463" y="2199"/>
                    <a:pt x="1656" y="2199"/>
                  </a:cubicBezTo>
                  <a:cubicBezTo>
                    <a:pt x="1748" y="2199"/>
                    <a:pt x="1827" y="2215"/>
                    <a:pt x="1883" y="2255"/>
                  </a:cubicBezTo>
                  <a:cubicBezTo>
                    <a:pt x="1922" y="2276"/>
                    <a:pt x="1939" y="2318"/>
                    <a:pt x="1932" y="2360"/>
                  </a:cubicBezTo>
                  <a:cubicBezTo>
                    <a:pt x="1915" y="2454"/>
                    <a:pt x="1764" y="2493"/>
                    <a:pt x="1313" y="2587"/>
                  </a:cubicBezTo>
                  <a:cubicBezTo>
                    <a:pt x="1064" y="2640"/>
                    <a:pt x="480" y="2762"/>
                    <a:pt x="480" y="2864"/>
                  </a:cubicBezTo>
                  <a:cubicBezTo>
                    <a:pt x="487" y="2902"/>
                    <a:pt x="504" y="2937"/>
                    <a:pt x="536" y="2958"/>
                  </a:cubicBezTo>
                  <a:cubicBezTo>
                    <a:pt x="701" y="3093"/>
                    <a:pt x="1122" y="3178"/>
                    <a:pt x="1542" y="3178"/>
                  </a:cubicBezTo>
                  <a:cubicBezTo>
                    <a:pt x="1700" y="3178"/>
                    <a:pt x="1858" y="3166"/>
                    <a:pt x="2003" y="3140"/>
                  </a:cubicBezTo>
                  <a:cubicBezTo>
                    <a:pt x="2140" y="3116"/>
                    <a:pt x="2302" y="3105"/>
                    <a:pt x="2472" y="3105"/>
                  </a:cubicBezTo>
                  <a:cubicBezTo>
                    <a:pt x="3051" y="3105"/>
                    <a:pt x="3728" y="3231"/>
                    <a:pt x="3893" y="3371"/>
                  </a:cubicBezTo>
                  <a:cubicBezTo>
                    <a:pt x="3928" y="3396"/>
                    <a:pt x="3945" y="3431"/>
                    <a:pt x="3949" y="3469"/>
                  </a:cubicBezTo>
                  <a:cubicBezTo>
                    <a:pt x="3949" y="3504"/>
                    <a:pt x="3935" y="3536"/>
                    <a:pt x="3910" y="3557"/>
                  </a:cubicBezTo>
                  <a:cubicBezTo>
                    <a:pt x="3832" y="3633"/>
                    <a:pt x="3620" y="3658"/>
                    <a:pt x="3304" y="3658"/>
                  </a:cubicBezTo>
                  <a:cubicBezTo>
                    <a:pt x="3114" y="3658"/>
                    <a:pt x="2886" y="3649"/>
                    <a:pt x="2626" y="3637"/>
                  </a:cubicBezTo>
                  <a:lnTo>
                    <a:pt x="2472" y="3634"/>
                  </a:lnTo>
                  <a:cubicBezTo>
                    <a:pt x="2431" y="3632"/>
                    <a:pt x="2390" y="3631"/>
                    <a:pt x="2347" y="3631"/>
                  </a:cubicBezTo>
                  <a:cubicBezTo>
                    <a:pt x="1735" y="3631"/>
                    <a:pt x="984" y="3813"/>
                    <a:pt x="942" y="3917"/>
                  </a:cubicBezTo>
                  <a:cubicBezTo>
                    <a:pt x="980" y="4068"/>
                    <a:pt x="1001" y="4082"/>
                    <a:pt x="1435" y="4278"/>
                  </a:cubicBezTo>
                  <a:lnTo>
                    <a:pt x="1656" y="4380"/>
                  </a:lnTo>
                  <a:cubicBezTo>
                    <a:pt x="1833" y="4462"/>
                    <a:pt x="2011" y="4484"/>
                    <a:pt x="2177" y="4484"/>
                  </a:cubicBezTo>
                  <a:cubicBezTo>
                    <a:pt x="2280" y="4484"/>
                    <a:pt x="2378" y="4475"/>
                    <a:pt x="2468" y="4467"/>
                  </a:cubicBezTo>
                  <a:cubicBezTo>
                    <a:pt x="2545" y="4460"/>
                    <a:pt x="2612" y="4453"/>
                    <a:pt x="2675" y="4453"/>
                  </a:cubicBezTo>
                  <a:cubicBezTo>
                    <a:pt x="2769" y="4453"/>
                    <a:pt x="2843" y="4467"/>
                    <a:pt x="2895" y="4520"/>
                  </a:cubicBezTo>
                  <a:cubicBezTo>
                    <a:pt x="2944" y="4569"/>
                    <a:pt x="2965" y="4642"/>
                    <a:pt x="2955" y="4712"/>
                  </a:cubicBezTo>
                  <a:cubicBezTo>
                    <a:pt x="2944" y="4800"/>
                    <a:pt x="2972" y="4891"/>
                    <a:pt x="3028" y="4961"/>
                  </a:cubicBezTo>
                  <a:cubicBezTo>
                    <a:pt x="3172" y="5118"/>
                    <a:pt x="3553" y="5160"/>
                    <a:pt x="4082" y="5174"/>
                  </a:cubicBezTo>
                  <a:cubicBezTo>
                    <a:pt x="4106" y="5175"/>
                    <a:pt x="4130" y="5175"/>
                    <a:pt x="4153" y="5175"/>
                  </a:cubicBezTo>
                  <a:cubicBezTo>
                    <a:pt x="4595" y="5175"/>
                    <a:pt x="4908" y="5053"/>
                    <a:pt x="5164" y="4950"/>
                  </a:cubicBezTo>
                  <a:cubicBezTo>
                    <a:pt x="5353" y="4875"/>
                    <a:pt x="5521" y="4809"/>
                    <a:pt x="5694" y="4809"/>
                  </a:cubicBezTo>
                  <a:cubicBezTo>
                    <a:pt x="5706" y="4809"/>
                    <a:pt x="5718" y="4809"/>
                    <a:pt x="5731" y="4810"/>
                  </a:cubicBezTo>
                  <a:cubicBezTo>
                    <a:pt x="5780" y="4813"/>
                    <a:pt x="5826" y="4815"/>
                    <a:pt x="5868" y="4815"/>
                  </a:cubicBezTo>
                  <a:cubicBezTo>
                    <a:pt x="6174" y="4815"/>
                    <a:pt x="6320" y="4733"/>
                    <a:pt x="6477" y="4502"/>
                  </a:cubicBezTo>
                  <a:cubicBezTo>
                    <a:pt x="6581" y="4347"/>
                    <a:pt x="6680" y="4312"/>
                    <a:pt x="6752" y="4312"/>
                  </a:cubicBezTo>
                  <a:cubicBezTo>
                    <a:pt x="6760" y="4312"/>
                    <a:pt x="6767" y="4312"/>
                    <a:pt x="6774" y="4313"/>
                  </a:cubicBezTo>
                  <a:cubicBezTo>
                    <a:pt x="6893" y="4331"/>
                    <a:pt x="6974" y="4446"/>
                    <a:pt x="7005" y="4541"/>
                  </a:cubicBezTo>
                  <a:cubicBezTo>
                    <a:pt x="7019" y="4583"/>
                    <a:pt x="7219" y="4618"/>
                    <a:pt x="7317" y="4635"/>
                  </a:cubicBezTo>
                  <a:cubicBezTo>
                    <a:pt x="7474" y="4663"/>
                    <a:pt x="7621" y="4688"/>
                    <a:pt x="7695" y="4758"/>
                  </a:cubicBezTo>
                  <a:cubicBezTo>
                    <a:pt x="7823" y="4888"/>
                    <a:pt x="8108" y="4941"/>
                    <a:pt x="8415" y="4941"/>
                  </a:cubicBezTo>
                  <a:cubicBezTo>
                    <a:pt x="8760" y="4941"/>
                    <a:pt x="9133" y="4874"/>
                    <a:pt x="9340" y="4772"/>
                  </a:cubicBezTo>
                  <a:cubicBezTo>
                    <a:pt x="9410" y="4733"/>
                    <a:pt x="9442" y="4688"/>
                    <a:pt x="9438" y="4628"/>
                  </a:cubicBezTo>
                  <a:cubicBezTo>
                    <a:pt x="9428" y="4523"/>
                    <a:pt x="9312" y="4394"/>
                    <a:pt x="9193" y="4355"/>
                  </a:cubicBezTo>
                  <a:cubicBezTo>
                    <a:pt x="9178" y="4348"/>
                    <a:pt x="9161" y="4345"/>
                    <a:pt x="9146" y="4345"/>
                  </a:cubicBezTo>
                  <a:cubicBezTo>
                    <a:pt x="9112" y="4345"/>
                    <a:pt x="9080" y="4359"/>
                    <a:pt x="9057" y="4383"/>
                  </a:cubicBezTo>
                  <a:cubicBezTo>
                    <a:pt x="8958" y="4508"/>
                    <a:pt x="8862" y="4540"/>
                    <a:pt x="8793" y="4540"/>
                  </a:cubicBezTo>
                  <a:cubicBezTo>
                    <a:pt x="8781" y="4540"/>
                    <a:pt x="8769" y="4539"/>
                    <a:pt x="8759" y="4537"/>
                  </a:cubicBezTo>
                  <a:cubicBezTo>
                    <a:pt x="8654" y="4516"/>
                    <a:pt x="8570" y="4443"/>
                    <a:pt x="8532" y="4345"/>
                  </a:cubicBezTo>
                  <a:cubicBezTo>
                    <a:pt x="8476" y="4226"/>
                    <a:pt x="8623" y="4159"/>
                    <a:pt x="8780" y="4089"/>
                  </a:cubicBezTo>
                  <a:cubicBezTo>
                    <a:pt x="8889" y="4043"/>
                    <a:pt x="9011" y="3987"/>
                    <a:pt x="9067" y="3921"/>
                  </a:cubicBezTo>
                  <a:cubicBezTo>
                    <a:pt x="9104" y="3878"/>
                    <a:pt x="9154" y="3862"/>
                    <a:pt x="9211" y="3862"/>
                  </a:cubicBezTo>
                  <a:cubicBezTo>
                    <a:pt x="9299" y="3862"/>
                    <a:pt x="9403" y="3900"/>
                    <a:pt x="9505" y="3938"/>
                  </a:cubicBezTo>
                  <a:cubicBezTo>
                    <a:pt x="9590" y="3969"/>
                    <a:pt x="9697" y="4008"/>
                    <a:pt x="9761" y="4008"/>
                  </a:cubicBezTo>
                  <a:cubicBezTo>
                    <a:pt x="9778" y="4008"/>
                    <a:pt x="9793" y="4005"/>
                    <a:pt x="9802" y="3998"/>
                  </a:cubicBezTo>
                  <a:cubicBezTo>
                    <a:pt x="9820" y="3987"/>
                    <a:pt x="9827" y="3956"/>
                    <a:pt x="9827" y="3935"/>
                  </a:cubicBezTo>
                  <a:cubicBezTo>
                    <a:pt x="9841" y="3721"/>
                    <a:pt x="9512" y="3571"/>
                    <a:pt x="9221" y="3438"/>
                  </a:cubicBezTo>
                  <a:cubicBezTo>
                    <a:pt x="9106" y="3389"/>
                    <a:pt x="8994" y="3329"/>
                    <a:pt x="8885" y="3266"/>
                  </a:cubicBezTo>
                  <a:cubicBezTo>
                    <a:pt x="8794" y="3203"/>
                    <a:pt x="8693" y="3158"/>
                    <a:pt x="8588" y="3130"/>
                  </a:cubicBezTo>
                  <a:cubicBezTo>
                    <a:pt x="8378" y="3063"/>
                    <a:pt x="8181" y="2962"/>
                    <a:pt x="8010" y="2825"/>
                  </a:cubicBezTo>
                  <a:cubicBezTo>
                    <a:pt x="7723" y="2615"/>
                    <a:pt x="7793" y="2437"/>
                    <a:pt x="7845" y="2307"/>
                  </a:cubicBezTo>
                  <a:cubicBezTo>
                    <a:pt x="7887" y="2202"/>
                    <a:pt x="7908" y="2143"/>
                    <a:pt x="7789" y="2048"/>
                  </a:cubicBezTo>
                  <a:cubicBezTo>
                    <a:pt x="7558" y="1866"/>
                    <a:pt x="7439" y="1509"/>
                    <a:pt x="7422" y="1236"/>
                  </a:cubicBezTo>
                  <a:cubicBezTo>
                    <a:pt x="7408" y="1005"/>
                    <a:pt x="7460" y="819"/>
                    <a:pt x="7565" y="714"/>
                  </a:cubicBezTo>
                  <a:cubicBezTo>
                    <a:pt x="7831" y="448"/>
                    <a:pt x="7866" y="294"/>
                    <a:pt x="7849" y="214"/>
                  </a:cubicBezTo>
                  <a:cubicBezTo>
                    <a:pt x="7835" y="144"/>
                    <a:pt x="7772" y="88"/>
                    <a:pt x="7663" y="46"/>
                  </a:cubicBezTo>
                  <a:cubicBezTo>
                    <a:pt x="7581" y="13"/>
                    <a:pt x="7489" y="0"/>
                    <a:pt x="739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7" name="Google Shape;6654;p64">
              <a:extLst>
                <a:ext uri="{FF2B5EF4-FFF2-40B4-BE49-F238E27FC236}">
                  <a16:creationId xmlns:a16="http://schemas.microsoft.com/office/drawing/2014/main" id="{05D8BD63-276E-C3BD-2C87-51C4608D2473}"/>
                </a:ext>
              </a:extLst>
            </p:cNvPr>
            <p:cNvSpPr/>
            <p:nvPr/>
          </p:nvSpPr>
          <p:spPr>
            <a:xfrm>
              <a:off x="1158243" y="1321487"/>
              <a:ext cx="9857" cy="6436"/>
            </a:xfrm>
            <a:custGeom>
              <a:avLst/>
              <a:gdLst/>
              <a:ahLst/>
              <a:cxnLst/>
              <a:rect l="l" t="t" r="r" b="b"/>
              <a:pathLst>
                <a:path w="726" h="474" extrusionOk="0">
                  <a:moveTo>
                    <a:pt x="725" y="1"/>
                  </a:moveTo>
                  <a:lnTo>
                    <a:pt x="725" y="1"/>
                  </a:lnTo>
                  <a:cubicBezTo>
                    <a:pt x="596" y="15"/>
                    <a:pt x="123" y="326"/>
                    <a:pt x="1" y="474"/>
                  </a:cubicBezTo>
                  <a:cubicBezTo>
                    <a:pt x="7" y="474"/>
                    <a:pt x="13" y="474"/>
                    <a:pt x="19" y="474"/>
                  </a:cubicBezTo>
                  <a:cubicBezTo>
                    <a:pt x="257" y="474"/>
                    <a:pt x="473" y="341"/>
                    <a:pt x="596" y="221"/>
                  </a:cubicBezTo>
                  <a:cubicBezTo>
                    <a:pt x="673" y="141"/>
                    <a:pt x="722" y="60"/>
                    <a:pt x="7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8" name="Google Shape;6655;p64">
              <a:extLst>
                <a:ext uri="{FF2B5EF4-FFF2-40B4-BE49-F238E27FC236}">
                  <a16:creationId xmlns:a16="http://schemas.microsoft.com/office/drawing/2014/main" id="{6847183B-E977-56A6-C08C-DE4D7B2B9985}"/>
                </a:ext>
              </a:extLst>
            </p:cNvPr>
            <p:cNvSpPr/>
            <p:nvPr/>
          </p:nvSpPr>
          <p:spPr>
            <a:xfrm>
              <a:off x="1130627" y="1298310"/>
              <a:ext cx="52871" cy="25947"/>
            </a:xfrm>
            <a:custGeom>
              <a:avLst/>
              <a:gdLst/>
              <a:ahLst/>
              <a:cxnLst/>
              <a:rect l="l" t="t" r="r" b="b"/>
              <a:pathLst>
                <a:path w="3894" h="1911" extrusionOk="0">
                  <a:moveTo>
                    <a:pt x="3369" y="1"/>
                  </a:moveTo>
                  <a:cubicBezTo>
                    <a:pt x="3360" y="1"/>
                    <a:pt x="3352" y="3"/>
                    <a:pt x="3344" y="6"/>
                  </a:cubicBezTo>
                  <a:cubicBezTo>
                    <a:pt x="3291" y="31"/>
                    <a:pt x="3253" y="143"/>
                    <a:pt x="3253" y="231"/>
                  </a:cubicBezTo>
                  <a:cubicBezTo>
                    <a:pt x="3253" y="273"/>
                    <a:pt x="3232" y="308"/>
                    <a:pt x="3200" y="332"/>
                  </a:cubicBezTo>
                  <a:cubicBezTo>
                    <a:pt x="3166" y="356"/>
                    <a:pt x="3115" y="365"/>
                    <a:pt x="3054" y="365"/>
                  </a:cubicBezTo>
                  <a:cubicBezTo>
                    <a:pt x="2851" y="365"/>
                    <a:pt x="2545" y="260"/>
                    <a:pt x="2437" y="220"/>
                  </a:cubicBezTo>
                  <a:cubicBezTo>
                    <a:pt x="2416" y="212"/>
                    <a:pt x="2395" y="209"/>
                    <a:pt x="2372" y="209"/>
                  </a:cubicBezTo>
                  <a:cubicBezTo>
                    <a:pt x="2239" y="209"/>
                    <a:pt x="2075" y="333"/>
                    <a:pt x="1901" y="462"/>
                  </a:cubicBezTo>
                  <a:cubicBezTo>
                    <a:pt x="1772" y="560"/>
                    <a:pt x="1635" y="651"/>
                    <a:pt x="1495" y="724"/>
                  </a:cubicBezTo>
                  <a:cubicBezTo>
                    <a:pt x="1366" y="794"/>
                    <a:pt x="1254" y="885"/>
                    <a:pt x="1163" y="997"/>
                  </a:cubicBezTo>
                  <a:cubicBezTo>
                    <a:pt x="1047" y="1123"/>
                    <a:pt x="937" y="1243"/>
                    <a:pt x="719" y="1243"/>
                  </a:cubicBezTo>
                  <a:cubicBezTo>
                    <a:pt x="708" y="1243"/>
                    <a:pt x="696" y="1243"/>
                    <a:pt x="683" y="1242"/>
                  </a:cubicBezTo>
                  <a:cubicBezTo>
                    <a:pt x="670" y="1241"/>
                    <a:pt x="657" y="1241"/>
                    <a:pt x="643" y="1241"/>
                  </a:cubicBezTo>
                  <a:cubicBezTo>
                    <a:pt x="374" y="1241"/>
                    <a:pt x="57" y="1432"/>
                    <a:pt x="1" y="1512"/>
                  </a:cubicBezTo>
                  <a:cubicBezTo>
                    <a:pt x="106" y="1564"/>
                    <a:pt x="109" y="1687"/>
                    <a:pt x="113" y="1771"/>
                  </a:cubicBezTo>
                  <a:cubicBezTo>
                    <a:pt x="113" y="1788"/>
                    <a:pt x="113" y="1806"/>
                    <a:pt x="116" y="1823"/>
                  </a:cubicBezTo>
                  <a:lnTo>
                    <a:pt x="127" y="1820"/>
                  </a:lnTo>
                  <a:cubicBezTo>
                    <a:pt x="260" y="1752"/>
                    <a:pt x="334" y="1715"/>
                    <a:pt x="420" y="1715"/>
                  </a:cubicBezTo>
                  <a:cubicBezTo>
                    <a:pt x="462" y="1715"/>
                    <a:pt x="507" y="1724"/>
                    <a:pt x="564" y="1743"/>
                  </a:cubicBezTo>
                  <a:cubicBezTo>
                    <a:pt x="597" y="1754"/>
                    <a:pt x="624" y="1760"/>
                    <a:pt x="649" y="1760"/>
                  </a:cubicBezTo>
                  <a:cubicBezTo>
                    <a:pt x="730" y="1760"/>
                    <a:pt x="776" y="1701"/>
                    <a:pt x="841" y="1606"/>
                  </a:cubicBezTo>
                  <a:cubicBezTo>
                    <a:pt x="869" y="1568"/>
                    <a:pt x="900" y="1526"/>
                    <a:pt x="932" y="1491"/>
                  </a:cubicBezTo>
                  <a:cubicBezTo>
                    <a:pt x="953" y="1470"/>
                    <a:pt x="981" y="1456"/>
                    <a:pt x="1009" y="1456"/>
                  </a:cubicBezTo>
                  <a:cubicBezTo>
                    <a:pt x="1016" y="1456"/>
                    <a:pt x="1023" y="1456"/>
                    <a:pt x="1030" y="1459"/>
                  </a:cubicBezTo>
                  <a:cubicBezTo>
                    <a:pt x="1093" y="1473"/>
                    <a:pt x="1114" y="1540"/>
                    <a:pt x="1142" y="1631"/>
                  </a:cubicBezTo>
                  <a:cubicBezTo>
                    <a:pt x="1191" y="1785"/>
                    <a:pt x="1240" y="1911"/>
                    <a:pt x="1366" y="1911"/>
                  </a:cubicBezTo>
                  <a:cubicBezTo>
                    <a:pt x="1446" y="1911"/>
                    <a:pt x="1488" y="1823"/>
                    <a:pt x="1541" y="1694"/>
                  </a:cubicBezTo>
                  <a:cubicBezTo>
                    <a:pt x="1583" y="1592"/>
                    <a:pt x="1621" y="1498"/>
                    <a:pt x="1709" y="1473"/>
                  </a:cubicBezTo>
                  <a:cubicBezTo>
                    <a:pt x="1723" y="1470"/>
                    <a:pt x="1738" y="1468"/>
                    <a:pt x="1752" y="1468"/>
                  </a:cubicBezTo>
                  <a:cubicBezTo>
                    <a:pt x="1793" y="1468"/>
                    <a:pt x="1833" y="1482"/>
                    <a:pt x="1866" y="1508"/>
                  </a:cubicBezTo>
                  <a:cubicBezTo>
                    <a:pt x="1899" y="1532"/>
                    <a:pt x="1942" y="1556"/>
                    <a:pt x="1978" y="1556"/>
                  </a:cubicBezTo>
                  <a:cubicBezTo>
                    <a:pt x="1984" y="1556"/>
                    <a:pt x="1990" y="1555"/>
                    <a:pt x="1996" y="1554"/>
                  </a:cubicBezTo>
                  <a:cubicBezTo>
                    <a:pt x="2063" y="1529"/>
                    <a:pt x="2105" y="1389"/>
                    <a:pt x="2129" y="1305"/>
                  </a:cubicBezTo>
                  <a:cubicBezTo>
                    <a:pt x="2136" y="1274"/>
                    <a:pt x="2143" y="1239"/>
                    <a:pt x="2154" y="1204"/>
                  </a:cubicBezTo>
                  <a:cubicBezTo>
                    <a:pt x="2189" y="1032"/>
                    <a:pt x="2234" y="794"/>
                    <a:pt x="2497" y="749"/>
                  </a:cubicBezTo>
                  <a:cubicBezTo>
                    <a:pt x="2519" y="745"/>
                    <a:pt x="2539" y="743"/>
                    <a:pt x="2557" y="743"/>
                  </a:cubicBezTo>
                  <a:cubicBezTo>
                    <a:pt x="2603" y="743"/>
                    <a:pt x="2637" y="755"/>
                    <a:pt x="2665" y="780"/>
                  </a:cubicBezTo>
                  <a:cubicBezTo>
                    <a:pt x="2724" y="833"/>
                    <a:pt x="2717" y="917"/>
                    <a:pt x="2710" y="1011"/>
                  </a:cubicBezTo>
                  <a:cubicBezTo>
                    <a:pt x="2703" y="1102"/>
                    <a:pt x="2693" y="1190"/>
                    <a:pt x="2735" y="1267"/>
                  </a:cubicBezTo>
                  <a:cubicBezTo>
                    <a:pt x="2788" y="1360"/>
                    <a:pt x="2843" y="1374"/>
                    <a:pt x="2877" y="1374"/>
                  </a:cubicBezTo>
                  <a:cubicBezTo>
                    <a:pt x="2888" y="1374"/>
                    <a:pt x="2897" y="1373"/>
                    <a:pt x="2903" y="1372"/>
                  </a:cubicBezTo>
                  <a:cubicBezTo>
                    <a:pt x="3004" y="1344"/>
                    <a:pt x="3085" y="1267"/>
                    <a:pt x="3120" y="1165"/>
                  </a:cubicBezTo>
                  <a:cubicBezTo>
                    <a:pt x="3141" y="1050"/>
                    <a:pt x="3277" y="1029"/>
                    <a:pt x="3396" y="1015"/>
                  </a:cubicBezTo>
                  <a:cubicBezTo>
                    <a:pt x="3445" y="1008"/>
                    <a:pt x="3547" y="994"/>
                    <a:pt x="3557" y="973"/>
                  </a:cubicBezTo>
                  <a:cubicBezTo>
                    <a:pt x="3557" y="973"/>
                    <a:pt x="3557" y="969"/>
                    <a:pt x="3557" y="969"/>
                  </a:cubicBezTo>
                  <a:cubicBezTo>
                    <a:pt x="3550" y="903"/>
                    <a:pt x="3561" y="833"/>
                    <a:pt x="3585" y="773"/>
                  </a:cubicBezTo>
                  <a:cubicBezTo>
                    <a:pt x="3620" y="710"/>
                    <a:pt x="3613" y="633"/>
                    <a:pt x="3568" y="581"/>
                  </a:cubicBezTo>
                  <a:cubicBezTo>
                    <a:pt x="3533" y="535"/>
                    <a:pt x="3522" y="479"/>
                    <a:pt x="3540" y="427"/>
                  </a:cubicBezTo>
                  <a:cubicBezTo>
                    <a:pt x="3564" y="353"/>
                    <a:pt x="3645" y="329"/>
                    <a:pt x="3729" y="301"/>
                  </a:cubicBezTo>
                  <a:cubicBezTo>
                    <a:pt x="3788" y="283"/>
                    <a:pt x="3841" y="259"/>
                    <a:pt x="3893" y="227"/>
                  </a:cubicBezTo>
                  <a:lnTo>
                    <a:pt x="3886" y="227"/>
                  </a:lnTo>
                  <a:cubicBezTo>
                    <a:pt x="3785" y="213"/>
                    <a:pt x="3624" y="185"/>
                    <a:pt x="3484" y="62"/>
                  </a:cubicBezTo>
                  <a:cubicBezTo>
                    <a:pt x="3450" y="34"/>
                    <a:pt x="3406" y="1"/>
                    <a:pt x="33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9" name="Google Shape;6656;p64">
              <a:extLst>
                <a:ext uri="{FF2B5EF4-FFF2-40B4-BE49-F238E27FC236}">
                  <a16:creationId xmlns:a16="http://schemas.microsoft.com/office/drawing/2014/main" id="{BDCAF215-5ED0-83E3-8AB5-845F4B947D72}"/>
                </a:ext>
              </a:extLst>
            </p:cNvPr>
            <p:cNvSpPr/>
            <p:nvPr/>
          </p:nvSpPr>
          <p:spPr>
            <a:xfrm>
              <a:off x="1171549" y="1310367"/>
              <a:ext cx="86380" cy="35437"/>
            </a:xfrm>
            <a:custGeom>
              <a:avLst/>
              <a:gdLst/>
              <a:ahLst/>
              <a:cxnLst/>
              <a:rect l="l" t="t" r="r" b="b"/>
              <a:pathLst>
                <a:path w="6362" h="2610" extrusionOk="0">
                  <a:moveTo>
                    <a:pt x="4622" y="0"/>
                  </a:moveTo>
                  <a:cubicBezTo>
                    <a:pt x="4610" y="0"/>
                    <a:pt x="4596" y="2"/>
                    <a:pt x="4580" y="4"/>
                  </a:cubicBezTo>
                  <a:cubicBezTo>
                    <a:pt x="4391" y="32"/>
                    <a:pt x="4034" y="260"/>
                    <a:pt x="3943" y="410"/>
                  </a:cubicBezTo>
                  <a:cubicBezTo>
                    <a:pt x="3925" y="442"/>
                    <a:pt x="3925" y="456"/>
                    <a:pt x="3925" y="456"/>
                  </a:cubicBezTo>
                  <a:cubicBezTo>
                    <a:pt x="3929" y="459"/>
                    <a:pt x="3929" y="480"/>
                    <a:pt x="3988" y="487"/>
                  </a:cubicBezTo>
                  <a:cubicBezTo>
                    <a:pt x="4184" y="512"/>
                    <a:pt x="4293" y="575"/>
                    <a:pt x="4307" y="676"/>
                  </a:cubicBezTo>
                  <a:cubicBezTo>
                    <a:pt x="4324" y="799"/>
                    <a:pt x="4198" y="907"/>
                    <a:pt x="4076" y="967"/>
                  </a:cubicBezTo>
                  <a:cubicBezTo>
                    <a:pt x="4125" y="998"/>
                    <a:pt x="4174" y="1026"/>
                    <a:pt x="4226" y="1051"/>
                  </a:cubicBezTo>
                  <a:cubicBezTo>
                    <a:pt x="4391" y="1135"/>
                    <a:pt x="4489" y="1191"/>
                    <a:pt x="4513" y="1271"/>
                  </a:cubicBezTo>
                  <a:cubicBezTo>
                    <a:pt x="4520" y="1303"/>
                    <a:pt x="4517" y="1338"/>
                    <a:pt x="4496" y="1366"/>
                  </a:cubicBezTo>
                  <a:cubicBezTo>
                    <a:pt x="4449" y="1435"/>
                    <a:pt x="4305" y="1457"/>
                    <a:pt x="4145" y="1457"/>
                  </a:cubicBezTo>
                  <a:cubicBezTo>
                    <a:pt x="3957" y="1457"/>
                    <a:pt x="3746" y="1427"/>
                    <a:pt x="3642" y="1408"/>
                  </a:cubicBezTo>
                  <a:cubicBezTo>
                    <a:pt x="3320" y="1342"/>
                    <a:pt x="3141" y="1247"/>
                    <a:pt x="3117" y="1124"/>
                  </a:cubicBezTo>
                  <a:cubicBezTo>
                    <a:pt x="3109" y="1079"/>
                    <a:pt x="3029" y="984"/>
                    <a:pt x="2847" y="869"/>
                  </a:cubicBezTo>
                  <a:cubicBezTo>
                    <a:pt x="2598" y="713"/>
                    <a:pt x="2247" y="580"/>
                    <a:pt x="2017" y="580"/>
                  </a:cubicBezTo>
                  <a:cubicBezTo>
                    <a:pt x="1978" y="580"/>
                    <a:pt x="1943" y="584"/>
                    <a:pt x="1912" y="592"/>
                  </a:cubicBezTo>
                  <a:cubicBezTo>
                    <a:pt x="1866" y="605"/>
                    <a:pt x="1826" y="610"/>
                    <a:pt x="1791" y="610"/>
                  </a:cubicBezTo>
                  <a:cubicBezTo>
                    <a:pt x="1646" y="610"/>
                    <a:pt x="1589" y="517"/>
                    <a:pt x="1541" y="438"/>
                  </a:cubicBezTo>
                  <a:cubicBezTo>
                    <a:pt x="1492" y="358"/>
                    <a:pt x="1450" y="288"/>
                    <a:pt x="1310" y="277"/>
                  </a:cubicBezTo>
                  <a:cubicBezTo>
                    <a:pt x="1298" y="276"/>
                    <a:pt x="1288" y="276"/>
                    <a:pt x="1277" y="276"/>
                  </a:cubicBezTo>
                  <a:cubicBezTo>
                    <a:pt x="1153" y="276"/>
                    <a:pt x="1116" y="333"/>
                    <a:pt x="1062" y="410"/>
                  </a:cubicBezTo>
                  <a:cubicBezTo>
                    <a:pt x="1002" y="494"/>
                    <a:pt x="932" y="603"/>
                    <a:pt x="736" y="617"/>
                  </a:cubicBezTo>
                  <a:cubicBezTo>
                    <a:pt x="613" y="624"/>
                    <a:pt x="557" y="680"/>
                    <a:pt x="561" y="725"/>
                  </a:cubicBezTo>
                  <a:cubicBezTo>
                    <a:pt x="561" y="785"/>
                    <a:pt x="648" y="848"/>
                    <a:pt x="806" y="848"/>
                  </a:cubicBezTo>
                  <a:cubicBezTo>
                    <a:pt x="932" y="848"/>
                    <a:pt x="1149" y="862"/>
                    <a:pt x="1195" y="935"/>
                  </a:cubicBezTo>
                  <a:cubicBezTo>
                    <a:pt x="1209" y="960"/>
                    <a:pt x="1209" y="988"/>
                    <a:pt x="1195" y="1012"/>
                  </a:cubicBezTo>
                  <a:cubicBezTo>
                    <a:pt x="1179" y="1037"/>
                    <a:pt x="1154" y="1079"/>
                    <a:pt x="898" y="1079"/>
                  </a:cubicBezTo>
                  <a:cubicBezTo>
                    <a:pt x="857" y="1079"/>
                    <a:pt x="810" y="1078"/>
                    <a:pt x="757" y="1075"/>
                  </a:cubicBezTo>
                  <a:cubicBezTo>
                    <a:pt x="744" y="1075"/>
                    <a:pt x="732" y="1075"/>
                    <a:pt x="720" y="1075"/>
                  </a:cubicBezTo>
                  <a:cubicBezTo>
                    <a:pt x="488" y="1075"/>
                    <a:pt x="326" y="1167"/>
                    <a:pt x="256" y="1250"/>
                  </a:cubicBezTo>
                  <a:cubicBezTo>
                    <a:pt x="225" y="1289"/>
                    <a:pt x="221" y="1314"/>
                    <a:pt x="221" y="1317"/>
                  </a:cubicBezTo>
                  <a:cubicBezTo>
                    <a:pt x="235" y="1319"/>
                    <a:pt x="248" y="1321"/>
                    <a:pt x="261" y="1321"/>
                  </a:cubicBezTo>
                  <a:cubicBezTo>
                    <a:pt x="285" y="1321"/>
                    <a:pt x="307" y="1317"/>
                    <a:pt x="330" y="1310"/>
                  </a:cubicBezTo>
                  <a:cubicBezTo>
                    <a:pt x="477" y="1271"/>
                    <a:pt x="624" y="1250"/>
                    <a:pt x="774" y="1240"/>
                  </a:cubicBezTo>
                  <a:cubicBezTo>
                    <a:pt x="818" y="1236"/>
                    <a:pt x="855" y="1235"/>
                    <a:pt x="887" y="1235"/>
                  </a:cubicBezTo>
                  <a:cubicBezTo>
                    <a:pt x="1011" y="1235"/>
                    <a:pt x="1047" y="1261"/>
                    <a:pt x="1058" y="1303"/>
                  </a:cubicBezTo>
                  <a:cubicBezTo>
                    <a:pt x="1083" y="1384"/>
                    <a:pt x="981" y="1419"/>
                    <a:pt x="925" y="1433"/>
                  </a:cubicBezTo>
                  <a:cubicBezTo>
                    <a:pt x="792" y="1471"/>
                    <a:pt x="655" y="1503"/>
                    <a:pt x="519" y="1527"/>
                  </a:cubicBezTo>
                  <a:cubicBezTo>
                    <a:pt x="347" y="1559"/>
                    <a:pt x="74" y="1611"/>
                    <a:pt x="1" y="1657"/>
                  </a:cubicBezTo>
                  <a:cubicBezTo>
                    <a:pt x="39" y="1681"/>
                    <a:pt x="137" y="1699"/>
                    <a:pt x="225" y="1713"/>
                  </a:cubicBezTo>
                  <a:cubicBezTo>
                    <a:pt x="375" y="1734"/>
                    <a:pt x="522" y="1769"/>
                    <a:pt x="662" y="1818"/>
                  </a:cubicBezTo>
                  <a:cubicBezTo>
                    <a:pt x="819" y="1877"/>
                    <a:pt x="936" y="1922"/>
                    <a:pt x="1041" y="1922"/>
                  </a:cubicBezTo>
                  <a:cubicBezTo>
                    <a:pt x="1145" y="1922"/>
                    <a:pt x="1237" y="1878"/>
                    <a:pt x="1345" y="1762"/>
                  </a:cubicBezTo>
                  <a:cubicBezTo>
                    <a:pt x="1628" y="1451"/>
                    <a:pt x="1756" y="1394"/>
                    <a:pt x="1820" y="1394"/>
                  </a:cubicBezTo>
                  <a:cubicBezTo>
                    <a:pt x="1844" y="1394"/>
                    <a:pt x="1859" y="1402"/>
                    <a:pt x="1870" y="1408"/>
                  </a:cubicBezTo>
                  <a:cubicBezTo>
                    <a:pt x="1958" y="1461"/>
                    <a:pt x="1909" y="1597"/>
                    <a:pt x="1891" y="1657"/>
                  </a:cubicBezTo>
                  <a:cubicBezTo>
                    <a:pt x="1870" y="1716"/>
                    <a:pt x="1874" y="1741"/>
                    <a:pt x="1877" y="1744"/>
                  </a:cubicBezTo>
                  <a:cubicBezTo>
                    <a:pt x="1887" y="1755"/>
                    <a:pt x="1911" y="1759"/>
                    <a:pt x="1945" y="1759"/>
                  </a:cubicBezTo>
                  <a:cubicBezTo>
                    <a:pt x="2024" y="1759"/>
                    <a:pt x="2151" y="1737"/>
                    <a:pt x="2259" y="1720"/>
                  </a:cubicBezTo>
                  <a:cubicBezTo>
                    <a:pt x="2458" y="1678"/>
                    <a:pt x="2665" y="1653"/>
                    <a:pt x="2868" y="1643"/>
                  </a:cubicBezTo>
                  <a:lnTo>
                    <a:pt x="2931" y="1643"/>
                  </a:lnTo>
                  <a:cubicBezTo>
                    <a:pt x="3036" y="1643"/>
                    <a:pt x="3180" y="1657"/>
                    <a:pt x="3183" y="1762"/>
                  </a:cubicBezTo>
                  <a:cubicBezTo>
                    <a:pt x="3194" y="1961"/>
                    <a:pt x="2511" y="2182"/>
                    <a:pt x="2073" y="2213"/>
                  </a:cubicBezTo>
                  <a:cubicBezTo>
                    <a:pt x="1762" y="2234"/>
                    <a:pt x="1671" y="2318"/>
                    <a:pt x="1667" y="2357"/>
                  </a:cubicBezTo>
                  <a:cubicBezTo>
                    <a:pt x="1664" y="2416"/>
                    <a:pt x="1786" y="2528"/>
                    <a:pt x="2063" y="2591"/>
                  </a:cubicBezTo>
                  <a:cubicBezTo>
                    <a:pt x="2119" y="2604"/>
                    <a:pt x="2183" y="2610"/>
                    <a:pt x="2251" y="2610"/>
                  </a:cubicBezTo>
                  <a:cubicBezTo>
                    <a:pt x="2808" y="2610"/>
                    <a:pt x="3715" y="2228"/>
                    <a:pt x="3943" y="2003"/>
                  </a:cubicBezTo>
                  <a:cubicBezTo>
                    <a:pt x="4026" y="1918"/>
                    <a:pt x="4110" y="1891"/>
                    <a:pt x="4191" y="1891"/>
                  </a:cubicBezTo>
                  <a:cubicBezTo>
                    <a:pt x="4272" y="1891"/>
                    <a:pt x="4350" y="1919"/>
                    <a:pt x="4419" y="1944"/>
                  </a:cubicBezTo>
                  <a:cubicBezTo>
                    <a:pt x="4491" y="1969"/>
                    <a:pt x="4550" y="1988"/>
                    <a:pt x="4604" y="1988"/>
                  </a:cubicBezTo>
                  <a:cubicBezTo>
                    <a:pt x="4646" y="1988"/>
                    <a:pt x="4685" y="1976"/>
                    <a:pt x="4727" y="1947"/>
                  </a:cubicBezTo>
                  <a:cubicBezTo>
                    <a:pt x="4829" y="1873"/>
                    <a:pt x="4958" y="1851"/>
                    <a:pt x="5100" y="1851"/>
                  </a:cubicBezTo>
                  <a:cubicBezTo>
                    <a:pt x="5193" y="1851"/>
                    <a:pt x="5291" y="1860"/>
                    <a:pt x="5392" y="1870"/>
                  </a:cubicBezTo>
                  <a:cubicBezTo>
                    <a:pt x="5498" y="1880"/>
                    <a:pt x="5608" y="1889"/>
                    <a:pt x="5716" y="1889"/>
                  </a:cubicBezTo>
                  <a:cubicBezTo>
                    <a:pt x="5808" y="1889"/>
                    <a:pt x="5899" y="1882"/>
                    <a:pt x="5987" y="1863"/>
                  </a:cubicBezTo>
                  <a:cubicBezTo>
                    <a:pt x="6215" y="1818"/>
                    <a:pt x="6316" y="1559"/>
                    <a:pt x="6337" y="1349"/>
                  </a:cubicBezTo>
                  <a:cubicBezTo>
                    <a:pt x="6362" y="1121"/>
                    <a:pt x="6292" y="925"/>
                    <a:pt x="6169" y="872"/>
                  </a:cubicBezTo>
                  <a:cubicBezTo>
                    <a:pt x="6117" y="850"/>
                    <a:pt x="6076" y="840"/>
                    <a:pt x="6041" y="840"/>
                  </a:cubicBezTo>
                  <a:cubicBezTo>
                    <a:pt x="5968" y="840"/>
                    <a:pt x="5924" y="882"/>
                    <a:pt x="5865" y="939"/>
                  </a:cubicBezTo>
                  <a:cubicBezTo>
                    <a:pt x="5795" y="1016"/>
                    <a:pt x="5704" y="1072"/>
                    <a:pt x="5602" y="1096"/>
                  </a:cubicBezTo>
                  <a:cubicBezTo>
                    <a:pt x="5580" y="1100"/>
                    <a:pt x="5559" y="1102"/>
                    <a:pt x="5539" y="1102"/>
                  </a:cubicBezTo>
                  <a:cubicBezTo>
                    <a:pt x="5343" y="1102"/>
                    <a:pt x="5210" y="929"/>
                    <a:pt x="5080" y="764"/>
                  </a:cubicBezTo>
                  <a:cubicBezTo>
                    <a:pt x="5028" y="694"/>
                    <a:pt x="4972" y="631"/>
                    <a:pt x="4912" y="568"/>
                  </a:cubicBezTo>
                  <a:cubicBezTo>
                    <a:pt x="4807" y="463"/>
                    <a:pt x="4776" y="319"/>
                    <a:pt x="4751" y="207"/>
                  </a:cubicBezTo>
                  <a:cubicBezTo>
                    <a:pt x="4718" y="51"/>
                    <a:pt x="4698" y="0"/>
                    <a:pt x="46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0" name="Google Shape;6657;p64">
              <a:extLst>
                <a:ext uri="{FF2B5EF4-FFF2-40B4-BE49-F238E27FC236}">
                  <a16:creationId xmlns:a16="http://schemas.microsoft.com/office/drawing/2014/main" id="{4F552B2B-81BE-F3E2-2DEF-76322B6B2BAB}"/>
                </a:ext>
              </a:extLst>
            </p:cNvPr>
            <p:cNvSpPr/>
            <p:nvPr/>
          </p:nvSpPr>
          <p:spPr>
            <a:xfrm>
              <a:off x="1190001" y="1292064"/>
              <a:ext cx="7943" cy="3136"/>
            </a:xfrm>
            <a:custGeom>
              <a:avLst/>
              <a:gdLst/>
              <a:ahLst/>
              <a:cxnLst/>
              <a:rect l="l" t="t" r="r" b="b"/>
              <a:pathLst>
                <a:path w="585" h="231" extrusionOk="0">
                  <a:moveTo>
                    <a:pt x="212" y="1"/>
                  </a:moveTo>
                  <a:cubicBezTo>
                    <a:pt x="128" y="1"/>
                    <a:pt x="50" y="8"/>
                    <a:pt x="0" y="18"/>
                  </a:cubicBezTo>
                  <a:cubicBezTo>
                    <a:pt x="111" y="129"/>
                    <a:pt x="287" y="230"/>
                    <a:pt x="419" y="230"/>
                  </a:cubicBezTo>
                  <a:cubicBezTo>
                    <a:pt x="429" y="230"/>
                    <a:pt x="439" y="230"/>
                    <a:pt x="448" y="228"/>
                  </a:cubicBezTo>
                  <a:cubicBezTo>
                    <a:pt x="504" y="221"/>
                    <a:pt x="553" y="183"/>
                    <a:pt x="571" y="130"/>
                  </a:cubicBezTo>
                  <a:cubicBezTo>
                    <a:pt x="585" y="109"/>
                    <a:pt x="578" y="85"/>
                    <a:pt x="560" y="71"/>
                  </a:cubicBezTo>
                  <a:cubicBezTo>
                    <a:pt x="495" y="19"/>
                    <a:pt x="347" y="1"/>
                    <a:pt x="2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1" name="Google Shape;6658;p64">
              <a:extLst>
                <a:ext uri="{FF2B5EF4-FFF2-40B4-BE49-F238E27FC236}">
                  <a16:creationId xmlns:a16="http://schemas.microsoft.com/office/drawing/2014/main" id="{DAD2F05A-8264-2988-A4AC-8ECD4AE33547}"/>
                </a:ext>
              </a:extLst>
            </p:cNvPr>
            <p:cNvSpPr/>
            <p:nvPr/>
          </p:nvSpPr>
          <p:spPr>
            <a:xfrm>
              <a:off x="1203443" y="1290258"/>
              <a:ext cx="23829" cy="10971"/>
            </a:xfrm>
            <a:custGeom>
              <a:avLst/>
              <a:gdLst/>
              <a:ahLst/>
              <a:cxnLst/>
              <a:rect l="l" t="t" r="r" b="b"/>
              <a:pathLst>
                <a:path w="1755" h="808" extrusionOk="0">
                  <a:moveTo>
                    <a:pt x="1496" y="1"/>
                  </a:moveTo>
                  <a:cubicBezTo>
                    <a:pt x="1440" y="1"/>
                    <a:pt x="1380" y="4"/>
                    <a:pt x="1328" y="15"/>
                  </a:cubicBezTo>
                  <a:cubicBezTo>
                    <a:pt x="1226" y="29"/>
                    <a:pt x="1111" y="39"/>
                    <a:pt x="992" y="50"/>
                  </a:cubicBezTo>
                  <a:cubicBezTo>
                    <a:pt x="575" y="95"/>
                    <a:pt x="1" y="151"/>
                    <a:pt x="1" y="386"/>
                  </a:cubicBezTo>
                  <a:cubicBezTo>
                    <a:pt x="1" y="620"/>
                    <a:pt x="109" y="757"/>
                    <a:pt x="666" y="806"/>
                  </a:cubicBezTo>
                  <a:cubicBezTo>
                    <a:pt x="683" y="807"/>
                    <a:pt x="701" y="807"/>
                    <a:pt x="718" y="807"/>
                  </a:cubicBezTo>
                  <a:cubicBezTo>
                    <a:pt x="952" y="807"/>
                    <a:pt x="1180" y="721"/>
                    <a:pt x="1356" y="561"/>
                  </a:cubicBezTo>
                  <a:cubicBezTo>
                    <a:pt x="1391" y="533"/>
                    <a:pt x="1422" y="494"/>
                    <a:pt x="1443" y="452"/>
                  </a:cubicBezTo>
                  <a:lnTo>
                    <a:pt x="1440" y="452"/>
                  </a:lnTo>
                  <a:cubicBezTo>
                    <a:pt x="1282" y="452"/>
                    <a:pt x="1244" y="393"/>
                    <a:pt x="1240" y="344"/>
                  </a:cubicBezTo>
                  <a:cubicBezTo>
                    <a:pt x="1233" y="228"/>
                    <a:pt x="1436" y="134"/>
                    <a:pt x="1646" y="102"/>
                  </a:cubicBezTo>
                  <a:cubicBezTo>
                    <a:pt x="1685" y="99"/>
                    <a:pt x="1723" y="85"/>
                    <a:pt x="1755" y="64"/>
                  </a:cubicBezTo>
                  <a:cubicBezTo>
                    <a:pt x="1737" y="43"/>
                    <a:pt x="1657" y="1"/>
                    <a:pt x="149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2" name="Google Shape;6659;p64">
              <a:extLst>
                <a:ext uri="{FF2B5EF4-FFF2-40B4-BE49-F238E27FC236}">
                  <a16:creationId xmlns:a16="http://schemas.microsoft.com/office/drawing/2014/main" id="{446F1CF6-ACF8-4646-978E-1477CEEB6228}"/>
                </a:ext>
              </a:extLst>
            </p:cNvPr>
            <p:cNvSpPr/>
            <p:nvPr/>
          </p:nvSpPr>
          <p:spPr>
            <a:xfrm>
              <a:off x="1201067" y="1279519"/>
              <a:ext cx="29300" cy="6789"/>
            </a:xfrm>
            <a:custGeom>
              <a:avLst/>
              <a:gdLst/>
              <a:ahLst/>
              <a:cxnLst/>
              <a:rect l="l" t="t" r="r" b="b"/>
              <a:pathLst>
                <a:path w="2158" h="500" extrusionOk="0">
                  <a:moveTo>
                    <a:pt x="1450" y="1"/>
                  </a:moveTo>
                  <a:cubicBezTo>
                    <a:pt x="1284" y="1"/>
                    <a:pt x="1135" y="26"/>
                    <a:pt x="1065" y="67"/>
                  </a:cubicBezTo>
                  <a:cubicBezTo>
                    <a:pt x="967" y="127"/>
                    <a:pt x="764" y="165"/>
                    <a:pt x="547" y="211"/>
                  </a:cubicBezTo>
                  <a:cubicBezTo>
                    <a:pt x="358" y="246"/>
                    <a:pt x="43" y="309"/>
                    <a:pt x="1" y="368"/>
                  </a:cubicBezTo>
                  <a:cubicBezTo>
                    <a:pt x="8" y="379"/>
                    <a:pt x="15" y="389"/>
                    <a:pt x="29" y="396"/>
                  </a:cubicBezTo>
                  <a:cubicBezTo>
                    <a:pt x="72" y="430"/>
                    <a:pt x="117" y="441"/>
                    <a:pt x="166" y="441"/>
                  </a:cubicBezTo>
                  <a:cubicBezTo>
                    <a:pt x="210" y="441"/>
                    <a:pt x="257" y="432"/>
                    <a:pt x="309" y="424"/>
                  </a:cubicBezTo>
                  <a:cubicBezTo>
                    <a:pt x="367" y="413"/>
                    <a:pt x="428" y="402"/>
                    <a:pt x="492" y="402"/>
                  </a:cubicBezTo>
                  <a:cubicBezTo>
                    <a:pt x="548" y="402"/>
                    <a:pt x="606" y="410"/>
                    <a:pt x="666" y="435"/>
                  </a:cubicBezTo>
                  <a:cubicBezTo>
                    <a:pt x="692" y="445"/>
                    <a:pt x="718" y="450"/>
                    <a:pt x="745" y="450"/>
                  </a:cubicBezTo>
                  <a:cubicBezTo>
                    <a:pt x="815" y="450"/>
                    <a:pt x="887" y="419"/>
                    <a:pt x="964" y="386"/>
                  </a:cubicBezTo>
                  <a:cubicBezTo>
                    <a:pt x="1037" y="347"/>
                    <a:pt x="1114" y="326"/>
                    <a:pt x="1195" y="319"/>
                  </a:cubicBezTo>
                  <a:cubicBezTo>
                    <a:pt x="1247" y="319"/>
                    <a:pt x="1300" y="337"/>
                    <a:pt x="1342" y="375"/>
                  </a:cubicBezTo>
                  <a:cubicBezTo>
                    <a:pt x="1410" y="436"/>
                    <a:pt x="1626" y="499"/>
                    <a:pt x="1821" y="499"/>
                  </a:cubicBezTo>
                  <a:cubicBezTo>
                    <a:pt x="1905" y="499"/>
                    <a:pt x="1986" y="488"/>
                    <a:pt x="2049" y="459"/>
                  </a:cubicBezTo>
                  <a:cubicBezTo>
                    <a:pt x="2112" y="435"/>
                    <a:pt x="2157" y="372"/>
                    <a:pt x="2154" y="302"/>
                  </a:cubicBezTo>
                  <a:cubicBezTo>
                    <a:pt x="2154" y="232"/>
                    <a:pt x="2108" y="172"/>
                    <a:pt x="2017" y="120"/>
                  </a:cubicBezTo>
                  <a:cubicBezTo>
                    <a:pt x="1871" y="36"/>
                    <a:pt x="1648" y="1"/>
                    <a:pt x="14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3" name="Google Shape;6660;p64">
              <a:extLst>
                <a:ext uri="{FF2B5EF4-FFF2-40B4-BE49-F238E27FC236}">
                  <a16:creationId xmlns:a16="http://schemas.microsoft.com/office/drawing/2014/main" id="{1C417428-0393-781A-C9EA-5CE3D94A59E8}"/>
                </a:ext>
              </a:extLst>
            </p:cNvPr>
            <p:cNvSpPr/>
            <p:nvPr/>
          </p:nvSpPr>
          <p:spPr>
            <a:xfrm>
              <a:off x="1259015" y="1268100"/>
              <a:ext cx="46978" cy="24073"/>
            </a:xfrm>
            <a:custGeom>
              <a:avLst/>
              <a:gdLst/>
              <a:ahLst/>
              <a:cxnLst/>
              <a:rect l="l" t="t" r="r" b="b"/>
              <a:pathLst>
                <a:path w="3460" h="1773" extrusionOk="0">
                  <a:moveTo>
                    <a:pt x="643" y="1"/>
                  </a:moveTo>
                  <a:cubicBezTo>
                    <a:pt x="408" y="1"/>
                    <a:pt x="193" y="23"/>
                    <a:pt x="84" y="64"/>
                  </a:cubicBezTo>
                  <a:cubicBezTo>
                    <a:pt x="42" y="78"/>
                    <a:pt x="11" y="120"/>
                    <a:pt x="11" y="166"/>
                  </a:cubicBezTo>
                  <a:cubicBezTo>
                    <a:pt x="0" y="289"/>
                    <a:pt x="98" y="457"/>
                    <a:pt x="214" y="527"/>
                  </a:cubicBezTo>
                  <a:cubicBezTo>
                    <a:pt x="241" y="546"/>
                    <a:pt x="272" y="556"/>
                    <a:pt x="304" y="556"/>
                  </a:cubicBezTo>
                  <a:cubicBezTo>
                    <a:pt x="333" y="556"/>
                    <a:pt x="363" y="547"/>
                    <a:pt x="389" y="530"/>
                  </a:cubicBezTo>
                  <a:cubicBezTo>
                    <a:pt x="463" y="481"/>
                    <a:pt x="551" y="459"/>
                    <a:pt x="642" y="459"/>
                  </a:cubicBezTo>
                  <a:cubicBezTo>
                    <a:pt x="803" y="459"/>
                    <a:pt x="974" y="527"/>
                    <a:pt x="1093" y="628"/>
                  </a:cubicBezTo>
                  <a:cubicBezTo>
                    <a:pt x="1212" y="730"/>
                    <a:pt x="1257" y="849"/>
                    <a:pt x="1215" y="950"/>
                  </a:cubicBezTo>
                  <a:cubicBezTo>
                    <a:pt x="1167" y="1058"/>
                    <a:pt x="1028" y="1084"/>
                    <a:pt x="861" y="1084"/>
                  </a:cubicBezTo>
                  <a:cubicBezTo>
                    <a:pt x="784" y="1084"/>
                    <a:pt x="702" y="1078"/>
                    <a:pt x="620" y="1073"/>
                  </a:cubicBezTo>
                  <a:cubicBezTo>
                    <a:pt x="570" y="1067"/>
                    <a:pt x="520" y="1064"/>
                    <a:pt x="470" y="1064"/>
                  </a:cubicBezTo>
                  <a:cubicBezTo>
                    <a:pt x="430" y="1064"/>
                    <a:pt x="390" y="1066"/>
                    <a:pt x="350" y="1069"/>
                  </a:cubicBezTo>
                  <a:cubicBezTo>
                    <a:pt x="399" y="1191"/>
                    <a:pt x="504" y="1253"/>
                    <a:pt x="667" y="1253"/>
                  </a:cubicBezTo>
                  <a:cubicBezTo>
                    <a:pt x="751" y="1253"/>
                    <a:pt x="851" y="1236"/>
                    <a:pt x="967" y="1202"/>
                  </a:cubicBezTo>
                  <a:cubicBezTo>
                    <a:pt x="1138" y="1150"/>
                    <a:pt x="1317" y="1122"/>
                    <a:pt x="1495" y="1122"/>
                  </a:cubicBezTo>
                  <a:cubicBezTo>
                    <a:pt x="1856" y="1122"/>
                    <a:pt x="2206" y="1248"/>
                    <a:pt x="2479" y="1482"/>
                  </a:cubicBezTo>
                  <a:cubicBezTo>
                    <a:pt x="2749" y="1699"/>
                    <a:pt x="2945" y="1773"/>
                    <a:pt x="3090" y="1773"/>
                  </a:cubicBezTo>
                  <a:cubicBezTo>
                    <a:pt x="3242" y="1773"/>
                    <a:pt x="3339" y="1692"/>
                    <a:pt x="3407" y="1612"/>
                  </a:cubicBezTo>
                  <a:cubicBezTo>
                    <a:pt x="3438" y="1580"/>
                    <a:pt x="3459" y="1542"/>
                    <a:pt x="3459" y="1496"/>
                  </a:cubicBezTo>
                  <a:cubicBezTo>
                    <a:pt x="3456" y="1447"/>
                    <a:pt x="3389" y="1398"/>
                    <a:pt x="3330" y="1349"/>
                  </a:cubicBezTo>
                  <a:cubicBezTo>
                    <a:pt x="3235" y="1276"/>
                    <a:pt x="3102" y="1174"/>
                    <a:pt x="3179" y="1020"/>
                  </a:cubicBezTo>
                  <a:cubicBezTo>
                    <a:pt x="3197" y="992"/>
                    <a:pt x="3197" y="957"/>
                    <a:pt x="3179" y="933"/>
                  </a:cubicBezTo>
                  <a:cubicBezTo>
                    <a:pt x="3109" y="817"/>
                    <a:pt x="2794" y="723"/>
                    <a:pt x="2584" y="723"/>
                  </a:cubicBezTo>
                  <a:cubicBezTo>
                    <a:pt x="2423" y="723"/>
                    <a:pt x="2321" y="593"/>
                    <a:pt x="2230" y="478"/>
                  </a:cubicBezTo>
                  <a:cubicBezTo>
                    <a:pt x="2151" y="378"/>
                    <a:pt x="2104" y="325"/>
                    <a:pt x="2057" y="325"/>
                  </a:cubicBezTo>
                  <a:cubicBezTo>
                    <a:pt x="2049" y="325"/>
                    <a:pt x="2040" y="327"/>
                    <a:pt x="2031" y="331"/>
                  </a:cubicBezTo>
                  <a:cubicBezTo>
                    <a:pt x="1985" y="352"/>
                    <a:pt x="1943" y="376"/>
                    <a:pt x="1901" y="397"/>
                  </a:cubicBezTo>
                  <a:cubicBezTo>
                    <a:pt x="1833" y="435"/>
                    <a:pt x="1770" y="470"/>
                    <a:pt x="1714" y="470"/>
                  </a:cubicBezTo>
                  <a:cubicBezTo>
                    <a:pt x="1692" y="470"/>
                    <a:pt x="1672" y="465"/>
                    <a:pt x="1653" y="453"/>
                  </a:cubicBezTo>
                  <a:cubicBezTo>
                    <a:pt x="1579" y="411"/>
                    <a:pt x="1572" y="313"/>
                    <a:pt x="1572" y="222"/>
                  </a:cubicBezTo>
                  <a:cubicBezTo>
                    <a:pt x="1572" y="197"/>
                    <a:pt x="1555" y="176"/>
                    <a:pt x="1520" y="152"/>
                  </a:cubicBezTo>
                  <a:cubicBezTo>
                    <a:pt x="1368" y="48"/>
                    <a:pt x="985" y="1"/>
                    <a:pt x="64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4" name="Google Shape;6661;p64">
              <a:extLst>
                <a:ext uri="{FF2B5EF4-FFF2-40B4-BE49-F238E27FC236}">
                  <a16:creationId xmlns:a16="http://schemas.microsoft.com/office/drawing/2014/main" id="{55E672E7-8537-AEDF-957E-5C8E785FBE25}"/>
                </a:ext>
              </a:extLst>
            </p:cNvPr>
            <p:cNvSpPr/>
            <p:nvPr/>
          </p:nvSpPr>
          <p:spPr>
            <a:xfrm>
              <a:off x="1256395" y="1294400"/>
              <a:ext cx="10332" cy="9328"/>
            </a:xfrm>
            <a:custGeom>
              <a:avLst/>
              <a:gdLst/>
              <a:ahLst/>
              <a:cxnLst/>
              <a:rect l="l" t="t" r="r" b="b"/>
              <a:pathLst>
                <a:path w="761" h="687" extrusionOk="0">
                  <a:moveTo>
                    <a:pt x="53" y="0"/>
                  </a:moveTo>
                  <a:cubicBezTo>
                    <a:pt x="43" y="0"/>
                    <a:pt x="32" y="7"/>
                    <a:pt x="29" y="39"/>
                  </a:cubicBezTo>
                  <a:cubicBezTo>
                    <a:pt x="1" y="249"/>
                    <a:pt x="267" y="554"/>
                    <a:pt x="505" y="655"/>
                  </a:cubicBezTo>
                  <a:cubicBezTo>
                    <a:pt x="540" y="670"/>
                    <a:pt x="589" y="687"/>
                    <a:pt x="636" y="687"/>
                  </a:cubicBezTo>
                  <a:cubicBezTo>
                    <a:pt x="674" y="687"/>
                    <a:pt x="711" y="676"/>
                    <a:pt x="736" y="645"/>
                  </a:cubicBezTo>
                  <a:cubicBezTo>
                    <a:pt x="760" y="617"/>
                    <a:pt x="746" y="550"/>
                    <a:pt x="697" y="473"/>
                  </a:cubicBezTo>
                  <a:cubicBezTo>
                    <a:pt x="554" y="242"/>
                    <a:pt x="211" y="0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5" name="Google Shape;6662;p64">
              <a:extLst>
                <a:ext uri="{FF2B5EF4-FFF2-40B4-BE49-F238E27FC236}">
                  <a16:creationId xmlns:a16="http://schemas.microsoft.com/office/drawing/2014/main" id="{FCB4A6B3-676B-8A48-F4BC-5BE2CB8B84A9}"/>
                </a:ext>
              </a:extLst>
            </p:cNvPr>
            <p:cNvSpPr/>
            <p:nvPr/>
          </p:nvSpPr>
          <p:spPr>
            <a:xfrm>
              <a:off x="1300753" y="1256369"/>
              <a:ext cx="8703" cy="4698"/>
            </a:xfrm>
            <a:custGeom>
              <a:avLst/>
              <a:gdLst/>
              <a:ahLst/>
              <a:cxnLst/>
              <a:rect l="l" t="t" r="r" b="b"/>
              <a:pathLst>
                <a:path w="641" h="346" extrusionOk="0">
                  <a:moveTo>
                    <a:pt x="0" y="1"/>
                  </a:moveTo>
                  <a:cubicBezTo>
                    <a:pt x="18" y="15"/>
                    <a:pt x="39" y="36"/>
                    <a:pt x="63" y="57"/>
                  </a:cubicBezTo>
                  <a:cubicBezTo>
                    <a:pt x="183" y="166"/>
                    <a:pt x="378" y="345"/>
                    <a:pt x="511" y="345"/>
                  </a:cubicBezTo>
                  <a:cubicBezTo>
                    <a:pt x="518" y="345"/>
                    <a:pt x="525" y="345"/>
                    <a:pt x="532" y="344"/>
                  </a:cubicBezTo>
                  <a:cubicBezTo>
                    <a:pt x="571" y="337"/>
                    <a:pt x="602" y="312"/>
                    <a:pt x="620" y="277"/>
                  </a:cubicBezTo>
                  <a:cubicBezTo>
                    <a:pt x="627" y="263"/>
                    <a:pt x="641" y="242"/>
                    <a:pt x="599" y="200"/>
                  </a:cubicBezTo>
                  <a:cubicBezTo>
                    <a:pt x="480" y="74"/>
                    <a:pt x="140" y="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6" name="Google Shape;6663;p64">
              <a:extLst>
                <a:ext uri="{FF2B5EF4-FFF2-40B4-BE49-F238E27FC236}">
                  <a16:creationId xmlns:a16="http://schemas.microsoft.com/office/drawing/2014/main" id="{64619A5E-FC41-5213-CB3A-41A0E0DA0356}"/>
                </a:ext>
              </a:extLst>
            </p:cNvPr>
            <p:cNvSpPr/>
            <p:nvPr/>
          </p:nvSpPr>
          <p:spPr>
            <a:xfrm>
              <a:off x="1265858" y="1330814"/>
              <a:ext cx="6626" cy="4901"/>
            </a:xfrm>
            <a:custGeom>
              <a:avLst/>
              <a:gdLst/>
              <a:ahLst/>
              <a:cxnLst/>
              <a:rect l="l" t="t" r="r" b="b"/>
              <a:pathLst>
                <a:path w="488" h="361" extrusionOk="0">
                  <a:moveTo>
                    <a:pt x="175" y="0"/>
                  </a:moveTo>
                  <a:cubicBezTo>
                    <a:pt x="119" y="0"/>
                    <a:pt x="70" y="39"/>
                    <a:pt x="56" y="91"/>
                  </a:cubicBezTo>
                  <a:cubicBezTo>
                    <a:pt x="0" y="217"/>
                    <a:pt x="56" y="284"/>
                    <a:pt x="112" y="319"/>
                  </a:cubicBezTo>
                  <a:cubicBezTo>
                    <a:pt x="155" y="346"/>
                    <a:pt x="213" y="360"/>
                    <a:pt x="271" y="360"/>
                  </a:cubicBezTo>
                  <a:cubicBezTo>
                    <a:pt x="341" y="360"/>
                    <a:pt x="411" y="339"/>
                    <a:pt x="456" y="291"/>
                  </a:cubicBezTo>
                  <a:cubicBezTo>
                    <a:pt x="463" y="280"/>
                    <a:pt x="487" y="252"/>
                    <a:pt x="459" y="189"/>
                  </a:cubicBezTo>
                  <a:cubicBezTo>
                    <a:pt x="403" y="84"/>
                    <a:pt x="298" y="14"/>
                    <a:pt x="17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7" name="Google Shape;6664;p64">
              <a:extLst>
                <a:ext uri="{FF2B5EF4-FFF2-40B4-BE49-F238E27FC236}">
                  <a16:creationId xmlns:a16="http://schemas.microsoft.com/office/drawing/2014/main" id="{EDFB5501-492A-6D3E-7EC3-F07B2204E611}"/>
                </a:ext>
              </a:extLst>
            </p:cNvPr>
            <p:cNvSpPr/>
            <p:nvPr/>
          </p:nvSpPr>
          <p:spPr>
            <a:xfrm>
              <a:off x="1266945" y="1309756"/>
              <a:ext cx="52260" cy="27454"/>
            </a:xfrm>
            <a:custGeom>
              <a:avLst/>
              <a:gdLst/>
              <a:ahLst/>
              <a:cxnLst/>
              <a:rect l="l" t="t" r="r" b="b"/>
              <a:pathLst>
                <a:path w="3849" h="2022" extrusionOk="0">
                  <a:moveTo>
                    <a:pt x="2006" y="0"/>
                  </a:moveTo>
                  <a:cubicBezTo>
                    <a:pt x="1991" y="0"/>
                    <a:pt x="1986" y="4"/>
                    <a:pt x="1986" y="4"/>
                  </a:cubicBezTo>
                  <a:cubicBezTo>
                    <a:pt x="1961" y="49"/>
                    <a:pt x="2094" y="322"/>
                    <a:pt x="2361" y="550"/>
                  </a:cubicBezTo>
                  <a:cubicBezTo>
                    <a:pt x="2424" y="602"/>
                    <a:pt x="2539" y="704"/>
                    <a:pt x="2476" y="784"/>
                  </a:cubicBezTo>
                  <a:cubicBezTo>
                    <a:pt x="2457" y="809"/>
                    <a:pt x="2425" y="820"/>
                    <a:pt x="2383" y="820"/>
                  </a:cubicBezTo>
                  <a:cubicBezTo>
                    <a:pt x="2183" y="820"/>
                    <a:pt x="1772" y="567"/>
                    <a:pt x="1650" y="483"/>
                  </a:cubicBezTo>
                  <a:cubicBezTo>
                    <a:pt x="1567" y="428"/>
                    <a:pt x="1496" y="398"/>
                    <a:pt x="1451" y="398"/>
                  </a:cubicBezTo>
                  <a:cubicBezTo>
                    <a:pt x="1433" y="398"/>
                    <a:pt x="1420" y="403"/>
                    <a:pt x="1412" y="413"/>
                  </a:cubicBezTo>
                  <a:cubicBezTo>
                    <a:pt x="1366" y="480"/>
                    <a:pt x="1422" y="683"/>
                    <a:pt x="1531" y="763"/>
                  </a:cubicBezTo>
                  <a:cubicBezTo>
                    <a:pt x="1615" y="826"/>
                    <a:pt x="1650" y="910"/>
                    <a:pt x="1632" y="987"/>
                  </a:cubicBezTo>
                  <a:cubicBezTo>
                    <a:pt x="1618" y="1050"/>
                    <a:pt x="1566" y="1099"/>
                    <a:pt x="1503" y="1110"/>
                  </a:cubicBezTo>
                  <a:cubicBezTo>
                    <a:pt x="1488" y="1113"/>
                    <a:pt x="1474" y="1114"/>
                    <a:pt x="1459" y="1114"/>
                  </a:cubicBezTo>
                  <a:cubicBezTo>
                    <a:pt x="1343" y="1114"/>
                    <a:pt x="1212" y="1031"/>
                    <a:pt x="1100" y="879"/>
                  </a:cubicBezTo>
                  <a:cubicBezTo>
                    <a:pt x="1034" y="791"/>
                    <a:pt x="974" y="704"/>
                    <a:pt x="922" y="620"/>
                  </a:cubicBezTo>
                  <a:cubicBezTo>
                    <a:pt x="729" y="329"/>
                    <a:pt x="575" y="98"/>
                    <a:pt x="250" y="81"/>
                  </a:cubicBezTo>
                  <a:cubicBezTo>
                    <a:pt x="242" y="80"/>
                    <a:pt x="235" y="80"/>
                    <a:pt x="228" y="80"/>
                  </a:cubicBezTo>
                  <a:cubicBezTo>
                    <a:pt x="139" y="80"/>
                    <a:pt x="80" y="102"/>
                    <a:pt x="57" y="147"/>
                  </a:cubicBezTo>
                  <a:cubicBezTo>
                    <a:pt x="1" y="249"/>
                    <a:pt x="102" y="487"/>
                    <a:pt x="232" y="655"/>
                  </a:cubicBezTo>
                  <a:cubicBezTo>
                    <a:pt x="414" y="889"/>
                    <a:pt x="593" y="984"/>
                    <a:pt x="845" y="1117"/>
                  </a:cubicBezTo>
                  <a:cubicBezTo>
                    <a:pt x="922" y="1155"/>
                    <a:pt x="999" y="1197"/>
                    <a:pt x="1086" y="1246"/>
                  </a:cubicBezTo>
                  <a:cubicBezTo>
                    <a:pt x="1178" y="1298"/>
                    <a:pt x="1287" y="1316"/>
                    <a:pt x="1403" y="1316"/>
                  </a:cubicBezTo>
                  <a:cubicBezTo>
                    <a:pt x="1557" y="1316"/>
                    <a:pt x="1723" y="1283"/>
                    <a:pt x="1877" y="1253"/>
                  </a:cubicBezTo>
                  <a:cubicBezTo>
                    <a:pt x="2003" y="1225"/>
                    <a:pt x="2133" y="1208"/>
                    <a:pt x="2259" y="1201"/>
                  </a:cubicBezTo>
                  <a:cubicBezTo>
                    <a:pt x="2301" y="1201"/>
                    <a:pt x="2340" y="1204"/>
                    <a:pt x="2382" y="1215"/>
                  </a:cubicBezTo>
                  <a:cubicBezTo>
                    <a:pt x="2434" y="1222"/>
                    <a:pt x="2480" y="1257"/>
                    <a:pt x="2504" y="1309"/>
                  </a:cubicBezTo>
                  <a:cubicBezTo>
                    <a:pt x="2536" y="1394"/>
                    <a:pt x="2473" y="1485"/>
                    <a:pt x="2399" y="1586"/>
                  </a:cubicBezTo>
                  <a:cubicBezTo>
                    <a:pt x="2297" y="1730"/>
                    <a:pt x="2231" y="1838"/>
                    <a:pt x="2294" y="1919"/>
                  </a:cubicBezTo>
                  <a:cubicBezTo>
                    <a:pt x="2359" y="1996"/>
                    <a:pt x="2477" y="2021"/>
                    <a:pt x="2620" y="2021"/>
                  </a:cubicBezTo>
                  <a:cubicBezTo>
                    <a:pt x="2747" y="2021"/>
                    <a:pt x="2893" y="2001"/>
                    <a:pt x="3036" y="1982"/>
                  </a:cubicBezTo>
                  <a:cubicBezTo>
                    <a:pt x="3152" y="1964"/>
                    <a:pt x="3271" y="1947"/>
                    <a:pt x="3379" y="1940"/>
                  </a:cubicBezTo>
                  <a:cubicBezTo>
                    <a:pt x="3582" y="1929"/>
                    <a:pt x="3600" y="1873"/>
                    <a:pt x="3631" y="1772"/>
                  </a:cubicBezTo>
                  <a:cubicBezTo>
                    <a:pt x="3659" y="1667"/>
                    <a:pt x="3722" y="1579"/>
                    <a:pt x="3806" y="1516"/>
                  </a:cubicBezTo>
                  <a:cubicBezTo>
                    <a:pt x="3824" y="1506"/>
                    <a:pt x="3834" y="1495"/>
                    <a:pt x="3848" y="1485"/>
                  </a:cubicBezTo>
                  <a:cubicBezTo>
                    <a:pt x="3838" y="1471"/>
                    <a:pt x="3824" y="1460"/>
                    <a:pt x="3813" y="1446"/>
                  </a:cubicBezTo>
                  <a:cubicBezTo>
                    <a:pt x="3743" y="1380"/>
                    <a:pt x="3610" y="1253"/>
                    <a:pt x="3736" y="984"/>
                  </a:cubicBezTo>
                  <a:cubicBezTo>
                    <a:pt x="3820" y="809"/>
                    <a:pt x="3670" y="581"/>
                    <a:pt x="3600" y="494"/>
                  </a:cubicBezTo>
                  <a:cubicBezTo>
                    <a:pt x="3456" y="312"/>
                    <a:pt x="3288" y="207"/>
                    <a:pt x="3232" y="200"/>
                  </a:cubicBezTo>
                  <a:cubicBezTo>
                    <a:pt x="3225" y="249"/>
                    <a:pt x="3197" y="294"/>
                    <a:pt x="3155" y="319"/>
                  </a:cubicBezTo>
                  <a:cubicBezTo>
                    <a:pt x="3124" y="337"/>
                    <a:pt x="3086" y="346"/>
                    <a:pt x="3040" y="346"/>
                  </a:cubicBezTo>
                  <a:cubicBezTo>
                    <a:pt x="2895" y="346"/>
                    <a:pt x="2677" y="261"/>
                    <a:pt x="2371" y="133"/>
                  </a:cubicBezTo>
                  <a:cubicBezTo>
                    <a:pt x="2290" y="98"/>
                    <a:pt x="2203" y="60"/>
                    <a:pt x="2122" y="32"/>
                  </a:cubicBezTo>
                  <a:cubicBezTo>
                    <a:pt x="2061" y="6"/>
                    <a:pt x="2025" y="0"/>
                    <a:pt x="20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8" name="Google Shape;6665;p64">
              <a:extLst>
                <a:ext uri="{FF2B5EF4-FFF2-40B4-BE49-F238E27FC236}">
                  <a16:creationId xmlns:a16="http://schemas.microsoft.com/office/drawing/2014/main" id="{DDB4A73C-EB67-DADC-6E51-7A5F3EBD0C33}"/>
                </a:ext>
              </a:extLst>
            </p:cNvPr>
            <p:cNvSpPr/>
            <p:nvPr/>
          </p:nvSpPr>
          <p:spPr>
            <a:xfrm>
              <a:off x="1309917" y="1312268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1" y="1"/>
                  </a:moveTo>
                  <a:lnTo>
                    <a:pt x="64" y="8"/>
                  </a:lnTo>
                  <a:cubicBezTo>
                    <a:pt x="64" y="8"/>
                    <a:pt x="64" y="4"/>
                    <a:pt x="67" y="4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9" name="Google Shape;6666;p64">
              <a:extLst>
                <a:ext uri="{FF2B5EF4-FFF2-40B4-BE49-F238E27FC236}">
                  <a16:creationId xmlns:a16="http://schemas.microsoft.com/office/drawing/2014/main" id="{3D685B51-9BF2-CB79-C0AE-89EA3F28BA6B}"/>
                </a:ext>
              </a:extLst>
            </p:cNvPr>
            <p:cNvSpPr/>
            <p:nvPr/>
          </p:nvSpPr>
          <p:spPr>
            <a:xfrm>
              <a:off x="1314344" y="1277224"/>
              <a:ext cx="23109" cy="14718"/>
            </a:xfrm>
            <a:custGeom>
              <a:avLst/>
              <a:gdLst/>
              <a:ahLst/>
              <a:cxnLst/>
              <a:rect l="l" t="t" r="r" b="b"/>
              <a:pathLst>
                <a:path w="1702" h="1084" extrusionOk="0">
                  <a:moveTo>
                    <a:pt x="82" y="1"/>
                  </a:moveTo>
                  <a:cubicBezTo>
                    <a:pt x="68" y="1"/>
                    <a:pt x="54" y="8"/>
                    <a:pt x="42" y="19"/>
                  </a:cubicBezTo>
                  <a:cubicBezTo>
                    <a:pt x="0" y="82"/>
                    <a:pt x="42" y="310"/>
                    <a:pt x="186" y="579"/>
                  </a:cubicBezTo>
                  <a:cubicBezTo>
                    <a:pt x="347" y="877"/>
                    <a:pt x="553" y="1083"/>
                    <a:pt x="693" y="1083"/>
                  </a:cubicBezTo>
                  <a:cubicBezTo>
                    <a:pt x="711" y="1084"/>
                    <a:pt x="729" y="1084"/>
                    <a:pt x="747" y="1084"/>
                  </a:cubicBezTo>
                  <a:cubicBezTo>
                    <a:pt x="1051" y="1084"/>
                    <a:pt x="1354" y="1028"/>
                    <a:pt x="1639" y="919"/>
                  </a:cubicBezTo>
                  <a:cubicBezTo>
                    <a:pt x="1656" y="912"/>
                    <a:pt x="1674" y="905"/>
                    <a:pt x="1691" y="898"/>
                  </a:cubicBezTo>
                  <a:lnTo>
                    <a:pt x="1684" y="891"/>
                  </a:lnTo>
                  <a:cubicBezTo>
                    <a:pt x="1628" y="838"/>
                    <a:pt x="1509" y="726"/>
                    <a:pt x="1660" y="530"/>
                  </a:cubicBezTo>
                  <a:cubicBezTo>
                    <a:pt x="1702" y="471"/>
                    <a:pt x="1681" y="453"/>
                    <a:pt x="1670" y="443"/>
                  </a:cubicBezTo>
                  <a:cubicBezTo>
                    <a:pt x="1615" y="385"/>
                    <a:pt x="1469" y="364"/>
                    <a:pt x="1350" y="364"/>
                  </a:cubicBezTo>
                  <a:cubicBezTo>
                    <a:pt x="1273" y="364"/>
                    <a:pt x="1207" y="373"/>
                    <a:pt x="1184" y="387"/>
                  </a:cubicBezTo>
                  <a:cubicBezTo>
                    <a:pt x="1173" y="401"/>
                    <a:pt x="1159" y="411"/>
                    <a:pt x="1138" y="418"/>
                  </a:cubicBezTo>
                  <a:cubicBezTo>
                    <a:pt x="1128" y="422"/>
                    <a:pt x="1118" y="423"/>
                    <a:pt x="1106" y="423"/>
                  </a:cubicBezTo>
                  <a:cubicBezTo>
                    <a:pt x="1045" y="423"/>
                    <a:pt x="946" y="376"/>
                    <a:pt x="728" y="264"/>
                  </a:cubicBezTo>
                  <a:cubicBezTo>
                    <a:pt x="581" y="187"/>
                    <a:pt x="228" y="2"/>
                    <a:pt x="91" y="2"/>
                  </a:cubicBezTo>
                  <a:cubicBezTo>
                    <a:pt x="88" y="1"/>
                    <a:pt x="85" y="1"/>
                    <a:pt x="8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0" name="Google Shape;6667;p64">
              <a:extLst>
                <a:ext uri="{FF2B5EF4-FFF2-40B4-BE49-F238E27FC236}">
                  <a16:creationId xmlns:a16="http://schemas.microsoft.com/office/drawing/2014/main" id="{27C6C96D-929D-EE51-FC72-6FD242C3A8B4}"/>
                </a:ext>
              </a:extLst>
            </p:cNvPr>
            <p:cNvSpPr/>
            <p:nvPr/>
          </p:nvSpPr>
          <p:spPr>
            <a:xfrm>
              <a:off x="1329265" y="1294739"/>
              <a:ext cx="19973" cy="4548"/>
            </a:xfrm>
            <a:custGeom>
              <a:avLst/>
              <a:gdLst/>
              <a:ahLst/>
              <a:cxnLst/>
              <a:rect l="l" t="t" r="r" b="b"/>
              <a:pathLst>
                <a:path w="1471" h="335" extrusionOk="0">
                  <a:moveTo>
                    <a:pt x="1308" y="1"/>
                  </a:moveTo>
                  <a:cubicBezTo>
                    <a:pt x="1170" y="1"/>
                    <a:pt x="971" y="13"/>
                    <a:pt x="729" y="45"/>
                  </a:cubicBezTo>
                  <a:cubicBezTo>
                    <a:pt x="305" y="101"/>
                    <a:pt x="60" y="178"/>
                    <a:pt x="1" y="224"/>
                  </a:cubicBezTo>
                  <a:cubicBezTo>
                    <a:pt x="104" y="298"/>
                    <a:pt x="253" y="335"/>
                    <a:pt x="432" y="335"/>
                  </a:cubicBezTo>
                  <a:cubicBezTo>
                    <a:pt x="568" y="335"/>
                    <a:pt x="721" y="313"/>
                    <a:pt x="886" y="269"/>
                  </a:cubicBezTo>
                  <a:cubicBezTo>
                    <a:pt x="1177" y="192"/>
                    <a:pt x="1397" y="77"/>
                    <a:pt x="1471" y="10"/>
                  </a:cubicBezTo>
                  <a:cubicBezTo>
                    <a:pt x="1436" y="4"/>
                    <a:pt x="1380" y="1"/>
                    <a:pt x="1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1" name="Google Shape;6668;p64">
              <a:extLst>
                <a:ext uri="{FF2B5EF4-FFF2-40B4-BE49-F238E27FC236}">
                  <a16:creationId xmlns:a16="http://schemas.microsoft.com/office/drawing/2014/main" id="{93483668-CE0D-D464-1B9D-7190106F8851}"/>
                </a:ext>
              </a:extLst>
            </p:cNvPr>
            <p:cNvSpPr/>
            <p:nvPr/>
          </p:nvSpPr>
          <p:spPr>
            <a:xfrm>
              <a:off x="1324934" y="1329592"/>
              <a:ext cx="24684" cy="12138"/>
            </a:xfrm>
            <a:custGeom>
              <a:avLst/>
              <a:gdLst/>
              <a:ahLst/>
              <a:cxnLst/>
              <a:rect l="l" t="t" r="r" b="b"/>
              <a:pathLst>
                <a:path w="1818" h="894" extrusionOk="0">
                  <a:moveTo>
                    <a:pt x="1010" y="1"/>
                  </a:moveTo>
                  <a:cubicBezTo>
                    <a:pt x="808" y="1"/>
                    <a:pt x="576" y="84"/>
                    <a:pt x="386" y="188"/>
                  </a:cubicBezTo>
                  <a:cubicBezTo>
                    <a:pt x="134" y="328"/>
                    <a:pt x="4" y="472"/>
                    <a:pt x="1" y="517"/>
                  </a:cubicBezTo>
                  <a:cubicBezTo>
                    <a:pt x="196" y="665"/>
                    <a:pt x="1095" y="893"/>
                    <a:pt x="1549" y="893"/>
                  </a:cubicBezTo>
                  <a:cubicBezTo>
                    <a:pt x="1568" y="893"/>
                    <a:pt x="1587" y="893"/>
                    <a:pt x="1604" y="892"/>
                  </a:cubicBezTo>
                  <a:cubicBezTo>
                    <a:pt x="1699" y="885"/>
                    <a:pt x="1758" y="853"/>
                    <a:pt x="1772" y="797"/>
                  </a:cubicBezTo>
                  <a:cubicBezTo>
                    <a:pt x="1818" y="657"/>
                    <a:pt x="1650" y="346"/>
                    <a:pt x="1303" y="87"/>
                  </a:cubicBezTo>
                  <a:cubicBezTo>
                    <a:pt x="1223" y="26"/>
                    <a:pt x="1121" y="1"/>
                    <a:pt x="101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2" name="Google Shape;6669;p64">
              <a:extLst>
                <a:ext uri="{FF2B5EF4-FFF2-40B4-BE49-F238E27FC236}">
                  <a16:creationId xmlns:a16="http://schemas.microsoft.com/office/drawing/2014/main" id="{DDAEB01C-0AD5-C98D-AB84-0F45D7531063}"/>
                </a:ext>
              </a:extLst>
            </p:cNvPr>
            <p:cNvSpPr/>
            <p:nvPr/>
          </p:nvSpPr>
          <p:spPr>
            <a:xfrm>
              <a:off x="1281500" y="1350040"/>
              <a:ext cx="45593" cy="39266"/>
            </a:xfrm>
            <a:custGeom>
              <a:avLst/>
              <a:gdLst/>
              <a:ahLst/>
              <a:cxnLst/>
              <a:rect l="l" t="t" r="r" b="b"/>
              <a:pathLst>
                <a:path w="3358" h="2892" extrusionOk="0">
                  <a:moveTo>
                    <a:pt x="2471" y="1"/>
                  </a:moveTo>
                  <a:cubicBezTo>
                    <a:pt x="2395" y="1"/>
                    <a:pt x="2319" y="10"/>
                    <a:pt x="2244" y="30"/>
                  </a:cubicBezTo>
                  <a:cubicBezTo>
                    <a:pt x="2136" y="47"/>
                    <a:pt x="2031" y="82"/>
                    <a:pt x="1936" y="135"/>
                  </a:cubicBezTo>
                  <a:lnTo>
                    <a:pt x="1947" y="142"/>
                  </a:lnTo>
                  <a:cubicBezTo>
                    <a:pt x="2073" y="191"/>
                    <a:pt x="2139" y="254"/>
                    <a:pt x="2146" y="327"/>
                  </a:cubicBezTo>
                  <a:cubicBezTo>
                    <a:pt x="2146" y="376"/>
                    <a:pt x="2118" y="425"/>
                    <a:pt x="2073" y="447"/>
                  </a:cubicBezTo>
                  <a:cubicBezTo>
                    <a:pt x="2035" y="468"/>
                    <a:pt x="1985" y="480"/>
                    <a:pt x="1927" y="480"/>
                  </a:cubicBezTo>
                  <a:cubicBezTo>
                    <a:pt x="1823" y="480"/>
                    <a:pt x="1694" y="442"/>
                    <a:pt x="1569" y="352"/>
                  </a:cubicBezTo>
                  <a:cubicBezTo>
                    <a:pt x="1507" y="307"/>
                    <a:pt x="1421" y="289"/>
                    <a:pt x="1326" y="289"/>
                  </a:cubicBezTo>
                  <a:cubicBezTo>
                    <a:pt x="1084" y="289"/>
                    <a:pt x="784" y="409"/>
                    <a:pt x="686" y="538"/>
                  </a:cubicBezTo>
                  <a:cubicBezTo>
                    <a:pt x="641" y="597"/>
                    <a:pt x="648" y="639"/>
                    <a:pt x="704" y="685"/>
                  </a:cubicBezTo>
                  <a:cubicBezTo>
                    <a:pt x="784" y="751"/>
                    <a:pt x="942" y="751"/>
                    <a:pt x="1085" y="751"/>
                  </a:cubicBezTo>
                  <a:cubicBezTo>
                    <a:pt x="1257" y="751"/>
                    <a:pt x="1404" y="755"/>
                    <a:pt x="1457" y="863"/>
                  </a:cubicBezTo>
                  <a:cubicBezTo>
                    <a:pt x="1502" y="951"/>
                    <a:pt x="1460" y="1070"/>
                    <a:pt x="1320" y="1259"/>
                  </a:cubicBezTo>
                  <a:cubicBezTo>
                    <a:pt x="1201" y="1423"/>
                    <a:pt x="1085" y="1511"/>
                    <a:pt x="966" y="1528"/>
                  </a:cubicBezTo>
                  <a:cubicBezTo>
                    <a:pt x="953" y="1530"/>
                    <a:pt x="939" y="1531"/>
                    <a:pt x="926" y="1531"/>
                  </a:cubicBezTo>
                  <a:cubicBezTo>
                    <a:pt x="790" y="1531"/>
                    <a:pt x="679" y="1439"/>
                    <a:pt x="571" y="1353"/>
                  </a:cubicBezTo>
                  <a:cubicBezTo>
                    <a:pt x="462" y="1266"/>
                    <a:pt x="355" y="1181"/>
                    <a:pt x="234" y="1181"/>
                  </a:cubicBezTo>
                  <a:cubicBezTo>
                    <a:pt x="219" y="1181"/>
                    <a:pt x="204" y="1183"/>
                    <a:pt x="189" y="1185"/>
                  </a:cubicBezTo>
                  <a:cubicBezTo>
                    <a:pt x="109" y="1199"/>
                    <a:pt x="14" y="1234"/>
                    <a:pt x="7" y="1336"/>
                  </a:cubicBezTo>
                  <a:cubicBezTo>
                    <a:pt x="0" y="1476"/>
                    <a:pt x="179" y="1731"/>
                    <a:pt x="609" y="1861"/>
                  </a:cubicBezTo>
                  <a:cubicBezTo>
                    <a:pt x="1012" y="1980"/>
                    <a:pt x="1159" y="2169"/>
                    <a:pt x="1310" y="2365"/>
                  </a:cubicBezTo>
                  <a:cubicBezTo>
                    <a:pt x="1429" y="2533"/>
                    <a:pt x="1576" y="2677"/>
                    <a:pt x="1740" y="2792"/>
                  </a:cubicBezTo>
                  <a:cubicBezTo>
                    <a:pt x="1844" y="2862"/>
                    <a:pt x="1911" y="2891"/>
                    <a:pt x="1964" y="2891"/>
                  </a:cubicBezTo>
                  <a:cubicBezTo>
                    <a:pt x="2032" y="2891"/>
                    <a:pt x="2074" y="2842"/>
                    <a:pt x="2136" y="2771"/>
                  </a:cubicBezTo>
                  <a:cubicBezTo>
                    <a:pt x="2231" y="2659"/>
                    <a:pt x="2355" y="2511"/>
                    <a:pt x="2648" y="2511"/>
                  </a:cubicBezTo>
                  <a:cubicBezTo>
                    <a:pt x="2658" y="2511"/>
                    <a:pt x="2668" y="2512"/>
                    <a:pt x="2678" y="2512"/>
                  </a:cubicBezTo>
                  <a:lnTo>
                    <a:pt x="2696" y="2512"/>
                  </a:lnTo>
                  <a:cubicBezTo>
                    <a:pt x="3112" y="2512"/>
                    <a:pt x="3214" y="1931"/>
                    <a:pt x="3284" y="1504"/>
                  </a:cubicBezTo>
                  <a:cubicBezTo>
                    <a:pt x="3305" y="1395"/>
                    <a:pt x="3319" y="1301"/>
                    <a:pt x="3340" y="1227"/>
                  </a:cubicBezTo>
                  <a:cubicBezTo>
                    <a:pt x="3358" y="1154"/>
                    <a:pt x="3344" y="1091"/>
                    <a:pt x="3291" y="1059"/>
                  </a:cubicBezTo>
                  <a:cubicBezTo>
                    <a:pt x="3264" y="1044"/>
                    <a:pt x="3234" y="1036"/>
                    <a:pt x="3205" y="1036"/>
                  </a:cubicBezTo>
                  <a:cubicBezTo>
                    <a:pt x="3174" y="1036"/>
                    <a:pt x="3143" y="1045"/>
                    <a:pt x="3116" y="1063"/>
                  </a:cubicBezTo>
                  <a:cubicBezTo>
                    <a:pt x="3112" y="1070"/>
                    <a:pt x="3091" y="1087"/>
                    <a:pt x="3119" y="1140"/>
                  </a:cubicBezTo>
                  <a:cubicBezTo>
                    <a:pt x="3207" y="1304"/>
                    <a:pt x="3200" y="1479"/>
                    <a:pt x="3140" y="1556"/>
                  </a:cubicBezTo>
                  <a:cubicBezTo>
                    <a:pt x="3124" y="1582"/>
                    <a:pt x="3093" y="1598"/>
                    <a:pt x="3062" y="1598"/>
                  </a:cubicBezTo>
                  <a:cubicBezTo>
                    <a:pt x="3054" y="1598"/>
                    <a:pt x="3047" y="1597"/>
                    <a:pt x="3039" y="1595"/>
                  </a:cubicBezTo>
                  <a:cubicBezTo>
                    <a:pt x="2979" y="1581"/>
                    <a:pt x="2944" y="1518"/>
                    <a:pt x="2927" y="1399"/>
                  </a:cubicBezTo>
                  <a:cubicBezTo>
                    <a:pt x="2912" y="1317"/>
                    <a:pt x="2871" y="1296"/>
                    <a:pt x="2741" y="1296"/>
                  </a:cubicBezTo>
                  <a:cubicBezTo>
                    <a:pt x="2720" y="1296"/>
                    <a:pt x="2697" y="1296"/>
                    <a:pt x="2671" y="1297"/>
                  </a:cubicBezTo>
                  <a:cubicBezTo>
                    <a:pt x="2650" y="1298"/>
                    <a:pt x="2627" y="1298"/>
                    <a:pt x="2604" y="1298"/>
                  </a:cubicBezTo>
                  <a:cubicBezTo>
                    <a:pt x="2479" y="1298"/>
                    <a:pt x="2341" y="1282"/>
                    <a:pt x="2258" y="1161"/>
                  </a:cubicBezTo>
                  <a:cubicBezTo>
                    <a:pt x="2223" y="1119"/>
                    <a:pt x="2213" y="1063"/>
                    <a:pt x="2227" y="1014"/>
                  </a:cubicBezTo>
                  <a:cubicBezTo>
                    <a:pt x="2255" y="909"/>
                    <a:pt x="2384" y="853"/>
                    <a:pt x="2545" y="786"/>
                  </a:cubicBezTo>
                  <a:cubicBezTo>
                    <a:pt x="2706" y="716"/>
                    <a:pt x="2888" y="639"/>
                    <a:pt x="2958" y="510"/>
                  </a:cubicBezTo>
                  <a:cubicBezTo>
                    <a:pt x="2983" y="464"/>
                    <a:pt x="2976" y="443"/>
                    <a:pt x="2972" y="436"/>
                  </a:cubicBezTo>
                  <a:cubicBezTo>
                    <a:pt x="2955" y="383"/>
                    <a:pt x="2853" y="345"/>
                    <a:pt x="2773" y="310"/>
                  </a:cubicBezTo>
                  <a:cubicBezTo>
                    <a:pt x="2668" y="268"/>
                    <a:pt x="2566" y="226"/>
                    <a:pt x="2542" y="138"/>
                  </a:cubicBezTo>
                  <a:cubicBezTo>
                    <a:pt x="2528" y="93"/>
                    <a:pt x="2538" y="44"/>
                    <a:pt x="2566" y="5"/>
                  </a:cubicBezTo>
                  <a:cubicBezTo>
                    <a:pt x="2535" y="2"/>
                    <a:pt x="2503" y="1"/>
                    <a:pt x="24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3" name="Google Shape;6670;p64">
              <a:extLst>
                <a:ext uri="{FF2B5EF4-FFF2-40B4-BE49-F238E27FC236}">
                  <a16:creationId xmlns:a16="http://schemas.microsoft.com/office/drawing/2014/main" id="{0D14C8CF-C504-6EA7-F55A-5168CEC7CBB9}"/>
                </a:ext>
              </a:extLst>
            </p:cNvPr>
            <p:cNvSpPr/>
            <p:nvPr/>
          </p:nvSpPr>
          <p:spPr>
            <a:xfrm>
              <a:off x="1325029" y="1306674"/>
              <a:ext cx="126216" cy="36999"/>
            </a:xfrm>
            <a:custGeom>
              <a:avLst/>
              <a:gdLst/>
              <a:ahLst/>
              <a:cxnLst/>
              <a:rect l="l" t="t" r="r" b="b"/>
              <a:pathLst>
                <a:path w="9296" h="2725" extrusionOk="0">
                  <a:moveTo>
                    <a:pt x="643" y="0"/>
                  </a:moveTo>
                  <a:cubicBezTo>
                    <a:pt x="357" y="0"/>
                    <a:pt x="92" y="44"/>
                    <a:pt x="22" y="129"/>
                  </a:cubicBezTo>
                  <a:cubicBezTo>
                    <a:pt x="15" y="140"/>
                    <a:pt x="1" y="157"/>
                    <a:pt x="32" y="203"/>
                  </a:cubicBezTo>
                  <a:cubicBezTo>
                    <a:pt x="156" y="381"/>
                    <a:pt x="1100" y="749"/>
                    <a:pt x="1505" y="749"/>
                  </a:cubicBezTo>
                  <a:cubicBezTo>
                    <a:pt x="1513" y="749"/>
                    <a:pt x="1520" y="749"/>
                    <a:pt x="1527" y="749"/>
                  </a:cubicBezTo>
                  <a:cubicBezTo>
                    <a:pt x="1601" y="745"/>
                    <a:pt x="1636" y="731"/>
                    <a:pt x="1643" y="717"/>
                  </a:cubicBezTo>
                  <a:cubicBezTo>
                    <a:pt x="1671" y="665"/>
                    <a:pt x="1723" y="630"/>
                    <a:pt x="1786" y="623"/>
                  </a:cubicBezTo>
                  <a:cubicBezTo>
                    <a:pt x="1790" y="623"/>
                    <a:pt x="1794" y="622"/>
                    <a:pt x="1798" y="622"/>
                  </a:cubicBezTo>
                  <a:cubicBezTo>
                    <a:pt x="1959" y="622"/>
                    <a:pt x="2142" y="840"/>
                    <a:pt x="2382" y="1144"/>
                  </a:cubicBezTo>
                  <a:cubicBezTo>
                    <a:pt x="2417" y="1186"/>
                    <a:pt x="2448" y="1232"/>
                    <a:pt x="2480" y="1267"/>
                  </a:cubicBezTo>
                  <a:cubicBezTo>
                    <a:pt x="2609" y="1428"/>
                    <a:pt x="2567" y="1547"/>
                    <a:pt x="2522" y="1666"/>
                  </a:cubicBezTo>
                  <a:cubicBezTo>
                    <a:pt x="2455" y="1817"/>
                    <a:pt x="2455" y="1985"/>
                    <a:pt x="2515" y="2135"/>
                  </a:cubicBezTo>
                  <a:lnTo>
                    <a:pt x="2515" y="2139"/>
                  </a:lnTo>
                  <a:cubicBezTo>
                    <a:pt x="2588" y="2343"/>
                    <a:pt x="2648" y="2372"/>
                    <a:pt x="2735" y="2372"/>
                  </a:cubicBezTo>
                  <a:cubicBezTo>
                    <a:pt x="2753" y="2372"/>
                    <a:pt x="2771" y="2371"/>
                    <a:pt x="2791" y="2370"/>
                  </a:cubicBezTo>
                  <a:cubicBezTo>
                    <a:pt x="2815" y="2368"/>
                    <a:pt x="2842" y="2366"/>
                    <a:pt x="2869" y="2366"/>
                  </a:cubicBezTo>
                  <a:cubicBezTo>
                    <a:pt x="2944" y="2366"/>
                    <a:pt x="3030" y="2380"/>
                    <a:pt x="3120" y="2447"/>
                  </a:cubicBezTo>
                  <a:cubicBezTo>
                    <a:pt x="3288" y="2567"/>
                    <a:pt x="3505" y="2650"/>
                    <a:pt x="3686" y="2650"/>
                  </a:cubicBezTo>
                  <a:cubicBezTo>
                    <a:pt x="3784" y="2650"/>
                    <a:pt x="3872" y="2626"/>
                    <a:pt x="3936" y="2569"/>
                  </a:cubicBezTo>
                  <a:cubicBezTo>
                    <a:pt x="3978" y="2534"/>
                    <a:pt x="4013" y="2503"/>
                    <a:pt x="4044" y="2471"/>
                  </a:cubicBezTo>
                  <a:cubicBezTo>
                    <a:pt x="4146" y="2377"/>
                    <a:pt x="4216" y="2310"/>
                    <a:pt x="4290" y="2310"/>
                  </a:cubicBezTo>
                  <a:lnTo>
                    <a:pt x="4314" y="2310"/>
                  </a:lnTo>
                  <a:cubicBezTo>
                    <a:pt x="4370" y="2328"/>
                    <a:pt x="4412" y="2370"/>
                    <a:pt x="4430" y="2422"/>
                  </a:cubicBezTo>
                  <a:cubicBezTo>
                    <a:pt x="4535" y="2671"/>
                    <a:pt x="5165" y="2702"/>
                    <a:pt x="6190" y="2723"/>
                  </a:cubicBezTo>
                  <a:cubicBezTo>
                    <a:pt x="6218" y="2724"/>
                    <a:pt x="6245" y="2724"/>
                    <a:pt x="6270" y="2724"/>
                  </a:cubicBezTo>
                  <a:cubicBezTo>
                    <a:pt x="6872" y="2724"/>
                    <a:pt x="7024" y="2572"/>
                    <a:pt x="7115" y="2478"/>
                  </a:cubicBezTo>
                  <a:cubicBezTo>
                    <a:pt x="7166" y="2427"/>
                    <a:pt x="7211" y="2388"/>
                    <a:pt x="7277" y="2388"/>
                  </a:cubicBezTo>
                  <a:cubicBezTo>
                    <a:pt x="7319" y="2388"/>
                    <a:pt x="7368" y="2403"/>
                    <a:pt x="7433" y="2440"/>
                  </a:cubicBezTo>
                  <a:cubicBezTo>
                    <a:pt x="7627" y="2551"/>
                    <a:pt x="8001" y="2599"/>
                    <a:pt x="8339" y="2599"/>
                  </a:cubicBezTo>
                  <a:cubicBezTo>
                    <a:pt x="8531" y="2599"/>
                    <a:pt x="8712" y="2583"/>
                    <a:pt x="8841" y="2555"/>
                  </a:cubicBezTo>
                  <a:cubicBezTo>
                    <a:pt x="9131" y="2492"/>
                    <a:pt x="9296" y="2002"/>
                    <a:pt x="9275" y="1757"/>
                  </a:cubicBezTo>
                  <a:cubicBezTo>
                    <a:pt x="9229" y="1687"/>
                    <a:pt x="8764" y="1561"/>
                    <a:pt x="7902" y="1498"/>
                  </a:cubicBezTo>
                  <a:cubicBezTo>
                    <a:pt x="7656" y="1480"/>
                    <a:pt x="7422" y="1472"/>
                    <a:pt x="7212" y="1472"/>
                  </a:cubicBezTo>
                  <a:cubicBezTo>
                    <a:pt x="6761" y="1472"/>
                    <a:pt x="6419" y="1511"/>
                    <a:pt x="6292" y="1586"/>
                  </a:cubicBezTo>
                  <a:cubicBezTo>
                    <a:pt x="6154" y="1665"/>
                    <a:pt x="5995" y="1691"/>
                    <a:pt x="5831" y="1691"/>
                  </a:cubicBezTo>
                  <a:cubicBezTo>
                    <a:pt x="5678" y="1691"/>
                    <a:pt x="5522" y="1669"/>
                    <a:pt x="5375" y="1649"/>
                  </a:cubicBezTo>
                  <a:cubicBezTo>
                    <a:pt x="5236" y="1629"/>
                    <a:pt x="5103" y="1610"/>
                    <a:pt x="4986" y="1610"/>
                  </a:cubicBezTo>
                  <a:cubicBezTo>
                    <a:pt x="4890" y="1610"/>
                    <a:pt x="4805" y="1623"/>
                    <a:pt x="4738" y="1659"/>
                  </a:cubicBezTo>
                  <a:cubicBezTo>
                    <a:pt x="4661" y="1701"/>
                    <a:pt x="4600" y="1718"/>
                    <a:pt x="4548" y="1718"/>
                  </a:cubicBezTo>
                  <a:cubicBezTo>
                    <a:pt x="4454" y="1718"/>
                    <a:pt x="4393" y="1662"/>
                    <a:pt x="4332" y="1603"/>
                  </a:cubicBezTo>
                  <a:cubicBezTo>
                    <a:pt x="4233" y="1515"/>
                    <a:pt x="4118" y="1414"/>
                    <a:pt x="3806" y="1400"/>
                  </a:cubicBezTo>
                  <a:cubicBezTo>
                    <a:pt x="3600" y="1393"/>
                    <a:pt x="3502" y="1354"/>
                    <a:pt x="3474" y="1270"/>
                  </a:cubicBezTo>
                  <a:cubicBezTo>
                    <a:pt x="3439" y="1148"/>
                    <a:pt x="3600" y="1032"/>
                    <a:pt x="3768" y="910"/>
                  </a:cubicBezTo>
                  <a:cubicBezTo>
                    <a:pt x="3820" y="875"/>
                    <a:pt x="3869" y="836"/>
                    <a:pt x="3918" y="794"/>
                  </a:cubicBezTo>
                  <a:cubicBezTo>
                    <a:pt x="3826" y="680"/>
                    <a:pt x="3133" y="437"/>
                    <a:pt x="2700" y="437"/>
                  </a:cubicBezTo>
                  <a:cubicBezTo>
                    <a:pt x="2641" y="437"/>
                    <a:pt x="2586" y="441"/>
                    <a:pt x="2539" y="451"/>
                  </a:cubicBezTo>
                  <a:cubicBezTo>
                    <a:pt x="2461" y="468"/>
                    <a:pt x="2388" y="476"/>
                    <a:pt x="2319" y="476"/>
                  </a:cubicBezTo>
                  <a:cubicBezTo>
                    <a:pt x="2056" y="476"/>
                    <a:pt x="1848" y="367"/>
                    <a:pt x="1615" y="248"/>
                  </a:cubicBezTo>
                  <a:cubicBezTo>
                    <a:pt x="1527" y="199"/>
                    <a:pt x="1436" y="154"/>
                    <a:pt x="1335" y="108"/>
                  </a:cubicBezTo>
                  <a:cubicBezTo>
                    <a:pt x="1171" y="35"/>
                    <a:pt x="899" y="0"/>
                    <a:pt x="64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4" name="Google Shape;6671;p64">
              <a:extLst>
                <a:ext uri="{FF2B5EF4-FFF2-40B4-BE49-F238E27FC236}">
                  <a16:creationId xmlns:a16="http://schemas.microsoft.com/office/drawing/2014/main" id="{A9D69E8A-E940-65B9-0499-714134C1C835}"/>
                </a:ext>
              </a:extLst>
            </p:cNvPr>
            <p:cNvSpPr/>
            <p:nvPr/>
          </p:nvSpPr>
          <p:spPr>
            <a:xfrm>
              <a:off x="1366386" y="1297251"/>
              <a:ext cx="10237" cy="5092"/>
            </a:xfrm>
            <a:custGeom>
              <a:avLst/>
              <a:gdLst/>
              <a:ahLst/>
              <a:cxnLst/>
              <a:rect l="l" t="t" r="r" b="b"/>
              <a:pathLst>
                <a:path w="754" h="375" extrusionOk="0">
                  <a:moveTo>
                    <a:pt x="415" y="0"/>
                  </a:moveTo>
                  <a:cubicBezTo>
                    <a:pt x="409" y="0"/>
                    <a:pt x="402" y="0"/>
                    <a:pt x="396" y="0"/>
                  </a:cubicBezTo>
                  <a:cubicBezTo>
                    <a:pt x="391" y="0"/>
                    <a:pt x="386" y="0"/>
                    <a:pt x="380" y="0"/>
                  </a:cubicBezTo>
                  <a:cubicBezTo>
                    <a:pt x="281" y="0"/>
                    <a:pt x="185" y="31"/>
                    <a:pt x="102" y="88"/>
                  </a:cubicBezTo>
                  <a:cubicBezTo>
                    <a:pt x="36" y="133"/>
                    <a:pt x="1" y="190"/>
                    <a:pt x="8" y="235"/>
                  </a:cubicBezTo>
                  <a:cubicBezTo>
                    <a:pt x="11" y="277"/>
                    <a:pt x="57" y="312"/>
                    <a:pt x="134" y="344"/>
                  </a:cubicBezTo>
                  <a:cubicBezTo>
                    <a:pt x="191" y="365"/>
                    <a:pt x="253" y="374"/>
                    <a:pt x="314" y="374"/>
                  </a:cubicBezTo>
                  <a:cubicBezTo>
                    <a:pt x="504" y="374"/>
                    <a:pt x="688" y="286"/>
                    <a:pt x="725" y="197"/>
                  </a:cubicBezTo>
                  <a:cubicBezTo>
                    <a:pt x="753" y="133"/>
                    <a:pt x="680" y="84"/>
                    <a:pt x="613" y="49"/>
                  </a:cubicBezTo>
                  <a:cubicBezTo>
                    <a:pt x="552" y="17"/>
                    <a:pt x="483" y="0"/>
                    <a:pt x="41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5" name="Google Shape;6672;p64">
              <a:extLst>
                <a:ext uri="{FF2B5EF4-FFF2-40B4-BE49-F238E27FC236}">
                  <a16:creationId xmlns:a16="http://schemas.microsoft.com/office/drawing/2014/main" id="{80E992CF-9C42-4EAF-6C6D-7BD38B70586D}"/>
                </a:ext>
              </a:extLst>
            </p:cNvPr>
            <p:cNvSpPr/>
            <p:nvPr/>
          </p:nvSpPr>
          <p:spPr>
            <a:xfrm>
              <a:off x="1325409" y="1232744"/>
              <a:ext cx="83529" cy="54948"/>
            </a:xfrm>
            <a:custGeom>
              <a:avLst/>
              <a:gdLst/>
              <a:ahLst/>
              <a:cxnLst/>
              <a:rect l="l" t="t" r="r" b="b"/>
              <a:pathLst>
                <a:path w="6152" h="4047" extrusionOk="0">
                  <a:moveTo>
                    <a:pt x="1533" y="1"/>
                  </a:moveTo>
                  <a:cubicBezTo>
                    <a:pt x="1488" y="1"/>
                    <a:pt x="1454" y="5"/>
                    <a:pt x="1433" y="8"/>
                  </a:cubicBezTo>
                  <a:cubicBezTo>
                    <a:pt x="1384" y="15"/>
                    <a:pt x="1342" y="29"/>
                    <a:pt x="1300" y="53"/>
                  </a:cubicBezTo>
                  <a:cubicBezTo>
                    <a:pt x="1314" y="57"/>
                    <a:pt x="1331" y="64"/>
                    <a:pt x="1345" y="64"/>
                  </a:cubicBezTo>
                  <a:cubicBezTo>
                    <a:pt x="1573" y="109"/>
                    <a:pt x="1702" y="197"/>
                    <a:pt x="1688" y="305"/>
                  </a:cubicBezTo>
                  <a:cubicBezTo>
                    <a:pt x="1679" y="371"/>
                    <a:pt x="1609" y="438"/>
                    <a:pt x="1445" y="438"/>
                  </a:cubicBezTo>
                  <a:cubicBezTo>
                    <a:pt x="1424" y="438"/>
                    <a:pt x="1401" y="437"/>
                    <a:pt x="1377" y="435"/>
                  </a:cubicBezTo>
                  <a:cubicBezTo>
                    <a:pt x="1325" y="431"/>
                    <a:pt x="1273" y="429"/>
                    <a:pt x="1223" y="429"/>
                  </a:cubicBezTo>
                  <a:cubicBezTo>
                    <a:pt x="1086" y="429"/>
                    <a:pt x="962" y="442"/>
                    <a:pt x="901" y="463"/>
                  </a:cubicBezTo>
                  <a:cubicBezTo>
                    <a:pt x="946" y="487"/>
                    <a:pt x="995" y="512"/>
                    <a:pt x="1041" y="529"/>
                  </a:cubicBezTo>
                  <a:cubicBezTo>
                    <a:pt x="1174" y="578"/>
                    <a:pt x="1303" y="641"/>
                    <a:pt x="1286" y="746"/>
                  </a:cubicBezTo>
                  <a:cubicBezTo>
                    <a:pt x="1261" y="894"/>
                    <a:pt x="876" y="922"/>
                    <a:pt x="558" y="922"/>
                  </a:cubicBezTo>
                  <a:cubicBezTo>
                    <a:pt x="390" y="922"/>
                    <a:pt x="323" y="1020"/>
                    <a:pt x="320" y="1104"/>
                  </a:cubicBezTo>
                  <a:cubicBezTo>
                    <a:pt x="309" y="1223"/>
                    <a:pt x="414" y="1366"/>
                    <a:pt x="663" y="1398"/>
                  </a:cubicBezTo>
                  <a:cubicBezTo>
                    <a:pt x="838" y="1422"/>
                    <a:pt x="943" y="1475"/>
                    <a:pt x="971" y="1555"/>
                  </a:cubicBezTo>
                  <a:cubicBezTo>
                    <a:pt x="988" y="1608"/>
                    <a:pt x="974" y="1664"/>
                    <a:pt x="932" y="1699"/>
                  </a:cubicBezTo>
                  <a:cubicBezTo>
                    <a:pt x="868" y="1770"/>
                    <a:pt x="727" y="1823"/>
                    <a:pt x="561" y="1823"/>
                  </a:cubicBezTo>
                  <a:cubicBezTo>
                    <a:pt x="492" y="1823"/>
                    <a:pt x="418" y="1814"/>
                    <a:pt x="344" y="1793"/>
                  </a:cubicBezTo>
                  <a:cubicBezTo>
                    <a:pt x="256" y="1769"/>
                    <a:pt x="187" y="1760"/>
                    <a:pt x="135" y="1760"/>
                  </a:cubicBezTo>
                  <a:cubicBezTo>
                    <a:pt x="54" y="1760"/>
                    <a:pt x="14" y="1782"/>
                    <a:pt x="8" y="1797"/>
                  </a:cubicBezTo>
                  <a:cubicBezTo>
                    <a:pt x="1" y="1818"/>
                    <a:pt x="36" y="1884"/>
                    <a:pt x="197" y="1965"/>
                  </a:cubicBezTo>
                  <a:cubicBezTo>
                    <a:pt x="334" y="2028"/>
                    <a:pt x="439" y="2143"/>
                    <a:pt x="481" y="2287"/>
                  </a:cubicBezTo>
                  <a:cubicBezTo>
                    <a:pt x="519" y="2385"/>
                    <a:pt x="554" y="2472"/>
                    <a:pt x="729" y="2546"/>
                  </a:cubicBezTo>
                  <a:cubicBezTo>
                    <a:pt x="795" y="2575"/>
                    <a:pt x="890" y="2586"/>
                    <a:pt x="999" y="2586"/>
                  </a:cubicBezTo>
                  <a:cubicBezTo>
                    <a:pt x="1163" y="2586"/>
                    <a:pt x="1359" y="2562"/>
                    <a:pt x="1541" y="2539"/>
                  </a:cubicBezTo>
                  <a:cubicBezTo>
                    <a:pt x="1728" y="2514"/>
                    <a:pt x="1897" y="2492"/>
                    <a:pt x="2034" y="2492"/>
                  </a:cubicBezTo>
                  <a:cubicBezTo>
                    <a:pt x="2205" y="2492"/>
                    <a:pt x="2325" y="2526"/>
                    <a:pt x="2364" y="2633"/>
                  </a:cubicBezTo>
                  <a:cubicBezTo>
                    <a:pt x="2382" y="2672"/>
                    <a:pt x="2378" y="2717"/>
                    <a:pt x="2357" y="2756"/>
                  </a:cubicBezTo>
                  <a:cubicBezTo>
                    <a:pt x="2291" y="2875"/>
                    <a:pt x="2066" y="2931"/>
                    <a:pt x="1737" y="3001"/>
                  </a:cubicBezTo>
                  <a:cubicBezTo>
                    <a:pt x="1622" y="3022"/>
                    <a:pt x="1510" y="3050"/>
                    <a:pt x="1401" y="3089"/>
                  </a:cubicBezTo>
                  <a:cubicBezTo>
                    <a:pt x="1503" y="3162"/>
                    <a:pt x="1608" y="3225"/>
                    <a:pt x="1716" y="3281"/>
                  </a:cubicBezTo>
                  <a:cubicBezTo>
                    <a:pt x="1989" y="3432"/>
                    <a:pt x="2154" y="3530"/>
                    <a:pt x="2182" y="3638"/>
                  </a:cubicBezTo>
                  <a:cubicBezTo>
                    <a:pt x="2186" y="3663"/>
                    <a:pt x="2186" y="3691"/>
                    <a:pt x="2175" y="3715"/>
                  </a:cubicBezTo>
                  <a:cubicBezTo>
                    <a:pt x="2252" y="3803"/>
                    <a:pt x="2770" y="4002"/>
                    <a:pt x="3131" y="4041"/>
                  </a:cubicBezTo>
                  <a:cubicBezTo>
                    <a:pt x="3169" y="4045"/>
                    <a:pt x="3200" y="4046"/>
                    <a:pt x="3226" y="4046"/>
                  </a:cubicBezTo>
                  <a:cubicBezTo>
                    <a:pt x="3319" y="4046"/>
                    <a:pt x="3341" y="4027"/>
                    <a:pt x="3341" y="4027"/>
                  </a:cubicBezTo>
                  <a:cubicBezTo>
                    <a:pt x="3416" y="3905"/>
                    <a:pt x="3548" y="3864"/>
                    <a:pt x="3694" y="3864"/>
                  </a:cubicBezTo>
                  <a:cubicBezTo>
                    <a:pt x="3868" y="3864"/>
                    <a:pt x="4060" y="3923"/>
                    <a:pt x="4195" y="3974"/>
                  </a:cubicBezTo>
                  <a:cubicBezTo>
                    <a:pt x="4206" y="3978"/>
                    <a:pt x="4217" y="3981"/>
                    <a:pt x="4227" y="3981"/>
                  </a:cubicBezTo>
                  <a:cubicBezTo>
                    <a:pt x="4311" y="3981"/>
                    <a:pt x="4368" y="3847"/>
                    <a:pt x="4440" y="3663"/>
                  </a:cubicBezTo>
                  <a:cubicBezTo>
                    <a:pt x="4500" y="3512"/>
                    <a:pt x="4549" y="3383"/>
                    <a:pt x="4643" y="3355"/>
                  </a:cubicBezTo>
                  <a:cubicBezTo>
                    <a:pt x="4655" y="3352"/>
                    <a:pt x="4668" y="3350"/>
                    <a:pt x="4680" y="3350"/>
                  </a:cubicBezTo>
                  <a:cubicBezTo>
                    <a:pt x="4711" y="3350"/>
                    <a:pt x="4741" y="3359"/>
                    <a:pt x="4766" y="3379"/>
                  </a:cubicBezTo>
                  <a:cubicBezTo>
                    <a:pt x="4776" y="3390"/>
                    <a:pt x="4794" y="3393"/>
                    <a:pt x="4811" y="3393"/>
                  </a:cubicBezTo>
                  <a:cubicBezTo>
                    <a:pt x="4832" y="3390"/>
                    <a:pt x="4871" y="3327"/>
                    <a:pt x="4902" y="3271"/>
                  </a:cubicBezTo>
                  <a:cubicBezTo>
                    <a:pt x="4969" y="3152"/>
                    <a:pt x="5063" y="2991"/>
                    <a:pt x="5263" y="2910"/>
                  </a:cubicBezTo>
                  <a:cubicBezTo>
                    <a:pt x="5420" y="2854"/>
                    <a:pt x="5581" y="2812"/>
                    <a:pt x="5746" y="2780"/>
                  </a:cubicBezTo>
                  <a:cubicBezTo>
                    <a:pt x="5910" y="2749"/>
                    <a:pt x="6134" y="2703"/>
                    <a:pt x="6145" y="2644"/>
                  </a:cubicBezTo>
                  <a:cubicBezTo>
                    <a:pt x="6152" y="2612"/>
                    <a:pt x="6141" y="2577"/>
                    <a:pt x="6117" y="2556"/>
                  </a:cubicBezTo>
                  <a:cubicBezTo>
                    <a:pt x="6091" y="2527"/>
                    <a:pt x="6013" y="2468"/>
                    <a:pt x="5814" y="2468"/>
                  </a:cubicBezTo>
                  <a:cubicBezTo>
                    <a:pt x="5775" y="2468"/>
                    <a:pt x="5732" y="2471"/>
                    <a:pt x="5683" y="2476"/>
                  </a:cubicBezTo>
                  <a:cubicBezTo>
                    <a:pt x="5630" y="2482"/>
                    <a:pt x="5579" y="2485"/>
                    <a:pt x="5530" y="2485"/>
                  </a:cubicBezTo>
                  <a:cubicBezTo>
                    <a:pt x="5294" y="2485"/>
                    <a:pt x="5109" y="2416"/>
                    <a:pt x="5042" y="2297"/>
                  </a:cubicBezTo>
                  <a:cubicBezTo>
                    <a:pt x="5014" y="2245"/>
                    <a:pt x="4986" y="2143"/>
                    <a:pt x="5091" y="2007"/>
                  </a:cubicBezTo>
                  <a:cubicBezTo>
                    <a:pt x="5105" y="1996"/>
                    <a:pt x="5112" y="1975"/>
                    <a:pt x="5112" y="1958"/>
                  </a:cubicBezTo>
                  <a:cubicBezTo>
                    <a:pt x="5105" y="1919"/>
                    <a:pt x="5028" y="1867"/>
                    <a:pt x="4965" y="1828"/>
                  </a:cubicBezTo>
                  <a:cubicBezTo>
                    <a:pt x="4874" y="1769"/>
                    <a:pt x="4787" y="1716"/>
                    <a:pt x="4783" y="1629"/>
                  </a:cubicBezTo>
                  <a:cubicBezTo>
                    <a:pt x="4783" y="1569"/>
                    <a:pt x="4811" y="1517"/>
                    <a:pt x="4860" y="1485"/>
                  </a:cubicBezTo>
                  <a:cubicBezTo>
                    <a:pt x="4892" y="1461"/>
                    <a:pt x="4885" y="1450"/>
                    <a:pt x="4881" y="1443"/>
                  </a:cubicBezTo>
                  <a:cubicBezTo>
                    <a:pt x="4856" y="1399"/>
                    <a:pt x="4743" y="1357"/>
                    <a:pt x="4658" y="1357"/>
                  </a:cubicBezTo>
                  <a:cubicBezTo>
                    <a:pt x="4635" y="1357"/>
                    <a:pt x="4614" y="1360"/>
                    <a:pt x="4598" y="1366"/>
                  </a:cubicBezTo>
                  <a:cubicBezTo>
                    <a:pt x="4580" y="1373"/>
                    <a:pt x="4566" y="1384"/>
                    <a:pt x="4577" y="1422"/>
                  </a:cubicBezTo>
                  <a:cubicBezTo>
                    <a:pt x="4608" y="1548"/>
                    <a:pt x="4552" y="1611"/>
                    <a:pt x="4489" y="1625"/>
                  </a:cubicBezTo>
                  <a:cubicBezTo>
                    <a:pt x="4476" y="1629"/>
                    <a:pt x="4462" y="1630"/>
                    <a:pt x="4448" y="1630"/>
                  </a:cubicBezTo>
                  <a:cubicBezTo>
                    <a:pt x="4282" y="1630"/>
                    <a:pt x="3997" y="1424"/>
                    <a:pt x="3939" y="1216"/>
                  </a:cubicBezTo>
                  <a:cubicBezTo>
                    <a:pt x="3915" y="1125"/>
                    <a:pt x="3677" y="1034"/>
                    <a:pt x="3421" y="936"/>
                  </a:cubicBezTo>
                  <a:cubicBezTo>
                    <a:pt x="3057" y="796"/>
                    <a:pt x="2602" y="624"/>
                    <a:pt x="2238" y="298"/>
                  </a:cubicBezTo>
                  <a:cubicBezTo>
                    <a:pt x="1951" y="44"/>
                    <a:pt x="1683" y="1"/>
                    <a:pt x="15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6" name="Google Shape;6673;p64">
              <a:extLst>
                <a:ext uri="{FF2B5EF4-FFF2-40B4-BE49-F238E27FC236}">
                  <a16:creationId xmlns:a16="http://schemas.microsoft.com/office/drawing/2014/main" id="{779472AD-2A15-8420-6C6E-417EA2AE4AF3}"/>
                </a:ext>
              </a:extLst>
            </p:cNvPr>
            <p:cNvSpPr/>
            <p:nvPr/>
          </p:nvSpPr>
          <p:spPr>
            <a:xfrm>
              <a:off x="1360263" y="1200633"/>
              <a:ext cx="230111" cy="117201"/>
            </a:xfrm>
            <a:custGeom>
              <a:avLst/>
              <a:gdLst/>
              <a:ahLst/>
              <a:cxnLst/>
              <a:rect l="l" t="t" r="r" b="b"/>
              <a:pathLst>
                <a:path w="16948" h="8632" extrusionOk="0">
                  <a:moveTo>
                    <a:pt x="10770" y="0"/>
                  </a:moveTo>
                  <a:cubicBezTo>
                    <a:pt x="10609" y="0"/>
                    <a:pt x="10441" y="49"/>
                    <a:pt x="10342" y="118"/>
                  </a:cubicBezTo>
                  <a:cubicBezTo>
                    <a:pt x="10324" y="129"/>
                    <a:pt x="10261" y="178"/>
                    <a:pt x="10279" y="213"/>
                  </a:cubicBezTo>
                  <a:cubicBezTo>
                    <a:pt x="10338" y="349"/>
                    <a:pt x="10289" y="412"/>
                    <a:pt x="10258" y="437"/>
                  </a:cubicBezTo>
                  <a:cubicBezTo>
                    <a:pt x="10232" y="456"/>
                    <a:pt x="10200" y="465"/>
                    <a:pt x="10165" y="465"/>
                  </a:cubicBezTo>
                  <a:cubicBezTo>
                    <a:pt x="10048" y="465"/>
                    <a:pt x="9890" y="370"/>
                    <a:pt x="9764" y="265"/>
                  </a:cubicBezTo>
                  <a:cubicBezTo>
                    <a:pt x="9683" y="197"/>
                    <a:pt x="9574" y="175"/>
                    <a:pt x="9448" y="175"/>
                  </a:cubicBezTo>
                  <a:cubicBezTo>
                    <a:pt x="9339" y="175"/>
                    <a:pt x="9218" y="192"/>
                    <a:pt x="9088" y="209"/>
                  </a:cubicBezTo>
                  <a:cubicBezTo>
                    <a:pt x="8943" y="226"/>
                    <a:pt x="8796" y="244"/>
                    <a:pt x="8647" y="244"/>
                  </a:cubicBezTo>
                  <a:cubicBezTo>
                    <a:pt x="8577" y="244"/>
                    <a:pt x="8507" y="240"/>
                    <a:pt x="8437" y="230"/>
                  </a:cubicBezTo>
                  <a:cubicBezTo>
                    <a:pt x="8404" y="226"/>
                    <a:pt x="8375" y="224"/>
                    <a:pt x="8349" y="224"/>
                  </a:cubicBezTo>
                  <a:cubicBezTo>
                    <a:pt x="8217" y="224"/>
                    <a:pt x="8164" y="278"/>
                    <a:pt x="8108" y="342"/>
                  </a:cubicBezTo>
                  <a:cubicBezTo>
                    <a:pt x="8038" y="414"/>
                    <a:pt x="7970" y="471"/>
                    <a:pt x="7853" y="471"/>
                  </a:cubicBezTo>
                  <a:cubicBezTo>
                    <a:pt x="7781" y="471"/>
                    <a:pt x="7692" y="450"/>
                    <a:pt x="7572" y="398"/>
                  </a:cubicBezTo>
                  <a:cubicBezTo>
                    <a:pt x="7362" y="305"/>
                    <a:pt x="7137" y="258"/>
                    <a:pt x="6911" y="258"/>
                  </a:cubicBezTo>
                  <a:cubicBezTo>
                    <a:pt x="6840" y="258"/>
                    <a:pt x="6768" y="263"/>
                    <a:pt x="6697" y="272"/>
                  </a:cubicBezTo>
                  <a:cubicBezTo>
                    <a:pt x="6725" y="304"/>
                    <a:pt x="6736" y="349"/>
                    <a:pt x="6722" y="388"/>
                  </a:cubicBezTo>
                  <a:cubicBezTo>
                    <a:pt x="6691" y="469"/>
                    <a:pt x="6576" y="519"/>
                    <a:pt x="6445" y="519"/>
                  </a:cubicBezTo>
                  <a:cubicBezTo>
                    <a:pt x="6395" y="519"/>
                    <a:pt x="6342" y="512"/>
                    <a:pt x="6291" y="496"/>
                  </a:cubicBezTo>
                  <a:cubicBezTo>
                    <a:pt x="6245" y="482"/>
                    <a:pt x="6200" y="476"/>
                    <a:pt x="6159" y="476"/>
                  </a:cubicBezTo>
                  <a:cubicBezTo>
                    <a:pt x="6098" y="476"/>
                    <a:pt x="6047" y="491"/>
                    <a:pt x="6022" y="521"/>
                  </a:cubicBezTo>
                  <a:cubicBezTo>
                    <a:pt x="5987" y="563"/>
                    <a:pt x="6008" y="626"/>
                    <a:pt x="6029" y="671"/>
                  </a:cubicBezTo>
                  <a:cubicBezTo>
                    <a:pt x="6053" y="710"/>
                    <a:pt x="6053" y="755"/>
                    <a:pt x="6029" y="794"/>
                  </a:cubicBezTo>
                  <a:cubicBezTo>
                    <a:pt x="5993" y="849"/>
                    <a:pt x="5916" y="865"/>
                    <a:pt x="5791" y="865"/>
                  </a:cubicBezTo>
                  <a:cubicBezTo>
                    <a:pt x="5734" y="865"/>
                    <a:pt x="5666" y="861"/>
                    <a:pt x="5587" y="857"/>
                  </a:cubicBezTo>
                  <a:cubicBezTo>
                    <a:pt x="5515" y="852"/>
                    <a:pt x="5424" y="845"/>
                    <a:pt x="5344" y="845"/>
                  </a:cubicBezTo>
                  <a:cubicBezTo>
                    <a:pt x="5253" y="845"/>
                    <a:pt x="5174" y="854"/>
                    <a:pt x="5146" y="881"/>
                  </a:cubicBezTo>
                  <a:cubicBezTo>
                    <a:pt x="5143" y="885"/>
                    <a:pt x="5139" y="888"/>
                    <a:pt x="5139" y="895"/>
                  </a:cubicBezTo>
                  <a:cubicBezTo>
                    <a:pt x="5139" y="1032"/>
                    <a:pt x="5055" y="1158"/>
                    <a:pt x="4929" y="1211"/>
                  </a:cubicBezTo>
                  <a:cubicBezTo>
                    <a:pt x="4869" y="1239"/>
                    <a:pt x="4803" y="1253"/>
                    <a:pt x="4736" y="1253"/>
                  </a:cubicBezTo>
                  <a:cubicBezTo>
                    <a:pt x="4614" y="1253"/>
                    <a:pt x="4487" y="1206"/>
                    <a:pt x="4376" y="1116"/>
                  </a:cubicBezTo>
                  <a:cubicBezTo>
                    <a:pt x="4206" y="972"/>
                    <a:pt x="3822" y="904"/>
                    <a:pt x="3614" y="904"/>
                  </a:cubicBezTo>
                  <a:cubicBezTo>
                    <a:pt x="3569" y="904"/>
                    <a:pt x="3533" y="907"/>
                    <a:pt x="3508" y="913"/>
                  </a:cubicBezTo>
                  <a:lnTo>
                    <a:pt x="3515" y="916"/>
                  </a:lnTo>
                  <a:cubicBezTo>
                    <a:pt x="3571" y="962"/>
                    <a:pt x="3592" y="1007"/>
                    <a:pt x="3578" y="1056"/>
                  </a:cubicBezTo>
                  <a:cubicBezTo>
                    <a:pt x="3550" y="1148"/>
                    <a:pt x="3406" y="1165"/>
                    <a:pt x="3207" y="1190"/>
                  </a:cubicBezTo>
                  <a:cubicBezTo>
                    <a:pt x="3130" y="1197"/>
                    <a:pt x="3053" y="1211"/>
                    <a:pt x="2976" y="1228"/>
                  </a:cubicBezTo>
                  <a:lnTo>
                    <a:pt x="2979" y="1232"/>
                  </a:lnTo>
                  <a:cubicBezTo>
                    <a:pt x="3102" y="1323"/>
                    <a:pt x="3088" y="1414"/>
                    <a:pt x="3067" y="1463"/>
                  </a:cubicBezTo>
                  <a:cubicBezTo>
                    <a:pt x="3009" y="1587"/>
                    <a:pt x="2790" y="1656"/>
                    <a:pt x="2658" y="1656"/>
                  </a:cubicBezTo>
                  <a:cubicBezTo>
                    <a:pt x="2638" y="1656"/>
                    <a:pt x="2620" y="1655"/>
                    <a:pt x="2605" y="1652"/>
                  </a:cubicBezTo>
                  <a:cubicBezTo>
                    <a:pt x="2556" y="1645"/>
                    <a:pt x="2517" y="1606"/>
                    <a:pt x="2510" y="1557"/>
                  </a:cubicBezTo>
                  <a:cubicBezTo>
                    <a:pt x="2493" y="1526"/>
                    <a:pt x="2374" y="1456"/>
                    <a:pt x="2199" y="1421"/>
                  </a:cubicBezTo>
                  <a:cubicBezTo>
                    <a:pt x="2136" y="1408"/>
                    <a:pt x="2078" y="1402"/>
                    <a:pt x="2024" y="1402"/>
                  </a:cubicBezTo>
                  <a:cubicBezTo>
                    <a:pt x="1916" y="1402"/>
                    <a:pt x="1828" y="1427"/>
                    <a:pt x="1772" y="1477"/>
                  </a:cubicBezTo>
                  <a:cubicBezTo>
                    <a:pt x="1698" y="1547"/>
                    <a:pt x="1631" y="1620"/>
                    <a:pt x="1572" y="1704"/>
                  </a:cubicBezTo>
                  <a:cubicBezTo>
                    <a:pt x="1498" y="1802"/>
                    <a:pt x="1442" y="1872"/>
                    <a:pt x="1362" y="1876"/>
                  </a:cubicBezTo>
                  <a:cubicBezTo>
                    <a:pt x="1313" y="1872"/>
                    <a:pt x="1267" y="1848"/>
                    <a:pt x="1239" y="1809"/>
                  </a:cubicBezTo>
                  <a:cubicBezTo>
                    <a:pt x="1208" y="1771"/>
                    <a:pt x="1117" y="1749"/>
                    <a:pt x="982" y="1749"/>
                  </a:cubicBezTo>
                  <a:cubicBezTo>
                    <a:pt x="781" y="1749"/>
                    <a:pt x="484" y="1799"/>
                    <a:pt x="151" y="1925"/>
                  </a:cubicBezTo>
                  <a:cubicBezTo>
                    <a:pt x="95" y="1942"/>
                    <a:pt x="46" y="1970"/>
                    <a:pt x="0" y="2005"/>
                  </a:cubicBezTo>
                  <a:cubicBezTo>
                    <a:pt x="25" y="2021"/>
                    <a:pt x="80" y="2031"/>
                    <a:pt x="150" y="2031"/>
                  </a:cubicBezTo>
                  <a:cubicBezTo>
                    <a:pt x="254" y="2031"/>
                    <a:pt x="389" y="2007"/>
                    <a:pt x="501" y="1935"/>
                  </a:cubicBezTo>
                  <a:cubicBezTo>
                    <a:pt x="637" y="1847"/>
                    <a:pt x="766" y="1813"/>
                    <a:pt x="861" y="1813"/>
                  </a:cubicBezTo>
                  <a:cubicBezTo>
                    <a:pt x="910" y="1813"/>
                    <a:pt x="950" y="1822"/>
                    <a:pt x="977" y="1837"/>
                  </a:cubicBezTo>
                  <a:cubicBezTo>
                    <a:pt x="1019" y="1858"/>
                    <a:pt x="1043" y="1900"/>
                    <a:pt x="1043" y="1942"/>
                  </a:cubicBezTo>
                  <a:cubicBezTo>
                    <a:pt x="1043" y="2009"/>
                    <a:pt x="987" y="2068"/>
                    <a:pt x="882" y="2117"/>
                  </a:cubicBezTo>
                  <a:cubicBezTo>
                    <a:pt x="837" y="2138"/>
                    <a:pt x="798" y="2163"/>
                    <a:pt x="763" y="2194"/>
                  </a:cubicBezTo>
                  <a:cubicBezTo>
                    <a:pt x="788" y="2202"/>
                    <a:pt x="843" y="2215"/>
                    <a:pt x="958" y="2215"/>
                  </a:cubicBezTo>
                  <a:cubicBezTo>
                    <a:pt x="990" y="2215"/>
                    <a:pt x="1026" y="2214"/>
                    <a:pt x="1068" y="2212"/>
                  </a:cubicBezTo>
                  <a:cubicBezTo>
                    <a:pt x="1098" y="2210"/>
                    <a:pt x="1125" y="2209"/>
                    <a:pt x="1148" y="2209"/>
                  </a:cubicBezTo>
                  <a:cubicBezTo>
                    <a:pt x="1220" y="2209"/>
                    <a:pt x="1266" y="2221"/>
                    <a:pt x="1281" y="2268"/>
                  </a:cubicBezTo>
                  <a:cubicBezTo>
                    <a:pt x="1302" y="2331"/>
                    <a:pt x="1250" y="2366"/>
                    <a:pt x="1176" y="2415"/>
                  </a:cubicBezTo>
                  <a:cubicBezTo>
                    <a:pt x="1099" y="2467"/>
                    <a:pt x="966" y="2558"/>
                    <a:pt x="966" y="2642"/>
                  </a:cubicBezTo>
                  <a:cubicBezTo>
                    <a:pt x="966" y="2698"/>
                    <a:pt x="1015" y="2719"/>
                    <a:pt x="1162" y="2747"/>
                  </a:cubicBezTo>
                  <a:cubicBezTo>
                    <a:pt x="1288" y="2772"/>
                    <a:pt x="1460" y="2807"/>
                    <a:pt x="1477" y="2975"/>
                  </a:cubicBezTo>
                  <a:cubicBezTo>
                    <a:pt x="1477" y="2992"/>
                    <a:pt x="1509" y="3031"/>
                    <a:pt x="1607" y="3066"/>
                  </a:cubicBezTo>
                  <a:cubicBezTo>
                    <a:pt x="1735" y="3115"/>
                    <a:pt x="1927" y="3144"/>
                    <a:pt x="2121" y="3144"/>
                  </a:cubicBezTo>
                  <a:cubicBezTo>
                    <a:pt x="2372" y="3144"/>
                    <a:pt x="2627" y="3095"/>
                    <a:pt x="2752" y="2978"/>
                  </a:cubicBezTo>
                  <a:cubicBezTo>
                    <a:pt x="2824" y="2912"/>
                    <a:pt x="2898" y="2854"/>
                    <a:pt x="2965" y="2854"/>
                  </a:cubicBezTo>
                  <a:cubicBezTo>
                    <a:pt x="2982" y="2854"/>
                    <a:pt x="2998" y="2858"/>
                    <a:pt x="3014" y="2866"/>
                  </a:cubicBezTo>
                  <a:cubicBezTo>
                    <a:pt x="3098" y="2912"/>
                    <a:pt x="3074" y="3045"/>
                    <a:pt x="3046" y="3196"/>
                  </a:cubicBezTo>
                  <a:cubicBezTo>
                    <a:pt x="3039" y="3231"/>
                    <a:pt x="3035" y="3262"/>
                    <a:pt x="3032" y="3294"/>
                  </a:cubicBezTo>
                  <a:cubicBezTo>
                    <a:pt x="3096" y="3370"/>
                    <a:pt x="3600" y="3470"/>
                    <a:pt x="4019" y="3470"/>
                  </a:cubicBezTo>
                  <a:cubicBezTo>
                    <a:pt x="4100" y="3470"/>
                    <a:pt x="4179" y="3467"/>
                    <a:pt x="4250" y="3458"/>
                  </a:cubicBezTo>
                  <a:cubicBezTo>
                    <a:pt x="4432" y="3437"/>
                    <a:pt x="4453" y="3399"/>
                    <a:pt x="4453" y="3399"/>
                  </a:cubicBezTo>
                  <a:cubicBezTo>
                    <a:pt x="4499" y="3244"/>
                    <a:pt x="4596" y="3197"/>
                    <a:pt x="4715" y="3197"/>
                  </a:cubicBezTo>
                  <a:cubicBezTo>
                    <a:pt x="4805" y="3197"/>
                    <a:pt x="4908" y="3224"/>
                    <a:pt x="5010" y="3252"/>
                  </a:cubicBezTo>
                  <a:cubicBezTo>
                    <a:pt x="5041" y="3262"/>
                    <a:pt x="5076" y="3269"/>
                    <a:pt x="5115" y="3280"/>
                  </a:cubicBezTo>
                  <a:cubicBezTo>
                    <a:pt x="5138" y="3285"/>
                    <a:pt x="5170" y="3288"/>
                    <a:pt x="5209" y="3288"/>
                  </a:cubicBezTo>
                  <a:cubicBezTo>
                    <a:pt x="5542" y="3288"/>
                    <a:pt x="6400" y="3086"/>
                    <a:pt x="6697" y="2873"/>
                  </a:cubicBezTo>
                  <a:cubicBezTo>
                    <a:pt x="6771" y="2821"/>
                    <a:pt x="6778" y="2786"/>
                    <a:pt x="6778" y="2779"/>
                  </a:cubicBezTo>
                  <a:cubicBezTo>
                    <a:pt x="6788" y="2653"/>
                    <a:pt x="6862" y="2628"/>
                    <a:pt x="6893" y="2625"/>
                  </a:cubicBezTo>
                  <a:cubicBezTo>
                    <a:pt x="6899" y="2624"/>
                    <a:pt x="6904" y="2624"/>
                    <a:pt x="6910" y="2624"/>
                  </a:cubicBezTo>
                  <a:cubicBezTo>
                    <a:pt x="6985" y="2624"/>
                    <a:pt x="7057" y="2688"/>
                    <a:pt x="7096" y="2786"/>
                  </a:cubicBezTo>
                  <a:cubicBezTo>
                    <a:pt x="7152" y="2926"/>
                    <a:pt x="7124" y="3136"/>
                    <a:pt x="6883" y="3301"/>
                  </a:cubicBezTo>
                  <a:cubicBezTo>
                    <a:pt x="6568" y="3514"/>
                    <a:pt x="6074" y="3567"/>
                    <a:pt x="5636" y="3612"/>
                  </a:cubicBezTo>
                  <a:cubicBezTo>
                    <a:pt x="5416" y="3637"/>
                    <a:pt x="5206" y="3654"/>
                    <a:pt x="5069" y="3700"/>
                  </a:cubicBezTo>
                  <a:cubicBezTo>
                    <a:pt x="4999" y="3721"/>
                    <a:pt x="4989" y="3738"/>
                    <a:pt x="4985" y="3738"/>
                  </a:cubicBezTo>
                  <a:cubicBezTo>
                    <a:pt x="4985" y="3798"/>
                    <a:pt x="5244" y="3962"/>
                    <a:pt x="5398" y="4060"/>
                  </a:cubicBezTo>
                  <a:cubicBezTo>
                    <a:pt x="5524" y="4141"/>
                    <a:pt x="5654" y="4225"/>
                    <a:pt x="5769" y="4312"/>
                  </a:cubicBezTo>
                  <a:cubicBezTo>
                    <a:pt x="5868" y="4386"/>
                    <a:pt x="5906" y="4445"/>
                    <a:pt x="5896" y="4501"/>
                  </a:cubicBezTo>
                  <a:cubicBezTo>
                    <a:pt x="5885" y="4543"/>
                    <a:pt x="5854" y="4575"/>
                    <a:pt x="5815" y="4582"/>
                  </a:cubicBezTo>
                  <a:cubicBezTo>
                    <a:pt x="5794" y="4588"/>
                    <a:pt x="5768" y="4591"/>
                    <a:pt x="5737" y="4591"/>
                  </a:cubicBezTo>
                  <a:cubicBezTo>
                    <a:pt x="5499" y="4591"/>
                    <a:pt x="5006" y="4405"/>
                    <a:pt x="4758" y="4141"/>
                  </a:cubicBezTo>
                  <a:cubicBezTo>
                    <a:pt x="4525" y="3893"/>
                    <a:pt x="4054" y="3765"/>
                    <a:pt x="3387" y="3765"/>
                  </a:cubicBezTo>
                  <a:cubicBezTo>
                    <a:pt x="3291" y="3765"/>
                    <a:pt x="3192" y="3768"/>
                    <a:pt x="3088" y="3773"/>
                  </a:cubicBezTo>
                  <a:cubicBezTo>
                    <a:pt x="2871" y="3787"/>
                    <a:pt x="2857" y="4029"/>
                    <a:pt x="2860" y="4102"/>
                  </a:cubicBezTo>
                  <a:cubicBezTo>
                    <a:pt x="2864" y="4298"/>
                    <a:pt x="2969" y="4515"/>
                    <a:pt x="3109" y="4515"/>
                  </a:cubicBezTo>
                  <a:cubicBezTo>
                    <a:pt x="3550" y="4515"/>
                    <a:pt x="3883" y="4729"/>
                    <a:pt x="4184" y="5201"/>
                  </a:cubicBezTo>
                  <a:cubicBezTo>
                    <a:pt x="4366" y="5485"/>
                    <a:pt x="4663" y="5569"/>
                    <a:pt x="4901" y="5639"/>
                  </a:cubicBezTo>
                  <a:cubicBezTo>
                    <a:pt x="5094" y="5695"/>
                    <a:pt x="5262" y="5741"/>
                    <a:pt x="5262" y="5895"/>
                  </a:cubicBezTo>
                  <a:cubicBezTo>
                    <a:pt x="5262" y="5933"/>
                    <a:pt x="5241" y="5975"/>
                    <a:pt x="5209" y="5996"/>
                  </a:cubicBezTo>
                  <a:cubicBezTo>
                    <a:pt x="5178" y="6019"/>
                    <a:pt x="5135" y="6030"/>
                    <a:pt x="5079" y="6030"/>
                  </a:cubicBezTo>
                  <a:cubicBezTo>
                    <a:pt x="4932" y="6030"/>
                    <a:pt x="4698" y="5958"/>
                    <a:pt x="4359" y="5849"/>
                  </a:cubicBezTo>
                  <a:cubicBezTo>
                    <a:pt x="4145" y="5776"/>
                    <a:pt x="3925" y="5716"/>
                    <a:pt x="3704" y="5667"/>
                  </a:cubicBezTo>
                  <a:cubicBezTo>
                    <a:pt x="3646" y="5657"/>
                    <a:pt x="3584" y="5651"/>
                    <a:pt x="3518" y="5651"/>
                  </a:cubicBezTo>
                  <a:cubicBezTo>
                    <a:pt x="3194" y="5651"/>
                    <a:pt x="2798" y="5775"/>
                    <a:pt x="2559" y="5961"/>
                  </a:cubicBezTo>
                  <a:cubicBezTo>
                    <a:pt x="2479" y="6024"/>
                    <a:pt x="2381" y="6122"/>
                    <a:pt x="2374" y="6238"/>
                  </a:cubicBezTo>
                  <a:cubicBezTo>
                    <a:pt x="2367" y="6297"/>
                    <a:pt x="2398" y="6353"/>
                    <a:pt x="2451" y="6381"/>
                  </a:cubicBezTo>
                  <a:cubicBezTo>
                    <a:pt x="2519" y="6424"/>
                    <a:pt x="2621" y="6444"/>
                    <a:pt x="2740" y="6444"/>
                  </a:cubicBezTo>
                  <a:cubicBezTo>
                    <a:pt x="2993" y="6444"/>
                    <a:pt x="3326" y="6354"/>
                    <a:pt x="3585" y="6199"/>
                  </a:cubicBezTo>
                  <a:cubicBezTo>
                    <a:pt x="3727" y="6116"/>
                    <a:pt x="3812" y="6077"/>
                    <a:pt x="3867" y="6077"/>
                  </a:cubicBezTo>
                  <a:cubicBezTo>
                    <a:pt x="3898" y="6077"/>
                    <a:pt x="3919" y="6089"/>
                    <a:pt x="3935" y="6112"/>
                  </a:cubicBezTo>
                  <a:cubicBezTo>
                    <a:pt x="3963" y="6150"/>
                    <a:pt x="4012" y="6217"/>
                    <a:pt x="3539" y="6644"/>
                  </a:cubicBezTo>
                  <a:cubicBezTo>
                    <a:pt x="3522" y="6665"/>
                    <a:pt x="3511" y="6679"/>
                    <a:pt x="3511" y="6693"/>
                  </a:cubicBezTo>
                  <a:cubicBezTo>
                    <a:pt x="3518" y="6749"/>
                    <a:pt x="3676" y="6843"/>
                    <a:pt x="3792" y="6913"/>
                  </a:cubicBezTo>
                  <a:cubicBezTo>
                    <a:pt x="3988" y="7032"/>
                    <a:pt x="4191" y="7155"/>
                    <a:pt x="4191" y="7323"/>
                  </a:cubicBezTo>
                  <a:cubicBezTo>
                    <a:pt x="4191" y="7453"/>
                    <a:pt x="4100" y="7544"/>
                    <a:pt x="3942" y="7565"/>
                  </a:cubicBezTo>
                  <a:cubicBezTo>
                    <a:pt x="3917" y="7568"/>
                    <a:pt x="3892" y="7569"/>
                    <a:pt x="3866" y="7569"/>
                  </a:cubicBezTo>
                  <a:cubicBezTo>
                    <a:pt x="3644" y="7569"/>
                    <a:pt x="3387" y="7452"/>
                    <a:pt x="3336" y="7270"/>
                  </a:cubicBezTo>
                  <a:cubicBezTo>
                    <a:pt x="3279" y="7062"/>
                    <a:pt x="3106" y="6827"/>
                    <a:pt x="2603" y="6827"/>
                  </a:cubicBezTo>
                  <a:cubicBezTo>
                    <a:pt x="2558" y="6827"/>
                    <a:pt x="2509" y="6829"/>
                    <a:pt x="2458" y="6833"/>
                  </a:cubicBezTo>
                  <a:cubicBezTo>
                    <a:pt x="2241" y="6847"/>
                    <a:pt x="2101" y="6920"/>
                    <a:pt x="2101" y="7015"/>
                  </a:cubicBezTo>
                  <a:cubicBezTo>
                    <a:pt x="2097" y="7109"/>
                    <a:pt x="2213" y="7211"/>
                    <a:pt x="2388" y="7235"/>
                  </a:cubicBezTo>
                  <a:cubicBezTo>
                    <a:pt x="2643" y="7267"/>
                    <a:pt x="2748" y="7390"/>
                    <a:pt x="2745" y="7498"/>
                  </a:cubicBezTo>
                  <a:cubicBezTo>
                    <a:pt x="2738" y="7596"/>
                    <a:pt x="2633" y="7705"/>
                    <a:pt x="2356" y="7705"/>
                  </a:cubicBezTo>
                  <a:cubicBezTo>
                    <a:pt x="1978" y="7705"/>
                    <a:pt x="1320" y="7901"/>
                    <a:pt x="1253" y="8069"/>
                  </a:cubicBezTo>
                  <a:cubicBezTo>
                    <a:pt x="1246" y="8079"/>
                    <a:pt x="1236" y="8104"/>
                    <a:pt x="1285" y="8149"/>
                  </a:cubicBezTo>
                  <a:cubicBezTo>
                    <a:pt x="1400" y="8255"/>
                    <a:pt x="1652" y="8280"/>
                    <a:pt x="1921" y="8280"/>
                  </a:cubicBezTo>
                  <a:cubicBezTo>
                    <a:pt x="2054" y="8280"/>
                    <a:pt x="2191" y="8274"/>
                    <a:pt x="2318" y="8268"/>
                  </a:cubicBezTo>
                  <a:cubicBezTo>
                    <a:pt x="2451" y="8262"/>
                    <a:pt x="2567" y="8258"/>
                    <a:pt x="2668" y="8258"/>
                  </a:cubicBezTo>
                  <a:cubicBezTo>
                    <a:pt x="2869" y="8258"/>
                    <a:pt x="3005" y="8276"/>
                    <a:pt x="3077" y="8342"/>
                  </a:cubicBezTo>
                  <a:cubicBezTo>
                    <a:pt x="3191" y="8441"/>
                    <a:pt x="3426" y="8509"/>
                    <a:pt x="3634" y="8509"/>
                  </a:cubicBezTo>
                  <a:cubicBezTo>
                    <a:pt x="3669" y="8509"/>
                    <a:pt x="3703" y="8507"/>
                    <a:pt x="3735" y="8503"/>
                  </a:cubicBezTo>
                  <a:cubicBezTo>
                    <a:pt x="3841" y="8489"/>
                    <a:pt x="3918" y="8454"/>
                    <a:pt x="3949" y="8405"/>
                  </a:cubicBezTo>
                  <a:cubicBezTo>
                    <a:pt x="4044" y="8261"/>
                    <a:pt x="4236" y="8230"/>
                    <a:pt x="4471" y="8230"/>
                  </a:cubicBezTo>
                  <a:cubicBezTo>
                    <a:pt x="4565" y="8230"/>
                    <a:pt x="4667" y="8237"/>
                    <a:pt x="4772" y="8240"/>
                  </a:cubicBezTo>
                  <a:cubicBezTo>
                    <a:pt x="4887" y="8247"/>
                    <a:pt x="5003" y="8254"/>
                    <a:pt x="5122" y="8254"/>
                  </a:cubicBezTo>
                  <a:cubicBezTo>
                    <a:pt x="5626" y="8254"/>
                    <a:pt x="5759" y="8331"/>
                    <a:pt x="5990" y="8534"/>
                  </a:cubicBezTo>
                  <a:cubicBezTo>
                    <a:pt x="6067" y="8602"/>
                    <a:pt x="6170" y="8632"/>
                    <a:pt x="6281" y="8632"/>
                  </a:cubicBezTo>
                  <a:cubicBezTo>
                    <a:pt x="6450" y="8632"/>
                    <a:pt x="6638" y="8564"/>
                    <a:pt x="6781" y="8461"/>
                  </a:cubicBezTo>
                  <a:cubicBezTo>
                    <a:pt x="7061" y="8258"/>
                    <a:pt x="7072" y="8254"/>
                    <a:pt x="7425" y="8254"/>
                  </a:cubicBezTo>
                  <a:cubicBezTo>
                    <a:pt x="7551" y="8254"/>
                    <a:pt x="7642" y="8219"/>
                    <a:pt x="7674" y="8160"/>
                  </a:cubicBezTo>
                  <a:cubicBezTo>
                    <a:pt x="7709" y="8097"/>
                    <a:pt x="7688" y="7988"/>
                    <a:pt x="7614" y="7869"/>
                  </a:cubicBezTo>
                  <a:cubicBezTo>
                    <a:pt x="7589" y="7829"/>
                    <a:pt x="7554" y="7813"/>
                    <a:pt x="7510" y="7813"/>
                  </a:cubicBezTo>
                  <a:cubicBezTo>
                    <a:pt x="7449" y="7813"/>
                    <a:pt x="7370" y="7844"/>
                    <a:pt x="7275" y="7887"/>
                  </a:cubicBezTo>
                  <a:cubicBezTo>
                    <a:pt x="7200" y="7918"/>
                    <a:pt x="7133" y="7949"/>
                    <a:pt x="7073" y="7949"/>
                  </a:cubicBezTo>
                  <a:cubicBezTo>
                    <a:pt x="7052" y="7949"/>
                    <a:pt x="7032" y="7945"/>
                    <a:pt x="7012" y="7936"/>
                  </a:cubicBezTo>
                  <a:cubicBezTo>
                    <a:pt x="6981" y="7918"/>
                    <a:pt x="6956" y="7887"/>
                    <a:pt x="6949" y="7848"/>
                  </a:cubicBezTo>
                  <a:cubicBezTo>
                    <a:pt x="6915" y="7710"/>
                    <a:pt x="6717" y="7639"/>
                    <a:pt x="6389" y="7639"/>
                  </a:cubicBezTo>
                  <a:cubicBezTo>
                    <a:pt x="6244" y="7639"/>
                    <a:pt x="6074" y="7652"/>
                    <a:pt x="5882" y="7680"/>
                  </a:cubicBezTo>
                  <a:cubicBezTo>
                    <a:pt x="5822" y="7688"/>
                    <a:pt x="5769" y="7692"/>
                    <a:pt x="5723" y="7692"/>
                  </a:cubicBezTo>
                  <a:cubicBezTo>
                    <a:pt x="5536" y="7692"/>
                    <a:pt x="5457" y="7631"/>
                    <a:pt x="5423" y="7572"/>
                  </a:cubicBezTo>
                  <a:cubicBezTo>
                    <a:pt x="5388" y="7502"/>
                    <a:pt x="5398" y="7418"/>
                    <a:pt x="5451" y="7358"/>
                  </a:cubicBezTo>
                  <a:cubicBezTo>
                    <a:pt x="5512" y="7280"/>
                    <a:pt x="5631" y="7215"/>
                    <a:pt x="5776" y="7215"/>
                  </a:cubicBezTo>
                  <a:cubicBezTo>
                    <a:pt x="5821" y="7215"/>
                    <a:pt x="5868" y="7221"/>
                    <a:pt x="5917" y="7235"/>
                  </a:cubicBezTo>
                  <a:cubicBezTo>
                    <a:pt x="6071" y="7281"/>
                    <a:pt x="6255" y="7303"/>
                    <a:pt x="6457" y="7303"/>
                  </a:cubicBezTo>
                  <a:cubicBezTo>
                    <a:pt x="6722" y="7303"/>
                    <a:pt x="7017" y="7264"/>
                    <a:pt x="7310" y="7186"/>
                  </a:cubicBezTo>
                  <a:cubicBezTo>
                    <a:pt x="7450" y="7151"/>
                    <a:pt x="7485" y="7113"/>
                    <a:pt x="7492" y="7092"/>
                  </a:cubicBezTo>
                  <a:cubicBezTo>
                    <a:pt x="7506" y="7057"/>
                    <a:pt x="7471" y="6994"/>
                    <a:pt x="7439" y="6934"/>
                  </a:cubicBezTo>
                  <a:cubicBezTo>
                    <a:pt x="7394" y="6868"/>
                    <a:pt x="7366" y="6794"/>
                    <a:pt x="7359" y="6714"/>
                  </a:cubicBezTo>
                  <a:cubicBezTo>
                    <a:pt x="7359" y="6675"/>
                    <a:pt x="7376" y="6637"/>
                    <a:pt x="7404" y="6609"/>
                  </a:cubicBezTo>
                  <a:cubicBezTo>
                    <a:pt x="7461" y="6556"/>
                    <a:pt x="7561" y="6539"/>
                    <a:pt x="7706" y="6539"/>
                  </a:cubicBezTo>
                  <a:cubicBezTo>
                    <a:pt x="7801" y="6539"/>
                    <a:pt x="7917" y="6547"/>
                    <a:pt x="8052" y="6556"/>
                  </a:cubicBezTo>
                  <a:cubicBezTo>
                    <a:pt x="8182" y="6567"/>
                    <a:pt x="8322" y="6577"/>
                    <a:pt x="8444" y="6577"/>
                  </a:cubicBezTo>
                  <a:cubicBezTo>
                    <a:pt x="8843" y="6577"/>
                    <a:pt x="9449" y="5895"/>
                    <a:pt x="9470" y="5524"/>
                  </a:cubicBezTo>
                  <a:cubicBezTo>
                    <a:pt x="9473" y="5482"/>
                    <a:pt x="9459" y="5443"/>
                    <a:pt x="9431" y="5415"/>
                  </a:cubicBezTo>
                  <a:cubicBezTo>
                    <a:pt x="9313" y="5289"/>
                    <a:pt x="8963" y="5267"/>
                    <a:pt x="8637" y="5267"/>
                  </a:cubicBezTo>
                  <a:cubicBezTo>
                    <a:pt x="8528" y="5267"/>
                    <a:pt x="8422" y="5270"/>
                    <a:pt x="8329" y="5272"/>
                  </a:cubicBezTo>
                  <a:cubicBezTo>
                    <a:pt x="8241" y="5275"/>
                    <a:pt x="8154" y="5279"/>
                    <a:pt x="8080" y="5279"/>
                  </a:cubicBezTo>
                  <a:cubicBezTo>
                    <a:pt x="7965" y="5279"/>
                    <a:pt x="7905" y="5258"/>
                    <a:pt x="7880" y="5212"/>
                  </a:cubicBezTo>
                  <a:cubicBezTo>
                    <a:pt x="7863" y="5184"/>
                    <a:pt x="7866" y="5149"/>
                    <a:pt x="7884" y="5121"/>
                  </a:cubicBezTo>
                  <a:cubicBezTo>
                    <a:pt x="7964" y="4993"/>
                    <a:pt x="8541" y="4826"/>
                    <a:pt x="9155" y="4826"/>
                  </a:cubicBezTo>
                  <a:cubicBezTo>
                    <a:pt x="9210" y="4826"/>
                    <a:pt x="9267" y="4827"/>
                    <a:pt x="9323" y="4830"/>
                  </a:cubicBezTo>
                  <a:cubicBezTo>
                    <a:pt x="9372" y="4833"/>
                    <a:pt x="9419" y="4834"/>
                    <a:pt x="9462" y="4834"/>
                  </a:cubicBezTo>
                  <a:cubicBezTo>
                    <a:pt x="9659" y="4834"/>
                    <a:pt x="9787" y="4807"/>
                    <a:pt x="9844" y="4750"/>
                  </a:cubicBezTo>
                  <a:cubicBezTo>
                    <a:pt x="9886" y="4711"/>
                    <a:pt x="9890" y="4659"/>
                    <a:pt x="9886" y="4575"/>
                  </a:cubicBezTo>
                  <a:cubicBezTo>
                    <a:pt x="9883" y="4494"/>
                    <a:pt x="9879" y="4400"/>
                    <a:pt x="9956" y="4340"/>
                  </a:cubicBezTo>
                  <a:cubicBezTo>
                    <a:pt x="10003" y="4299"/>
                    <a:pt x="10061" y="4284"/>
                    <a:pt x="10126" y="4284"/>
                  </a:cubicBezTo>
                  <a:cubicBezTo>
                    <a:pt x="10213" y="4284"/>
                    <a:pt x="10313" y="4310"/>
                    <a:pt x="10422" y="4340"/>
                  </a:cubicBezTo>
                  <a:cubicBezTo>
                    <a:pt x="10560" y="4376"/>
                    <a:pt x="10712" y="4415"/>
                    <a:pt x="10871" y="4415"/>
                  </a:cubicBezTo>
                  <a:cubicBezTo>
                    <a:pt x="10930" y="4415"/>
                    <a:pt x="10991" y="4410"/>
                    <a:pt x="11052" y="4396"/>
                  </a:cubicBezTo>
                  <a:cubicBezTo>
                    <a:pt x="11259" y="4354"/>
                    <a:pt x="11269" y="4256"/>
                    <a:pt x="11290" y="4144"/>
                  </a:cubicBezTo>
                  <a:cubicBezTo>
                    <a:pt x="11304" y="4046"/>
                    <a:pt x="11325" y="3910"/>
                    <a:pt x="11525" y="3910"/>
                  </a:cubicBezTo>
                  <a:cubicBezTo>
                    <a:pt x="11672" y="3910"/>
                    <a:pt x="12008" y="3717"/>
                    <a:pt x="12516" y="3423"/>
                  </a:cubicBezTo>
                  <a:cubicBezTo>
                    <a:pt x="12719" y="3304"/>
                    <a:pt x="12950" y="3171"/>
                    <a:pt x="13216" y="3020"/>
                  </a:cubicBezTo>
                  <a:cubicBezTo>
                    <a:pt x="13720" y="2740"/>
                    <a:pt x="14165" y="2621"/>
                    <a:pt x="14494" y="2537"/>
                  </a:cubicBezTo>
                  <a:cubicBezTo>
                    <a:pt x="14788" y="2460"/>
                    <a:pt x="14984" y="2408"/>
                    <a:pt x="15001" y="2292"/>
                  </a:cubicBezTo>
                  <a:cubicBezTo>
                    <a:pt x="15005" y="2289"/>
                    <a:pt x="15001" y="2282"/>
                    <a:pt x="14998" y="2278"/>
                  </a:cubicBezTo>
                  <a:cubicBezTo>
                    <a:pt x="14961" y="2239"/>
                    <a:pt x="14842" y="2226"/>
                    <a:pt x="14691" y="2226"/>
                  </a:cubicBezTo>
                  <a:cubicBezTo>
                    <a:pt x="14506" y="2226"/>
                    <a:pt x="14275" y="2245"/>
                    <a:pt x="14094" y="2261"/>
                  </a:cubicBezTo>
                  <a:cubicBezTo>
                    <a:pt x="13892" y="2279"/>
                    <a:pt x="13733" y="2291"/>
                    <a:pt x="13615" y="2291"/>
                  </a:cubicBezTo>
                  <a:cubicBezTo>
                    <a:pt x="13527" y="2291"/>
                    <a:pt x="13462" y="2284"/>
                    <a:pt x="13419" y="2268"/>
                  </a:cubicBezTo>
                  <a:cubicBezTo>
                    <a:pt x="13366" y="2254"/>
                    <a:pt x="13335" y="2201"/>
                    <a:pt x="13349" y="2149"/>
                  </a:cubicBezTo>
                  <a:cubicBezTo>
                    <a:pt x="13400" y="1991"/>
                    <a:pt x="14228" y="1839"/>
                    <a:pt x="14606" y="1839"/>
                  </a:cubicBezTo>
                  <a:cubicBezTo>
                    <a:pt x="14665" y="1839"/>
                    <a:pt x="14713" y="1843"/>
                    <a:pt x="14746" y="1851"/>
                  </a:cubicBezTo>
                  <a:cubicBezTo>
                    <a:pt x="14801" y="1865"/>
                    <a:pt x="14861" y="1874"/>
                    <a:pt x="14930" y="1874"/>
                  </a:cubicBezTo>
                  <a:cubicBezTo>
                    <a:pt x="15190" y="1874"/>
                    <a:pt x="15583" y="1755"/>
                    <a:pt x="16374" y="1368"/>
                  </a:cubicBezTo>
                  <a:cubicBezTo>
                    <a:pt x="16948" y="1088"/>
                    <a:pt x="16941" y="979"/>
                    <a:pt x="16941" y="979"/>
                  </a:cubicBezTo>
                  <a:cubicBezTo>
                    <a:pt x="16931" y="961"/>
                    <a:pt x="16864" y="941"/>
                    <a:pt x="16754" y="941"/>
                  </a:cubicBezTo>
                  <a:cubicBezTo>
                    <a:pt x="16700" y="941"/>
                    <a:pt x="16634" y="946"/>
                    <a:pt x="16559" y="958"/>
                  </a:cubicBezTo>
                  <a:cubicBezTo>
                    <a:pt x="16483" y="972"/>
                    <a:pt x="16407" y="978"/>
                    <a:pt x="16331" y="978"/>
                  </a:cubicBezTo>
                  <a:cubicBezTo>
                    <a:pt x="16089" y="978"/>
                    <a:pt x="15862" y="912"/>
                    <a:pt x="15736" y="797"/>
                  </a:cubicBezTo>
                  <a:cubicBezTo>
                    <a:pt x="15663" y="738"/>
                    <a:pt x="15624" y="643"/>
                    <a:pt x="15631" y="549"/>
                  </a:cubicBezTo>
                  <a:cubicBezTo>
                    <a:pt x="15631" y="524"/>
                    <a:pt x="15628" y="517"/>
                    <a:pt x="15624" y="517"/>
                  </a:cubicBezTo>
                  <a:cubicBezTo>
                    <a:pt x="15605" y="496"/>
                    <a:pt x="15547" y="490"/>
                    <a:pt x="15484" y="490"/>
                  </a:cubicBezTo>
                  <a:cubicBezTo>
                    <a:pt x="15434" y="490"/>
                    <a:pt x="15380" y="493"/>
                    <a:pt x="15337" y="496"/>
                  </a:cubicBezTo>
                  <a:cubicBezTo>
                    <a:pt x="15291" y="499"/>
                    <a:pt x="15246" y="502"/>
                    <a:pt x="15205" y="502"/>
                  </a:cubicBezTo>
                  <a:cubicBezTo>
                    <a:pt x="15101" y="502"/>
                    <a:pt x="15020" y="483"/>
                    <a:pt x="15005" y="398"/>
                  </a:cubicBezTo>
                  <a:cubicBezTo>
                    <a:pt x="14989" y="384"/>
                    <a:pt x="14944" y="376"/>
                    <a:pt x="14875" y="376"/>
                  </a:cubicBezTo>
                  <a:cubicBezTo>
                    <a:pt x="14688" y="376"/>
                    <a:pt x="14323" y="438"/>
                    <a:pt x="13853" y="619"/>
                  </a:cubicBezTo>
                  <a:cubicBezTo>
                    <a:pt x="13717" y="671"/>
                    <a:pt x="13637" y="691"/>
                    <a:pt x="13586" y="691"/>
                  </a:cubicBezTo>
                  <a:cubicBezTo>
                    <a:pt x="13552" y="691"/>
                    <a:pt x="13530" y="682"/>
                    <a:pt x="13513" y="668"/>
                  </a:cubicBezTo>
                  <a:cubicBezTo>
                    <a:pt x="13489" y="647"/>
                    <a:pt x="13478" y="615"/>
                    <a:pt x="13482" y="584"/>
                  </a:cubicBezTo>
                  <a:cubicBezTo>
                    <a:pt x="13499" y="489"/>
                    <a:pt x="13695" y="335"/>
                    <a:pt x="13863" y="237"/>
                  </a:cubicBezTo>
                  <a:cubicBezTo>
                    <a:pt x="13769" y="234"/>
                    <a:pt x="13653" y="230"/>
                    <a:pt x="13545" y="227"/>
                  </a:cubicBezTo>
                  <a:cubicBezTo>
                    <a:pt x="12862" y="209"/>
                    <a:pt x="12281" y="185"/>
                    <a:pt x="12096" y="52"/>
                  </a:cubicBezTo>
                  <a:cubicBezTo>
                    <a:pt x="12057" y="25"/>
                    <a:pt x="12017" y="13"/>
                    <a:pt x="11974" y="13"/>
                  </a:cubicBezTo>
                  <a:cubicBezTo>
                    <a:pt x="11894" y="13"/>
                    <a:pt x="11802" y="54"/>
                    <a:pt x="11686" y="111"/>
                  </a:cubicBezTo>
                  <a:cubicBezTo>
                    <a:pt x="11580" y="163"/>
                    <a:pt x="11465" y="220"/>
                    <a:pt x="11350" y="220"/>
                  </a:cubicBezTo>
                  <a:cubicBezTo>
                    <a:pt x="11270" y="220"/>
                    <a:pt x="11191" y="193"/>
                    <a:pt x="11115" y="118"/>
                  </a:cubicBezTo>
                  <a:cubicBezTo>
                    <a:pt x="11033" y="34"/>
                    <a:pt x="10903" y="0"/>
                    <a:pt x="107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7" name="Google Shape;6674;p64">
              <a:extLst>
                <a:ext uri="{FF2B5EF4-FFF2-40B4-BE49-F238E27FC236}">
                  <a16:creationId xmlns:a16="http://schemas.microsoft.com/office/drawing/2014/main" id="{178012CD-A80E-1C3E-32E3-86AB879CDB9C}"/>
                </a:ext>
              </a:extLst>
            </p:cNvPr>
            <p:cNvSpPr/>
            <p:nvPr/>
          </p:nvSpPr>
          <p:spPr>
            <a:xfrm>
              <a:off x="1448150" y="1504498"/>
              <a:ext cx="5567" cy="6476"/>
            </a:xfrm>
            <a:custGeom>
              <a:avLst/>
              <a:gdLst/>
              <a:ahLst/>
              <a:cxnLst/>
              <a:rect l="l" t="t" r="r" b="b"/>
              <a:pathLst>
                <a:path w="410" h="477" extrusionOk="0">
                  <a:moveTo>
                    <a:pt x="252" y="0"/>
                  </a:moveTo>
                  <a:cubicBezTo>
                    <a:pt x="165" y="0"/>
                    <a:pt x="81" y="49"/>
                    <a:pt x="42" y="130"/>
                  </a:cubicBezTo>
                  <a:cubicBezTo>
                    <a:pt x="0" y="228"/>
                    <a:pt x="7" y="340"/>
                    <a:pt x="67" y="427"/>
                  </a:cubicBezTo>
                  <a:cubicBezTo>
                    <a:pt x="86" y="459"/>
                    <a:pt x="120" y="477"/>
                    <a:pt x="158" y="477"/>
                  </a:cubicBezTo>
                  <a:cubicBezTo>
                    <a:pt x="161" y="477"/>
                    <a:pt x="165" y="477"/>
                    <a:pt x="168" y="476"/>
                  </a:cubicBezTo>
                  <a:cubicBezTo>
                    <a:pt x="235" y="466"/>
                    <a:pt x="410" y="231"/>
                    <a:pt x="396" y="84"/>
                  </a:cubicBezTo>
                  <a:cubicBezTo>
                    <a:pt x="396" y="56"/>
                    <a:pt x="389" y="0"/>
                    <a:pt x="2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8" name="Google Shape;6675;p64">
              <a:extLst>
                <a:ext uri="{FF2B5EF4-FFF2-40B4-BE49-F238E27FC236}">
                  <a16:creationId xmlns:a16="http://schemas.microsoft.com/office/drawing/2014/main" id="{8A388B1E-6D0E-84D1-D846-0BFF8801FF0C}"/>
                </a:ext>
              </a:extLst>
            </p:cNvPr>
            <p:cNvSpPr/>
            <p:nvPr/>
          </p:nvSpPr>
          <p:spPr>
            <a:xfrm>
              <a:off x="1420818" y="1496650"/>
              <a:ext cx="12410" cy="7807"/>
            </a:xfrm>
            <a:custGeom>
              <a:avLst/>
              <a:gdLst/>
              <a:ahLst/>
              <a:cxnLst/>
              <a:rect l="l" t="t" r="r" b="b"/>
              <a:pathLst>
                <a:path w="914" h="575" extrusionOk="0">
                  <a:moveTo>
                    <a:pt x="875" y="0"/>
                  </a:moveTo>
                  <a:cubicBezTo>
                    <a:pt x="697" y="4"/>
                    <a:pt x="165" y="186"/>
                    <a:pt x="39" y="393"/>
                  </a:cubicBezTo>
                  <a:cubicBezTo>
                    <a:pt x="18" y="428"/>
                    <a:pt x="0" y="473"/>
                    <a:pt x="91" y="533"/>
                  </a:cubicBezTo>
                  <a:cubicBezTo>
                    <a:pt x="140" y="563"/>
                    <a:pt x="192" y="575"/>
                    <a:pt x="244" y="575"/>
                  </a:cubicBezTo>
                  <a:cubicBezTo>
                    <a:pt x="373" y="575"/>
                    <a:pt x="500" y="500"/>
                    <a:pt x="578" y="445"/>
                  </a:cubicBezTo>
                  <a:cubicBezTo>
                    <a:pt x="791" y="291"/>
                    <a:pt x="914" y="81"/>
                    <a:pt x="914" y="8"/>
                  </a:cubicBezTo>
                  <a:cubicBezTo>
                    <a:pt x="900" y="0"/>
                    <a:pt x="886" y="0"/>
                    <a:pt x="87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9" name="Google Shape;6676;p64">
              <a:extLst>
                <a:ext uri="{FF2B5EF4-FFF2-40B4-BE49-F238E27FC236}">
                  <a16:creationId xmlns:a16="http://schemas.microsoft.com/office/drawing/2014/main" id="{B9F9AADE-2DDC-CC15-340E-243EE98EC95E}"/>
                </a:ext>
              </a:extLst>
            </p:cNvPr>
            <p:cNvSpPr/>
            <p:nvPr/>
          </p:nvSpPr>
          <p:spPr>
            <a:xfrm>
              <a:off x="1395483" y="1461851"/>
              <a:ext cx="49110" cy="30699"/>
            </a:xfrm>
            <a:custGeom>
              <a:avLst/>
              <a:gdLst/>
              <a:ahLst/>
              <a:cxnLst/>
              <a:rect l="l" t="t" r="r" b="b"/>
              <a:pathLst>
                <a:path w="3617" h="2261" extrusionOk="0">
                  <a:moveTo>
                    <a:pt x="1029" y="1"/>
                  </a:moveTo>
                  <a:cubicBezTo>
                    <a:pt x="900" y="1"/>
                    <a:pt x="641" y="169"/>
                    <a:pt x="627" y="438"/>
                  </a:cubicBezTo>
                  <a:cubicBezTo>
                    <a:pt x="623" y="575"/>
                    <a:pt x="581" y="712"/>
                    <a:pt x="504" y="827"/>
                  </a:cubicBezTo>
                  <a:cubicBezTo>
                    <a:pt x="452" y="915"/>
                    <a:pt x="417" y="967"/>
                    <a:pt x="476" y="1167"/>
                  </a:cubicBezTo>
                  <a:cubicBezTo>
                    <a:pt x="560" y="1450"/>
                    <a:pt x="340" y="1608"/>
                    <a:pt x="175" y="1720"/>
                  </a:cubicBezTo>
                  <a:cubicBezTo>
                    <a:pt x="70" y="1797"/>
                    <a:pt x="0" y="1849"/>
                    <a:pt x="18" y="1891"/>
                  </a:cubicBezTo>
                  <a:cubicBezTo>
                    <a:pt x="26" y="1923"/>
                    <a:pt x="43" y="1939"/>
                    <a:pt x="83" y="1939"/>
                  </a:cubicBezTo>
                  <a:cubicBezTo>
                    <a:pt x="123" y="1939"/>
                    <a:pt x="186" y="1923"/>
                    <a:pt x="287" y="1891"/>
                  </a:cubicBezTo>
                  <a:cubicBezTo>
                    <a:pt x="399" y="1853"/>
                    <a:pt x="515" y="1828"/>
                    <a:pt x="634" y="1825"/>
                  </a:cubicBezTo>
                  <a:cubicBezTo>
                    <a:pt x="641" y="1824"/>
                    <a:pt x="647" y="1823"/>
                    <a:pt x="654" y="1823"/>
                  </a:cubicBezTo>
                  <a:cubicBezTo>
                    <a:pt x="700" y="1823"/>
                    <a:pt x="747" y="1844"/>
                    <a:pt x="781" y="1877"/>
                  </a:cubicBezTo>
                  <a:cubicBezTo>
                    <a:pt x="830" y="1933"/>
                    <a:pt x="823" y="2014"/>
                    <a:pt x="816" y="2084"/>
                  </a:cubicBezTo>
                  <a:cubicBezTo>
                    <a:pt x="812" y="2140"/>
                    <a:pt x="805" y="2196"/>
                    <a:pt x="830" y="2224"/>
                  </a:cubicBezTo>
                  <a:cubicBezTo>
                    <a:pt x="858" y="2248"/>
                    <a:pt x="893" y="2259"/>
                    <a:pt x="931" y="2259"/>
                  </a:cubicBezTo>
                  <a:cubicBezTo>
                    <a:pt x="941" y="2260"/>
                    <a:pt x="951" y="2260"/>
                    <a:pt x="961" y="2260"/>
                  </a:cubicBezTo>
                  <a:cubicBezTo>
                    <a:pt x="1229" y="2260"/>
                    <a:pt x="1681" y="1958"/>
                    <a:pt x="1789" y="1783"/>
                  </a:cubicBezTo>
                  <a:cubicBezTo>
                    <a:pt x="1852" y="1678"/>
                    <a:pt x="1954" y="1604"/>
                    <a:pt x="2069" y="1580"/>
                  </a:cubicBezTo>
                  <a:cubicBezTo>
                    <a:pt x="2097" y="1574"/>
                    <a:pt x="2126" y="1571"/>
                    <a:pt x="2155" y="1571"/>
                  </a:cubicBezTo>
                  <a:cubicBezTo>
                    <a:pt x="2287" y="1571"/>
                    <a:pt x="2433" y="1628"/>
                    <a:pt x="2587" y="1737"/>
                  </a:cubicBezTo>
                  <a:cubicBezTo>
                    <a:pt x="2758" y="1858"/>
                    <a:pt x="3032" y="1920"/>
                    <a:pt x="3254" y="1920"/>
                  </a:cubicBezTo>
                  <a:cubicBezTo>
                    <a:pt x="3355" y="1920"/>
                    <a:pt x="3446" y="1907"/>
                    <a:pt x="3512" y="1881"/>
                  </a:cubicBezTo>
                  <a:cubicBezTo>
                    <a:pt x="3547" y="1867"/>
                    <a:pt x="3592" y="1842"/>
                    <a:pt x="3603" y="1804"/>
                  </a:cubicBezTo>
                  <a:cubicBezTo>
                    <a:pt x="3617" y="1734"/>
                    <a:pt x="3421" y="1650"/>
                    <a:pt x="3277" y="1587"/>
                  </a:cubicBezTo>
                  <a:cubicBezTo>
                    <a:pt x="3053" y="1489"/>
                    <a:pt x="2818" y="1384"/>
                    <a:pt x="2850" y="1198"/>
                  </a:cubicBezTo>
                  <a:cubicBezTo>
                    <a:pt x="2874" y="1058"/>
                    <a:pt x="2423" y="883"/>
                    <a:pt x="2150" y="778"/>
                  </a:cubicBezTo>
                  <a:cubicBezTo>
                    <a:pt x="2038" y="736"/>
                    <a:pt x="1926" y="691"/>
                    <a:pt x="1817" y="638"/>
                  </a:cubicBezTo>
                  <a:cubicBezTo>
                    <a:pt x="1744" y="600"/>
                    <a:pt x="1674" y="568"/>
                    <a:pt x="1597" y="537"/>
                  </a:cubicBezTo>
                  <a:cubicBezTo>
                    <a:pt x="1366" y="442"/>
                    <a:pt x="1103" y="330"/>
                    <a:pt x="1103" y="71"/>
                  </a:cubicBezTo>
                  <a:cubicBezTo>
                    <a:pt x="1103" y="32"/>
                    <a:pt x="1089" y="4"/>
                    <a:pt x="103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0" name="Google Shape;6677;p64">
              <a:extLst>
                <a:ext uri="{FF2B5EF4-FFF2-40B4-BE49-F238E27FC236}">
                  <a16:creationId xmlns:a16="http://schemas.microsoft.com/office/drawing/2014/main" id="{BA26BAB5-4951-345A-D610-BD8F9ECEC69D}"/>
                </a:ext>
              </a:extLst>
            </p:cNvPr>
            <p:cNvSpPr/>
            <p:nvPr/>
          </p:nvSpPr>
          <p:spPr>
            <a:xfrm>
              <a:off x="1373895" y="1355132"/>
              <a:ext cx="215339" cy="153181"/>
            </a:xfrm>
            <a:custGeom>
              <a:avLst/>
              <a:gdLst/>
              <a:ahLst/>
              <a:cxnLst/>
              <a:rect l="l" t="t" r="r" b="b"/>
              <a:pathLst>
                <a:path w="15860" h="11282" extrusionOk="0">
                  <a:moveTo>
                    <a:pt x="2393" y="1"/>
                  </a:moveTo>
                  <a:cubicBezTo>
                    <a:pt x="1949" y="1"/>
                    <a:pt x="1184" y="158"/>
                    <a:pt x="673" y="625"/>
                  </a:cubicBezTo>
                  <a:cubicBezTo>
                    <a:pt x="172" y="1080"/>
                    <a:pt x="1" y="1727"/>
                    <a:pt x="183" y="2452"/>
                  </a:cubicBezTo>
                  <a:cubicBezTo>
                    <a:pt x="200" y="2519"/>
                    <a:pt x="494" y="2536"/>
                    <a:pt x="687" y="2547"/>
                  </a:cubicBezTo>
                  <a:cubicBezTo>
                    <a:pt x="890" y="2557"/>
                    <a:pt x="1121" y="2571"/>
                    <a:pt x="1300" y="2624"/>
                  </a:cubicBezTo>
                  <a:cubicBezTo>
                    <a:pt x="1552" y="2697"/>
                    <a:pt x="1587" y="2795"/>
                    <a:pt x="1569" y="2862"/>
                  </a:cubicBezTo>
                  <a:cubicBezTo>
                    <a:pt x="1550" y="2961"/>
                    <a:pt x="1415" y="3004"/>
                    <a:pt x="1269" y="3004"/>
                  </a:cubicBezTo>
                  <a:cubicBezTo>
                    <a:pt x="1229" y="3004"/>
                    <a:pt x="1188" y="3001"/>
                    <a:pt x="1149" y="2995"/>
                  </a:cubicBezTo>
                  <a:lnTo>
                    <a:pt x="1093" y="2988"/>
                  </a:lnTo>
                  <a:cubicBezTo>
                    <a:pt x="956" y="2965"/>
                    <a:pt x="745" y="2933"/>
                    <a:pt x="590" y="2933"/>
                  </a:cubicBezTo>
                  <a:cubicBezTo>
                    <a:pt x="504" y="2933"/>
                    <a:pt x="436" y="2943"/>
                    <a:pt x="407" y="2970"/>
                  </a:cubicBezTo>
                  <a:cubicBezTo>
                    <a:pt x="400" y="2977"/>
                    <a:pt x="400" y="2988"/>
                    <a:pt x="400" y="2995"/>
                  </a:cubicBezTo>
                  <a:cubicBezTo>
                    <a:pt x="407" y="3044"/>
                    <a:pt x="480" y="3142"/>
                    <a:pt x="634" y="3250"/>
                  </a:cubicBezTo>
                  <a:cubicBezTo>
                    <a:pt x="813" y="3372"/>
                    <a:pt x="1074" y="3486"/>
                    <a:pt x="1281" y="3486"/>
                  </a:cubicBezTo>
                  <a:cubicBezTo>
                    <a:pt x="1318" y="3486"/>
                    <a:pt x="1354" y="3482"/>
                    <a:pt x="1387" y="3474"/>
                  </a:cubicBezTo>
                  <a:cubicBezTo>
                    <a:pt x="1543" y="3435"/>
                    <a:pt x="1644" y="3410"/>
                    <a:pt x="1720" y="3410"/>
                  </a:cubicBezTo>
                  <a:cubicBezTo>
                    <a:pt x="1838" y="3410"/>
                    <a:pt x="1897" y="3469"/>
                    <a:pt x="2014" y="3618"/>
                  </a:cubicBezTo>
                  <a:cubicBezTo>
                    <a:pt x="2119" y="3754"/>
                    <a:pt x="2392" y="3754"/>
                    <a:pt x="2714" y="3754"/>
                  </a:cubicBezTo>
                  <a:cubicBezTo>
                    <a:pt x="2826" y="3754"/>
                    <a:pt x="2942" y="3754"/>
                    <a:pt x="3057" y="3761"/>
                  </a:cubicBezTo>
                  <a:cubicBezTo>
                    <a:pt x="3358" y="3779"/>
                    <a:pt x="3680" y="3852"/>
                    <a:pt x="3939" y="3912"/>
                  </a:cubicBezTo>
                  <a:cubicBezTo>
                    <a:pt x="4079" y="3943"/>
                    <a:pt x="4198" y="3971"/>
                    <a:pt x="4275" y="3982"/>
                  </a:cubicBezTo>
                  <a:cubicBezTo>
                    <a:pt x="4289" y="3983"/>
                    <a:pt x="4303" y="3984"/>
                    <a:pt x="4317" y="3984"/>
                  </a:cubicBezTo>
                  <a:cubicBezTo>
                    <a:pt x="4504" y="3984"/>
                    <a:pt x="4717" y="3860"/>
                    <a:pt x="4769" y="3768"/>
                  </a:cubicBezTo>
                  <a:cubicBezTo>
                    <a:pt x="4792" y="3728"/>
                    <a:pt x="4837" y="3710"/>
                    <a:pt x="4915" y="3710"/>
                  </a:cubicBezTo>
                  <a:cubicBezTo>
                    <a:pt x="5027" y="3710"/>
                    <a:pt x="5204" y="3747"/>
                    <a:pt x="5480" y="3810"/>
                  </a:cubicBezTo>
                  <a:cubicBezTo>
                    <a:pt x="5683" y="3856"/>
                    <a:pt x="5910" y="3910"/>
                    <a:pt x="6029" y="3910"/>
                  </a:cubicBezTo>
                  <a:cubicBezTo>
                    <a:pt x="6039" y="3910"/>
                    <a:pt x="6049" y="3909"/>
                    <a:pt x="6057" y="3908"/>
                  </a:cubicBezTo>
                  <a:cubicBezTo>
                    <a:pt x="6106" y="3901"/>
                    <a:pt x="6134" y="3887"/>
                    <a:pt x="6134" y="3877"/>
                  </a:cubicBezTo>
                  <a:cubicBezTo>
                    <a:pt x="6141" y="3838"/>
                    <a:pt x="6064" y="3737"/>
                    <a:pt x="5963" y="3695"/>
                  </a:cubicBezTo>
                  <a:cubicBezTo>
                    <a:pt x="5889" y="3660"/>
                    <a:pt x="5837" y="3586"/>
                    <a:pt x="5833" y="3506"/>
                  </a:cubicBezTo>
                  <a:cubicBezTo>
                    <a:pt x="5823" y="3425"/>
                    <a:pt x="5858" y="3348"/>
                    <a:pt x="5921" y="3303"/>
                  </a:cubicBezTo>
                  <a:cubicBezTo>
                    <a:pt x="5943" y="3289"/>
                    <a:pt x="5975" y="3273"/>
                    <a:pt x="6020" y="3273"/>
                  </a:cubicBezTo>
                  <a:cubicBezTo>
                    <a:pt x="6055" y="3273"/>
                    <a:pt x="6096" y="3282"/>
                    <a:pt x="6145" y="3310"/>
                  </a:cubicBezTo>
                  <a:cubicBezTo>
                    <a:pt x="6211" y="3345"/>
                    <a:pt x="6281" y="3376"/>
                    <a:pt x="6351" y="3404"/>
                  </a:cubicBezTo>
                  <a:cubicBezTo>
                    <a:pt x="6558" y="3488"/>
                    <a:pt x="6768" y="3576"/>
                    <a:pt x="6831" y="3758"/>
                  </a:cubicBezTo>
                  <a:cubicBezTo>
                    <a:pt x="6848" y="3817"/>
                    <a:pt x="6887" y="3835"/>
                    <a:pt x="6950" y="3856"/>
                  </a:cubicBezTo>
                  <a:cubicBezTo>
                    <a:pt x="7013" y="3880"/>
                    <a:pt x="7104" y="3912"/>
                    <a:pt x="7125" y="4034"/>
                  </a:cubicBezTo>
                  <a:cubicBezTo>
                    <a:pt x="7136" y="4083"/>
                    <a:pt x="7353" y="4185"/>
                    <a:pt x="7479" y="4245"/>
                  </a:cubicBezTo>
                  <a:cubicBezTo>
                    <a:pt x="7720" y="4360"/>
                    <a:pt x="7934" y="4458"/>
                    <a:pt x="7948" y="4595"/>
                  </a:cubicBezTo>
                  <a:cubicBezTo>
                    <a:pt x="7965" y="4731"/>
                    <a:pt x="7780" y="4815"/>
                    <a:pt x="7598" y="4892"/>
                  </a:cubicBezTo>
                  <a:cubicBezTo>
                    <a:pt x="7528" y="4920"/>
                    <a:pt x="7405" y="4973"/>
                    <a:pt x="7381" y="5004"/>
                  </a:cubicBezTo>
                  <a:cubicBezTo>
                    <a:pt x="7384" y="5008"/>
                    <a:pt x="7388" y="5011"/>
                    <a:pt x="7391" y="5011"/>
                  </a:cubicBezTo>
                  <a:cubicBezTo>
                    <a:pt x="7417" y="5032"/>
                    <a:pt x="7446" y="5041"/>
                    <a:pt x="7479" y="5041"/>
                  </a:cubicBezTo>
                  <a:cubicBezTo>
                    <a:pt x="7559" y="5041"/>
                    <a:pt x="7663" y="4987"/>
                    <a:pt x="7797" y="4913"/>
                  </a:cubicBezTo>
                  <a:cubicBezTo>
                    <a:pt x="7927" y="4843"/>
                    <a:pt x="8060" y="4766"/>
                    <a:pt x="8193" y="4756"/>
                  </a:cubicBezTo>
                  <a:cubicBezTo>
                    <a:pt x="8199" y="4755"/>
                    <a:pt x="8206" y="4755"/>
                    <a:pt x="8212" y="4755"/>
                  </a:cubicBezTo>
                  <a:cubicBezTo>
                    <a:pt x="8395" y="4755"/>
                    <a:pt x="8479" y="4950"/>
                    <a:pt x="8546" y="5106"/>
                  </a:cubicBezTo>
                  <a:cubicBezTo>
                    <a:pt x="8581" y="5186"/>
                    <a:pt x="8623" y="5284"/>
                    <a:pt x="8658" y="5298"/>
                  </a:cubicBezTo>
                  <a:cubicBezTo>
                    <a:pt x="8660" y="5298"/>
                    <a:pt x="8663" y="5299"/>
                    <a:pt x="8666" y="5299"/>
                  </a:cubicBezTo>
                  <a:cubicBezTo>
                    <a:pt x="8670" y="5299"/>
                    <a:pt x="8674" y="5298"/>
                    <a:pt x="8679" y="5295"/>
                  </a:cubicBezTo>
                  <a:cubicBezTo>
                    <a:pt x="8743" y="5266"/>
                    <a:pt x="8804" y="5253"/>
                    <a:pt x="8863" y="5253"/>
                  </a:cubicBezTo>
                  <a:cubicBezTo>
                    <a:pt x="9137" y="5253"/>
                    <a:pt x="9361" y="5535"/>
                    <a:pt x="9586" y="5851"/>
                  </a:cubicBezTo>
                  <a:cubicBezTo>
                    <a:pt x="9810" y="6170"/>
                    <a:pt x="9705" y="6471"/>
                    <a:pt x="9635" y="6671"/>
                  </a:cubicBezTo>
                  <a:cubicBezTo>
                    <a:pt x="9614" y="6720"/>
                    <a:pt x="9604" y="6772"/>
                    <a:pt x="9597" y="6825"/>
                  </a:cubicBezTo>
                  <a:cubicBezTo>
                    <a:pt x="9610" y="6844"/>
                    <a:pt x="9674" y="6856"/>
                    <a:pt x="9764" y="6856"/>
                  </a:cubicBezTo>
                  <a:cubicBezTo>
                    <a:pt x="9932" y="6856"/>
                    <a:pt x="10193" y="6815"/>
                    <a:pt x="10398" y="6706"/>
                  </a:cubicBezTo>
                  <a:cubicBezTo>
                    <a:pt x="10467" y="6669"/>
                    <a:pt x="10533" y="6653"/>
                    <a:pt x="10598" y="6653"/>
                  </a:cubicBezTo>
                  <a:cubicBezTo>
                    <a:pt x="10829" y="6653"/>
                    <a:pt x="11036" y="6854"/>
                    <a:pt x="11211" y="7021"/>
                  </a:cubicBezTo>
                  <a:cubicBezTo>
                    <a:pt x="11249" y="7059"/>
                    <a:pt x="11288" y="7094"/>
                    <a:pt x="11323" y="7126"/>
                  </a:cubicBezTo>
                  <a:cubicBezTo>
                    <a:pt x="11393" y="7182"/>
                    <a:pt x="11400" y="7283"/>
                    <a:pt x="11340" y="7350"/>
                  </a:cubicBezTo>
                  <a:cubicBezTo>
                    <a:pt x="11219" y="7506"/>
                    <a:pt x="10774" y="7682"/>
                    <a:pt x="10551" y="7682"/>
                  </a:cubicBezTo>
                  <a:cubicBezTo>
                    <a:pt x="10508" y="7682"/>
                    <a:pt x="10474" y="7675"/>
                    <a:pt x="10451" y="7661"/>
                  </a:cubicBezTo>
                  <a:cubicBezTo>
                    <a:pt x="10409" y="7637"/>
                    <a:pt x="10395" y="7577"/>
                    <a:pt x="10419" y="7535"/>
                  </a:cubicBezTo>
                  <a:cubicBezTo>
                    <a:pt x="10426" y="7521"/>
                    <a:pt x="10416" y="7476"/>
                    <a:pt x="10353" y="7409"/>
                  </a:cubicBezTo>
                  <a:cubicBezTo>
                    <a:pt x="10216" y="7256"/>
                    <a:pt x="9862" y="7052"/>
                    <a:pt x="9476" y="7052"/>
                  </a:cubicBezTo>
                  <a:cubicBezTo>
                    <a:pt x="9359" y="7052"/>
                    <a:pt x="9239" y="7070"/>
                    <a:pt x="9121" y="7115"/>
                  </a:cubicBezTo>
                  <a:cubicBezTo>
                    <a:pt x="8938" y="7185"/>
                    <a:pt x="8830" y="7266"/>
                    <a:pt x="8798" y="7360"/>
                  </a:cubicBezTo>
                  <a:cubicBezTo>
                    <a:pt x="8753" y="7483"/>
                    <a:pt x="8840" y="7630"/>
                    <a:pt x="8914" y="7759"/>
                  </a:cubicBezTo>
                  <a:cubicBezTo>
                    <a:pt x="8956" y="7822"/>
                    <a:pt x="8988" y="7889"/>
                    <a:pt x="9012" y="7955"/>
                  </a:cubicBezTo>
                  <a:cubicBezTo>
                    <a:pt x="9033" y="8036"/>
                    <a:pt x="9005" y="8123"/>
                    <a:pt x="8942" y="8176"/>
                  </a:cubicBezTo>
                  <a:cubicBezTo>
                    <a:pt x="8807" y="8304"/>
                    <a:pt x="8523" y="8392"/>
                    <a:pt x="8201" y="8392"/>
                  </a:cubicBezTo>
                  <a:cubicBezTo>
                    <a:pt x="8021" y="8392"/>
                    <a:pt x="7829" y="8365"/>
                    <a:pt x="7643" y="8302"/>
                  </a:cubicBezTo>
                  <a:cubicBezTo>
                    <a:pt x="7499" y="8254"/>
                    <a:pt x="7403" y="8236"/>
                    <a:pt x="7336" y="8236"/>
                  </a:cubicBezTo>
                  <a:cubicBezTo>
                    <a:pt x="7229" y="8236"/>
                    <a:pt x="7196" y="8281"/>
                    <a:pt x="7164" y="8326"/>
                  </a:cubicBezTo>
                  <a:cubicBezTo>
                    <a:pt x="7115" y="8404"/>
                    <a:pt x="7031" y="8453"/>
                    <a:pt x="6940" y="8453"/>
                  </a:cubicBezTo>
                  <a:cubicBezTo>
                    <a:pt x="6824" y="8453"/>
                    <a:pt x="6691" y="8554"/>
                    <a:pt x="6631" y="8691"/>
                  </a:cubicBezTo>
                  <a:cubicBezTo>
                    <a:pt x="6575" y="8799"/>
                    <a:pt x="6593" y="8932"/>
                    <a:pt x="6673" y="9020"/>
                  </a:cubicBezTo>
                  <a:cubicBezTo>
                    <a:pt x="6746" y="9100"/>
                    <a:pt x="6857" y="9125"/>
                    <a:pt x="6988" y="9125"/>
                  </a:cubicBezTo>
                  <a:cubicBezTo>
                    <a:pt x="7098" y="9125"/>
                    <a:pt x="7222" y="9107"/>
                    <a:pt x="7349" y="9090"/>
                  </a:cubicBezTo>
                  <a:cubicBezTo>
                    <a:pt x="7484" y="9061"/>
                    <a:pt x="7621" y="9047"/>
                    <a:pt x="7758" y="9047"/>
                  </a:cubicBezTo>
                  <a:cubicBezTo>
                    <a:pt x="7891" y="9047"/>
                    <a:pt x="8023" y="9060"/>
                    <a:pt x="8154" y="9086"/>
                  </a:cubicBezTo>
                  <a:cubicBezTo>
                    <a:pt x="8186" y="9094"/>
                    <a:pt x="8215" y="9098"/>
                    <a:pt x="8246" y="9098"/>
                  </a:cubicBezTo>
                  <a:cubicBezTo>
                    <a:pt x="8256" y="9098"/>
                    <a:pt x="8266" y="9098"/>
                    <a:pt x="8277" y="9097"/>
                  </a:cubicBezTo>
                  <a:cubicBezTo>
                    <a:pt x="8277" y="9097"/>
                    <a:pt x="8291" y="9090"/>
                    <a:pt x="8308" y="9002"/>
                  </a:cubicBezTo>
                  <a:cubicBezTo>
                    <a:pt x="8319" y="8943"/>
                    <a:pt x="8354" y="8890"/>
                    <a:pt x="8403" y="8859"/>
                  </a:cubicBezTo>
                  <a:cubicBezTo>
                    <a:pt x="8467" y="8823"/>
                    <a:pt x="8540" y="8806"/>
                    <a:pt x="8614" y="8806"/>
                  </a:cubicBezTo>
                  <a:cubicBezTo>
                    <a:pt x="8620" y="8806"/>
                    <a:pt x="8627" y="8806"/>
                    <a:pt x="8634" y="8806"/>
                  </a:cubicBezTo>
                  <a:cubicBezTo>
                    <a:pt x="8791" y="8806"/>
                    <a:pt x="8984" y="8852"/>
                    <a:pt x="9159" y="8894"/>
                  </a:cubicBezTo>
                  <a:lnTo>
                    <a:pt x="9208" y="8904"/>
                  </a:lnTo>
                  <a:cubicBezTo>
                    <a:pt x="9383" y="8946"/>
                    <a:pt x="9460" y="9079"/>
                    <a:pt x="9523" y="9202"/>
                  </a:cubicBezTo>
                  <a:cubicBezTo>
                    <a:pt x="9597" y="9328"/>
                    <a:pt x="9656" y="9440"/>
                    <a:pt x="9831" y="9464"/>
                  </a:cubicBezTo>
                  <a:cubicBezTo>
                    <a:pt x="10104" y="9496"/>
                    <a:pt x="10104" y="9692"/>
                    <a:pt x="10101" y="9846"/>
                  </a:cubicBezTo>
                  <a:cubicBezTo>
                    <a:pt x="10101" y="9965"/>
                    <a:pt x="10097" y="10087"/>
                    <a:pt x="10188" y="10189"/>
                  </a:cubicBezTo>
                  <a:cubicBezTo>
                    <a:pt x="10290" y="10301"/>
                    <a:pt x="10535" y="10332"/>
                    <a:pt x="10769" y="10364"/>
                  </a:cubicBezTo>
                  <a:cubicBezTo>
                    <a:pt x="11046" y="10399"/>
                    <a:pt x="11333" y="10434"/>
                    <a:pt x="11494" y="10599"/>
                  </a:cubicBezTo>
                  <a:cubicBezTo>
                    <a:pt x="11724" y="10829"/>
                    <a:pt x="12636" y="11282"/>
                    <a:pt x="13004" y="11282"/>
                  </a:cubicBezTo>
                  <a:cubicBezTo>
                    <a:pt x="13011" y="11282"/>
                    <a:pt x="13017" y="11282"/>
                    <a:pt x="13024" y="11281"/>
                  </a:cubicBezTo>
                  <a:cubicBezTo>
                    <a:pt x="13048" y="11281"/>
                    <a:pt x="13076" y="11274"/>
                    <a:pt x="13097" y="11260"/>
                  </a:cubicBezTo>
                  <a:cubicBezTo>
                    <a:pt x="13104" y="11246"/>
                    <a:pt x="13104" y="11222"/>
                    <a:pt x="13090" y="11187"/>
                  </a:cubicBezTo>
                  <a:cubicBezTo>
                    <a:pt x="12971" y="10819"/>
                    <a:pt x="11977" y="9982"/>
                    <a:pt x="11701" y="9909"/>
                  </a:cubicBezTo>
                  <a:cubicBezTo>
                    <a:pt x="11631" y="9891"/>
                    <a:pt x="11561" y="9863"/>
                    <a:pt x="11554" y="9800"/>
                  </a:cubicBezTo>
                  <a:cubicBezTo>
                    <a:pt x="11550" y="9765"/>
                    <a:pt x="11568" y="9730"/>
                    <a:pt x="11603" y="9713"/>
                  </a:cubicBezTo>
                  <a:cubicBezTo>
                    <a:pt x="11639" y="9692"/>
                    <a:pt x="11712" y="9680"/>
                    <a:pt x="11806" y="9680"/>
                  </a:cubicBezTo>
                  <a:cubicBezTo>
                    <a:pt x="12019" y="9680"/>
                    <a:pt x="12338" y="9745"/>
                    <a:pt x="12583" y="9937"/>
                  </a:cubicBezTo>
                  <a:cubicBezTo>
                    <a:pt x="12855" y="10155"/>
                    <a:pt x="13182" y="10282"/>
                    <a:pt x="13456" y="10282"/>
                  </a:cubicBezTo>
                  <a:cubicBezTo>
                    <a:pt x="13489" y="10282"/>
                    <a:pt x="13521" y="10280"/>
                    <a:pt x="13553" y="10276"/>
                  </a:cubicBezTo>
                  <a:cubicBezTo>
                    <a:pt x="13717" y="10259"/>
                    <a:pt x="13868" y="10175"/>
                    <a:pt x="13969" y="10045"/>
                  </a:cubicBezTo>
                  <a:cubicBezTo>
                    <a:pt x="14050" y="9940"/>
                    <a:pt x="14060" y="9888"/>
                    <a:pt x="14053" y="9860"/>
                  </a:cubicBezTo>
                  <a:cubicBezTo>
                    <a:pt x="14046" y="9818"/>
                    <a:pt x="13983" y="9786"/>
                    <a:pt x="13913" y="9755"/>
                  </a:cubicBezTo>
                  <a:cubicBezTo>
                    <a:pt x="13808" y="9702"/>
                    <a:pt x="13665" y="9629"/>
                    <a:pt x="13665" y="9457"/>
                  </a:cubicBezTo>
                  <a:cubicBezTo>
                    <a:pt x="13665" y="9177"/>
                    <a:pt x="13472" y="8771"/>
                    <a:pt x="13171" y="8771"/>
                  </a:cubicBezTo>
                  <a:cubicBezTo>
                    <a:pt x="12859" y="8771"/>
                    <a:pt x="12205" y="8295"/>
                    <a:pt x="12145" y="8022"/>
                  </a:cubicBezTo>
                  <a:cubicBezTo>
                    <a:pt x="12124" y="7938"/>
                    <a:pt x="12166" y="7850"/>
                    <a:pt x="12247" y="7819"/>
                  </a:cubicBezTo>
                  <a:cubicBezTo>
                    <a:pt x="12355" y="7770"/>
                    <a:pt x="12345" y="7738"/>
                    <a:pt x="12310" y="7637"/>
                  </a:cubicBezTo>
                  <a:cubicBezTo>
                    <a:pt x="12275" y="7532"/>
                    <a:pt x="12226" y="7388"/>
                    <a:pt x="12373" y="7231"/>
                  </a:cubicBezTo>
                  <a:cubicBezTo>
                    <a:pt x="12438" y="7158"/>
                    <a:pt x="12504" y="7131"/>
                    <a:pt x="12569" y="7131"/>
                  </a:cubicBezTo>
                  <a:cubicBezTo>
                    <a:pt x="12689" y="7131"/>
                    <a:pt x="12805" y="7225"/>
                    <a:pt x="12905" y="7304"/>
                  </a:cubicBezTo>
                  <a:cubicBezTo>
                    <a:pt x="13003" y="7385"/>
                    <a:pt x="13104" y="7465"/>
                    <a:pt x="13203" y="7476"/>
                  </a:cubicBezTo>
                  <a:cubicBezTo>
                    <a:pt x="13392" y="7490"/>
                    <a:pt x="13493" y="7626"/>
                    <a:pt x="13623" y="7801"/>
                  </a:cubicBezTo>
                  <a:cubicBezTo>
                    <a:pt x="13742" y="7973"/>
                    <a:pt x="13882" y="8130"/>
                    <a:pt x="14039" y="8267"/>
                  </a:cubicBezTo>
                  <a:cubicBezTo>
                    <a:pt x="14216" y="8415"/>
                    <a:pt x="14309" y="8445"/>
                    <a:pt x="14356" y="8445"/>
                  </a:cubicBezTo>
                  <a:cubicBezTo>
                    <a:pt x="14365" y="8445"/>
                    <a:pt x="14373" y="8444"/>
                    <a:pt x="14379" y="8442"/>
                  </a:cubicBezTo>
                  <a:cubicBezTo>
                    <a:pt x="14442" y="8421"/>
                    <a:pt x="14477" y="8302"/>
                    <a:pt x="14508" y="8183"/>
                  </a:cubicBezTo>
                  <a:lnTo>
                    <a:pt x="14515" y="8151"/>
                  </a:lnTo>
                  <a:cubicBezTo>
                    <a:pt x="14564" y="7976"/>
                    <a:pt x="14750" y="7959"/>
                    <a:pt x="14883" y="7948"/>
                  </a:cubicBezTo>
                  <a:cubicBezTo>
                    <a:pt x="14939" y="7945"/>
                    <a:pt x="14991" y="7934"/>
                    <a:pt x="15040" y="7920"/>
                  </a:cubicBezTo>
                  <a:cubicBezTo>
                    <a:pt x="15061" y="7910"/>
                    <a:pt x="15075" y="7899"/>
                    <a:pt x="15072" y="7861"/>
                  </a:cubicBezTo>
                  <a:cubicBezTo>
                    <a:pt x="15044" y="7556"/>
                    <a:pt x="15499" y="7220"/>
                    <a:pt x="15814" y="7091"/>
                  </a:cubicBezTo>
                  <a:cubicBezTo>
                    <a:pt x="15849" y="7077"/>
                    <a:pt x="15860" y="7063"/>
                    <a:pt x="15860" y="7063"/>
                  </a:cubicBezTo>
                  <a:cubicBezTo>
                    <a:pt x="15860" y="7059"/>
                    <a:pt x="15856" y="7045"/>
                    <a:pt x="15835" y="7024"/>
                  </a:cubicBezTo>
                  <a:cubicBezTo>
                    <a:pt x="15743" y="6929"/>
                    <a:pt x="15480" y="6827"/>
                    <a:pt x="15257" y="6827"/>
                  </a:cubicBezTo>
                  <a:cubicBezTo>
                    <a:pt x="15243" y="6827"/>
                    <a:pt x="15229" y="6827"/>
                    <a:pt x="15216" y="6828"/>
                  </a:cubicBezTo>
                  <a:cubicBezTo>
                    <a:pt x="15197" y="6829"/>
                    <a:pt x="15180" y="6830"/>
                    <a:pt x="15163" y="6830"/>
                  </a:cubicBezTo>
                  <a:cubicBezTo>
                    <a:pt x="15019" y="6830"/>
                    <a:pt x="14904" y="6791"/>
                    <a:pt x="14820" y="6713"/>
                  </a:cubicBezTo>
                  <a:cubicBezTo>
                    <a:pt x="14701" y="6601"/>
                    <a:pt x="14683" y="6436"/>
                    <a:pt x="14683" y="6349"/>
                  </a:cubicBezTo>
                  <a:cubicBezTo>
                    <a:pt x="14683" y="6335"/>
                    <a:pt x="14641" y="6268"/>
                    <a:pt x="14487" y="6163"/>
                  </a:cubicBezTo>
                  <a:cubicBezTo>
                    <a:pt x="14265" y="6009"/>
                    <a:pt x="13988" y="5898"/>
                    <a:pt x="13847" y="5898"/>
                  </a:cubicBezTo>
                  <a:cubicBezTo>
                    <a:pt x="13828" y="5898"/>
                    <a:pt x="13811" y="5900"/>
                    <a:pt x="13798" y="5904"/>
                  </a:cubicBezTo>
                  <a:cubicBezTo>
                    <a:pt x="13771" y="5912"/>
                    <a:pt x="13744" y="5915"/>
                    <a:pt x="13715" y="5915"/>
                  </a:cubicBezTo>
                  <a:cubicBezTo>
                    <a:pt x="13575" y="5915"/>
                    <a:pt x="13413" y="5830"/>
                    <a:pt x="13245" y="5743"/>
                  </a:cubicBezTo>
                  <a:cubicBezTo>
                    <a:pt x="13090" y="5662"/>
                    <a:pt x="12933" y="5578"/>
                    <a:pt x="12803" y="5568"/>
                  </a:cubicBezTo>
                  <a:cubicBezTo>
                    <a:pt x="12583" y="5550"/>
                    <a:pt x="12278" y="5428"/>
                    <a:pt x="12117" y="5232"/>
                  </a:cubicBezTo>
                  <a:cubicBezTo>
                    <a:pt x="12037" y="5134"/>
                    <a:pt x="11998" y="5011"/>
                    <a:pt x="12016" y="4885"/>
                  </a:cubicBezTo>
                  <a:cubicBezTo>
                    <a:pt x="12019" y="4826"/>
                    <a:pt x="12051" y="4770"/>
                    <a:pt x="12100" y="4735"/>
                  </a:cubicBezTo>
                  <a:cubicBezTo>
                    <a:pt x="12141" y="4704"/>
                    <a:pt x="12193" y="4694"/>
                    <a:pt x="12249" y="4694"/>
                  </a:cubicBezTo>
                  <a:cubicBezTo>
                    <a:pt x="12317" y="4694"/>
                    <a:pt x="12391" y="4709"/>
                    <a:pt x="12464" y="4724"/>
                  </a:cubicBezTo>
                  <a:cubicBezTo>
                    <a:pt x="12543" y="4739"/>
                    <a:pt x="12610" y="4751"/>
                    <a:pt x="12661" y="4751"/>
                  </a:cubicBezTo>
                  <a:cubicBezTo>
                    <a:pt x="12715" y="4751"/>
                    <a:pt x="12752" y="4738"/>
                    <a:pt x="12768" y="4700"/>
                  </a:cubicBezTo>
                  <a:cubicBezTo>
                    <a:pt x="12775" y="4689"/>
                    <a:pt x="12779" y="4675"/>
                    <a:pt x="12775" y="4665"/>
                  </a:cubicBezTo>
                  <a:cubicBezTo>
                    <a:pt x="12754" y="4630"/>
                    <a:pt x="12600" y="4612"/>
                    <a:pt x="12513" y="4598"/>
                  </a:cubicBezTo>
                  <a:cubicBezTo>
                    <a:pt x="12338" y="4577"/>
                    <a:pt x="12152" y="4556"/>
                    <a:pt x="12135" y="4420"/>
                  </a:cubicBezTo>
                  <a:cubicBezTo>
                    <a:pt x="12114" y="4245"/>
                    <a:pt x="12236" y="4210"/>
                    <a:pt x="12324" y="4185"/>
                  </a:cubicBezTo>
                  <a:cubicBezTo>
                    <a:pt x="12376" y="4174"/>
                    <a:pt x="12429" y="4150"/>
                    <a:pt x="12474" y="4118"/>
                  </a:cubicBezTo>
                  <a:cubicBezTo>
                    <a:pt x="12488" y="4108"/>
                    <a:pt x="12495" y="4090"/>
                    <a:pt x="12492" y="4076"/>
                  </a:cubicBezTo>
                  <a:cubicBezTo>
                    <a:pt x="12485" y="3989"/>
                    <a:pt x="12327" y="3842"/>
                    <a:pt x="12194" y="3765"/>
                  </a:cubicBezTo>
                  <a:cubicBezTo>
                    <a:pt x="12181" y="3757"/>
                    <a:pt x="12171" y="3753"/>
                    <a:pt x="12160" y="3753"/>
                  </a:cubicBezTo>
                  <a:cubicBezTo>
                    <a:pt x="12137" y="3753"/>
                    <a:pt x="12113" y="3775"/>
                    <a:pt x="12065" y="3828"/>
                  </a:cubicBezTo>
                  <a:cubicBezTo>
                    <a:pt x="12009" y="3891"/>
                    <a:pt x="11942" y="3964"/>
                    <a:pt x="11837" y="3964"/>
                  </a:cubicBezTo>
                  <a:cubicBezTo>
                    <a:pt x="11832" y="3965"/>
                    <a:pt x="11826" y="3966"/>
                    <a:pt x="11821" y="3966"/>
                  </a:cubicBezTo>
                  <a:cubicBezTo>
                    <a:pt x="11775" y="3966"/>
                    <a:pt x="11733" y="3939"/>
                    <a:pt x="11711" y="3898"/>
                  </a:cubicBezTo>
                  <a:cubicBezTo>
                    <a:pt x="11652" y="3786"/>
                    <a:pt x="11771" y="3579"/>
                    <a:pt x="11879" y="3425"/>
                  </a:cubicBezTo>
                  <a:cubicBezTo>
                    <a:pt x="11879" y="3425"/>
                    <a:pt x="11879" y="3422"/>
                    <a:pt x="11879" y="3422"/>
                  </a:cubicBezTo>
                  <a:cubicBezTo>
                    <a:pt x="11879" y="3418"/>
                    <a:pt x="11869" y="3397"/>
                    <a:pt x="11827" y="3369"/>
                  </a:cubicBezTo>
                  <a:cubicBezTo>
                    <a:pt x="11706" y="3296"/>
                    <a:pt x="11462" y="3236"/>
                    <a:pt x="11272" y="3236"/>
                  </a:cubicBezTo>
                  <a:cubicBezTo>
                    <a:pt x="11208" y="3236"/>
                    <a:pt x="11151" y="3242"/>
                    <a:pt x="11106" y="3257"/>
                  </a:cubicBezTo>
                  <a:cubicBezTo>
                    <a:pt x="11040" y="3279"/>
                    <a:pt x="10981" y="3290"/>
                    <a:pt x="10928" y="3290"/>
                  </a:cubicBezTo>
                  <a:cubicBezTo>
                    <a:pt x="10862" y="3290"/>
                    <a:pt x="10806" y="3273"/>
                    <a:pt x="10759" y="3240"/>
                  </a:cubicBezTo>
                  <a:cubicBezTo>
                    <a:pt x="10675" y="3177"/>
                    <a:pt x="10629" y="3068"/>
                    <a:pt x="10629" y="2928"/>
                  </a:cubicBezTo>
                  <a:cubicBezTo>
                    <a:pt x="10629" y="2928"/>
                    <a:pt x="10629" y="2925"/>
                    <a:pt x="10629" y="2921"/>
                  </a:cubicBezTo>
                  <a:cubicBezTo>
                    <a:pt x="10623" y="2915"/>
                    <a:pt x="10608" y="2911"/>
                    <a:pt x="10588" y="2911"/>
                  </a:cubicBezTo>
                  <a:cubicBezTo>
                    <a:pt x="10479" y="2911"/>
                    <a:pt x="10199" y="3001"/>
                    <a:pt x="10031" y="3128"/>
                  </a:cubicBezTo>
                  <a:cubicBezTo>
                    <a:pt x="9985" y="3163"/>
                    <a:pt x="9929" y="3180"/>
                    <a:pt x="9873" y="3180"/>
                  </a:cubicBezTo>
                  <a:cubicBezTo>
                    <a:pt x="9823" y="3180"/>
                    <a:pt x="9773" y="3166"/>
                    <a:pt x="9730" y="3138"/>
                  </a:cubicBezTo>
                  <a:cubicBezTo>
                    <a:pt x="9656" y="3089"/>
                    <a:pt x="9618" y="3016"/>
                    <a:pt x="9635" y="2949"/>
                  </a:cubicBezTo>
                  <a:cubicBezTo>
                    <a:pt x="9642" y="2914"/>
                    <a:pt x="9677" y="2851"/>
                    <a:pt x="9793" y="2841"/>
                  </a:cubicBezTo>
                  <a:cubicBezTo>
                    <a:pt x="9943" y="2827"/>
                    <a:pt x="10108" y="2736"/>
                    <a:pt x="10174" y="2634"/>
                  </a:cubicBezTo>
                  <a:cubicBezTo>
                    <a:pt x="10202" y="2592"/>
                    <a:pt x="10209" y="2540"/>
                    <a:pt x="10192" y="2491"/>
                  </a:cubicBezTo>
                  <a:cubicBezTo>
                    <a:pt x="10171" y="2428"/>
                    <a:pt x="10048" y="2375"/>
                    <a:pt x="9898" y="2368"/>
                  </a:cubicBezTo>
                  <a:cubicBezTo>
                    <a:pt x="9887" y="2368"/>
                    <a:pt x="9875" y="2367"/>
                    <a:pt x="9864" y="2367"/>
                  </a:cubicBezTo>
                  <a:cubicBezTo>
                    <a:pt x="9713" y="2367"/>
                    <a:pt x="9540" y="2411"/>
                    <a:pt x="9488" y="2522"/>
                  </a:cubicBezTo>
                  <a:cubicBezTo>
                    <a:pt x="9462" y="2591"/>
                    <a:pt x="9397" y="2634"/>
                    <a:pt x="9326" y="2634"/>
                  </a:cubicBezTo>
                  <a:cubicBezTo>
                    <a:pt x="9310" y="2634"/>
                    <a:pt x="9294" y="2632"/>
                    <a:pt x="9278" y="2627"/>
                  </a:cubicBezTo>
                  <a:cubicBezTo>
                    <a:pt x="9065" y="2582"/>
                    <a:pt x="8732" y="2190"/>
                    <a:pt x="8732" y="1986"/>
                  </a:cubicBezTo>
                  <a:cubicBezTo>
                    <a:pt x="8732" y="1951"/>
                    <a:pt x="8574" y="1930"/>
                    <a:pt x="8490" y="1920"/>
                  </a:cubicBezTo>
                  <a:cubicBezTo>
                    <a:pt x="8326" y="1902"/>
                    <a:pt x="8154" y="1881"/>
                    <a:pt x="8081" y="1773"/>
                  </a:cubicBezTo>
                  <a:cubicBezTo>
                    <a:pt x="8042" y="1713"/>
                    <a:pt x="8035" y="1643"/>
                    <a:pt x="8056" y="1580"/>
                  </a:cubicBezTo>
                  <a:cubicBezTo>
                    <a:pt x="8067" y="1545"/>
                    <a:pt x="8060" y="1507"/>
                    <a:pt x="8035" y="1479"/>
                  </a:cubicBezTo>
                  <a:cubicBezTo>
                    <a:pt x="7885" y="1283"/>
                    <a:pt x="7209" y="1202"/>
                    <a:pt x="6957" y="1202"/>
                  </a:cubicBezTo>
                  <a:cubicBezTo>
                    <a:pt x="6785" y="1202"/>
                    <a:pt x="6565" y="1304"/>
                    <a:pt x="6467" y="1423"/>
                  </a:cubicBezTo>
                  <a:cubicBezTo>
                    <a:pt x="6425" y="1468"/>
                    <a:pt x="6404" y="1528"/>
                    <a:pt x="6414" y="1584"/>
                  </a:cubicBezTo>
                  <a:cubicBezTo>
                    <a:pt x="6432" y="1685"/>
                    <a:pt x="6400" y="1738"/>
                    <a:pt x="6369" y="1766"/>
                  </a:cubicBezTo>
                  <a:cubicBezTo>
                    <a:pt x="6337" y="1791"/>
                    <a:pt x="6301" y="1804"/>
                    <a:pt x="6264" y="1804"/>
                  </a:cubicBezTo>
                  <a:cubicBezTo>
                    <a:pt x="6239" y="1804"/>
                    <a:pt x="6214" y="1798"/>
                    <a:pt x="6190" y="1787"/>
                  </a:cubicBezTo>
                  <a:cubicBezTo>
                    <a:pt x="6061" y="1738"/>
                    <a:pt x="5970" y="1622"/>
                    <a:pt x="5945" y="1489"/>
                  </a:cubicBezTo>
                  <a:cubicBezTo>
                    <a:pt x="5945" y="1486"/>
                    <a:pt x="5942" y="1475"/>
                    <a:pt x="5938" y="1472"/>
                  </a:cubicBezTo>
                  <a:cubicBezTo>
                    <a:pt x="5933" y="1469"/>
                    <a:pt x="5926" y="1468"/>
                    <a:pt x="5918" y="1468"/>
                  </a:cubicBezTo>
                  <a:cubicBezTo>
                    <a:pt x="5838" y="1468"/>
                    <a:pt x="5635" y="1587"/>
                    <a:pt x="5508" y="1657"/>
                  </a:cubicBezTo>
                  <a:cubicBezTo>
                    <a:pt x="5347" y="1752"/>
                    <a:pt x="5203" y="1832"/>
                    <a:pt x="5112" y="1832"/>
                  </a:cubicBezTo>
                  <a:cubicBezTo>
                    <a:pt x="5077" y="1832"/>
                    <a:pt x="5042" y="1818"/>
                    <a:pt x="5018" y="1790"/>
                  </a:cubicBezTo>
                  <a:cubicBezTo>
                    <a:pt x="4958" y="1713"/>
                    <a:pt x="4986" y="1566"/>
                    <a:pt x="5035" y="1328"/>
                  </a:cubicBezTo>
                  <a:cubicBezTo>
                    <a:pt x="5070" y="1160"/>
                    <a:pt x="5116" y="954"/>
                    <a:pt x="5077" y="873"/>
                  </a:cubicBezTo>
                  <a:cubicBezTo>
                    <a:pt x="5042" y="793"/>
                    <a:pt x="4997" y="719"/>
                    <a:pt x="4941" y="653"/>
                  </a:cubicBezTo>
                  <a:cubicBezTo>
                    <a:pt x="4836" y="520"/>
                    <a:pt x="4751" y="373"/>
                    <a:pt x="4688" y="215"/>
                  </a:cubicBezTo>
                  <a:cubicBezTo>
                    <a:pt x="4653" y="128"/>
                    <a:pt x="4569" y="68"/>
                    <a:pt x="4440" y="47"/>
                  </a:cubicBezTo>
                  <a:cubicBezTo>
                    <a:pt x="4400" y="40"/>
                    <a:pt x="4357" y="37"/>
                    <a:pt x="4314" y="37"/>
                  </a:cubicBezTo>
                  <a:cubicBezTo>
                    <a:pt x="4081" y="37"/>
                    <a:pt x="3824" y="133"/>
                    <a:pt x="3733" y="236"/>
                  </a:cubicBezTo>
                  <a:cubicBezTo>
                    <a:pt x="3631" y="348"/>
                    <a:pt x="3449" y="387"/>
                    <a:pt x="3239" y="429"/>
                  </a:cubicBezTo>
                  <a:cubicBezTo>
                    <a:pt x="3005" y="474"/>
                    <a:pt x="2738" y="527"/>
                    <a:pt x="2567" y="698"/>
                  </a:cubicBezTo>
                  <a:cubicBezTo>
                    <a:pt x="2479" y="786"/>
                    <a:pt x="2441" y="873"/>
                    <a:pt x="2444" y="968"/>
                  </a:cubicBezTo>
                  <a:cubicBezTo>
                    <a:pt x="2448" y="1059"/>
                    <a:pt x="2500" y="1213"/>
                    <a:pt x="2731" y="1405"/>
                  </a:cubicBezTo>
                  <a:cubicBezTo>
                    <a:pt x="2760" y="1426"/>
                    <a:pt x="2777" y="1461"/>
                    <a:pt x="2774" y="1496"/>
                  </a:cubicBezTo>
                  <a:cubicBezTo>
                    <a:pt x="2774" y="1577"/>
                    <a:pt x="2693" y="1633"/>
                    <a:pt x="2591" y="1706"/>
                  </a:cubicBezTo>
                  <a:cubicBezTo>
                    <a:pt x="2525" y="1755"/>
                    <a:pt x="2416" y="1832"/>
                    <a:pt x="2416" y="1878"/>
                  </a:cubicBezTo>
                  <a:cubicBezTo>
                    <a:pt x="2416" y="1888"/>
                    <a:pt x="2423" y="1899"/>
                    <a:pt x="2441" y="1913"/>
                  </a:cubicBezTo>
                  <a:cubicBezTo>
                    <a:pt x="2518" y="1972"/>
                    <a:pt x="2605" y="2014"/>
                    <a:pt x="2703" y="2039"/>
                  </a:cubicBezTo>
                  <a:cubicBezTo>
                    <a:pt x="2854" y="2081"/>
                    <a:pt x="3026" y="2134"/>
                    <a:pt x="3043" y="2372"/>
                  </a:cubicBezTo>
                  <a:cubicBezTo>
                    <a:pt x="3057" y="2452"/>
                    <a:pt x="3005" y="2529"/>
                    <a:pt x="2924" y="2547"/>
                  </a:cubicBezTo>
                  <a:cubicBezTo>
                    <a:pt x="2906" y="2551"/>
                    <a:pt x="2886" y="2553"/>
                    <a:pt x="2864" y="2553"/>
                  </a:cubicBezTo>
                  <a:cubicBezTo>
                    <a:pt x="2607" y="2553"/>
                    <a:pt x="2100" y="2265"/>
                    <a:pt x="1996" y="2039"/>
                  </a:cubicBezTo>
                  <a:cubicBezTo>
                    <a:pt x="1933" y="1899"/>
                    <a:pt x="1940" y="1769"/>
                    <a:pt x="1947" y="1654"/>
                  </a:cubicBezTo>
                  <a:cubicBezTo>
                    <a:pt x="1954" y="1531"/>
                    <a:pt x="1961" y="1433"/>
                    <a:pt x="1888" y="1349"/>
                  </a:cubicBezTo>
                  <a:cubicBezTo>
                    <a:pt x="1660" y="1087"/>
                    <a:pt x="1919" y="768"/>
                    <a:pt x="2178" y="485"/>
                  </a:cubicBezTo>
                  <a:cubicBezTo>
                    <a:pt x="2294" y="362"/>
                    <a:pt x="2430" y="257"/>
                    <a:pt x="2581" y="180"/>
                  </a:cubicBezTo>
                  <a:cubicBezTo>
                    <a:pt x="2689" y="121"/>
                    <a:pt x="2717" y="103"/>
                    <a:pt x="2721" y="50"/>
                  </a:cubicBezTo>
                  <a:cubicBezTo>
                    <a:pt x="2703" y="40"/>
                    <a:pt x="2647" y="15"/>
                    <a:pt x="2511" y="5"/>
                  </a:cubicBezTo>
                  <a:cubicBezTo>
                    <a:pt x="2475" y="2"/>
                    <a:pt x="2435" y="1"/>
                    <a:pt x="23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1" name="Google Shape;6678;p64">
              <a:extLst>
                <a:ext uri="{FF2B5EF4-FFF2-40B4-BE49-F238E27FC236}">
                  <a16:creationId xmlns:a16="http://schemas.microsoft.com/office/drawing/2014/main" id="{6B9B53BB-7106-49E7-67F4-BDF1F619994D}"/>
                </a:ext>
              </a:extLst>
            </p:cNvPr>
            <p:cNvSpPr/>
            <p:nvPr/>
          </p:nvSpPr>
          <p:spPr>
            <a:xfrm>
              <a:off x="1468014" y="1430297"/>
              <a:ext cx="17841" cy="12722"/>
            </a:xfrm>
            <a:custGeom>
              <a:avLst/>
              <a:gdLst/>
              <a:ahLst/>
              <a:cxnLst/>
              <a:rect l="l" t="t" r="r" b="b"/>
              <a:pathLst>
                <a:path w="1314" h="937" extrusionOk="0">
                  <a:moveTo>
                    <a:pt x="676" y="0"/>
                  </a:moveTo>
                  <a:cubicBezTo>
                    <a:pt x="624" y="0"/>
                    <a:pt x="571" y="4"/>
                    <a:pt x="512" y="7"/>
                  </a:cubicBezTo>
                  <a:cubicBezTo>
                    <a:pt x="379" y="21"/>
                    <a:pt x="169" y="158"/>
                    <a:pt x="71" y="347"/>
                  </a:cubicBezTo>
                  <a:cubicBezTo>
                    <a:pt x="1" y="476"/>
                    <a:pt x="4" y="634"/>
                    <a:pt x="78" y="757"/>
                  </a:cubicBezTo>
                  <a:cubicBezTo>
                    <a:pt x="159" y="892"/>
                    <a:pt x="284" y="937"/>
                    <a:pt x="425" y="937"/>
                  </a:cubicBezTo>
                  <a:cubicBezTo>
                    <a:pt x="575" y="937"/>
                    <a:pt x="741" y="886"/>
                    <a:pt x="890" y="841"/>
                  </a:cubicBezTo>
                  <a:cubicBezTo>
                    <a:pt x="967" y="813"/>
                    <a:pt x="1047" y="792"/>
                    <a:pt x="1128" y="778"/>
                  </a:cubicBezTo>
                  <a:cubicBezTo>
                    <a:pt x="1187" y="767"/>
                    <a:pt x="1236" y="728"/>
                    <a:pt x="1257" y="672"/>
                  </a:cubicBezTo>
                  <a:cubicBezTo>
                    <a:pt x="1313" y="539"/>
                    <a:pt x="1268" y="301"/>
                    <a:pt x="1159" y="151"/>
                  </a:cubicBezTo>
                  <a:cubicBezTo>
                    <a:pt x="1089" y="53"/>
                    <a:pt x="914" y="0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2" name="Google Shape;6679;p64">
              <a:extLst>
                <a:ext uri="{FF2B5EF4-FFF2-40B4-BE49-F238E27FC236}">
                  <a16:creationId xmlns:a16="http://schemas.microsoft.com/office/drawing/2014/main" id="{9F38A79C-8AEF-FCFB-3D9C-9152601B267E}"/>
                </a:ext>
              </a:extLst>
            </p:cNvPr>
            <p:cNvSpPr/>
            <p:nvPr/>
          </p:nvSpPr>
          <p:spPr>
            <a:xfrm>
              <a:off x="1442393" y="1355322"/>
              <a:ext cx="32667" cy="14188"/>
            </a:xfrm>
            <a:custGeom>
              <a:avLst/>
              <a:gdLst/>
              <a:ahLst/>
              <a:cxnLst/>
              <a:rect l="l" t="t" r="r" b="b"/>
              <a:pathLst>
                <a:path w="2406" h="1045" extrusionOk="0">
                  <a:moveTo>
                    <a:pt x="180" y="1"/>
                  </a:moveTo>
                  <a:cubicBezTo>
                    <a:pt x="127" y="1"/>
                    <a:pt x="79" y="31"/>
                    <a:pt x="57" y="82"/>
                  </a:cubicBezTo>
                  <a:cubicBezTo>
                    <a:pt x="1" y="201"/>
                    <a:pt x="46" y="247"/>
                    <a:pt x="162" y="341"/>
                  </a:cubicBezTo>
                  <a:cubicBezTo>
                    <a:pt x="263" y="425"/>
                    <a:pt x="386" y="534"/>
                    <a:pt x="400" y="730"/>
                  </a:cubicBezTo>
                  <a:cubicBezTo>
                    <a:pt x="407" y="845"/>
                    <a:pt x="477" y="947"/>
                    <a:pt x="578" y="996"/>
                  </a:cubicBezTo>
                  <a:cubicBezTo>
                    <a:pt x="642" y="1029"/>
                    <a:pt x="717" y="1045"/>
                    <a:pt x="795" y="1045"/>
                  </a:cubicBezTo>
                  <a:cubicBezTo>
                    <a:pt x="907" y="1045"/>
                    <a:pt x="1025" y="1011"/>
                    <a:pt x="1124" y="947"/>
                  </a:cubicBezTo>
                  <a:cubicBezTo>
                    <a:pt x="1256" y="861"/>
                    <a:pt x="1455" y="845"/>
                    <a:pt x="1669" y="845"/>
                  </a:cubicBezTo>
                  <a:cubicBezTo>
                    <a:pt x="1744" y="845"/>
                    <a:pt x="1821" y="847"/>
                    <a:pt x="1898" y="849"/>
                  </a:cubicBezTo>
                  <a:cubicBezTo>
                    <a:pt x="1967" y="851"/>
                    <a:pt x="2038" y="853"/>
                    <a:pt x="2105" y="853"/>
                  </a:cubicBezTo>
                  <a:cubicBezTo>
                    <a:pt x="2240" y="853"/>
                    <a:pt x="2355" y="844"/>
                    <a:pt x="2395" y="807"/>
                  </a:cubicBezTo>
                  <a:cubicBezTo>
                    <a:pt x="2402" y="800"/>
                    <a:pt x="2406" y="793"/>
                    <a:pt x="2402" y="782"/>
                  </a:cubicBezTo>
                  <a:cubicBezTo>
                    <a:pt x="2402" y="768"/>
                    <a:pt x="2395" y="712"/>
                    <a:pt x="2269" y="607"/>
                  </a:cubicBezTo>
                  <a:cubicBezTo>
                    <a:pt x="1985" y="378"/>
                    <a:pt x="1446" y="160"/>
                    <a:pt x="1172" y="160"/>
                  </a:cubicBezTo>
                  <a:cubicBezTo>
                    <a:pt x="1145" y="160"/>
                    <a:pt x="1121" y="162"/>
                    <a:pt x="1100" y="166"/>
                  </a:cubicBezTo>
                  <a:cubicBezTo>
                    <a:pt x="1066" y="173"/>
                    <a:pt x="1031" y="176"/>
                    <a:pt x="996" y="176"/>
                  </a:cubicBezTo>
                  <a:cubicBezTo>
                    <a:pt x="854" y="176"/>
                    <a:pt x="698" y="127"/>
                    <a:pt x="547" y="82"/>
                  </a:cubicBezTo>
                  <a:cubicBezTo>
                    <a:pt x="400" y="36"/>
                    <a:pt x="284" y="1"/>
                    <a:pt x="197" y="1"/>
                  </a:cubicBezTo>
                  <a:cubicBezTo>
                    <a:pt x="191" y="1"/>
                    <a:pt x="186" y="1"/>
                    <a:pt x="1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3" name="Google Shape;6680;p64">
              <a:extLst>
                <a:ext uri="{FF2B5EF4-FFF2-40B4-BE49-F238E27FC236}">
                  <a16:creationId xmlns:a16="http://schemas.microsoft.com/office/drawing/2014/main" id="{BAF3967E-F9AD-BFB8-41FF-9EEBB3BAE027}"/>
                </a:ext>
              </a:extLst>
            </p:cNvPr>
            <p:cNvSpPr/>
            <p:nvPr/>
          </p:nvSpPr>
          <p:spPr>
            <a:xfrm>
              <a:off x="1605052" y="1620450"/>
              <a:ext cx="47684" cy="43136"/>
            </a:xfrm>
            <a:custGeom>
              <a:avLst/>
              <a:gdLst/>
              <a:ahLst/>
              <a:cxnLst/>
              <a:rect l="l" t="t" r="r" b="b"/>
              <a:pathLst>
                <a:path w="3512" h="3177" extrusionOk="0">
                  <a:moveTo>
                    <a:pt x="1779" y="1"/>
                  </a:moveTo>
                  <a:cubicBezTo>
                    <a:pt x="1737" y="1"/>
                    <a:pt x="1694" y="10"/>
                    <a:pt x="1656" y="27"/>
                  </a:cubicBezTo>
                  <a:cubicBezTo>
                    <a:pt x="1432" y="114"/>
                    <a:pt x="806" y="979"/>
                    <a:pt x="806" y="1196"/>
                  </a:cubicBezTo>
                  <a:cubicBezTo>
                    <a:pt x="806" y="1392"/>
                    <a:pt x="795" y="1609"/>
                    <a:pt x="683" y="1718"/>
                  </a:cubicBezTo>
                  <a:cubicBezTo>
                    <a:pt x="639" y="1756"/>
                    <a:pt x="582" y="1780"/>
                    <a:pt x="525" y="1780"/>
                  </a:cubicBezTo>
                  <a:cubicBezTo>
                    <a:pt x="515" y="1780"/>
                    <a:pt x="504" y="1779"/>
                    <a:pt x="494" y="1777"/>
                  </a:cubicBezTo>
                  <a:cubicBezTo>
                    <a:pt x="489" y="1777"/>
                    <a:pt x="483" y="1777"/>
                    <a:pt x="478" y="1777"/>
                  </a:cubicBezTo>
                  <a:cubicBezTo>
                    <a:pt x="356" y="1777"/>
                    <a:pt x="227" y="1850"/>
                    <a:pt x="200" y="1921"/>
                  </a:cubicBezTo>
                  <a:cubicBezTo>
                    <a:pt x="196" y="1931"/>
                    <a:pt x="189" y="1952"/>
                    <a:pt x="231" y="1984"/>
                  </a:cubicBezTo>
                  <a:cubicBezTo>
                    <a:pt x="259" y="2005"/>
                    <a:pt x="281" y="2040"/>
                    <a:pt x="288" y="2075"/>
                  </a:cubicBezTo>
                  <a:cubicBezTo>
                    <a:pt x="298" y="2162"/>
                    <a:pt x="228" y="2250"/>
                    <a:pt x="147" y="2351"/>
                  </a:cubicBezTo>
                  <a:cubicBezTo>
                    <a:pt x="81" y="2435"/>
                    <a:pt x="0" y="2537"/>
                    <a:pt x="11" y="2593"/>
                  </a:cubicBezTo>
                  <a:cubicBezTo>
                    <a:pt x="11" y="2600"/>
                    <a:pt x="18" y="2617"/>
                    <a:pt x="60" y="2642"/>
                  </a:cubicBezTo>
                  <a:cubicBezTo>
                    <a:pt x="105" y="2667"/>
                    <a:pt x="160" y="2676"/>
                    <a:pt x="221" y="2676"/>
                  </a:cubicBezTo>
                  <a:cubicBezTo>
                    <a:pt x="299" y="2676"/>
                    <a:pt x="386" y="2661"/>
                    <a:pt x="477" y="2645"/>
                  </a:cubicBezTo>
                  <a:cubicBezTo>
                    <a:pt x="582" y="2626"/>
                    <a:pt x="688" y="2615"/>
                    <a:pt x="796" y="2615"/>
                  </a:cubicBezTo>
                  <a:cubicBezTo>
                    <a:pt x="824" y="2615"/>
                    <a:pt x="851" y="2616"/>
                    <a:pt x="879" y="2617"/>
                  </a:cubicBezTo>
                  <a:cubicBezTo>
                    <a:pt x="983" y="2630"/>
                    <a:pt x="1077" y="2639"/>
                    <a:pt x="1164" y="2639"/>
                  </a:cubicBezTo>
                  <a:cubicBezTo>
                    <a:pt x="1326" y="2639"/>
                    <a:pt x="1466" y="2607"/>
                    <a:pt x="1607" y="2502"/>
                  </a:cubicBezTo>
                  <a:cubicBezTo>
                    <a:pt x="1671" y="2454"/>
                    <a:pt x="1725" y="2436"/>
                    <a:pt x="1771" y="2436"/>
                  </a:cubicBezTo>
                  <a:cubicBezTo>
                    <a:pt x="1852" y="2436"/>
                    <a:pt x="1909" y="2491"/>
                    <a:pt x="1954" y="2533"/>
                  </a:cubicBezTo>
                  <a:cubicBezTo>
                    <a:pt x="2009" y="2586"/>
                    <a:pt x="2049" y="2619"/>
                    <a:pt x="2112" y="2619"/>
                  </a:cubicBezTo>
                  <a:cubicBezTo>
                    <a:pt x="2121" y="2619"/>
                    <a:pt x="2130" y="2619"/>
                    <a:pt x="2139" y="2617"/>
                  </a:cubicBezTo>
                  <a:cubicBezTo>
                    <a:pt x="2151" y="2616"/>
                    <a:pt x="2167" y="2614"/>
                    <a:pt x="2185" y="2614"/>
                  </a:cubicBezTo>
                  <a:cubicBezTo>
                    <a:pt x="2223" y="2614"/>
                    <a:pt x="2269" y="2623"/>
                    <a:pt x="2290" y="2663"/>
                  </a:cubicBezTo>
                  <a:cubicBezTo>
                    <a:pt x="2325" y="2722"/>
                    <a:pt x="2276" y="2782"/>
                    <a:pt x="2209" y="2859"/>
                  </a:cubicBezTo>
                  <a:cubicBezTo>
                    <a:pt x="2160" y="2918"/>
                    <a:pt x="2083" y="3002"/>
                    <a:pt x="2083" y="3058"/>
                  </a:cubicBezTo>
                  <a:cubicBezTo>
                    <a:pt x="2143" y="3027"/>
                    <a:pt x="2199" y="2992"/>
                    <a:pt x="2255" y="2950"/>
                  </a:cubicBezTo>
                  <a:cubicBezTo>
                    <a:pt x="2318" y="2901"/>
                    <a:pt x="2388" y="2859"/>
                    <a:pt x="2458" y="2820"/>
                  </a:cubicBezTo>
                  <a:cubicBezTo>
                    <a:pt x="2518" y="2789"/>
                    <a:pt x="2584" y="2775"/>
                    <a:pt x="2651" y="2775"/>
                  </a:cubicBezTo>
                  <a:cubicBezTo>
                    <a:pt x="2655" y="2775"/>
                    <a:pt x="2660" y="2775"/>
                    <a:pt x="2664" y="2775"/>
                  </a:cubicBezTo>
                  <a:cubicBezTo>
                    <a:pt x="2740" y="2775"/>
                    <a:pt x="2815" y="2802"/>
                    <a:pt x="2871" y="2855"/>
                  </a:cubicBezTo>
                  <a:cubicBezTo>
                    <a:pt x="2927" y="2918"/>
                    <a:pt x="2931" y="3009"/>
                    <a:pt x="2885" y="3076"/>
                  </a:cubicBezTo>
                  <a:cubicBezTo>
                    <a:pt x="2889" y="3093"/>
                    <a:pt x="2966" y="3149"/>
                    <a:pt x="3113" y="3170"/>
                  </a:cubicBezTo>
                  <a:cubicBezTo>
                    <a:pt x="3140" y="3174"/>
                    <a:pt x="3168" y="3176"/>
                    <a:pt x="3197" y="3176"/>
                  </a:cubicBezTo>
                  <a:cubicBezTo>
                    <a:pt x="3301" y="3176"/>
                    <a:pt x="3409" y="3149"/>
                    <a:pt x="3452" y="3072"/>
                  </a:cubicBezTo>
                  <a:cubicBezTo>
                    <a:pt x="3512" y="2967"/>
                    <a:pt x="3477" y="2820"/>
                    <a:pt x="3417" y="2726"/>
                  </a:cubicBezTo>
                  <a:cubicBezTo>
                    <a:pt x="3375" y="2663"/>
                    <a:pt x="3340" y="2642"/>
                    <a:pt x="3330" y="2642"/>
                  </a:cubicBezTo>
                  <a:lnTo>
                    <a:pt x="3323" y="2652"/>
                  </a:lnTo>
                  <a:cubicBezTo>
                    <a:pt x="3286" y="2726"/>
                    <a:pt x="3235" y="2741"/>
                    <a:pt x="3202" y="2741"/>
                  </a:cubicBezTo>
                  <a:cubicBezTo>
                    <a:pt x="3198" y="2741"/>
                    <a:pt x="3194" y="2740"/>
                    <a:pt x="3190" y="2740"/>
                  </a:cubicBezTo>
                  <a:cubicBezTo>
                    <a:pt x="3127" y="2726"/>
                    <a:pt x="3081" y="2677"/>
                    <a:pt x="3071" y="2617"/>
                  </a:cubicBezTo>
                  <a:cubicBezTo>
                    <a:pt x="3039" y="2488"/>
                    <a:pt x="3088" y="2355"/>
                    <a:pt x="3193" y="2278"/>
                  </a:cubicBezTo>
                  <a:cubicBezTo>
                    <a:pt x="3214" y="2264"/>
                    <a:pt x="3232" y="2246"/>
                    <a:pt x="3246" y="2229"/>
                  </a:cubicBezTo>
                  <a:cubicBezTo>
                    <a:pt x="3225" y="2225"/>
                    <a:pt x="3204" y="2223"/>
                    <a:pt x="3183" y="2223"/>
                  </a:cubicBezTo>
                  <a:cubicBezTo>
                    <a:pt x="3131" y="2223"/>
                    <a:pt x="3081" y="2235"/>
                    <a:pt x="3036" y="2260"/>
                  </a:cubicBezTo>
                  <a:cubicBezTo>
                    <a:pt x="3015" y="2274"/>
                    <a:pt x="2991" y="2280"/>
                    <a:pt x="2968" y="2280"/>
                  </a:cubicBezTo>
                  <a:cubicBezTo>
                    <a:pt x="2917" y="2280"/>
                    <a:pt x="2868" y="2251"/>
                    <a:pt x="2847" y="2201"/>
                  </a:cubicBezTo>
                  <a:cubicBezTo>
                    <a:pt x="2780" y="2071"/>
                    <a:pt x="2833" y="1732"/>
                    <a:pt x="2990" y="1620"/>
                  </a:cubicBezTo>
                  <a:cubicBezTo>
                    <a:pt x="2924" y="1585"/>
                    <a:pt x="2854" y="1560"/>
                    <a:pt x="2784" y="1550"/>
                  </a:cubicBezTo>
                  <a:cubicBezTo>
                    <a:pt x="2768" y="1547"/>
                    <a:pt x="2752" y="1545"/>
                    <a:pt x="2736" y="1545"/>
                  </a:cubicBezTo>
                  <a:cubicBezTo>
                    <a:pt x="2713" y="1545"/>
                    <a:pt x="2691" y="1548"/>
                    <a:pt x="2668" y="1557"/>
                  </a:cubicBezTo>
                  <a:cubicBezTo>
                    <a:pt x="2668" y="1637"/>
                    <a:pt x="2612" y="1693"/>
                    <a:pt x="2521" y="1707"/>
                  </a:cubicBezTo>
                  <a:cubicBezTo>
                    <a:pt x="2507" y="1709"/>
                    <a:pt x="2492" y="1710"/>
                    <a:pt x="2476" y="1710"/>
                  </a:cubicBezTo>
                  <a:cubicBezTo>
                    <a:pt x="2322" y="1710"/>
                    <a:pt x="2097" y="1619"/>
                    <a:pt x="2055" y="1476"/>
                  </a:cubicBezTo>
                  <a:cubicBezTo>
                    <a:pt x="2041" y="1424"/>
                    <a:pt x="1975" y="1382"/>
                    <a:pt x="1919" y="1343"/>
                  </a:cubicBezTo>
                  <a:cubicBezTo>
                    <a:pt x="1856" y="1301"/>
                    <a:pt x="1793" y="1259"/>
                    <a:pt x="1786" y="1192"/>
                  </a:cubicBezTo>
                  <a:cubicBezTo>
                    <a:pt x="1782" y="1161"/>
                    <a:pt x="1793" y="1129"/>
                    <a:pt x="1810" y="1105"/>
                  </a:cubicBezTo>
                  <a:cubicBezTo>
                    <a:pt x="1774" y="1095"/>
                    <a:pt x="1735" y="1090"/>
                    <a:pt x="1696" y="1090"/>
                  </a:cubicBezTo>
                  <a:cubicBezTo>
                    <a:pt x="1664" y="1090"/>
                    <a:pt x="1632" y="1094"/>
                    <a:pt x="1600" y="1101"/>
                  </a:cubicBezTo>
                  <a:cubicBezTo>
                    <a:pt x="1569" y="1112"/>
                    <a:pt x="1527" y="1129"/>
                    <a:pt x="1520" y="1164"/>
                  </a:cubicBezTo>
                  <a:cubicBezTo>
                    <a:pt x="1499" y="1248"/>
                    <a:pt x="1457" y="1270"/>
                    <a:pt x="1425" y="1273"/>
                  </a:cubicBezTo>
                  <a:cubicBezTo>
                    <a:pt x="1423" y="1273"/>
                    <a:pt x="1420" y="1273"/>
                    <a:pt x="1417" y="1273"/>
                  </a:cubicBezTo>
                  <a:cubicBezTo>
                    <a:pt x="1378" y="1273"/>
                    <a:pt x="1340" y="1249"/>
                    <a:pt x="1327" y="1210"/>
                  </a:cubicBezTo>
                  <a:cubicBezTo>
                    <a:pt x="1278" y="1112"/>
                    <a:pt x="1285" y="895"/>
                    <a:pt x="1457" y="716"/>
                  </a:cubicBezTo>
                  <a:cubicBezTo>
                    <a:pt x="1537" y="625"/>
                    <a:pt x="1600" y="517"/>
                    <a:pt x="1635" y="398"/>
                  </a:cubicBezTo>
                  <a:cubicBezTo>
                    <a:pt x="1681" y="279"/>
                    <a:pt x="1719" y="170"/>
                    <a:pt x="1859" y="90"/>
                  </a:cubicBezTo>
                  <a:cubicBezTo>
                    <a:pt x="1901" y="62"/>
                    <a:pt x="1912" y="44"/>
                    <a:pt x="1912" y="37"/>
                  </a:cubicBezTo>
                  <a:cubicBezTo>
                    <a:pt x="1905" y="30"/>
                    <a:pt x="1894" y="23"/>
                    <a:pt x="1884" y="20"/>
                  </a:cubicBezTo>
                  <a:cubicBezTo>
                    <a:pt x="1850" y="7"/>
                    <a:pt x="1815" y="1"/>
                    <a:pt x="177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4" name="Google Shape;6681;p64">
              <a:extLst>
                <a:ext uri="{FF2B5EF4-FFF2-40B4-BE49-F238E27FC236}">
                  <a16:creationId xmlns:a16="http://schemas.microsoft.com/office/drawing/2014/main" id="{70F32A38-7FA2-0D0C-82D9-FE356E495A08}"/>
                </a:ext>
              </a:extLst>
            </p:cNvPr>
            <p:cNvSpPr/>
            <p:nvPr/>
          </p:nvSpPr>
          <p:spPr>
            <a:xfrm>
              <a:off x="1053479" y="1595277"/>
              <a:ext cx="11704" cy="15777"/>
            </a:xfrm>
            <a:custGeom>
              <a:avLst/>
              <a:gdLst/>
              <a:ahLst/>
              <a:cxnLst/>
              <a:rect l="l" t="t" r="r" b="b"/>
              <a:pathLst>
                <a:path w="862" h="1162" extrusionOk="0">
                  <a:moveTo>
                    <a:pt x="329" y="0"/>
                  </a:moveTo>
                  <a:cubicBezTo>
                    <a:pt x="325" y="0"/>
                    <a:pt x="320" y="0"/>
                    <a:pt x="316" y="1"/>
                  </a:cubicBezTo>
                  <a:cubicBezTo>
                    <a:pt x="232" y="4"/>
                    <a:pt x="148" y="29"/>
                    <a:pt x="74" y="74"/>
                  </a:cubicBezTo>
                  <a:cubicBezTo>
                    <a:pt x="29" y="95"/>
                    <a:pt x="1" y="144"/>
                    <a:pt x="4" y="197"/>
                  </a:cubicBezTo>
                  <a:cubicBezTo>
                    <a:pt x="1" y="470"/>
                    <a:pt x="445" y="970"/>
                    <a:pt x="715" y="1121"/>
                  </a:cubicBezTo>
                  <a:cubicBezTo>
                    <a:pt x="776" y="1155"/>
                    <a:pt x="811" y="1161"/>
                    <a:pt x="828" y="1161"/>
                  </a:cubicBezTo>
                  <a:cubicBezTo>
                    <a:pt x="837" y="1161"/>
                    <a:pt x="841" y="1160"/>
                    <a:pt x="841" y="1160"/>
                  </a:cubicBezTo>
                  <a:cubicBezTo>
                    <a:pt x="862" y="1128"/>
                    <a:pt x="774" y="953"/>
                    <a:pt x="725" y="858"/>
                  </a:cubicBezTo>
                  <a:cubicBezTo>
                    <a:pt x="641" y="697"/>
                    <a:pt x="550" y="519"/>
                    <a:pt x="550" y="372"/>
                  </a:cubicBezTo>
                  <a:cubicBezTo>
                    <a:pt x="550" y="204"/>
                    <a:pt x="501" y="74"/>
                    <a:pt x="421" y="25"/>
                  </a:cubicBezTo>
                  <a:cubicBezTo>
                    <a:pt x="393" y="10"/>
                    <a:pt x="361" y="0"/>
                    <a:pt x="3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5" name="Google Shape;6682;p64">
              <a:extLst>
                <a:ext uri="{FF2B5EF4-FFF2-40B4-BE49-F238E27FC236}">
                  <a16:creationId xmlns:a16="http://schemas.microsoft.com/office/drawing/2014/main" id="{0A2C7D99-B316-FE84-B261-9F0FF2AFBE9E}"/>
                </a:ext>
              </a:extLst>
            </p:cNvPr>
            <p:cNvSpPr/>
            <p:nvPr/>
          </p:nvSpPr>
          <p:spPr>
            <a:xfrm>
              <a:off x="1341580" y="1422123"/>
              <a:ext cx="1439" cy="2009"/>
            </a:xfrm>
            <a:custGeom>
              <a:avLst/>
              <a:gdLst/>
              <a:ahLst/>
              <a:cxnLst/>
              <a:rect l="l" t="t" r="r" b="b"/>
              <a:pathLst>
                <a:path w="106" h="148" extrusionOk="0">
                  <a:moveTo>
                    <a:pt x="105" y="0"/>
                  </a:moveTo>
                  <a:lnTo>
                    <a:pt x="77" y="32"/>
                  </a:lnTo>
                  <a:cubicBezTo>
                    <a:pt x="32" y="81"/>
                    <a:pt x="0" y="116"/>
                    <a:pt x="0" y="147"/>
                  </a:cubicBezTo>
                  <a:cubicBezTo>
                    <a:pt x="42" y="102"/>
                    <a:pt x="77" y="53"/>
                    <a:pt x="1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6" name="Google Shape;6683;p64">
              <a:extLst>
                <a:ext uri="{FF2B5EF4-FFF2-40B4-BE49-F238E27FC236}">
                  <a16:creationId xmlns:a16="http://schemas.microsoft.com/office/drawing/2014/main" id="{4D385BFB-49D0-6BD9-F2C0-ADE3D55B8679}"/>
                </a:ext>
              </a:extLst>
            </p:cNvPr>
            <p:cNvSpPr/>
            <p:nvPr/>
          </p:nvSpPr>
          <p:spPr>
            <a:xfrm>
              <a:off x="993779" y="1350298"/>
              <a:ext cx="636812" cy="355798"/>
            </a:xfrm>
            <a:custGeom>
              <a:avLst/>
              <a:gdLst/>
              <a:ahLst/>
              <a:cxnLst/>
              <a:rect l="l" t="t" r="r" b="b"/>
              <a:pathLst>
                <a:path w="46902" h="26205" extrusionOk="0">
                  <a:moveTo>
                    <a:pt x="26126" y="0"/>
                  </a:moveTo>
                  <a:cubicBezTo>
                    <a:pt x="25749" y="0"/>
                    <a:pt x="25224" y="93"/>
                    <a:pt x="25161" y="165"/>
                  </a:cubicBezTo>
                  <a:cubicBezTo>
                    <a:pt x="25158" y="165"/>
                    <a:pt x="25158" y="168"/>
                    <a:pt x="25154" y="168"/>
                  </a:cubicBezTo>
                  <a:cubicBezTo>
                    <a:pt x="25154" y="182"/>
                    <a:pt x="25196" y="221"/>
                    <a:pt x="25217" y="242"/>
                  </a:cubicBezTo>
                  <a:cubicBezTo>
                    <a:pt x="25277" y="301"/>
                    <a:pt x="25350" y="371"/>
                    <a:pt x="25319" y="466"/>
                  </a:cubicBezTo>
                  <a:cubicBezTo>
                    <a:pt x="25312" y="498"/>
                    <a:pt x="25287" y="526"/>
                    <a:pt x="25259" y="540"/>
                  </a:cubicBezTo>
                  <a:cubicBezTo>
                    <a:pt x="25241" y="548"/>
                    <a:pt x="25222" y="551"/>
                    <a:pt x="25203" y="551"/>
                  </a:cubicBezTo>
                  <a:cubicBezTo>
                    <a:pt x="25156" y="551"/>
                    <a:pt x="25106" y="530"/>
                    <a:pt x="25056" y="508"/>
                  </a:cubicBezTo>
                  <a:cubicBezTo>
                    <a:pt x="25018" y="487"/>
                    <a:pt x="24976" y="473"/>
                    <a:pt x="24934" y="470"/>
                  </a:cubicBezTo>
                  <a:lnTo>
                    <a:pt x="24934" y="470"/>
                  </a:lnTo>
                  <a:cubicBezTo>
                    <a:pt x="24934" y="505"/>
                    <a:pt x="24941" y="540"/>
                    <a:pt x="24948" y="571"/>
                  </a:cubicBezTo>
                  <a:cubicBezTo>
                    <a:pt x="24976" y="729"/>
                    <a:pt x="24983" y="890"/>
                    <a:pt x="24969" y="1047"/>
                  </a:cubicBezTo>
                  <a:cubicBezTo>
                    <a:pt x="24944" y="1362"/>
                    <a:pt x="25004" y="1429"/>
                    <a:pt x="25091" y="1523"/>
                  </a:cubicBezTo>
                  <a:cubicBezTo>
                    <a:pt x="25112" y="1548"/>
                    <a:pt x="25137" y="1576"/>
                    <a:pt x="25161" y="1607"/>
                  </a:cubicBezTo>
                  <a:cubicBezTo>
                    <a:pt x="25280" y="1761"/>
                    <a:pt x="25277" y="1947"/>
                    <a:pt x="25273" y="2164"/>
                  </a:cubicBezTo>
                  <a:lnTo>
                    <a:pt x="25273" y="2279"/>
                  </a:lnTo>
                  <a:cubicBezTo>
                    <a:pt x="25273" y="2525"/>
                    <a:pt x="25091" y="2581"/>
                    <a:pt x="24983" y="2616"/>
                  </a:cubicBezTo>
                  <a:lnTo>
                    <a:pt x="24944" y="2630"/>
                  </a:lnTo>
                  <a:lnTo>
                    <a:pt x="24965" y="2651"/>
                  </a:lnTo>
                  <a:cubicBezTo>
                    <a:pt x="25032" y="2707"/>
                    <a:pt x="25140" y="2805"/>
                    <a:pt x="25102" y="2938"/>
                  </a:cubicBezTo>
                  <a:cubicBezTo>
                    <a:pt x="25091" y="2980"/>
                    <a:pt x="25067" y="3015"/>
                    <a:pt x="25028" y="3032"/>
                  </a:cubicBezTo>
                  <a:cubicBezTo>
                    <a:pt x="25010" y="3040"/>
                    <a:pt x="24991" y="3044"/>
                    <a:pt x="24971" y="3044"/>
                  </a:cubicBezTo>
                  <a:cubicBezTo>
                    <a:pt x="24915" y="3044"/>
                    <a:pt x="24852" y="3015"/>
                    <a:pt x="24790" y="2987"/>
                  </a:cubicBezTo>
                  <a:cubicBezTo>
                    <a:pt x="24737" y="2963"/>
                    <a:pt x="24674" y="2934"/>
                    <a:pt x="24632" y="2934"/>
                  </a:cubicBezTo>
                  <a:cubicBezTo>
                    <a:pt x="24625" y="2934"/>
                    <a:pt x="24618" y="2935"/>
                    <a:pt x="24612" y="2938"/>
                  </a:cubicBezTo>
                  <a:cubicBezTo>
                    <a:pt x="24573" y="2948"/>
                    <a:pt x="24506" y="3050"/>
                    <a:pt x="24482" y="3172"/>
                  </a:cubicBezTo>
                  <a:cubicBezTo>
                    <a:pt x="24461" y="3284"/>
                    <a:pt x="24475" y="3379"/>
                    <a:pt x="24524" y="3417"/>
                  </a:cubicBezTo>
                  <a:cubicBezTo>
                    <a:pt x="24559" y="3445"/>
                    <a:pt x="24587" y="3466"/>
                    <a:pt x="24612" y="3484"/>
                  </a:cubicBezTo>
                  <a:cubicBezTo>
                    <a:pt x="24661" y="3519"/>
                    <a:pt x="24703" y="3550"/>
                    <a:pt x="24710" y="3603"/>
                  </a:cubicBezTo>
                  <a:cubicBezTo>
                    <a:pt x="24717" y="3655"/>
                    <a:pt x="24689" y="3701"/>
                    <a:pt x="24633" y="3774"/>
                  </a:cubicBezTo>
                  <a:cubicBezTo>
                    <a:pt x="24485" y="3963"/>
                    <a:pt x="24436" y="4124"/>
                    <a:pt x="24657" y="4299"/>
                  </a:cubicBezTo>
                  <a:cubicBezTo>
                    <a:pt x="24804" y="4415"/>
                    <a:pt x="25025" y="4464"/>
                    <a:pt x="25235" y="4509"/>
                  </a:cubicBezTo>
                  <a:cubicBezTo>
                    <a:pt x="25431" y="4555"/>
                    <a:pt x="25616" y="4594"/>
                    <a:pt x="25756" y="4685"/>
                  </a:cubicBezTo>
                  <a:cubicBezTo>
                    <a:pt x="25844" y="4741"/>
                    <a:pt x="25893" y="4786"/>
                    <a:pt x="25886" y="4846"/>
                  </a:cubicBezTo>
                  <a:cubicBezTo>
                    <a:pt x="25882" y="4902"/>
                    <a:pt x="25830" y="4919"/>
                    <a:pt x="25798" y="4933"/>
                  </a:cubicBezTo>
                  <a:cubicBezTo>
                    <a:pt x="25781" y="4940"/>
                    <a:pt x="25767" y="4947"/>
                    <a:pt x="25753" y="4958"/>
                  </a:cubicBezTo>
                  <a:cubicBezTo>
                    <a:pt x="25756" y="4968"/>
                    <a:pt x="25760" y="4979"/>
                    <a:pt x="25767" y="4989"/>
                  </a:cubicBezTo>
                  <a:cubicBezTo>
                    <a:pt x="25798" y="5042"/>
                    <a:pt x="25805" y="5108"/>
                    <a:pt x="25788" y="5168"/>
                  </a:cubicBezTo>
                  <a:cubicBezTo>
                    <a:pt x="25832" y="5115"/>
                    <a:pt x="25873" y="5100"/>
                    <a:pt x="25908" y="5100"/>
                  </a:cubicBezTo>
                  <a:cubicBezTo>
                    <a:pt x="25920" y="5100"/>
                    <a:pt x="25931" y="5102"/>
                    <a:pt x="25942" y="5105"/>
                  </a:cubicBezTo>
                  <a:cubicBezTo>
                    <a:pt x="26071" y="5140"/>
                    <a:pt x="26120" y="5402"/>
                    <a:pt x="26113" y="5570"/>
                  </a:cubicBezTo>
                  <a:cubicBezTo>
                    <a:pt x="26103" y="5735"/>
                    <a:pt x="26001" y="5770"/>
                    <a:pt x="25921" y="5798"/>
                  </a:cubicBezTo>
                  <a:cubicBezTo>
                    <a:pt x="25840" y="5815"/>
                    <a:pt x="25770" y="5864"/>
                    <a:pt x="25725" y="5931"/>
                  </a:cubicBezTo>
                  <a:cubicBezTo>
                    <a:pt x="25587" y="6131"/>
                    <a:pt x="25451" y="6196"/>
                    <a:pt x="25294" y="6196"/>
                  </a:cubicBezTo>
                  <a:cubicBezTo>
                    <a:pt x="25240" y="6196"/>
                    <a:pt x="25183" y="6188"/>
                    <a:pt x="25123" y="6176"/>
                  </a:cubicBezTo>
                  <a:cubicBezTo>
                    <a:pt x="25114" y="6173"/>
                    <a:pt x="25106" y="6172"/>
                    <a:pt x="25100" y="6172"/>
                  </a:cubicBezTo>
                  <a:cubicBezTo>
                    <a:pt x="25092" y="6172"/>
                    <a:pt x="25086" y="6174"/>
                    <a:pt x="25084" y="6176"/>
                  </a:cubicBezTo>
                  <a:cubicBezTo>
                    <a:pt x="25060" y="6207"/>
                    <a:pt x="25077" y="6365"/>
                    <a:pt x="25196" y="6617"/>
                  </a:cubicBezTo>
                  <a:cubicBezTo>
                    <a:pt x="25263" y="6754"/>
                    <a:pt x="25235" y="6834"/>
                    <a:pt x="25196" y="6876"/>
                  </a:cubicBezTo>
                  <a:cubicBezTo>
                    <a:pt x="25158" y="6921"/>
                    <a:pt x="25098" y="6943"/>
                    <a:pt x="25016" y="6943"/>
                  </a:cubicBezTo>
                  <a:cubicBezTo>
                    <a:pt x="24963" y="6943"/>
                    <a:pt x="24900" y="6934"/>
                    <a:pt x="24829" y="6915"/>
                  </a:cubicBezTo>
                  <a:cubicBezTo>
                    <a:pt x="24636" y="6862"/>
                    <a:pt x="24503" y="6764"/>
                    <a:pt x="24457" y="6645"/>
                  </a:cubicBezTo>
                  <a:cubicBezTo>
                    <a:pt x="24422" y="6550"/>
                    <a:pt x="24440" y="6445"/>
                    <a:pt x="24499" y="6365"/>
                  </a:cubicBezTo>
                  <a:cubicBezTo>
                    <a:pt x="24612" y="6186"/>
                    <a:pt x="24643" y="6078"/>
                    <a:pt x="24643" y="6039"/>
                  </a:cubicBezTo>
                  <a:lnTo>
                    <a:pt x="24636" y="6039"/>
                  </a:lnTo>
                  <a:cubicBezTo>
                    <a:pt x="24603" y="6045"/>
                    <a:pt x="24562" y="6048"/>
                    <a:pt x="24516" y="6048"/>
                  </a:cubicBezTo>
                  <a:cubicBezTo>
                    <a:pt x="24323" y="6048"/>
                    <a:pt x="24044" y="5993"/>
                    <a:pt x="23939" y="5829"/>
                  </a:cubicBezTo>
                  <a:cubicBezTo>
                    <a:pt x="23922" y="5798"/>
                    <a:pt x="23873" y="5728"/>
                    <a:pt x="23911" y="5668"/>
                  </a:cubicBezTo>
                  <a:cubicBezTo>
                    <a:pt x="23933" y="5635"/>
                    <a:pt x="23973" y="5622"/>
                    <a:pt x="24032" y="5622"/>
                  </a:cubicBezTo>
                  <a:cubicBezTo>
                    <a:pt x="24078" y="5622"/>
                    <a:pt x="24135" y="5630"/>
                    <a:pt x="24205" y="5640"/>
                  </a:cubicBezTo>
                  <a:cubicBezTo>
                    <a:pt x="24265" y="5651"/>
                    <a:pt x="24331" y="5661"/>
                    <a:pt x="24401" y="5668"/>
                  </a:cubicBezTo>
                  <a:cubicBezTo>
                    <a:pt x="24424" y="5671"/>
                    <a:pt x="24442" y="5672"/>
                    <a:pt x="24456" y="5672"/>
                  </a:cubicBezTo>
                  <a:cubicBezTo>
                    <a:pt x="24494" y="5672"/>
                    <a:pt x="24503" y="5665"/>
                    <a:pt x="24503" y="5665"/>
                  </a:cubicBezTo>
                  <a:cubicBezTo>
                    <a:pt x="24506" y="5651"/>
                    <a:pt x="24510" y="5637"/>
                    <a:pt x="24506" y="5623"/>
                  </a:cubicBezTo>
                  <a:cubicBezTo>
                    <a:pt x="24506" y="5570"/>
                    <a:pt x="24506" y="5448"/>
                    <a:pt x="24685" y="5448"/>
                  </a:cubicBezTo>
                  <a:cubicBezTo>
                    <a:pt x="24762" y="5451"/>
                    <a:pt x="24836" y="5458"/>
                    <a:pt x="24909" y="5476"/>
                  </a:cubicBezTo>
                  <a:cubicBezTo>
                    <a:pt x="24968" y="5486"/>
                    <a:pt x="25020" y="5495"/>
                    <a:pt x="25068" y="5495"/>
                  </a:cubicBezTo>
                  <a:cubicBezTo>
                    <a:pt x="25139" y="5495"/>
                    <a:pt x="25203" y="5476"/>
                    <a:pt x="25273" y="5416"/>
                  </a:cubicBezTo>
                  <a:cubicBezTo>
                    <a:pt x="25343" y="5357"/>
                    <a:pt x="25319" y="5276"/>
                    <a:pt x="25280" y="5217"/>
                  </a:cubicBezTo>
                  <a:cubicBezTo>
                    <a:pt x="25225" y="5118"/>
                    <a:pt x="25120" y="5052"/>
                    <a:pt x="25058" y="5052"/>
                  </a:cubicBezTo>
                  <a:cubicBezTo>
                    <a:pt x="25049" y="5052"/>
                    <a:pt x="25042" y="5053"/>
                    <a:pt x="25035" y="5056"/>
                  </a:cubicBezTo>
                  <a:cubicBezTo>
                    <a:pt x="24899" y="5103"/>
                    <a:pt x="24793" y="5127"/>
                    <a:pt x="24711" y="5127"/>
                  </a:cubicBezTo>
                  <a:cubicBezTo>
                    <a:pt x="24654" y="5127"/>
                    <a:pt x="24610" y="5115"/>
                    <a:pt x="24577" y="5091"/>
                  </a:cubicBezTo>
                  <a:cubicBezTo>
                    <a:pt x="24535" y="5059"/>
                    <a:pt x="24510" y="5010"/>
                    <a:pt x="24510" y="4958"/>
                  </a:cubicBezTo>
                  <a:cubicBezTo>
                    <a:pt x="24510" y="4916"/>
                    <a:pt x="24528" y="4874"/>
                    <a:pt x="24559" y="4842"/>
                  </a:cubicBezTo>
                  <a:cubicBezTo>
                    <a:pt x="24599" y="4807"/>
                    <a:pt x="24654" y="4798"/>
                    <a:pt x="24716" y="4798"/>
                  </a:cubicBezTo>
                  <a:cubicBezTo>
                    <a:pt x="24753" y="4798"/>
                    <a:pt x="24792" y="4801"/>
                    <a:pt x="24832" y="4804"/>
                  </a:cubicBezTo>
                  <a:cubicBezTo>
                    <a:pt x="24868" y="4810"/>
                    <a:pt x="24903" y="4813"/>
                    <a:pt x="24938" y="4813"/>
                  </a:cubicBezTo>
                  <a:cubicBezTo>
                    <a:pt x="24958" y="4813"/>
                    <a:pt x="24977" y="4812"/>
                    <a:pt x="24997" y="4811"/>
                  </a:cubicBezTo>
                  <a:cubicBezTo>
                    <a:pt x="24938" y="4760"/>
                    <a:pt x="24862" y="4733"/>
                    <a:pt x="24784" y="4733"/>
                  </a:cubicBezTo>
                  <a:cubicBezTo>
                    <a:pt x="24761" y="4733"/>
                    <a:pt x="24737" y="4736"/>
                    <a:pt x="24713" y="4741"/>
                  </a:cubicBezTo>
                  <a:cubicBezTo>
                    <a:pt x="24624" y="4764"/>
                    <a:pt x="24537" y="4782"/>
                    <a:pt x="24451" y="4782"/>
                  </a:cubicBezTo>
                  <a:cubicBezTo>
                    <a:pt x="24315" y="4782"/>
                    <a:pt x="24182" y="4736"/>
                    <a:pt x="24044" y="4590"/>
                  </a:cubicBezTo>
                  <a:cubicBezTo>
                    <a:pt x="23964" y="4504"/>
                    <a:pt x="23847" y="4428"/>
                    <a:pt x="23744" y="4428"/>
                  </a:cubicBezTo>
                  <a:cubicBezTo>
                    <a:pt x="23726" y="4428"/>
                    <a:pt x="23708" y="4431"/>
                    <a:pt x="23691" y="4436"/>
                  </a:cubicBezTo>
                  <a:cubicBezTo>
                    <a:pt x="23589" y="4464"/>
                    <a:pt x="23544" y="4597"/>
                    <a:pt x="23526" y="4702"/>
                  </a:cubicBezTo>
                  <a:cubicBezTo>
                    <a:pt x="23463" y="5056"/>
                    <a:pt x="23250" y="5063"/>
                    <a:pt x="23110" y="5070"/>
                  </a:cubicBezTo>
                  <a:cubicBezTo>
                    <a:pt x="23033" y="5070"/>
                    <a:pt x="22984" y="5073"/>
                    <a:pt x="22956" y="5108"/>
                  </a:cubicBezTo>
                  <a:cubicBezTo>
                    <a:pt x="22931" y="5136"/>
                    <a:pt x="22938" y="5147"/>
                    <a:pt x="22938" y="5150"/>
                  </a:cubicBezTo>
                  <a:cubicBezTo>
                    <a:pt x="22959" y="5196"/>
                    <a:pt x="23117" y="5269"/>
                    <a:pt x="23393" y="5280"/>
                  </a:cubicBezTo>
                  <a:cubicBezTo>
                    <a:pt x="23680" y="5290"/>
                    <a:pt x="23918" y="5500"/>
                    <a:pt x="23918" y="5626"/>
                  </a:cubicBezTo>
                  <a:cubicBezTo>
                    <a:pt x="23915" y="5685"/>
                    <a:pt x="23869" y="5728"/>
                    <a:pt x="23815" y="5728"/>
                  </a:cubicBezTo>
                  <a:cubicBezTo>
                    <a:pt x="23811" y="5728"/>
                    <a:pt x="23807" y="5728"/>
                    <a:pt x="23803" y="5728"/>
                  </a:cubicBezTo>
                  <a:cubicBezTo>
                    <a:pt x="23775" y="5728"/>
                    <a:pt x="23768" y="5735"/>
                    <a:pt x="23743" y="5784"/>
                  </a:cubicBezTo>
                  <a:cubicBezTo>
                    <a:pt x="23729" y="5829"/>
                    <a:pt x="23694" y="5868"/>
                    <a:pt x="23652" y="5885"/>
                  </a:cubicBezTo>
                  <a:cubicBezTo>
                    <a:pt x="23637" y="5890"/>
                    <a:pt x="23622" y="5892"/>
                    <a:pt x="23606" y="5892"/>
                  </a:cubicBezTo>
                  <a:cubicBezTo>
                    <a:pt x="23575" y="5892"/>
                    <a:pt x="23545" y="5883"/>
                    <a:pt x="23519" y="5864"/>
                  </a:cubicBezTo>
                  <a:cubicBezTo>
                    <a:pt x="23481" y="5846"/>
                    <a:pt x="23446" y="5840"/>
                    <a:pt x="23417" y="5840"/>
                  </a:cubicBezTo>
                  <a:cubicBezTo>
                    <a:pt x="23385" y="5840"/>
                    <a:pt x="23362" y="5848"/>
                    <a:pt x="23355" y="5857"/>
                  </a:cubicBezTo>
                  <a:cubicBezTo>
                    <a:pt x="23351" y="5861"/>
                    <a:pt x="23355" y="5882"/>
                    <a:pt x="23379" y="5910"/>
                  </a:cubicBezTo>
                  <a:cubicBezTo>
                    <a:pt x="23481" y="6032"/>
                    <a:pt x="23428" y="6130"/>
                    <a:pt x="23393" y="6190"/>
                  </a:cubicBezTo>
                  <a:cubicBezTo>
                    <a:pt x="23372" y="6221"/>
                    <a:pt x="23358" y="6260"/>
                    <a:pt x="23358" y="6298"/>
                  </a:cubicBezTo>
                  <a:cubicBezTo>
                    <a:pt x="23365" y="6340"/>
                    <a:pt x="23351" y="6379"/>
                    <a:pt x="23320" y="6407"/>
                  </a:cubicBezTo>
                  <a:cubicBezTo>
                    <a:pt x="23293" y="6429"/>
                    <a:pt x="23260" y="6438"/>
                    <a:pt x="23219" y="6438"/>
                  </a:cubicBezTo>
                  <a:cubicBezTo>
                    <a:pt x="23164" y="6438"/>
                    <a:pt x="23096" y="6422"/>
                    <a:pt x="23015" y="6403"/>
                  </a:cubicBezTo>
                  <a:cubicBezTo>
                    <a:pt x="22938" y="6382"/>
                    <a:pt x="22858" y="6368"/>
                    <a:pt x="22777" y="6358"/>
                  </a:cubicBezTo>
                  <a:cubicBezTo>
                    <a:pt x="22750" y="6355"/>
                    <a:pt x="22720" y="6354"/>
                    <a:pt x="22686" y="6354"/>
                  </a:cubicBezTo>
                  <a:cubicBezTo>
                    <a:pt x="22479" y="6354"/>
                    <a:pt x="22146" y="6401"/>
                    <a:pt x="21730" y="6491"/>
                  </a:cubicBezTo>
                  <a:cubicBezTo>
                    <a:pt x="21657" y="6506"/>
                    <a:pt x="21582" y="6513"/>
                    <a:pt x="21509" y="6513"/>
                  </a:cubicBezTo>
                  <a:cubicBezTo>
                    <a:pt x="21213" y="6513"/>
                    <a:pt x="20932" y="6401"/>
                    <a:pt x="20806" y="6263"/>
                  </a:cubicBezTo>
                  <a:cubicBezTo>
                    <a:pt x="20714" y="6165"/>
                    <a:pt x="20598" y="6150"/>
                    <a:pt x="20443" y="6150"/>
                  </a:cubicBezTo>
                  <a:cubicBezTo>
                    <a:pt x="20416" y="6150"/>
                    <a:pt x="20388" y="6151"/>
                    <a:pt x="20358" y="6151"/>
                  </a:cubicBezTo>
                  <a:lnTo>
                    <a:pt x="20270" y="6151"/>
                  </a:lnTo>
                  <a:cubicBezTo>
                    <a:pt x="20267" y="6152"/>
                    <a:pt x="20264" y="6152"/>
                    <a:pt x="20260" y="6152"/>
                  </a:cubicBezTo>
                  <a:cubicBezTo>
                    <a:pt x="20163" y="6152"/>
                    <a:pt x="20072" y="6103"/>
                    <a:pt x="20015" y="6018"/>
                  </a:cubicBezTo>
                  <a:cubicBezTo>
                    <a:pt x="19964" y="5948"/>
                    <a:pt x="19882" y="5906"/>
                    <a:pt x="19794" y="5906"/>
                  </a:cubicBezTo>
                  <a:cubicBezTo>
                    <a:pt x="19791" y="5906"/>
                    <a:pt x="19787" y="5906"/>
                    <a:pt x="19784" y="5906"/>
                  </a:cubicBezTo>
                  <a:cubicBezTo>
                    <a:pt x="19479" y="5896"/>
                    <a:pt x="19465" y="5672"/>
                    <a:pt x="19455" y="5525"/>
                  </a:cubicBezTo>
                  <a:cubicBezTo>
                    <a:pt x="19455" y="5490"/>
                    <a:pt x="19451" y="5455"/>
                    <a:pt x="19444" y="5420"/>
                  </a:cubicBezTo>
                  <a:cubicBezTo>
                    <a:pt x="19430" y="5406"/>
                    <a:pt x="19409" y="5395"/>
                    <a:pt x="19388" y="5392"/>
                  </a:cubicBezTo>
                  <a:cubicBezTo>
                    <a:pt x="19341" y="5378"/>
                    <a:pt x="19278" y="5372"/>
                    <a:pt x="19208" y="5372"/>
                  </a:cubicBezTo>
                  <a:cubicBezTo>
                    <a:pt x="19012" y="5372"/>
                    <a:pt x="18762" y="5422"/>
                    <a:pt x="18646" y="5497"/>
                  </a:cubicBezTo>
                  <a:cubicBezTo>
                    <a:pt x="18545" y="5560"/>
                    <a:pt x="18415" y="5588"/>
                    <a:pt x="18289" y="5612"/>
                  </a:cubicBezTo>
                  <a:cubicBezTo>
                    <a:pt x="18103" y="5651"/>
                    <a:pt x="17932" y="5686"/>
                    <a:pt x="17869" y="5819"/>
                  </a:cubicBezTo>
                  <a:cubicBezTo>
                    <a:pt x="17830" y="5906"/>
                    <a:pt x="17844" y="5934"/>
                    <a:pt x="17844" y="5938"/>
                  </a:cubicBezTo>
                  <a:cubicBezTo>
                    <a:pt x="17858" y="5957"/>
                    <a:pt x="17918" y="5959"/>
                    <a:pt x="17967" y="5959"/>
                  </a:cubicBezTo>
                  <a:cubicBezTo>
                    <a:pt x="17981" y="5959"/>
                    <a:pt x="17995" y="5959"/>
                    <a:pt x="18005" y="5959"/>
                  </a:cubicBezTo>
                  <a:lnTo>
                    <a:pt x="18051" y="5959"/>
                  </a:lnTo>
                  <a:cubicBezTo>
                    <a:pt x="18100" y="5959"/>
                    <a:pt x="18124" y="5938"/>
                    <a:pt x="18173" y="5899"/>
                  </a:cubicBezTo>
                  <a:cubicBezTo>
                    <a:pt x="18233" y="5846"/>
                    <a:pt x="18309" y="5780"/>
                    <a:pt x="18471" y="5780"/>
                  </a:cubicBezTo>
                  <a:cubicBezTo>
                    <a:pt x="18501" y="5780"/>
                    <a:pt x="18533" y="5782"/>
                    <a:pt x="18569" y="5787"/>
                  </a:cubicBezTo>
                  <a:cubicBezTo>
                    <a:pt x="18586" y="5790"/>
                    <a:pt x="18602" y="5791"/>
                    <a:pt x="18618" y="5791"/>
                  </a:cubicBezTo>
                  <a:cubicBezTo>
                    <a:pt x="18749" y="5791"/>
                    <a:pt x="18866" y="5720"/>
                    <a:pt x="18972" y="5654"/>
                  </a:cubicBezTo>
                  <a:cubicBezTo>
                    <a:pt x="19054" y="5602"/>
                    <a:pt x="19138" y="5549"/>
                    <a:pt x="19216" y="5549"/>
                  </a:cubicBezTo>
                  <a:cubicBezTo>
                    <a:pt x="19258" y="5549"/>
                    <a:pt x="19298" y="5564"/>
                    <a:pt x="19336" y="5602"/>
                  </a:cubicBezTo>
                  <a:cubicBezTo>
                    <a:pt x="19371" y="5633"/>
                    <a:pt x="19381" y="5686"/>
                    <a:pt x="19367" y="5731"/>
                  </a:cubicBezTo>
                  <a:cubicBezTo>
                    <a:pt x="19301" y="5927"/>
                    <a:pt x="18657" y="6148"/>
                    <a:pt x="18401" y="6186"/>
                  </a:cubicBezTo>
                  <a:cubicBezTo>
                    <a:pt x="18286" y="6204"/>
                    <a:pt x="18268" y="6246"/>
                    <a:pt x="18261" y="6260"/>
                  </a:cubicBezTo>
                  <a:cubicBezTo>
                    <a:pt x="18205" y="6389"/>
                    <a:pt x="18429" y="6726"/>
                    <a:pt x="18506" y="6838"/>
                  </a:cubicBezTo>
                  <a:cubicBezTo>
                    <a:pt x="18611" y="6992"/>
                    <a:pt x="18643" y="7083"/>
                    <a:pt x="18615" y="7153"/>
                  </a:cubicBezTo>
                  <a:cubicBezTo>
                    <a:pt x="18583" y="7219"/>
                    <a:pt x="18513" y="7230"/>
                    <a:pt x="18461" y="7240"/>
                  </a:cubicBezTo>
                  <a:cubicBezTo>
                    <a:pt x="18384" y="7254"/>
                    <a:pt x="18384" y="7261"/>
                    <a:pt x="18384" y="7282"/>
                  </a:cubicBezTo>
                  <a:cubicBezTo>
                    <a:pt x="18387" y="7359"/>
                    <a:pt x="18324" y="7426"/>
                    <a:pt x="18247" y="7426"/>
                  </a:cubicBezTo>
                  <a:cubicBezTo>
                    <a:pt x="18240" y="7426"/>
                    <a:pt x="18232" y="7427"/>
                    <a:pt x="18224" y="7427"/>
                  </a:cubicBezTo>
                  <a:cubicBezTo>
                    <a:pt x="18091" y="7427"/>
                    <a:pt x="17882" y="7321"/>
                    <a:pt x="17858" y="7212"/>
                  </a:cubicBezTo>
                  <a:cubicBezTo>
                    <a:pt x="17848" y="7163"/>
                    <a:pt x="17869" y="7104"/>
                    <a:pt x="17956" y="7076"/>
                  </a:cubicBezTo>
                  <a:cubicBezTo>
                    <a:pt x="18033" y="7051"/>
                    <a:pt x="18040" y="7016"/>
                    <a:pt x="18040" y="7006"/>
                  </a:cubicBezTo>
                  <a:cubicBezTo>
                    <a:pt x="18054" y="6939"/>
                    <a:pt x="17984" y="6827"/>
                    <a:pt x="17876" y="6743"/>
                  </a:cubicBezTo>
                  <a:cubicBezTo>
                    <a:pt x="17830" y="6704"/>
                    <a:pt x="17773" y="6683"/>
                    <a:pt x="17714" y="6683"/>
                  </a:cubicBezTo>
                  <a:cubicBezTo>
                    <a:pt x="17710" y="6683"/>
                    <a:pt x="17705" y="6683"/>
                    <a:pt x="17701" y="6684"/>
                  </a:cubicBezTo>
                  <a:cubicBezTo>
                    <a:pt x="17697" y="6684"/>
                    <a:pt x="17692" y="6684"/>
                    <a:pt x="17688" y="6684"/>
                  </a:cubicBezTo>
                  <a:cubicBezTo>
                    <a:pt x="17651" y="6684"/>
                    <a:pt x="17618" y="6670"/>
                    <a:pt x="17592" y="6645"/>
                  </a:cubicBezTo>
                  <a:cubicBezTo>
                    <a:pt x="17568" y="6610"/>
                    <a:pt x="17561" y="6568"/>
                    <a:pt x="17571" y="6526"/>
                  </a:cubicBezTo>
                  <a:cubicBezTo>
                    <a:pt x="17557" y="6526"/>
                    <a:pt x="17543" y="6526"/>
                    <a:pt x="17529" y="6529"/>
                  </a:cubicBezTo>
                  <a:cubicBezTo>
                    <a:pt x="17508" y="6531"/>
                    <a:pt x="17483" y="6533"/>
                    <a:pt x="17456" y="6533"/>
                  </a:cubicBezTo>
                  <a:cubicBezTo>
                    <a:pt x="17388" y="6533"/>
                    <a:pt x="17307" y="6521"/>
                    <a:pt x="17232" y="6463"/>
                  </a:cubicBezTo>
                  <a:lnTo>
                    <a:pt x="17176" y="6421"/>
                  </a:lnTo>
                  <a:cubicBezTo>
                    <a:pt x="17090" y="6351"/>
                    <a:pt x="17035" y="6306"/>
                    <a:pt x="16963" y="6306"/>
                  </a:cubicBezTo>
                  <a:cubicBezTo>
                    <a:pt x="16923" y="6306"/>
                    <a:pt x="16877" y="6320"/>
                    <a:pt x="16819" y="6351"/>
                  </a:cubicBezTo>
                  <a:cubicBezTo>
                    <a:pt x="16661" y="6431"/>
                    <a:pt x="16500" y="6445"/>
                    <a:pt x="16273" y="6466"/>
                  </a:cubicBezTo>
                  <a:cubicBezTo>
                    <a:pt x="16136" y="6480"/>
                    <a:pt x="15982" y="6494"/>
                    <a:pt x="15789" y="6526"/>
                  </a:cubicBezTo>
                  <a:cubicBezTo>
                    <a:pt x="15613" y="6555"/>
                    <a:pt x="15359" y="6573"/>
                    <a:pt x="15100" y="6573"/>
                  </a:cubicBezTo>
                  <a:cubicBezTo>
                    <a:pt x="14680" y="6573"/>
                    <a:pt x="14247" y="6526"/>
                    <a:pt x="14119" y="6400"/>
                  </a:cubicBezTo>
                  <a:cubicBezTo>
                    <a:pt x="14063" y="6344"/>
                    <a:pt x="14056" y="6256"/>
                    <a:pt x="14098" y="6190"/>
                  </a:cubicBezTo>
                  <a:cubicBezTo>
                    <a:pt x="14193" y="6029"/>
                    <a:pt x="14539" y="5858"/>
                    <a:pt x="14738" y="5858"/>
                  </a:cubicBezTo>
                  <a:cubicBezTo>
                    <a:pt x="14760" y="5858"/>
                    <a:pt x="14781" y="5860"/>
                    <a:pt x="14799" y="5864"/>
                  </a:cubicBezTo>
                  <a:cubicBezTo>
                    <a:pt x="14778" y="5808"/>
                    <a:pt x="14701" y="5693"/>
                    <a:pt x="14536" y="5567"/>
                  </a:cubicBezTo>
                  <a:cubicBezTo>
                    <a:pt x="14323" y="5401"/>
                    <a:pt x="13947" y="5307"/>
                    <a:pt x="13800" y="5307"/>
                  </a:cubicBezTo>
                  <a:cubicBezTo>
                    <a:pt x="13783" y="5307"/>
                    <a:pt x="13769" y="5309"/>
                    <a:pt x="13759" y="5311"/>
                  </a:cubicBezTo>
                  <a:cubicBezTo>
                    <a:pt x="13755" y="5339"/>
                    <a:pt x="13745" y="5367"/>
                    <a:pt x="13720" y="5385"/>
                  </a:cubicBezTo>
                  <a:cubicBezTo>
                    <a:pt x="13693" y="5411"/>
                    <a:pt x="13653" y="5423"/>
                    <a:pt x="13595" y="5423"/>
                  </a:cubicBezTo>
                  <a:cubicBezTo>
                    <a:pt x="13507" y="5423"/>
                    <a:pt x="13377" y="5396"/>
                    <a:pt x="13185" y="5353"/>
                  </a:cubicBezTo>
                  <a:cubicBezTo>
                    <a:pt x="13094" y="5332"/>
                    <a:pt x="12989" y="5308"/>
                    <a:pt x="12880" y="5290"/>
                  </a:cubicBezTo>
                  <a:cubicBezTo>
                    <a:pt x="12712" y="5259"/>
                    <a:pt x="12551" y="5206"/>
                    <a:pt x="12401" y="5129"/>
                  </a:cubicBezTo>
                  <a:cubicBezTo>
                    <a:pt x="12306" y="5073"/>
                    <a:pt x="12198" y="5042"/>
                    <a:pt x="12089" y="5035"/>
                  </a:cubicBezTo>
                  <a:cubicBezTo>
                    <a:pt x="11931" y="5028"/>
                    <a:pt x="11396" y="4982"/>
                    <a:pt x="10983" y="4657"/>
                  </a:cubicBezTo>
                  <a:cubicBezTo>
                    <a:pt x="10846" y="4549"/>
                    <a:pt x="10619" y="4502"/>
                    <a:pt x="10401" y="4502"/>
                  </a:cubicBezTo>
                  <a:cubicBezTo>
                    <a:pt x="10285" y="4502"/>
                    <a:pt x="10171" y="4515"/>
                    <a:pt x="10076" y="4541"/>
                  </a:cubicBezTo>
                  <a:cubicBezTo>
                    <a:pt x="9953" y="4576"/>
                    <a:pt x="9869" y="4625"/>
                    <a:pt x="9848" y="4678"/>
                  </a:cubicBezTo>
                  <a:cubicBezTo>
                    <a:pt x="9736" y="4951"/>
                    <a:pt x="9446" y="4951"/>
                    <a:pt x="9190" y="4951"/>
                  </a:cubicBezTo>
                  <a:lnTo>
                    <a:pt x="9180" y="4951"/>
                  </a:lnTo>
                  <a:cubicBezTo>
                    <a:pt x="9152" y="4951"/>
                    <a:pt x="9064" y="4951"/>
                    <a:pt x="9029" y="4884"/>
                  </a:cubicBezTo>
                  <a:cubicBezTo>
                    <a:pt x="8991" y="4811"/>
                    <a:pt x="9047" y="4730"/>
                    <a:pt x="9099" y="4650"/>
                  </a:cubicBezTo>
                  <a:cubicBezTo>
                    <a:pt x="9117" y="4625"/>
                    <a:pt x="9131" y="4601"/>
                    <a:pt x="9145" y="4576"/>
                  </a:cubicBezTo>
                  <a:cubicBezTo>
                    <a:pt x="9082" y="4520"/>
                    <a:pt x="9075" y="4425"/>
                    <a:pt x="9071" y="4338"/>
                  </a:cubicBezTo>
                  <a:cubicBezTo>
                    <a:pt x="9068" y="4212"/>
                    <a:pt x="9054" y="4180"/>
                    <a:pt x="9012" y="4173"/>
                  </a:cubicBezTo>
                  <a:cubicBezTo>
                    <a:pt x="9011" y="4173"/>
                    <a:pt x="9011" y="4173"/>
                    <a:pt x="9011" y="4173"/>
                  </a:cubicBezTo>
                  <a:cubicBezTo>
                    <a:pt x="8968" y="4173"/>
                    <a:pt x="8871" y="4353"/>
                    <a:pt x="8823" y="4439"/>
                  </a:cubicBezTo>
                  <a:cubicBezTo>
                    <a:pt x="8693" y="4669"/>
                    <a:pt x="8533" y="4951"/>
                    <a:pt x="8294" y="4951"/>
                  </a:cubicBezTo>
                  <a:cubicBezTo>
                    <a:pt x="8288" y="4951"/>
                    <a:pt x="8282" y="4951"/>
                    <a:pt x="8277" y="4951"/>
                  </a:cubicBezTo>
                  <a:cubicBezTo>
                    <a:pt x="8025" y="4937"/>
                    <a:pt x="7877" y="4629"/>
                    <a:pt x="7734" y="4334"/>
                  </a:cubicBezTo>
                  <a:cubicBezTo>
                    <a:pt x="7636" y="4135"/>
                    <a:pt x="7534" y="3932"/>
                    <a:pt x="7419" y="3848"/>
                  </a:cubicBezTo>
                  <a:cubicBezTo>
                    <a:pt x="7265" y="3737"/>
                    <a:pt x="7146" y="3701"/>
                    <a:pt x="7099" y="3701"/>
                  </a:cubicBezTo>
                  <a:cubicBezTo>
                    <a:pt x="7097" y="3701"/>
                    <a:pt x="7095" y="3701"/>
                    <a:pt x="7093" y="3701"/>
                  </a:cubicBezTo>
                  <a:cubicBezTo>
                    <a:pt x="7111" y="3757"/>
                    <a:pt x="7142" y="3806"/>
                    <a:pt x="7181" y="3851"/>
                  </a:cubicBezTo>
                  <a:cubicBezTo>
                    <a:pt x="7240" y="3925"/>
                    <a:pt x="7289" y="4009"/>
                    <a:pt x="7261" y="4079"/>
                  </a:cubicBezTo>
                  <a:cubicBezTo>
                    <a:pt x="7230" y="4145"/>
                    <a:pt x="7160" y="4149"/>
                    <a:pt x="7093" y="4156"/>
                  </a:cubicBezTo>
                  <a:cubicBezTo>
                    <a:pt x="7065" y="4159"/>
                    <a:pt x="7009" y="4166"/>
                    <a:pt x="7002" y="4177"/>
                  </a:cubicBezTo>
                  <a:cubicBezTo>
                    <a:pt x="6999" y="4184"/>
                    <a:pt x="6999" y="4191"/>
                    <a:pt x="7002" y="4198"/>
                  </a:cubicBezTo>
                  <a:cubicBezTo>
                    <a:pt x="7016" y="4352"/>
                    <a:pt x="6869" y="4506"/>
                    <a:pt x="6740" y="4587"/>
                  </a:cubicBezTo>
                  <a:cubicBezTo>
                    <a:pt x="6688" y="4620"/>
                    <a:pt x="6621" y="4652"/>
                    <a:pt x="6564" y="4652"/>
                  </a:cubicBezTo>
                  <a:cubicBezTo>
                    <a:pt x="6544" y="4652"/>
                    <a:pt x="6525" y="4648"/>
                    <a:pt x="6509" y="4639"/>
                  </a:cubicBezTo>
                  <a:cubicBezTo>
                    <a:pt x="6481" y="4622"/>
                    <a:pt x="6463" y="4587"/>
                    <a:pt x="6467" y="4551"/>
                  </a:cubicBezTo>
                  <a:cubicBezTo>
                    <a:pt x="6467" y="4537"/>
                    <a:pt x="6456" y="4516"/>
                    <a:pt x="6425" y="4506"/>
                  </a:cubicBezTo>
                  <a:cubicBezTo>
                    <a:pt x="6408" y="4499"/>
                    <a:pt x="6388" y="4495"/>
                    <a:pt x="6365" y="4495"/>
                  </a:cubicBezTo>
                  <a:cubicBezTo>
                    <a:pt x="6285" y="4495"/>
                    <a:pt x="6170" y="4544"/>
                    <a:pt x="6050" y="4688"/>
                  </a:cubicBezTo>
                  <a:cubicBezTo>
                    <a:pt x="5892" y="4871"/>
                    <a:pt x="5731" y="4971"/>
                    <a:pt x="5602" y="4971"/>
                  </a:cubicBezTo>
                  <a:cubicBezTo>
                    <a:pt x="5582" y="4971"/>
                    <a:pt x="5564" y="4969"/>
                    <a:pt x="5546" y="4965"/>
                  </a:cubicBezTo>
                  <a:cubicBezTo>
                    <a:pt x="5490" y="4951"/>
                    <a:pt x="5444" y="4912"/>
                    <a:pt x="5423" y="4856"/>
                  </a:cubicBezTo>
                  <a:cubicBezTo>
                    <a:pt x="5273" y="4867"/>
                    <a:pt x="4730" y="5164"/>
                    <a:pt x="4695" y="5266"/>
                  </a:cubicBezTo>
                  <a:cubicBezTo>
                    <a:pt x="4709" y="5332"/>
                    <a:pt x="4692" y="5402"/>
                    <a:pt x="4646" y="5451"/>
                  </a:cubicBezTo>
                  <a:cubicBezTo>
                    <a:pt x="4577" y="5537"/>
                    <a:pt x="4447" y="5585"/>
                    <a:pt x="4293" y="5585"/>
                  </a:cubicBezTo>
                  <a:cubicBezTo>
                    <a:pt x="4282" y="5585"/>
                    <a:pt x="4272" y="5585"/>
                    <a:pt x="4261" y="5584"/>
                  </a:cubicBezTo>
                  <a:cubicBezTo>
                    <a:pt x="4139" y="5577"/>
                    <a:pt x="4104" y="5525"/>
                    <a:pt x="4093" y="5479"/>
                  </a:cubicBezTo>
                  <a:cubicBezTo>
                    <a:pt x="4065" y="5353"/>
                    <a:pt x="4261" y="5213"/>
                    <a:pt x="4366" y="5157"/>
                  </a:cubicBezTo>
                  <a:cubicBezTo>
                    <a:pt x="4429" y="5126"/>
                    <a:pt x="4524" y="5059"/>
                    <a:pt x="4636" y="4982"/>
                  </a:cubicBezTo>
                  <a:cubicBezTo>
                    <a:pt x="4898" y="4804"/>
                    <a:pt x="5227" y="4580"/>
                    <a:pt x="5444" y="4544"/>
                  </a:cubicBezTo>
                  <a:cubicBezTo>
                    <a:pt x="5745" y="4495"/>
                    <a:pt x="6197" y="4285"/>
                    <a:pt x="6246" y="4198"/>
                  </a:cubicBezTo>
                  <a:cubicBezTo>
                    <a:pt x="6226" y="4196"/>
                    <a:pt x="6205" y="4196"/>
                    <a:pt x="6184" y="4196"/>
                  </a:cubicBezTo>
                  <a:cubicBezTo>
                    <a:pt x="6154" y="4196"/>
                    <a:pt x="6124" y="4197"/>
                    <a:pt x="6096" y="4201"/>
                  </a:cubicBezTo>
                  <a:cubicBezTo>
                    <a:pt x="6052" y="4207"/>
                    <a:pt x="6008" y="4209"/>
                    <a:pt x="5964" y="4209"/>
                  </a:cubicBezTo>
                  <a:cubicBezTo>
                    <a:pt x="5921" y="4209"/>
                    <a:pt x="5877" y="4207"/>
                    <a:pt x="5833" y="4201"/>
                  </a:cubicBezTo>
                  <a:cubicBezTo>
                    <a:pt x="5821" y="4199"/>
                    <a:pt x="5809" y="4198"/>
                    <a:pt x="5796" y="4198"/>
                  </a:cubicBezTo>
                  <a:cubicBezTo>
                    <a:pt x="5669" y="4198"/>
                    <a:pt x="5470" y="4299"/>
                    <a:pt x="5276" y="4397"/>
                  </a:cubicBezTo>
                  <a:cubicBezTo>
                    <a:pt x="5189" y="4439"/>
                    <a:pt x="5101" y="4485"/>
                    <a:pt x="5010" y="4523"/>
                  </a:cubicBezTo>
                  <a:cubicBezTo>
                    <a:pt x="4888" y="4573"/>
                    <a:pt x="4765" y="4611"/>
                    <a:pt x="4636" y="4632"/>
                  </a:cubicBezTo>
                  <a:cubicBezTo>
                    <a:pt x="4559" y="4650"/>
                    <a:pt x="4440" y="4678"/>
                    <a:pt x="4426" y="4699"/>
                  </a:cubicBezTo>
                  <a:cubicBezTo>
                    <a:pt x="4426" y="4709"/>
                    <a:pt x="4429" y="4716"/>
                    <a:pt x="4436" y="4727"/>
                  </a:cubicBezTo>
                  <a:cubicBezTo>
                    <a:pt x="4461" y="4765"/>
                    <a:pt x="4464" y="4818"/>
                    <a:pt x="4440" y="4863"/>
                  </a:cubicBezTo>
                  <a:cubicBezTo>
                    <a:pt x="4413" y="4896"/>
                    <a:pt x="4376" y="4906"/>
                    <a:pt x="4332" y="4906"/>
                  </a:cubicBezTo>
                  <a:cubicBezTo>
                    <a:pt x="4300" y="4906"/>
                    <a:pt x="4264" y="4900"/>
                    <a:pt x="4226" y="4895"/>
                  </a:cubicBezTo>
                  <a:cubicBezTo>
                    <a:pt x="4191" y="4890"/>
                    <a:pt x="4140" y="4883"/>
                    <a:pt x="4101" y="4883"/>
                  </a:cubicBezTo>
                  <a:cubicBezTo>
                    <a:pt x="4073" y="4883"/>
                    <a:pt x="4051" y="4887"/>
                    <a:pt x="4044" y="4898"/>
                  </a:cubicBezTo>
                  <a:cubicBezTo>
                    <a:pt x="4014" y="4953"/>
                    <a:pt x="3959" y="4984"/>
                    <a:pt x="3901" y="4984"/>
                  </a:cubicBezTo>
                  <a:cubicBezTo>
                    <a:pt x="3893" y="4984"/>
                    <a:pt x="3884" y="4983"/>
                    <a:pt x="3876" y="4982"/>
                  </a:cubicBezTo>
                  <a:cubicBezTo>
                    <a:pt x="3817" y="4972"/>
                    <a:pt x="3771" y="4926"/>
                    <a:pt x="3761" y="4867"/>
                  </a:cubicBezTo>
                  <a:cubicBezTo>
                    <a:pt x="3750" y="4821"/>
                    <a:pt x="3768" y="4776"/>
                    <a:pt x="3803" y="4748"/>
                  </a:cubicBezTo>
                  <a:cubicBezTo>
                    <a:pt x="3750" y="4720"/>
                    <a:pt x="3694" y="4702"/>
                    <a:pt x="3638" y="4695"/>
                  </a:cubicBezTo>
                  <a:cubicBezTo>
                    <a:pt x="3624" y="4776"/>
                    <a:pt x="3547" y="4919"/>
                    <a:pt x="3211" y="4919"/>
                  </a:cubicBezTo>
                  <a:cubicBezTo>
                    <a:pt x="3032" y="4919"/>
                    <a:pt x="2854" y="5010"/>
                    <a:pt x="2829" y="5084"/>
                  </a:cubicBezTo>
                  <a:cubicBezTo>
                    <a:pt x="2826" y="5094"/>
                    <a:pt x="2819" y="5119"/>
                    <a:pt x="2864" y="5150"/>
                  </a:cubicBezTo>
                  <a:lnTo>
                    <a:pt x="2917" y="5189"/>
                  </a:lnTo>
                  <a:cubicBezTo>
                    <a:pt x="3046" y="5287"/>
                    <a:pt x="3134" y="5353"/>
                    <a:pt x="3141" y="5441"/>
                  </a:cubicBezTo>
                  <a:cubicBezTo>
                    <a:pt x="3144" y="5490"/>
                    <a:pt x="3123" y="5535"/>
                    <a:pt x="3088" y="5567"/>
                  </a:cubicBezTo>
                  <a:cubicBezTo>
                    <a:pt x="3064" y="5592"/>
                    <a:pt x="3035" y="5602"/>
                    <a:pt x="3003" y="5602"/>
                  </a:cubicBezTo>
                  <a:cubicBezTo>
                    <a:pt x="2940" y="5602"/>
                    <a:pt x="2864" y="5563"/>
                    <a:pt x="2780" y="5521"/>
                  </a:cubicBezTo>
                  <a:cubicBezTo>
                    <a:pt x="2651" y="5454"/>
                    <a:pt x="2478" y="5365"/>
                    <a:pt x="2277" y="5365"/>
                  </a:cubicBezTo>
                  <a:cubicBezTo>
                    <a:pt x="2259" y="5365"/>
                    <a:pt x="2241" y="5366"/>
                    <a:pt x="2224" y="5367"/>
                  </a:cubicBezTo>
                  <a:cubicBezTo>
                    <a:pt x="2207" y="5369"/>
                    <a:pt x="2189" y="5370"/>
                    <a:pt x="2170" y="5370"/>
                  </a:cubicBezTo>
                  <a:cubicBezTo>
                    <a:pt x="1792" y="5370"/>
                    <a:pt x="1174" y="5036"/>
                    <a:pt x="963" y="4842"/>
                  </a:cubicBezTo>
                  <a:cubicBezTo>
                    <a:pt x="925" y="4814"/>
                    <a:pt x="900" y="4776"/>
                    <a:pt x="883" y="4734"/>
                  </a:cubicBezTo>
                  <a:cubicBezTo>
                    <a:pt x="823" y="4713"/>
                    <a:pt x="624" y="4713"/>
                    <a:pt x="463" y="4713"/>
                  </a:cubicBezTo>
                  <a:cubicBezTo>
                    <a:pt x="316" y="4713"/>
                    <a:pt x="148" y="4713"/>
                    <a:pt x="1" y="4699"/>
                  </a:cubicBezTo>
                  <a:lnTo>
                    <a:pt x="1" y="12975"/>
                  </a:lnTo>
                  <a:cubicBezTo>
                    <a:pt x="54" y="13009"/>
                    <a:pt x="115" y="13036"/>
                    <a:pt x="151" y="13036"/>
                  </a:cubicBezTo>
                  <a:cubicBezTo>
                    <a:pt x="162" y="13036"/>
                    <a:pt x="171" y="13033"/>
                    <a:pt x="176" y="13027"/>
                  </a:cubicBezTo>
                  <a:cubicBezTo>
                    <a:pt x="217" y="12975"/>
                    <a:pt x="272" y="12966"/>
                    <a:pt x="328" y="12966"/>
                  </a:cubicBezTo>
                  <a:cubicBezTo>
                    <a:pt x="348" y="12966"/>
                    <a:pt x="367" y="12967"/>
                    <a:pt x="386" y="12968"/>
                  </a:cubicBezTo>
                  <a:cubicBezTo>
                    <a:pt x="406" y="12969"/>
                    <a:pt x="426" y="12970"/>
                    <a:pt x="447" y="12970"/>
                  </a:cubicBezTo>
                  <a:cubicBezTo>
                    <a:pt x="534" y="12970"/>
                    <a:pt x="620" y="12952"/>
                    <a:pt x="697" y="12915"/>
                  </a:cubicBezTo>
                  <a:cubicBezTo>
                    <a:pt x="759" y="12885"/>
                    <a:pt x="813" y="12873"/>
                    <a:pt x="860" y="12873"/>
                  </a:cubicBezTo>
                  <a:cubicBezTo>
                    <a:pt x="921" y="12873"/>
                    <a:pt x="968" y="12893"/>
                    <a:pt x="1002" y="12915"/>
                  </a:cubicBezTo>
                  <a:cubicBezTo>
                    <a:pt x="1131" y="12996"/>
                    <a:pt x="1163" y="13167"/>
                    <a:pt x="1163" y="13248"/>
                  </a:cubicBezTo>
                  <a:cubicBezTo>
                    <a:pt x="1163" y="13290"/>
                    <a:pt x="1310" y="13405"/>
                    <a:pt x="1397" y="13475"/>
                  </a:cubicBezTo>
                  <a:cubicBezTo>
                    <a:pt x="1509" y="13559"/>
                    <a:pt x="1611" y="13654"/>
                    <a:pt x="1699" y="13759"/>
                  </a:cubicBezTo>
                  <a:cubicBezTo>
                    <a:pt x="1727" y="13790"/>
                    <a:pt x="1751" y="13822"/>
                    <a:pt x="1772" y="13853"/>
                  </a:cubicBezTo>
                  <a:cubicBezTo>
                    <a:pt x="1867" y="13985"/>
                    <a:pt x="1914" y="14042"/>
                    <a:pt x="1967" y="14042"/>
                  </a:cubicBezTo>
                  <a:cubicBezTo>
                    <a:pt x="1974" y="14042"/>
                    <a:pt x="1981" y="14041"/>
                    <a:pt x="1989" y="14039"/>
                  </a:cubicBezTo>
                  <a:cubicBezTo>
                    <a:pt x="2003" y="14032"/>
                    <a:pt x="2017" y="14025"/>
                    <a:pt x="2031" y="14018"/>
                  </a:cubicBezTo>
                  <a:cubicBezTo>
                    <a:pt x="2091" y="13983"/>
                    <a:pt x="2150" y="13951"/>
                    <a:pt x="2213" y="13923"/>
                  </a:cubicBezTo>
                  <a:cubicBezTo>
                    <a:pt x="2357" y="13860"/>
                    <a:pt x="2500" y="13794"/>
                    <a:pt x="2500" y="13685"/>
                  </a:cubicBezTo>
                  <a:cubicBezTo>
                    <a:pt x="2500" y="13524"/>
                    <a:pt x="2728" y="13451"/>
                    <a:pt x="2938" y="13451"/>
                  </a:cubicBezTo>
                  <a:cubicBezTo>
                    <a:pt x="2966" y="13451"/>
                    <a:pt x="2994" y="13451"/>
                    <a:pt x="3018" y="13454"/>
                  </a:cubicBezTo>
                  <a:cubicBezTo>
                    <a:pt x="3148" y="13468"/>
                    <a:pt x="3253" y="13507"/>
                    <a:pt x="3312" y="13570"/>
                  </a:cubicBezTo>
                  <a:cubicBezTo>
                    <a:pt x="3319" y="13577"/>
                    <a:pt x="3326" y="13584"/>
                    <a:pt x="3333" y="13594"/>
                  </a:cubicBezTo>
                  <a:lnTo>
                    <a:pt x="3333" y="13598"/>
                  </a:lnTo>
                  <a:cubicBezTo>
                    <a:pt x="3340" y="13605"/>
                    <a:pt x="3344" y="13612"/>
                    <a:pt x="3347" y="13619"/>
                  </a:cubicBezTo>
                  <a:lnTo>
                    <a:pt x="3351" y="13626"/>
                  </a:lnTo>
                  <a:cubicBezTo>
                    <a:pt x="3354" y="13633"/>
                    <a:pt x="3358" y="13640"/>
                    <a:pt x="3361" y="13647"/>
                  </a:cubicBezTo>
                  <a:lnTo>
                    <a:pt x="3365" y="13654"/>
                  </a:lnTo>
                  <a:cubicBezTo>
                    <a:pt x="3365" y="13661"/>
                    <a:pt x="3368" y="13668"/>
                    <a:pt x="3368" y="13678"/>
                  </a:cubicBezTo>
                  <a:lnTo>
                    <a:pt x="3368" y="13685"/>
                  </a:lnTo>
                  <a:cubicBezTo>
                    <a:pt x="3372" y="13696"/>
                    <a:pt x="3372" y="13706"/>
                    <a:pt x="3372" y="13717"/>
                  </a:cubicBezTo>
                  <a:cubicBezTo>
                    <a:pt x="3372" y="13811"/>
                    <a:pt x="3533" y="13951"/>
                    <a:pt x="3722" y="14109"/>
                  </a:cubicBezTo>
                  <a:cubicBezTo>
                    <a:pt x="3971" y="14322"/>
                    <a:pt x="4310" y="14613"/>
                    <a:pt x="4545" y="15026"/>
                  </a:cubicBezTo>
                  <a:cubicBezTo>
                    <a:pt x="4643" y="15198"/>
                    <a:pt x="4716" y="15341"/>
                    <a:pt x="4772" y="15457"/>
                  </a:cubicBezTo>
                  <a:cubicBezTo>
                    <a:pt x="4972" y="15852"/>
                    <a:pt x="5031" y="15968"/>
                    <a:pt x="5483" y="16146"/>
                  </a:cubicBezTo>
                  <a:cubicBezTo>
                    <a:pt x="6089" y="16384"/>
                    <a:pt x="6141" y="16538"/>
                    <a:pt x="6036" y="16811"/>
                  </a:cubicBezTo>
                  <a:cubicBezTo>
                    <a:pt x="6019" y="16857"/>
                    <a:pt x="6047" y="16899"/>
                    <a:pt x="6099" y="16955"/>
                  </a:cubicBezTo>
                  <a:lnTo>
                    <a:pt x="6124" y="16983"/>
                  </a:lnTo>
                  <a:cubicBezTo>
                    <a:pt x="6183" y="17043"/>
                    <a:pt x="6243" y="17109"/>
                    <a:pt x="6232" y="17193"/>
                  </a:cubicBezTo>
                  <a:cubicBezTo>
                    <a:pt x="6222" y="17256"/>
                    <a:pt x="6183" y="17312"/>
                    <a:pt x="6124" y="17344"/>
                  </a:cubicBezTo>
                  <a:lnTo>
                    <a:pt x="6089" y="17368"/>
                  </a:lnTo>
                  <a:lnTo>
                    <a:pt x="6064" y="17386"/>
                  </a:lnTo>
                  <a:lnTo>
                    <a:pt x="6047" y="17400"/>
                  </a:lnTo>
                  <a:lnTo>
                    <a:pt x="6019" y="17417"/>
                  </a:lnTo>
                  <a:lnTo>
                    <a:pt x="6005" y="17428"/>
                  </a:lnTo>
                  <a:lnTo>
                    <a:pt x="5973" y="17452"/>
                  </a:lnTo>
                  <a:lnTo>
                    <a:pt x="5959" y="17459"/>
                  </a:lnTo>
                  <a:lnTo>
                    <a:pt x="5924" y="17484"/>
                  </a:lnTo>
                  <a:lnTo>
                    <a:pt x="5917" y="17491"/>
                  </a:lnTo>
                  <a:lnTo>
                    <a:pt x="5791" y="17582"/>
                  </a:lnTo>
                  <a:cubicBezTo>
                    <a:pt x="5812" y="17638"/>
                    <a:pt x="5875" y="17687"/>
                    <a:pt x="5952" y="17750"/>
                  </a:cubicBezTo>
                  <a:lnTo>
                    <a:pt x="5991" y="17781"/>
                  </a:lnTo>
                  <a:cubicBezTo>
                    <a:pt x="6026" y="17806"/>
                    <a:pt x="6047" y="17848"/>
                    <a:pt x="6043" y="17893"/>
                  </a:cubicBezTo>
                  <a:cubicBezTo>
                    <a:pt x="6033" y="17960"/>
                    <a:pt x="5963" y="17991"/>
                    <a:pt x="5903" y="18016"/>
                  </a:cubicBezTo>
                  <a:lnTo>
                    <a:pt x="5865" y="18033"/>
                  </a:lnTo>
                  <a:cubicBezTo>
                    <a:pt x="5928" y="18103"/>
                    <a:pt x="5921" y="18191"/>
                    <a:pt x="5917" y="18264"/>
                  </a:cubicBezTo>
                  <a:cubicBezTo>
                    <a:pt x="5910" y="18334"/>
                    <a:pt x="5907" y="18387"/>
                    <a:pt x="5949" y="18429"/>
                  </a:cubicBezTo>
                  <a:cubicBezTo>
                    <a:pt x="5986" y="18471"/>
                    <a:pt x="6040" y="18489"/>
                    <a:pt x="6097" y="18489"/>
                  </a:cubicBezTo>
                  <a:cubicBezTo>
                    <a:pt x="6177" y="18489"/>
                    <a:pt x="6265" y="18454"/>
                    <a:pt x="6330" y="18401"/>
                  </a:cubicBezTo>
                  <a:cubicBezTo>
                    <a:pt x="6358" y="18371"/>
                    <a:pt x="6395" y="18357"/>
                    <a:pt x="6432" y="18357"/>
                  </a:cubicBezTo>
                  <a:cubicBezTo>
                    <a:pt x="6467" y="18357"/>
                    <a:pt x="6501" y="18369"/>
                    <a:pt x="6530" y="18394"/>
                  </a:cubicBezTo>
                  <a:cubicBezTo>
                    <a:pt x="6614" y="18467"/>
                    <a:pt x="6642" y="18646"/>
                    <a:pt x="6551" y="18800"/>
                  </a:cubicBezTo>
                  <a:cubicBezTo>
                    <a:pt x="6505" y="18870"/>
                    <a:pt x="6544" y="18908"/>
                    <a:pt x="6561" y="18919"/>
                  </a:cubicBezTo>
                  <a:cubicBezTo>
                    <a:pt x="6576" y="18931"/>
                    <a:pt x="6593" y="18936"/>
                    <a:pt x="6610" y="18936"/>
                  </a:cubicBezTo>
                  <a:cubicBezTo>
                    <a:pt x="6633" y="18936"/>
                    <a:pt x="6657" y="18925"/>
                    <a:pt x="6673" y="18905"/>
                  </a:cubicBezTo>
                  <a:cubicBezTo>
                    <a:pt x="6698" y="18873"/>
                    <a:pt x="6736" y="18852"/>
                    <a:pt x="6778" y="18852"/>
                  </a:cubicBezTo>
                  <a:cubicBezTo>
                    <a:pt x="6781" y="18852"/>
                    <a:pt x="6784" y="18852"/>
                    <a:pt x="6787" y="18852"/>
                  </a:cubicBezTo>
                  <a:cubicBezTo>
                    <a:pt x="6886" y="18852"/>
                    <a:pt x="6988" y="18961"/>
                    <a:pt x="7086" y="19062"/>
                  </a:cubicBezTo>
                  <a:cubicBezTo>
                    <a:pt x="7121" y="19101"/>
                    <a:pt x="7160" y="19136"/>
                    <a:pt x="7205" y="19168"/>
                  </a:cubicBezTo>
                  <a:cubicBezTo>
                    <a:pt x="7293" y="19217"/>
                    <a:pt x="7394" y="19336"/>
                    <a:pt x="7366" y="19437"/>
                  </a:cubicBezTo>
                  <a:cubicBezTo>
                    <a:pt x="7359" y="19465"/>
                    <a:pt x="7328" y="19535"/>
                    <a:pt x="7209" y="19535"/>
                  </a:cubicBezTo>
                  <a:cubicBezTo>
                    <a:pt x="7156" y="19535"/>
                    <a:pt x="7146" y="19588"/>
                    <a:pt x="7142" y="19623"/>
                  </a:cubicBezTo>
                  <a:cubicBezTo>
                    <a:pt x="7142" y="19679"/>
                    <a:pt x="7167" y="19731"/>
                    <a:pt x="7191" y="19731"/>
                  </a:cubicBezTo>
                  <a:cubicBezTo>
                    <a:pt x="7373" y="19749"/>
                    <a:pt x="7373" y="19955"/>
                    <a:pt x="7370" y="20064"/>
                  </a:cubicBezTo>
                  <a:lnTo>
                    <a:pt x="7370" y="20085"/>
                  </a:lnTo>
                  <a:cubicBezTo>
                    <a:pt x="7401" y="20143"/>
                    <a:pt x="7660" y="20253"/>
                    <a:pt x="7811" y="20253"/>
                  </a:cubicBezTo>
                  <a:cubicBezTo>
                    <a:pt x="7832" y="20253"/>
                    <a:pt x="7851" y="20251"/>
                    <a:pt x="7867" y="20246"/>
                  </a:cubicBezTo>
                  <a:cubicBezTo>
                    <a:pt x="7896" y="20237"/>
                    <a:pt x="7924" y="20233"/>
                    <a:pt x="7951" y="20233"/>
                  </a:cubicBezTo>
                  <a:cubicBezTo>
                    <a:pt x="8111" y="20233"/>
                    <a:pt x="8247" y="20371"/>
                    <a:pt x="8322" y="20508"/>
                  </a:cubicBezTo>
                  <a:cubicBezTo>
                    <a:pt x="8354" y="20564"/>
                    <a:pt x="8452" y="20620"/>
                    <a:pt x="8553" y="20641"/>
                  </a:cubicBezTo>
                  <a:cubicBezTo>
                    <a:pt x="8573" y="20649"/>
                    <a:pt x="8594" y="20653"/>
                    <a:pt x="8615" y="20653"/>
                  </a:cubicBezTo>
                  <a:cubicBezTo>
                    <a:pt x="8643" y="20653"/>
                    <a:pt x="8671" y="20646"/>
                    <a:pt x="8697" y="20634"/>
                  </a:cubicBezTo>
                  <a:cubicBezTo>
                    <a:pt x="8720" y="20612"/>
                    <a:pt x="8750" y="20601"/>
                    <a:pt x="8780" y="20601"/>
                  </a:cubicBezTo>
                  <a:cubicBezTo>
                    <a:pt x="8796" y="20601"/>
                    <a:pt x="8812" y="20604"/>
                    <a:pt x="8826" y="20610"/>
                  </a:cubicBezTo>
                  <a:cubicBezTo>
                    <a:pt x="8949" y="20659"/>
                    <a:pt x="8994" y="20900"/>
                    <a:pt x="9008" y="21005"/>
                  </a:cubicBezTo>
                  <a:cubicBezTo>
                    <a:pt x="9012" y="21026"/>
                    <a:pt x="9019" y="21033"/>
                    <a:pt x="9022" y="21033"/>
                  </a:cubicBezTo>
                  <a:cubicBezTo>
                    <a:pt x="9035" y="21042"/>
                    <a:pt x="9056" y="21046"/>
                    <a:pt x="9082" y="21046"/>
                  </a:cubicBezTo>
                  <a:cubicBezTo>
                    <a:pt x="9127" y="21046"/>
                    <a:pt x="9185" y="21035"/>
                    <a:pt x="9232" y="21026"/>
                  </a:cubicBezTo>
                  <a:cubicBezTo>
                    <a:pt x="9278" y="21019"/>
                    <a:pt x="9313" y="21012"/>
                    <a:pt x="9351" y="21009"/>
                  </a:cubicBezTo>
                  <a:cubicBezTo>
                    <a:pt x="9359" y="21008"/>
                    <a:pt x="9366" y="21008"/>
                    <a:pt x="9373" y="21008"/>
                  </a:cubicBezTo>
                  <a:cubicBezTo>
                    <a:pt x="9463" y="21008"/>
                    <a:pt x="9531" y="21069"/>
                    <a:pt x="9586" y="21117"/>
                  </a:cubicBezTo>
                  <a:cubicBezTo>
                    <a:pt x="9607" y="21135"/>
                    <a:pt x="9645" y="21170"/>
                    <a:pt x="9659" y="21170"/>
                  </a:cubicBezTo>
                  <a:cubicBezTo>
                    <a:pt x="9690" y="21158"/>
                    <a:pt x="9718" y="21153"/>
                    <a:pt x="9744" y="21153"/>
                  </a:cubicBezTo>
                  <a:cubicBezTo>
                    <a:pt x="9898" y="21153"/>
                    <a:pt x="9980" y="21338"/>
                    <a:pt x="10055" y="21499"/>
                  </a:cubicBezTo>
                  <a:cubicBezTo>
                    <a:pt x="10083" y="21562"/>
                    <a:pt x="10111" y="21625"/>
                    <a:pt x="10143" y="21678"/>
                  </a:cubicBezTo>
                  <a:lnTo>
                    <a:pt x="25119" y="21597"/>
                  </a:lnTo>
                  <a:cubicBezTo>
                    <a:pt x="25130" y="21492"/>
                    <a:pt x="25158" y="21363"/>
                    <a:pt x="25245" y="21321"/>
                  </a:cubicBezTo>
                  <a:cubicBezTo>
                    <a:pt x="25264" y="21312"/>
                    <a:pt x="25284" y="21308"/>
                    <a:pt x="25305" y="21308"/>
                  </a:cubicBezTo>
                  <a:cubicBezTo>
                    <a:pt x="25342" y="21308"/>
                    <a:pt x="25380" y="21322"/>
                    <a:pt x="25410" y="21349"/>
                  </a:cubicBezTo>
                  <a:cubicBezTo>
                    <a:pt x="25515" y="21426"/>
                    <a:pt x="25529" y="21534"/>
                    <a:pt x="25536" y="21611"/>
                  </a:cubicBezTo>
                  <a:cubicBezTo>
                    <a:pt x="25543" y="21699"/>
                    <a:pt x="25550" y="21734"/>
                    <a:pt x="25620" y="21758"/>
                  </a:cubicBezTo>
                  <a:cubicBezTo>
                    <a:pt x="25686" y="21786"/>
                    <a:pt x="25753" y="21818"/>
                    <a:pt x="25819" y="21853"/>
                  </a:cubicBezTo>
                  <a:cubicBezTo>
                    <a:pt x="25896" y="21891"/>
                    <a:pt x="25967" y="21927"/>
                    <a:pt x="26015" y="21927"/>
                  </a:cubicBezTo>
                  <a:cubicBezTo>
                    <a:pt x="26024" y="21927"/>
                    <a:pt x="26033" y="21925"/>
                    <a:pt x="26040" y="21923"/>
                  </a:cubicBezTo>
                  <a:cubicBezTo>
                    <a:pt x="26054" y="21916"/>
                    <a:pt x="26075" y="21905"/>
                    <a:pt x="26092" y="21895"/>
                  </a:cubicBezTo>
                  <a:cubicBezTo>
                    <a:pt x="26155" y="21862"/>
                    <a:pt x="26246" y="21815"/>
                    <a:pt x="26347" y="21815"/>
                  </a:cubicBezTo>
                  <a:cubicBezTo>
                    <a:pt x="26433" y="21815"/>
                    <a:pt x="26526" y="21849"/>
                    <a:pt x="26618" y="21954"/>
                  </a:cubicBezTo>
                  <a:cubicBezTo>
                    <a:pt x="26663" y="22018"/>
                    <a:pt x="26734" y="22055"/>
                    <a:pt x="26809" y="22055"/>
                  </a:cubicBezTo>
                  <a:cubicBezTo>
                    <a:pt x="26821" y="22055"/>
                    <a:pt x="26833" y="22054"/>
                    <a:pt x="26845" y="22052"/>
                  </a:cubicBezTo>
                  <a:cubicBezTo>
                    <a:pt x="26859" y="22052"/>
                    <a:pt x="26873" y="22051"/>
                    <a:pt x="26887" y="22051"/>
                  </a:cubicBezTo>
                  <a:cubicBezTo>
                    <a:pt x="26948" y="22051"/>
                    <a:pt x="27016" y="22063"/>
                    <a:pt x="27073" y="22136"/>
                  </a:cubicBezTo>
                  <a:cubicBezTo>
                    <a:pt x="27080" y="22147"/>
                    <a:pt x="27090" y="22157"/>
                    <a:pt x="27101" y="22168"/>
                  </a:cubicBezTo>
                  <a:cubicBezTo>
                    <a:pt x="27153" y="22231"/>
                    <a:pt x="27227" y="22273"/>
                    <a:pt x="27311" y="22283"/>
                  </a:cubicBezTo>
                  <a:cubicBezTo>
                    <a:pt x="27360" y="22280"/>
                    <a:pt x="27409" y="22255"/>
                    <a:pt x="27437" y="22217"/>
                  </a:cubicBezTo>
                  <a:cubicBezTo>
                    <a:pt x="27444" y="22206"/>
                    <a:pt x="27454" y="22196"/>
                    <a:pt x="27465" y="22189"/>
                  </a:cubicBezTo>
                  <a:lnTo>
                    <a:pt x="27468" y="22185"/>
                  </a:lnTo>
                  <a:cubicBezTo>
                    <a:pt x="27475" y="22178"/>
                    <a:pt x="27486" y="22171"/>
                    <a:pt x="27496" y="22168"/>
                  </a:cubicBezTo>
                  <a:lnTo>
                    <a:pt x="27503" y="22164"/>
                  </a:lnTo>
                  <a:cubicBezTo>
                    <a:pt x="27514" y="22161"/>
                    <a:pt x="27521" y="22157"/>
                    <a:pt x="27531" y="22154"/>
                  </a:cubicBezTo>
                  <a:lnTo>
                    <a:pt x="27545" y="22150"/>
                  </a:lnTo>
                  <a:cubicBezTo>
                    <a:pt x="27552" y="22147"/>
                    <a:pt x="27563" y="22143"/>
                    <a:pt x="27573" y="22143"/>
                  </a:cubicBezTo>
                  <a:lnTo>
                    <a:pt x="27587" y="22143"/>
                  </a:lnTo>
                  <a:cubicBezTo>
                    <a:pt x="27598" y="22143"/>
                    <a:pt x="27608" y="22140"/>
                    <a:pt x="27615" y="22140"/>
                  </a:cubicBezTo>
                  <a:lnTo>
                    <a:pt x="27713" y="22140"/>
                  </a:lnTo>
                  <a:lnTo>
                    <a:pt x="27748" y="22143"/>
                  </a:lnTo>
                  <a:lnTo>
                    <a:pt x="27769" y="22147"/>
                  </a:lnTo>
                  <a:lnTo>
                    <a:pt x="27811" y="22154"/>
                  </a:lnTo>
                  <a:lnTo>
                    <a:pt x="27822" y="22154"/>
                  </a:lnTo>
                  <a:lnTo>
                    <a:pt x="27878" y="22168"/>
                  </a:lnTo>
                  <a:lnTo>
                    <a:pt x="27881" y="22168"/>
                  </a:lnTo>
                  <a:cubicBezTo>
                    <a:pt x="28007" y="22199"/>
                    <a:pt x="28133" y="22241"/>
                    <a:pt x="28256" y="22290"/>
                  </a:cubicBezTo>
                  <a:cubicBezTo>
                    <a:pt x="28347" y="22203"/>
                    <a:pt x="28431" y="22108"/>
                    <a:pt x="28508" y="22007"/>
                  </a:cubicBezTo>
                  <a:cubicBezTo>
                    <a:pt x="28662" y="21814"/>
                    <a:pt x="28806" y="21632"/>
                    <a:pt x="28984" y="21632"/>
                  </a:cubicBezTo>
                  <a:cubicBezTo>
                    <a:pt x="29103" y="21632"/>
                    <a:pt x="30150" y="21646"/>
                    <a:pt x="30213" y="22175"/>
                  </a:cubicBezTo>
                  <a:cubicBezTo>
                    <a:pt x="30230" y="22318"/>
                    <a:pt x="30300" y="22329"/>
                    <a:pt x="30447" y="22332"/>
                  </a:cubicBezTo>
                  <a:cubicBezTo>
                    <a:pt x="30573" y="22332"/>
                    <a:pt x="30763" y="22339"/>
                    <a:pt x="30798" y="22584"/>
                  </a:cubicBezTo>
                  <a:cubicBezTo>
                    <a:pt x="30815" y="22735"/>
                    <a:pt x="30899" y="22875"/>
                    <a:pt x="30976" y="23001"/>
                  </a:cubicBezTo>
                  <a:cubicBezTo>
                    <a:pt x="31053" y="23123"/>
                    <a:pt x="31116" y="23225"/>
                    <a:pt x="31109" y="23327"/>
                  </a:cubicBezTo>
                  <a:lnTo>
                    <a:pt x="31116" y="23330"/>
                  </a:lnTo>
                  <a:lnTo>
                    <a:pt x="31158" y="23358"/>
                  </a:lnTo>
                  <a:lnTo>
                    <a:pt x="31172" y="23365"/>
                  </a:lnTo>
                  <a:lnTo>
                    <a:pt x="31225" y="23404"/>
                  </a:lnTo>
                  <a:lnTo>
                    <a:pt x="31239" y="23411"/>
                  </a:lnTo>
                  <a:lnTo>
                    <a:pt x="31288" y="23446"/>
                  </a:lnTo>
                  <a:lnTo>
                    <a:pt x="31302" y="23456"/>
                  </a:lnTo>
                  <a:lnTo>
                    <a:pt x="31358" y="23498"/>
                  </a:lnTo>
                  <a:lnTo>
                    <a:pt x="31365" y="23505"/>
                  </a:lnTo>
                  <a:cubicBezTo>
                    <a:pt x="31402" y="23497"/>
                    <a:pt x="31448" y="23494"/>
                    <a:pt x="31499" y="23494"/>
                  </a:cubicBezTo>
                  <a:cubicBezTo>
                    <a:pt x="31704" y="23494"/>
                    <a:pt x="31998" y="23551"/>
                    <a:pt x="32208" y="23624"/>
                  </a:cubicBezTo>
                  <a:cubicBezTo>
                    <a:pt x="32276" y="23650"/>
                    <a:pt x="32357" y="23657"/>
                    <a:pt x="32441" y="23657"/>
                  </a:cubicBezTo>
                  <a:cubicBezTo>
                    <a:pt x="32493" y="23657"/>
                    <a:pt x="32545" y="23655"/>
                    <a:pt x="32597" y="23652"/>
                  </a:cubicBezTo>
                  <a:cubicBezTo>
                    <a:pt x="32650" y="23649"/>
                    <a:pt x="32704" y="23646"/>
                    <a:pt x="32759" y="23646"/>
                  </a:cubicBezTo>
                  <a:cubicBezTo>
                    <a:pt x="32964" y="23646"/>
                    <a:pt x="33166" y="23688"/>
                    <a:pt x="33266" y="23929"/>
                  </a:cubicBezTo>
                  <a:cubicBezTo>
                    <a:pt x="33322" y="24055"/>
                    <a:pt x="33388" y="24174"/>
                    <a:pt x="33465" y="24289"/>
                  </a:cubicBezTo>
                  <a:cubicBezTo>
                    <a:pt x="33574" y="24454"/>
                    <a:pt x="33651" y="24576"/>
                    <a:pt x="33602" y="24674"/>
                  </a:cubicBezTo>
                  <a:cubicBezTo>
                    <a:pt x="33563" y="24751"/>
                    <a:pt x="33469" y="24765"/>
                    <a:pt x="33402" y="24772"/>
                  </a:cubicBezTo>
                  <a:cubicBezTo>
                    <a:pt x="33394" y="24773"/>
                    <a:pt x="33385" y="24773"/>
                    <a:pt x="33376" y="24773"/>
                  </a:cubicBezTo>
                  <a:cubicBezTo>
                    <a:pt x="33213" y="24773"/>
                    <a:pt x="33041" y="24681"/>
                    <a:pt x="32905" y="24604"/>
                  </a:cubicBezTo>
                  <a:cubicBezTo>
                    <a:pt x="32856" y="24580"/>
                    <a:pt x="32810" y="24555"/>
                    <a:pt x="32761" y="24534"/>
                  </a:cubicBezTo>
                  <a:lnTo>
                    <a:pt x="32761" y="24534"/>
                  </a:lnTo>
                  <a:cubicBezTo>
                    <a:pt x="32775" y="24622"/>
                    <a:pt x="32744" y="24713"/>
                    <a:pt x="32674" y="24769"/>
                  </a:cubicBezTo>
                  <a:cubicBezTo>
                    <a:pt x="32632" y="24814"/>
                    <a:pt x="32590" y="24853"/>
                    <a:pt x="32590" y="25021"/>
                  </a:cubicBezTo>
                  <a:cubicBezTo>
                    <a:pt x="32590" y="25319"/>
                    <a:pt x="32429" y="25746"/>
                    <a:pt x="32264" y="25886"/>
                  </a:cubicBezTo>
                  <a:cubicBezTo>
                    <a:pt x="32240" y="25907"/>
                    <a:pt x="32212" y="25924"/>
                    <a:pt x="32180" y="25931"/>
                  </a:cubicBezTo>
                  <a:cubicBezTo>
                    <a:pt x="32180" y="25945"/>
                    <a:pt x="32177" y="25956"/>
                    <a:pt x="32177" y="25970"/>
                  </a:cubicBezTo>
                  <a:lnTo>
                    <a:pt x="32177" y="25973"/>
                  </a:lnTo>
                  <a:lnTo>
                    <a:pt x="32177" y="26012"/>
                  </a:lnTo>
                  <a:lnTo>
                    <a:pt x="32177" y="26026"/>
                  </a:lnTo>
                  <a:cubicBezTo>
                    <a:pt x="32177" y="26040"/>
                    <a:pt x="32177" y="26054"/>
                    <a:pt x="32177" y="26064"/>
                  </a:cubicBezTo>
                  <a:lnTo>
                    <a:pt x="32177" y="26071"/>
                  </a:lnTo>
                  <a:cubicBezTo>
                    <a:pt x="32180" y="26085"/>
                    <a:pt x="32184" y="26099"/>
                    <a:pt x="32187" y="26113"/>
                  </a:cubicBezTo>
                  <a:cubicBezTo>
                    <a:pt x="32187" y="26117"/>
                    <a:pt x="32187" y="26120"/>
                    <a:pt x="32187" y="26124"/>
                  </a:cubicBezTo>
                  <a:cubicBezTo>
                    <a:pt x="32191" y="26138"/>
                    <a:pt x="32194" y="26148"/>
                    <a:pt x="32201" y="26159"/>
                  </a:cubicBezTo>
                  <a:lnTo>
                    <a:pt x="32205" y="26169"/>
                  </a:lnTo>
                  <a:cubicBezTo>
                    <a:pt x="32208" y="26180"/>
                    <a:pt x="32215" y="26190"/>
                    <a:pt x="32222" y="26204"/>
                  </a:cubicBezTo>
                  <a:lnTo>
                    <a:pt x="32254" y="26180"/>
                  </a:lnTo>
                  <a:cubicBezTo>
                    <a:pt x="32436" y="26042"/>
                    <a:pt x="32656" y="25878"/>
                    <a:pt x="32866" y="25878"/>
                  </a:cubicBezTo>
                  <a:cubicBezTo>
                    <a:pt x="32874" y="25878"/>
                    <a:pt x="32883" y="25878"/>
                    <a:pt x="32891" y="25879"/>
                  </a:cubicBezTo>
                  <a:cubicBezTo>
                    <a:pt x="33017" y="25886"/>
                    <a:pt x="33136" y="25917"/>
                    <a:pt x="33248" y="25966"/>
                  </a:cubicBezTo>
                  <a:cubicBezTo>
                    <a:pt x="33316" y="25994"/>
                    <a:pt x="33366" y="26015"/>
                    <a:pt x="33416" y="26015"/>
                  </a:cubicBezTo>
                  <a:cubicBezTo>
                    <a:pt x="33458" y="26015"/>
                    <a:pt x="33501" y="26000"/>
                    <a:pt x="33556" y="25963"/>
                  </a:cubicBezTo>
                  <a:cubicBezTo>
                    <a:pt x="33598" y="25931"/>
                    <a:pt x="33640" y="25903"/>
                    <a:pt x="33672" y="25879"/>
                  </a:cubicBezTo>
                  <a:cubicBezTo>
                    <a:pt x="33765" y="25809"/>
                    <a:pt x="33819" y="25768"/>
                    <a:pt x="33873" y="25768"/>
                  </a:cubicBezTo>
                  <a:cubicBezTo>
                    <a:pt x="33884" y="25768"/>
                    <a:pt x="33895" y="25770"/>
                    <a:pt x="33906" y="25774"/>
                  </a:cubicBezTo>
                  <a:cubicBezTo>
                    <a:pt x="33938" y="25784"/>
                    <a:pt x="33966" y="25809"/>
                    <a:pt x="33980" y="25840"/>
                  </a:cubicBezTo>
                  <a:lnTo>
                    <a:pt x="33983" y="25837"/>
                  </a:lnTo>
                  <a:lnTo>
                    <a:pt x="33997" y="25826"/>
                  </a:lnTo>
                  <a:lnTo>
                    <a:pt x="34001" y="25823"/>
                  </a:lnTo>
                  <a:lnTo>
                    <a:pt x="34008" y="25816"/>
                  </a:lnTo>
                  <a:lnTo>
                    <a:pt x="34011" y="25812"/>
                  </a:lnTo>
                  <a:lnTo>
                    <a:pt x="34015" y="25809"/>
                  </a:lnTo>
                  <a:lnTo>
                    <a:pt x="34015" y="25805"/>
                  </a:lnTo>
                  <a:lnTo>
                    <a:pt x="34015" y="25788"/>
                  </a:lnTo>
                  <a:lnTo>
                    <a:pt x="34015" y="25784"/>
                  </a:lnTo>
                  <a:lnTo>
                    <a:pt x="34015" y="25760"/>
                  </a:lnTo>
                  <a:lnTo>
                    <a:pt x="34015" y="25749"/>
                  </a:lnTo>
                  <a:cubicBezTo>
                    <a:pt x="34015" y="25739"/>
                    <a:pt x="34015" y="25728"/>
                    <a:pt x="34011" y="25721"/>
                  </a:cubicBezTo>
                  <a:lnTo>
                    <a:pt x="34011" y="25714"/>
                  </a:lnTo>
                  <a:cubicBezTo>
                    <a:pt x="34011" y="25700"/>
                    <a:pt x="34008" y="25686"/>
                    <a:pt x="34004" y="25672"/>
                  </a:cubicBezTo>
                  <a:lnTo>
                    <a:pt x="34004" y="25669"/>
                  </a:lnTo>
                  <a:cubicBezTo>
                    <a:pt x="33942" y="25678"/>
                    <a:pt x="33888" y="25685"/>
                    <a:pt x="33840" y="25685"/>
                  </a:cubicBezTo>
                  <a:cubicBezTo>
                    <a:pt x="33731" y="25685"/>
                    <a:pt x="33658" y="25647"/>
                    <a:pt x="33602" y="25508"/>
                  </a:cubicBezTo>
                  <a:cubicBezTo>
                    <a:pt x="33577" y="25441"/>
                    <a:pt x="33591" y="25368"/>
                    <a:pt x="33637" y="25319"/>
                  </a:cubicBezTo>
                  <a:cubicBezTo>
                    <a:pt x="33787" y="25122"/>
                    <a:pt x="34316" y="24972"/>
                    <a:pt x="34669" y="24972"/>
                  </a:cubicBezTo>
                  <a:cubicBezTo>
                    <a:pt x="34712" y="24972"/>
                    <a:pt x="34752" y="24974"/>
                    <a:pt x="34788" y="24979"/>
                  </a:cubicBezTo>
                  <a:cubicBezTo>
                    <a:pt x="34818" y="24983"/>
                    <a:pt x="34847" y="24985"/>
                    <a:pt x="34875" y="24985"/>
                  </a:cubicBezTo>
                  <a:cubicBezTo>
                    <a:pt x="34999" y="24985"/>
                    <a:pt x="35109" y="24951"/>
                    <a:pt x="35209" y="24919"/>
                  </a:cubicBezTo>
                  <a:cubicBezTo>
                    <a:pt x="35283" y="24895"/>
                    <a:pt x="35356" y="24873"/>
                    <a:pt x="35422" y="24873"/>
                  </a:cubicBezTo>
                  <a:cubicBezTo>
                    <a:pt x="35462" y="24873"/>
                    <a:pt x="35500" y="24881"/>
                    <a:pt x="35534" y="24902"/>
                  </a:cubicBezTo>
                  <a:lnTo>
                    <a:pt x="35545" y="24895"/>
                  </a:lnTo>
                  <a:lnTo>
                    <a:pt x="35562" y="24877"/>
                  </a:lnTo>
                  <a:lnTo>
                    <a:pt x="35601" y="24846"/>
                  </a:lnTo>
                  <a:lnTo>
                    <a:pt x="35618" y="24832"/>
                  </a:lnTo>
                  <a:lnTo>
                    <a:pt x="35650" y="24800"/>
                  </a:lnTo>
                  <a:lnTo>
                    <a:pt x="35671" y="24786"/>
                  </a:lnTo>
                  <a:lnTo>
                    <a:pt x="35699" y="24762"/>
                  </a:lnTo>
                  <a:lnTo>
                    <a:pt x="35720" y="24744"/>
                  </a:lnTo>
                  <a:lnTo>
                    <a:pt x="35744" y="24720"/>
                  </a:lnTo>
                  <a:lnTo>
                    <a:pt x="35762" y="24706"/>
                  </a:lnTo>
                  <a:lnTo>
                    <a:pt x="35786" y="24685"/>
                  </a:lnTo>
                  <a:lnTo>
                    <a:pt x="35807" y="24667"/>
                  </a:lnTo>
                  <a:lnTo>
                    <a:pt x="35828" y="24650"/>
                  </a:lnTo>
                  <a:lnTo>
                    <a:pt x="35846" y="24636"/>
                  </a:lnTo>
                  <a:lnTo>
                    <a:pt x="35867" y="24618"/>
                  </a:lnTo>
                  <a:lnTo>
                    <a:pt x="35884" y="24604"/>
                  </a:lnTo>
                  <a:lnTo>
                    <a:pt x="35902" y="24590"/>
                  </a:lnTo>
                  <a:lnTo>
                    <a:pt x="35919" y="24576"/>
                  </a:lnTo>
                  <a:lnTo>
                    <a:pt x="35937" y="24562"/>
                  </a:lnTo>
                  <a:lnTo>
                    <a:pt x="35951" y="24552"/>
                  </a:lnTo>
                  <a:lnTo>
                    <a:pt x="35968" y="24538"/>
                  </a:lnTo>
                  <a:lnTo>
                    <a:pt x="35982" y="24527"/>
                  </a:lnTo>
                  <a:lnTo>
                    <a:pt x="35996" y="24517"/>
                  </a:lnTo>
                  <a:lnTo>
                    <a:pt x="36010" y="24506"/>
                  </a:lnTo>
                  <a:lnTo>
                    <a:pt x="36024" y="24496"/>
                  </a:lnTo>
                  <a:lnTo>
                    <a:pt x="36038" y="24489"/>
                  </a:lnTo>
                  <a:lnTo>
                    <a:pt x="36049" y="24478"/>
                  </a:lnTo>
                  <a:lnTo>
                    <a:pt x="36059" y="24471"/>
                  </a:lnTo>
                  <a:lnTo>
                    <a:pt x="36073" y="24461"/>
                  </a:lnTo>
                  <a:lnTo>
                    <a:pt x="36084" y="24454"/>
                  </a:lnTo>
                  <a:lnTo>
                    <a:pt x="36094" y="24447"/>
                  </a:lnTo>
                  <a:lnTo>
                    <a:pt x="36105" y="24440"/>
                  </a:lnTo>
                  <a:lnTo>
                    <a:pt x="36115" y="24433"/>
                  </a:lnTo>
                  <a:lnTo>
                    <a:pt x="36122" y="24429"/>
                  </a:lnTo>
                  <a:lnTo>
                    <a:pt x="36133" y="24422"/>
                  </a:lnTo>
                  <a:lnTo>
                    <a:pt x="36140" y="24419"/>
                  </a:lnTo>
                  <a:lnTo>
                    <a:pt x="36150" y="24412"/>
                  </a:lnTo>
                  <a:lnTo>
                    <a:pt x="36157" y="24408"/>
                  </a:lnTo>
                  <a:lnTo>
                    <a:pt x="36164" y="24405"/>
                  </a:lnTo>
                  <a:lnTo>
                    <a:pt x="36171" y="24401"/>
                  </a:lnTo>
                  <a:lnTo>
                    <a:pt x="36178" y="24398"/>
                  </a:lnTo>
                  <a:lnTo>
                    <a:pt x="36185" y="24394"/>
                  </a:lnTo>
                  <a:lnTo>
                    <a:pt x="36192" y="24391"/>
                  </a:lnTo>
                  <a:lnTo>
                    <a:pt x="36199" y="24387"/>
                  </a:lnTo>
                  <a:lnTo>
                    <a:pt x="36266" y="24387"/>
                  </a:lnTo>
                  <a:cubicBezTo>
                    <a:pt x="36402" y="24387"/>
                    <a:pt x="37936" y="24370"/>
                    <a:pt x="38125" y="24370"/>
                  </a:cubicBezTo>
                  <a:cubicBezTo>
                    <a:pt x="38216" y="24310"/>
                    <a:pt x="38692" y="23988"/>
                    <a:pt x="38758" y="23708"/>
                  </a:cubicBezTo>
                  <a:cubicBezTo>
                    <a:pt x="38814" y="23467"/>
                    <a:pt x="39060" y="22892"/>
                    <a:pt x="39305" y="22717"/>
                  </a:cubicBezTo>
                  <a:cubicBezTo>
                    <a:pt x="39329" y="22700"/>
                    <a:pt x="39354" y="22686"/>
                    <a:pt x="39382" y="22675"/>
                  </a:cubicBezTo>
                  <a:cubicBezTo>
                    <a:pt x="39403" y="22667"/>
                    <a:pt x="39425" y="22662"/>
                    <a:pt x="39447" y="22662"/>
                  </a:cubicBezTo>
                  <a:cubicBezTo>
                    <a:pt x="39486" y="22662"/>
                    <a:pt x="39525" y="22676"/>
                    <a:pt x="39557" y="22703"/>
                  </a:cubicBezTo>
                  <a:cubicBezTo>
                    <a:pt x="39655" y="22780"/>
                    <a:pt x="39819" y="22791"/>
                    <a:pt x="39963" y="22798"/>
                  </a:cubicBezTo>
                  <a:cubicBezTo>
                    <a:pt x="40008" y="22801"/>
                    <a:pt x="40047" y="22805"/>
                    <a:pt x="40085" y="22808"/>
                  </a:cubicBezTo>
                  <a:cubicBezTo>
                    <a:pt x="40113" y="22812"/>
                    <a:pt x="40141" y="22819"/>
                    <a:pt x="40169" y="22822"/>
                  </a:cubicBezTo>
                  <a:cubicBezTo>
                    <a:pt x="40183" y="22826"/>
                    <a:pt x="40197" y="22833"/>
                    <a:pt x="40208" y="22836"/>
                  </a:cubicBezTo>
                  <a:lnTo>
                    <a:pt x="40215" y="22840"/>
                  </a:lnTo>
                  <a:lnTo>
                    <a:pt x="40229" y="22847"/>
                  </a:lnTo>
                  <a:lnTo>
                    <a:pt x="40236" y="22850"/>
                  </a:lnTo>
                  <a:cubicBezTo>
                    <a:pt x="40243" y="22854"/>
                    <a:pt x="40250" y="22857"/>
                    <a:pt x="40253" y="22861"/>
                  </a:cubicBezTo>
                  <a:cubicBezTo>
                    <a:pt x="40285" y="22885"/>
                    <a:pt x="40302" y="22917"/>
                    <a:pt x="40306" y="22955"/>
                  </a:cubicBezTo>
                  <a:cubicBezTo>
                    <a:pt x="40309" y="22994"/>
                    <a:pt x="40306" y="23032"/>
                    <a:pt x="40302" y="23074"/>
                  </a:cubicBezTo>
                  <a:lnTo>
                    <a:pt x="40299" y="23106"/>
                  </a:lnTo>
                  <a:lnTo>
                    <a:pt x="40299" y="23116"/>
                  </a:lnTo>
                  <a:lnTo>
                    <a:pt x="40299" y="23130"/>
                  </a:lnTo>
                  <a:lnTo>
                    <a:pt x="40299" y="23141"/>
                  </a:lnTo>
                  <a:lnTo>
                    <a:pt x="40299" y="23155"/>
                  </a:lnTo>
                  <a:lnTo>
                    <a:pt x="40299" y="23169"/>
                  </a:lnTo>
                  <a:lnTo>
                    <a:pt x="40299" y="23183"/>
                  </a:lnTo>
                  <a:lnTo>
                    <a:pt x="40299" y="23197"/>
                  </a:lnTo>
                  <a:lnTo>
                    <a:pt x="40299" y="23211"/>
                  </a:lnTo>
                  <a:lnTo>
                    <a:pt x="40299" y="23225"/>
                  </a:lnTo>
                  <a:lnTo>
                    <a:pt x="40299" y="23239"/>
                  </a:lnTo>
                  <a:lnTo>
                    <a:pt x="40299" y="23257"/>
                  </a:lnTo>
                  <a:lnTo>
                    <a:pt x="40299" y="23271"/>
                  </a:lnTo>
                  <a:lnTo>
                    <a:pt x="40299" y="23288"/>
                  </a:lnTo>
                  <a:lnTo>
                    <a:pt x="40299" y="23302"/>
                  </a:lnTo>
                  <a:lnTo>
                    <a:pt x="40299" y="23320"/>
                  </a:lnTo>
                  <a:lnTo>
                    <a:pt x="40299" y="23334"/>
                  </a:lnTo>
                  <a:lnTo>
                    <a:pt x="40299" y="23355"/>
                  </a:lnTo>
                  <a:lnTo>
                    <a:pt x="40299" y="23369"/>
                  </a:lnTo>
                  <a:lnTo>
                    <a:pt x="40299" y="23390"/>
                  </a:lnTo>
                  <a:lnTo>
                    <a:pt x="40299" y="23407"/>
                  </a:lnTo>
                  <a:lnTo>
                    <a:pt x="40299" y="23425"/>
                  </a:lnTo>
                  <a:lnTo>
                    <a:pt x="40299" y="23442"/>
                  </a:lnTo>
                  <a:cubicBezTo>
                    <a:pt x="40299" y="23449"/>
                    <a:pt x="40299" y="23456"/>
                    <a:pt x="40302" y="23463"/>
                  </a:cubicBezTo>
                  <a:lnTo>
                    <a:pt x="40306" y="23481"/>
                  </a:lnTo>
                  <a:lnTo>
                    <a:pt x="40309" y="23505"/>
                  </a:lnTo>
                  <a:lnTo>
                    <a:pt x="40313" y="23523"/>
                  </a:lnTo>
                  <a:lnTo>
                    <a:pt x="40316" y="23544"/>
                  </a:lnTo>
                  <a:lnTo>
                    <a:pt x="40320" y="23561"/>
                  </a:lnTo>
                  <a:lnTo>
                    <a:pt x="40323" y="23586"/>
                  </a:lnTo>
                  <a:lnTo>
                    <a:pt x="40327" y="23607"/>
                  </a:lnTo>
                  <a:lnTo>
                    <a:pt x="40334" y="23628"/>
                  </a:lnTo>
                  <a:lnTo>
                    <a:pt x="40341" y="23649"/>
                  </a:lnTo>
                  <a:lnTo>
                    <a:pt x="40344" y="23673"/>
                  </a:lnTo>
                  <a:lnTo>
                    <a:pt x="40351" y="23694"/>
                  </a:lnTo>
                  <a:lnTo>
                    <a:pt x="40358" y="23719"/>
                  </a:lnTo>
                  <a:lnTo>
                    <a:pt x="40365" y="23740"/>
                  </a:lnTo>
                  <a:lnTo>
                    <a:pt x="40376" y="23768"/>
                  </a:lnTo>
                  <a:lnTo>
                    <a:pt x="40383" y="23789"/>
                  </a:lnTo>
                  <a:lnTo>
                    <a:pt x="40390" y="23813"/>
                  </a:lnTo>
                  <a:lnTo>
                    <a:pt x="40400" y="23834"/>
                  </a:lnTo>
                  <a:lnTo>
                    <a:pt x="40411" y="23862"/>
                  </a:lnTo>
                  <a:lnTo>
                    <a:pt x="40418" y="23887"/>
                  </a:lnTo>
                  <a:lnTo>
                    <a:pt x="40432" y="23915"/>
                  </a:lnTo>
                  <a:lnTo>
                    <a:pt x="40442" y="23936"/>
                  </a:lnTo>
                  <a:lnTo>
                    <a:pt x="40456" y="23967"/>
                  </a:lnTo>
                  <a:lnTo>
                    <a:pt x="40467" y="23988"/>
                  </a:lnTo>
                  <a:lnTo>
                    <a:pt x="40481" y="24020"/>
                  </a:lnTo>
                  <a:lnTo>
                    <a:pt x="40491" y="24041"/>
                  </a:lnTo>
                  <a:lnTo>
                    <a:pt x="40509" y="24072"/>
                  </a:lnTo>
                  <a:lnTo>
                    <a:pt x="40523" y="24097"/>
                  </a:lnTo>
                  <a:lnTo>
                    <a:pt x="40540" y="24128"/>
                  </a:lnTo>
                  <a:lnTo>
                    <a:pt x="40554" y="24153"/>
                  </a:lnTo>
                  <a:lnTo>
                    <a:pt x="40572" y="24184"/>
                  </a:lnTo>
                  <a:lnTo>
                    <a:pt x="40586" y="24209"/>
                  </a:lnTo>
                  <a:lnTo>
                    <a:pt x="40607" y="24244"/>
                  </a:lnTo>
                  <a:lnTo>
                    <a:pt x="40624" y="24268"/>
                  </a:lnTo>
                  <a:lnTo>
                    <a:pt x="40645" y="24303"/>
                  </a:lnTo>
                  <a:lnTo>
                    <a:pt x="40663" y="24328"/>
                  </a:lnTo>
                  <a:lnTo>
                    <a:pt x="40687" y="24363"/>
                  </a:lnTo>
                  <a:lnTo>
                    <a:pt x="40705" y="24387"/>
                  </a:lnTo>
                  <a:lnTo>
                    <a:pt x="40712" y="24394"/>
                  </a:lnTo>
                  <a:cubicBezTo>
                    <a:pt x="40869" y="24299"/>
                    <a:pt x="41102" y="24177"/>
                    <a:pt x="41259" y="24177"/>
                  </a:cubicBezTo>
                  <a:cubicBezTo>
                    <a:pt x="41264" y="24177"/>
                    <a:pt x="41268" y="24177"/>
                    <a:pt x="41272" y="24177"/>
                  </a:cubicBezTo>
                  <a:cubicBezTo>
                    <a:pt x="41276" y="24177"/>
                    <a:pt x="41279" y="24178"/>
                    <a:pt x="41283" y="24178"/>
                  </a:cubicBezTo>
                  <a:cubicBezTo>
                    <a:pt x="41469" y="24178"/>
                    <a:pt x="41767" y="23915"/>
                    <a:pt x="41853" y="23750"/>
                  </a:cubicBezTo>
                  <a:cubicBezTo>
                    <a:pt x="41891" y="23678"/>
                    <a:pt x="41938" y="23663"/>
                    <a:pt x="41971" y="23663"/>
                  </a:cubicBezTo>
                  <a:cubicBezTo>
                    <a:pt x="41981" y="23663"/>
                    <a:pt x="41990" y="23664"/>
                    <a:pt x="41997" y="23666"/>
                  </a:cubicBezTo>
                  <a:cubicBezTo>
                    <a:pt x="42074" y="23684"/>
                    <a:pt x="42109" y="23775"/>
                    <a:pt x="42112" y="23852"/>
                  </a:cubicBezTo>
                  <a:cubicBezTo>
                    <a:pt x="42123" y="23939"/>
                    <a:pt x="42074" y="24023"/>
                    <a:pt x="41993" y="24062"/>
                  </a:cubicBezTo>
                  <a:cubicBezTo>
                    <a:pt x="42121" y="24115"/>
                    <a:pt x="42257" y="24140"/>
                    <a:pt x="42394" y="24140"/>
                  </a:cubicBezTo>
                  <a:cubicBezTo>
                    <a:pt x="42411" y="24140"/>
                    <a:pt x="42428" y="24139"/>
                    <a:pt x="42445" y="24139"/>
                  </a:cubicBezTo>
                  <a:cubicBezTo>
                    <a:pt x="42462" y="24138"/>
                    <a:pt x="42477" y="24138"/>
                    <a:pt x="42492" y="24138"/>
                  </a:cubicBezTo>
                  <a:cubicBezTo>
                    <a:pt x="42559" y="24138"/>
                    <a:pt x="42597" y="24147"/>
                    <a:pt x="42620" y="24184"/>
                  </a:cubicBezTo>
                  <a:cubicBezTo>
                    <a:pt x="42630" y="24205"/>
                    <a:pt x="42630" y="24233"/>
                    <a:pt x="42620" y="24254"/>
                  </a:cubicBezTo>
                  <a:cubicBezTo>
                    <a:pt x="42606" y="24275"/>
                    <a:pt x="42588" y="24307"/>
                    <a:pt x="42375" y="24349"/>
                  </a:cubicBezTo>
                  <a:cubicBezTo>
                    <a:pt x="42274" y="24368"/>
                    <a:pt x="42171" y="24381"/>
                    <a:pt x="42067" y="24381"/>
                  </a:cubicBezTo>
                  <a:cubicBezTo>
                    <a:pt x="42056" y="24381"/>
                    <a:pt x="42044" y="24381"/>
                    <a:pt x="42032" y="24380"/>
                  </a:cubicBezTo>
                  <a:cubicBezTo>
                    <a:pt x="42005" y="24379"/>
                    <a:pt x="41981" y="24378"/>
                    <a:pt x="41957" y="24378"/>
                  </a:cubicBezTo>
                  <a:cubicBezTo>
                    <a:pt x="41788" y="24378"/>
                    <a:pt x="41679" y="24426"/>
                    <a:pt x="41381" y="24727"/>
                  </a:cubicBezTo>
                  <a:cubicBezTo>
                    <a:pt x="41234" y="24870"/>
                    <a:pt x="41167" y="24975"/>
                    <a:pt x="41167" y="25042"/>
                  </a:cubicBezTo>
                  <a:cubicBezTo>
                    <a:pt x="41167" y="25105"/>
                    <a:pt x="41230" y="25161"/>
                    <a:pt x="41314" y="25234"/>
                  </a:cubicBezTo>
                  <a:cubicBezTo>
                    <a:pt x="41374" y="25288"/>
                    <a:pt x="41441" y="25314"/>
                    <a:pt x="41517" y="25314"/>
                  </a:cubicBezTo>
                  <a:cubicBezTo>
                    <a:pt x="41640" y="25314"/>
                    <a:pt x="41783" y="25243"/>
                    <a:pt x="41944" y="25101"/>
                  </a:cubicBezTo>
                  <a:cubicBezTo>
                    <a:pt x="42025" y="25031"/>
                    <a:pt x="42091" y="24951"/>
                    <a:pt x="42147" y="24863"/>
                  </a:cubicBezTo>
                  <a:cubicBezTo>
                    <a:pt x="42231" y="24743"/>
                    <a:pt x="42305" y="24639"/>
                    <a:pt x="42485" y="24639"/>
                  </a:cubicBezTo>
                  <a:cubicBezTo>
                    <a:pt x="42494" y="24639"/>
                    <a:pt x="42502" y="24639"/>
                    <a:pt x="42511" y="24639"/>
                  </a:cubicBezTo>
                  <a:cubicBezTo>
                    <a:pt x="42516" y="24639"/>
                    <a:pt x="42520" y="24640"/>
                    <a:pt x="42524" y="24640"/>
                  </a:cubicBezTo>
                  <a:cubicBezTo>
                    <a:pt x="42738" y="24640"/>
                    <a:pt x="43225" y="24476"/>
                    <a:pt x="43548" y="24370"/>
                  </a:cubicBezTo>
                  <a:cubicBezTo>
                    <a:pt x="43625" y="24342"/>
                    <a:pt x="43695" y="24321"/>
                    <a:pt x="43751" y="24303"/>
                  </a:cubicBezTo>
                  <a:cubicBezTo>
                    <a:pt x="43793" y="24289"/>
                    <a:pt x="43835" y="24272"/>
                    <a:pt x="43873" y="24247"/>
                  </a:cubicBezTo>
                  <a:cubicBezTo>
                    <a:pt x="43870" y="24240"/>
                    <a:pt x="43863" y="24230"/>
                    <a:pt x="43859" y="24223"/>
                  </a:cubicBezTo>
                  <a:cubicBezTo>
                    <a:pt x="43831" y="24181"/>
                    <a:pt x="43817" y="24135"/>
                    <a:pt x="43814" y="24086"/>
                  </a:cubicBezTo>
                  <a:cubicBezTo>
                    <a:pt x="43814" y="23960"/>
                    <a:pt x="43985" y="23922"/>
                    <a:pt x="44202" y="23880"/>
                  </a:cubicBezTo>
                  <a:cubicBezTo>
                    <a:pt x="44339" y="23848"/>
                    <a:pt x="44493" y="23817"/>
                    <a:pt x="44570" y="23764"/>
                  </a:cubicBezTo>
                  <a:cubicBezTo>
                    <a:pt x="44615" y="23736"/>
                    <a:pt x="44615" y="23719"/>
                    <a:pt x="44615" y="23719"/>
                  </a:cubicBezTo>
                  <a:cubicBezTo>
                    <a:pt x="44609" y="23698"/>
                    <a:pt x="44541" y="23662"/>
                    <a:pt x="44457" y="23662"/>
                  </a:cubicBezTo>
                  <a:cubicBezTo>
                    <a:pt x="44441" y="23662"/>
                    <a:pt x="44425" y="23663"/>
                    <a:pt x="44409" y="23666"/>
                  </a:cubicBezTo>
                  <a:cubicBezTo>
                    <a:pt x="44400" y="23668"/>
                    <a:pt x="44391" y="23669"/>
                    <a:pt x="44382" y="23669"/>
                  </a:cubicBezTo>
                  <a:cubicBezTo>
                    <a:pt x="44345" y="23669"/>
                    <a:pt x="44308" y="23652"/>
                    <a:pt x="44283" y="23624"/>
                  </a:cubicBezTo>
                  <a:cubicBezTo>
                    <a:pt x="44223" y="23554"/>
                    <a:pt x="44258" y="23442"/>
                    <a:pt x="44293" y="23320"/>
                  </a:cubicBezTo>
                  <a:cubicBezTo>
                    <a:pt x="44304" y="23295"/>
                    <a:pt x="44311" y="23271"/>
                    <a:pt x="44314" y="23250"/>
                  </a:cubicBezTo>
                  <a:lnTo>
                    <a:pt x="44314" y="23250"/>
                  </a:lnTo>
                  <a:cubicBezTo>
                    <a:pt x="44258" y="23271"/>
                    <a:pt x="44209" y="23299"/>
                    <a:pt x="44164" y="23337"/>
                  </a:cubicBezTo>
                  <a:cubicBezTo>
                    <a:pt x="44122" y="23362"/>
                    <a:pt x="44094" y="23400"/>
                    <a:pt x="44080" y="23446"/>
                  </a:cubicBezTo>
                  <a:cubicBezTo>
                    <a:pt x="44069" y="23565"/>
                    <a:pt x="43968" y="23635"/>
                    <a:pt x="43884" y="23691"/>
                  </a:cubicBezTo>
                  <a:cubicBezTo>
                    <a:pt x="43852" y="23708"/>
                    <a:pt x="43824" y="23733"/>
                    <a:pt x="43800" y="23761"/>
                  </a:cubicBezTo>
                  <a:cubicBezTo>
                    <a:pt x="43800" y="23922"/>
                    <a:pt x="43793" y="24002"/>
                    <a:pt x="43660" y="24013"/>
                  </a:cubicBezTo>
                  <a:cubicBezTo>
                    <a:pt x="43614" y="24016"/>
                    <a:pt x="43572" y="24027"/>
                    <a:pt x="43534" y="24048"/>
                  </a:cubicBezTo>
                  <a:cubicBezTo>
                    <a:pt x="43469" y="24080"/>
                    <a:pt x="43364" y="24094"/>
                    <a:pt x="43245" y="24094"/>
                  </a:cubicBezTo>
                  <a:cubicBezTo>
                    <a:pt x="43014" y="24094"/>
                    <a:pt x="42731" y="24041"/>
                    <a:pt x="42592" y="23967"/>
                  </a:cubicBezTo>
                  <a:cubicBezTo>
                    <a:pt x="42518" y="23929"/>
                    <a:pt x="42476" y="23880"/>
                    <a:pt x="42469" y="23827"/>
                  </a:cubicBezTo>
                  <a:cubicBezTo>
                    <a:pt x="42462" y="23785"/>
                    <a:pt x="42333" y="23722"/>
                    <a:pt x="42242" y="23677"/>
                  </a:cubicBezTo>
                  <a:cubicBezTo>
                    <a:pt x="42077" y="23593"/>
                    <a:pt x="41892" y="23502"/>
                    <a:pt x="41874" y="23341"/>
                  </a:cubicBezTo>
                  <a:cubicBezTo>
                    <a:pt x="41864" y="23278"/>
                    <a:pt x="41836" y="23214"/>
                    <a:pt x="41797" y="23165"/>
                  </a:cubicBezTo>
                  <a:cubicBezTo>
                    <a:pt x="41727" y="23060"/>
                    <a:pt x="41643" y="22934"/>
                    <a:pt x="41815" y="22735"/>
                  </a:cubicBezTo>
                  <a:cubicBezTo>
                    <a:pt x="41881" y="22658"/>
                    <a:pt x="41895" y="22598"/>
                    <a:pt x="41874" y="22577"/>
                  </a:cubicBezTo>
                  <a:cubicBezTo>
                    <a:pt x="41867" y="22570"/>
                    <a:pt x="41852" y="22566"/>
                    <a:pt x="41832" y="22566"/>
                  </a:cubicBezTo>
                  <a:cubicBezTo>
                    <a:pt x="41791" y="22566"/>
                    <a:pt x="41729" y="22585"/>
                    <a:pt x="41668" y="22644"/>
                  </a:cubicBezTo>
                  <a:cubicBezTo>
                    <a:pt x="41600" y="22707"/>
                    <a:pt x="41542" y="22723"/>
                    <a:pt x="41498" y="22723"/>
                  </a:cubicBezTo>
                  <a:cubicBezTo>
                    <a:pt x="41469" y="22723"/>
                    <a:pt x="41447" y="22716"/>
                    <a:pt x="41433" y="22710"/>
                  </a:cubicBezTo>
                  <a:cubicBezTo>
                    <a:pt x="41377" y="22682"/>
                    <a:pt x="41342" y="22623"/>
                    <a:pt x="41346" y="22560"/>
                  </a:cubicBezTo>
                  <a:cubicBezTo>
                    <a:pt x="41346" y="22479"/>
                    <a:pt x="41405" y="22374"/>
                    <a:pt x="41552" y="22315"/>
                  </a:cubicBezTo>
                  <a:cubicBezTo>
                    <a:pt x="41584" y="22301"/>
                    <a:pt x="41622" y="22290"/>
                    <a:pt x="41661" y="22276"/>
                  </a:cubicBezTo>
                  <a:cubicBezTo>
                    <a:pt x="41836" y="22213"/>
                    <a:pt x="42049" y="22136"/>
                    <a:pt x="42105" y="21993"/>
                  </a:cubicBezTo>
                  <a:cubicBezTo>
                    <a:pt x="42133" y="21916"/>
                    <a:pt x="42116" y="21821"/>
                    <a:pt x="42053" y="21706"/>
                  </a:cubicBezTo>
                  <a:cubicBezTo>
                    <a:pt x="42014" y="21643"/>
                    <a:pt x="41951" y="21601"/>
                    <a:pt x="41881" y="21587"/>
                  </a:cubicBezTo>
                  <a:cubicBezTo>
                    <a:pt x="41814" y="21568"/>
                    <a:pt x="41736" y="21559"/>
                    <a:pt x="41648" y="21559"/>
                  </a:cubicBezTo>
                  <a:cubicBezTo>
                    <a:pt x="41057" y="21559"/>
                    <a:pt x="40073" y="21948"/>
                    <a:pt x="39777" y="22119"/>
                  </a:cubicBezTo>
                  <a:cubicBezTo>
                    <a:pt x="39585" y="22227"/>
                    <a:pt x="39357" y="22469"/>
                    <a:pt x="39154" y="22675"/>
                  </a:cubicBezTo>
                  <a:cubicBezTo>
                    <a:pt x="38874" y="22966"/>
                    <a:pt x="38699" y="23144"/>
                    <a:pt x="38555" y="23144"/>
                  </a:cubicBezTo>
                  <a:cubicBezTo>
                    <a:pt x="38482" y="23144"/>
                    <a:pt x="38457" y="23109"/>
                    <a:pt x="38447" y="23081"/>
                  </a:cubicBezTo>
                  <a:cubicBezTo>
                    <a:pt x="38415" y="22994"/>
                    <a:pt x="38513" y="22906"/>
                    <a:pt x="38741" y="22714"/>
                  </a:cubicBezTo>
                  <a:cubicBezTo>
                    <a:pt x="38846" y="22626"/>
                    <a:pt x="38965" y="22525"/>
                    <a:pt x="38996" y="22476"/>
                  </a:cubicBezTo>
                  <a:cubicBezTo>
                    <a:pt x="39024" y="22423"/>
                    <a:pt x="39035" y="22367"/>
                    <a:pt x="39028" y="22311"/>
                  </a:cubicBezTo>
                  <a:cubicBezTo>
                    <a:pt x="39028" y="22269"/>
                    <a:pt x="39024" y="22217"/>
                    <a:pt x="39070" y="22189"/>
                  </a:cubicBezTo>
                  <a:cubicBezTo>
                    <a:pt x="39087" y="22180"/>
                    <a:pt x="39106" y="22176"/>
                    <a:pt x="39125" y="22176"/>
                  </a:cubicBezTo>
                  <a:cubicBezTo>
                    <a:pt x="39146" y="22176"/>
                    <a:pt x="39167" y="22181"/>
                    <a:pt x="39186" y="22192"/>
                  </a:cubicBezTo>
                  <a:cubicBezTo>
                    <a:pt x="39245" y="22185"/>
                    <a:pt x="39417" y="21986"/>
                    <a:pt x="39532" y="21856"/>
                  </a:cubicBezTo>
                  <a:cubicBezTo>
                    <a:pt x="39651" y="21716"/>
                    <a:pt x="39777" y="21569"/>
                    <a:pt x="39886" y="21485"/>
                  </a:cubicBezTo>
                  <a:cubicBezTo>
                    <a:pt x="40013" y="21389"/>
                    <a:pt x="40143" y="21375"/>
                    <a:pt x="40250" y="21375"/>
                  </a:cubicBezTo>
                  <a:cubicBezTo>
                    <a:pt x="40272" y="21375"/>
                    <a:pt x="40293" y="21376"/>
                    <a:pt x="40313" y="21377"/>
                  </a:cubicBezTo>
                  <a:cubicBezTo>
                    <a:pt x="40411" y="21377"/>
                    <a:pt x="40428" y="21373"/>
                    <a:pt x="40432" y="21356"/>
                  </a:cubicBezTo>
                  <a:cubicBezTo>
                    <a:pt x="40474" y="21177"/>
                    <a:pt x="40600" y="21065"/>
                    <a:pt x="40852" y="20837"/>
                  </a:cubicBezTo>
                  <a:cubicBezTo>
                    <a:pt x="41038" y="20669"/>
                    <a:pt x="42431" y="20640"/>
                    <a:pt x="43394" y="20640"/>
                  </a:cubicBezTo>
                  <a:cubicBezTo>
                    <a:pt x="43914" y="20640"/>
                    <a:pt x="44308" y="20648"/>
                    <a:pt x="44318" y="20648"/>
                  </a:cubicBezTo>
                  <a:lnTo>
                    <a:pt x="44328" y="20648"/>
                  </a:lnTo>
                  <a:cubicBezTo>
                    <a:pt x="44577" y="20648"/>
                    <a:pt x="45095" y="20298"/>
                    <a:pt x="45242" y="20071"/>
                  </a:cubicBezTo>
                  <a:cubicBezTo>
                    <a:pt x="45377" y="19864"/>
                    <a:pt x="45545" y="19814"/>
                    <a:pt x="45791" y="19814"/>
                  </a:cubicBezTo>
                  <a:cubicBezTo>
                    <a:pt x="45870" y="19814"/>
                    <a:pt x="45957" y="19819"/>
                    <a:pt x="46054" y="19826"/>
                  </a:cubicBezTo>
                  <a:cubicBezTo>
                    <a:pt x="46064" y="19826"/>
                    <a:pt x="46074" y="19827"/>
                    <a:pt x="46084" y="19827"/>
                  </a:cubicBezTo>
                  <a:cubicBezTo>
                    <a:pt x="46316" y="19827"/>
                    <a:pt x="46466" y="19673"/>
                    <a:pt x="46600" y="19535"/>
                  </a:cubicBezTo>
                  <a:cubicBezTo>
                    <a:pt x="46656" y="19476"/>
                    <a:pt x="46712" y="19423"/>
                    <a:pt x="46775" y="19374"/>
                  </a:cubicBezTo>
                  <a:cubicBezTo>
                    <a:pt x="46810" y="19357"/>
                    <a:pt x="46838" y="19329"/>
                    <a:pt x="46863" y="19301"/>
                  </a:cubicBezTo>
                  <a:cubicBezTo>
                    <a:pt x="46828" y="19280"/>
                    <a:pt x="46789" y="19269"/>
                    <a:pt x="46751" y="19262"/>
                  </a:cubicBezTo>
                  <a:cubicBezTo>
                    <a:pt x="46747" y="19262"/>
                    <a:pt x="46460" y="19199"/>
                    <a:pt x="46471" y="19069"/>
                  </a:cubicBezTo>
                  <a:cubicBezTo>
                    <a:pt x="46471" y="19031"/>
                    <a:pt x="46499" y="18982"/>
                    <a:pt x="46604" y="18975"/>
                  </a:cubicBezTo>
                  <a:cubicBezTo>
                    <a:pt x="46719" y="18968"/>
                    <a:pt x="46796" y="18919"/>
                    <a:pt x="46873" y="18691"/>
                  </a:cubicBezTo>
                  <a:cubicBezTo>
                    <a:pt x="46901" y="18611"/>
                    <a:pt x="46901" y="18611"/>
                    <a:pt x="46835" y="18565"/>
                  </a:cubicBezTo>
                  <a:cubicBezTo>
                    <a:pt x="46744" y="18499"/>
                    <a:pt x="46660" y="18418"/>
                    <a:pt x="46593" y="18327"/>
                  </a:cubicBezTo>
                  <a:cubicBezTo>
                    <a:pt x="46545" y="18265"/>
                    <a:pt x="46509" y="18240"/>
                    <a:pt x="46473" y="18240"/>
                  </a:cubicBezTo>
                  <a:cubicBezTo>
                    <a:pt x="46434" y="18240"/>
                    <a:pt x="46394" y="18270"/>
                    <a:pt x="46338" y="18313"/>
                  </a:cubicBezTo>
                  <a:cubicBezTo>
                    <a:pt x="46271" y="18364"/>
                    <a:pt x="46189" y="18427"/>
                    <a:pt x="46085" y="18427"/>
                  </a:cubicBezTo>
                  <a:cubicBezTo>
                    <a:pt x="46075" y="18427"/>
                    <a:pt x="46065" y="18427"/>
                    <a:pt x="46054" y="18425"/>
                  </a:cubicBezTo>
                  <a:cubicBezTo>
                    <a:pt x="46009" y="18425"/>
                    <a:pt x="45963" y="18401"/>
                    <a:pt x="45935" y="18359"/>
                  </a:cubicBezTo>
                  <a:cubicBezTo>
                    <a:pt x="45900" y="18296"/>
                    <a:pt x="45935" y="18222"/>
                    <a:pt x="45970" y="18152"/>
                  </a:cubicBezTo>
                  <a:cubicBezTo>
                    <a:pt x="46026" y="18037"/>
                    <a:pt x="46030" y="18005"/>
                    <a:pt x="45991" y="17977"/>
                  </a:cubicBezTo>
                  <a:cubicBezTo>
                    <a:pt x="45942" y="17947"/>
                    <a:pt x="45880" y="17933"/>
                    <a:pt x="45810" y="17933"/>
                  </a:cubicBezTo>
                  <a:cubicBezTo>
                    <a:pt x="45634" y="17933"/>
                    <a:pt x="45409" y="18023"/>
                    <a:pt x="45221" y="18180"/>
                  </a:cubicBezTo>
                  <a:cubicBezTo>
                    <a:pt x="45083" y="18293"/>
                    <a:pt x="45002" y="18310"/>
                    <a:pt x="44926" y="18310"/>
                  </a:cubicBezTo>
                  <a:cubicBezTo>
                    <a:pt x="44917" y="18310"/>
                    <a:pt x="44908" y="18310"/>
                    <a:pt x="44899" y="18310"/>
                  </a:cubicBezTo>
                  <a:cubicBezTo>
                    <a:pt x="44891" y="18309"/>
                    <a:pt x="44883" y="18309"/>
                    <a:pt x="44875" y="18309"/>
                  </a:cubicBezTo>
                  <a:cubicBezTo>
                    <a:pt x="44833" y="18309"/>
                    <a:pt x="44791" y="18322"/>
                    <a:pt x="44703" y="18408"/>
                  </a:cubicBezTo>
                  <a:cubicBezTo>
                    <a:pt x="44633" y="18475"/>
                    <a:pt x="44570" y="18509"/>
                    <a:pt x="44515" y="18509"/>
                  </a:cubicBezTo>
                  <a:cubicBezTo>
                    <a:pt x="44501" y="18509"/>
                    <a:pt x="44488" y="18507"/>
                    <a:pt x="44475" y="18502"/>
                  </a:cubicBezTo>
                  <a:cubicBezTo>
                    <a:pt x="44423" y="18481"/>
                    <a:pt x="44388" y="18436"/>
                    <a:pt x="44384" y="18383"/>
                  </a:cubicBezTo>
                  <a:cubicBezTo>
                    <a:pt x="44367" y="18275"/>
                    <a:pt x="44402" y="18166"/>
                    <a:pt x="44482" y="18089"/>
                  </a:cubicBezTo>
                  <a:cubicBezTo>
                    <a:pt x="44531" y="18053"/>
                    <a:pt x="44593" y="18029"/>
                    <a:pt x="44655" y="18029"/>
                  </a:cubicBezTo>
                  <a:cubicBezTo>
                    <a:pt x="44659" y="18029"/>
                    <a:pt x="44664" y="18030"/>
                    <a:pt x="44668" y="18030"/>
                  </a:cubicBezTo>
                  <a:cubicBezTo>
                    <a:pt x="44671" y="18030"/>
                    <a:pt x="44674" y="18030"/>
                    <a:pt x="44677" y="18030"/>
                  </a:cubicBezTo>
                  <a:cubicBezTo>
                    <a:pt x="44719" y="18030"/>
                    <a:pt x="44764" y="18006"/>
                    <a:pt x="44787" y="17970"/>
                  </a:cubicBezTo>
                  <a:cubicBezTo>
                    <a:pt x="44857" y="17876"/>
                    <a:pt x="44934" y="17872"/>
                    <a:pt x="45011" y="17865"/>
                  </a:cubicBezTo>
                  <a:cubicBezTo>
                    <a:pt x="45116" y="17865"/>
                    <a:pt x="45217" y="17830"/>
                    <a:pt x="45302" y="17771"/>
                  </a:cubicBezTo>
                  <a:cubicBezTo>
                    <a:pt x="45424" y="17694"/>
                    <a:pt x="45564" y="17645"/>
                    <a:pt x="45711" y="17627"/>
                  </a:cubicBezTo>
                  <a:cubicBezTo>
                    <a:pt x="45806" y="17610"/>
                    <a:pt x="45862" y="17599"/>
                    <a:pt x="45886" y="17561"/>
                  </a:cubicBezTo>
                  <a:cubicBezTo>
                    <a:pt x="45890" y="17554"/>
                    <a:pt x="45904" y="17529"/>
                    <a:pt x="45879" y="17491"/>
                  </a:cubicBezTo>
                  <a:cubicBezTo>
                    <a:pt x="45840" y="17438"/>
                    <a:pt x="45753" y="17394"/>
                    <a:pt x="45643" y="17394"/>
                  </a:cubicBezTo>
                  <a:cubicBezTo>
                    <a:pt x="45614" y="17394"/>
                    <a:pt x="45584" y="17397"/>
                    <a:pt x="45554" y="17403"/>
                  </a:cubicBezTo>
                  <a:cubicBezTo>
                    <a:pt x="45531" y="17408"/>
                    <a:pt x="45508" y="17411"/>
                    <a:pt x="45487" y="17411"/>
                  </a:cubicBezTo>
                  <a:cubicBezTo>
                    <a:pt x="45352" y="17411"/>
                    <a:pt x="45241" y="17317"/>
                    <a:pt x="45147" y="17242"/>
                  </a:cubicBezTo>
                  <a:cubicBezTo>
                    <a:pt x="45072" y="17177"/>
                    <a:pt x="45023" y="17142"/>
                    <a:pt x="44987" y="17142"/>
                  </a:cubicBezTo>
                  <a:cubicBezTo>
                    <a:pt x="44977" y="17142"/>
                    <a:pt x="44967" y="17145"/>
                    <a:pt x="44958" y="17151"/>
                  </a:cubicBezTo>
                  <a:cubicBezTo>
                    <a:pt x="44917" y="17181"/>
                    <a:pt x="44881" y="17192"/>
                    <a:pt x="44851" y="17192"/>
                  </a:cubicBezTo>
                  <a:cubicBezTo>
                    <a:pt x="44783" y="17192"/>
                    <a:pt x="44741" y="17138"/>
                    <a:pt x="44717" y="17109"/>
                  </a:cubicBezTo>
                  <a:cubicBezTo>
                    <a:pt x="44698" y="17086"/>
                    <a:pt x="44688" y="17073"/>
                    <a:pt x="44672" y="17073"/>
                  </a:cubicBezTo>
                  <a:cubicBezTo>
                    <a:pt x="44662" y="17073"/>
                    <a:pt x="44649" y="17079"/>
                    <a:pt x="44629" y="17092"/>
                  </a:cubicBezTo>
                  <a:cubicBezTo>
                    <a:pt x="44585" y="17126"/>
                    <a:pt x="44529" y="17143"/>
                    <a:pt x="44472" y="17143"/>
                  </a:cubicBezTo>
                  <a:cubicBezTo>
                    <a:pt x="44447" y="17143"/>
                    <a:pt x="44422" y="17140"/>
                    <a:pt x="44398" y="17134"/>
                  </a:cubicBezTo>
                  <a:cubicBezTo>
                    <a:pt x="44269" y="17088"/>
                    <a:pt x="44195" y="16927"/>
                    <a:pt x="44146" y="16794"/>
                  </a:cubicBezTo>
                  <a:cubicBezTo>
                    <a:pt x="44076" y="16598"/>
                    <a:pt x="43583" y="16227"/>
                    <a:pt x="43268" y="16129"/>
                  </a:cubicBezTo>
                  <a:cubicBezTo>
                    <a:pt x="43103" y="16080"/>
                    <a:pt x="43064" y="16010"/>
                    <a:pt x="43057" y="15957"/>
                  </a:cubicBezTo>
                  <a:cubicBezTo>
                    <a:pt x="43054" y="15908"/>
                    <a:pt x="43078" y="15863"/>
                    <a:pt x="43120" y="15838"/>
                  </a:cubicBezTo>
                  <a:cubicBezTo>
                    <a:pt x="43156" y="15821"/>
                    <a:pt x="43194" y="15813"/>
                    <a:pt x="43231" y="15813"/>
                  </a:cubicBezTo>
                  <a:cubicBezTo>
                    <a:pt x="43286" y="15813"/>
                    <a:pt x="43339" y="15831"/>
                    <a:pt x="43383" y="15866"/>
                  </a:cubicBezTo>
                  <a:cubicBezTo>
                    <a:pt x="43402" y="15883"/>
                    <a:pt x="43426" y="15888"/>
                    <a:pt x="43449" y="15888"/>
                  </a:cubicBezTo>
                  <a:cubicBezTo>
                    <a:pt x="43455" y="15888"/>
                    <a:pt x="43461" y="15888"/>
                    <a:pt x="43467" y="15887"/>
                  </a:cubicBezTo>
                  <a:cubicBezTo>
                    <a:pt x="43555" y="15866"/>
                    <a:pt x="43660" y="15751"/>
                    <a:pt x="43726" y="15646"/>
                  </a:cubicBezTo>
                  <a:cubicBezTo>
                    <a:pt x="43733" y="15632"/>
                    <a:pt x="43733" y="15618"/>
                    <a:pt x="43726" y="15607"/>
                  </a:cubicBezTo>
                  <a:cubicBezTo>
                    <a:pt x="43702" y="15555"/>
                    <a:pt x="43604" y="15509"/>
                    <a:pt x="43555" y="15502"/>
                  </a:cubicBezTo>
                  <a:cubicBezTo>
                    <a:pt x="43513" y="15495"/>
                    <a:pt x="43478" y="15474"/>
                    <a:pt x="43453" y="15439"/>
                  </a:cubicBezTo>
                  <a:cubicBezTo>
                    <a:pt x="43390" y="15355"/>
                    <a:pt x="43408" y="15212"/>
                    <a:pt x="43425" y="15131"/>
                  </a:cubicBezTo>
                  <a:cubicBezTo>
                    <a:pt x="43425" y="15103"/>
                    <a:pt x="43324" y="15026"/>
                    <a:pt x="43271" y="14984"/>
                  </a:cubicBezTo>
                  <a:cubicBezTo>
                    <a:pt x="43173" y="14907"/>
                    <a:pt x="43078" y="14837"/>
                    <a:pt x="43071" y="14749"/>
                  </a:cubicBezTo>
                  <a:cubicBezTo>
                    <a:pt x="43068" y="14714"/>
                    <a:pt x="43022" y="14672"/>
                    <a:pt x="42984" y="14634"/>
                  </a:cubicBezTo>
                  <a:cubicBezTo>
                    <a:pt x="42924" y="14574"/>
                    <a:pt x="42858" y="14508"/>
                    <a:pt x="42868" y="14420"/>
                  </a:cubicBezTo>
                  <a:cubicBezTo>
                    <a:pt x="42868" y="14396"/>
                    <a:pt x="42823" y="14329"/>
                    <a:pt x="42788" y="14284"/>
                  </a:cubicBezTo>
                  <a:cubicBezTo>
                    <a:pt x="42728" y="14203"/>
                    <a:pt x="42662" y="14112"/>
                    <a:pt x="42662" y="14018"/>
                  </a:cubicBezTo>
                  <a:cubicBezTo>
                    <a:pt x="42662" y="13969"/>
                    <a:pt x="42564" y="13853"/>
                    <a:pt x="42497" y="13769"/>
                  </a:cubicBezTo>
                  <a:cubicBezTo>
                    <a:pt x="42392" y="13643"/>
                    <a:pt x="42291" y="13521"/>
                    <a:pt x="42284" y="13416"/>
                  </a:cubicBezTo>
                  <a:cubicBezTo>
                    <a:pt x="42280" y="13342"/>
                    <a:pt x="42228" y="13276"/>
                    <a:pt x="42168" y="13195"/>
                  </a:cubicBezTo>
                  <a:cubicBezTo>
                    <a:pt x="42102" y="13118"/>
                    <a:pt x="42046" y="13031"/>
                    <a:pt x="42011" y="12933"/>
                  </a:cubicBezTo>
                  <a:cubicBezTo>
                    <a:pt x="42004" y="12915"/>
                    <a:pt x="41993" y="12894"/>
                    <a:pt x="41983" y="12877"/>
                  </a:cubicBezTo>
                  <a:cubicBezTo>
                    <a:pt x="41965" y="12898"/>
                    <a:pt x="41930" y="12957"/>
                    <a:pt x="41892" y="13111"/>
                  </a:cubicBezTo>
                  <a:cubicBezTo>
                    <a:pt x="41860" y="13241"/>
                    <a:pt x="41776" y="13353"/>
                    <a:pt x="41661" y="13423"/>
                  </a:cubicBezTo>
                  <a:lnTo>
                    <a:pt x="41636" y="13444"/>
                  </a:lnTo>
                  <a:cubicBezTo>
                    <a:pt x="41769" y="13626"/>
                    <a:pt x="41710" y="13696"/>
                    <a:pt x="41615" y="13780"/>
                  </a:cubicBezTo>
                  <a:cubicBezTo>
                    <a:pt x="41591" y="13797"/>
                    <a:pt x="41570" y="13818"/>
                    <a:pt x="41552" y="13839"/>
                  </a:cubicBezTo>
                  <a:cubicBezTo>
                    <a:pt x="41524" y="13871"/>
                    <a:pt x="41528" y="13909"/>
                    <a:pt x="41538" y="13969"/>
                  </a:cubicBezTo>
                  <a:cubicBezTo>
                    <a:pt x="41545" y="14018"/>
                    <a:pt x="41556" y="14074"/>
                    <a:pt x="41517" y="14119"/>
                  </a:cubicBezTo>
                  <a:cubicBezTo>
                    <a:pt x="41485" y="14148"/>
                    <a:pt x="41444" y="14165"/>
                    <a:pt x="41405" y="14165"/>
                  </a:cubicBezTo>
                  <a:cubicBezTo>
                    <a:pt x="41402" y="14165"/>
                    <a:pt x="41398" y="14165"/>
                    <a:pt x="41395" y="14165"/>
                  </a:cubicBezTo>
                  <a:cubicBezTo>
                    <a:pt x="41360" y="14165"/>
                    <a:pt x="41342" y="14196"/>
                    <a:pt x="41325" y="14294"/>
                  </a:cubicBezTo>
                  <a:cubicBezTo>
                    <a:pt x="41314" y="14347"/>
                    <a:pt x="41307" y="14403"/>
                    <a:pt x="41248" y="14413"/>
                  </a:cubicBezTo>
                  <a:cubicBezTo>
                    <a:pt x="41243" y="14414"/>
                    <a:pt x="41238" y="14415"/>
                    <a:pt x="41234" y="14415"/>
                  </a:cubicBezTo>
                  <a:cubicBezTo>
                    <a:pt x="41186" y="14415"/>
                    <a:pt x="41159" y="14365"/>
                    <a:pt x="41143" y="14336"/>
                  </a:cubicBezTo>
                  <a:cubicBezTo>
                    <a:pt x="41121" y="14291"/>
                    <a:pt x="41074" y="14264"/>
                    <a:pt x="41026" y="14264"/>
                  </a:cubicBezTo>
                  <a:cubicBezTo>
                    <a:pt x="41018" y="14264"/>
                    <a:pt x="41010" y="14265"/>
                    <a:pt x="41002" y="14266"/>
                  </a:cubicBezTo>
                  <a:cubicBezTo>
                    <a:pt x="40960" y="14277"/>
                    <a:pt x="40936" y="14312"/>
                    <a:pt x="40936" y="14354"/>
                  </a:cubicBezTo>
                  <a:cubicBezTo>
                    <a:pt x="40932" y="14424"/>
                    <a:pt x="40897" y="14487"/>
                    <a:pt x="40845" y="14532"/>
                  </a:cubicBezTo>
                  <a:cubicBezTo>
                    <a:pt x="40714" y="14654"/>
                    <a:pt x="40469" y="14736"/>
                    <a:pt x="40335" y="14736"/>
                  </a:cubicBezTo>
                  <a:cubicBezTo>
                    <a:pt x="40330" y="14736"/>
                    <a:pt x="40325" y="14736"/>
                    <a:pt x="40320" y="14735"/>
                  </a:cubicBezTo>
                  <a:cubicBezTo>
                    <a:pt x="40208" y="14725"/>
                    <a:pt x="40155" y="14620"/>
                    <a:pt x="40117" y="14546"/>
                  </a:cubicBezTo>
                  <a:cubicBezTo>
                    <a:pt x="40103" y="14522"/>
                    <a:pt x="40089" y="14497"/>
                    <a:pt x="40075" y="14476"/>
                  </a:cubicBezTo>
                  <a:lnTo>
                    <a:pt x="40071" y="14480"/>
                  </a:lnTo>
                  <a:cubicBezTo>
                    <a:pt x="40046" y="14497"/>
                    <a:pt x="40017" y="14507"/>
                    <a:pt x="39989" y="14507"/>
                  </a:cubicBezTo>
                  <a:cubicBezTo>
                    <a:pt x="39981" y="14507"/>
                    <a:pt x="39974" y="14506"/>
                    <a:pt x="39966" y="14504"/>
                  </a:cubicBezTo>
                  <a:cubicBezTo>
                    <a:pt x="39903" y="14487"/>
                    <a:pt x="39879" y="14427"/>
                    <a:pt x="39847" y="14361"/>
                  </a:cubicBezTo>
                  <a:cubicBezTo>
                    <a:pt x="39803" y="14267"/>
                    <a:pt x="39776" y="14224"/>
                    <a:pt x="39727" y="14224"/>
                  </a:cubicBezTo>
                  <a:cubicBezTo>
                    <a:pt x="39725" y="14224"/>
                    <a:pt x="39723" y="14224"/>
                    <a:pt x="39721" y="14224"/>
                  </a:cubicBezTo>
                  <a:cubicBezTo>
                    <a:pt x="39693" y="14226"/>
                    <a:pt x="39665" y="14227"/>
                    <a:pt x="39638" y="14227"/>
                  </a:cubicBezTo>
                  <a:cubicBezTo>
                    <a:pt x="39529" y="14227"/>
                    <a:pt x="39431" y="14211"/>
                    <a:pt x="39378" y="14144"/>
                  </a:cubicBezTo>
                  <a:cubicBezTo>
                    <a:pt x="39343" y="14091"/>
                    <a:pt x="39336" y="14025"/>
                    <a:pt x="39364" y="13944"/>
                  </a:cubicBezTo>
                  <a:cubicBezTo>
                    <a:pt x="39378" y="13899"/>
                    <a:pt x="39322" y="13857"/>
                    <a:pt x="39245" y="13797"/>
                  </a:cubicBezTo>
                  <a:cubicBezTo>
                    <a:pt x="39179" y="13748"/>
                    <a:pt x="39116" y="13703"/>
                    <a:pt x="39116" y="13636"/>
                  </a:cubicBezTo>
                  <a:cubicBezTo>
                    <a:pt x="39116" y="13598"/>
                    <a:pt x="39133" y="13559"/>
                    <a:pt x="39165" y="13538"/>
                  </a:cubicBezTo>
                  <a:cubicBezTo>
                    <a:pt x="39210" y="13503"/>
                    <a:pt x="39196" y="13451"/>
                    <a:pt x="39154" y="13311"/>
                  </a:cubicBezTo>
                  <a:cubicBezTo>
                    <a:pt x="39116" y="13202"/>
                    <a:pt x="39091" y="13087"/>
                    <a:pt x="39081" y="12975"/>
                  </a:cubicBezTo>
                  <a:cubicBezTo>
                    <a:pt x="39060" y="12827"/>
                    <a:pt x="39112" y="12684"/>
                    <a:pt x="39217" y="12579"/>
                  </a:cubicBezTo>
                  <a:cubicBezTo>
                    <a:pt x="39245" y="12547"/>
                    <a:pt x="39263" y="12526"/>
                    <a:pt x="39263" y="12509"/>
                  </a:cubicBezTo>
                  <a:cubicBezTo>
                    <a:pt x="39263" y="12491"/>
                    <a:pt x="39256" y="12488"/>
                    <a:pt x="39252" y="12484"/>
                  </a:cubicBezTo>
                  <a:cubicBezTo>
                    <a:pt x="39247" y="12482"/>
                    <a:pt x="39239" y="12480"/>
                    <a:pt x="39229" y="12480"/>
                  </a:cubicBezTo>
                  <a:cubicBezTo>
                    <a:pt x="39196" y="12480"/>
                    <a:pt x="39140" y="12495"/>
                    <a:pt x="39074" y="12540"/>
                  </a:cubicBezTo>
                  <a:cubicBezTo>
                    <a:pt x="39036" y="12566"/>
                    <a:pt x="39002" y="12575"/>
                    <a:pt x="38973" y="12575"/>
                  </a:cubicBezTo>
                  <a:cubicBezTo>
                    <a:pt x="38905" y="12575"/>
                    <a:pt x="38859" y="12522"/>
                    <a:pt x="38832" y="12488"/>
                  </a:cubicBezTo>
                  <a:cubicBezTo>
                    <a:pt x="38793" y="12446"/>
                    <a:pt x="38775" y="12428"/>
                    <a:pt x="38746" y="12428"/>
                  </a:cubicBezTo>
                  <a:cubicBezTo>
                    <a:pt x="38743" y="12428"/>
                    <a:pt x="38740" y="12428"/>
                    <a:pt x="38737" y="12428"/>
                  </a:cubicBezTo>
                  <a:cubicBezTo>
                    <a:pt x="38714" y="12430"/>
                    <a:pt x="38684" y="12431"/>
                    <a:pt x="38650" y="12431"/>
                  </a:cubicBezTo>
                  <a:cubicBezTo>
                    <a:pt x="38431" y="12431"/>
                    <a:pt x="38040" y="12381"/>
                    <a:pt x="38013" y="12141"/>
                  </a:cubicBezTo>
                  <a:cubicBezTo>
                    <a:pt x="38006" y="12061"/>
                    <a:pt x="37981" y="12054"/>
                    <a:pt x="37932" y="12026"/>
                  </a:cubicBezTo>
                  <a:cubicBezTo>
                    <a:pt x="37852" y="11991"/>
                    <a:pt x="37789" y="11924"/>
                    <a:pt x="37761" y="11840"/>
                  </a:cubicBezTo>
                  <a:cubicBezTo>
                    <a:pt x="37736" y="11770"/>
                    <a:pt x="37701" y="11767"/>
                    <a:pt x="37645" y="11763"/>
                  </a:cubicBezTo>
                  <a:cubicBezTo>
                    <a:pt x="37600" y="11760"/>
                    <a:pt x="37491" y="11753"/>
                    <a:pt x="37491" y="11623"/>
                  </a:cubicBezTo>
                  <a:cubicBezTo>
                    <a:pt x="37491" y="11536"/>
                    <a:pt x="37463" y="11483"/>
                    <a:pt x="37320" y="11469"/>
                  </a:cubicBezTo>
                  <a:cubicBezTo>
                    <a:pt x="37246" y="11459"/>
                    <a:pt x="37173" y="11424"/>
                    <a:pt x="37120" y="11371"/>
                  </a:cubicBezTo>
                  <a:cubicBezTo>
                    <a:pt x="37068" y="11322"/>
                    <a:pt x="37001" y="11287"/>
                    <a:pt x="36931" y="11277"/>
                  </a:cubicBezTo>
                  <a:cubicBezTo>
                    <a:pt x="36919" y="11275"/>
                    <a:pt x="36907" y="11274"/>
                    <a:pt x="36895" y="11274"/>
                  </a:cubicBezTo>
                  <a:cubicBezTo>
                    <a:pt x="36765" y="11274"/>
                    <a:pt x="36610" y="11355"/>
                    <a:pt x="36504" y="11410"/>
                  </a:cubicBezTo>
                  <a:cubicBezTo>
                    <a:pt x="36472" y="11427"/>
                    <a:pt x="36441" y="11441"/>
                    <a:pt x="36416" y="11455"/>
                  </a:cubicBezTo>
                  <a:cubicBezTo>
                    <a:pt x="36397" y="11463"/>
                    <a:pt x="36377" y="11467"/>
                    <a:pt x="36355" y="11467"/>
                  </a:cubicBezTo>
                  <a:cubicBezTo>
                    <a:pt x="36292" y="11467"/>
                    <a:pt x="36219" y="11438"/>
                    <a:pt x="36143" y="11410"/>
                  </a:cubicBezTo>
                  <a:cubicBezTo>
                    <a:pt x="36090" y="11390"/>
                    <a:pt x="36008" y="11357"/>
                    <a:pt x="35961" y="11357"/>
                  </a:cubicBezTo>
                  <a:cubicBezTo>
                    <a:pt x="35949" y="11357"/>
                    <a:pt x="35940" y="11359"/>
                    <a:pt x="35933" y="11364"/>
                  </a:cubicBezTo>
                  <a:cubicBezTo>
                    <a:pt x="35897" y="11392"/>
                    <a:pt x="35864" y="11403"/>
                    <a:pt x="35833" y="11403"/>
                  </a:cubicBezTo>
                  <a:cubicBezTo>
                    <a:pt x="35783" y="11403"/>
                    <a:pt x="35738" y="11375"/>
                    <a:pt x="35695" y="11347"/>
                  </a:cubicBezTo>
                  <a:cubicBezTo>
                    <a:pt x="35618" y="11294"/>
                    <a:pt x="35531" y="11252"/>
                    <a:pt x="35440" y="11228"/>
                  </a:cubicBezTo>
                  <a:cubicBezTo>
                    <a:pt x="35259" y="11178"/>
                    <a:pt x="35087" y="11158"/>
                    <a:pt x="34965" y="11158"/>
                  </a:cubicBezTo>
                  <a:cubicBezTo>
                    <a:pt x="34873" y="11158"/>
                    <a:pt x="34810" y="11169"/>
                    <a:pt x="34792" y="11186"/>
                  </a:cubicBezTo>
                  <a:cubicBezTo>
                    <a:pt x="34771" y="11242"/>
                    <a:pt x="34732" y="11287"/>
                    <a:pt x="34683" y="11319"/>
                  </a:cubicBezTo>
                  <a:cubicBezTo>
                    <a:pt x="34613" y="11378"/>
                    <a:pt x="34547" y="11431"/>
                    <a:pt x="34564" y="11557"/>
                  </a:cubicBezTo>
                  <a:cubicBezTo>
                    <a:pt x="34578" y="11669"/>
                    <a:pt x="34645" y="11700"/>
                    <a:pt x="34725" y="11742"/>
                  </a:cubicBezTo>
                  <a:cubicBezTo>
                    <a:pt x="34795" y="11781"/>
                    <a:pt x="34876" y="11823"/>
                    <a:pt x="34911" y="11917"/>
                  </a:cubicBezTo>
                  <a:cubicBezTo>
                    <a:pt x="34964" y="12061"/>
                    <a:pt x="34879" y="12113"/>
                    <a:pt x="34837" y="12141"/>
                  </a:cubicBezTo>
                  <a:cubicBezTo>
                    <a:pt x="34799" y="12162"/>
                    <a:pt x="34785" y="12173"/>
                    <a:pt x="34781" y="12211"/>
                  </a:cubicBezTo>
                  <a:cubicBezTo>
                    <a:pt x="34774" y="12295"/>
                    <a:pt x="34729" y="12369"/>
                    <a:pt x="34655" y="12414"/>
                  </a:cubicBezTo>
                  <a:cubicBezTo>
                    <a:pt x="34620" y="12439"/>
                    <a:pt x="34613" y="12446"/>
                    <a:pt x="34613" y="12463"/>
                  </a:cubicBezTo>
                  <a:cubicBezTo>
                    <a:pt x="34613" y="12477"/>
                    <a:pt x="34617" y="12488"/>
                    <a:pt x="34645" y="12516"/>
                  </a:cubicBezTo>
                  <a:cubicBezTo>
                    <a:pt x="34711" y="12579"/>
                    <a:pt x="34760" y="12659"/>
                    <a:pt x="34781" y="12747"/>
                  </a:cubicBezTo>
                  <a:cubicBezTo>
                    <a:pt x="34795" y="12810"/>
                    <a:pt x="34827" y="12870"/>
                    <a:pt x="34869" y="12922"/>
                  </a:cubicBezTo>
                  <a:cubicBezTo>
                    <a:pt x="34943" y="13020"/>
                    <a:pt x="34988" y="13136"/>
                    <a:pt x="34999" y="13255"/>
                  </a:cubicBezTo>
                  <a:cubicBezTo>
                    <a:pt x="35034" y="13528"/>
                    <a:pt x="34925" y="13566"/>
                    <a:pt x="34799" y="13580"/>
                  </a:cubicBezTo>
                  <a:cubicBezTo>
                    <a:pt x="34778" y="13584"/>
                    <a:pt x="34757" y="13587"/>
                    <a:pt x="34732" y="13594"/>
                  </a:cubicBezTo>
                  <a:cubicBezTo>
                    <a:pt x="34732" y="13594"/>
                    <a:pt x="34729" y="13594"/>
                    <a:pt x="34725" y="13598"/>
                  </a:cubicBezTo>
                  <a:cubicBezTo>
                    <a:pt x="34722" y="13612"/>
                    <a:pt x="34722" y="13629"/>
                    <a:pt x="34722" y="13647"/>
                  </a:cubicBezTo>
                  <a:cubicBezTo>
                    <a:pt x="34722" y="13759"/>
                    <a:pt x="34683" y="13867"/>
                    <a:pt x="34606" y="13948"/>
                  </a:cubicBezTo>
                  <a:cubicBezTo>
                    <a:pt x="34403" y="14179"/>
                    <a:pt x="34347" y="14312"/>
                    <a:pt x="34421" y="14378"/>
                  </a:cubicBezTo>
                  <a:cubicBezTo>
                    <a:pt x="34480" y="14427"/>
                    <a:pt x="34547" y="14469"/>
                    <a:pt x="34617" y="14508"/>
                  </a:cubicBezTo>
                  <a:cubicBezTo>
                    <a:pt x="34827" y="14634"/>
                    <a:pt x="35114" y="14809"/>
                    <a:pt x="35258" y="15051"/>
                  </a:cubicBezTo>
                  <a:cubicBezTo>
                    <a:pt x="35496" y="15450"/>
                    <a:pt x="35426" y="16055"/>
                    <a:pt x="35387" y="16293"/>
                  </a:cubicBezTo>
                  <a:cubicBezTo>
                    <a:pt x="35345" y="16552"/>
                    <a:pt x="35149" y="16682"/>
                    <a:pt x="34943" y="16818"/>
                  </a:cubicBezTo>
                  <a:cubicBezTo>
                    <a:pt x="34816" y="16895"/>
                    <a:pt x="34697" y="16990"/>
                    <a:pt x="34592" y="17092"/>
                  </a:cubicBezTo>
                  <a:cubicBezTo>
                    <a:pt x="34316" y="17379"/>
                    <a:pt x="34029" y="17386"/>
                    <a:pt x="33857" y="17389"/>
                  </a:cubicBezTo>
                  <a:cubicBezTo>
                    <a:pt x="33833" y="17389"/>
                    <a:pt x="33808" y="17389"/>
                    <a:pt x="33787" y="17393"/>
                  </a:cubicBezTo>
                  <a:cubicBezTo>
                    <a:pt x="33785" y="17391"/>
                    <a:pt x="33785" y="17390"/>
                    <a:pt x="33784" y="17390"/>
                  </a:cubicBezTo>
                  <a:cubicBezTo>
                    <a:pt x="33783" y="17390"/>
                    <a:pt x="33782" y="17391"/>
                    <a:pt x="33780" y="17393"/>
                  </a:cubicBezTo>
                  <a:cubicBezTo>
                    <a:pt x="33756" y="17414"/>
                    <a:pt x="33791" y="17606"/>
                    <a:pt x="33976" y="17813"/>
                  </a:cubicBezTo>
                  <a:cubicBezTo>
                    <a:pt x="34113" y="17967"/>
                    <a:pt x="34106" y="18068"/>
                    <a:pt x="34099" y="18163"/>
                  </a:cubicBezTo>
                  <a:cubicBezTo>
                    <a:pt x="34092" y="18236"/>
                    <a:pt x="34102" y="18310"/>
                    <a:pt x="34130" y="18376"/>
                  </a:cubicBezTo>
                  <a:cubicBezTo>
                    <a:pt x="34176" y="18481"/>
                    <a:pt x="34197" y="18593"/>
                    <a:pt x="34197" y="18705"/>
                  </a:cubicBezTo>
                  <a:cubicBezTo>
                    <a:pt x="34204" y="18817"/>
                    <a:pt x="34207" y="18915"/>
                    <a:pt x="34284" y="19020"/>
                  </a:cubicBezTo>
                  <a:cubicBezTo>
                    <a:pt x="34477" y="19287"/>
                    <a:pt x="34333" y="19416"/>
                    <a:pt x="34151" y="19570"/>
                  </a:cubicBezTo>
                  <a:cubicBezTo>
                    <a:pt x="34141" y="19581"/>
                    <a:pt x="34134" y="19588"/>
                    <a:pt x="34127" y="19595"/>
                  </a:cubicBezTo>
                  <a:cubicBezTo>
                    <a:pt x="34207" y="19630"/>
                    <a:pt x="34256" y="19710"/>
                    <a:pt x="34260" y="19794"/>
                  </a:cubicBezTo>
                  <a:cubicBezTo>
                    <a:pt x="34263" y="19864"/>
                    <a:pt x="34260" y="19938"/>
                    <a:pt x="34204" y="19966"/>
                  </a:cubicBezTo>
                  <a:cubicBezTo>
                    <a:pt x="34191" y="19973"/>
                    <a:pt x="34178" y="19976"/>
                    <a:pt x="34164" y="19976"/>
                  </a:cubicBezTo>
                  <a:cubicBezTo>
                    <a:pt x="34116" y="19976"/>
                    <a:pt x="34059" y="19938"/>
                    <a:pt x="33994" y="19889"/>
                  </a:cubicBezTo>
                  <a:cubicBezTo>
                    <a:pt x="33969" y="19871"/>
                    <a:pt x="33941" y="19850"/>
                    <a:pt x="33913" y="19829"/>
                  </a:cubicBezTo>
                  <a:cubicBezTo>
                    <a:pt x="33905" y="19821"/>
                    <a:pt x="33894" y="19817"/>
                    <a:pt x="33883" y="19817"/>
                  </a:cubicBezTo>
                  <a:cubicBezTo>
                    <a:pt x="33875" y="19817"/>
                    <a:pt x="33867" y="19820"/>
                    <a:pt x="33861" y="19826"/>
                  </a:cubicBezTo>
                  <a:cubicBezTo>
                    <a:pt x="33784" y="19864"/>
                    <a:pt x="33714" y="20036"/>
                    <a:pt x="33714" y="20113"/>
                  </a:cubicBezTo>
                  <a:cubicBezTo>
                    <a:pt x="33714" y="20151"/>
                    <a:pt x="33696" y="20183"/>
                    <a:pt x="33665" y="20200"/>
                  </a:cubicBezTo>
                  <a:cubicBezTo>
                    <a:pt x="33650" y="20209"/>
                    <a:pt x="33634" y="20214"/>
                    <a:pt x="33615" y="20214"/>
                  </a:cubicBezTo>
                  <a:cubicBezTo>
                    <a:pt x="33556" y="20214"/>
                    <a:pt x="33475" y="20168"/>
                    <a:pt x="33357" y="20099"/>
                  </a:cubicBezTo>
                  <a:cubicBezTo>
                    <a:pt x="33304" y="20064"/>
                    <a:pt x="33248" y="20032"/>
                    <a:pt x="33192" y="20011"/>
                  </a:cubicBezTo>
                  <a:cubicBezTo>
                    <a:pt x="33168" y="20011"/>
                    <a:pt x="33143" y="20008"/>
                    <a:pt x="33122" y="19990"/>
                  </a:cubicBezTo>
                  <a:cubicBezTo>
                    <a:pt x="33094" y="19959"/>
                    <a:pt x="33077" y="19917"/>
                    <a:pt x="33080" y="19875"/>
                  </a:cubicBezTo>
                  <a:cubicBezTo>
                    <a:pt x="33080" y="19773"/>
                    <a:pt x="33031" y="19682"/>
                    <a:pt x="32954" y="19619"/>
                  </a:cubicBezTo>
                  <a:cubicBezTo>
                    <a:pt x="32891" y="19570"/>
                    <a:pt x="32832" y="19532"/>
                    <a:pt x="32779" y="19500"/>
                  </a:cubicBezTo>
                  <a:cubicBezTo>
                    <a:pt x="32649" y="19420"/>
                    <a:pt x="32537" y="19346"/>
                    <a:pt x="32537" y="19196"/>
                  </a:cubicBezTo>
                  <a:cubicBezTo>
                    <a:pt x="32537" y="19143"/>
                    <a:pt x="32457" y="19076"/>
                    <a:pt x="32383" y="19020"/>
                  </a:cubicBezTo>
                  <a:cubicBezTo>
                    <a:pt x="32282" y="18936"/>
                    <a:pt x="32163" y="18842"/>
                    <a:pt x="32163" y="18709"/>
                  </a:cubicBezTo>
                  <a:cubicBezTo>
                    <a:pt x="32163" y="18663"/>
                    <a:pt x="32166" y="18600"/>
                    <a:pt x="32166" y="18530"/>
                  </a:cubicBezTo>
                  <a:cubicBezTo>
                    <a:pt x="32177" y="18331"/>
                    <a:pt x="32191" y="17998"/>
                    <a:pt x="32135" y="17904"/>
                  </a:cubicBezTo>
                  <a:cubicBezTo>
                    <a:pt x="32023" y="17715"/>
                    <a:pt x="32135" y="17512"/>
                    <a:pt x="32194" y="17403"/>
                  </a:cubicBezTo>
                  <a:cubicBezTo>
                    <a:pt x="32212" y="17365"/>
                    <a:pt x="32205" y="17323"/>
                    <a:pt x="32180" y="17288"/>
                  </a:cubicBezTo>
                  <a:cubicBezTo>
                    <a:pt x="32131" y="17207"/>
                    <a:pt x="32044" y="17162"/>
                    <a:pt x="31949" y="17162"/>
                  </a:cubicBezTo>
                  <a:cubicBezTo>
                    <a:pt x="31848" y="17158"/>
                    <a:pt x="31750" y="17151"/>
                    <a:pt x="31648" y="17137"/>
                  </a:cubicBezTo>
                  <a:cubicBezTo>
                    <a:pt x="31522" y="17119"/>
                    <a:pt x="31393" y="17108"/>
                    <a:pt x="31265" y="17108"/>
                  </a:cubicBezTo>
                  <a:cubicBezTo>
                    <a:pt x="31220" y="17108"/>
                    <a:pt x="31175" y="17110"/>
                    <a:pt x="31130" y="17113"/>
                  </a:cubicBezTo>
                  <a:cubicBezTo>
                    <a:pt x="31076" y="17117"/>
                    <a:pt x="31025" y="17119"/>
                    <a:pt x="30977" y="17119"/>
                  </a:cubicBezTo>
                  <a:cubicBezTo>
                    <a:pt x="30764" y="17119"/>
                    <a:pt x="30610" y="17075"/>
                    <a:pt x="30510" y="16986"/>
                  </a:cubicBezTo>
                  <a:cubicBezTo>
                    <a:pt x="30297" y="16822"/>
                    <a:pt x="30048" y="16703"/>
                    <a:pt x="29786" y="16636"/>
                  </a:cubicBezTo>
                  <a:cubicBezTo>
                    <a:pt x="29422" y="16542"/>
                    <a:pt x="29208" y="16346"/>
                    <a:pt x="29159" y="16195"/>
                  </a:cubicBezTo>
                  <a:cubicBezTo>
                    <a:pt x="29145" y="16160"/>
                    <a:pt x="29019" y="16108"/>
                    <a:pt x="28942" y="16073"/>
                  </a:cubicBezTo>
                  <a:cubicBezTo>
                    <a:pt x="28830" y="16020"/>
                    <a:pt x="28722" y="15975"/>
                    <a:pt x="28673" y="15912"/>
                  </a:cubicBezTo>
                  <a:cubicBezTo>
                    <a:pt x="28619" y="15843"/>
                    <a:pt x="28369" y="15784"/>
                    <a:pt x="28211" y="15784"/>
                  </a:cubicBezTo>
                  <a:cubicBezTo>
                    <a:pt x="28184" y="15784"/>
                    <a:pt x="28160" y="15786"/>
                    <a:pt x="28140" y="15789"/>
                  </a:cubicBezTo>
                  <a:cubicBezTo>
                    <a:pt x="28132" y="15790"/>
                    <a:pt x="28124" y="15791"/>
                    <a:pt x="28115" y="15791"/>
                  </a:cubicBezTo>
                  <a:cubicBezTo>
                    <a:pt x="28028" y="15791"/>
                    <a:pt x="27920" y="15729"/>
                    <a:pt x="27783" y="15653"/>
                  </a:cubicBezTo>
                  <a:cubicBezTo>
                    <a:pt x="27659" y="15582"/>
                    <a:pt x="27511" y="15498"/>
                    <a:pt x="27416" y="15498"/>
                  </a:cubicBezTo>
                  <a:cubicBezTo>
                    <a:pt x="27412" y="15498"/>
                    <a:pt x="27409" y="15498"/>
                    <a:pt x="27405" y="15499"/>
                  </a:cubicBezTo>
                  <a:cubicBezTo>
                    <a:pt x="27272" y="15506"/>
                    <a:pt x="27003" y="15604"/>
                    <a:pt x="26821" y="15667"/>
                  </a:cubicBezTo>
                  <a:cubicBezTo>
                    <a:pt x="26747" y="15698"/>
                    <a:pt x="26674" y="15723"/>
                    <a:pt x="26597" y="15740"/>
                  </a:cubicBezTo>
                  <a:cubicBezTo>
                    <a:pt x="26591" y="15741"/>
                    <a:pt x="26586" y="15742"/>
                    <a:pt x="26581" y="15742"/>
                  </a:cubicBezTo>
                  <a:cubicBezTo>
                    <a:pt x="26551" y="15742"/>
                    <a:pt x="26520" y="15725"/>
                    <a:pt x="26505" y="15698"/>
                  </a:cubicBezTo>
                  <a:cubicBezTo>
                    <a:pt x="26449" y="15607"/>
                    <a:pt x="26586" y="15404"/>
                    <a:pt x="26607" y="15373"/>
                  </a:cubicBezTo>
                  <a:cubicBezTo>
                    <a:pt x="26611" y="15331"/>
                    <a:pt x="26544" y="15184"/>
                    <a:pt x="26495" y="15086"/>
                  </a:cubicBezTo>
                  <a:cubicBezTo>
                    <a:pt x="26439" y="14974"/>
                    <a:pt x="26390" y="14854"/>
                    <a:pt x="26355" y="14735"/>
                  </a:cubicBezTo>
                  <a:cubicBezTo>
                    <a:pt x="26287" y="14470"/>
                    <a:pt x="26219" y="14309"/>
                    <a:pt x="26067" y="14309"/>
                  </a:cubicBezTo>
                  <a:cubicBezTo>
                    <a:pt x="26055" y="14309"/>
                    <a:pt x="26043" y="14310"/>
                    <a:pt x="26029" y="14312"/>
                  </a:cubicBezTo>
                  <a:cubicBezTo>
                    <a:pt x="25997" y="14316"/>
                    <a:pt x="25965" y="14318"/>
                    <a:pt x="25933" y="14318"/>
                  </a:cubicBezTo>
                  <a:cubicBezTo>
                    <a:pt x="25678" y="14318"/>
                    <a:pt x="25434" y="14195"/>
                    <a:pt x="25375" y="14154"/>
                  </a:cubicBezTo>
                  <a:cubicBezTo>
                    <a:pt x="25245" y="14067"/>
                    <a:pt x="25277" y="13279"/>
                    <a:pt x="25322" y="13055"/>
                  </a:cubicBezTo>
                  <a:cubicBezTo>
                    <a:pt x="25357" y="12905"/>
                    <a:pt x="25448" y="12722"/>
                    <a:pt x="25536" y="12551"/>
                  </a:cubicBezTo>
                  <a:cubicBezTo>
                    <a:pt x="25616" y="12397"/>
                    <a:pt x="25697" y="12236"/>
                    <a:pt x="25697" y="12159"/>
                  </a:cubicBezTo>
                  <a:cubicBezTo>
                    <a:pt x="25697" y="11896"/>
                    <a:pt x="26026" y="11809"/>
                    <a:pt x="26134" y="11781"/>
                  </a:cubicBezTo>
                  <a:cubicBezTo>
                    <a:pt x="26176" y="11770"/>
                    <a:pt x="26187" y="11725"/>
                    <a:pt x="26197" y="11620"/>
                  </a:cubicBezTo>
                  <a:cubicBezTo>
                    <a:pt x="26204" y="11511"/>
                    <a:pt x="26218" y="11375"/>
                    <a:pt x="26362" y="11357"/>
                  </a:cubicBezTo>
                  <a:cubicBezTo>
                    <a:pt x="26495" y="11340"/>
                    <a:pt x="26502" y="11308"/>
                    <a:pt x="26533" y="11179"/>
                  </a:cubicBezTo>
                  <a:lnTo>
                    <a:pt x="26537" y="11161"/>
                  </a:lnTo>
                  <a:cubicBezTo>
                    <a:pt x="26551" y="11098"/>
                    <a:pt x="26600" y="11049"/>
                    <a:pt x="26667" y="11032"/>
                  </a:cubicBezTo>
                  <a:cubicBezTo>
                    <a:pt x="26625" y="10993"/>
                    <a:pt x="26611" y="10937"/>
                    <a:pt x="26625" y="10885"/>
                  </a:cubicBezTo>
                  <a:cubicBezTo>
                    <a:pt x="26660" y="10801"/>
                    <a:pt x="26786" y="10783"/>
                    <a:pt x="26989" y="10783"/>
                  </a:cubicBezTo>
                  <a:cubicBezTo>
                    <a:pt x="27185" y="10783"/>
                    <a:pt x="27437" y="10734"/>
                    <a:pt x="27528" y="10622"/>
                  </a:cubicBezTo>
                  <a:cubicBezTo>
                    <a:pt x="27556" y="10583"/>
                    <a:pt x="27566" y="10534"/>
                    <a:pt x="27556" y="10489"/>
                  </a:cubicBezTo>
                  <a:cubicBezTo>
                    <a:pt x="27535" y="10391"/>
                    <a:pt x="27342" y="10380"/>
                    <a:pt x="27174" y="10370"/>
                  </a:cubicBezTo>
                  <a:cubicBezTo>
                    <a:pt x="26975" y="10356"/>
                    <a:pt x="26765" y="10345"/>
                    <a:pt x="26765" y="10174"/>
                  </a:cubicBezTo>
                  <a:cubicBezTo>
                    <a:pt x="26765" y="10097"/>
                    <a:pt x="26432" y="10027"/>
                    <a:pt x="26288" y="9999"/>
                  </a:cubicBezTo>
                  <a:cubicBezTo>
                    <a:pt x="26057" y="9950"/>
                    <a:pt x="25945" y="9922"/>
                    <a:pt x="25910" y="9852"/>
                  </a:cubicBezTo>
                  <a:cubicBezTo>
                    <a:pt x="25900" y="9827"/>
                    <a:pt x="25900" y="9796"/>
                    <a:pt x="25910" y="9771"/>
                  </a:cubicBezTo>
                  <a:cubicBezTo>
                    <a:pt x="25935" y="9716"/>
                    <a:pt x="26015" y="9695"/>
                    <a:pt x="26124" y="9695"/>
                  </a:cubicBezTo>
                  <a:cubicBezTo>
                    <a:pt x="26499" y="9695"/>
                    <a:pt x="27222" y="9951"/>
                    <a:pt x="27230" y="9953"/>
                  </a:cubicBezTo>
                  <a:cubicBezTo>
                    <a:pt x="27437" y="10034"/>
                    <a:pt x="27539" y="10055"/>
                    <a:pt x="27662" y="10055"/>
                  </a:cubicBezTo>
                  <a:cubicBezTo>
                    <a:pt x="27710" y="10055"/>
                    <a:pt x="27760" y="10052"/>
                    <a:pt x="27822" y="10048"/>
                  </a:cubicBezTo>
                  <a:lnTo>
                    <a:pt x="27860" y="10048"/>
                  </a:lnTo>
                  <a:cubicBezTo>
                    <a:pt x="27864" y="10048"/>
                    <a:pt x="27867" y="10049"/>
                    <a:pt x="27871" y="10049"/>
                  </a:cubicBezTo>
                  <a:cubicBezTo>
                    <a:pt x="27889" y="10049"/>
                    <a:pt x="27909" y="10041"/>
                    <a:pt x="27923" y="10027"/>
                  </a:cubicBezTo>
                  <a:cubicBezTo>
                    <a:pt x="27951" y="9992"/>
                    <a:pt x="27941" y="9904"/>
                    <a:pt x="27930" y="9831"/>
                  </a:cubicBezTo>
                  <a:cubicBezTo>
                    <a:pt x="27916" y="9761"/>
                    <a:pt x="27916" y="9687"/>
                    <a:pt x="27934" y="9621"/>
                  </a:cubicBezTo>
                  <a:cubicBezTo>
                    <a:pt x="27944" y="9593"/>
                    <a:pt x="27965" y="9568"/>
                    <a:pt x="27993" y="9558"/>
                  </a:cubicBezTo>
                  <a:cubicBezTo>
                    <a:pt x="28012" y="9548"/>
                    <a:pt x="28033" y="9544"/>
                    <a:pt x="28057" y="9544"/>
                  </a:cubicBezTo>
                  <a:cubicBezTo>
                    <a:pt x="28124" y="9544"/>
                    <a:pt x="28212" y="9576"/>
                    <a:pt x="28322" y="9617"/>
                  </a:cubicBezTo>
                  <a:cubicBezTo>
                    <a:pt x="28447" y="9664"/>
                    <a:pt x="28603" y="9720"/>
                    <a:pt x="28722" y="9720"/>
                  </a:cubicBezTo>
                  <a:cubicBezTo>
                    <a:pt x="28747" y="9720"/>
                    <a:pt x="28770" y="9717"/>
                    <a:pt x="28792" y="9712"/>
                  </a:cubicBezTo>
                  <a:cubicBezTo>
                    <a:pt x="28935" y="9673"/>
                    <a:pt x="29093" y="9463"/>
                    <a:pt x="29229" y="9281"/>
                  </a:cubicBezTo>
                  <a:cubicBezTo>
                    <a:pt x="29341" y="9131"/>
                    <a:pt x="29446" y="8991"/>
                    <a:pt x="29551" y="8921"/>
                  </a:cubicBezTo>
                  <a:cubicBezTo>
                    <a:pt x="29607" y="8882"/>
                    <a:pt x="29618" y="8854"/>
                    <a:pt x="29618" y="8847"/>
                  </a:cubicBezTo>
                  <a:cubicBezTo>
                    <a:pt x="29609" y="8823"/>
                    <a:pt x="29515" y="8768"/>
                    <a:pt x="29293" y="8768"/>
                  </a:cubicBezTo>
                  <a:cubicBezTo>
                    <a:pt x="29256" y="8768"/>
                    <a:pt x="29215" y="8770"/>
                    <a:pt x="29170" y="8774"/>
                  </a:cubicBezTo>
                  <a:cubicBezTo>
                    <a:pt x="29125" y="8777"/>
                    <a:pt x="29083" y="8779"/>
                    <a:pt x="29042" y="8779"/>
                  </a:cubicBezTo>
                  <a:cubicBezTo>
                    <a:pt x="28656" y="8779"/>
                    <a:pt x="28413" y="8622"/>
                    <a:pt x="28179" y="8444"/>
                  </a:cubicBezTo>
                  <a:cubicBezTo>
                    <a:pt x="28021" y="8329"/>
                    <a:pt x="27955" y="8213"/>
                    <a:pt x="27990" y="8122"/>
                  </a:cubicBezTo>
                  <a:cubicBezTo>
                    <a:pt x="28011" y="8076"/>
                    <a:pt x="28063" y="8021"/>
                    <a:pt x="28201" y="8021"/>
                  </a:cubicBezTo>
                  <a:cubicBezTo>
                    <a:pt x="28219" y="8021"/>
                    <a:pt x="28238" y="8022"/>
                    <a:pt x="28259" y="8024"/>
                  </a:cubicBezTo>
                  <a:cubicBezTo>
                    <a:pt x="28403" y="8038"/>
                    <a:pt x="28616" y="8168"/>
                    <a:pt x="28844" y="8308"/>
                  </a:cubicBezTo>
                  <a:cubicBezTo>
                    <a:pt x="29037" y="8420"/>
                    <a:pt x="29250" y="8553"/>
                    <a:pt x="29348" y="8556"/>
                  </a:cubicBezTo>
                  <a:lnTo>
                    <a:pt x="29355" y="8556"/>
                  </a:lnTo>
                  <a:cubicBezTo>
                    <a:pt x="29492" y="8556"/>
                    <a:pt x="29747" y="8318"/>
                    <a:pt x="29919" y="8161"/>
                  </a:cubicBezTo>
                  <a:cubicBezTo>
                    <a:pt x="30003" y="8084"/>
                    <a:pt x="30073" y="8017"/>
                    <a:pt x="30129" y="7975"/>
                  </a:cubicBezTo>
                  <a:cubicBezTo>
                    <a:pt x="30139" y="7968"/>
                    <a:pt x="30150" y="7961"/>
                    <a:pt x="30157" y="7951"/>
                  </a:cubicBezTo>
                  <a:cubicBezTo>
                    <a:pt x="30108" y="7916"/>
                    <a:pt x="30055" y="7884"/>
                    <a:pt x="29999" y="7863"/>
                  </a:cubicBezTo>
                  <a:cubicBezTo>
                    <a:pt x="29933" y="7839"/>
                    <a:pt x="29870" y="7804"/>
                    <a:pt x="29814" y="7762"/>
                  </a:cubicBezTo>
                  <a:cubicBezTo>
                    <a:pt x="29768" y="7734"/>
                    <a:pt x="29751" y="7681"/>
                    <a:pt x="29765" y="7632"/>
                  </a:cubicBezTo>
                  <a:cubicBezTo>
                    <a:pt x="29821" y="7475"/>
                    <a:pt x="30276" y="7464"/>
                    <a:pt x="30279" y="7464"/>
                  </a:cubicBezTo>
                  <a:cubicBezTo>
                    <a:pt x="30472" y="7464"/>
                    <a:pt x="30573" y="7601"/>
                    <a:pt x="30640" y="7692"/>
                  </a:cubicBezTo>
                  <a:cubicBezTo>
                    <a:pt x="30654" y="7709"/>
                    <a:pt x="30668" y="7727"/>
                    <a:pt x="30678" y="7741"/>
                  </a:cubicBezTo>
                  <a:cubicBezTo>
                    <a:pt x="30685" y="7745"/>
                    <a:pt x="30696" y="7747"/>
                    <a:pt x="30711" y="7747"/>
                  </a:cubicBezTo>
                  <a:cubicBezTo>
                    <a:pt x="30770" y="7747"/>
                    <a:pt x="30881" y="7719"/>
                    <a:pt x="30948" y="7702"/>
                  </a:cubicBezTo>
                  <a:cubicBezTo>
                    <a:pt x="31032" y="7681"/>
                    <a:pt x="31120" y="7667"/>
                    <a:pt x="31207" y="7660"/>
                  </a:cubicBezTo>
                  <a:cubicBezTo>
                    <a:pt x="31183" y="7601"/>
                    <a:pt x="31060" y="7468"/>
                    <a:pt x="30885" y="7398"/>
                  </a:cubicBezTo>
                  <a:cubicBezTo>
                    <a:pt x="30734" y="7338"/>
                    <a:pt x="30720" y="7254"/>
                    <a:pt x="30724" y="7209"/>
                  </a:cubicBezTo>
                  <a:cubicBezTo>
                    <a:pt x="30738" y="7132"/>
                    <a:pt x="30798" y="7076"/>
                    <a:pt x="30871" y="7065"/>
                  </a:cubicBezTo>
                  <a:cubicBezTo>
                    <a:pt x="30883" y="7062"/>
                    <a:pt x="30896" y="7061"/>
                    <a:pt x="30908" y="7061"/>
                  </a:cubicBezTo>
                  <a:cubicBezTo>
                    <a:pt x="30974" y="7061"/>
                    <a:pt x="31034" y="7100"/>
                    <a:pt x="31064" y="7160"/>
                  </a:cubicBezTo>
                  <a:cubicBezTo>
                    <a:pt x="31095" y="7223"/>
                    <a:pt x="31148" y="7247"/>
                    <a:pt x="31211" y="7282"/>
                  </a:cubicBezTo>
                  <a:cubicBezTo>
                    <a:pt x="31309" y="7324"/>
                    <a:pt x="31389" y="7394"/>
                    <a:pt x="31442" y="7489"/>
                  </a:cubicBezTo>
                  <a:cubicBezTo>
                    <a:pt x="31484" y="7576"/>
                    <a:pt x="31515" y="7597"/>
                    <a:pt x="31529" y="7601"/>
                  </a:cubicBezTo>
                  <a:cubicBezTo>
                    <a:pt x="31532" y="7602"/>
                    <a:pt x="31535" y="7602"/>
                    <a:pt x="31539" y="7602"/>
                  </a:cubicBezTo>
                  <a:cubicBezTo>
                    <a:pt x="31564" y="7602"/>
                    <a:pt x="31605" y="7580"/>
                    <a:pt x="31652" y="7552"/>
                  </a:cubicBezTo>
                  <a:cubicBezTo>
                    <a:pt x="31711" y="7520"/>
                    <a:pt x="31771" y="7492"/>
                    <a:pt x="31834" y="7468"/>
                  </a:cubicBezTo>
                  <a:cubicBezTo>
                    <a:pt x="32044" y="7394"/>
                    <a:pt x="32156" y="7268"/>
                    <a:pt x="32278" y="7139"/>
                  </a:cubicBezTo>
                  <a:lnTo>
                    <a:pt x="32303" y="7111"/>
                  </a:lnTo>
                  <a:cubicBezTo>
                    <a:pt x="32345" y="7055"/>
                    <a:pt x="32408" y="7023"/>
                    <a:pt x="32478" y="7020"/>
                  </a:cubicBezTo>
                  <a:cubicBezTo>
                    <a:pt x="32513" y="7016"/>
                    <a:pt x="32541" y="7013"/>
                    <a:pt x="32607" y="6911"/>
                  </a:cubicBezTo>
                  <a:cubicBezTo>
                    <a:pt x="32670" y="6824"/>
                    <a:pt x="32712" y="6670"/>
                    <a:pt x="32355" y="6407"/>
                  </a:cubicBezTo>
                  <a:cubicBezTo>
                    <a:pt x="32271" y="6347"/>
                    <a:pt x="32226" y="6242"/>
                    <a:pt x="32240" y="6137"/>
                  </a:cubicBezTo>
                  <a:cubicBezTo>
                    <a:pt x="32243" y="6074"/>
                    <a:pt x="32243" y="6053"/>
                    <a:pt x="32184" y="6022"/>
                  </a:cubicBezTo>
                  <a:cubicBezTo>
                    <a:pt x="32044" y="5952"/>
                    <a:pt x="31967" y="5840"/>
                    <a:pt x="31998" y="5749"/>
                  </a:cubicBezTo>
                  <a:cubicBezTo>
                    <a:pt x="32007" y="5720"/>
                    <a:pt x="32042" y="5660"/>
                    <a:pt x="32157" y="5660"/>
                  </a:cubicBezTo>
                  <a:cubicBezTo>
                    <a:pt x="32181" y="5660"/>
                    <a:pt x="32209" y="5662"/>
                    <a:pt x="32240" y="5668"/>
                  </a:cubicBezTo>
                  <a:cubicBezTo>
                    <a:pt x="32287" y="5678"/>
                    <a:pt x="32332" y="5683"/>
                    <a:pt x="32374" y="5683"/>
                  </a:cubicBezTo>
                  <a:cubicBezTo>
                    <a:pt x="32524" y="5683"/>
                    <a:pt x="32642" y="5621"/>
                    <a:pt x="32716" y="5504"/>
                  </a:cubicBezTo>
                  <a:cubicBezTo>
                    <a:pt x="32719" y="5500"/>
                    <a:pt x="32723" y="5497"/>
                    <a:pt x="32723" y="5490"/>
                  </a:cubicBezTo>
                  <a:cubicBezTo>
                    <a:pt x="32719" y="5469"/>
                    <a:pt x="32660" y="5434"/>
                    <a:pt x="32628" y="5416"/>
                  </a:cubicBezTo>
                  <a:cubicBezTo>
                    <a:pt x="32565" y="5381"/>
                    <a:pt x="32502" y="5343"/>
                    <a:pt x="32502" y="5273"/>
                  </a:cubicBezTo>
                  <a:cubicBezTo>
                    <a:pt x="32502" y="5206"/>
                    <a:pt x="32572" y="5168"/>
                    <a:pt x="32593" y="5154"/>
                  </a:cubicBezTo>
                  <a:cubicBezTo>
                    <a:pt x="32653" y="5122"/>
                    <a:pt x="32660" y="5101"/>
                    <a:pt x="32660" y="5101"/>
                  </a:cubicBezTo>
                  <a:cubicBezTo>
                    <a:pt x="32653" y="5084"/>
                    <a:pt x="32576" y="5035"/>
                    <a:pt x="32443" y="5035"/>
                  </a:cubicBezTo>
                  <a:cubicBezTo>
                    <a:pt x="32177" y="5035"/>
                    <a:pt x="31981" y="4891"/>
                    <a:pt x="31967" y="4685"/>
                  </a:cubicBezTo>
                  <a:cubicBezTo>
                    <a:pt x="31963" y="4639"/>
                    <a:pt x="31879" y="4636"/>
                    <a:pt x="31746" y="4632"/>
                  </a:cubicBezTo>
                  <a:cubicBezTo>
                    <a:pt x="31631" y="4625"/>
                    <a:pt x="31498" y="4622"/>
                    <a:pt x="31386" y="4569"/>
                  </a:cubicBezTo>
                  <a:cubicBezTo>
                    <a:pt x="31258" y="4507"/>
                    <a:pt x="31026" y="4492"/>
                    <a:pt x="30838" y="4492"/>
                  </a:cubicBezTo>
                  <a:cubicBezTo>
                    <a:pt x="30717" y="4492"/>
                    <a:pt x="30613" y="4498"/>
                    <a:pt x="30566" y="4502"/>
                  </a:cubicBezTo>
                  <a:cubicBezTo>
                    <a:pt x="30535" y="4530"/>
                    <a:pt x="30510" y="4688"/>
                    <a:pt x="30549" y="4814"/>
                  </a:cubicBezTo>
                  <a:cubicBezTo>
                    <a:pt x="30552" y="4832"/>
                    <a:pt x="30573" y="4891"/>
                    <a:pt x="30605" y="4895"/>
                  </a:cubicBezTo>
                  <a:cubicBezTo>
                    <a:pt x="30749" y="4902"/>
                    <a:pt x="30885" y="5007"/>
                    <a:pt x="30903" y="5119"/>
                  </a:cubicBezTo>
                  <a:cubicBezTo>
                    <a:pt x="30913" y="5196"/>
                    <a:pt x="30868" y="5266"/>
                    <a:pt x="30794" y="5287"/>
                  </a:cubicBezTo>
                  <a:cubicBezTo>
                    <a:pt x="30770" y="5297"/>
                    <a:pt x="30763" y="5304"/>
                    <a:pt x="30777" y="5374"/>
                  </a:cubicBezTo>
                  <a:cubicBezTo>
                    <a:pt x="30794" y="5416"/>
                    <a:pt x="30787" y="5465"/>
                    <a:pt x="30763" y="5504"/>
                  </a:cubicBezTo>
                  <a:cubicBezTo>
                    <a:pt x="30743" y="5523"/>
                    <a:pt x="30717" y="5534"/>
                    <a:pt x="30689" y="5534"/>
                  </a:cubicBezTo>
                  <a:cubicBezTo>
                    <a:pt x="30682" y="5534"/>
                    <a:pt x="30675" y="5533"/>
                    <a:pt x="30668" y="5532"/>
                  </a:cubicBezTo>
                  <a:lnTo>
                    <a:pt x="30629" y="5528"/>
                  </a:lnTo>
                  <a:cubicBezTo>
                    <a:pt x="30602" y="5524"/>
                    <a:pt x="30573" y="5520"/>
                    <a:pt x="30547" y="5520"/>
                  </a:cubicBezTo>
                  <a:cubicBezTo>
                    <a:pt x="30513" y="5520"/>
                    <a:pt x="30481" y="5526"/>
                    <a:pt x="30458" y="5546"/>
                  </a:cubicBezTo>
                  <a:cubicBezTo>
                    <a:pt x="30423" y="5574"/>
                    <a:pt x="30398" y="5633"/>
                    <a:pt x="30388" y="5721"/>
                  </a:cubicBezTo>
                  <a:cubicBezTo>
                    <a:pt x="30353" y="6032"/>
                    <a:pt x="30325" y="6190"/>
                    <a:pt x="30087" y="6316"/>
                  </a:cubicBezTo>
                  <a:cubicBezTo>
                    <a:pt x="30063" y="6332"/>
                    <a:pt x="30037" y="6340"/>
                    <a:pt x="30010" y="6340"/>
                  </a:cubicBezTo>
                  <a:cubicBezTo>
                    <a:pt x="29990" y="6340"/>
                    <a:pt x="29970" y="6335"/>
                    <a:pt x="29950" y="6326"/>
                  </a:cubicBezTo>
                  <a:cubicBezTo>
                    <a:pt x="29884" y="6291"/>
                    <a:pt x="29873" y="6207"/>
                    <a:pt x="29866" y="6123"/>
                  </a:cubicBezTo>
                  <a:cubicBezTo>
                    <a:pt x="29852" y="6018"/>
                    <a:pt x="29842" y="5983"/>
                    <a:pt x="29821" y="5983"/>
                  </a:cubicBezTo>
                  <a:cubicBezTo>
                    <a:pt x="29758" y="5987"/>
                    <a:pt x="29723" y="6067"/>
                    <a:pt x="29716" y="6137"/>
                  </a:cubicBezTo>
                  <a:cubicBezTo>
                    <a:pt x="29712" y="6207"/>
                    <a:pt x="29733" y="6274"/>
                    <a:pt x="29761" y="6277"/>
                  </a:cubicBezTo>
                  <a:cubicBezTo>
                    <a:pt x="29947" y="6326"/>
                    <a:pt x="29978" y="6484"/>
                    <a:pt x="30017" y="6670"/>
                  </a:cubicBezTo>
                  <a:cubicBezTo>
                    <a:pt x="30027" y="6708"/>
                    <a:pt x="30020" y="6750"/>
                    <a:pt x="29999" y="6785"/>
                  </a:cubicBezTo>
                  <a:cubicBezTo>
                    <a:pt x="29961" y="6841"/>
                    <a:pt x="29898" y="6852"/>
                    <a:pt x="29831" y="6866"/>
                  </a:cubicBezTo>
                  <a:cubicBezTo>
                    <a:pt x="29751" y="6880"/>
                    <a:pt x="29667" y="6897"/>
                    <a:pt x="29621" y="6981"/>
                  </a:cubicBezTo>
                  <a:cubicBezTo>
                    <a:pt x="29593" y="7030"/>
                    <a:pt x="29551" y="7090"/>
                    <a:pt x="29488" y="7090"/>
                  </a:cubicBezTo>
                  <a:cubicBezTo>
                    <a:pt x="29418" y="7090"/>
                    <a:pt x="29387" y="7020"/>
                    <a:pt x="29345" y="6943"/>
                  </a:cubicBezTo>
                  <a:cubicBezTo>
                    <a:pt x="29313" y="6873"/>
                    <a:pt x="29271" y="6810"/>
                    <a:pt x="29219" y="6757"/>
                  </a:cubicBezTo>
                  <a:cubicBezTo>
                    <a:pt x="29149" y="6698"/>
                    <a:pt x="28813" y="6396"/>
                    <a:pt x="28830" y="6130"/>
                  </a:cubicBezTo>
                  <a:cubicBezTo>
                    <a:pt x="28848" y="5903"/>
                    <a:pt x="29002" y="5850"/>
                    <a:pt x="29117" y="5829"/>
                  </a:cubicBezTo>
                  <a:lnTo>
                    <a:pt x="29121" y="5829"/>
                  </a:lnTo>
                  <a:cubicBezTo>
                    <a:pt x="29114" y="5808"/>
                    <a:pt x="29107" y="5787"/>
                    <a:pt x="29100" y="5766"/>
                  </a:cubicBezTo>
                  <a:cubicBezTo>
                    <a:pt x="29072" y="5689"/>
                    <a:pt x="29058" y="5612"/>
                    <a:pt x="29051" y="5535"/>
                  </a:cubicBezTo>
                  <a:cubicBezTo>
                    <a:pt x="29044" y="5448"/>
                    <a:pt x="29019" y="5430"/>
                    <a:pt x="28942" y="5388"/>
                  </a:cubicBezTo>
                  <a:cubicBezTo>
                    <a:pt x="28851" y="5343"/>
                    <a:pt x="28767" y="5276"/>
                    <a:pt x="28701" y="5196"/>
                  </a:cubicBezTo>
                  <a:cubicBezTo>
                    <a:pt x="28613" y="5091"/>
                    <a:pt x="28515" y="5031"/>
                    <a:pt x="28424" y="5028"/>
                  </a:cubicBezTo>
                  <a:cubicBezTo>
                    <a:pt x="28420" y="5027"/>
                    <a:pt x="28417" y="5027"/>
                    <a:pt x="28413" y="5027"/>
                  </a:cubicBezTo>
                  <a:cubicBezTo>
                    <a:pt x="28368" y="5027"/>
                    <a:pt x="28323" y="5048"/>
                    <a:pt x="28287" y="5080"/>
                  </a:cubicBezTo>
                  <a:cubicBezTo>
                    <a:pt x="28256" y="5122"/>
                    <a:pt x="28238" y="5171"/>
                    <a:pt x="28231" y="5220"/>
                  </a:cubicBezTo>
                  <a:cubicBezTo>
                    <a:pt x="28214" y="5311"/>
                    <a:pt x="28189" y="5427"/>
                    <a:pt x="28060" y="5483"/>
                  </a:cubicBezTo>
                  <a:cubicBezTo>
                    <a:pt x="28004" y="5504"/>
                    <a:pt x="27986" y="5595"/>
                    <a:pt x="27969" y="5679"/>
                  </a:cubicBezTo>
                  <a:cubicBezTo>
                    <a:pt x="27944" y="5784"/>
                    <a:pt x="27920" y="5903"/>
                    <a:pt x="27804" y="5920"/>
                  </a:cubicBezTo>
                  <a:cubicBezTo>
                    <a:pt x="27796" y="5922"/>
                    <a:pt x="27789" y="5923"/>
                    <a:pt x="27781" y="5923"/>
                  </a:cubicBezTo>
                  <a:cubicBezTo>
                    <a:pt x="27757" y="5923"/>
                    <a:pt x="27735" y="5915"/>
                    <a:pt x="27717" y="5899"/>
                  </a:cubicBezTo>
                  <a:cubicBezTo>
                    <a:pt x="27650" y="5847"/>
                    <a:pt x="27636" y="5728"/>
                    <a:pt x="27622" y="5539"/>
                  </a:cubicBezTo>
                  <a:cubicBezTo>
                    <a:pt x="27615" y="5444"/>
                    <a:pt x="27605" y="5287"/>
                    <a:pt x="27577" y="5259"/>
                  </a:cubicBezTo>
                  <a:cubicBezTo>
                    <a:pt x="27503" y="5227"/>
                    <a:pt x="27458" y="5150"/>
                    <a:pt x="27465" y="5066"/>
                  </a:cubicBezTo>
                  <a:cubicBezTo>
                    <a:pt x="27482" y="4979"/>
                    <a:pt x="27559" y="4923"/>
                    <a:pt x="27675" y="4909"/>
                  </a:cubicBezTo>
                  <a:cubicBezTo>
                    <a:pt x="27734" y="4902"/>
                    <a:pt x="27787" y="4870"/>
                    <a:pt x="27822" y="4821"/>
                  </a:cubicBezTo>
                  <a:lnTo>
                    <a:pt x="27815" y="4821"/>
                  </a:lnTo>
                  <a:cubicBezTo>
                    <a:pt x="27678" y="4821"/>
                    <a:pt x="27486" y="4720"/>
                    <a:pt x="27342" y="4646"/>
                  </a:cubicBezTo>
                  <a:cubicBezTo>
                    <a:pt x="27300" y="4625"/>
                    <a:pt x="27265" y="4608"/>
                    <a:pt x="27244" y="4594"/>
                  </a:cubicBezTo>
                  <a:cubicBezTo>
                    <a:pt x="27242" y="4592"/>
                    <a:pt x="27239" y="4592"/>
                    <a:pt x="27236" y="4592"/>
                  </a:cubicBezTo>
                  <a:cubicBezTo>
                    <a:pt x="27208" y="4592"/>
                    <a:pt x="27157" y="4631"/>
                    <a:pt x="27125" y="4650"/>
                  </a:cubicBezTo>
                  <a:cubicBezTo>
                    <a:pt x="27066" y="4687"/>
                    <a:pt x="26993" y="4733"/>
                    <a:pt x="26920" y="4733"/>
                  </a:cubicBezTo>
                  <a:cubicBezTo>
                    <a:pt x="26885" y="4733"/>
                    <a:pt x="26850" y="4722"/>
                    <a:pt x="26817" y="4695"/>
                  </a:cubicBezTo>
                  <a:cubicBezTo>
                    <a:pt x="26698" y="4597"/>
                    <a:pt x="26747" y="4429"/>
                    <a:pt x="26786" y="4292"/>
                  </a:cubicBezTo>
                  <a:cubicBezTo>
                    <a:pt x="26800" y="4250"/>
                    <a:pt x="26810" y="4208"/>
                    <a:pt x="26817" y="4163"/>
                  </a:cubicBezTo>
                  <a:cubicBezTo>
                    <a:pt x="26817" y="4131"/>
                    <a:pt x="26835" y="4096"/>
                    <a:pt x="26863" y="4075"/>
                  </a:cubicBezTo>
                  <a:cubicBezTo>
                    <a:pt x="26886" y="4060"/>
                    <a:pt x="26914" y="4053"/>
                    <a:pt x="26942" y="4053"/>
                  </a:cubicBezTo>
                  <a:cubicBezTo>
                    <a:pt x="26960" y="4053"/>
                    <a:pt x="26978" y="4056"/>
                    <a:pt x="26996" y="4061"/>
                  </a:cubicBezTo>
                  <a:cubicBezTo>
                    <a:pt x="27021" y="4066"/>
                    <a:pt x="27042" y="4070"/>
                    <a:pt x="27061" y="4070"/>
                  </a:cubicBezTo>
                  <a:cubicBezTo>
                    <a:pt x="27094" y="4070"/>
                    <a:pt x="27119" y="4059"/>
                    <a:pt x="27146" y="4023"/>
                  </a:cubicBezTo>
                  <a:cubicBezTo>
                    <a:pt x="27150" y="4019"/>
                    <a:pt x="27153" y="4012"/>
                    <a:pt x="27153" y="4009"/>
                  </a:cubicBezTo>
                  <a:cubicBezTo>
                    <a:pt x="27115" y="3981"/>
                    <a:pt x="27076" y="3960"/>
                    <a:pt x="27031" y="3942"/>
                  </a:cubicBezTo>
                  <a:cubicBezTo>
                    <a:pt x="26926" y="3897"/>
                    <a:pt x="26793" y="3837"/>
                    <a:pt x="26793" y="3708"/>
                  </a:cubicBezTo>
                  <a:cubicBezTo>
                    <a:pt x="26793" y="3620"/>
                    <a:pt x="26611" y="3564"/>
                    <a:pt x="26488" y="3529"/>
                  </a:cubicBezTo>
                  <a:cubicBezTo>
                    <a:pt x="26439" y="3515"/>
                    <a:pt x="26390" y="3498"/>
                    <a:pt x="26341" y="3477"/>
                  </a:cubicBezTo>
                  <a:cubicBezTo>
                    <a:pt x="26225" y="3417"/>
                    <a:pt x="26271" y="3270"/>
                    <a:pt x="26306" y="3151"/>
                  </a:cubicBezTo>
                  <a:cubicBezTo>
                    <a:pt x="26327" y="3085"/>
                    <a:pt x="26351" y="2994"/>
                    <a:pt x="26337" y="2962"/>
                  </a:cubicBezTo>
                  <a:cubicBezTo>
                    <a:pt x="26280" y="2844"/>
                    <a:pt x="25879" y="2509"/>
                    <a:pt x="25719" y="2509"/>
                  </a:cubicBezTo>
                  <a:cubicBezTo>
                    <a:pt x="25714" y="2509"/>
                    <a:pt x="25709" y="2510"/>
                    <a:pt x="25704" y="2511"/>
                  </a:cubicBezTo>
                  <a:cubicBezTo>
                    <a:pt x="25688" y="2515"/>
                    <a:pt x="25671" y="2517"/>
                    <a:pt x="25655" y="2517"/>
                  </a:cubicBezTo>
                  <a:cubicBezTo>
                    <a:pt x="25587" y="2517"/>
                    <a:pt x="25523" y="2482"/>
                    <a:pt x="25483" y="2423"/>
                  </a:cubicBezTo>
                  <a:cubicBezTo>
                    <a:pt x="25434" y="2356"/>
                    <a:pt x="25424" y="2269"/>
                    <a:pt x="25455" y="2195"/>
                  </a:cubicBezTo>
                  <a:cubicBezTo>
                    <a:pt x="25477" y="2161"/>
                    <a:pt x="25512" y="2138"/>
                    <a:pt x="25552" y="2138"/>
                  </a:cubicBezTo>
                  <a:cubicBezTo>
                    <a:pt x="25557" y="2138"/>
                    <a:pt x="25562" y="2139"/>
                    <a:pt x="25567" y="2139"/>
                  </a:cubicBezTo>
                  <a:cubicBezTo>
                    <a:pt x="25571" y="2140"/>
                    <a:pt x="25575" y="2140"/>
                    <a:pt x="25580" y="2140"/>
                  </a:cubicBezTo>
                  <a:cubicBezTo>
                    <a:pt x="25649" y="2140"/>
                    <a:pt x="25722" y="2081"/>
                    <a:pt x="25910" y="1870"/>
                  </a:cubicBezTo>
                  <a:cubicBezTo>
                    <a:pt x="26047" y="1719"/>
                    <a:pt x="26071" y="1667"/>
                    <a:pt x="26071" y="1646"/>
                  </a:cubicBezTo>
                  <a:cubicBezTo>
                    <a:pt x="26057" y="1635"/>
                    <a:pt x="26040" y="1628"/>
                    <a:pt x="26022" y="1625"/>
                  </a:cubicBezTo>
                  <a:cubicBezTo>
                    <a:pt x="25924" y="1590"/>
                    <a:pt x="25830" y="1513"/>
                    <a:pt x="25847" y="1422"/>
                  </a:cubicBezTo>
                  <a:cubicBezTo>
                    <a:pt x="25857" y="1373"/>
                    <a:pt x="25900" y="1316"/>
                    <a:pt x="26045" y="1316"/>
                  </a:cubicBezTo>
                  <a:cubicBezTo>
                    <a:pt x="26056" y="1316"/>
                    <a:pt x="26069" y="1316"/>
                    <a:pt x="26082" y="1317"/>
                  </a:cubicBezTo>
                  <a:cubicBezTo>
                    <a:pt x="26194" y="1324"/>
                    <a:pt x="26306" y="1341"/>
                    <a:pt x="26414" y="1369"/>
                  </a:cubicBezTo>
                  <a:cubicBezTo>
                    <a:pt x="26535" y="1395"/>
                    <a:pt x="26678" y="1424"/>
                    <a:pt x="26780" y="1424"/>
                  </a:cubicBezTo>
                  <a:cubicBezTo>
                    <a:pt x="26829" y="1424"/>
                    <a:pt x="26868" y="1418"/>
                    <a:pt x="26891" y="1401"/>
                  </a:cubicBezTo>
                  <a:cubicBezTo>
                    <a:pt x="26989" y="1327"/>
                    <a:pt x="27279" y="897"/>
                    <a:pt x="27475" y="613"/>
                  </a:cubicBezTo>
                  <a:cubicBezTo>
                    <a:pt x="27549" y="501"/>
                    <a:pt x="27615" y="403"/>
                    <a:pt x="27664" y="336"/>
                  </a:cubicBezTo>
                  <a:cubicBezTo>
                    <a:pt x="27703" y="284"/>
                    <a:pt x="27710" y="249"/>
                    <a:pt x="27703" y="238"/>
                  </a:cubicBezTo>
                  <a:cubicBezTo>
                    <a:pt x="27692" y="220"/>
                    <a:pt x="27641" y="185"/>
                    <a:pt x="27416" y="185"/>
                  </a:cubicBezTo>
                  <a:cubicBezTo>
                    <a:pt x="27347" y="185"/>
                    <a:pt x="27260" y="188"/>
                    <a:pt x="27153" y="196"/>
                  </a:cubicBezTo>
                  <a:cubicBezTo>
                    <a:pt x="27119" y="200"/>
                    <a:pt x="27085" y="201"/>
                    <a:pt x="27051" y="201"/>
                  </a:cubicBezTo>
                  <a:cubicBezTo>
                    <a:pt x="26894" y="201"/>
                    <a:pt x="26740" y="168"/>
                    <a:pt x="26597" y="98"/>
                  </a:cubicBezTo>
                  <a:cubicBezTo>
                    <a:pt x="26488" y="46"/>
                    <a:pt x="26369" y="14"/>
                    <a:pt x="26246" y="4"/>
                  </a:cubicBezTo>
                  <a:cubicBezTo>
                    <a:pt x="26209" y="1"/>
                    <a:pt x="26168" y="0"/>
                    <a:pt x="2612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7" name="Google Shape;6684;p64">
              <a:extLst>
                <a:ext uri="{FF2B5EF4-FFF2-40B4-BE49-F238E27FC236}">
                  <a16:creationId xmlns:a16="http://schemas.microsoft.com/office/drawing/2014/main" id="{F2359249-5C92-4600-3BF0-5BC442529F40}"/>
                </a:ext>
              </a:extLst>
            </p:cNvPr>
            <p:cNvSpPr/>
            <p:nvPr/>
          </p:nvSpPr>
          <p:spPr>
            <a:xfrm>
              <a:off x="890970" y="1547688"/>
              <a:ext cx="18547" cy="17176"/>
            </a:xfrm>
            <a:custGeom>
              <a:avLst/>
              <a:gdLst/>
              <a:ahLst/>
              <a:cxnLst/>
              <a:rect l="l" t="t" r="r" b="b"/>
              <a:pathLst>
                <a:path w="1366" h="1265" extrusionOk="0">
                  <a:moveTo>
                    <a:pt x="1225" y="1"/>
                  </a:moveTo>
                  <a:cubicBezTo>
                    <a:pt x="1187" y="1"/>
                    <a:pt x="1074" y="46"/>
                    <a:pt x="924" y="218"/>
                  </a:cubicBezTo>
                  <a:cubicBezTo>
                    <a:pt x="830" y="327"/>
                    <a:pt x="742" y="415"/>
                    <a:pt x="665" y="492"/>
                  </a:cubicBezTo>
                  <a:cubicBezTo>
                    <a:pt x="557" y="600"/>
                    <a:pt x="469" y="688"/>
                    <a:pt x="452" y="754"/>
                  </a:cubicBezTo>
                  <a:cubicBezTo>
                    <a:pt x="422" y="860"/>
                    <a:pt x="318" y="863"/>
                    <a:pt x="236" y="863"/>
                  </a:cubicBezTo>
                  <a:cubicBezTo>
                    <a:pt x="231" y="863"/>
                    <a:pt x="226" y="863"/>
                    <a:pt x="221" y="863"/>
                  </a:cubicBezTo>
                  <a:lnTo>
                    <a:pt x="186" y="863"/>
                  </a:lnTo>
                  <a:cubicBezTo>
                    <a:pt x="116" y="863"/>
                    <a:pt x="70" y="870"/>
                    <a:pt x="49" y="912"/>
                  </a:cubicBezTo>
                  <a:cubicBezTo>
                    <a:pt x="0" y="1006"/>
                    <a:pt x="49" y="1192"/>
                    <a:pt x="119" y="1251"/>
                  </a:cubicBezTo>
                  <a:cubicBezTo>
                    <a:pt x="129" y="1260"/>
                    <a:pt x="141" y="1265"/>
                    <a:pt x="153" y="1265"/>
                  </a:cubicBezTo>
                  <a:cubicBezTo>
                    <a:pt x="163" y="1265"/>
                    <a:pt x="174" y="1261"/>
                    <a:pt x="182" y="1255"/>
                  </a:cubicBezTo>
                  <a:cubicBezTo>
                    <a:pt x="251" y="1204"/>
                    <a:pt x="302" y="1187"/>
                    <a:pt x="345" y="1187"/>
                  </a:cubicBezTo>
                  <a:cubicBezTo>
                    <a:pt x="386" y="1187"/>
                    <a:pt x="420" y="1203"/>
                    <a:pt x="452" y="1220"/>
                  </a:cubicBezTo>
                  <a:cubicBezTo>
                    <a:pt x="469" y="1234"/>
                    <a:pt x="490" y="1241"/>
                    <a:pt x="511" y="1241"/>
                  </a:cubicBezTo>
                  <a:cubicBezTo>
                    <a:pt x="599" y="1237"/>
                    <a:pt x="1072" y="919"/>
                    <a:pt x="1170" y="761"/>
                  </a:cubicBezTo>
                  <a:cubicBezTo>
                    <a:pt x="1194" y="723"/>
                    <a:pt x="1198" y="709"/>
                    <a:pt x="1089" y="635"/>
                  </a:cubicBezTo>
                  <a:cubicBezTo>
                    <a:pt x="1026" y="590"/>
                    <a:pt x="963" y="548"/>
                    <a:pt x="956" y="474"/>
                  </a:cubicBezTo>
                  <a:cubicBezTo>
                    <a:pt x="942" y="351"/>
                    <a:pt x="1082" y="313"/>
                    <a:pt x="1208" y="281"/>
                  </a:cubicBezTo>
                  <a:cubicBezTo>
                    <a:pt x="1264" y="271"/>
                    <a:pt x="1317" y="253"/>
                    <a:pt x="1366" y="232"/>
                  </a:cubicBezTo>
                  <a:lnTo>
                    <a:pt x="1345" y="215"/>
                  </a:lnTo>
                  <a:cubicBezTo>
                    <a:pt x="1296" y="169"/>
                    <a:pt x="1226" y="106"/>
                    <a:pt x="1233" y="12"/>
                  </a:cubicBezTo>
                  <a:cubicBezTo>
                    <a:pt x="1233" y="8"/>
                    <a:pt x="1233" y="5"/>
                    <a:pt x="1233" y="1"/>
                  </a:cubicBezTo>
                  <a:cubicBezTo>
                    <a:pt x="1231" y="1"/>
                    <a:pt x="1228" y="1"/>
                    <a:pt x="12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8" name="Google Shape;6685;p64">
              <a:extLst>
                <a:ext uri="{FF2B5EF4-FFF2-40B4-BE49-F238E27FC236}">
                  <a16:creationId xmlns:a16="http://schemas.microsoft.com/office/drawing/2014/main" id="{B6B3613E-D7BB-2619-9A3B-49488E0260E4}"/>
                </a:ext>
              </a:extLst>
            </p:cNvPr>
            <p:cNvSpPr/>
            <p:nvPr/>
          </p:nvSpPr>
          <p:spPr>
            <a:xfrm>
              <a:off x="797896" y="1528258"/>
              <a:ext cx="11229" cy="5064"/>
            </a:xfrm>
            <a:custGeom>
              <a:avLst/>
              <a:gdLst/>
              <a:ahLst/>
              <a:cxnLst/>
              <a:rect l="l" t="t" r="r" b="b"/>
              <a:pathLst>
                <a:path w="827" h="373" extrusionOk="0">
                  <a:moveTo>
                    <a:pt x="298" y="1"/>
                  </a:moveTo>
                  <a:cubicBezTo>
                    <a:pt x="200" y="4"/>
                    <a:pt x="109" y="43"/>
                    <a:pt x="36" y="106"/>
                  </a:cubicBezTo>
                  <a:cubicBezTo>
                    <a:pt x="22" y="120"/>
                    <a:pt x="1" y="144"/>
                    <a:pt x="8" y="165"/>
                  </a:cubicBezTo>
                  <a:cubicBezTo>
                    <a:pt x="42" y="272"/>
                    <a:pt x="333" y="373"/>
                    <a:pt x="549" y="373"/>
                  </a:cubicBezTo>
                  <a:cubicBezTo>
                    <a:pt x="601" y="373"/>
                    <a:pt x="648" y="367"/>
                    <a:pt x="687" y="354"/>
                  </a:cubicBezTo>
                  <a:cubicBezTo>
                    <a:pt x="750" y="337"/>
                    <a:pt x="802" y="288"/>
                    <a:pt x="820" y="225"/>
                  </a:cubicBezTo>
                  <a:cubicBezTo>
                    <a:pt x="827" y="176"/>
                    <a:pt x="809" y="123"/>
                    <a:pt x="771" y="92"/>
                  </a:cubicBezTo>
                  <a:cubicBezTo>
                    <a:pt x="760" y="82"/>
                    <a:pt x="747" y="78"/>
                    <a:pt x="731" y="78"/>
                  </a:cubicBezTo>
                  <a:cubicBezTo>
                    <a:pt x="702" y="78"/>
                    <a:pt x="663" y="92"/>
                    <a:pt x="613" y="113"/>
                  </a:cubicBezTo>
                  <a:cubicBezTo>
                    <a:pt x="570" y="132"/>
                    <a:pt x="525" y="151"/>
                    <a:pt x="482" y="151"/>
                  </a:cubicBezTo>
                  <a:cubicBezTo>
                    <a:pt x="462" y="151"/>
                    <a:pt x="443" y="147"/>
                    <a:pt x="424" y="137"/>
                  </a:cubicBezTo>
                  <a:cubicBezTo>
                    <a:pt x="389" y="113"/>
                    <a:pt x="365" y="71"/>
                    <a:pt x="361" y="25"/>
                  </a:cubicBezTo>
                  <a:cubicBezTo>
                    <a:pt x="361" y="18"/>
                    <a:pt x="361" y="11"/>
                    <a:pt x="344" y="8"/>
                  </a:cubicBezTo>
                  <a:cubicBezTo>
                    <a:pt x="330" y="1"/>
                    <a:pt x="312" y="1"/>
                    <a:pt x="29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9" name="Google Shape;6686;p64">
              <a:extLst>
                <a:ext uri="{FF2B5EF4-FFF2-40B4-BE49-F238E27FC236}">
                  <a16:creationId xmlns:a16="http://schemas.microsoft.com/office/drawing/2014/main" id="{7DC1C9DA-4B8B-4D84-F786-115F331D1C4F}"/>
                </a:ext>
              </a:extLst>
            </p:cNvPr>
            <p:cNvSpPr/>
            <p:nvPr/>
          </p:nvSpPr>
          <p:spPr>
            <a:xfrm>
              <a:off x="793334" y="1391519"/>
              <a:ext cx="283403" cy="195652"/>
            </a:xfrm>
            <a:custGeom>
              <a:avLst/>
              <a:gdLst/>
              <a:ahLst/>
              <a:cxnLst/>
              <a:rect l="l" t="t" r="r" b="b"/>
              <a:pathLst>
                <a:path w="20873" h="14410" extrusionOk="0">
                  <a:moveTo>
                    <a:pt x="6145" y="0"/>
                  </a:moveTo>
                  <a:cubicBezTo>
                    <a:pt x="6032" y="0"/>
                    <a:pt x="5793" y="218"/>
                    <a:pt x="5658" y="339"/>
                  </a:cubicBezTo>
                  <a:cubicBezTo>
                    <a:pt x="5462" y="516"/>
                    <a:pt x="5201" y="553"/>
                    <a:pt x="4995" y="553"/>
                  </a:cubicBezTo>
                  <a:cubicBezTo>
                    <a:pt x="4895" y="553"/>
                    <a:pt x="4808" y="544"/>
                    <a:pt x="4748" y="539"/>
                  </a:cubicBezTo>
                  <a:cubicBezTo>
                    <a:pt x="4708" y="534"/>
                    <a:pt x="4669" y="532"/>
                    <a:pt x="4631" y="532"/>
                  </a:cubicBezTo>
                  <a:cubicBezTo>
                    <a:pt x="4489" y="532"/>
                    <a:pt x="4365" y="561"/>
                    <a:pt x="4321" y="605"/>
                  </a:cubicBezTo>
                  <a:cubicBezTo>
                    <a:pt x="4310" y="616"/>
                    <a:pt x="4310" y="619"/>
                    <a:pt x="4310" y="623"/>
                  </a:cubicBezTo>
                  <a:cubicBezTo>
                    <a:pt x="4310" y="644"/>
                    <a:pt x="4338" y="661"/>
                    <a:pt x="4377" y="686"/>
                  </a:cubicBezTo>
                  <a:cubicBezTo>
                    <a:pt x="4422" y="714"/>
                    <a:pt x="4478" y="749"/>
                    <a:pt x="4485" y="815"/>
                  </a:cubicBezTo>
                  <a:cubicBezTo>
                    <a:pt x="4485" y="875"/>
                    <a:pt x="4457" y="931"/>
                    <a:pt x="4412" y="969"/>
                  </a:cubicBezTo>
                  <a:cubicBezTo>
                    <a:pt x="4367" y="1014"/>
                    <a:pt x="4324" y="1031"/>
                    <a:pt x="4286" y="1031"/>
                  </a:cubicBezTo>
                  <a:cubicBezTo>
                    <a:pt x="4213" y="1031"/>
                    <a:pt x="4155" y="973"/>
                    <a:pt x="4121" y="941"/>
                  </a:cubicBezTo>
                  <a:cubicBezTo>
                    <a:pt x="4100" y="920"/>
                    <a:pt x="4069" y="889"/>
                    <a:pt x="4055" y="889"/>
                  </a:cubicBezTo>
                  <a:cubicBezTo>
                    <a:pt x="4048" y="889"/>
                    <a:pt x="4034" y="896"/>
                    <a:pt x="4013" y="917"/>
                  </a:cubicBezTo>
                  <a:cubicBezTo>
                    <a:pt x="3878" y="1061"/>
                    <a:pt x="3580" y="1096"/>
                    <a:pt x="3366" y="1096"/>
                  </a:cubicBezTo>
                  <a:cubicBezTo>
                    <a:pt x="3269" y="1096"/>
                    <a:pt x="3190" y="1089"/>
                    <a:pt x="3151" y="1081"/>
                  </a:cubicBezTo>
                  <a:cubicBezTo>
                    <a:pt x="3095" y="1081"/>
                    <a:pt x="2920" y="1235"/>
                    <a:pt x="2633" y="1533"/>
                  </a:cubicBezTo>
                  <a:lnTo>
                    <a:pt x="2570" y="1600"/>
                  </a:lnTo>
                  <a:cubicBezTo>
                    <a:pt x="2546" y="1621"/>
                    <a:pt x="2546" y="1638"/>
                    <a:pt x="2549" y="1694"/>
                  </a:cubicBezTo>
                  <a:cubicBezTo>
                    <a:pt x="2553" y="1792"/>
                    <a:pt x="2563" y="1939"/>
                    <a:pt x="2339" y="2177"/>
                  </a:cubicBezTo>
                  <a:cubicBezTo>
                    <a:pt x="2087" y="2449"/>
                    <a:pt x="1563" y="2485"/>
                    <a:pt x="1208" y="2485"/>
                  </a:cubicBezTo>
                  <a:cubicBezTo>
                    <a:pt x="1125" y="2485"/>
                    <a:pt x="1050" y="2483"/>
                    <a:pt x="991" y="2482"/>
                  </a:cubicBezTo>
                  <a:lnTo>
                    <a:pt x="911" y="2482"/>
                  </a:lnTo>
                  <a:cubicBezTo>
                    <a:pt x="908" y="2481"/>
                    <a:pt x="905" y="2480"/>
                    <a:pt x="902" y="2480"/>
                  </a:cubicBezTo>
                  <a:cubicBezTo>
                    <a:pt x="894" y="2480"/>
                    <a:pt x="887" y="2483"/>
                    <a:pt x="879" y="2485"/>
                  </a:cubicBezTo>
                  <a:cubicBezTo>
                    <a:pt x="872" y="2513"/>
                    <a:pt x="869" y="2541"/>
                    <a:pt x="872" y="2569"/>
                  </a:cubicBezTo>
                  <a:cubicBezTo>
                    <a:pt x="879" y="2646"/>
                    <a:pt x="858" y="2727"/>
                    <a:pt x="816" y="2793"/>
                  </a:cubicBezTo>
                  <a:cubicBezTo>
                    <a:pt x="802" y="2814"/>
                    <a:pt x="806" y="2821"/>
                    <a:pt x="809" y="2825"/>
                  </a:cubicBezTo>
                  <a:cubicBezTo>
                    <a:pt x="820" y="2856"/>
                    <a:pt x="900" y="2947"/>
                    <a:pt x="1387" y="3080"/>
                  </a:cubicBezTo>
                  <a:cubicBezTo>
                    <a:pt x="1909" y="3217"/>
                    <a:pt x="2262" y="3893"/>
                    <a:pt x="2329" y="4064"/>
                  </a:cubicBezTo>
                  <a:cubicBezTo>
                    <a:pt x="2337" y="4084"/>
                    <a:pt x="2390" y="4091"/>
                    <a:pt x="2458" y="4091"/>
                  </a:cubicBezTo>
                  <a:cubicBezTo>
                    <a:pt x="2570" y="4091"/>
                    <a:pt x="2723" y="4073"/>
                    <a:pt x="2791" y="4064"/>
                  </a:cubicBezTo>
                  <a:cubicBezTo>
                    <a:pt x="2903" y="4052"/>
                    <a:pt x="3012" y="4041"/>
                    <a:pt x="3102" y="4041"/>
                  </a:cubicBezTo>
                  <a:cubicBezTo>
                    <a:pt x="3138" y="4041"/>
                    <a:pt x="3171" y="4043"/>
                    <a:pt x="3200" y="4047"/>
                  </a:cubicBezTo>
                  <a:cubicBezTo>
                    <a:pt x="3386" y="4075"/>
                    <a:pt x="3368" y="4243"/>
                    <a:pt x="3358" y="4341"/>
                  </a:cubicBezTo>
                  <a:cubicBezTo>
                    <a:pt x="3347" y="4449"/>
                    <a:pt x="3347" y="4502"/>
                    <a:pt x="3400" y="4526"/>
                  </a:cubicBezTo>
                  <a:cubicBezTo>
                    <a:pt x="3454" y="4551"/>
                    <a:pt x="3518" y="4556"/>
                    <a:pt x="3585" y="4556"/>
                  </a:cubicBezTo>
                  <a:cubicBezTo>
                    <a:pt x="3614" y="4556"/>
                    <a:pt x="3643" y="4555"/>
                    <a:pt x="3673" y="4554"/>
                  </a:cubicBezTo>
                  <a:cubicBezTo>
                    <a:pt x="3700" y="4553"/>
                    <a:pt x="3728" y="4552"/>
                    <a:pt x="3756" y="4552"/>
                  </a:cubicBezTo>
                  <a:cubicBezTo>
                    <a:pt x="3868" y="4552"/>
                    <a:pt x="3977" y="4572"/>
                    <a:pt x="4016" y="4684"/>
                  </a:cubicBezTo>
                  <a:cubicBezTo>
                    <a:pt x="4030" y="4722"/>
                    <a:pt x="4027" y="4761"/>
                    <a:pt x="4006" y="4796"/>
                  </a:cubicBezTo>
                  <a:cubicBezTo>
                    <a:pt x="3963" y="4855"/>
                    <a:pt x="3872" y="4859"/>
                    <a:pt x="3746" y="4859"/>
                  </a:cubicBezTo>
                  <a:cubicBezTo>
                    <a:pt x="3610" y="4859"/>
                    <a:pt x="3445" y="4862"/>
                    <a:pt x="3337" y="4943"/>
                  </a:cubicBezTo>
                  <a:cubicBezTo>
                    <a:pt x="3159" y="5076"/>
                    <a:pt x="3050" y="5154"/>
                    <a:pt x="2945" y="5154"/>
                  </a:cubicBezTo>
                  <a:cubicBezTo>
                    <a:pt x="2937" y="5154"/>
                    <a:pt x="2929" y="5154"/>
                    <a:pt x="2920" y="5153"/>
                  </a:cubicBezTo>
                  <a:cubicBezTo>
                    <a:pt x="2864" y="5142"/>
                    <a:pt x="2815" y="5107"/>
                    <a:pt x="2784" y="5062"/>
                  </a:cubicBezTo>
                  <a:cubicBezTo>
                    <a:pt x="2759" y="5027"/>
                    <a:pt x="2686" y="5015"/>
                    <a:pt x="2598" y="5015"/>
                  </a:cubicBezTo>
                  <a:cubicBezTo>
                    <a:pt x="2485" y="5015"/>
                    <a:pt x="2347" y="5034"/>
                    <a:pt x="2255" y="5048"/>
                  </a:cubicBezTo>
                  <a:cubicBezTo>
                    <a:pt x="2213" y="5055"/>
                    <a:pt x="2175" y="5058"/>
                    <a:pt x="2143" y="5062"/>
                  </a:cubicBezTo>
                  <a:cubicBezTo>
                    <a:pt x="2131" y="5065"/>
                    <a:pt x="2119" y="5067"/>
                    <a:pt x="2106" y="5067"/>
                  </a:cubicBezTo>
                  <a:cubicBezTo>
                    <a:pt x="2066" y="5067"/>
                    <a:pt x="2026" y="5049"/>
                    <a:pt x="2000" y="5020"/>
                  </a:cubicBezTo>
                  <a:cubicBezTo>
                    <a:pt x="1947" y="4950"/>
                    <a:pt x="1989" y="4841"/>
                    <a:pt x="2031" y="4740"/>
                  </a:cubicBezTo>
                  <a:cubicBezTo>
                    <a:pt x="2049" y="4701"/>
                    <a:pt x="2059" y="4659"/>
                    <a:pt x="2070" y="4617"/>
                  </a:cubicBezTo>
                  <a:cubicBezTo>
                    <a:pt x="2070" y="4614"/>
                    <a:pt x="2063" y="4607"/>
                    <a:pt x="2052" y="4600"/>
                  </a:cubicBezTo>
                  <a:cubicBezTo>
                    <a:pt x="2026" y="4581"/>
                    <a:pt x="1980" y="4569"/>
                    <a:pt x="1918" y="4569"/>
                  </a:cubicBezTo>
                  <a:cubicBezTo>
                    <a:pt x="1815" y="4569"/>
                    <a:pt x="1666" y="4604"/>
                    <a:pt x="1488" y="4705"/>
                  </a:cubicBezTo>
                  <a:lnTo>
                    <a:pt x="1481" y="4712"/>
                  </a:lnTo>
                  <a:cubicBezTo>
                    <a:pt x="1394" y="4754"/>
                    <a:pt x="1310" y="4803"/>
                    <a:pt x="1229" y="4859"/>
                  </a:cubicBezTo>
                  <a:lnTo>
                    <a:pt x="1229" y="4869"/>
                  </a:lnTo>
                  <a:cubicBezTo>
                    <a:pt x="1233" y="4908"/>
                    <a:pt x="1226" y="4946"/>
                    <a:pt x="1215" y="4985"/>
                  </a:cubicBezTo>
                  <a:cubicBezTo>
                    <a:pt x="1208" y="5027"/>
                    <a:pt x="1184" y="5065"/>
                    <a:pt x="1145" y="5086"/>
                  </a:cubicBezTo>
                  <a:cubicBezTo>
                    <a:pt x="1128" y="5094"/>
                    <a:pt x="1111" y="5097"/>
                    <a:pt x="1094" y="5097"/>
                  </a:cubicBezTo>
                  <a:cubicBezTo>
                    <a:pt x="1057" y="5097"/>
                    <a:pt x="1020" y="5083"/>
                    <a:pt x="984" y="5069"/>
                  </a:cubicBezTo>
                  <a:cubicBezTo>
                    <a:pt x="940" y="5053"/>
                    <a:pt x="892" y="5034"/>
                    <a:pt x="839" y="5034"/>
                  </a:cubicBezTo>
                  <a:cubicBezTo>
                    <a:pt x="801" y="5034"/>
                    <a:pt x="759" y="5044"/>
                    <a:pt x="715" y="5072"/>
                  </a:cubicBezTo>
                  <a:cubicBezTo>
                    <a:pt x="606" y="5135"/>
                    <a:pt x="494" y="5191"/>
                    <a:pt x="382" y="5240"/>
                  </a:cubicBezTo>
                  <a:cubicBezTo>
                    <a:pt x="221" y="5310"/>
                    <a:pt x="36" y="5391"/>
                    <a:pt x="1" y="5468"/>
                  </a:cubicBezTo>
                  <a:cubicBezTo>
                    <a:pt x="18" y="5510"/>
                    <a:pt x="158" y="5576"/>
                    <a:pt x="687" y="5682"/>
                  </a:cubicBezTo>
                  <a:lnTo>
                    <a:pt x="739" y="5692"/>
                  </a:lnTo>
                  <a:cubicBezTo>
                    <a:pt x="767" y="5699"/>
                    <a:pt x="844" y="5713"/>
                    <a:pt x="855" y="5780"/>
                  </a:cubicBezTo>
                  <a:cubicBezTo>
                    <a:pt x="869" y="5850"/>
                    <a:pt x="802" y="5899"/>
                    <a:pt x="729" y="5948"/>
                  </a:cubicBezTo>
                  <a:cubicBezTo>
                    <a:pt x="715" y="5955"/>
                    <a:pt x="701" y="5965"/>
                    <a:pt x="683" y="5976"/>
                  </a:cubicBezTo>
                  <a:cubicBezTo>
                    <a:pt x="757" y="6011"/>
                    <a:pt x="813" y="6070"/>
                    <a:pt x="844" y="6140"/>
                  </a:cubicBezTo>
                  <a:cubicBezTo>
                    <a:pt x="890" y="6242"/>
                    <a:pt x="974" y="6322"/>
                    <a:pt x="1072" y="6368"/>
                  </a:cubicBezTo>
                  <a:cubicBezTo>
                    <a:pt x="1162" y="6415"/>
                    <a:pt x="1296" y="6431"/>
                    <a:pt x="1440" y="6431"/>
                  </a:cubicBezTo>
                  <a:cubicBezTo>
                    <a:pt x="1625" y="6431"/>
                    <a:pt x="1826" y="6405"/>
                    <a:pt x="1972" y="6385"/>
                  </a:cubicBezTo>
                  <a:cubicBezTo>
                    <a:pt x="2049" y="6371"/>
                    <a:pt x="2129" y="6364"/>
                    <a:pt x="2206" y="6361"/>
                  </a:cubicBezTo>
                  <a:cubicBezTo>
                    <a:pt x="2287" y="6368"/>
                    <a:pt x="2367" y="6389"/>
                    <a:pt x="2437" y="6427"/>
                  </a:cubicBezTo>
                  <a:cubicBezTo>
                    <a:pt x="2503" y="6459"/>
                    <a:pt x="2547" y="6478"/>
                    <a:pt x="2582" y="6478"/>
                  </a:cubicBezTo>
                  <a:cubicBezTo>
                    <a:pt x="2609" y="6478"/>
                    <a:pt x="2631" y="6467"/>
                    <a:pt x="2654" y="6441"/>
                  </a:cubicBezTo>
                  <a:cubicBezTo>
                    <a:pt x="2757" y="6333"/>
                    <a:pt x="3141" y="6002"/>
                    <a:pt x="3463" y="6002"/>
                  </a:cubicBezTo>
                  <a:cubicBezTo>
                    <a:pt x="3556" y="6002"/>
                    <a:pt x="3644" y="6030"/>
                    <a:pt x="3718" y="6098"/>
                  </a:cubicBezTo>
                  <a:cubicBezTo>
                    <a:pt x="3792" y="6168"/>
                    <a:pt x="3823" y="6231"/>
                    <a:pt x="3813" y="6291"/>
                  </a:cubicBezTo>
                  <a:cubicBezTo>
                    <a:pt x="3799" y="6378"/>
                    <a:pt x="3708" y="6417"/>
                    <a:pt x="3634" y="6448"/>
                  </a:cubicBezTo>
                  <a:cubicBezTo>
                    <a:pt x="3610" y="6459"/>
                    <a:pt x="3589" y="6469"/>
                    <a:pt x="3568" y="6480"/>
                  </a:cubicBezTo>
                  <a:cubicBezTo>
                    <a:pt x="3680" y="6606"/>
                    <a:pt x="3795" y="6830"/>
                    <a:pt x="3778" y="7026"/>
                  </a:cubicBezTo>
                  <a:cubicBezTo>
                    <a:pt x="3767" y="7138"/>
                    <a:pt x="3708" y="7239"/>
                    <a:pt x="3617" y="7302"/>
                  </a:cubicBezTo>
                  <a:cubicBezTo>
                    <a:pt x="3492" y="7393"/>
                    <a:pt x="3368" y="7420"/>
                    <a:pt x="3256" y="7420"/>
                  </a:cubicBezTo>
                  <a:cubicBezTo>
                    <a:pt x="3162" y="7420"/>
                    <a:pt x="3077" y="7401"/>
                    <a:pt x="3008" y="7386"/>
                  </a:cubicBezTo>
                  <a:cubicBezTo>
                    <a:pt x="2973" y="7376"/>
                    <a:pt x="2938" y="7369"/>
                    <a:pt x="2903" y="7365"/>
                  </a:cubicBezTo>
                  <a:lnTo>
                    <a:pt x="2896" y="7365"/>
                  </a:lnTo>
                  <a:cubicBezTo>
                    <a:pt x="2878" y="7393"/>
                    <a:pt x="2868" y="7425"/>
                    <a:pt x="2861" y="7456"/>
                  </a:cubicBezTo>
                  <a:cubicBezTo>
                    <a:pt x="2833" y="7554"/>
                    <a:pt x="2798" y="7691"/>
                    <a:pt x="2658" y="7800"/>
                  </a:cubicBezTo>
                  <a:cubicBezTo>
                    <a:pt x="2599" y="7845"/>
                    <a:pt x="2543" y="7862"/>
                    <a:pt x="2490" y="7862"/>
                  </a:cubicBezTo>
                  <a:cubicBezTo>
                    <a:pt x="2390" y="7862"/>
                    <a:pt x="2299" y="7801"/>
                    <a:pt x="2217" y="7743"/>
                  </a:cubicBezTo>
                  <a:cubicBezTo>
                    <a:pt x="2129" y="7684"/>
                    <a:pt x="2035" y="7621"/>
                    <a:pt x="1926" y="7621"/>
                  </a:cubicBezTo>
                  <a:cubicBezTo>
                    <a:pt x="1922" y="7621"/>
                    <a:pt x="1918" y="7620"/>
                    <a:pt x="1914" y="7620"/>
                  </a:cubicBezTo>
                  <a:cubicBezTo>
                    <a:pt x="1879" y="7620"/>
                    <a:pt x="1843" y="7634"/>
                    <a:pt x="1817" y="7659"/>
                  </a:cubicBezTo>
                  <a:cubicBezTo>
                    <a:pt x="1744" y="7740"/>
                    <a:pt x="1758" y="7926"/>
                    <a:pt x="1768" y="8052"/>
                  </a:cubicBezTo>
                  <a:cubicBezTo>
                    <a:pt x="1768" y="8073"/>
                    <a:pt x="1772" y="8090"/>
                    <a:pt x="1775" y="8108"/>
                  </a:cubicBezTo>
                  <a:cubicBezTo>
                    <a:pt x="1782" y="8241"/>
                    <a:pt x="1649" y="8258"/>
                    <a:pt x="1562" y="8269"/>
                  </a:cubicBezTo>
                  <a:cubicBezTo>
                    <a:pt x="1432" y="8286"/>
                    <a:pt x="1282" y="8307"/>
                    <a:pt x="1226" y="8528"/>
                  </a:cubicBezTo>
                  <a:cubicBezTo>
                    <a:pt x="1163" y="8783"/>
                    <a:pt x="988" y="8808"/>
                    <a:pt x="893" y="8822"/>
                  </a:cubicBezTo>
                  <a:lnTo>
                    <a:pt x="865" y="8825"/>
                  </a:lnTo>
                  <a:cubicBezTo>
                    <a:pt x="890" y="8874"/>
                    <a:pt x="918" y="8916"/>
                    <a:pt x="949" y="8958"/>
                  </a:cubicBezTo>
                  <a:cubicBezTo>
                    <a:pt x="1114" y="9193"/>
                    <a:pt x="1156" y="9193"/>
                    <a:pt x="1205" y="9193"/>
                  </a:cubicBezTo>
                  <a:cubicBezTo>
                    <a:pt x="1210" y="9193"/>
                    <a:pt x="1214" y="9193"/>
                    <a:pt x="1219" y="9193"/>
                  </a:cubicBezTo>
                  <a:cubicBezTo>
                    <a:pt x="1297" y="9193"/>
                    <a:pt x="1370" y="9220"/>
                    <a:pt x="1432" y="9270"/>
                  </a:cubicBezTo>
                  <a:cubicBezTo>
                    <a:pt x="1611" y="9396"/>
                    <a:pt x="1495" y="9578"/>
                    <a:pt x="1422" y="9686"/>
                  </a:cubicBezTo>
                  <a:cubicBezTo>
                    <a:pt x="1404" y="9714"/>
                    <a:pt x="1383" y="9746"/>
                    <a:pt x="1369" y="9777"/>
                  </a:cubicBezTo>
                  <a:lnTo>
                    <a:pt x="1383" y="9781"/>
                  </a:lnTo>
                  <a:cubicBezTo>
                    <a:pt x="1572" y="9819"/>
                    <a:pt x="1754" y="10044"/>
                    <a:pt x="1919" y="10240"/>
                  </a:cubicBezTo>
                  <a:cubicBezTo>
                    <a:pt x="1972" y="10310"/>
                    <a:pt x="2031" y="10376"/>
                    <a:pt x="2094" y="10439"/>
                  </a:cubicBezTo>
                  <a:cubicBezTo>
                    <a:pt x="2121" y="10464"/>
                    <a:pt x="2150" y="10475"/>
                    <a:pt x="2184" y="10475"/>
                  </a:cubicBezTo>
                  <a:cubicBezTo>
                    <a:pt x="2236" y="10475"/>
                    <a:pt x="2299" y="10450"/>
                    <a:pt x="2381" y="10415"/>
                  </a:cubicBezTo>
                  <a:cubicBezTo>
                    <a:pt x="2479" y="10366"/>
                    <a:pt x="2581" y="10338"/>
                    <a:pt x="2689" y="10327"/>
                  </a:cubicBezTo>
                  <a:cubicBezTo>
                    <a:pt x="2770" y="10324"/>
                    <a:pt x="2791" y="10271"/>
                    <a:pt x="2812" y="10187"/>
                  </a:cubicBezTo>
                  <a:cubicBezTo>
                    <a:pt x="2826" y="10138"/>
                    <a:pt x="2840" y="10086"/>
                    <a:pt x="2892" y="10068"/>
                  </a:cubicBezTo>
                  <a:cubicBezTo>
                    <a:pt x="2899" y="10067"/>
                    <a:pt x="2906" y="10067"/>
                    <a:pt x="2912" y="10067"/>
                  </a:cubicBezTo>
                  <a:cubicBezTo>
                    <a:pt x="2951" y="10067"/>
                    <a:pt x="2988" y="10084"/>
                    <a:pt x="3015" y="10114"/>
                  </a:cubicBezTo>
                  <a:cubicBezTo>
                    <a:pt x="3134" y="10222"/>
                    <a:pt x="3305" y="10506"/>
                    <a:pt x="3295" y="10691"/>
                  </a:cubicBezTo>
                  <a:cubicBezTo>
                    <a:pt x="3298" y="10747"/>
                    <a:pt x="3270" y="10800"/>
                    <a:pt x="3228" y="10831"/>
                  </a:cubicBezTo>
                  <a:cubicBezTo>
                    <a:pt x="3169" y="10873"/>
                    <a:pt x="3186" y="11013"/>
                    <a:pt x="3197" y="11125"/>
                  </a:cubicBezTo>
                  <a:cubicBezTo>
                    <a:pt x="3207" y="11192"/>
                    <a:pt x="3211" y="11258"/>
                    <a:pt x="3207" y="11325"/>
                  </a:cubicBezTo>
                  <a:cubicBezTo>
                    <a:pt x="3225" y="11337"/>
                    <a:pt x="3274" y="11346"/>
                    <a:pt x="3336" y="11346"/>
                  </a:cubicBezTo>
                  <a:cubicBezTo>
                    <a:pt x="3395" y="11346"/>
                    <a:pt x="3467" y="11338"/>
                    <a:pt x="3536" y="11318"/>
                  </a:cubicBezTo>
                  <a:cubicBezTo>
                    <a:pt x="3634" y="11290"/>
                    <a:pt x="3669" y="11251"/>
                    <a:pt x="3669" y="11237"/>
                  </a:cubicBezTo>
                  <a:cubicBezTo>
                    <a:pt x="3687" y="11160"/>
                    <a:pt x="3757" y="11097"/>
                    <a:pt x="3869" y="11069"/>
                  </a:cubicBezTo>
                  <a:cubicBezTo>
                    <a:pt x="3923" y="11056"/>
                    <a:pt x="3978" y="11050"/>
                    <a:pt x="4032" y="11050"/>
                  </a:cubicBezTo>
                  <a:cubicBezTo>
                    <a:pt x="4219" y="11050"/>
                    <a:pt x="4401" y="11128"/>
                    <a:pt x="4534" y="11269"/>
                  </a:cubicBezTo>
                  <a:cubicBezTo>
                    <a:pt x="4601" y="11349"/>
                    <a:pt x="4674" y="11419"/>
                    <a:pt x="4755" y="11482"/>
                  </a:cubicBezTo>
                  <a:cubicBezTo>
                    <a:pt x="4758" y="11465"/>
                    <a:pt x="4758" y="11444"/>
                    <a:pt x="4758" y="11423"/>
                  </a:cubicBezTo>
                  <a:cubicBezTo>
                    <a:pt x="4758" y="11241"/>
                    <a:pt x="4895" y="11017"/>
                    <a:pt x="5010" y="11013"/>
                  </a:cubicBezTo>
                  <a:cubicBezTo>
                    <a:pt x="5028" y="11013"/>
                    <a:pt x="5112" y="11017"/>
                    <a:pt x="5122" y="11139"/>
                  </a:cubicBezTo>
                  <a:cubicBezTo>
                    <a:pt x="5119" y="11174"/>
                    <a:pt x="5136" y="11202"/>
                    <a:pt x="5164" y="11220"/>
                  </a:cubicBezTo>
                  <a:cubicBezTo>
                    <a:pt x="5189" y="11235"/>
                    <a:pt x="5222" y="11243"/>
                    <a:pt x="5264" y="11243"/>
                  </a:cubicBezTo>
                  <a:cubicBezTo>
                    <a:pt x="5353" y="11243"/>
                    <a:pt x="5479" y="11208"/>
                    <a:pt x="5623" y="11143"/>
                  </a:cubicBezTo>
                  <a:cubicBezTo>
                    <a:pt x="5722" y="11098"/>
                    <a:pt x="5794" y="11071"/>
                    <a:pt x="5846" y="11071"/>
                  </a:cubicBezTo>
                  <a:cubicBezTo>
                    <a:pt x="5879" y="11071"/>
                    <a:pt x="5903" y="11081"/>
                    <a:pt x="5920" y="11104"/>
                  </a:cubicBezTo>
                  <a:cubicBezTo>
                    <a:pt x="5976" y="11174"/>
                    <a:pt x="5906" y="11258"/>
                    <a:pt x="5759" y="11440"/>
                  </a:cubicBezTo>
                  <a:lnTo>
                    <a:pt x="5714" y="11500"/>
                  </a:lnTo>
                  <a:cubicBezTo>
                    <a:pt x="5581" y="11664"/>
                    <a:pt x="5595" y="11874"/>
                    <a:pt x="5605" y="12046"/>
                  </a:cubicBezTo>
                  <a:cubicBezTo>
                    <a:pt x="5612" y="12200"/>
                    <a:pt x="5623" y="12361"/>
                    <a:pt x="5483" y="12396"/>
                  </a:cubicBezTo>
                  <a:cubicBezTo>
                    <a:pt x="5423" y="12410"/>
                    <a:pt x="5350" y="12512"/>
                    <a:pt x="5276" y="12606"/>
                  </a:cubicBezTo>
                  <a:cubicBezTo>
                    <a:pt x="5154" y="12771"/>
                    <a:pt x="5017" y="12956"/>
                    <a:pt x="4807" y="12981"/>
                  </a:cubicBezTo>
                  <a:cubicBezTo>
                    <a:pt x="4527" y="13012"/>
                    <a:pt x="4013" y="13569"/>
                    <a:pt x="3932" y="13681"/>
                  </a:cubicBezTo>
                  <a:cubicBezTo>
                    <a:pt x="3905" y="13715"/>
                    <a:pt x="3862" y="13727"/>
                    <a:pt x="3803" y="13727"/>
                  </a:cubicBezTo>
                  <a:cubicBezTo>
                    <a:pt x="3746" y="13727"/>
                    <a:pt x="3675" y="13716"/>
                    <a:pt x="3589" y="13702"/>
                  </a:cubicBezTo>
                  <a:cubicBezTo>
                    <a:pt x="3493" y="13686"/>
                    <a:pt x="3379" y="13667"/>
                    <a:pt x="3284" y="13667"/>
                  </a:cubicBezTo>
                  <a:cubicBezTo>
                    <a:pt x="3189" y="13667"/>
                    <a:pt x="3113" y="13686"/>
                    <a:pt x="3092" y="13747"/>
                  </a:cubicBezTo>
                  <a:cubicBezTo>
                    <a:pt x="3039" y="13894"/>
                    <a:pt x="2913" y="14021"/>
                    <a:pt x="2812" y="14122"/>
                  </a:cubicBezTo>
                  <a:cubicBezTo>
                    <a:pt x="2763" y="14164"/>
                    <a:pt x="2721" y="14213"/>
                    <a:pt x="2682" y="14266"/>
                  </a:cubicBezTo>
                  <a:cubicBezTo>
                    <a:pt x="2745" y="14259"/>
                    <a:pt x="2920" y="14192"/>
                    <a:pt x="3074" y="14091"/>
                  </a:cubicBezTo>
                  <a:cubicBezTo>
                    <a:pt x="3186" y="14017"/>
                    <a:pt x="3218" y="13968"/>
                    <a:pt x="3221" y="13957"/>
                  </a:cubicBezTo>
                  <a:cubicBezTo>
                    <a:pt x="3225" y="13922"/>
                    <a:pt x="3242" y="13828"/>
                    <a:pt x="3319" y="13803"/>
                  </a:cubicBezTo>
                  <a:cubicBezTo>
                    <a:pt x="3330" y="13801"/>
                    <a:pt x="3340" y="13800"/>
                    <a:pt x="3350" y="13800"/>
                  </a:cubicBezTo>
                  <a:cubicBezTo>
                    <a:pt x="3418" y="13800"/>
                    <a:pt x="3480" y="13857"/>
                    <a:pt x="3526" y="13912"/>
                  </a:cubicBezTo>
                  <a:cubicBezTo>
                    <a:pt x="3536" y="13922"/>
                    <a:pt x="3552" y="13926"/>
                    <a:pt x="3569" y="13926"/>
                  </a:cubicBezTo>
                  <a:cubicBezTo>
                    <a:pt x="3605" y="13926"/>
                    <a:pt x="3649" y="13910"/>
                    <a:pt x="3673" y="13898"/>
                  </a:cubicBezTo>
                  <a:cubicBezTo>
                    <a:pt x="3750" y="13863"/>
                    <a:pt x="3820" y="13817"/>
                    <a:pt x="3883" y="13761"/>
                  </a:cubicBezTo>
                  <a:cubicBezTo>
                    <a:pt x="3955" y="13696"/>
                    <a:pt x="4049" y="13679"/>
                    <a:pt x="4138" y="13679"/>
                  </a:cubicBezTo>
                  <a:cubicBezTo>
                    <a:pt x="4195" y="13679"/>
                    <a:pt x="4251" y="13686"/>
                    <a:pt x="4296" y="13691"/>
                  </a:cubicBezTo>
                  <a:lnTo>
                    <a:pt x="4335" y="13695"/>
                  </a:lnTo>
                  <a:cubicBezTo>
                    <a:pt x="4337" y="13695"/>
                    <a:pt x="4339" y="13695"/>
                    <a:pt x="4341" y="13695"/>
                  </a:cubicBezTo>
                  <a:cubicBezTo>
                    <a:pt x="4361" y="13695"/>
                    <a:pt x="4384" y="13682"/>
                    <a:pt x="4422" y="13656"/>
                  </a:cubicBezTo>
                  <a:cubicBezTo>
                    <a:pt x="4534" y="13576"/>
                    <a:pt x="4664" y="13523"/>
                    <a:pt x="4800" y="13502"/>
                  </a:cubicBezTo>
                  <a:cubicBezTo>
                    <a:pt x="5007" y="13464"/>
                    <a:pt x="5017" y="13425"/>
                    <a:pt x="5042" y="13334"/>
                  </a:cubicBezTo>
                  <a:cubicBezTo>
                    <a:pt x="5049" y="13292"/>
                    <a:pt x="5063" y="13254"/>
                    <a:pt x="5080" y="13215"/>
                  </a:cubicBezTo>
                  <a:cubicBezTo>
                    <a:pt x="5168" y="13009"/>
                    <a:pt x="5994" y="12638"/>
                    <a:pt x="6120" y="12606"/>
                  </a:cubicBezTo>
                  <a:cubicBezTo>
                    <a:pt x="6148" y="12599"/>
                    <a:pt x="6159" y="12578"/>
                    <a:pt x="6176" y="12508"/>
                  </a:cubicBezTo>
                  <a:cubicBezTo>
                    <a:pt x="6190" y="12438"/>
                    <a:pt x="6218" y="12326"/>
                    <a:pt x="6351" y="12316"/>
                  </a:cubicBezTo>
                  <a:cubicBezTo>
                    <a:pt x="6495" y="12305"/>
                    <a:pt x="6761" y="12085"/>
                    <a:pt x="6918" y="11955"/>
                  </a:cubicBezTo>
                  <a:cubicBezTo>
                    <a:pt x="7069" y="11829"/>
                    <a:pt x="7149" y="11822"/>
                    <a:pt x="7226" y="11811"/>
                  </a:cubicBezTo>
                  <a:cubicBezTo>
                    <a:pt x="7268" y="11808"/>
                    <a:pt x="7310" y="11801"/>
                    <a:pt x="7349" y="11783"/>
                  </a:cubicBezTo>
                  <a:cubicBezTo>
                    <a:pt x="7387" y="11769"/>
                    <a:pt x="7394" y="11713"/>
                    <a:pt x="7405" y="11626"/>
                  </a:cubicBezTo>
                  <a:cubicBezTo>
                    <a:pt x="7412" y="11531"/>
                    <a:pt x="7426" y="11402"/>
                    <a:pt x="7555" y="11381"/>
                  </a:cubicBezTo>
                  <a:cubicBezTo>
                    <a:pt x="7685" y="11360"/>
                    <a:pt x="7779" y="11269"/>
                    <a:pt x="7779" y="11167"/>
                  </a:cubicBezTo>
                  <a:cubicBezTo>
                    <a:pt x="7765" y="11139"/>
                    <a:pt x="7639" y="11108"/>
                    <a:pt x="7580" y="11094"/>
                  </a:cubicBezTo>
                  <a:cubicBezTo>
                    <a:pt x="7464" y="11062"/>
                    <a:pt x="7377" y="11041"/>
                    <a:pt x="7349" y="10975"/>
                  </a:cubicBezTo>
                  <a:cubicBezTo>
                    <a:pt x="7328" y="10933"/>
                    <a:pt x="7342" y="10877"/>
                    <a:pt x="7391" y="10814"/>
                  </a:cubicBezTo>
                  <a:cubicBezTo>
                    <a:pt x="7476" y="10698"/>
                    <a:pt x="7712" y="10495"/>
                    <a:pt x="7853" y="10495"/>
                  </a:cubicBezTo>
                  <a:cubicBezTo>
                    <a:pt x="7857" y="10495"/>
                    <a:pt x="7860" y="10495"/>
                    <a:pt x="7863" y="10495"/>
                  </a:cubicBezTo>
                  <a:cubicBezTo>
                    <a:pt x="8010" y="10485"/>
                    <a:pt x="8133" y="10376"/>
                    <a:pt x="8154" y="10229"/>
                  </a:cubicBezTo>
                  <a:cubicBezTo>
                    <a:pt x="8165" y="10075"/>
                    <a:pt x="8273" y="9998"/>
                    <a:pt x="8375" y="9925"/>
                  </a:cubicBezTo>
                  <a:cubicBezTo>
                    <a:pt x="8434" y="9883"/>
                    <a:pt x="8487" y="9837"/>
                    <a:pt x="8536" y="9788"/>
                  </a:cubicBezTo>
                  <a:cubicBezTo>
                    <a:pt x="8585" y="9735"/>
                    <a:pt x="8623" y="9676"/>
                    <a:pt x="8651" y="9613"/>
                  </a:cubicBezTo>
                  <a:cubicBezTo>
                    <a:pt x="8690" y="9532"/>
                    <a:pt x="8728" y="9448"/>
                    <a:pt x="8858" y="9438"/>
                  </a:cubicBezTo>
                  <a:cubicBezTo>
                    <a:pt x="8931" y="9431"/>
                    <a:pt x="9015" y="9357"/>
                    <a:pt x="9099" y="9280"/>
                  </a:cubicBezTo>
                  <a:cubicBezTo>
                    <a:pt x="9162" y="9217"/>
                    <a:pt x="9232" y="9165"/>
                    <a:pt x="9306" y="9119"/>
                  </a:cubicBezTo>
                  <a:cubicBezTo>
                    <a:pt x="9332" y="9098"/>
                    <a:pt x="9364" y="9087"/>
                    <a:pt x="9397" y="9087"/>
                  </a:cubicBezTo>
                  <a:cubicBezTo>
                    <a:pt x="9409" y="9087"/>
                    <a:pt x="9420" y="9089"/>
                    <a:pt x="9432" y="9091"/>
                  </a:cubicBezTo>
                  <a:cubicBezTo>
                    <a:pt x="9463" y="9102"/>
                    <a:pt x="9488" y="9130"/>
                    <a:pt x="9498" y="9161"/>
                  </a:cubicBezTo>
                  <a:cubicBezTo>
                    <a:pt x="9512" y="9196"/>
                    <a:pt x="9530" y="9238"/>
                    <a:pt x="9666" y="9245"/>
                  </a:cubicBezTo>
                  <a:cubicBezTo>
                    <a:pt x="9806" y="9249"/>
                    <a:pt x="9908" y="9305"/>
                    <a:pt x="9939" y="9392"/>
                  </a:cubicBezTo>
                  <a:cubicBezTo>
                    <a:pt x="9964" y="9448"/>
                    <a:pt x="9950" y="9515"/>
                    <a:pt x="9904" y="9557"/>
                  </a:cubicBezTo>
                  <a:cubicBezTo>
                    <a:pt x="9871" y="9588"/>
                    <a:pt x="9827" y="9604"/>
                    <a:pt x="9776" y="9604"/>
                  </a:cubicBezTo>
                  <a:cubicBezTo>
                    <a:pt x="9737" y="9604"/>
                    <a:pt x="9694" y="9594"/>
                    <a:pt x="9649" y="9574"/>
                  </a:cubicBezTo>
                  <a:cubicBezTo>
                    <a:pt x="9561" y="9535"/>
                    <a:pt x="9495" y="9513"/>
                    <a:pt x="9435" y="9513"/>
                  </a:cubicBezTo>
                  <a:cubicBezTo>
                    <a:pt x="9348" y="9513"/>
                    <a:pt x="9271" y="9559"/>
                    <a:pt x="9152" y="9672"/>
                  </a:cubicBezTo>
                  <a:cubicBezTo>
                    <a:pt x="9054" y="9767"/>
                    <a:pt x="9050" y="9816"/>
                    <a:pt x="9043" y="9886"/>
                  </a:cubicBezTo>
                  <a:cubicBezTo>
                    <a:pt x="9040" y="9984"/>
                    <a:pt x="9005" y="10082"/>
                    <a:pt x="8942" y="10163"/>
                  </a:cubicBezTo>
                  <a:cubicBezTo>
                    <a:pt x="8812" y="10338"/>
                    <a:pt x="8823" y="10401"/>
                    <a:pt x="8830" y="10415"/>
                  </a:cubicBezTo>
                  <a:cubicBezTo>
                    <a:pt x="8844" y="10443"/>
                    <a:pt x="8900" y="10453"/>
                    <a:pt x="8931" y="10457"/>
                  </a:cubicBezTo>
                  <a:cubicBezTo>
                    <a:pt x="9050" y="10471"/>
                    <a:pt x="9082" y="10523"/>
                    <a:pt x="9085" y="10565"/>
                  </a:cubicBezTo>
                  <a:cubicBezTo>
                    <a:pt x="9096" y="10698"/>
                    <a:pt x="8847" y="10800"/>
                    <a:pt x="8749" y="10828"/>
                  </a:cubicBezTo>
                  <a:cubicBezTo>
                    <a:pt x="8739" y="10831"/>
                    <a:pt x="8728" y="10835"/>
                    <a:pt x="8718" y="10842"/>
                  </a:cubicBezTo>
                  <a:cubicBezTo>
                    <a:pt x="8784" y="10870"/>
                    <a:pt x="8856" y="10884"/>
                    <a:pt x="8925" y="10884"/>
                  </a:cubicBezTo>
                  <a:cubicBezTo>
                    <a:pt x="8933" y="10884"/>
                    <a:pt x="8941" y="10884"/>
                    <a:pt x="8949" y="10884"/>
                  </a:cubicBezTo>
                  <a:cubicBezTo>
                    <a:pt x="9103" y="10884"/>
                    <a:pt x="9320" y="10737"/>
                    <a:pt x="9547" y="10579"/>
                  </a:cubicBezTo>
                  <a:cubicBezTo>
                    <a:pt x="9691" y="10474"/>
                    <a:pt x="9845" y="10380"/>
                    <a:pt x="9999" y="10296"/>
                  </a:cubicBezTo>
                  <a:cubicBezTo>
                    <a:pt x="10144" y="10223"/>
                    <a:pt x="10275" y="10201"/>
                    <a:pt x="10390" y="10201"/>
                  </a:cubicBezTo>
                  <a:cubicBezTo>
                    <a:pt x="10502" y="10201"/>
                    <a:pt x="10598" y="10222"/>
                    <a:pt x="10675" y="10240"/>
                  </a:cubicBezTo>
                  <a:cubicBezTo>
                    <a:pt x="10710" y="10247"/>
                    <a:pt x="10741" y="10254"/>
                    <a:pt x="10776" y="10257"/>
                  </a:cubicBezTo>
                  <a:cubicBezTo>
                    <a:pt x="10769" y="10247"/>
                    <a:pt x="10766" y="10236"/>
                    <a:pt x="10762" y="10226"/>
                  </a:cubicBezTo>
                  <a:cubicBezTo>
                    <a:pt x="10738" y="10177"/>
                    <a:pt x="10706" y="10114"/>
                    <a:pt x="10731" y="10054"/>
                  </a:cubicBezTo>
                  <a:cubicBezTo>
                    <a:pt x="10738" y="10033"/>
                    <a:pt x="10748" y="10016"/>
                    <a:pt x="10766" y="10002"/>
                  </a:cubicBezTo>
                  <a:lnTo>
                    <a:pt x="10759" y="9998"/>
                  </a:lnTo>
                  <a:cubicBezTo>
                    <a:pt x="10685" y="9949"/>
                    <a:pt x="10577" y="9872"/>
                    <a:pt x="10524" y="9735"/>
                  </a:cubicBezTo>
                  <a:cubicBezTo>
                    <a:pt x="10500" y="9658"/>
                    <a:pt x="10496" y="9609"/>
                    <a:pt x="10517" y="9567"/>
                  </a:cubicBezTo>
                  <a:cubicBezTo>
                    <a:pt x="10542" y="9525"/>
                    <a:pt x="10580" y="9501"/>
                    <a:pt x="10626" y="9494"/>
                  </a:cubicBezTo>
                  <a:cubicBezTo>
                    <a:pt x="10675" y="9480"/>
                    <a:pt x="10696" y="9473"/>
                    <a:pt x="10706" y="9427"/>
                  </a:cubicBezTo>
                  <a:cubicBezTo>
                    <a:pt x="10717" y="9361"/>
                    <a:pt x="10762" y="9305"/>
                    <a:pt x="10825" y="9277"/>
                  </a:cubicBezTo>
                  <a:cubicBezTo>
                    <a:pt x="10843" y="9270"/>
                    <a:pt x="10862" y="9267"/>
                    <a:pt x="10880" y="9267"/>
                  </a:cubicBezTo>
                  <a:cubicBezTo>
                    <a:pt x="10954" y="9267"/>
                    <a:pt x="11034" y="9315"/>
                    <a:pt x="11109" y="9368"/>
                  </a:cubicBezTo>
                  <a:cubicBezTo>
                    <a:pt x="11125" y="9378"/>
                    <a:pt x="11143" y="9381"/>
                    <a:pt x="11166" y="9381"/>
                  </a:cubicBezTo>
                  <a:cubicBezTo>
                    <a:pt x="11183" y="9381"/>
                    <a:pt x="11201" y="9380"/>
                    <a:pt x="11224" y="9378"/>
                  </a:cubicBezTo>
                  <a:cubicBezTo>
                    <a:pt x="11245" y="9376"/>
                    <a:pt x="11268" y="9373"/>
                    <a:pt x="11292" y="9373"/>
                  </a:cubicBezTo>
                  <a:cubicBezTo>
                    <a:pt x="11371" y="9373"/>
                    <a:pt x="11465" y="9400"/>
                    <a:pt x="11532" y="9539"/>
                  </a:cubicBezTo>
                  <a:cubicBezTo>
                    <a:pt x="11551" y="9579"/>
                    <a:pt x="11561" y="9594"/>
                    <a:pt x="11582" y="9594"/>
                  </a:cubicBezTo>
                  <a:cubicBezTo>
                    <a:pt x="11595" y="9594"/>
                    <a:pt x="11613" y="9588"/>
                    <a:pt x="11641" y="9578"/>
                  </a:cubicBezTo>
                  <a:cubicBezTo>
                    <a:pt x="11675" y="9566"/>
                    <a:pt x="11719" y="9549"/>
                    <a:pt x="11771" y="9549"/>
                  </a:cubicBezTo>
                  <a:cubicBezTo>
                    <a:pt x="11821" y="9549"/>
                    <a:pt x="11878" y="9565"/>
                    <a:pt x="11938" y="9613"/>
                  </a:cubicBezTo>
                  <a:cubicBezTo>
                    <a:pt x="11994" y="9658"/>
                    <a:pt x="12050" y="9714"/>
                    <a:pt x="12033" y="9781"/>
                  </a:cubicBezTo>
                  <a:cubicBezTo>
                    <a:pt x="12029" y="9798"/>
                    <a:pt x="12022" y="9812"/>
                    <a:pt x="12008" y="9823"/>
                  </a:cubicBezTo>
                  <a:cubicBezTo>
                    <a:pt x="12078" y="9827"/>
                    <a:pt x="12145" y="9858"/>
                    <a:pt x="12197" y="9907"/>
                  </a:cubicBezTo>
                  <a:cubicBezTo>
                    <a:pt x="12240" y="9946"/>
                    <a:pt x="12266" y="9966"/>
                    <a:pt x="12293" y="9966"/>
                  </a:cubicBezTo>
                  <a:cubicBezTo>
                    <a:pt x="12328" y="9966"/>
                    <a:pt x="12362" y="9931"/>
                    <a:pt x="12432" y="9862"/>
                  </a:cubicBezTo>
                  <a:cubicBezTo>
                    <a:pt x="12452" y="9841"/>
                    <a:pt x="12499" y="9795"/>
                    <a:pt x="12555" y="9795"/>
                  </a:cubicBezTo>
                  <a:cubicBezTo>
                    <a:pt x="12568" y="9795"/>
                    <a:pt x="12580" y="9797"/>
                    <a:pt x="12593" y="9802"/>
                  </a:cubicBezTo>
                  <a:cubicBezTo>
                    <a:pt x="12663" y="9830"/>
                    <a:pt x="12667" y="9928"/>
                    <a:pt x="12667" y="10012"/>
                  </a:cubicBezTo>
                  <a:cubicBezTo>
                    <a:pt x="12702" y="10058"/>
                    <a:pt x="12961" y="10100"/>
                    <a:pt x="13167" y="10135"/>
                  </a:cubicBezTo>
                  <a:lnTo>
                    <a:pt x="13230" y="10145"/>
                  </a:lnTo>
                  <a:cubicBezTo>
                    <a:pt x="13320" y="10160"/>
                    <a:pt x="13429" y="10166"/>
                    <a:pt x="13544" y="10166"/>
                  </a:cubicBezTo>
                  <a:cubicBezTo>
                    <a:pt x="13801" y="10166"/>
                    <a:pt x="14088" y="10137"/>
                    <a:pt x="14266" y="10121"/>
                  </a:cubicBezTo>
                  <a:cubicBezTo>
                    <a:pt x="14326" y="10117"/>
                    <a:pt x="14372" y="10114"/>
                    <a:pt x="14403" y="10110"/>
                  </a:cubicBezTo>
                  <a:cubicBezTo>
                    <a:pt x="14408" y="10110"/>
                    <a:pt x="14413" y="10110"/>
                    <a:pt x="14418" y="10110"/>
                  </a:cubicBezTo>
                  <a:cubicBezTo>
                    <a:pt x="14516" y="10110"/>
                    <a:pt x="14563" y="10176"/>
                    <a:pt x="14606" y="10236"/>
                  </a:cubicBezTo>
                  <a:cubicBezTo>
                    <a:pt x="14669" y="10348"/>
                    <a:pt x="14778" y="10422"/>
                    <a:pt x="14904" y="10439"/>
                  </a:cubicBezTo>
                  <a:cubicBezTo>
                    <a:pt x="14928" y="10444"/>
                    <a:pt x="14950" y="10446"/>
                    <a:pt x="14972" y="10446"/>
                  </a:cubicBezTo>
                  <a:cubicBezTo>
                    <a:pt x="15100" y="10446"/>
                    <a:pt x="15183" y="10371"/>
                    <a:pt x="15264" y="10299"/>
                  </a:cubicBezTo>
                  <a:cubicBezTo>
                    <a:pt x="15330" y="10243"/>
                    <a:pt x="15399" y="10183"/>
                    <a:pt x="15478" y="10183"/>
                  </a:cubicBezTo>
                  <a:cubicBezTo>
                    <a:pt x="15516" y="10183"/>
                    <a:pt x="15557" y="10197"/>
                    <a:pt x="15600" y="10233"/>
                  </a:cubicBezTo>
                  <a:cubicBezTo>
                    <a:pt x="15646" y="10271"/>
                    <a:pt x="15709" y="10331"/>
                    <a:pt x="15709" y="10408"/>
                  </a:cubicBezTo>
                  <a:cubicBezTo>
                    <a:pt x="15709" y="10485"/>
                    <a:pt x="15642" y="10544"/>
                    <a:pt x="15576" y="10597"/>
                  </a:cubicBezTo>
                  <a:cubicBezTo>
                    <a:pt x="15548" y="10618"/>
                    <a:pt x="15523" y="10642"/>
                    <a:pt x="15499" y="10667"/>
                  </a:cubicBezTo>
                  <a:lnTo>
                    <a:pt x="15492" y="10674"/>
                  </a:lnTo>
                  <a:cubicBezTo>
                    <a:pt x="15530" y="10691"/>
                    <a:pt x="15569" y="10705"/>
                    <a:pt x="15611" y="10716"/>
                  </a:cubicBezTo>
                  <a:cubicBezTo>
                    <a:pt x="15653" y="10726"/>
                    <a:pt x="15698" y="10740"/>
                    <a:pt x="15740" y="10758"/>
                  </a:cubicBezTo>
                  <a:cubicBezTo>
                    <a:pt x="15772" y="10772"/>
                    <a:pt x="15810" y="10786"/>
                    <a:pt x="15856" y="10803"/>
                  </a:cubicBezTo>
                  <a:cubicBezTo>
                    <a:pt x="16031" y="10866"/>
                    <a:pt x="16269" y="10954"/>
                    <a:pt x="16405" y="11087"/>
                  </a:cubicBezTo>
                  <a:cubicBezTo>
                    <a:pt x="16441" y="11122"/>
                    <a:pt x="16472" y="11157"/>
                    <a:pt x="16500" y="11192"/>
                  </a:cubicBezTo>
                  <a:cubicBezTo>
                    <a:pt x="16647" y="11363"/>
                    <a:pt x="16826" y="11503"/>
                    <a:pt x="17032" y="11598"/>
                  </a:cubicBezTo>
                  <a:cubicBezTo>
                    <a:pt x="17080" y="11623"/>
                    <a:pt x="17104" y="11627"/>
                    <a:pt x="17114" y="11627"/>
                  </a:cubicBezTo>
                  <a:cubicBezTo>
                    <a:pt x="17118" y="11627"/>
                    <a:pt x="17120" y="11626"/>
                    <a:pt x="17120" y="11626"/>
                  </a:cubicBezTo>
                  <a:cubicBezTo>
                    <a:pt x="17130" y="11584"/>
                    <a:pt x="17130" y="11538"/>
                    <a:pt x="17123" y="11493"/>
                  </a:cubicBezTo>
                  <a:cubicBezTo>
                    <a:pt x="17116" y="11405"/>
                    <a:pt x="17113" y="11328"/>
                    <a:pt x="17176" y="11290"/>
                  </a:cubicBezTo>
                  <a:cubicBezTo>
                    <a:pt x="17193" y="11281"/>
                    <a:pt x="17210" y="11277"/>
                    <a:pt x="17227" y="11277"/>
                  </a:cubicBezTo>
                  <a:cubicBezTo>
                    <a:pt x="17273" y="11277"/>
                    <a:pt x="17316" y="11307"/>
                    <a:pt x="17354" y="11335"/>
                  </a:cubicBezTo>
                  <a:cubicBezTo>
                    <a:pt x="17491" y="11433"/>
                    <a:pt x="17529" y="11437"/>
                    <a:pt x="17561" y="11437"/>
                  </a:cubicBezTo>
                  <a:cubicBezTo>
                    <a:pt x="17624" y="11444"/>
                    <a:pt x="17669" y="11454"/>
                    <a:pt x="17799" y="11570"/>
                  </a:cubicBezTo>
                  <a:cubicBezTo>
                    <a:pt x="17813" y="11584"/>
                    <a:pt x="17827" y="11594"/>
                    <a:pt x="17844" y="11608"/>
                  </a:cubicBezTo>
                  <a:cubicBezTo>
                    <a:pt x="17841" y="11510"/>
                    <a:pt x="17771" y="11283"/>
                    <a:pt x="17739" y="11178"/>
                  </a:cubicBezTo>
                  <a:cubicBezTo>
                    <a:pt x="17708" y="11069"/>
                    <a:pt x="17680" y="10947"/>
                    <a:pt x="17760" y="10912"/>
                  </a:cubicBezTo>
                  <a:cubicBezTo>
                    <a:pt x="17771" y="10906"/>
                    <a:pt x="17783" y="10904"/>
                    <a:pt x="17795" y="10904"/>
                  </a:cubicBezTo>
                  <a:cubicBezTo>
                    <a:pt x="17885" y="10904"/>
                    <a:pt x="17995" y="11044"/>
                    <a:pt x="18075" y="11171"/>
                  </a:cubicBezTo>
                  <a:cubicBezTo>
                    <a:pt x="18198" y="11363"/>
                    <a:pt x="18194" y="11713"/>
                    <a:pt x="18121" y="11941"/>
                  </a:cubicBezTo>
                  <a:cubicBezTo>
                    <a:pt x="18086" y="12037"/>
                    <a:pt x="18006" y="12089"/>
                    <a:pt x="17905" y="12089"/>
                  </a:cubicBezTo>
                  <a:cubicBezTo>
                    <a:pt x="17874" y="12089"/>
                    <a:pt x="17840" y="12084"/>
                    <a:pt x="17806" y="12074"/>
                  </a:cubicBezTo>
                  <a:cubicBezTo>
                    <a:pt x="17683" y="12036"/>
                    <a:pt x="17575" y="11941"/>
                    <a:pt x="17589" y="11839"/>
                  </a:cubicBezTo>
                  <a:cubicBezTo>
                    <a:pt x="17577" y="11838"/>
                    <a:pt x="17565" y="11837"/>
                    <a:pt x="17553" y="11837"/>
                  </a:cubicBezTo>
                  <a:cubicBezTo>
                    <a:pt x="17506" y="11837"/>
                    <a:pt x="17459" y="11849"/>
                    <a:pt x="17414" y="11871"/>
                  </a:cubicBezTo>
                  <a:cubicBezTo>
                    <a:pt x="17396" y="11881"/>
                    <a:pt x="17351" y="11906"/>
                    <a:pt x="17347" y="11941"/>
                  </a:cubicBezTo>
                  <a:cubicBezTo>
                    <a:pt x="17340" y="12071"/>
                    <a:pt x="17578" y="12375"/>
                    <a:pt x="17743" y="12403"/>
                  </a:cubicBezTo>
                  <a:cubicBezTo>
                    <a:pt x="17907" y="12435"/>
                    <a:pt x="17907" y="12592"/>
                    <a:pt x="17907" y="12687"/>
                  </a:cubicBezTo>
                  <a:cubicBezTo>
                    <a:pt x="17907" y="12718"/>
                    <a:pt x="17911" y="12753"/>
                    <a:pt x="17918" y="12785"/>
                  </a:cubicBezTo>
                  <a:cubicBezTo>
                    <a:pt x="18037" y="12820"/>
                    <a:pt x="18086" y="12942"/>
                    <a:pt x="18117" y="13030"/>
                  </a:cubicBezTo>
                  <a:cubicBezTo>
                    <a:pt x="18124" y="13044"/>
                    <a:pt x="18131" y="13061"/>
                    <a:pt x="18138" y="13075"/>
                  </a:cubicBezTo>
                  <a:cubicBezTo>
                    <a:pt x="18159" y="12988"/>
                    <a:pt x="18138" y="12739"/>
                    <a:pt x="18051" y="12603"/>
                  </a:cubicBezTo>
                  <a:cubicBezTo>
                    <a:pt x="17963" y="12463"/>
                    <a:pt x="17956" y="12288"/>
                    <a:pt x="18030" y="12190"/>
                  </a:cubicBezTo>
                  <a:cubicBezTo>
                    <a:pt x="18060" y="12152"/>
                    <a:pt x="18106" y="12129"/>
                    <a:pt x="18154" y="12129"/>
                  </a:cubicBezTo>
                  <a:cubicBezTo>
                    <a:pt x="18173" y="12129"/>
                    <a:pt x="18193" y="12133"/>
                    <a:pt x="18212" y="12141"/>
                  </a:cubicBezTo>
                  <a:cubicBezTo>
                    <a:pt x="18345" y="12183"/>
                    <a:pt x="18327" y="12330"/>
                    <a:pt x="18313" y="12424"/>
                  </a:cubicBezTo>
                  <a:cubicBezTo>
                    <a:pt x="18306" y="12463"/>
                    <a:pt x="18306" y="12505"/>
                    <a:pt x="18310" y="12543"/>
                  </a:cubicBezTo>
                  <a:cubicBezTo>
                    <a:pt x="18338" y="12526"/>
                    <a:pt x="18362" y="12505"/>
                    <a:pt x="18383" y="12484"/>
                  </a:cubicBezTo>
                  <a:cubicBezTo>
                    <a:pt x="18436" y="12431"/>
                    <a:pt x="18495" y="12389"/>
                    <a:pt x="18559" y="12351"/>
                  </a:cubicBezTo>
                  <a:cubicBezTo>
                    <a:pt x="18601" y="12326"/>
                    <a:pt x="18594" y="12274"/>
                    <a:pt x="18548" y="12141"/>
                  </a:cubicBezTo>
                  <a:cubicBezTo>
                    <a:pt x="18517" y="12046"/>
                    <a:pt x="18481" y="11945"/>
                    <a:pt x="18517" y="11860"/>
                  </a:cubicBezTo>
                  <a:cubicBezTo>
                    <a:pt x="18533" y="11814"/>
                    <a:pt x="18575" y="11780"/>
                    <a:pt x="18625" y="11780"/>
                  </a:cubicBezTo>
                  <a:cubicBezTo>
                    <a:pt x="18627" y="11780"/>
                    <a:pt x="18630" y="11780"/>
                    <a:pt x="18632" y="11780"/>
                  </a:cubicBezTo>
                  <a:cubicBezTo>
                    <a:pt x="18772" y="11787"/>
                    <a:pt x="18916" y="12060"/>
                    <a:pt x="18968" y="12246"/>
                  </a:cubicBezTo>
                  <a:cubicBezTo>
                    <a:pt x="19024" y="12442"/>
                    <a:pt x="18916" y="12522"/>
                    <a:pt x="18846" y="12575"/>
                  </a:cubicBezTo>
                  <a:cubicBezTo>
                    <a:pt x="18807" y="12606"/>
                    <a:pt x="18790" y="12620"/>
                    <a:pt x="18790" y="12638"/>
                  </a:cubicBezTo>
                  <a:cubicBezTo>
                    <a:pt x="18790" y="12774"/>
                    <a:pt x="18653" y="12795"/>
                    <a:pt x="18569" y="12806"/>
                  </a:cubicBezTo>
                  <a:cubicBezTo>
                    <a:pt x="18534" y="12806"/>
                    <a:pt x="18499" y="12816"/>
                    <a:pt x="18467" y="12830"/>
                  </a:cubicBezTo>
                  <a:cubicBezTo>
                    <a:pt x="18429" y="12883"/>
                    <a:pt x="18450" y="13177"/>
                    <a:pt x="18488" y="13268"/>
                  </a:cubicBezTo>
                  <a:cubicBezTo>
                    <a:pt x="18506" y="13240"/>
                    <a:pt x="18520" y="13212"/>
                    <a:pt x="18534" y="13180"/>
                  </a:cubicBezTo>
                  <a:cubicBezTo>
                    <a:pt x="18568" y="13102"/>
                    <a:pt x="18596" y="13037"/>
                    <a:pt x="18662" y="13037"/>
                  </a:cubicBezTo>
                  <a:cubicBezTo>
                    <a:pt x="18664" y="13037"/>
                    <a:pt x="18665" y="13037"/>
                    <a:pt x="18667" y="13037"/>
                  </a:cubicBezTo>
                  <a:cubicBezTo>
                    <a:pt x="18737" y="13040"/>
                    <a:pt x="18751" y="13110"/>
                    <a:pt x="18762" y="13138"/>
                  </a:cubicBezTo>
                  <a:cubicBezTo>
                    <a:pt x="18786" y="13121"/>
                    <a:pt x="18811" y="13100"/>
                    <a:pt x="18832" y="13079"/>
                  </a:cubicBezTo>
                  <a:cubicBezTo>
                    <a:pt x="18890" y="13024"/>
                    <a:pt x="18945" y="12974"/>
                    <a:pt x="19005" y="12974"/>
                  </a:cubicBezTo>
                  <a:cubicBezTo>
                    <a:pt x="19014" y="12974"/>
                    <a:pt x="19022" y="12975"/>
                    <a:pt x="19031" y="12977"/>
                  </a:cubicBezTo>
                  <a:cubicBezTo>
                    <a:pt x="19070" y="12988"/>
                    <a:pt x="19101" y="13019"/>
                    <a:pt x="19112" y="13061"/>
                  </a:cubicBezTo>
                  <a:lnTo>
                    <a:pt x="19112" y="13047"/>
                  </a:lnTo>
                  <a:cubicBezTo>
                    <a:pt x="19112" y="12942"/>
                    <a:pt x="19178" y="12827"/>
                    <a:pt x="19301" y="12816"/>
                  </a:cubicBezTo>
                  <a:cubicBezTo>
                    <a:pt x="19306" y="12816"/>
                    <a:pt x="19311" y="12815"/>
                    <a:pt x="19316" y="12815"/>
                  </a:cubicBezTo>
                  <a:cubicBezTo>
                    <a:pt x="19382" y="12815"/>
                    <a:pt x="19454" y="12857"/>
                    <a:pt x="19535" y="12939"/>
                  </a:cubicBezTo>
                  <a:cubicBezTo>
                    <a:pt x="19665" y="13072"/>
                    <a:pt x="19805" y="13306"/>
                    <a:pt x="19798" y="13432"/>
                  </a:cubicBezTo>
                  <a:cubicBezTo>
                    <a:pt x="19787" y="13558"/>
                    <a:pt x="19714" y="13597"/>
                    <a:pt x="19640" y="13642"/>
                  </a:cubicBezTo>
                  <a:cubicBezTo>
                    <a:pt x="19591" y="13670"/>
                    <a:pt x="19542" y="13709"/>
                    <a:pt x="19500" y="13751"/>
                  </a:cubicBezTo>
                  <a:cubicBezTo>
                    <a:pt x="19472" y="13782"/>
                    <a:pt x="19434" y="13803"/>
                    <a:pt x="19392" y="13807"/>
                  </a:cubicBezTo>
                  <a:lnTo>
                    <a:pt x="19385" y="13807"/>
                  </a:lnTo>
                  <a:cubicBezTo>
                    <a:pt x="19297" y="13807"/>
                    <a:pt x="19227" y="13733"/>
                    <a:pt x="19150" y="13660"/>
                  </a:cubicBezTo>
                  <a:cubicBezTo>
                    <a:pt x="19099" y="13609"/>
                    <a:pt x="19028" y="13541"/>
                    <a:pt x="18988" y="13541"/>
                  </a:cubicBezTo>
                  <a:cubicBezTo>
                    <a:pt x="18987" y="13541"/>
                    <a:pt x="18987" y="13541"/>
                    <a:pt x="18986" y="13541"/>
                  </a:cubicBezTo>
                  <a:lnTo>
                    <a:pt x="18979" y="13541"/>
                  </a:lnTo>
                  <a:cubicBezTo>
                    <a:pt x="18972" y="13579"/>
                    <a:pt x="19031" y="13702"/>
                    <a:pt x="19063" y="13765"/>
                  </a:cubicBezTo>
                  <a:cubicBezTo>
                    <a:pt x="19080" y="13803"/>
                    <a:pt x="19098" y="13838"/>
                    <a:pt x="19112" y="13873"/>
                  </a:cubicBezTo>
                  <a:cubicBezTo>
                    <a:pt x="19154" y="13968"/>
                    <a:pt x="19119" y="14070"/>
                    <a:pt x="19087" y="14157"/>
                  </a:cubicBezTo>
                  <a:cubicBezTo>
                    <a:pt x="19042" y="14283"/>
                    <a:pt x="19031" y="14332"/>
                    <a:pt x="19101" y="14378"/>
                  </a:cubicBezTo>
                  <a:cubicBezTo>
                    <a:pt x="19119" y="14392"/>
                    <a:pt x="19136" y="14402"/>
                    <a:pt x="19157" y="14409"/>
                  </a:cubicBezTo>
                  <a:cubicBezTo>
                    <a:pt x="19161" y="14385"/>
                    <a:pt x="19164" y="14364"/>
                    <a:pt x="19168" y="14339"/>
                  </a:cubicBezTo>
                  <a:cubicBezTo>
                    <a:pt x="19168" y="14301"/>
                    <a:pt x="19175" y="14266"/>
                    <a:pt x="19185" y="14227"/>
                  </a:cubicBezTo>
                  <a:cubicBezTo>
                    <a:pt x="19199" y="14192"/>
                    <a:pt x="19227" y="14164"/>
                    <a:pt x="19262" y="14154"/>
                  </a:cubicBezTo>
                  <a:cubicBezTo>
                    <a:pt x="19273" y="14151"/>
                    <a:pt x="19284" y="14150"/>
                    <a:pt x="19296" y="14150"/>
                  </a:cubicBezTo>
                  <a:cubicBezTo>
                    <a:pt x="19375" y="14150"/>
                    <a:pt x="19467" y="14211"/>
                    <a:pt x="19574" y="14297"/>
                  </a:cubicBezTo>
                  <a:cubicBezTo>
                    <a:pt x="19598" y="14220"/>
                    <a:pt x="19609" y="14140"/>
                    <a:pt x="19605" y="14059"/>
                  </a:cubicBezTo>
                  <a:cubicBezTo>
                    <a:pt x="19602" y="14003"/>
                    <a:pt x="19637" y="13957"/>
                    <a:pt x="19686" y="13943"/>
                  </a:cubicBezTo>
                  <a:cubicBezTo>
                    <a:pt x="19698" y="13939"/>
                    <a:pt x="19712" y="13938"/>
                    <a:pt x="19726" y="13938"/>
                  </a:cubicBezTo>
                  <a:cubicBezTo>
                    <a:pt x="19812" y="13938"/>
                    <a:pt x="19925" y="14006"/>
                    <a:pt x="19997" y="14108"/>
                  </a:cubicBezTo>
                  <a:lnTo>
                    <a:pt x="20008" y="14094"/>
                  </a:lnTo>
                  <a:cubicBezTo>
                    <a:pt x="20040" y="14040"/>
                    <a:pt x="20091" y="13955"/>
                    <a:pt x="20184" y="13955"/>
                  </a:cubicBezTo>
                  <a:cubicBezTo>
                    <a:pt x="20194" y="13955"/>
                    <a:pt x="20204" y="13956"/>
                    <a:pt x="20214" y="13957"/>
                  </a:cubicBezTo>
                  <a:cubicBezTo>
                    <a:pt x="20291" y="13968"/>
                    <a:pt x="20344" y="14031"/>
                    <a:pt x="20347" y="14108"/>
                  </a:cubicBezTo>
                  <a:cubicBezTo>
                    <a:pt x="20351" y="14168"/>
                    <a:pt x="20344" y="14231"/>
                    <a:pt x="20330" y="14294"/>
                  </a:cubicBezTo>
                  <a:cubicBezTo>
                    <a:pt x="20326" y="14322"/>
                    <a:pt x="20323" y="14350"/>
                    <a:pt x="20319" y="14374"/>
                  </a:cubicBezTo>
                  <a:lnTo>
                    <a:pt x="20351" y="14364"/>
                  </a:lnTo>
                  <a:cubicBezTo>
                    <a:pt x="20387" y="14348"/>
                    <a:pt x="20424" y="14332"/>
                    <a:pt x="20459" y="14332"/>
                  </a:cubicBezTo>
                  <a:cubicBezTo>
                    <a:pt x="20479" y="14332"/>
                    <a:pt x="20498" y="14337"/>
                    <a:pt x="20515" y="14350"/>
                  </a:cubicBezTo>
                  <a:cubicBezTo>
                    <a:pt x="20526" y="14360"/>
                    <a:pt x="20533" y="14371"/>
                    <a:pt x="20540" y="14385"/>
                  </a:cubicBezTo>
                  <a:lnTo>
                    <a:pt x="20603" y="14339"/>
                  </a:lnTo>
                  <a:lnTo>
                    <a:pt x="20621" y="14329"/>
                  </a:lnTo>
                  <a:lnTo>
                    <a:pt x="20677" y="14290"/>
                  </a:lnTo>
                  <a:lnTo>
                    <a:pt x="20694" y="14276"/>
                  </a:lnTo>
                  <a:lnTo>
                    <a:pt x="20743" y="14241"/>
                  </a:lnTo>
                  <a:lnTo>
                    <a:pt x="20761" y="14231"/>
                  </a:lnTo>
                  <a:lnTo>
                    <a:pt x="20817" y="14192"/>
                  </a:lnTo>
                  <a:cubicBezTo>
                    <a:pt x="20848" y="14171"/>
                    <a:pt x="20869" y="14147"/>
                    <a:pt x="20869" y="14136"/>
                  </a:cubicBezTo>
                  <a:cubicBezTo>
                    <a:pt x="20873" y="14112"/>
                    <a:pt x="20827" y="14066"/>
                    <a:pt x="20792" y="14028"/>
                  </a:cubicBezTo>
                  <a:lnTo>
                    <a:pt x="20782" y="14014"/>
                  </a:lnTo>
                  <a:cubicBezTo>
                    <a:pt x="20750" y="13982"/>
                    <a:pt x="20726" y="13950"/>
                    <a:pt x="20701" y="13915"/>
                  </a:cubicBezTo>
                  <a:cubicBezTo>
                    <a:pt x="20663" y="13859"/>
                    <a:pt x="20656" y="13786"/>
                    <a:pt x="20680" y="13723"/>
                  </a:cubicBezTo>
                  <a:cubicBezTo>
                    <a:pt x="20726" y="13604"/>
                    <a:pt x="20761" y="13516"/>
                    <a:pt x="20557" y="13394"/>
                  </a:cubicBezTo>
                  <a:cubicBezTo>
                    <a:pt x="20540" y="13380"/>
                    <a:pt x="20522" y="13369"/>
                    <a:pt x="20498" y="13359"/>
                  </a:cubicBezTo>
                  <a:cubicBezTo>
                    <a:pt x="20403" y="13310"/>
                    <a:pt x="20302" y="13264"/>
                    <a:pt x="20200" y="13226"/>
                  </a:cubicBezTo>
                  <a:cubicBezTo>
                    <a:pt x="19703" y="13030"/>
                    <a:pt x="19626" y="12876"/>
                    <a:pt x="19423" y="12473"/>
                  </a:cubicBezTo>
                  <a:cubicBezTo>
                    <a:pt x="19364" y="12358"/>
                    <a:pt x="19290" y="12218"/>
                    <a:pt x="19196" y="12046"/>
                  </a:cubicBezTo>
                  <a:cubicBezTo>
                    <a:pt x="18975" y="11654"/>
                    <a:pt x="18657" y="11384"/>
                    <a:pt x="18404" y="11167"/>
                  </a:cubicBezTo>
                  <a:cubicBezTo>
                    <a:pt x="18173" y="10971"/>
                    <a:pt x="18009" y="10828"/>
                    <a:pt x="18009" y="10674"/>
                  </a:cubicBezTo>
                  <a:cubicBezTo>
                    <a:pt x="18009" y="10653"/>
                    <a:pt x="17998" y="10632"/>
                    <a:pt x="17984" y="10618"/>
                  </a:cubicBezTo>
                  <a:lnTo>
                    <a:pt x="17981" y="10614"/>
                  </a:lnTo>
                  <a:lnTo>
                    <a:pt x="17974" y="10607"/>
                  </a:lnTo>
                  <a:cubicBezTo>
                    <a:pt x="17967" y="10604"/>
                    <a:pt x="17963" y="10600"/>
                    <a:pt x="17960" y="10597"/>
                  </a:cubicBezTo>
                  <a:cubicBezTo>
                    <a:pt x="17949" y="10593"/>
                    <a:pt x="17942" y="10586"/>
                    <a:pt x="17932" y="10583"/>
                  </a:cubicBezTo>
                  <a:cubicBezTo>
                    <a:pt x="17918" y="10576"/>
                    <a:pt x="17904" y="10572"/>
                    <a:pt x="17890" y="10565"/>
                  </a:cubicBezTo>
                  <a:lnTo>
                    <a:pt x="17886" y="10565"/>
                  </a:lnTo>
                  <a:cubicBezTo>
                    <a:pt x="17869" y="10562"/>
                    <a:pt x="17855" y="10558"/>
                    <a:pt x="17837" y="10555"/>
                  </a:cubicBezTo>
                  <a:lnTo>
                    <a:pt x="17827" y="10555"/>
                  </a:lnTo>
                  <a:cubicBezTo>
                    <a:pt x="17809" y="10551"/>
                    <a:pt x="17795" y="10551"/>
                    <a:pt x="17778" y="10548"/>
                  </a:cubicBezTo>
                  <a:lnTo>
                    <a:pt x="17708" y="10548"/>
                  </a:lnTo>
                  <a:cubicBezTo>
                    <a:pt x="17522" y="10548"/>
                    <a:pt x="17400" y="10607"/>
                    <a:pt x="17400" y="10646"/>
                  </a:cubicBezTo>
                  <a:cubicBezTo>
                    <a:pt x="17400" y="10838"/>
                    <a:pt x="17207" y="10929"/>
                    <a:pt x="17036" y="11006"/>
                  </a:cubicBezTo>
                  <a:cubicBezTo>
                    <a:pt x="16976" y="11031"/>
                    <a:pt x="16924" y="11059"/>
                    <a:pt x="16868" y="11090"/>
                  </a:cubicBezTo>
                  <a:cubicBezTo>
                    <a:pt x="16818" y="11123"/>
                    <a:pt x="16773" y="11136"/>
                    <a:pt x="16731" y="11136"/>
                  </a:cubicBezTo>
                  <a:cubicBezTo>
                    <a:pt x="16607" y="11136"/>
                    <a:pt x="16517" y="11012"/>
                    <a:pt x="16430" y="10894"/>
                  </a:cubicBezTo>
                  <a:cubicBezTo>
                    <a:pt x="16409" y="10863"/>
                    <a:pt x="16388" y="10831"/>
                    <a:pt x="16360" y="10800"/>
                  </a:cubicBezTo>
                  <a:cubicBezTo>
                    <a:pt x="16342" y="10775"/>
                    <a:pt x="16325" y="10754"/>
                    <a:pt x="16304" y="10733"/>
                  </a:cubicBezTo>
                  <a:cubicBezTo>
                    <a:pt x="16234" y="10667"/>
                    <a:pt x="16160" y="10600"/>
                    <a:pt x="16080" y="10541"/>
                  </a:cubicBezTo>
                  <a:cubicBezTo>
                    <a:pt x="15996" y="10478"/>
                    <a:pt x="15915" y="10404"/>
                    <a:pt x="15845" y="10327"/>
                  </a:cubicBezTo>
                  <a:cubicBezTo>
                    <a:pt x="15828" y="10303"/>
                    <a:pt x="15810" y="10278"/>
                    <a:pt x="15803" y="10247"/>
                  </a:cubicBezTo>
                  <a:cubicBezTo>
                    <a:pt x="15800" y="10236"/>
                    <a:pt x="15796" y="10222"/>
                    <a:pt x="15796" y="10208"/>
                  </a:cubicBezTo>
                  <a:cubicBezTo>
                    <a:pt x="15796" y="10145"/>
                    <a:pt x="15765" y="10030"/>
                    <a:pt x="15695" y="9988"/>
                  </a:cubicBezTo>
                  <a:cubicBezTo>
                    <a:pt x="15674" y="9973"/>
                    <a:pt x="15650" y="9966"/>
                    <a:pt x="15623" y="9966"/>
                  </a:cubicBezTo>
                  <a:cubicBezTo>
                    <a:pt x="15592" y="9966"/>
                    <a:pt x="15558" y="9976"/>
                    <a:pt x="15520" y="9995"/>
                  </a:cubicBezTo>
                  <a:cubicBezTo>
                    <a:pt x="15420" y="10041"/>
                    <a:pt x="15314" y="10064"/>
                    <a:pt x="15206" y="10064"/>
                  </a:cubicBezTo>
                  <a:cubicBezTo>
                    <a:pt x="15184" y="10064"/>
                    <a:pt x="15163" y="10063"/>
                    <a:pt x="15142" y="10061"/>
                  </a:cubicBezTo>
                  <a:cubicBezTo>
                    <a:pt x="15120" y="10059"/>
                    <a:pt x="15103" y="10058"/>
                    <a:pt x="15089" y="10058"/>
                  </a:cubicBezTo>
                  <a:cubicBezTo>
                    <a:pt x="15061" y="10058"/>
                    <a:pt x="15050" y="10063"/>
                    <a:pt x="15040" y="10075"/>
                  </a:cubicBezTo>
                  <a:cubicBezTo>
                    <a:pt x="15006" y="10115"/>
                    <a:pt x="14963" y="10130"/>
                    <a:pt x="14917" y="10130"/>
                  </a:cubicBezTo>
                  <a:cubicBezTo>
                    <a:pt x="14804" y="10130"/>
                    <a:pt x="14679" y="10039"/>
                    <a:pt x="14659" y="10026"/>
                  </a:cubicBezTo>
                  <a:lnTo>
                    <a:pt x="14634" y="10005"/>
                  </a:lnTo>
                  <a:lnTo>
                    <a:pt x="14634" y="1645"/>
                  </a:lnTo>
                  <a:cubicBezTo>
                    <a:pt x="14561" y="1638"/>
                    <a:pt x="14494" y="1621"/>
                    <a:pt x="14424" y="1600"/>
                  </a:cubicBezTo>
                  <a:cubicBezTo>
                    <a:pt x="14361" y="1565"/>
                    <a:pt x="14298" y="1540"/>
                    <a:pt x="14231" y="1512"/>
                  </a:cubicBezTo>
                  <a:cubicBezTo>
                    <a:pt x="13951" y="1401"/>
                    <a:pt x="13614" y="1266"/>
                    <a:pt x="13392" y="1266"/>
                  </a:cubicBezTo>
                  <a:cubicBezTo>
                    <a:pt x="13361" y="1266"/>
                    <a:pt x="13333" y="1268"/>
                    <a:pt x="13307" y="1274"/>
                  </a:cubicBezTo>
                  <a:cubicBezTo>
                    <a:pt x="13162" y="1306"/>
                    <a:pt x="12843" y="1360"/>
                    <a:pt x="12576" y="1360"/>
                  </a:cubicBezTo>
                  <a:cubicBezTo>
                    <a:pt x="12437" y="1360"/>
                    <a:pt x="12312" y="1345"/>
                    <a:pt x="12232" y="1305"/>
                  </a:cubicBezTo>
                  <a:cubicBezTo>
                    <a:pt x="12109" y="1245"/>
                    <a:pt x="11923" y="1172"/>
                    <a:pt x="11652" y="1172"/>
                  </a:cubicBezTo>
                  <a:cubicBezTo>
                    <a:pt x="11578" y="1172"/>
                    <a:pt x="11497" y="1177"/>
                    <a:pt x="11410" y="1190"/>
                  </a:cubicBezTo>
                  <a:cubicBezTo>
                    <a:pt x="11367" y="1196"/>
                    <a:pt x="11326" y="1199"/>
                    <a:pt x="11287" y="1199"/>
                  </a:cubicBezTo>
                  <a:cubicBezTo>
                    <a:pt x="11085" y="1199"/>
                    <a:pt x="10917" y="1124"/>
                    <a:pt x="10727" y="1036"/>
                  </a:cubicBezTo>
                  <a:cubicBezTo>
                    <a:pt x="10563" y="959"/>
                    <a:pt x="10395" y="896"/>
                    <a:pt x="10220" y="850"/>
                  </a:cubicBezTo>
                  <a:cubicBezTo>
                    <a:pt x="10089" y="819"/>
                    <a:pt x="9945" y="807"/>
                    <a:pt x="9800" y="807"/>
                  </a:cubicBezTo>
                  <a:cubicBezTo>
                    <a:pt x="9391" y="807"/>
                    <a:pt x="8978" y="904"/>
                    <a:pt x="8865" y="945"/>
                  </a:cubicBezTo>
                  <a:cubicBezTo>
                    <a:pt x="8838" y="954"/>
                    <a:pt x="8814" y="957"/>
                    <a:pt x="8793" y="957"/>
                  </a:cubicBezTo>
                  <a:cubicBezTo>
                    <a:pt x="8711" y="957"/>
                    <a:pt x="8667" y="902"/>
                    <a:pt x="8634" y="861"/>
                  </a:cubicBezTo>
                  <a:cubicBezTo>
                    <a:pt x="8600" y="818"/>
                    <a:pt x="8580" y="789"/>
                    <a:pt x="8524" y="789"/>
                  </a:cubicBezTo>
                  <a:cubicBezTo>
                    <a:pt x="8516" y="789"/>
                    <a:pt x="8507" y="789"/>
                    <a:pt x="8497" y="791"/>
                  </a:cubicBezTo>
                  <a:cubicBezTo>
                    <a:pt x="8479" y="793"/>
                    <a:pt x="8460" y="794"/>
                    <a:pt x="8443" y="794"/>
                  </a:cubicBezTo>
                  <a:cubicBezTo>
                    <a:pt x="8403" y="794"/>
                    <a:pt x="8366" y="787"/>
                    <a:pt x="8340" y="763"/>
                  </a:cubicBezTo>
                  <a:cubicBezTo>
                    <a:pt x="8308" y="728"/>
                    <a:pt x="8294" y="682"/>
                    <a:pt x="8305" y="640"/>
                  </a:cubicBezTo>
                  <a:cubicBezTo>
                    <a:pt x="8308" y="584"/>
                    <a:pt x="8294" y="528"/>
                    <a:pt x="8266" y="483"/>
                  </a:cubicBezTo>
                  <a:cubicBezTo>
                    <a:pt x="8238" y="443"/>
                    <a:pt x="8163" y="430"/>
                    <a:pt x="8068" y="430"/>
                  </a:cubicBezTo>
                  <a:cubicBezTo>
                    <a:pt x="7911" y="430"/>
                    <a:pt x="7701" y="468"/>
                    <a:pt x="7576" y="490"/>
                  </a:cubicBezTo>
                  <a:cubicBezTo>
                    <a:pt x="7499" y="507"/>
                    <a:pt x="7429" y="518"/>
                    <a:pt x="7380" y="525"/>
                  </a:cubicBezTo>
                  <a:cubicBezTo>
                    <a:pt x="7362" y="527"/>
                    <a:pt x="7344" y="527"/>
                    <a:pt x="7328" y="527"/>
                  </a:cubicBezTo>
                  <a:cubicBezTo>
                    <a:pt x="7214" y="527"/>
                    <a:pt x="7147" y="488"/>
                    <a:pt x="7111" y="451"/>
                  </a:cubicBezTo>
                  <a:cubicBezTo>
                    <a:pt x="7058" y="395"/>
                    <a:pt x="7034" y="318"/>
                    <a:pt x="7041" y="241"/>
                  </a:cubicBezTo>
                  <a:lnTo>
                    <a:pt x="7041" y="241"/>
                  </a:lnTo>
                  <a:cubicBezTo>
                    <a:pt x="6974" y="252"/>
                    <a:pt x="6918" y="290"/>
                    <a:pt x="6883" y="346"/>
                  </a:cubicBezTo>
                  <a:cubicBezTo>
                    <a:pt x="6827" y="437"/>
                    <a:pt x="6729" y="497"/>
                    <a:pt x="6621" y="507"/>
                  </a:cubicBezTo>
                  <a:cubicBezTo>
                    <a:pt x="6602" y="511"/>
                    <a:pt x="6583" y="512"/>
                    <a:pt x="6565" y="512"/>
                  </a:cubicBezTo>
                  <a:cubicBezTo>
                    <a:pt x="6488" y="512"/>
                    <a:pt x="6414" y="484"/>
                    <a:pt x="6355" y="434"/>
                  </a:cubicBezTo>
                  <a:cubicBezTo>
                    <a:pt x="6327" y="409"/>
                    <a:pt x="6313" y="371"/>
                    <a:pt x="6320" y="336"/>
                  </a:cubicBezTo>
                  <a:cubicBezTo>
                    <a:pt x="6327" y="269"/>
                    <a:pt x="6390" y="238"/>
                    <a:pt x="6460" y="203"/>
                  </a:cubicBezTo>
                  <a:cubicBezTo>
                    <a:pt x="6495" y="189"/>
                    <a:pt x="6526" y="164"/>
                    <a:pt x="6554" y="140"/>
                  </a:cubicBezTo>
                  <a:cubicBezTo>
                    <a:pt x="6526" y="98"/>
                    <a:pt x="6316" y="42"/>
                    <a:pt x="6250" y="24"/>
                  </a:cubicBezTo>
                  <a:cubicBezTo>
                    <a:pt x="6215" y="17"/>
                    <a:pt x="6187" y="7"/>
                    <a:pt x="6166" y="3"/>
                  </a:cubicBezTo>
                  <a:cubicBezTo>
                    <a:pt x="6159" y="1"/>
                    <a:pt x="6153" y="0"/>
                    <a:pt x="614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0" name="Google Shape;6687;p64">
              <a:extLst>
                <a:ext uri="{FF2B5EF4-FFF2-40B4-BE49-F238E27FC236}">
                  <a16:creationId xmlns:a16="http://schemas.microsoft.com/office/drawing/2014/main" id="{C0171737-553F-AC99-0DF4-32E656FAC73A}"/>
                </a:ext>
              </a:extLst>
            </p:cNvPr>
            <p:cNvSpPr/>
            <p:nvPr/>
          </p:nvSpPr>
          <p:spPr>
            <a:xfrm>
              <a:off x="815819" y="1587293"/>
              <a:ext cx="9518" cy="3435"/>
            </a:xfrm>
            <a:custGeom>
              <a:avLst/>
              <a:gdLst/>
              <a:ahLst/>
              <a:cxnLst/>
              <a:rect l="l" t="t" r="r" b="b"/>
              <a:pathLst>
                <a:path w="701" h="253" extrusionOk="0">
                  <a:moveTo>
                    <a:pt x="589" y="1"/>
                  </a:moveTo>
                  <a:cubicBezTo>
                    <a:pt x="400" y="1"/>
                    <a:pt x="95" y="162"/>
                    <a:pt x="0" y="253"/>
                  </a:cubicBezTo>
                  <a:cubicBezTo>
                    <a:pt x="49" y="242"/>
                    <a:pt x="95" y="225"/>
                    <a:pt x="133" y="193"/>
                  </a:cubicBezTo>
                  <a:cubicBezTo>
                    <a:pt x="210" y="141"/>
                    <a:pt x="302" y="109"/>
                    <a:pt x="393" y="106"/>
                  </a:cubicBezTo>
                  <a:cubicBezTo>
                    <a:pt x="501" y="106"/>
                    <a:pt x="603" y="78"/>
                    <a:pt x="701" y="32"/>
                  </a:cubicBezTo>
                  <a:cubicBezTo>
                    <a:pt x="687" y="25"/>
                    <a:pt x="676" y="18"/>
                    <a:pt x="662" y="15"/>
                  </a:cubicBezTo>
                  <a:lnTo>
                    <a:pt x="662" y="11"/>
                  </a:lnTo>
                  <a:cubicBezTo>
                    <a:pt x="638" y="4"/>
                    <a:pt x="613" y="1"/>
                    <a:pt x="5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1" name="Google Shape;6688;p64">
              <a:extLst>
                <a:ext uri="{FF2B5EF4-FFF2-40B4-BE49-F238E27FC236}">
                  <a16:creationId xmlns:a16="http://schemas.microsoft.com/office/drawing/2014/main" id="{9B63941D-E886-E8E8-6C7E-0665E7AE44F1}"/>
                </a:ext>
              </a:extLst>
            </p:cNvPr>
            <p:cNvSpPr/>
            <p:nvPr/>
          </p:nvSpPr>
          <p:spPr>
            <a:xfrm>
              <a:off x="1116791" y="1641060"/>
              <a:ext cx="428519" cy="210818"/>
            </a:xfrm>
            <a:custGeom>
              <a:avLst/>
              <a:gdLst/>
              <a:ahLst/>
              <a:cxnLst/>
              <a:rect l="l" t="t" r="r" b="b"/>
              <a:pathLst>
                <a:path w="31561" h="15527" extrusionOk="0">
                  <a:moveTo>
                    <a:pt x="16248" y="0"/>
                  </a:moveTo>
                  <a:cubicBezTo>
                    <a:pt x="16227" y="11"/>
                    <a:pt x="16196" y="105"/>
                    <a:pt x="16192" y="207"/>
                  </a:cubicBezTo>
                  <a:lnTo>
                    <a:pt x="16192" y="273"/>
                  </a:lnTo>
                  <a:lnTo>
                    <a:pt x="16129" y="273"/>
                  </a:lnTo>
                  <a:lnTo>
                    <a:pt x="1191" y="354"/>
                  </a:lnTo>
                  <a:cubicBezTo>
                    <a:pt x="1286" y="476"/>
                    <a:pt x="1272" y="588"/>
                    <a:pt x="1261" y="693"/>
                  </a:cubicBezTo>
                  <a:cubicBezTo>
                    <a:pt x="1251" y="767"/>
                    <a:pt x="1254" y="840"/>
                    <a:pt x="1268" y="914"/>
                  </a:cubicBezTo>
                  <a:cubicBezTo>
                    <a:pt x="1314" y="1089"/>
                    <a:pt x="1307" y="1334"/>
                    <a:pt x="1205" y="1463"/>
                  </a:cubicBezTo>
                  <a:cubicBezTo>
                    <a:pt x="1161" y="1525"/>
                    <a:pt x="1095" y="1554"/>
                    <a:pt x="1030" y="1554"/>
                  </a:cubicBezTo>
                  <a:cubicBezTo>
                    <a:pt x="940" y="1554"/>
                    <a:pt x="850" y="1499"/>
                    <a:pt x="820" y="1397"/>
                  </a:cubicBezTo>
                  <a:cubicBezTo>
                    <a:pt x="795" y="1299"/>
                    <a:pt x="841" y="1197"/>
                    <a:pt x="932" y="1152"/>
                  </a:cubicBezTo>
                  <a:cubicBezTo>
                    <a:pt x="971" y="1131"/>
                    <a:pt x="974" y="1071"/>
                    <a:pt x="964" y="1022"/>
                  </a:cubicBezTo>
                  <a:cubicBezTo>
                    <a:pt x="950" y="977"/>
                    <a:pt x="918" y="935"/>
                    <a:pt x="890" y="935"/>
                  </a:cubicBezTo>
                  <a:cubicBezTo>
                    <a:pt x="887" y="935"/>
                    <a:pt x="883" y="935"/>
                    <a:pt x="880" y="935"/>
                  </a:cubicBezTo>
                  <a:cubicBezTo>
                    <a:pt x="844" y="935"/>
                    <a:pt x="807" y="918"/>
                    <a:pt x="781" y="893"/>
                  </a:cubicBezTo>
                  <a:cubicBezTo>
                    <a:pt x="750" y="854"/>
                    <a:pt x="729" y="805"/>
                    <a:pt x="722" y="756"/>
                  </a:cubicBezTo>
                  <a:lnTo>
                    <a:pt x="718" y="756"/>
                  </a:lnTo>
                  <a:lnTo>
                    <a:pt x="683" y="763"/>
                  </a:lnTo>
                  <a:cubicBezTo>
                    <a:pt x="666" y="763"/>
                    <a:pt x="648" y="767"/>
                    <a:pt x="631" y="770"/>
                  </a:cubicBezTo>
                  <a:lnTo>
                    <a:pt x="592" y="774"/>
                  </a:lnTo>
                  <a:cubicBezTo>
                    <a:pt x="578" y="774"/>
                    <a:pt x="561" y="777"/>
                    <a:pt x="543" y="777"/>
                  </a:cubicBezTo>
                  <a:lnTo>
                    <a:pt x="424" y="777"/>
                  </a:lnTo>
                  <a:cubicBezTo>
                    <a:pt x="393" y="777"/>
                    <a:pt x="361" y="777"/>
                    <a:pt x="330" y="774"/>
                  </a:cubicBezTo>
                  <a:lnTo>
                    <a:pt x="302" y="774"/>
                  </a:lnTo>
                  <a:cubicBezTo>
                    <a:pt x="263" y="770"/>
                    <a:pt x="225" y="770"/>
                    <a:pt x="186" y="767"/>
                  </a:cubicBezTo>
                  <a:lnTo>
                    <a:pt x="176" y="767"/>
                  </a:lnTo>
                  <a:lnTo>
                    <a:pt x="60" y="753"/>
                  </a:lnTo>
                  <a:lnTo>
                    <a:pt x="29" y="749"/>
                  </a:lnTo>
                  <a:lnTo>
                    <a:pt x="1" y="746"/>
                  </a:lnTo>
                  <a:lnTo>
                    <a:pt x="1" y="746"/>
                  </a:lnTo>
                  <a:cubicBezTo>
                    <a:pt x="36" y="984"/>
                    <a:pt x="123" y="1208"/>
                    <a:pt x="263" y="1404"/>
                  </a:cubicBezTo>
                  <a:cubicBezTo>
                    <a:pt x="340" y="1502"/>
                    <a:pt x="386" y="1617"/>
                    <a:pt x="400" y="1740"/>
                  </a:cubicBezTo>
                  <a:cubicBezTo>
                    <a:pt x="414" y="1824"/>
                    <a:pt x="421" y="1859"/>
                    <a:pt x="484" y="1894"/>
                  </a:cubicBezTo>
                  <a:cubicBezTo>
                    <a:pt x="666" y="1992"/>
                    <a:pt x="659" y="2083"/>
                    <a:pt x="645" y="2122"/>
                  </a:cubicBezTo>
                  <a:cubicBezTo>
                    <a:pt x="633" y="2152"/>
                    <a:pt x="605" y="2203"/>
                    <a:pt x="501" y="2203"/>
                  </a:cubicBezTo>
                  <a:cubicBezTo>
                    <a:pt x="485" y="2203"/>
                    <a:pt x="466" y="2201"/>
                    <a:pt x="445" y="2199"/>
                  </a:cubicBezTo>
                  <a:lnTo>
                    <a:pt x="424" y="2199"/>
                  </a:lnTo>
                  <a:cubicBezTo>
                    <a:pt x="424" y="2230"/>
                    <a:pt x="424" y="2258"/>
                    <a:pt x="424" y="2290"/>
                  </a:cubicBezTo>
                  <a:cubicBezTo>
                    <a:pt x="435" y="2409"/>
                    <a:pt x="428" y="2528"/>
                    <a:pt x="410" y="2643"/>
                  </a:cubicBezTo>
                  <a:cubicBezTo>
                    <a:pt x="375" y="2846"/>
                    <a:pt x="365" y="3172"/>
                    <a:pt x="354" y="3462"/>
                  </a:cubicBezTo>
                  <a:cubicBezTo>
                    <a:pt x="347" y="3690"/>
                    <a:pt x="340" y="3886"/>
                    <a:pt x="323" y="3991"/>
                  </a:cubicBezTo>
                  <a:cubicBezTo>
                    <a:pt x="305" y="4082"/>
                    <a:pt x="274" y="4173"/>
                    <a:pt x="235" y="4257"/>
                  </a:cubicBezTo>
                  <a:cubicBezTo>
                    <a:pt x="162" y="4446"/>
                    <a:pt x="78" y="4656"/>
                    <a:pt x="169" y="4793"/>
                  </a:cubicBezTo>
                  <a:cubicBezTo>
                    <a:pt x="365" y="5101"/>
                    <a:pt x="438" y="5451"/>
                    <a:pt x="358" y="5731"/>
                  </a:cubicBezTo>
                  <a:cubicBezTo>
                    <a:pt x="277" y="6022"/>
                    <a:pt x="291" y="6186"/>
                    <a:pt x="414" y="6396"/>
                  </a:cubicBezTo>
                  <a:cubicBezTo>
                    <a:pt x="484" y="6522"/>
                    <a:pt x="494" y="6680"/>
                    <a:pt x="501" y="6823"/>
                  </a:cubicBezTo>
                  <a:cubicBezTo>
                    <a:pt x="505" y="6935"/>
                    <a:pt x="512" y="7061"/>
                    <a:pt x="557" y="7089"/>
                  </a:cubicBezTo>
                  <a:cubicBezTo>
                    <a:pt x="697" y="7170"/>
                    <a:pt x="837" y="7327"/>
                    <a:pt x="992" y="7583"/>
                  </a:cubicBezTo>
                  <a:cubicBezTo>
                    <a:pt x="1023" y="7639"/>
                    <a:pt x="1072" y="7684"/>
                    <a:pt x="1135" y="7705"/>
                  </a:cubicBezTo>
                  <a:cubicBezTo>
                    <a:pt x="1209" y="7737"/>
                    <a:pt x="1265" y="7772"/>
                    <a:pt x="1282" y="7915"/>
                  </a:cubicBezTo>
                  <a:lnTo>
                    <a:pt x="1282" y="7926"/>
                  </a:lnTo>
                  <a:cubicBezTo>
                    <a:pt x="1303" y="8129"/>
                    <a:pt x="1303" y="8133"/>
                    <a:pt x="1461" y="8199"/>
                  </a:cubicBezTo>
                  <a:cubicBezTo>
                    <a:pt x="1653" y="8283"/>
                    <a:pt x="1611" y="8476"/>
                    <a:pt x="1587" y="8588"/>
                  </a:cubicBezTo>
                  <a:cubicBezTo>
                    <a:pt x="1580" y="8619"/>
                    <a:pt x="1573" y="8651"/>
                    <a:pt x="1573" y="8686"/>
                  </a:cubicBezTo>
                  <a:cubicBezTo>
                    <a:pt x="1573" y="8773"/>
                    <a:pt x="1839" y="9004"/>
                    <a:pt x="2073" y="9214"/>
                  </a:cubicBezTo>
                  <a:lnTo>
                    <a:pt x="2119" y="9256"/>
                  </a:lnTo>
                  <a:cubicBezTo>
                    <a:pt x="2248" y="9358"/>
                    <a:pt x="2322" y="9519"/>
                    <a:pt x="2311" y="9683"/>
                  </a:cubicBezTo>
                  <a:cubicBezTo>
                    <a:pt x="2311" y="9704"/>
                    <a:pt x="2315" y="9725"/>
                    <a:pt x="2318" y="9746"/>
                  </a:cubicBezTo>
                  <a:cubicBezTo>
                    <a:pt x="2329" y="9750"/>
                    <a:pt x="2343" y="9750"/>
                    <a:pt x="2353" y="9750"/>
                  </a:cubicBezTo>
                  <a:cubicBezTo>
                    <a:pt x="2612" y="9750"/>
                    <a:pt x="2854" y="9904"/>
                    <a:pt x="3068" y="10040"/>
                  </a:cubicBezTo>
                  <a:cubicBezTo>
                    <a:pt x="3174" y="10108"/>
                    <a:pt x="3240" y="10119"/>
                    <a:pt x="3302" y="10119"/>
                  </a:cubicBezTo>
                  <a:cubicBezTo>
                    <a:pt x="3317" y="10119"/>
                    <a:pt x="3332" y="10118"/>
                    <a:pt x="3348" y="10118"/>
                  </a:cubicBezTo>
                  <a:cubicBezTo>
                    <a:pt x="3362" y="10117"/>
                    <a:pt x="3375" y="10116"/>
                    <a:pt x="3389" y="10116"/>
                  </a:cubicBezTo>
                  <a:cubicBezTo>
                    <a:pt x="3430" y="10116"/>
                    <a:pt x="3469" y="10120"/>
                    <a:pt x="3509" y="10128"/>
                  </a:cubicBezTo>
                  <a:cubicBezTo>
                    <a:pt x="3694" y="10170"/>
                    <a:pt x="4002" y="10531"/>
                    <a:pt x="4069" y="10783"/>
                  </a:cubicBezTo>
                  <a:cubicBezTo>
                    <a:pt x="4093" y="10881"/>
                    <a:pt x="4125" y="10979"/>
                    <a:pt x="4167" y="11073"/>
                  </a:cubicBezTo>
                  <a:lnTo>
                    <a:pt x="5403" y="10909"/>
                  </a:lnTo>
                  <a:lnTo>
                    <a:pt x="5424" y="10926"/>
                  </a:lnTo>
                  <a:cubicBezTo>
                    <a:pt x="5427" y="10926"/>
                    <a:pt x="5802" y="11189"/>
                    <a:pt x="6008" y="11238"/>
                  </a:cubicBezTo>
                  <a:cubicBezTo>
                    <a:pt x="6222" y="11287"/>
                    <a:pt x="7286" y="11682"/>
                    <a:pt x="7419" y="11728"/>
                  </a:cubicBezTo>
                  <a:lnTo>
                    <a:pt x="8928" y="11717"/>
                  </a:lnTo>
                  <a:lnTo>
                    <a:pt x="9110" y="11483"/>
                  </a:lnTo>
                  <a:lnTo>
                    <a:pt x="10024" y="11483"/>
                  </a:lnTo>
                  <a:lnTo>
                    <a:pt x="10045" y="11500"/>
                  </a:lnTo>
                  <a:cubicBezTo>
                    <a:pt x="10297" y="11749"/>
                    <a:pt x="10591" y="12018"/>
                    <a:pt x="10643" y="12043"/>
                  </a:cubicBezTo>
                  <a:cubicBezTo>
                    <a:pt x="10734" y="12074"/>
                    <a:pt x="11035" y="12341"/>
                    <a:pt x="11035" y="12533"/>
                  </a:cubicBezTo>
                  <a:cubicBezTo>
                    <a:pt x="11035" y="12670"/>
                    <a:pt x="11091" y="12775"/>
                    <a:pt x="11193" y="12824"/>
                  </a:cubicBezTo>
                  <a:cubicBezTo>
                    <a:pt x="11235" y="12845"/>
                    <a:pt x="11302" y="12883"/>
                    <a:pt x="11375" y="12929"/>
                  </a:cubicBezTo>
                  <a:cubicBezTo>
                    <a:pt x="11494" y="12995"/>
                    <a:pt x="11701" y="13118"/>
                    <a:pt x="11774" y="13139"/>
                  </a:cubicBezTo>
                  <a:cubicBezTo>
                    <a:pt x="11788" y="13118"/>
                    <a:pt x="11806" y="13076"/>
                    <a:pt x="11823" y="13044"/>
                  </a:cubicBezTo>
                  <a:cubicBezTo>
                    <a:pt x="11844" y="12999"/>
                    <a:pt x="11869" y="12957"/>
                    <a:pt x="11893" y="12908"/>
                  </a:cubicBezTo>
                  <a:cubicBezTo>
                    <a:pt x="11907" y="12883"/>
                    <a:pt x="11921" y="12862"/>
                    <a:pt x="11939" y="12838"/>
                  </a:cubicBezTo>
                  <a:cubicBezTo>
                    <a:pt x="12011" y="12728"/>
                    <a:pt x="12103" y="12635"/>
                    <a:pt x="12226" y="12635"/>
                  </a:cubicBezTo>
                  <a:cubicBezTo>
                    <a:pt x="12228" y="12635"/>
                    <a:pt x="12230" y="12635"/>
                    <a:pt x="12233" y="12635"/>
                  </a:cubicBezTo>
                  <a:cubicBezTo>
                    <a:pt x="12408" y="12645"/>
                    <a:pt x="12775" y="12740"/>
                    <a:pt x="13027" y="12929"/>
                  </a:cubicBezTo>
                  <a:cubicBezTo>
                    <a:pt x="13059" y="12953"/>
                    <a:pt x="13090" y="12981"/>
                    <a:pt x="13122" y="13009"/>
                  </a:cubicBezTo>
                  <a:cubicBezTo>
                    <a:pt x="13150" y="13037"/>
                    <a:pt x="13174" y="13069"/>
                    <a:pt x="13199" y="13100"/>
                  </a:cubicBezTo>
                  <a:cubicBezTo>
                    <a:pt x="13227" y="13142"/>
                    <a:pt x="13248" y="13191"/>
                    <a:pt x="13265" y="13240"/>
                  </a:cubicBezTo>
                  <a:cubicBezTo>
                    <a:pt x="13363" y="13587"/>
                    <a:pt x="13661" y="13870"/>
                    <a:pt x="13759" y="13944"/>
                  </a:cubicBezTo>
                  <a:cubicBezTo>
                    <a:pt x="13836" y="14003"/>
                    <a:pt x="13850" y="14105"/>
                    <a:pt x="13861" y="14206"/>
                  </a:cubicBezTo>
                  <a:cubicBezTo>
                    <a:pt x="13864" y="14266"/>
                    <a:pt x="13878" y="14326"/>
                    <a:pt x="13906" y="14378"/>
                  </a:cubicBezTo>
                  <a:cubicBezTo>
                    <a:pt x="13941" y="14438"/>
                    <a:pt x="13966" y="14508"/>
                    <a:pt x="13980" y="14578"/>
                  </a:cubicBezTo>
                  <a:cubicBezTo>
                    <a:pt x="13987" y="14616"/>
                    <a:pt x="13997" y="14651"/>
                    <a:pt x="14015" y="14686"/>
                  </a:cubicBezTo>
                  <a:cubicBezTo>
                    <a:pt x="14060" y="14690"/>
                    <a:pt x="14130" y="14721"/>
                    <a:pt x="14267" y="14784"/>
                  </a:cubicBezTo>
                  <a:cubicBezTo>
                    <a:pt x="14428" y="14860"/>
                    <a:pt x="14648" y="14959"/>
                    <a:pt x="14762" y="14959"/>
                  </a:cubicBezTo>
                  <a:cubicBezTo>
                    <a:pt x="14764" y="14959"/>
                    <a:pt x="14765" y="14959"/>
                    <a:pt x="14767" y="14959"/>
                  </a:cubicBezTo>
                  <a:lnTo>
                    <a:pt x="14813" y="14959"/>
                  </a:lnTo>
                  <a:lnTo>
                    <a:pt x="14830" y="14963"/>
                  </a:lnTo>
                  <a:lnTo>
                    <a:pt x="14848" y="14966"/>
                  </a:lnTo>
                  <a:lnTo>
                    <a:pt x="14869" y="14973"/>
                  </a:lnTo>
                  <a:lnTo>
                    <a:pt x="14897" y="14984"/>
                  </a:lnTo>
                  <a:lnTo>
                    <a:pt x="14921" y="14991"/>
                  </a:lnTo>
                  <a:lnTo>
                    <a:pt x="14928" y="14994"/>
                  </a:lnTo>
                  <a:cubicBezTo>
                    <a:pt x="14900" y="14896"/>
                    <a:pt x="14851" y="14805"/>
                    <a:pt x="14778" y="14732"/>
                  </a:cubicBezTo>
                  <a:cubicBezTo>
                    <a:pt x="14725" y="14662"/>
                    <a:pt x="14673" y="14595"/>
                    <a:pt x="14683" y="14518"/>
                  </a:cubicBezTo>
                  <a:cubicBezTo>
                    <a:pt x="14697" y="14452"/>
                    <a:pt x="14736" y="14396"/>
                    <a:pt x="14792" y="14361"/>
                  </a:cubicBezTo>
                  <a:cubicBezTo>
                    <a:pt x="14935" y="14252"/>
                    <a:pt x="14911" y="14171"/>
                    <a:pt x="14879" y="14073"/>
                  </a:cubicBezTo>
                  <a:cubicBezTo>
                    <a:pt x="14858" y="14007"/>
                    <a:pt x="14827" y="13905"/>
                    <a:pt x="14928" y="13839"/>
                  </a:cubicBezTo>
                  <a:cubicBezTo>
                    <a:pt x="14963" y="13811"/>
                    <a:pt x="15009" y="13790"/>
                    <a:pt x="15051" y="13762"/>
                  </a:cubicBezTo>
                  <a:cubicBezTo>
                    <a:pt x="15163" y="13702"/>
                    <a:pt x="15299" y="13625"/>
                    <a:pt x="15299" y="13552"/>
                  </a:cubicBezTo>
                  <a:cubicBezTo>
                    <a:pt x="15296" y="13499"/>
                    <a:pt x="15317" y="13443"/>
                    <a:pt x="15355" y="13405"/>
                  </a:cubicBezTo>
                  <a:cubicBezTo>
                    <a:pt x="15401" y="13366"/>
                    <a:pt x="15465" y="13353"/>
                    <a:pt x="15537" y="13353"/>
                  </a:cubicBezTo>
                  <a:cubicBezTo>
                    <a:pt x="15588" y="13353"/>
                    <a:pt x="15643" y="13359"/>
                    <a:pt x="15699" y="13366"/>
                  </a:cubicBezTo>
                  <a:cubicBezTo>
                    <a:pt x="15703" y="13367"/>
                    <a:pt x="15708" y="13367"/>
                    <a:pt x="15712" y="13367"/>
                  </a:cubicBezTo>
                  <a:cubicBezTo>
                    <a:pt x="15799" y="13367"/>
                    <a:pt x="15943" y="13279"/>
                    <a:pt x="16059" y="13156"/>
                  </a:cubicBezTo>
                  <a:cubicBezTo>
                    <a:pt x="16140" y="13069"/>
                    <a:pt x="16164" y="13009"/>
                    <a:pt x="16161" y="12995"/>
                  </a:cubicBezTo>
                  <a:cubicBezTo>
                    <a:pt x="16143" y="12936"/>
                    <a:pt x="16157" y="12873"/>
                    <a:pt x="16196" y="12827"/>
                  </a:cubicBezTo>
                  <a:cubicBezTo>
                    <a:pt x="16225" y="12797"/>
                    <a:pt x="16268" y="12785"/>
                    <a:pt x="16324" y="12785"/>
                  </a:cubicBezTo>
                  <a:cubicBezTo>
                    <a:pt x="16373" y="12785"/>
                    <a:pt x="16433" y="12795"/>
                    <a:pt x="16504" y="12810"/>
                  </a:cubicBezTo>
                  <a:cubicBezTo>
                    <a:pt x="16516" y="12812"/>
                    <a:pt x="16526" y="12813"/>
                    <a:pt x="16536" y="12813"/>
                  </a:cubicBezTo>
                  <a:cubicBezTo>
                    <a:pt x="16586" y="12813"/>
                    <a:pt x="16609" y="12782"/>
                    <a:pt x="16647" y="12712"/>
                  </a:cubicBezTo>
                  <a:cubicBezTo>
                    <a:pt x="16674" y="12661"/>
                    <a:pt x="16718" y="12584"/>
                    <a:pt x="16802" y="12584"/>
                  </a:cubicBezTo>
                  <a:cubicBezTo>
                    <a:pt x="16818" y="12584"/>
                    <a:pt x="16835" y="12587"/>
                    <a:pt x="16854" y="12593"/>
                  </a:cubicBezTo>
                  <a:cubicBezTo>
                    <a:pt x="16889" y="12607"/>
                    <a:pt x="16924" y="12621"/>
                    <a:pt x="16955" y="12631"/>
                  </a:cubicBezTo>
                  <a:cubicBezTo>
                    <a:pt x="16983" y="12645"/>
                    <a:pt x="17015" y="12656"/>
                    <a:pt x="17046" y="12666"/>
                  </a:cubicBezTo>
                  <a:cubicBezTo>
                    <a:pt x="17050" y="12610"/>
                    <a:pt x="17088" y="12565"/>
                    <a:pt x="17141" y="12551"/>
                  </a:cubicBezTo>
                  <a:cubicBezTo>
                    <a:pt x="17154" y="12547"/>
                    <a:pt x="17168" y="12545"/>
                    <a:pt x="17182" y="12545"/>
                  </a:cubicBezTo>
                  <a:cubicBezTo>
                    <a:pt x="17262" y="12545"/>
                    <a:pt x="17357" y="12603"/>
                    <a:pt x="17428" y="12701"/>
                  </a:cubicBezTo>
                  <a:cubicBezTo>
                    <a:pt x="17486" y="12765"/>
                    <a:pt x="17568" y="12800"/>
                    <a:pt x="17653" y="12800"/>
                  </a:cubicBezTo>
                  <a:cubicBezTo>
                    <a:pt x="17670" y="12800"/>
                    <a:pt x="17687" y="12799"/>
                    <a:pt x="17705" y="12796"/>
                  </a:cubicBezTo>
                  <a:cubicBezTo>
                    <a:pt x="17754" y="12782"/>
                    <a:pt x="17761" y="12754"/>
                    <a:pt x="17761" y="12743"/>
                  </a:cubicBezTo>
                  <a:cubicBezTo>
                    <a:pt x="17761" y="12687"/>
                    <a:pt x="17796" y="12642"/>
                    <a:pt x="17848" y="12621"/>
                  </a:cubicBezTo>
                  <a:cubicBezTo>
                    <a:pt x="17859" y="12618"/>
                    <a:pt x="17870" y="12616"/>
                    <a:pt x="17882" y="12616"/>
                  </a:cubicBezTo>
                  <a:cubicBezTo>
                    <a:pt x="17963" y="12616"/>
                    <a:pt x="18065" y="12693"/>
                    <a:pt x="18237" y="12880"/>
                  </a:cubicBezTo>
                  <a:cubicBezTo>
                    <a:pt x="18342" y="12988"/>
                    <a:pt x="18387" y="12988"/>
                    <a:pt x="18517" y="12988"/>
                  </a:cubicBezTo>
                  <a:cubicBezTo>
                    <a:pt x="18559" y="12988"/>
                    <a:pt x="18601" y="12988"/>
                    <a:pt x="18653" y="12992"/>
                  </a:cubicBezTo>
                  <a:cubicBezTo>
                    <a:pt x="18681" y="12993"/>
                    <a:pt x="18704" y="12994"/>
                    <a:pt x="18723" y="12994"/>
                  </a:cubicBezTo>
                  <a:cubicBezTo>
                    <a:pt x="18816" y="12994"/>
                    <a:pt x="18820" y="12973"/>
                    <a:pt x="18828" y="12866"/>
                  </a:cubicBezTo>
                  <a:lnTo>
                    <a:pt x="18828" y="12855"/>
                  </a:lnTo>
                  <a:cubicBezTo>
                    <a:pt x="18828" y="12820"/>
                    <a:pt x="18849" y="12785"/>
                    <a:pt x="18888" y="12771"/>
                  </a:cubicBezTo>
                  <a:cubicBezTo>
                    <a:pt x="18897" y="12768"/>
                    <a:pt x="18905" y="12767"/>
                    <a:pt x="18914" y="12767"/>
                  </a:cubicBezTo>
                  <a:cubicBezTo>
                    <a:pt x="18963" y="12767"/>
                    <a:pt x="19009" y="12817"/>
                    <a:pt x="19080" y="12897"/>
                  </a:cubicBezTo>
                  <a:cubicBezTo>
                    <a:pt x="19164" y="12992"/>
                    <a:pt x="19287" y="13125"/>
                    <a:pt x="19385" y="13135"/>
                  </a:cubicBezTo>
                  <a:lnTo>
                    <a:pt x="19399" y="13135"/>
                  </a:lnTo>
                  <a:cubicBezTo>
                    <a:pt x="19343" y="13076"/>
                    <a:pt x="19283" y="13020"/>
                    <a:pt x="19217" y="12974"/>
                  </a:cubicBezTo>
                  <a:cubicBezTo>
                    <a:pt x="19094" y="12876"/>
                    <a:pt x="19119" y="12789"/>
                    <a:pt x="19133" y="12740"/>
                  </a:cubicBezTo>
                  <a:cubicBezTo>
                    <a:pt x="19143" y="12701"/>
                    <a:pt x="19143" y="12694"/>
                    <a:pt x="19108" y="12670"/>
                  </a:cubicBezTo>
                  <a:cubicBezTo>
                    <a:pt x="19056" y="12638"/>
                    <a:pt x="19035" y="12575"/>
                    <a:pt x="19056" y="12519"/>
                  </a:cubicBezTo>
                  <a:cubicBezTo>
                    <a:pt x="19102" y="12390"/>
                    <a:pt x="19364" y="12308"/>
                    <a:pt x="19584" y="12308"/>
                  </a:cubicBezTo>
                  <a:cubicBezTo>
                    <a:pt x="19597" y="12308"/>
                    <a:pt x="19610" y="12308"/>
                    <a:pt x="19623" y="12309"/>
                  </a:cubicBezTo>
                  <a:cubicBezTo>
                    <a:pt x="19690" y="12313"/>
                    <a:pt x="19753" y="12320"/>
                    <a:pt x="19816" y="12330"/>
                  </a:cubicBezTo>
                  <a:cubicBezTo>
                    <a:pt x="19837" y="12333"/>
                    <a:pt x="19854" y="12335"/>
                    <a:pt x="19867" y="12335"/>
                  </a:cubicBezTo>
                  <a:cubicBezTo>
                    <a:pt x="19903" y="12335"/>
                    <a:pt x="19913" y="12319"/>
                    <a:pt x="19952" y="12257"/>
                  </a:cubicBezTo>
                  <a:cubicBezTo>
                    <a:pt x="20007" y="12173"/>
                    <a:pt x="20064" y="12154"/>
                    <a:pt x="20105" y="12154"/>
                  </a:cubicBezTo>
                  <a:cubicBezTo>
                    <a:pt x="20119" y="12154"/>
                    <a:pt x="20131" y="12156"/>
                    <a:pt x="20141" y="12158"/>
                  </a:cubicBezTo>
                  <a:cubicBezTo>
                    <a:pt x="20236" y="12186"/>
                    <a:pt x="20288" y="12309"/>
                    <a:pt x="20292" y="12421"/>
                  </a:cubicBezTo>
                  <a:cubicBezTo>
                    <a:pt x="20341" y="12421"/>
                    <a:pt x="20474" y="12386"/>
                    <a:pt x="20565" y="12362"/>
                  </a:cubicBezTo>
                  <a:cubicBezTo>
                    <a:pt x="20701" y="12327"/>
                    <a:pt x="20841" y="12285"/>
                    <a:pt x="20957" y="12285"/>
                  </a:cubicBezTo>
                  <a:cubicBezTo>
                    <a:pt x="21230" y="12285"/>
                    <a:pt x="21499" y="12516"/>
                    <a:pt x="21531" y="12705"/>
                  </a:cubicBezTo>
                  <a:cubicBezTo>
                    <a:pt x="21534" y="12743"/>
                    <a:pt x="21562" y="12778"/>
                    <a:pt x="21601" y="12792"/>
                  </a:cubicBezTo>
                  <a:cubicBezTo>
                    <a:pt x="21613" y="12797"/>
                    <a:pt x="21627" y="12800"/>
                    <a:pt x="21641" y="12800"/>
                  </a:cubicBezTo>
                  <a:cubicBezTo>
                    <a:pt x="21688" y="12800"/>
                    <a:pt x="21744" y="12774"/>
                    <a:pt x="21801" y="12726"/>
                  </a:cubicBezTo>
                  <a:lnTo>
                    <a:pt x="21860" y="12673"/>
                  </a:lnTo>
                  <a:cubicBezTo>
                    <a:pt x="21962" y="12582"/>
                    <a:pt x="22084" y="12474"/>
                    <a:pt x="22210" y="12474"/>
                  </a:cubicBezTo>
                  <a:cubicBezTo>
                    <a:pt x="22284" y="12474"/>
                    <a:pt x="22350" y="12505"/>
                    <a:pt x="22399" y="12561"/>
                  </a:cubicBezTo>
                  <a:cubicBezTo>
                    <a:pt x="22480" y="12642"/>
                    <a:pt x="22560" y="12736"/>
                    <a:pt x="22648" y="12838"/>
                  </a:cubicBezTo>
                  <a:cubicBezTo>
                    <a:pt x="22739" y="12946"/>
                    <a:pt x="22837" y="13058"/>
                    <a:pt x="22945" y="13167"/>
                  </a:cubicBezTo>
                  <a:cubicBezTo>
                    <a:pt x="23089" y="13310"/>
                    <a:pt x="23033" y="13482"/>
                    <a:pt x="22987" y="13604"/>
                  </a:cubicBezTo>
                  <a:cubicBezTo>
                    <a:pt x="22956" y="13695"/>
                    <a:pt x="22938" y="13755"/>
                    <a:pt x="22963" y="13793"/>
                  </a:cubicBezTo>
                  <a:cubicBezTo>
                    <a:pt x="23008" y="13863"/>
                    <a:pt x="23033" y="13944"/>
                    <a:pt x="23033" y="14028"/>
                  </a:cubicBezTo>
                  <a:cubicBezTo>
                    <a:pt x="23043" y="14140"/>
                    <a:pt x="23054" y="14234"/>
                    <a:pt x="23176" y="14322"/>
                  </a:cubicBezTo>
                  <a:cubicBezTo>
                    <a:pt x="23334" y="14431"/>
                    <a:pt x="23334" y="14602"/>
                    <a:pt x="23334" y="14725"/>
                  </a:cubicBezTo>
                  <a:cubicBezTo>
                    <a:pt x="23334" y="14851"/>
                    <a:pt x="23341" y="14875"/>
                    <a:pt x="23376" y="14882"/>
                  </a:cubicBezTo>
                  <a:cubicBezTo>
                    <a:pt x="23610" y="14942"/>
                    <a:pt x="23775" y="15281"/>
                    <a:pt x="23800" y="15407"/>
                  </a:cubicBezTo>
                  <a:cubicBezTo>
                    <a:pt x="23806" y="15444"/>
                    <a:pt x="23926" y="15527"/>
                    <a:pt x="24020" y="15527"/>
                  </a:cubicBezTo>
                  <a:cubicBezTo>
                    <a:pt x="24023" y="15527"/>
                    <a:pt x="24027" y="15527"/>
                    <a:pt x="24031" y="15526"/>
                  </a:cubicBezTo>
                  <a:cubicBezTo>
                    <a:pt x="24076" y="15526"/>
                    <a:pt x="24080" y="15509"/>
                    <a:pt x="24083" y="15484"/>
                  </a:cubicBezTo>
                  <a:cubicBezTo>
                    <a:pt x="24094" y="15369"/>
                    <a:pt x="24153" y="15246"/>
                    <a:pt x="24213" y="15131"/>
                  </a:cubicBezTo>
                  <a:cubicBezTo>
                    <a:pt x="24265" y="15026"/>
                    <a:pt x="24314" y="14924"/>
                    <a:pt x="24325" y="14840"/>
                  </a:cubicBezTo>
                  <a:cubicBezTo>
                    <a:pt x="24346" y="14669"/>
                    <a:pt x="24185" y="13993"/>
                    <a:pt x="24034" y="13783"/>
                  </a:cubicBezTo>
                  <a:cubicBezTo>
                    <a:pt x="23971" y="13706"/>
                    <a:pt x="23943" y="13604"/>
                    <a:pt x="23954" y="13503"/>
                  </a:cubicBezTo>
                  <a:cubicBezTo>
                    <a:pt x="23961" y="13436"/>
                    <a:pt x="23964" y="13377"/>
                    <a:pt x="23877" y="13265"/>
                  </a:cubicBezTo>
                  <a:cubicBezTo>
                    <a:pt x="23677" y="13002"/>
                    <a:pt x="23547" y="12547"/>
                    <a:pt x="23558" y="12155"/>
                  </a:cubicBezTo>
                  <a:cubicBezTo>
                    <a:pt x="23572" y="11770"/>
                    <a:pt x="23996" y="11168"/>
                    <a:pt x="24223" y="10968"/>
                  </a:cubicBezTo>
                  <a:cubicBezTo>
                    <a:pt x="24314" y="10895"/>
                    <a:pt x="24419" y="10842"/>
                    <a:pt x="24531" y="10825"/>
                  </a:cubicBezTo>
                  <a:cubicBezTo>
                    <a:pt x="24640" y="10797"/>
                    <a:pt x="24675" y="10783"/>
                    <a:pt x="24689" y="10720"/>
                  </a:cubicBezTo>
                  <a:cubicBezTo>
                    <a:pt x="24745" y="10499"/>
                    <a:pt x="25021" y="10237"/>
                    <a:pt x="25203" y="10237"/>
                  </a:cubicBezTo>
                  <a:lnTo>
                    <a:pt x="25273" y="10237"/>
                  </a:lnTo>
                  <a:cubicBezTo>
                    <a:pt x="25290" y="10237"/>
                    <a:pt x="25305" y="10237"/>
                    <a:pt x="25318" y="10237"/>
                  </a:cubicBezTo>
                  <a:cubicBezTo>
                    <a:pt x="25431" y="10237"/>
                    <a:pt x="25457" y="10223"/>
                    <a:pt x="25466" y="10167"/>
                  </a:cubicBezTo>
                  <a:cubicBezTo>
                    <a:pt x="25494" y="9967"/>
                    <a:pt x="25781" y="9760"/>
                    <a:pt x="26103" y="9711"/>
                  </a:cubicBezTo>
                  <a:cubicBezTo>
                    <a:pt x="26208" y="9697"/>
                    <a:pt x="26222" y="9669"/>
                    <a:pt x="26222" y="9669"/>
                  </a:cubicBezTo>
                  <a:cubicBezTo>
                    <a:pt x="26233" y="9645"/>
                    <a:pt x="26184" y="9568"/>
                    <a:pt x="26152" y="9522"/>
                  </a:cubicBezTo>
                  <a:cubicBezTo>
                    <a:pt x="26135" y="9498"/>
                    <a:pt x="26117" y="9473"/>
                    <a:pt x="26103" y="9449"/>
                  </a:cubicBezTo>
                  <a:cubicBezTo>
                    <a:pt x="26040" y="9347"/>
                    <a:pt x="26068" y="9211"/>
                    <a:pt x="26170" y="9144"/>
                  </a:cubicBezTo>
                  <a:cubicBezTo>
                    <a:pt x="26191" y="9129"/>
                    <a:pt x="26215" y="9122"/>
                    <a:pt x="26239" y="9122"/>
                  </a:cubicBezTo>
                  <a:cubicBezTo>
                    <a:pt x="26282" y="9122"/>
                    <a:pt x="26326" y="9146"/>
                    <a:pt x="26348" y="9186"/>
                  </a:cubicBezTo>
                  <a:cubicBezTo>
                    <a:pt x="26369" y="9211"/>
                    <a:pt x="26401" y="9225"/>
                    <a:pt x="26429" y="9228"/>
                  </a:cubicBezTo>
                  <a:cubicBezTo>
                    <a:pt x="26447" y="9232"/>
                    <a:pt x="26466" y="9234"/>
                    <a:pt x="26484" y="9234"/>
                  </a:cubicBezTo>
                  <a:cubicBezTo>
                    <a:pt x="26537" y="9234"/>
                    <a:pt x="26587" y="9219"/>
                    <a:pt x="26632" y="9190"/>
                  </a:cubicBezTo>
                  <a:cubicBezTo>
                    <a:pt x="26744" y="9113"/>
                    <a:pt x="26828" y="9025"/>
                    <a:pt x="26845" y="8987"/>
                  </a:cubicBezTo>
                  <a:cubicBezTo>
                    <a:pt x="26831" y="8983"/>
                    <a:pt x="26817" y="8983"/>
                    <a:pt x="26803" y="8983"/>
                  </a:cubicBezTo>
                  <a:cubicBezTo>
                    <a:pt x="26614" y="8973"/>
                    <a:pt x="26499" y="8920"/>
                    <a:pt x="26485" y="8829"/>
                  </a:cubicBezTo>
                  <a:cubicBezTo>
                    <a:pt x="26481" y="8801"/>
                    <a:pt x="26485" y="8724"/>
                    <a:pt x="26611" y="8675"/>
                  </a:cubicBezTo>
                  <a:cubicBezTo>
                    <a:pt x="26621" y="8672"/>
                    <a:pt x="26642" y="8661"/>
                    <a:pt x="26639" y="8616"/>
                  </a:cubicBezTo>
                  <a:cubicBezTo>
                    <a:pt x="26618" y="8518"/>
                    <a:pt x="26537" y="8441"/>
                    <a:pt x="26436" y="8423"/>
                  </a:cubicBezTo>
                  <a:cubicBezTo>
                    <a:pt x="26366" y="8416"/>
                    <a:pt x="26271" y="8399"/>
                    <a:pt x="26243" y="8318"/>
                  </a:cubicBezTo>
                  <a:cubicBezTo>
                    <a:pt x="26212" y="8227"/>
                    <a:pt x="26299" y="8129"/>
                    <a:pt x="26383" y="8045"/>
                  </a:cubicBezTo>
                  <a:cubicBezTo>
                    <a:pt x="26390" y="8038"/>
                    <a:pt x="26397" y="8027"/>
                    <a:pt x="26394" y="8017"/>
                  </a:cubicBezTo>
                  <a:cubicBezTo>
                    <a:pt x="26387" y="7926"/>
                    <a:pt x="26156" y="7765"/>
                    <a:pt x="26058" y="7698"/>
                  </a:cubicBezTo>
                  <a:lnTo>
                    <a:pt x="26040" y="7684"/>
                  </a:lnTo>
                  <a:cubicBezTo>
                    <a:pt x="25963" y="7632"/>
                    <a:pt x="25956" y="7579"/>
                    <a:pt x="25963" y="7544"/>
                  </a:cubicBezTo>
                  <a:cubicBezTo>
                    <a:pt x="25981" y="7467"/>
                    <a:pt x="26072" y="7415"/>
                    <a:pt x="26275" y="7376"/>
                  </a:cubicBezTo>
                  <a:cubicBezTo>
                    <a:pt x="26299" y="7331"/>
                    <a:pt x="26296" y="7152"/>
                    <a:pt x="26292" y="7044"/>
                  </a:cubicBezTo>
                  <a:cubicBezTo>
                    <a:pt x="26292" y="6893"/>
                    <a:pt x="26289" y="6764"/>
                    <a:pt x="26320" y="6694"/>
                  </a:cubicBezTo>
                  <a:cubicBezTo>
                    <a:pt x="26355" y="6613"/>
                    <a:pt x="26432" y="6561"/>
                    <a:pt x="26516" y="6554"/>
                  </a:cubicBezTo>
                  <a:cubicBezTo>
                    <a:pt x="26519" y="6553"/>
                    <a:pt x="26523" y="6553"/>
                    <a:pt x="26526" y="6553"/>
                  </a:cubicBezTo>
                  <a:cubicBezTo>
                    <a:pt x="26568" y="6553"/>
                    <a:pt x="26609" y="6574"/>
                    <a:pt x="26635" y="6610"/>
                  </a:cubicBezTo>
                  <a:cubicBezTo>
                    <a:pt x="26656" y="6659"/>
                    <a:pt x="26653" y="6715"/>
                    <a:pt x="26618" y="6757"/>
                  </a:cubicBezTo>
                  <a:cubicBezTo>
                    <a:pt x="26523" y="6904"/>
                    <a:pt x="26443" y="7072"/>
                    <a:pt x="26565" y="7212"/>
                  </a:cubicBezTo>
                  <a:cubicBezTo>
                    <a:pt x="26740" y="7411"/>
                    <a:pt x="26786" y="7632"/>
                    <a:pt x="26723" y="7922"/>
                  </a:cubicBezTo>
                  <a:lnTo>
                    <a:pt x="26719" y="7936"/>
                  </a:lnTo>
                  <a:cubicBezTo>
                    <a:pt x="26765" y="7870"/>
                    <a:pt x="26807" y="7796"/>
                    <a:pt x="26845" y="7723"/>
                  </a:cubicBezTo>
                  <a:cubicBezTo>
                    <a:pt x="26985" y="7439"/>
                    <a:pt x="27020" y="7205"/>
                    <a:pt x="26982" y="7117"/>
                  </a:cubicBezTo>
                  <a:cubicBezTo>
                    <a:pt x="26982" y="7110"/>
                    <a:pt x="26975" y="7100"/>
                    <a:pt x="26968" y="7100"/>
                  </a:cubicBezTo>
                  <a:cubicBezTo>
                    <a:pt x="26877" y="7072"/>
                    <a:pt x="26842" y="6960"/>
                    <a:pt x="26838" y="6869"/>
                  </a:cubicBezTo>
                  <a:cubicBezTo>
                    <a:pt x="26835" y="6781"/>
                    <a:pt x="26863" y="6718"/>
                    <a:pt x="26915" y="6701"/>
                  </a:cubicBezTo>
                  <a:cubicBezTo>
                    <a:pt x="26925" y="6697"/>
                    <a:pt x="26936" y="6694"/>
                    <a:pt x="26949" y="6694"/>
                  </a:cubicBezTo>
                  <a:cubicBezTo>
                    <a:pt x="26980" y="6694"/>
                    <a:pt x="27020" y="6711"/>
                    <a:pt x="27062" y="6764"/>
                  </a:cubicBezTo>
                  <a:cubicBezTo>
                    <a:pt x="27104" y="6816"/>
                    <a:pt x="27150" y="6872"/>
                    <a:pt x="27178" y="6872"/>
                  </a:cubicBezTo>
                  <a:cubicBezTo>
                    <a:pt x="27220" y="6872"/>
                    <a:pt x="27318" y="6771"/>
                    <a:pt x="27353" y="6736"/>
                  </a:cubicBezTo>
                  <a:cubicBezTo>
                    <a:pt x="27528" y="6550"/>
                    <a:pt x="27678" y="6284"/>
                    <a:pt x="27664" y="6179"/>
                  </a:cubicBezTo>
                  <a:cubicBezTo>
                    <a:pt x="27664" y="6162"/>
                    <a:pt x="27657" y="6158"/>
                    <a:pt x="27654" y="6158"/>
                  </a:cubicBezTo>
                  <a:cubicBezTo>
                    <a:pt x="27566" y="6102"/>
                    <a:pt x="27577" y="6039"/>
                    <a:pt x="27587" y="6015"/>
                  </a:cubicBezTo>
                  <a:cubicBezTo>
                    <a:pt x="27622" y="5905"/>
                    <a:pt x="27814" y="5877"/>
                    <a:pt x="27950" y="5877"/>
                  </a:cubicBezTo>
                  <a:cubicBezTo>
                    <a:pt x="27967" y="5877"/>
                    <a:pt x="27982" y="5877"/>
                    <a:pt x="27997" y="5878"/>
                  </a:cubicBezTo>
                  <a:cubicBezTo>
                    <a:pt x="28006" y="5878"/>
                    <a:pt x="28015" y="5879"/>
                    <a:pt x="28024" y="5879"/>
                  </a:cubicBezTo>
                  <a:cubicBezTo>
                    <a:pt x="28237" y="5879"/>
                    <a:pt x="28614" y="5767"/>
                    <a:pt x="28718" y="5703"/>
                  </a:cubicBezTo>
                  <a:cubicBezTo>
                    <a:pt x="28714" y="5703"/>
                    <a:pt x="28710" y="5703"/>
                    <a:pt x="28705" y="5703"/>
                  </a:cubicBezTo>
                  <a:cubicBezTo>
                    <a:pt x="28620" y="5703"/>
                    <a:pt x="28457" y="5732"/>
                    <a:pt x="28354" y="5752"/>
                  </a:cubicBezTo>
                  <a:cubicBezTo>
                    <a:pt x="28206" y="5777"/>
                    <a:pt x="28103" y="5796"/>
                    <a:pt x="28031" y="5796"/>
                  </a:cubicBezTo>
                  <a:cubicBezTo>
                    <a:pt x="27982" y="5796"/>
                    <a:pt x="27948" y="5787"/>
                    <a:pt x="27924" y="5766"/>
                  </a:cubicBezTo>
                  <a:cubicBezTo>
                    <a:pt x="27902" y="5752"/>
                    <a:pt x="27892" y="5724"/>
                    <a:pt x="27892" y="5699"/>
                  </a:cubicBezTo>
                  <a:cubicBezTo>
                    <a:pt x="27892" y="5458"/>
                    <a:pt x="28729" y="5360"/>
                    <a:pt x="28841" y="5356"/>
                  </a:cubicBezTo>
                  <a:cubicBezTo>
                    <a:pt x="28942" y="5349"/>
                    <a:pt x="28960" y="5286"/>
                    <a:pt x="28977" y="5195"/>
                  </a:cubicBezTo>
                  <a:cubicBezTo>
                    <a:pt x="28988" y="5153"/>
                    <a:pt x="28995" y="5101"/>
                    <a:pt x="29047" y="5087"/>
                  </a:cubicBezTo>
                  <a:cubicBezTo>
                    <a:pt x="29053" y="5086"/>
                    <a:pt x="29058" y="5085"/>
                    <a:pt x="29064" y="5085"/>
                  </a:cubicBezTo>
                  <a:cubicBezTo>
                    <a:pt x="29111" y="5085"/>
                    <a:pt x="29144" y="5125"/>
                    <a:pt x="29163" y="5150"/>
                  </a:cubicBezTo>
                  <a:cubicBezTo>
                    <a:pt x="29212" y="5215"/>
                    <a:pt x="29274" y="5238"/>
                    <a:pt x="29335" y="5238"/>
                  </a:cubicBezTo>
                  <a:cubicBezTo>
                    <a:pt x="29411" y="5238"/>
                    <a:pt x="29487" y="5202"/>
                    <a:pt x="29537" y="5171"/>
                  </a:cubicBezTo>
                  <a:cubicBezTo>
                    <a:pt x="29572" y="5146"/>
                    <a:pt x="29586" y="5104"/>
                    <a:pt x="29576" y="5066"/>
                  </a:cubicBezTo>
                  <a:cubicBezTo>
                    <a:pt x="29562" y="4971"/>
                    <a:pt x="29495" y="4898"/>
                    <a:pt x="29408" y="4866"/>
                  </a:cubicBezTo>
                  <a:cubicBezTo>
                    <a:pt x="29362" y="4856"/>
                    <a:pt x="29324" y="4824"/>
                    <a:pt x="29306" y="4782"/>
                  </a:cubicBezTo>
                  <a:cubicBezTo>
                    <a:pt x="29289" y="4719"/>
                    <a:pt x="29334" y="4674"/>
                    <a:pt x="29380" y="4628"/>
                  </a:cubicBezTo>
                  <a:cubicBezTo>
                    <a:pt x="29401" y="4607"/>
                    <a:pt x="29439" y="4569"/>
                    <a:pt x="29439" y="4551"/>
                  </a:cubicBezTo>
                  <a:cubicBezTo>
                    <a:pt x="29383" y="4453"/>
                    <a:pt x="29460" y="4268"/>
                    <a:pt x="29485" y="4215"/>
                  </a:cubicBezTo>
                  <a:cubicBezTo>
                    <a:pt x="29520" y="4142"/>
                    <a:pt x="29642" y="3904"/>
                    <a:pt x="29835" y="3865"/>
                  </a:cubicBezTo>
                  <a:cubicBezTo>
                    <a:pt x="29922" y="3844"/>
                    <a:pt x="29943" y="3816"/>
                    <a:pt x="29968" y="3777"/>
                  </a:cubicBezTo>
                  <a:cubicBezTo>
                    <a:pt x="30000" y="3706"/>
                    <a:pt x="30072" y="3665"/>
                    <a:pt x="30149" y="3665"/>
                  </a:cubicBezTo>
                  <a:cubicBezTo>
                    <a:pt x="30155" y="3665"/>
                    <a:pt x="30161" y="3665"/>
                    <a:pt x="30168" y="3665"/>
                  </a:cubicBezTo>
                  <a:cubicBezTo>
                    <a:pt x="30252" y="3665"/>
                    <a:pt x="30294" y="3606"/>
                    <a:pt x="30367" y="3490"/>
                  </a:cubicBezTo>
                  <a:cubicBezTo>
                    <a:pt x="30409" y="3417"/>
                    <a:pt x="30462" y="3350"/>
                    <a:pt x="30521" y="3287"/>
                  </a:cubicBezTo>
                  <a:cubicBezTo>
                    <a:pt x="30564" y="3243"/>
                    <a:pt x="30611" y="3227"/>
                    <a:pt x="30659" y="3227"/>
                  </a:cubicBezTo>
                  <a:cubicBezTo>
                    <a:pt x="30731" y="3227"/>
                    <a:pt x="30804" y="3264"/>
                    <a:pt x="30868" y="3298"/>
                  </a:cubicBezTo>
                  <a:cubicBezTo>
                    <a:pt x="30945" y="3338"/>
                    <a:pt x="31008" y="3366"/>
                    <a:pt x="31067" y="3366"/>
                  </a:cubicBezTo>
                  <a:cubicBezTo>
                    <a:pt x="31113" y="3366"/>
                    <a:pt x="31157" y="3349"/>
                    <a:pt x="31204" y="3308"/>
                  </a:cubicBezTo>
                  <a:cubicBezTo>
                    <a:pt x="31316" y="3207"/>
                    <a:pt x="31435" y="3116"/>
                    <a:pt x="31561" y="3035"/>
                  </a:cubicBezTo>
                  <a:lnTo>
                    <a:pt x="31557" y="3028"/>
                  </a:lnTo>
                  <a:lnTo>
                    <a:pt x="31536" y="3000"/>
                  </a:lnTo>
                  <a:lnTo>
                    <a:pt x="31512" y="2965"/>
                  </a:lnTo>
                  <a:lnTo>
                    <a:pt x="31491" y="2934"/>
                  </a:lnTo>
                  <a:lnTo>
                    <a:pt x="31470" y="2902"/>
                  </a:lnTo>
                  <a:lnTo>
                    <a:pt x="31452" y="2871"/>
                  </a:lnTo>
                  <a:lnTo>
                    <a:pt x="31431" y="2843"/>
                  </a:lnTo>
                  <a:lnTo>
                    <a:pt x="31414" y="2811"/>
                  </a:lnTo>
                  <a:lnTo>
                    <a:pt x="31396" y="2783"/>
                  </a:lnTo>
                  <a:lnTo>
                    <a:pt x="31379" y="2752"/>
                  </a:lnTo>
                  <a:lnTo>
                    <a:pt x="31361" y="2724"/>
                  </a:lnTo>
                  <a:lnTo>
                    <a:pt x="31347" y="2692"/>
                  </a:lnTo>
                  <a:lnTo>
                    <a:pt x="31333" y="2664"/>
                  </a:lnTo>
                  <a:lnTo>
                    <a:pt x="31316" y="2636"/>
                  </a:lnTo>
                  <a:lnTo>
                    <a:pt x="31305" y="2608"/>
                  </a:lnTo>
                  <a:lnTo>
                    <a:pt x="31291" y="2580"/>
                  </a:lnTo>
                  <a:lnTo>
                    <a:pt x="31277" y="2556"/>
                  </a:lnTo>
                  <a:lnTo>
                    <a:pt x="31267" y="2524"/>
                  </a:lnTo>
                  <a:lnTo>
                    <a:pt x="31256" y="2500"/>
                  </a:lnTo>
                  <a:lnTo>
                    <a:pt x="31242" y="2472"/>
                  </a:lnTo>
                  <a:lnTo>
                    <a:pt x="31235" y="2447"/>
                  </a:lnTo>
                  <a:lnTo>
                    <a:pt x="31225" y="2419"/>
                  </a:lnTo>
                  <a:lnTo>
                    <a:pt x="31214" y="2395"/>
                  </a:lnTo>
                  <a:lnTo>
                    <a:pt x="31207" y="2367"/>
                  </a:lnTo>
                  <a:lnTo>
                    <a:pt x="31200" y="2346"/>
                  </a:lnTo>
                  <a:lnTo>
                    <a:pt x="31190" y="2318"/>
                  </a:lnTo>
                  <a:lnTo>
                    <a:pt x="31183" y="2297"/>
                  </a:lnTo>
                  <a:lnTo>
                    <a:pt x="31176" y="2269"/>
                  </a:lnTo>
                  <a:lnTo>
                    <a:pt x="31172" y="2248"/>
                  </a:lnTo>
                  <a:lnTo>
                    <a:pt x="31165" y="2223"/>
                  </a:lnTo>
                  <a:lnTo>
                    <a:pt x="31158" y="2202"/>
                  </a:lnTo>
                  <a:lnTo>
                    <a:pt x="31155" y="2178"/>
                  </a:lnTo>
                  <a:lnTo>
                    <a:pt x="31148" y="2157"/>
                  </a:lnTo>
                  <a:cubicBezTo>
                    <a:pt x="31148" y="2150"/>
                    <a:pt x="31144" y="2139"/>
                    <a:pt x="31144" y="2132"/>
                  </a:cubicBezTo>
                  <a:lnTo>
                    <a:pt x="31141" y="2115"/>
                  </a:lnTo>
                  <a:lnTo>
                    <a:pt x="31137" y="2090"/>
                  </a:lnTo>
                  <a:lnTo>
                    <a:pt x="31134" y="2073"/>
                  </a:lnTo>
                  <a:cubicBezTo>
                    <a:pt x="31134" y="2062"/>
                    <a:pt x="31130" y="2055"/>
                    <a:pt x="31130" y="2048"/>
                  </a:cubicBezTo>
                  <a:lnTo>
                    <a:pt x="31130" y="2031"/>
                  </a:lnTo>
                  <a:cubicBezTo>
                    <a:pt x="31130" y="2024"/>
                    <a:pt x="31130" y="2013"/>
                    <a:pt x="31127" y="2006"/>
                  </a:cubicBezTo>
                  <a:cubicBezTo>
                    <a:pt x="31123" y="1999"/>
                    <a:pt x="31127" y="1996"/>
                    <a:pt x="31127" y="1989"/>
                  </a:cubicBezTo>
                  <a:lnTo>
                    <a:pt x="31127" y="1968"/>
                  </a:lnTo>
                  <a:lnTo>
                    <a:pt x="31127" y="1950"/>
                  </a:lnTo>
                  <a:lnTo>
                    <a:pt x="31127" y="1929"/>
                  </a:lnTo>
                  <a:lnTo>
                    <a:pt x="31127" y="1915"/>
                  </a:lnTo>
                  <a:lnTo>
                    <a:pt x="31127" y="1894"/>
                  </a:lnTo>
                  <a:lnTo>
                    <a:pt x="31127" y="1880"/>
                  </a:lnTo>
                  <a:lnTo>
                    <a:pt x="31127" y="1859"/>
                  </a:lnTo>
                  <a:lnTo>
                    <a:pt x="31127" y="1845"/>
                  </a:lnTo>
                  <a:lnTo>
                    <a:pt x="31127" y="1824"/>
                  </a:lnTo>
                  <a:lnTo>
                    <a:pt x="31127" y="1810"/>
                  </a:lnTo>
                  <a:lnTo>
                    <a:pt x="31127" y="1792"/>
                  </a:lnTo>
                  <a:lnTo>
                    <a:pt x="31127" y="1778"/>
                  </a:lnTo>
                  <a:lnTo>
                    <a:pt x="31127" y="1761"/>
                  </a:lnTo>
                  <a:lnTo>
                    <a:pt x="31127" y="1750"/>
                  </a:lnTo>
                  <a:lnTo>
                    <a:pt x="31127" y="1733"/>
                  </a:lnTo>
                  <a:lnTo>
                    <a:pt x="31127" y="1722"/>
                  </a:lnTo>
                  <a:lnTo>
                    <a:pt x="31127" y="1705"/>
                  </a:lnTo>
                  <a:lnTo>
                    <a:pt x="31127" y="1698"/>
                  </a:lnTo>
                  <a:lnTo>
                    <a:pt x="31127" y="1677"/>
                  </a:lnTo>
                  <a:cubicBezTo>
                    <a:pt x="31127" y="1663"/>
                    <a:pt x="31130" y="1645"/>
                    <a:pt x="31130" y="1635"/>
                  </a:cubicBezTo>
                  <a:cubicBezTo>
                    <a:pt x="31134" y="1603"/>
                    <a:pt x="31134" y="1572"/>
                    <a:pt x="31134" y="1540"/>
                  </a:cubicBezTo>
                  <a:cubicBezTo>
                    <a:pt x="31120" y="1516"/>
                    <a:pt x="31004" y="1505"/>
                    <a:pt x="30927" y="1502"/>
                  </a:cubicBezTo>
                  <a:lnTo>
                    <a:pt x="30913" y="1502"/>
                  </a:lnTo>
                  <a:cubicBezTo>
                    <a:pt x="30756" y="1491"/>
                    <a:pt x="30563" y="1477"/>
                    <a:pt x="30430" y="1376"/>
                  </a:cubicBezTo>
                  <a:cubicBezTo>
                    <a:pt x="30420" y="1369"/>
                    <a:pt x="30409" y="1365"/>
                    <a:pt x="30395" y="1365"/>
                  </a:cubicBezTo>
                  <a:cubicBezTo>
                    <a:pt x="30388" y="1365"/>
                    <a:pt x="30385" y="1369"/>
                    <a:pt x="30378" y="1369"/>
                  </a:cubicBezTo>
                  <a:cubicBezTo>
                    <a:pt x="30196" y="1432"/>
                    <a:pt x="29912" y="2003"/>
                    <a:pt x="29838" y="2311"/>
                  </a:cubicBezTo>
                  <a:cubicBezTo>
                    <a:pt x="29751" y="2671"/>
                    <a:pt x="29156" y="3046"/>
                    <a:pt x="29131" y="3063"/>
                  </a:cubicBezTo>
                  <a:lnTo>
                    <a:pt x="29114" y="3074"/>
                  </a:lnTo>
                  <a:lnTo>
                    <a:pt x="29089" y="3074"/>
                  </a:lnTo>
                  <a:cubicBezTo>
                    <a:pt x="29068" y="3074"/>
                    <a:pt x="27356" y="3088"/>
                    <a:pt x="27209" y="3088"/>
                  </a:cubicBezTo>
                  <a:lnTo>
                    <a:pt x="27192" y="3088"/>
                  </a:lnTo>
                  <a:lnTo>
                    <a:pt x="27185" y="3091"/>
                  </a:lnTo>
                  <a:lnTo>
                    <a:pt x="27178" y="3095"/>
                  </a:lnTo>
                  <a:lnTo>
                    <a:pt x="27171" y="3098"/>
                  </a:lnTo>
                  <a:lnTo>
                    <a:pt x="27164" y="3102"/>
                  </a:lnTo>
                  <a:lnTo>
                    <a:pt x="27153" y="3109"/>
                  </a:lnTo>
                  <a:lnTo>
                    <a:pt x="27143" y="3116"/>
                  </a:lnTo>
                  <a:lnTo>
                    <a:pt x="27132" y="3123"/>
                  </a:lnTo>
                  <a:lnTo>
                    <a:pt x="27129" y="3123"/>
                  </a:lnTo>
                  <a:lnTo>
                    <a:pt x="27115" y="3130"/>
                  </a:lnTo>
                  <a:lnTo>
                    <a:pt x="27111" y="3130"/>
                  </a:lnTo>
                  <a:lnTo>
                    <a:pt x="27101" y="3137"/>
                  </a:lnTo>
                  <a:lnTo>
                    <a:pt x="27097" y="3137"/>
                  </a:lnTo>
                  <a:lnTo>
                    <a:pt x="27083" y="3147"/>
                  </a:lnTo>
                  <a:lnTo>
                    <a:pt x="27080" y="3151"/>
                  </a:lnTo>
                  <a:lnTo>
                    <a:pt x="27062" y="3161"/>
                  </a:lnTo>
                  <a:lnTo>
                    <a:pt x="27059" y="3165"/>
                  </a:lnTo>
                  <a:lnTo>
                    <a:pt x="27041" y="3179"/>
                  </a:lnTo>
                  <a:lnTo>
                    <a:pt x="27038" y="3182"/>
                  </a:lnTo>
                  <a:lnTo>
                    <a:pt x="27020" y="3193"/>
                  </a:lnTo>
                  <a:lnTo>
                    <a:pt x="27013" y="3196"/>
                  </a:lnTo>
                  <a:lnTo>
                    <a:pt x="26996" y="3214"/>
                  </a:lnTo>
                  <a:lnTo>
                    <a:pt x="26989" y="3217"/>
                  </a:lnTo>
                  <a:lnTo>
                    <a:pt x="26968" y="3231"/>
                  </a:lnTo>
                  <a:lnTo>
                    <a:pt x="26961" y="3238"/>
                  </a:lnTo>
                  <a:lnTo>
                    <a:pt x="26940" y="3256"/>
                  </a:lnTo>
                  <a:lnTo>
                    <a:pt x="26933" y="3259"/>
                  </a:lnTo>
                  <a:lnTo>
                    <a:pt x="26912" y="3280"/>
                  </a:lnTo>
                  <a:lnTo>
                    <a:pt x="26901" y="3284"/>
                  </a:lnTo>
                  <a:lnTo>
                    <a:pt x="26877" y="3305"/>
                  </a:lnTo>
                  <a:lnTo>
                    <a:pt x="26870" y="3312"/>
                  </a:lnTo>
                  <a:lnTo>
                    <a:pt x="26845" y="3333"/>
                  </a:lnTo>
                  <a:lnTo>
                    <a:pt x="26835" y="3340"/>
                  </a:lnTo>
                  <a:lnTo>
                    <a:pt x="26807" y="3364"/>
                  </a:lnTo>
                  <a:lnTo>
                    <a:pt x="26796" y="3371"/>
                  </a:lnTo>
                  <a:lnTo>
                    <a:pt x="26768" y="3396"/>
                  </a:lnTo>
                  <a:lnTo>
                    <a:pt x="26758" y="3406"/>
                  </a:lnTo>
                  <a:lnTo>
                    <a:pt x="26726" y="3431"/>
                  </a:lnTo>
                  <a:lnTo>
                    <a:pt x="26716" y="3441"/>
                  </a:lnTo>
                  <a:lnTo>
                    <a:pt x="26681" y="3469"/>
                  </a:lnTo>
                  <a:lnTo>
                    <a:pt x="26674" y="3480"/>
                  </a:lnTo>
                  <a:lnTo>
                    <a:pt x="26635" y="3511"/>
                  </a:lnTo>
                  <a:lnTo>
                    <a:pt x="26628" y="3518"/>
                  </a:lnTo>
                  <a:lnTo>
                    <a:pt x="26586" y="3553"/>
                  </a:lnTo>
                  <a:lnTo>
                    <a:pt x="26579" y="3564"/>
                  </a:lnTo>
                  <a:lnTo>
                    <a:pt x="26569" y="3571"/>
                  </a:lnTo>
                  <a:cubicBezTo>
                    <a:pt x="26611" y="3644"/>
                    <a:pt x="26611" y="3739"/>
                    <a:pt x="26569" y="3812"/>
                  </a:cubicBezTo>
                  <a:cubicBezTo>
                    <a:pt x="26429" y="4061"/>
                    <a:pt x="25872" y="4170"/>
                    <a:pt x="25441" y="4187"/>
                  </a:cubicBezTo>
                  <a:cubicBezTo>
                    <a:pt x="25298" y="4194"/>
                    <a:pt x="25186" y="4205"/>
                    <a:pt x="25084" y="4219"/>
                  </a:cubicBezTo>
                  <a:cubicBezTo>
                    <a:pt x="25088" y="4240"/>
                    <a:pt x="25091" y="4257"/>
                    <a:pt x="25095" y="4275"/>
                  </a:cubicBezTo>
                  <a:lnTo>
                    <a:pt x="25095" y="4289"/>
                  </a:lnTo>
                  <a:cubicBezTo>
                    <a:pt x="25095" y="4303"/>
                    <a:pt x="25095" y="4317"/>
                    <a:pt x="25098" y="4327"/>
                  </a:cubicBezTo>
                  <a:lnTo>
                    <a:pt x="25098" y="4341"/>
                  </a:lnTo>
                  <a:cubicBezTo>
                    <a:pt x="25098" y="4355"/>
                    <a:pt x="25098" y="4373"/>
                    <a:pt x="25098" y="4387"/>
                  </a:cubicBezTo>
                  <a:cubicBezTo>
                    <a:pt x="25095" y="4394"/>
                    <a:pt x="25095" y="4401"/>
                    <a:pt x="25091" y="4408"/>
                  </a:cubicBezTo>
                  <a:cubicBezTo>
                    <a:pt x="25091" y="4411"/>
                    <a:pt x="25091" y="4415"/>
                    <a:pt x="25088" y="4415"/>
                  </a:cubicBezTo>
                  <a:cubicBezTo>
                    <a:pt x="25088" y="4422"/>
                    <a:pt x="25084" y="4425"/>
                    <a:pt x="25084" y="4429"/>
                  </a:cubicBezTo>
                  <a:cubicBezTo>
                    <a:pt x="25084" y="4432"/>
                    <a:pt x="25077" y="4436"/>
                    <a:pt x="25077" y="4439"/>
                  </a:cubicBezTo>
                  <a:cubicBezTo>
                    <a:pt x="25074" y="4443"/>
                    <a:pt x="25070" y="4450"/>
                    <a:pt x="25067" y="4453"/>
                  </a:cubicBezTo>
                  <a:lnTo>
                    <a:pt x="25060" y="4464"/>
                  </a:lnTo>
                  <a:lnTo>
                    <a:pt x="25046" y="4474"/>
                  </a:lnTo>
                  <a:lnTo>
                    <a:pt x="25035" y="4485"/>
                  </a:lnTo>
                  <a:lnTo>
                    <a:pt x="25021" y="4495"/>
                  </a:lnTo>
                  <a:lnTo>
                    <a:pt x="25007" y="4506"/>
                  </a:lnTo>
                  <a:lnTo>
                    <a:pt x="24990" y="4520"/>
                  </a:lnTo>
                  <a:lnTo>
                    <a:pt x="24972" y="4530"/>
                  </a:lnTo>
                  <a:lnTo>
                    <a:pt x="24951" y="4544"/>
                  </a:lnTo>
                  <a:lnTo>
                    <a:pt x="24934" y="4555"/>
                  </a:lnTo>
                  <a:lnTo>
                    <a:pt x="24916" y="4562"/>
                  </a:lnTo>
                  <a:cubicBezTo>
                    <a:pt x="24811" y="4730"/>
                    <a:pt x="24381" y="4961"/>
                    <a:pt x="23835" y="5244"/>
                  </a:cubicBezTo>
                  <a:lnTo>
                    <a:pt x="23649" y="5342"/>
                  </a:lnTo>
                  <a:cubicBezTo>
                    <a:pt x="23478" y="5431"/>
                    <a:pt x="23282" y="5476"/>
                    <a:pt x="23097" y="5476"/>
                  </a:cubicBezTo>
                  <a:cubicBezTo>
                    <a:pt x="22934" y="5476"/>
                    <a:pt x="22780" y="5441"/>
                    <a:pt x="22662" y="5370"/>
                  </a:cubicBezTo>
                  <a:cubicBezTo>
                    <a:pt x="22539" y="5304"/>
                    <a:pt x="22462" y="5178"/>
                    <a:pt x="22459" y="5041"/>
                  </a:cubicBezTo>
                  <a:cubicBezTo>
                    <a:pt x="22459" y="4789"/>
                    <a:pt x="22602" y="4733"/>
                    <a:pt x="22665" y="4719"/>
                  </a:cubicBezTo>
                  <a:cubicBezTo>
                    <a:pt x="22682" y="4717"/>
                    <a:pt x="22698" y="4715"/>
                    <a:pt x="22714" y="4715"/>
                  </a:cubicBezTo>
                  <a:cubicBezTo>
                    <a:pt x="22830" y="4715"/>
                    <a:pt x="22939" y="4779"/>
                    <a:pt x="22994" y="4884"/>
                  </a:cubicBezTo>
                  <a:cubicBezTo>
                    <a:pt x="23019" y="4873"/>
                    <a:pt x="23040" y="4859"/>
                    <a:pt x="23064" y="4845"/>
                  </a:cubicBezTo>
                  <a:cubicBezTo>
                    <a:pt x="23057" y="4838"/>
                    <a:pt x="23054" y="4831"/>
                    <a:pt x="23050" y="4824"/>
                  </a:cubicBezTo>
                  <a:cubicBezTo>
                    <a:pt x="23047" y="4817"/>
                    <a:pt x="23047" y="4814"/>
                    <a:pt x="23043" y="4810"/>
                  </a:cubicBezTo>
                  <a:cubicBezTo>
                    <a:pt x="23036" y="4796"/>
                    <a:pt x="23029" y="4779"/>
                    <a:pt x="23022" y="4761"/>
                  </a:cubicBezTo>
                  <a:cubicBezTo>
                    <a:pt x="23022" y="4758"/>
                    <a:pt x="23022" y="4754"/>
                    <a:pt x="23019" y="4751"/>
                  </a:cubicBezTo>
                  <a:cubicBezTo>
                    <a:pt x="23015" y="4737"/>
                    <a:pt x="23008" y="4723"/>
                    <a:pt x="23005" y="4709"/>
                  </a:cubicBezTo>
                  <a:cubicBezTo>
                    <a:pt x="23005" y="4702"/>
                    <a:pt x="23005" y="4698"/>
                    <a:pt x="23001" y="4691"/>
                  </a:cubicBezTo>
                  <a:cubicBezTo>
                    <a:pt x="23001" y="4677"/>
                    <a:pt x="22998" y="4663"/>
                    <a:pt x="22994" y="4646"/>
                  </a:cubicBezTo>
                  <a:lnTo>
                    <a:pt x="22994" y="4632"/>
                  </a:lnTo>
                  <a:cubicBezTo>
                    <a:pt x="22994" y="4611"/>
                    <a:pt x="22994" y="4590"/>
                    <a:pt x="22994" y="4569"/>
                  </a:cubicBezTo>
                  <a:lnTo>
                    <a:pt x="22994" y="4565"/>
                  </a:lnTo>
                  <a:cubicBezTo>
                    <a:pt x="22994" y="4544"/>
                    <a:pt x="22994" y="4523"/>
                    <a:pt x="22994" y="4502"/>
                  </a:cubicBezTo>
                  <a:lnTo>
                    <a:pt x="22994" y="4481"/>
                  </a:lnTo>
                  <a:cubicBezTo>
                    <a:pt x="22994" y="4474"/>
                    <a:pt x="22994" y="4464"/>
                    <a:pt x="22998" y="4457"/>
                  </a:cubicBezTo>
                  <a:cubicBezTo>
                    <a:pt x="22945" y="4397"/>
                    <a:pt x="22949" y="4289"/>
                    <a:pt x="22956" y="4170"/>
                  </a:cubicBezTo>
                  <a:cubicBezTo>
                    <a:pt x="22959" y="3977"/>
                    <a:pt x="22956" y="3830"/>
                    <a:pt x="22847" y="3791"/>
                  </a:cubicBezTo>
                  <a:cubicBezTo>
                    <a:pt x="22830" y="3786"/>
                    <a:pt x="22812" y="3784"/>
                    <a:pt x="22794" y="3784"/>
                  </a:cubicBezTo>
                  <a:cubicBezTo>
                    <a:pt x="22691" y="3784"/>
                    <a:pt x="22572" y="3858"/>
                    <a:pt x="22483" y="3918"/>
                  </a:cubicBezTo>
                  <a:cubicBezTo>
                    <a:pt x="22413" y="3962"/>
                    <a:pt x="22358" y="3998"/>
                    <a:pt x="22309" y="3998"/>
                  </a:cubicBezTo>
                  <a:cubicBezTo>
                    <a:pt x="22292" y="3998"/>
                    <a:pt x="22275" y="3994"/>
                    <a:pt x="22259" y="3984"/>
                  </a:cubicBezTo>
                  <a:cubicBezTo>
                    <a:pt x="22200" y="3942"/>
                    <a:pt x="22214" y="3854"/>
                    <a:pt x="22221" y="3816"/>
                  </a:cubicBezTo>
                  <a:cubicBezTo>
                    <a:pt x="22238" y="3693"/>
                    <a:pt x="22308" y="3585"/>
                    <a:pt x="22371" y="3476"/>
                  </a:cubicBezTo>
                  <a:cubicBezTo>
                    <a:pt x="22494" y="3277"/>
                    <a:pt x="22599" y="3105"/>
                    <a:pt x="22448" y="2867"/>
                  </a:cubicBezTo>
                  <a:cubicBezTo>
                    <a:pt x="22307" y="2650"/>
                    <a:pt x="22115" y="2577"/>
                    <a:pt x="21978" y="2577"/>
                  </a:cubicBezTo>
                  <a:cubicBezTo>
                    <a:pt x="21962" y="2577"/>
                    <a:pt x="21948" y="2578"/>
                    <a:pt x="21934" y="2580"/>
                  </a:cubicBezTo>
                  <a:cubicBezTo>
                    <a:pt x="21832" y="2587"/>
                    <a:pt x="21745" y="2657"/>
                    <a:pt x="21717" y="2755"/>
                  </a:cubicBezTo>
                  <a:cubicBezTo>
                    <a:pt x="21653" y="2958"/>
                    <a:pt x="21496" y="3004"/>
                    <a:pt x="21373" y="3039"/>
                  </a:cubicBezTo>
                  <a:cubicBezTo>
                    <a:pt x="21265" y="3070"/>
                    <a:pt x="21195" y="3095"/>
                    <a:pt x="21156" y="3175"/>
                  </a:cubicBezTo>
                  <a:cubicBezTo>
                    <a:pt x="21037" y="3410"/>
                    <a:pt x="20925" y="3932"/>
                    <a:pt x="21016" y="4296"/>
                  </a:cubicBezTo>
                  <a:cubicBezTo>
                    <a:pt x="21128" y="4747"/>
                    <a:pt x="20946" y="4957"/>
                    <a:pt x="20596" y="5167"/>
                  </a:cubicBezTo>
                  <a:cubicBezTo>
                    <a:pt x="20532" y="5206"/>
                    <a:pt x="20469" y="5225"/>
                    <a:pt x="20409" y="5225"/>
                  </a:cubicBezTo>
                  <a:cubicBezTo>
                    <a:pt x="20355" y="5225"/>
                    <a:pt x="20303" y="5209"/>
                    <a:pt x="20257" y="5178"/>
                  </a:cubicBezTo>
                  <a:cubicBezTo>
                    <a:pt x="20050" y="5031"/>
                    <a:pt x="19984" y="4579"/>
                    <a:pt x="20085" y="4058"/>
                  </a:cubicBezTo>
                  <a:cubicBezTo>
                    <a:pt x="20120" y="3900"/>
                    <a:pt x="20162" y="3746"/>
                    <a:pt x="20215" y="3592"/>
                  </a:cubicBezTo>
                  <a:cubicBezTo>
                    <a:pt x="20267" y="3434"/>
                    <a:pt x="20330" y="3238"/>
                    <a:pt x="20299" y="3196"/>
                  </a:cubicBezTo>
                  <a:cubicBezTo>
                    <a:pt x="20294" y="3191"/>
                    <a:pt x="20287" y="3188"/>
                    <a:pt x="20279" y="3188"/>
                  </a:cubicBezTo>
                  <a:cubicBezTo>
                    <a:pt x="20276" y="3188"/>
                    <a:pt x="20273" y="3188"/>
                    <a:pt x="20271" y="3189"/>
                  </a:cubicBezTo>
                  <a:cubicBezTo>
                    <a:pt x="20266" y="3190"/>
                    <a:pt x="20262" y="3190"/>
                    <a:pt x="20258" y="3190"/>
                  </a:cubicBezTo>
                  <a:cubicBezTo>
                    <a:pt x="20203" y="3190"/>
                    <a:pt x="20155" y="3150"/>
                    <a:pt x="20148" y="3095"/>
                  </a:cubicBezTo>
                  <a:cubicBezTo>
                    <a:pt x="20127" y="2906"/>
                    <a:pt x="20652" y="2458"/>
                    <a:pt x="21083" y="2356"/>
                  </a:cubicBezTo>
                  <a:cubicBezTo>
                    <a:pt x="21296" y="2311"/>
                    <a:pt x="21517" y="2279"/>
                    <a:pt x="21738" y="2265"/>
                  </a:cubicBezTo>
                  <a:cubicBezTo>
                    <a:pt x="21902" y="2251"/>
                    <a:pt x="22130" y="2230"/>
                    <a:pt x="22172" y="2195"/>
                  </a:cubicBezTo>
                  <a:cubicBezTo>
                    <a:pt x="22172" y="2174"/>
                    <a:pt x="22179" y="2153"/>
                    <a:pt x="22189" y="2139"/>
                  </a:cubicBezTo>
                  <a:lnTo>
                    <a:pt x="22182" y="2132"/>
                  </a:lnTo>
                  <a:lnTo>
                    <a:pt x="22151" y="2111"/>
                  </a:lnTo>
                  <a:lnTo>
                    <a:pt x="22137" y="2101"/>
                  </a:lnTo>
                  <a:lnTo>
                    <a:pt x="22098" y="2073"/>
                  </a:lnTo>
                  <a:lnTo>
                    <a:pt x="22095" y="2073"/>
                  </a:lnTo>
                  <a:lnTo>
                    <a:pt x="22053" y="2045"/>
                  </a:lnTo>
                  <a:lnTo>
                    <a:pt x="22046" y="2041"/>
                  </a:lnTo>
                  <a:lnTo>
                    <a:pt x="22011" y="2017"/>
                  </a:lnTo>
                  <a:lnTo>
                    <a:pt x="22007" y="2017"/>
                  </a:lnTo>
                  <a:cubicBezTo>
                    <a:pt x="21993" y="2034"/>
                    <a:pt x="21976" y="2052"/>
                    <a:pt x="21958" y="2062"/>
                  </a:cubicBezTo>
                  <a:cubicBezTo>
                    <a:pt x="21912" y="2095"/>
                    <a:pt x="21872" y="2108"/>
                    <a:pt x="21838" y="2108"/>
                  </a:cubicBezTo>
                  <a:cubicBezTo>
                    <a:pt x="21765" y="2108"/>
                    <a:pt x="21717" y="2048"/>
                    <a:pt x="21681" y="2003"/>
                  </a:cubicBezTo>
                  <a:cubicBezTo>
                    <a:pt x="21629" y="1936"/>
                    <a:pt x="21566" y="1856"/>
                    <a:pt x="21412" y="1856"/>
                  </a:cubicBezTo>
                  <a:cubicBezTo>
                    <a:pt x="21268" y="1856"/>
                    <a:pt x="21118" y="1915"/>
                    <a:pt x="20974" y="1975"/>
                  </a:cubicBezTo>
                  <a:cubicBezTo>
                    <a:pt x="20833" y="2030"/>
                    <a:pt x="20688" y="2086"/>
                    <a:pt x="20549" y="2086"/>
                  </a:cubicBezTo>
                  <a:cubicBezTo>
                    <a:pt x="20485" y="2086"/>
                    <a:pt x="20422" y="2074"/>
                    <a:pt x="20362" y="2045"/>
                  </a:cubicBezTo>
                  <a:cubicBezTo>
                    <a:pt x="20253" y="1996"/>
                    <a:pt x="20166" y="1908"/>
                    <a:pt x="20120" y="1799"/>
                  </a:cubicBezTo>
                  <a:cubicBezTo>
                    <a:pt x="20089" y="1733"/>
                    <a:pt x="20078" y="1712"/>
                    <a:pt x="19977" y="1712"/>
                  </a:cubicBezTo>
                  <a:cubicBezTo>
                    <a:pt x="19973" y="1712"/>
                    <a:pt x="19970" y="1712"/>
                    <a:pt x="19966" y="1712"/>
                  </a:cubicBezTo>
                  <a:cubicBezTo>
                    <a:pt x="19921" y="1712"/>
                    <a:pt x="19876" y="1692"/>
                    <a:pt x="19847" y="1656"/>
                  </a:cubicBezTo>
                  <a:cubicBezTo>
                    <a:pt x="19798" y="1589"/>
                    <a:pt x="19830" y="1495"/>
                    <a:pt x="19858" y="1411"/>
                  </a:cubicBezTo>
                  <a:lnTo>
                    <a:pt x="19868" y="1386"/>
                  </a:lnTo>
                  <a:lnTo>
                    <a:pt x="19868" y="1386"/>
                  </a:lnTo>
                  <a:cubicBezTo>
                    <a:pt x="19854" y="1393"/>
                    <a:pt x="19837" y="1400"/>
                    <a:pt x="19816" y="1414"/>
                  </a:cubicBezTo>
                  <a:cubicBezTo>
                    <a:pt x="19721" y="1467"/>
                    <a:pt x="19616" y="1537"/>
                    <a:pt x="19507" y="1610"/>
                  </a:cubicBezTo>
                  <a:cubicBezTo>
                    <a:pt x="19239" y="1793"/>
                    <a:pt x="18944" y="1993"/>
                    <a:pt x="18713" y="1993"/>
                  </a:cubicBezTo>
                  <a:cubicBezTo>
                    <a:pt x="18635" y="1993"/>
                    <a:pt x="18563" y="1970"/>
                    <a:pt x="18503" y="1915"/>
                  </a:cubicBezTo>
                  <a:cubicBezTo>
                    <a:pt x="18435" y="1853"/>
                    <a:pt x="18371" y="1834"/>
                    <a:pt x="18307" y="1834"/>
                  </a:cubicBezTo>
                  <a:cubicBezTo>
                    <a:pt x="18259" y="1834"/>
                    <a:pt x="18211" y="1845"/>
                    <a:pt x="18160" y="1856"/>
                  </a:cubicBezTo>
                  <a:cubicBezTo>
                    <a:pt x="18107" y="1866"/>
                    <a:pt x="18054" y="1877"/>
                    <a:pt x="18002" y="1877"/>
                  </a:cubicBezTo>
                  <a:cubicBezTo>
                    <a:pt x="17931" y="1877"/>
                    <a:pt x="17862" y="1857"/>
                    <a:pt x="17796" y="1789"/>
                  </a:cubicBezTo>
                  <a:cubicBezTo>
                    <a:pt x="17743" y="1736"/>
                    <a:pt x="17733" y="1656"/>
                    <a:pt x="17768" y="1589"/>
                  </a:cubicBezTo>
                  <a:cubicBezTo>
                    <a:pt x="17891" y="1323"/>
                    <a:pt x="18548" y="973"/>
                    <a:pt x="18911" y="973"/>
                  </a:cubicBezTo>
                  <a:cubicBezTo>
                    <a:pt x="18920" y="973"/>
                    <a:pt x="18928" y="973"/>
                    <a:pt x="18937" y="973"/>
                  </a:cubicBezTo>
                  <a:cubicBezTo>
                    <a:pt x="18943" y="974"/>
                    <a:pt x="18949" y="974"/>
                    <a:pt x="18954" y="974"/>
                  </a:cubicBezTo>
                  <a:cubicBezTo>
                    <a:pt x="18994" y="974"/>
                    <a:pt x="19033" y="964"/>
                    <a:pt x="19070" y="949"/>
                  </a:cubicBezTo>
                  <a:cubicBezTo>
                    <a:pt x="18954" y="907"/>
                    <a:pt x="18839" y="872"/>
                    <a:pt x="18720" y="847"/>
                  </a:cubicBezTo>
                  <a:cubicBezTo>
                    <a:pt x="18672" y="838"/>
                    <a:pt x="18626" y="832"/>
                    <a:pt x="18588" y="832"/>
                  </a:cubicBezTo>
                  <a:cubicBezTo>
                    <a:pt x="18540" y="832"/>
                    <a:pt x="18503" y="841"/>
                    <a:pt x="18485" y="865"/>
                  </a:cubicBezTo>
                  <a:cubicBezTo>
                    <a:pt x="18436" y="924"/>
                    <a:pt x="18366" y="966"/>
                    <a:pt x="18289" y="977"/>
                  </a:cubicBezTo>
                  <a:lnTo>
                    <a:pt x="18254" y="977"/>
                  </a:lnTo>
                  <a:cubicBezTo>
                    <a:pt x="18219" y="977"/>
                    <a:pt x="18184" y="970"/>
                    <a:pt x="18153" y="959"/>
                  </a:cubicBezTo>
                  <a:cubicBezTo>
                    <a:pt x="18058" y="921"/>
                    <a:pt x="17974" y="861"/>
                    <a:pt x="17915" y="781"/>
                  </a:cubicBezTo>
                  <a:cubicBezTo>
                    <a:pt x="17893" y="751"/>
                    <a:pt x="17874" y="744"/>
                    <a:pt x="17836" y="744"/>
                  </a:cubicBezTo>
                  <a:cubicBezTo>
                    <a:pt x="17824" y="744"/>
                    <a:pt x="17811" y="745"/>
                    <a:pt x="17796" y="746"/>
                  </a:cubicBezTo>
                  <a:cubicBezTo>
                    <a:pt x="17782" y="747"/>
                    <a:pt x="17769" y="748"/>
                    <a:pt x="17755" y="748"/>
                  </a:cubicBezTo>
                  <a:cubicBezTo>
                    <a:pt x="17643" y="748"/>
                    <a:pt x="17532" y="696"/>
                    <a:pt x="17463" y="602"/>
                  </a:cubicBezTo>
                  <a:cubicBezTo>
                    <a:pt x="17403" y="534"/>
                    <a:pt x="17348" y="508"/>
                    <a:pt x="17290" y="508"/>
                  </a:cubicBezTo>
                  <a:cubicBezTo>
                    <a:pt x="17230" y="508"/>
                    <a:pt x="17169" y="537"/>
                    <a:pt x="17099" y="574"/>
                  </a:cubicBezTo>
                  <a:cubicBezTo>
                    <a:pt x="17078" y="585"/>
                    <a:pt x="17057" y="595"/>
                    <a:pt x="17036" y="606"/>
                  </a:cubicBezTo>
                  <a:cubicBezTo>
                    <a:pt x="17010" y="616"/>
                    <a:pt x="16985" y="621"/>
                    <a:pt x="16958" y="621"/>
                  </a:cubicBezTo>
                  <a:cubicBezTo>
                    <a:pt x="16879" y="621"/>
                    <a:pt x="16795" y="579"/>
                    <a:pt x="16703" y="532"/>
                  </a:cubicBezTo>
                  <a:cubicBezTo>
                    <a:pt x="16644" y="497"/>
                    <a:pt x="16581" y="469"/>
                    <a:pt x="16518" y="445"/>
                  </a:cubicBezTo>
                  <a:cubicBezTo>
                    <a:pt x="16371" y="385"/>
                    <a:pt x="16360" y="270"/>
                    <a:pt x="16350" y="186"/>
                  </a:cubicBezTo>
                  <a:cubicBezTo>
                    <a:pt x="16343" y="105"/>
                    <a:pt x="16336" y="56"/>
                    <a:pt x="16276" y="14"/>
                  </a:cubicBezTo>
                  <a:cubicBezTo>
                    <a:pt x="16269" y="7"/>
                    <a:pt x="16259" y="4"/>
                    <a:pt x="162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2" name="Google Shape;6689;p64">
              <a:extLst>
                <a:ext uri="{FF2B5EF4-FFF2-40B4-BE49-F238E27FC236}">
                  <a16:creationId xmlns:a16="http://schemas.microsoft.com/office/drawing/2014/main" id="{156E285B-7470-5197-02DC-938844D624AE}"/>
                </a:ext>
              </a:extLst>
            </p:cNvPr>
            <p:cNvSpPr/>
            <p:nvPr/>
          </p:nvSpPr>
          <p:spPr>
            <a:xfrm>
              <a:off x="797231" y="1596418"/>
              <a:ext cx="3625" cy="3965"/>
            </a:xfrm>
            <a:custGeom>
              <a:avLst/>
              <a:gdLst/>
              <a:ahLst/>
              <a:cxnLst/>
              <a:rect l="l" t="t" r="r" b="b"/>
              <a:pathLst>
                <a:path w="267" h="292" extrusionOk="0">
                  <a:moveTo>
                    <a:pt x="235" y="1"/>
                  </a:moveTo>
                  <a:cubicBezTo>
                    <a:pt x="200" y="18"/>
                    <a:pt x="169" y="43"/>
                    <a:pt x="144" y="74"/>
                  </a:cubicBezTo>
                  <a:cubicBezTo>
                    <a:pt x="85" y="137"/>
                    <a:pt x="36" y="211"/>
                    <a:pt x="1" y="291"/>
                  </a:cubicBezTo>
                  <a:cubicBezTo>
                    <a:pt x="214" y="197"/>
                    <a:pt x="253" y="116"/>
                    <a:pt x="260" y="88"/>
                  </a:cubicBezTo>
                  <a:cubicBezTo>
                    <a:pt x="267" y="57"/>
                    <a:pt x="256" y="22"/>
                    <a:pt x="23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3" name="Google Shape;6690;p64">
              <a:extLst>
                <a:ext uri="{FF2B5EF4-FFF2-40B4-BE49-F238E27FC236}">
                  <a16:creationId xmlns:a16="http://schemas.microsoft.com/office/drawing/2014/main" id="{8E6032FE-CA4F-95CC-628B-7D714CA4F178}"/>
                </a:ext>
              </a:extLst>
            </p:cNvPr>
            <p:cNvSpPr/>
            <p:nvPr/>
          </p:nvSpPr>
          <p:spPr>
            <a:xfrm>
              <a:off x="950901" y="1525692"/>
              <a:ext cx="2824" cy="1738"/>
            </a:xfrm>
            <a:custGeom>
              <a:avLst/>
              <a:gdLst/>
              <a:ahLst/>
              <a:cxnLst/>
              <a:rect l="l" t="t" r="r" b="b"/>
              <a:pathLst>
                <a:path w="208" h="128" extrusionOk="0">
                  <a:moveTo>
                    <a:pt x="207" y="1"/>
                  </a:moveTo>
                  <a:cubicBezTo>
                    <a:pt x="162" y="8"/>
                    <a:pt x="113" y="18"/>
                    <a:pt x="64" y="29"/>
                  </a:cubicBezTo>
                  <a:cubicBezTo>
                    <a:pt x="39" y="36"/>
                    <a:pt x="8" y="50"/>
                    <a:pt x="1" y="81"/>
                  </a:cubicBezTo>
                  <a:cubicBezTo>
                    <a:pt x="1" y="99"/>
                    <a:pt x="8" y="116"/>
                    <a:pt x="18" y="127"/>
                  </a:cubicBezTo>
                  <a:cubicBezTo>
                    <a:pt x="21" y="128"/>
                    <a:pt x="23" y="128"/>
                    <a:pt x="26" y="128"/>
                  </a:cubicBezTo>
                  <a:cubicBezTo>
                    <a:pt x="42" y="128"/>
                    <a:pt x="61" y="112"/>
                    <a:pt x="67" y="106"/>
                  </a:cubicBezTo>
                  <a:cubicBezTo>
                    <a:pt x="113" y="67"/>
                    <a:pt x="158" y="32"/>
                    <a:pt x="20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4" name="Google Shape;6691;p64">
              <a:extLst>
                <a:ext uri="{FF2B5EF4-FFF2-40B4-BE49-F238E27FC236}">
                  <a16:creationId xmlns:a16="http://schemas.microsoft.com/office/drawing/2014/main" id="{7456BD06-8896-52B5-998F-A3B70A6DA9E3}"/>
                </a:ext>
              </a:extLst>
            </p:cNvPr>
            <p:cNvSpPr/>
            <p:nvPr/>
          </p:nvSpPr>
          <p:spPr>
            <a:xfrm>
              <a:off x="1054294" y="1571136"/>
              <a:ext cx="3571" cy="2200"/>
            </a:xfrm>
            <a:custGeom>
              <a:avLst/>
              <a:gdLst/>
              <a:ahLst/>
              <a:cxnLst/>
              <a:rect l="l" t="t" r="r" b="b"/>
              <a:pathLst>
                <a:path w="263" h="162" extrusionOk="0">
                  <a:moveTo>
                    <a:pt x="0" y="0"/>
                  </a:moveTo>
                  <a:cubicBezTo>
                    <a:pt x="56" y="60"/>
                    <a:pt x="119" y="109"/>
                    <a:pt x="189" y="144"/>
                  </a:cubicBezTo>
                  <a:cubicBezTo>
                    <a:pt x="214" y="154"/>
                    <a:pt x="238" y="161"/>
                    <a:pt x="263" y="161"/>
                  </a:cubicBezTo>
                  <a:cubicBezTo>
                    <a:pt x="259" y="144"/>
                    <a:pt x="249" y="126"/>
                    <a:pt x="235" y="109"/>
                  </a:cubicBezTo>
                  <a:cubicBezTo>
                    <a:pt x="193" y="60"/>
                    <a:pt x="137" y="28"/>
                    <a:pt x="70" y="18"/>
                  </a:cubicBezTo>
                  <a:cubicBezTo>
                    <a:pt x="46" y="18"/>
                    <a:pt x="25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5" name="Google Shape;6692;p64">
              <a:extLst>
                <a:ext uri="{FF2B5EF4-FFF2-40B4-BE49-F238E27FC236}">
                  <a16:creationId xmlns:a16="http://schemas.microsoft.com/office/drawing/2014/main" id="{76032220-EB92-810B-0FA0-DC7B05F4A230}"/>
                </a:ext>
              </a:extLst>
            </p:cNvPr>
            <p:cNvSpPr/>
            <p:nvPr/>
          </p:nvSpPr>
          <p:spPr>
            <a:xfrm>
              <a:off x="1293570" y="1816780"/>
              <a:ext cx="1290" cy="1113"/>
            </a:xfrm>
            <a:custGeom>
              <a:avLst/>
              <a:gdLst/>
              <a:ahLst/>
              <a:cxnLst/>
              <a:rect l="l" t="t" r="r" b="b"/>
              <a:pathLst>
                <a:path w="95" h="82" extrusionOk="0">
                  <a:moveTo>
                    <a:pt x="95" y="81"/>
                  </a:moveTo>
                  <a:cubicBezTo>
                    <a:pt x="67" y="50"/>
                    <a:pt x="35" y="25"/>
                    <a:pt x="0" y="1"/>
                  </a:cubicBezTo>
                  <a:cubicBezTo>
                    <a:pt x="35" y="25"/>
                    <a:pt x="67" y="50"/>
                    <a:pt x="9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6" name="Google Shape;6693;p64">
              <a:extLst>
                <a:ext uri="{FF2B5EF4-FFF2-40B4-BE49-F238E27FC236}">
                  <a16:creationId xmlns:a16="http://schemas.microsoft.com/office/drawing/2014/main" id="{155E116A-11D6-40D6-7475-9A7A5F7907D4}"/>
                </a:ext>
              </a:extLst>
            </p:cNvPr>
            <p:cNvSpPr/>
            <p:nvPr/>
          </p:nvSpPr>
          <p:spPr>
            <a:xfrm>
              <a:off x="1278743" y="1812694"/>
              <a:ext cx="14786" cy="4100"/>
            </a:xfrm>
            <a:custGeom>
              <a:avLst/>
              <a:gdLst/>
              <a:ahLst/>
              <a:cxnLst/>
              <a:rect l="l" t="t" r="r" b="b"/>
              <a:pathLst>
                <a:path w="1089" h="302" extrusionOk="0">
                  <a:moveTo>
                    <a:pt x="0" y="211"/>
                  </a:moveTo>
                  <a:cubicBezTo>
                    <a:pt x="77" y="99"/>
                    <a:pt x="172" y="1"/>
                    <a:pt x="298" y="8"/>
                  </a:cubicBezTo>
                  <a:cubicBezTo>
                    <a:pt x="473" y="18"/>
                    <a:pt x="840" y="113"/>
                    <a:pt x="1089" y="302"/>
                  </a:cubicBezTo>
                  <a:cubicBezTo>
                    <a:pt x="840" y="113"/>
                    <a:pt x="473" y="18"/>
                    <a:pt x="298" y="8"/>
                  </a:cubicBezTo>
                  <a:cubicBezTo>
                    <a:pt x="172" y="1"/>
                    <a:pt x="77" y="99"/>
                    <a:pt x="0" y="2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7" name="Google Shape;6694;p64">
              <a:extLst>
                <a:ext uri="{FF2B5EF4-FFF2-40B4-BE49-F238E27FC236}">
                  <a16:creationId xmlns:a16="http://schemas.microsoft.com/office/drawing/2014/main" id="{8FC84871-3FD2-170A-8B73-FEC9E47EE3E2}"/>
                </a:ext>
              </a:extLst>
            </p:cNvPr>
            <p:cNvSpPr/>
            <p:nvPr/>
          </p:nvSpPr>
          <p:spPr>
            <a:xfrm>
              <a:off x="1173314" y="1789354"/>
              <a:ext cx="16741" cy="2254"/>
            </a:xfrm>
            <a:custGeom>
              <a:avLst/>
              <a:gdLst/>
              <a:ahLst/>
              <a:cxnLst/>
              <a:rect l="l" t="t" r="r" b="b"/>
              <a:pathLst>
                <a:path w="1233" h="166" extrusionOk="0">
                  <a:moveTo>
                    <a:pt x="0" y="165"/>
                  </a:moveTo>
                  <a:lnTo>
                    <a:pt x="123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8" name="Google Shape;6695;p64">
              <a:extLst>
                <a:ext uri="{FF2B5EF4-FFF2-40B4-BE49-F238E27FC236}">
                  <a16:creationId xmlns:a16="http://schemas.microsoft.com/office/drawing/2014/main" id="{65968D88-2B74-C826-5F72-830E25C0C74B}"/>
                </a:ext>
              </a:extLst>
            </p:cNvPr>
            <p:cNvSpPr/>
            <p:nvPr/>
          </p:nvSpPr>
          <p:spPr>
            <a:xfrm>
              <a:off x="1317141" y="1844302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cubicBezTo>
                    <a:pt x="22" y="1"/>
                    <a:pt x="11" y="1"/>
                    <a:pt x="1" y="1"/>
                  </a:cubicBezTo>
                  <a:cubicBezTo>
                    <a:pt x="11" y="1"/>
                    <a:pt x="22" y="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9" name="Google Shape;6696;p64">
              <a:extLst>
                <a:ext uri="{FF2B5EF4-FFF2-40B4-BE49-F238E27FC236}">
                  <a16:creationId xmlns:a16="http://schemas.microsoft.com/office/drawing/2014/main" id="{CD6F1B9F-93B8-8D90-D7EA-53E1EE499B1B}"/>
                </a:ext>
              </a:extLst>
            </p:cNvPr>
            <p:cNvSpPr/>
            <p:nvPr/>
          </p:nvSpPr>
          <p:spPr>
            <a:xfrm>
              <a:off x="1318906" y="1844641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0" name="Google Shape;6697;p64">
              <a:extLst>
                <a:ext uri="{FF2B5EF4-FFF2-40B4-BE49-F238E27FC236}">
                  <a16:creationId xmlns:a16="http://schemas.microsoft.com/office/drawing/2014/main" id="{DA6C3CF2-39B5-9EDE-6F70-B3E2EDE8B44B}"/>
                </a:ext>
              </a:extLst>
            </p:cNvPr>
            <p:cNvSpPr/>
            <p:nvPr/>
          </p:nvSpPr>
          <p:spPr>
            <a:xfrm>
              <a:off x="1317765" y="1844302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1" name="Google Shape;6698;p64">
              <a:extLst>
                <a:ext uri="{FF2B5EF4-FFF2-40B4-BE49-F238E27FC236}">
                  <a16:creationId xmlns:a16="http://schemas.microsoft.com/office/drawing/2014/main" id="{2103CDB1-423A-EBA2-3F15-E8007DC1E594}"/>
                </a:ext>
              </a:extLst>
            </p:cNvPr>
            <p:cNvSpPr/>
            <p:nvPr/>
          </p:nvSpPr>
          <p:spPr>
            <a:xfrm>
              <a:off x="1278173" y="1815545"/>
              <a:ext cx="584" cy="964"/>
            </a:xfrm>
            <a:custGeom>
              <a:avLst/>
              <a:gdLst/>
              <a:ahLst/>
              <a:cxnLst/>
              <a:rect l="l" t="t" r="r" b="b"/>
              <a:pathLst>
                <a:path w="43" h="71" extrusionOk="0">
                  <a:moveTo>
                    <a:pt x="42" y="1"/>
                  </a:moveTo>
                  <a:cubicBezTo>
                    <a:pt x="28" y="25"/>
                    <a:pt x="14" y="46"/>
                    <a:pt x="0" y="71"/>
                  </a:cubicBezTo>
                  <a:cubicBezTo>
                    <a:pt x="14" y="46"/>
                    <a:pt x="28" y="25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2" name="Google Shape;6699;p64">
              <a:extLst>
                <a:ext uri="{FF2B5EF4-FFF2-40B4-BE49-F238E27FC236}">
                  <a16:creationId xmlns:a16="http://schemas.microsoft.com/office/drawing/2014/main" id="{CD0ECA27-BECB-A2AE-5390-64C260070908}"/>
                </a:ext>
              </a:extLst>
            </p:cNvPr>
            <p:cNvSpPr/>
            <p:nvPr/>
          </p:nvSpPr>
          <p:spPr>
            <a:xfrm>
              <a:off x="1252838" y="1797147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0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3" name="Google Shape;6700;p64">
              <a:extLst>
                <a:ext uri="{FF2B5EF4-FFF2-40B4-BE49-F238E27FC236}">
                  <a16:creationId xmlns:a16="http://schemas.microsoft.com/office/drawing/2014/main" id="{DA8F7E37-1885-DAA2-3E2F-F71BF4EF339C}"/>
                </a:ext>
              </a:extLst>
            </p:cNvPr>
            <p:cNvSpPr/>
            <p:nvPr/>
          </p:nvSpPr>
          <p:spPr>
            <a:xfrm>
              <a:off x="1318240" y="1844397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4" name="Google Shape;6701;p64">
              <a:extLst>
                <a:ext uri="{FF2B5EF4-FFF2-40B4-BE49-F238E27FC236}">
                  <a16:creationId xmlns:a16="http://schemas.microsoft.com/office/drawing/2014/main" id="{33532D73-1764-2746-4A35-3A4C6E69056D}"/>
                </a:ext>
              </a:extLst>
            </p:cNvPr>
            <p:cNvSpPr/>
            <p:nvPr/>
          </p:nvSpPr>
          <p:spPr>
            <a:xfrm>
              <a:off x="1294846" y="1817880"/>
              <a:ext cx="1018" cy="1249"/>
            </a:xfrm>
            <a:custGeom>
              <a:avLst/>
              <a:gdLst/>
              <a:ahLst/>
              <a:cxnLst/>
              <a:rect l="l" t="t" r="r" b="b"/>
              <a:pathLst>
                <a:path w="75" h="92" extrusionOk="0">
                  <a:moveTo>
                    <a:pt x="74" y="91"/>
                  </a:moveTo>
                  <a:cubicBezTo>
                    <a:pt x="53" y="60"/>
                    <a:pt x="29" y="28"/>
                    <a:pt x="1" y="0"/>
                  </a:cubicBezTo>
                  <a:cubicBezTo>
                    <a:pt x="29" y="28"/>
                    <a:pt x="53" y="60"/>
                    <a:pt x="74" y="9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5" name="Google Shape;6702;p64">
              <a:extLst>
                <a:ext uri="{FF2B5EF4-FFF2-40B4-BE49-F238E27FC236}">
                  <a16:creationId xmlns:a16="http://schemas.microsoft.com/office/drawing/2014/main" id="{C0D79685-EDC7-37EC-B3F1-55313738477D}"/>
                </a:ext>
              </a:extLst>
            </p:cNvPr>
            <p:cNvSpPr/>
            <p:nvPr/>
          </p:nvSpPr>
          <p:spPr>
            <a:xfrm>
              <a:off x="1122833" y="165189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6" name="Google Shape;6703;p64">
              <a:extLst>
                <a:ext uri="{FF2B5EF4-FFF2-40B4-BE49-F238E27FC236}">
                  <a16:creationId xmlns:a16="http://schemas.microsoft.com/office/drawing/2014/main" id="{1BCC8C47-7B6F-C368-5440-2E3DB3560B74}"/>
                </a:ext>
              </a:extLst>
            </p:cNvPr>
            <p:cNvSpPr/>
            <p:nvPr/>
          </p:nvSpPr>
          <p:spPr>
            <a:xfrm>
              <a:off x="1124734" y="1651746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0" y="4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7" name="Google Shape;6704;p64">
              <a:extLst>
                <a:ext uri="{FF2B5EF4-FFF2-40B4-BE49-F238E27FC236}">
                  <a16:creationId xmlns:a16="http://schemas.microsoft.com/office/drawing/2014/main" id="{BC18D2AA-85E5-D4B9-A0D8-D6E4444BFD90}"/>
                </a:ext>
              </a:extLst>
            </p:cNvPr>
            <p:cNvSpPr/>
            <p:nvPr/>
          </p:nvSpPr>
          <p:spPr>
            <a:xfrm>
              <a:off x="1125969" y="1651556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8"/>
                  </a:move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8" name="Google Shape;6705;p64">
              <a:extLst>
                <a:ext uri="{FF2B5EF4-FFF2-40B4-BE49-F238E27FC236}">
                  <a16:creationId xmlns:a16="http://schemas.microsoft.com/office/drawing/2014/main" id="{464ECC51-E8FE-9978-A8FD-E8495572470F}"/>
                </a:ext>
              </a:extLst>
            </p:cNvPr>
            <p:cNvSpPr/>
            <p:nvPr/>
          </p:nvSpPr>
          <p:spPr>
            <a:xfrm>
              <a:off x="1117076" y="1651515"/>
              <a:ext cx="448" cy="54"/>
            </a:xfrm>
            <a:custGeom>
              <a:avLst/>
              <a:gdLst/>
              <a:ahLst/>
              <a:cxnLst/>
              <a:rect l="l" t="t" r="r" b="b"/>
              <a:pathLst>
                <a:path w="33" h="4" extrusionOk="0">
                  <a:moveTo>
                    <a:pt x="1" y="0"/>
                  </a:moveTo>
                  <a:lnTo>
                    <a:pt x="3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9" name="Google Shape;6706;p64">
              <a:extLst>
                <a:ext uri="{FF2B5EF4-FFF2-40B4-BE49-F238E27FC236}">
                  <a16:creationId xmlns:a16="http://schemas.microsoft.com/office/drawing/2014/main" id="{C0F452CA-5855-9D62-89E6-ED76D5E0EB09}"/>
                </a:ext>
              </a:extLst>
            </p:cNvPr>
            <p:cNvSpPr/>
            <p:nvPr/>
          </p:nvSpPr>
          <p:spPr>
            <a:xfrm>
              <a:off x="1120783" y="1651841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1" y="1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0" name="Google Shape;6707;p64">
              <a:extLst>
                <a:ext uri="{FF2B5EF4-FFF2-40B4-BE49-F238E27FC236}">
                  <a16:creationId xmlns:a16="http://schemas.microsoft.com/office/drawing/2014/main" id="{19398C02-EEF0-42C8-04F2-5F0BAE5C3BD1}"/>
                </a:ext>
              </a:extLst>
            </p:cNvPr>
            <p:cNvSpPr/>
            <p:nvPr/>
          </p:nvSpPr>
          <p:spPr>
            <a:xfrm>
              <a:off x="1123539" y="1651895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1" y="0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1" name="Google Shape;6708;p64">
              <a:extLst>
                <a:ext uri="{FF2B5EF4-FFF2-40B4-BE49-F238E27FC236}">
                  <a16:creationId xmlns:a16="http://schemas.microsoft.com/office/drawing/2014/main" id="{1D0F002A-0168-CD72-8FE2-60F837BB1169}"/>
                </a:ext>
              </a:extLst>
            </p:cNvPr>
            <p:cNvSpPr/>
            <p:nvPr/>
          </p:nvSpPr>
          <p:spPr>
            <a:xfrm>
              <a:off x="1119072" y="1651705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2" name="Google Shape;6709;p64">
              <a:extLst>
                <a:ext uri="{FF2B5EF4-FFF2-40B4-BE49-F238E27FC236}">
                  <a16:creationId xmlns:a16="http://schemas.microsoft.com/office/drawing/2014/main" id="{0BF9D674-934C-6606-1F83-8546A33F3A09}"/>
                </a:ext>
              </a:extLst>
            </p:cNvPr>
            <p:cNvSpPr/>
            <p:nvPr/>
          </p:nvSpPr>
          <p:spPr>
            <a:xfrm>
              <a:off x="1543206" y="1679322"/>
              <a:ext cx="258" cy="434"/>
            </a:xfrm>
            <a:custGeom>
              <a:avLst/>
              <a:gdLst/>
              <a:ahLst/>
              <a:cxnLst/>
              <a:rect l="l" t="t" r="r" b="b"/>
              <a:pathLst>
                <a:path w="19" h="32" extrusionOk="0">
                  <a:moveTo>
                    <a:pt x="1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3" name="Google Shape;6710;p64">
              <a:extLst>
                <a:ext uri="{FF2B5EF4-FFF2-40B4-BE49-F238E27FC236}">
                  <a16:creationId xmlns:a16="http://schemas.microsoft.com/office/drawing/2014/main" id="{7A2A5B5F-FED9-87A8-BCF8-AA69CF93B846}"/>
                </a:ext>
              </a:extLst>
            </p:cNvPr>
            <p:cNvSpPr/>
            <p:nvPr/>
          </p:nvSpPr>
          <p:spPr>
            <a:xfrm>
              <a:off x="1543736" y="1680177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0" y="0"/>
                  </a:moveTo>
                  <a:lnTo>
                    <a:pt x="2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4" name="Google Shape;6711;p64">
              <a:extLst>
                <a:ext uri="{FF2B5EF4-FFF2-40B4-BE49-F238E27FC236}">
                  <a16:creationId xmlns:a16="http://schemas.microsoft.com/office/drawing/2014/main" id="{E60AE76C-E0C8-9CDE-A5FA-96877007555D}"/>
                </a:ext>
              </a:extLst>
            </p:cNvPr>
            <p:cNvSpPr/>
            <p:nvPr/>
          </p:nvSpPr>
          <p:spPr>
            <a:xfrm>
              <a:off x="1542731" y="167850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1"/>
                  </a:moveTo>
                  <a:lnTo>
                    <a:pt x="18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5" name="Google Shape;6712;p64">
              <a:extLst>
                <a:ext uri="{FF2B5EF4-FFF2-40B4-BE49-F238E27FC236}">
                  <a16:creationId xmlns:a16="http://schemas.microsoft.com/office/drawing/2014/main" id="{9A133A1A-2A9A-1FED-18C8-44CFFB1F60E8}"/>
                </a:ext>
              </a:extLst>
            </p:cNvPr>
            <p:cNvSpPr/>
            <p:nvPr/>
          </p:nvSpPr>
          <p:spPr>
            <a:xfrm>
              <a:off x="1544251" y="1681032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0"/>
                  </a:moveTo>
                  <a:lnTo>
                    <a:pt x="22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6" name="Google Shape;6713;p64">
              <a:extLst>
                <a:ext uri="{FF2B5EF4-FFF2-40B4-BE49-F238E27FC236}">
                  <a16:creationId xmlns:a16="http://schemas.microsoft.com/office/drawing/2014/main" id="{83ABE17C-B372-1E25-EC47-E06AF458A3E3}"/>
                </a:ext>
              </a:extLst>
            </p:cNvPr>
            <p:cNvSpPr/>
            <p:nvPr/>
          </p:nvSpPr>
          <p:spPr>
            <a:xfrm>
              <a:off x="1544876" y="1681888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0" y="0"/>
                  </a:moveTo>
                  <a:lnTo>
                    <a:pt x="2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7" name="Google Shape;6714;p64">
              <a:extLst>
                <a:ext uri="{FF2B5EF4-FFF2-40B4-BE49-F238E27FC236}">
                  <a16:creationId xmlns:a16="http://schemas.microsoft.com/office/drawing/2014/main" id="{332F60A1-7988-34C1-ABCE-A7628156D87F}"/>
                </a:ext>
              </a:extLst>
            </p:cNvPr>
            <p:cNvSpPr/>
            <p:nvPr/>
          </p:nvSpPr>
          <p:spPr>
            <a:xfrm>
              <a:off x="1478333" y="1688541"/>
              <a:ext cx="530" cy="434"/>
            </a:xfrm>
            <a:custGeom>
              <a:avLst/>
              <a:gdLst/>
              <a:ahLst/>
              <a:cxnLst/>
              <a:rect l="l" t="t" r="r" b="b"/>
              <a:pathLst>
                <a:path w="39" h="32" extrusionOk="0">
                  <a:moveTo>
                    <a:pt x="0" y="32"/>
                  </a:moveTo>
                  <a:lnTo>
                    <a:pt x="3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8" name="Google Shape;6715;p64">
              <a:extLst>
                <a:ext uri="{FF2B5EF4-FFF2-40B4-BE49-F238E27FC236}">
                  <a16:creationId xmlns:a16="http://schemas.microsoft.com/office/drawing/2014/main" id="{F66B5930-4470-D366-CC3E-9DA06B95C847}"/>
                </a:ext>
              </a:extLst>
            </p:cNvPr>
            <p:cNvSpPr/>
            <p:nvPr/>
          </p:nvSpPr>
          <p:spPr>
            <a:xfrm>
              <a:off x="1478944" y="1688011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1" y="32"/>
                  </a:moveTo>
                  <a:lnTo>
                    <a:pt x="36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9" name="Google Shape;6716;p64">
              <a:extLst>
                <a:ext uri="{FF2B5EF4-FFF2-40B4-BE49-F238E27FC236}">
                  <a16:creationId xmlns:a16="http://schemas.microsoft.com/office/drawing/2014/main" id="{E504E66A-DDEB-5E8D-C0F1-EB5B53F7ED17}"/>
                </a:ext>
              </a:extLst>
            </p:cNvPr>
            <p:cNvSpPr/>
            <p:nvPr/>
          </p:nvSpPr>
          <p:spPr>
            <a:xfrm>
              <a:off x="1542310" y="1677706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lnTo>
                    <a:pt x="18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0" name="Google Shape;6717;p64">
              <a:extLst>
                <a:ext uri="{FF2B5EF4-FFF2-40B4-BE49-F238E27FC236}">
                  <a16:creationId xmlns:a16="http://schemas.microsoft.com/office/drawing/2014/main" id="{748D7823-6E16-19C6-4496-C0D23C6B95B7}"/>
                </a:ext>
              </a:extLst>
            </p:cNvPr>
            <p:cNvSpPr/>
            <p:nvPr/>
          </p:nvSpPr>
          <p:spPr>
            <a:xfrm>
              <a:off x="1539689" y="1670714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1" y="1"/>
                  </a:moveTo>
                  <a:lnTo>
                    <a:pt x="8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1" name="Google Shape;6718;p64">
              <a:extLst>
                <a:ext uri="{FF2B5EF4-FFF2-40B4-BE49-F238E27FC236}">
                  <a16:creationId xmlns:a16="http://schemas.microsoft.com/office/drawing/2014/main" id="{7613417B-5C71-98A1-BB00-CBA59FB999E1}"/>
                </a:ext>
              </a:extLst>
            </p:cNvPr>
            <p:cNvSpPr/>
            <p:nvPr/>
          </p:nvSpPr>
          <p:spPr>
            <a:xfrm>
              <a:off x="1539975" y="167194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2" name="Google Shape;6719;p64">
              <a:extLst>
                <a:ext uri="{FF2B5EF4-FFF2-40B4-BE49-F238E27FC236}">
                  <a16:creationId xmlns:a16="http://schemas.microsoft.com/office/drawing/2014/main" id="{5B20EDD3-67BA-758B-05B2-CEE724BFB094}"/>
                </a:ext>
              </a:extLst>
            </p:cNvPr>
            <p:cNvSpPr/>
            <p:nvPr/>
          </p:nvSpPr>
          <p:spPr>
            <a:xfrm>
              <a:off x="1477667" y="1689111"/>
              <a:ext cx="584" cy="489"/>
            </a:xfrm>
            <a:custGeom>
              <a:avLst/>
              <a:gdLst/>
              <a:ahLst/>
              <a:cxnLst/>
              <a:rect l="l" t="t" r="r" b="b"/>
              <a:pathLst>
                <a:path w="43" h="36" extrusionOk="0">
                  <a:moveTo>
                    <a:pt x="0" y="35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3" name="Google Shape;6720;p64">
              <a:extLst>
                <a:ext uri="{FF2B5EF4-FFF2-40B4-BE49-F238E27FC236}">
                  <a16:creationId xmlns:a16="http://schemas.microsoft.com/office/drawing/2014/main" id="{37B4283A-34BC-7FCA-7A56-8FF666BCAA56}"/>
                </a:ext>
              </a:extLst>
            </p:cNvPr>
            <p:cNvSpPr/>
            <p:nvPr/>
          </p:nvSpPr>
          <p:spPr>
            <a:xfrm>
              <a:off x="1034661" y="1534586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0" y="0"/>
                  </a:moveTo>
                  <a:cubicBezTo>
                    <a:pt x="18" y="4"/>
                    <a:pt x="32" y="4"/>
                    <a:pt x="49" y="7"/>
                  </a:cubicBezTo>
                  <a:cubicBezTo>
                    <a:pt x="32" y="4"/>
                    <a:pt x="18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4" name="Google Shape;6721;p64">
              <a:extLst>
                <a:ext uri="{FF2B5EF4-FFF2-40B4-BE49-F238E27FC236}">
                  <a16:creationId xmlns:a16="http://schemas.microsoft.com/office/drawing/2014/main" id="{36EDBE56-3E21-2E81-9778-A381309A7B1D}"/>
                </a:ext>
              </a:extLst>
            </p:cNvPr>
            <p:cNvSpPr/>
            <p:nvPr/>
          </p:nvSpPr>
          <p:spPr>
            <a:xfrm>
              <a:off x="1540165" y="167261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5" name="Google Shape;6722;p64">
              <a:extLst>
                <a:ext uri="{FF2B5EF4-FFF2-40B4-BE49-F238E27FC236}">
                  <a16:creationId xmlns:a16="http://schemas.microsoft.com/office/drawing/2014/main" id="{3EC21C4A-99F3-80FA-14F4-0E0A9516AF95}"/>
                </a:ext>
              </a:extLst>
            </p:cNvPr>
            <p:cNvSpPr/>
            <p:nvPr/>
          </p:nvSpPr>
          <p:spPr>
            <a:xfrm>
              <a:off x="1035462" y="1534721"/>
              <a:ext cx="638" cy="163"/>
            </a:xfrm>
            <a:custGeom>
              <a:avLst/>
              <a:gdLst/>
              <a:ahLst/>
              <a:cxnLst/>
              <a:rect l="l" t="t" r="r" b="b"/>
              <a:pathLst>
                <a:path w="47" h="12" extrusionOk="0">
                  <a:moveTo>
                    <a:pt x="1" y="1"/>
                  </a:moveTo>
                  <a:cubicBezTo>
                    <a:pt x="18" y="1"/>
                    <a:pt x="32" y="4"/>
                    <a:pt x="46" y="11"/>
                  </a:cubicBezTo>
                  <a:cubicBezTo>
                    <a:pt x="32" y="4"/>
                    <a:pt x="1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6" name="Google Shape;6723;p64">
              <a:extLst>
                <a:ext uri="{FF2B5EF4-FFF2-40B4-BE49-F238E27FC236}">
                  <a16:creationId xmlns:a16="http://schemas.microsoft.com/office/drawing/2014/main" id="{0588727F-75C1-441A-A299-1E7A3127BF4D}"/>
                </a:ext>
              </a:extLst>
            </p:cNvPr>
            <p:cNvSpPr/>
            <p:nvPr/>
          </p:nvSpPr>
          <p:spPr>
            <a:xfrm>
              <a:off x="1539839" y="1671338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7" name="Google Shape;6724;p64">
              <a:extLst>
                <a:ext uri="{FF2B5EF4-FFF2-40B4-BE49-F238E27FC236}">
                  <a16:creationId xmlns:a16="http://schemas.microsoft.com/office/drawing/2014/main" id="{7A2F7DBD-8E87-6953-1108-48BDABD484BA}"/>
                </a:ext>
              </a:extLst>
            </p:cNvPr>
            <p:cNvSpPr/>
            <p:nvPr/>
          </p:nvSpPr>
          <p:spPr>
            <a:xfrm>
              <a:off x="1539554" y="1670103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8"/>
                    <a:pt x="7" y="25"/>
                  </a:cubicBezTo>
                  <a:cubicBezTo>
                    <a:pt x="4" y="18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8" name="Google Shape;6725;p64">
              <a:extLst>
                <a:ext uri="{FF2B5EF4-FFF2-40B4-BE49-F238E27FC236}">
                  <a16:creationId xmlns:a16="http://schemas.microsoft.com/office/drawing/2014/main" id="{9F1D1369-8AAB-D048-5510-7FD16AA38317}"/>
                </a:ext>
              </a:extLst>
            </p:cNvPr>
            <p:cNvSpPr/>
            <p:nvPr/>
          </p:nvSpPr>
          <p:spPr>
            <a:xfrm>
              <a:off x="1033710" y="1534531"/>
              <a:ext cx="815" cy="68"/>
            </a:xfrm>
            <a:custGeom>
              <a:avLst/>
              <a:gdLst/>
              <a:ahLst/>
              <a:cxnLst/>
              <a:rect l="l" t="t" r="r" b="b"/>
              <a:pathLst>
                <a:path w="60" h="5" extrusionOk="0">
                  <a:moveTo>
                    <a:pt x="0" y="1"/>
                  </a:moveTo>
                  <a:cubicBezTo>
                    <a:pt x="18" y="1"/>
                    <a:pt x="39" y="1"/>
                    <a:pt x="60" y="4"/>
                  </a:cubicBezTo>
                  <a:cubicBezTo>
                    <a:pt x="39" y="1"/>
                    <a:pt x="2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9" name="Google Shape;6726;p64">
              <a:extLst>
                <a:ext uri="{FF2B5EF4-FFF2-40B4-BE49-F238E27FC236}">
                  <a16:creationId xmlns:a16="http://schemas.microsoft.com/office/drawing/2014/main" id="{B3528EA2-2FF4-928B-DEBF-663E6FBA5C4C}"/>
                </a:ext>
              </a:extLst>
            </p:cNvPr>
            <p:cNvSpPr/>
            <p:nvPr/>
          </p:nvSpPr>
          <p:spPr>
            <a:xfrm>
              <a:off x="1541210" y="1675425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" y="0"/>
                  </a:moveTo>
                  <a:lnTo>
                    <a:pt x="15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0" name="Google Shape;6727;p64">
              <a:extLst>
                <a:ext uri="{FF2B5EF4-FFF2-40B4-BE49-F238E27FC236}">
                  <a16:creationId xmlns:a16="http://schemas.microsoft.com/office/drawing/2014/main" id="{0A73539E-861A-DB60-77C5-FBC9FE238B0D}"/>
                </a:ext>
              </a:extLst>
            </p:cNvPr>
            <p:cNvSpPr/>
            <p:nvPr/>
          </p:nvSpPr>
          <p:spPr>
            <a:xfrm>
              <a:off x="1541550" y="167618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0"/>
                  </a:moveTo>
                  <a:lnTo>
                    <a:pt x="14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1" name="Google Shape;6728;p64">
              <a:extLst>
                <a:ext uri="{FF2B5EF4-FFF2-40B4-BE49-F238E27FC236}">
                  <a16:creationId xmlns:a16="http://schemas.microsoft.com/office/drawing/2014/main" id="{D19594F3-EFA3-DD36-FEDA-DF028146E908}"/>
                </a:ext>
              </a:extLst>
            </p:cNvPr>
            <p:cNvSpPr/>
            <p:nvPr/>
          </p:nvSpPr>
          <p:spPr>
            <a:xfrm>
              <a:off x="1540884" y="1674705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0" y="1"/>
                  </a:moveTo>
                  <a:lnTo>
                    <a:pt x="14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2" name="Google Shape;6729;p64">
              <a:extLst>
                <a:ext uri="{FF2B5EF4-FFF2-40B4-BE49-F238E27FC236}">
                  <a16:creationId xmlns:a16="http://schemas.microsoft.com/office/drawing/2014/main" id="{7F53738C-191A-94F0-2B35-088531449E81}"/>
                </a:ext>
              </a:extLst>
            </p:cNvPr>
            <p:cNvSpPr/>
            <p:nvPr/>
          </p:nvSpPr>
          <p:spPr>
            <a:xfrm>
              <a:off x="1540640" y="1673999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0"/>
                  </a:moveTo>
                  <a:lnTo>
                    <a:pt x="1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3" name="Google Shape;6730;p64">
              <a:extLst>
                <a:ext uri="{FF2B5EF4-FFF2-40B4-BE49-F238E27FC236}">
                  <a16:creationId xmlns:a16="http://schemas.microsoft.com/office/drawing/2014/main" id="{2EBBBF99-849C-62EB-B3D3-2FE879C0A7F2}"/>
                </a:ext>
              </a:extLst>
            </p:cNvPr>
            <p:cNvSpPr/>
            <p:nvPr/>
          </p:nvSpPr>
          <p:spPr>
            <a:xfrm>
              <a:off x="1541930" y="1676946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lnTo>
                    <a:pt x="14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4" name="Google Shape;6731;p64">
              <a:extLst>
                <a:ext uri="{FF2B5EF4-FFF2-40B4-BE49-F238E27FC236}">
                  <a16:creationId xmlns:a16="http://schemas.microsoft.com/office/drawing/2014/main" id="{460FCE6D-B25C-EC47-7008-5362513F0920}"/>
                </a:ext>
              </a:extLst>
            </p:cNvPr>
            <p:cNvSpPr/>
            <p:nvPr/>
          </p:nvSpPr>
          <p:spPr>
            <a:xfrm>
              <a:off x="1540409" y="1673280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1"/>
                  </a:moveTo>
                  <a:lnTo>
                    <a:pt x="11" y="2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5" name="Google Shape;6732;p64">
              <a:extLst>
                <a:ext uri="{FF2B5EF4-FFF2-40B4-BE49-F238E27FC236}">
                  <a16:creationId xmlns:a16="http://schemas.microsoft.com/office/drawing/2014/main" id="{7A53157B-E557-EDC8-B9EE-0AEB66CF26FA}"/>
                </a:ext>
              </a:extLst>
            </p:cNvPr>
            <p:cNvSpPr/>
            <p:nvPr/>
          </p:nvSpPr>
          <p:spPr>
            <a:xfrm>
              <a:off x="1015408" y="1537953"/>
              <a:ext cx="964" cy="1303"/>
            </a:xfrm>
            <a:custGeom>
              <a:avLst/>
              <a:gdLst/>
              <a:ahLst/>
              <a:cxnLst/>
              <a:rect l="l" t="t" r="r" b="b"/>
              <a:pathLst>
                <a:path w="71" h="96" extrusionOk="0">
                  <a:moveTo>
                    <a:pt x="0" y="1"/>
                  </a:moveTo>
                  <a:cubicBezTo>
                    <a:pt x="25" y="36"/>
                    <a:pt x="49" y="67"/>
                    <a:pt x="70" y="95"/>
                  </a:cubicBezTo>
                  <a:cubicBezTo>
                    <a:pt x="49" y="67"/>
                    <a:pt x="25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6" name="Google Shape;6733;p64">
              <a:extLst>
                <a:ext uri="{FF2B5EF4-FFF2-40B4-BE49-F238E27FC236}">
                  <a16:creationId xmlns:a16="http://schemas.microsoft.com/office/drawing/2014/main" id="{B8FC1D58-4E4C-05FB-EBBA-A4E88E1371AA}"/>
                </a:ext>
              </a:extLst>
            </p:cNvPr>
            <p:cNvSpPr/>
            <p:nvPr/>
          </p:nvSpPr>
          <p:spPr>
            <a:xfrm>
              <a:off x="1036181" y="1534871"/>
              <a:ext cx="964" cy="434"/>
            </a:xfrm>
            <a:custGeom>
              <a:avLst/>
              <a:gdLst/>
              <a:ahLst/>
              <a:cxnLst/>
              <a:rect l="l" t="t" r="r" b="b"/>
              <a:pathLst>
                <a:path w="71" h="32" extrusionOk="0">
                  <a:moveTo>
                    <a:pt x="0" y="0"/>
                  </a:moveTo>
                  <a:lnTo>
                    <a:pt x="0" y="0"/>
                  </a:lnTo>
                  <a:cubicBezTo>
                    <a:pt x="14" y="7"/>
                    <a:pt x="28" y="11"/>
                    <a:pt x="42" y="18"/>
                  </a:cubicBezTo>
                  <a:cubicBezTo>
                    <a:pt x="53" y="21"/>
                    <a:pt x="60" y="28"/>
                    <a:pt x="70" y="32"/>
                  </a:cubicBezTo>
                  <a:cubicBezTo>
                    <a:pt x="49" y="18"/>
                    <a:pt x="25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7" name="Google Shape;6734;p64">
              <a:extLst>
                <a:ext uri="{FF2B5EF4-FFF2-40B4-BE49-F238E27FC236}">
                  <a16:creationId xmlns:a16="http://schemas.microsoft.com/office/drawing/2014/main" id="{C9234673-EFDB-30EF-0314-CA9843A6B747}"/>
                </a:ext>
              </a:extLst>
            </p:cNvPr>
            <p:cNvSpPr/>
            <p:nvPr/>
          </p:nvSpPr>
          <p:spPr>
            <a:xfrm>
              <a:off x="1072257" y="1586153"/>
              <a:ext cx="869" cy="638"/>
            </a:xfrm>
            <a:custGeom>
              <a:avLst/>
              <a:gdLst/>
              <a:ahLst/>
              <a:cxnLst/>
              <a:rect l="l" t="t" r="r" b="b"/>
              <a:pathLst>
                <a:path w="64" h="47" extrusionOk="0">
                  <a:moveTo>
                    <a:pt x="0" y="46"/>
                  </a:moveTo>
                  <a:lnTo>
                    <a:pt x="6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8" name="Google Shape;6735;p64">
              <a:extLst>
                <a:ext uri="{FF2B5EF4-FFF2-40B4-BE49-F238E27FC236}">
                  <a16:creationId xmlns:a16="http://schemas.microsoft.com/office/drawing/2014/main" id="{468EC581-699A-1A83-4B01-3E6DB1E0F53B}"/>
                </a:ext>
              </a:extLst>
            </p:cNvPr>
            <p:cNvSpPr/>
            <p:nvPr/>
          </p:nvSpPr>
          <p:spPr>
            <a:xfrm>
              <a:off x="1073357" y="1585447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9" name="Google Shape;6736;p64">
              <a:extLst>
                <a:ext uri="{FF2B5EF4-FFF2-40B4-BE49-F238E27FC236}">
                  <a16:creationId xmlns:a16="http://schemas.microsoft.com/office/drawing/2014/main" id="{E7910C89-9910-2CCD-6A6B-B7D88DE7CBD0}"/>
                </a:ext>
              </a:extLst>
            </p:cNvPr>
            <p:cNvSpPr/>
            <p:nvPr/>
          </p:nvSpPr>
          <p:spPr>
            <a:xfrm>
              <a:off x="1075257" y="1584116"/>
              <a:ext cx="774" cy="530"/>
            </a:xfrm>
            <a:custGeom>
              <a:avLst/>
              <a:gdLst/>
              <a:ahLst/>
              <a:cxnLst/>
              <a:rect l="l" t="t" r="r" b="b"/>
              <a:pathLst>
                <a:path w="57" h="39" extrusionOk="0">
                  <a:moveTo>
                    <a:pt x="56" y="0"/>
                  </a:moveTo>
                  <a:lnTo>
                    <a:pt x="0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0" name="Google Shape;6737;p64">
              <a:extLst>
                <a:ext uri="{FF2B5EF4-FFF2-40B4-BE49-F238E27FC236}">
                  <a16:creationId xmlns:a16="http://schemas.microsoft.com/office/drawing/2014/main" id="{3C62560D-CBDA-E3CC-DF90-3ACC0AE18242}"/>
                </a:ext>
              </a:extLst>
            </p:cNvPr>
            <p:cNvSpPr/>
            <p:nvPr/>
          </p:nvSpPr>
          <p:spPr>
            <a:xfrm>
              <a:off x="1006379" y="1526928"/>
              <a:ext cx="1385" cy="3055"/>
            </a:xfrm>
            <a:custGeom>
              <a:avLst/>
              <a:gdLst/>
              <a:ahLst/>
              <a:cxnLst/>
              <a:rect l="l" t="t" r="r" b="b"/>
              <a:pathLst>
                <a:path w="102" h="225" extrusionOk="0">
                  <a:moveTo>
                    <a:pt x="0" y="1"/>
                  </a:moveTo>
                  <a:cubicBezTo>
                    <a:pt x="70" y="50"/>
                    <a:pt x="102" y="158"/>
                    <a:pt x="102" y="225"/>
                  </a:cubicBezTo>
                  <a:cubicBezTo>
                    <a:pt x="102" y="158"/>
                    <a:pt x="70" y="4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1" name="Google Shape;6738;p64">
              <a:extLst>
                <a:ext uri="{FF2B5EF4-FFF2-40B4-BE49-F238E27FC236}">
                  <a16:creationId xmlns:a16="http://schemas.microsoft.com/office/drawing/2014/main" id="{C2408AC2-C630-97E0-234F-3302B8376F64}"/>
                </a:ext>
              </a:extLst>
            </p:cNvPr>
            <p:cNvSpPr/>
            <p:nvPr/>
          </p:nvSpPr>
          <p:spPr>
            <a:xfrm>
              <a:off x="1074348" y="1584822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50" y="1"/>
                  </a:moveTo>
                  <a:lnTo>
                    <a:pt x="1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2" name="Google Shape;6739;p64">
              <a:extLst>
                <a:ext uri="{FF2B5EF4-FFF2-40B4-BE49-F238E27FC236}">
                  <a16:creationId xmlns:a16="http://schemas.microsoft.com/office/drawing/2014/main" id="{2822E2D2-8566-2DAA-E813-A692FDD75F36}"/>
                </a:ext>
              </a:extLst>
            </p:cNvPr>
            <p:cNvSpPr/>
            <p:nvPr/>
          </p:nvSpPr>
          <p:spPr>
            <a:xfrm>
              <a:off x="1417248" y="166991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3" name="Google Shape;6740;p64">
              <a:extLst>
                <a:ext uri="{FF2B5EF4-FFF2-40B4-BE49-F238E27FC236}">
                  <a16:creationId xmlns:a16="http://schemas.microsoft.com/office/drawing/2014/main" id="{9EE1D719-45AF-531A-811F-3DC6FF1A1834}"/>
                </a:ext>
              </a:extLst>
            </p:cNvPr>
            <p:cNvSpPr/>
            <p:nvPr/>
          </p:nvSpPr>
          <p:spPr>
            <a:xfrm>
              <a:off x="1416677" y="1669532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4" name="Google Shape;6741;p64">
              <a:extLst>
                <a:ext uri="{FF2B5EF4-FFF2-40B4-BE49-F238E27FC236}">
                  <a16:creationId xmlns:a16="http://schemas.microsoft.com/office/drawing/2014/main" id="{A3DB066B-670C-C62C-F68B-B7F60EE1D363}"/>
                </a:ext>
              </a:extLst>
            </p:cNvPr>
            <p:cNvSpPr/>
            <p:nvPr/>
          </p:nvSpPr>
          <p:spPr>
            <a:xfrm>
              <a:off x="1341010" y="1647374"/>
              <a:ext cx="2485" cy="1208"/>
            </a:xfrm>
            <a:custGeom>
              <a:avLst/>
              <a:gdLst/>
              <a:ahLst/>
              <a:cxnLst/>
              <a:rect l="l" t="t" r="r" b="b"/>
              <a:pathLst>
                <a:path w="183" h="89" extrusionOk="0">
                  <a:moveTo>
                    <a:pt x="182" y="88"/>
                  </a:moveTo>
                  <a:cubicBezTo>
                    <a:pt x="123" y="57"/>
                    <a:pt x="63" y="25"/>
                    <a:pt x="0" y="1"/>
                  </a:cubicBezTo>
                  <a:cubicBezTo>
                    <a:pt x="63" y="25"/>
                    <a:pt x="123" y="57"/>
                    <a:pt x="182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5" name="Google Shape;6742;p64">
              <a:extLst>
                <a:ext uri="{FF2B5EF4-FFF2-40B4-BE49-F238E27FC236}">
                  <a16:creationId xmlns:a16="http://schemas.microsoft.com/office/drawing/2014/main" id="{B81DCF80-FF67-949D-837F-55082D7D805F}"/>
                </a:ext>
              </a:extLst>
            </p:cNvPr>
            <p:cNvSpPr/>
            <p:nvPr/>
          </p:nvSpPr>
          <p:spPr>
            <a:xfrm>
              <a:off x="992313" y="1527457"/>
              <a:ext cx="5187" cy="2580"/>
            </a:xfrm>
            <a:custGeom>
              <a:avLst/>
              <a:gdLst/>
              <a:ahLst/>
              <a:cxnLst/>
              <a:rect l="l" t="t" r="r" b="b"/>
              <a:pathLst>
                <a:path w="382" h="190" extrusionOk="0">
                  <a:moveTo>
                    <a:pt x="382" y="49"/>
                  </a:moveTo>
                  <a:cubicBezTo>
                    <a:pt x="266" y="189"/>
                    <a:pt x="28" y="21"/>
                    <a:pt x="0" y="0"/>
                  </a:cubicBezTo>
                  <a:cubicBezTo>
                    <a:pt x="28" y="21"/>
                    <a:pt x="266" y="189"/>
                    <a:pt x="382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6" name="Google Shape;6743;p64">
              <a:extLst>
                <a:ext uri="{FF2B5EF4-FFF2-40B4-BE49-F238E27FC236}">
                  <a16:creationId xmlns:a16="http://schemas.microsoft.com/office/drawing/2014/main" id="{87E95BD7-BCF6-D5AC-3266-F623BC032BCB}"/>
                </a:ext>
              </a:extLst>
            </p:cNvPr>
            <p:cNvSpPr/>
            <p:nvPr/>
          </p:nvSpPr>
          <p:spPr>
            <a:xfrm>
              <a:off x="1416012" y="166905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7" name="Google Shape;6744;p64">
              <a:extLst>
                <a:ext uri="{FF2B5EF4-FFF2-40B4-BE49-F238E27FC236}">
                  <a16:creationId xmlns:a16="http://schemas.microsoft.com/office/drawing/2014/main" id="{349F2E5F-AE7E-07F3-0225-05A52565B498}"/>
                </a:ext>
              </a:extLst>
            </p:cNvPr>
            <p:cNvSpPr/>
            <p:nvPr/>
          </p:nvSpPr>
          <p:spPr>
            <a:xfrm>
              <a:off x="1417872" y="167033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8" name="Google Shape;6745;p64">
              <a:extLst>
                <a:ext uri="{FF2B5EF4-FFF2-40B4-BE49-F238E27FC236}">
                  <a16:creationId xmlns:a16="http://schemas.microsoft.com/office/drawing/2014/main" id="{BB1FDC84-007D-0D2F-0C36-26D7B510878E}"/>
                </a:ext>
              </a:extLst>
            </p:cNvPr>
            <p:cNvSpPr/>
            <p:nvPr/>
          </p:nvSpPr>
          <p:spPr>
            <a:xfrm>
              <a:off x="1037458" y="1535536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9" name="Google Shape;6746;p64">
              <a:extLst>
                <a:ext uri="{FF2B5EF4-FFF2-40B4-BE49-F238E27FC236}">
                  <a16:creationId xmlns:a16="http://schemas.microsoft.com/office/drawing/2014/main" id="{F956982B-279A-B84D-49C2-93E86E3D63B7}"/>
                </a:ext>
              </a:extLst>
            </p:cNvPr>
            <p:cNvSpPr/>
            <p:nvPr/>
          </p:nvSpPr>
          <p:spPr>
            <a:xfrm>
              <a:off x="1037173" y="153529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cubicBezTo>
                    <a:pt x="4" y="4"/>
                    <a:pt x="8" y="8"/>
                    <a:pt x="15" y="11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0" name="Google Shape;6747;p64">
              <a:extLst>
                <a:ext uri="{FF2B5EF4-FFF2-40B4-BE49-F238E27FC236}">
                  <a16:creationId xmlns:a16="http://schemas.microsoft.com/office/drawing/2014/main" id="{96FF20E5-9590-5EC0-7CDF-463F7C690EA5}"/>
                </a:ext>
              </a:extLst>
            </p:cNvPr>
            <p:cNvSpPr/>
            <p:nvPr/>
          </p:nvSpPr>
          <p:spPr>
            <a:xfrm>
              <a:off x="1074443" y="1580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1" name="Google Shape;6748;p64">
              <a:extLst>
                <a:ext uri="{FF2B5EF4-FFF2-40B4-BE49-F238E27FC236}">
                  <a16:creationId xmlns:a16="http://schemas.microsoft.com/office/drawing/2014/main" id="{76D83FA8-B3E2-6719-4618-235E13CA0C90}"/>
                </a:ext>
              </a:extLst>
            </p:cNvPr>
            <p:cNvSpPr/>
            <p:nvPr/>
          </p:nvSpPr>
          <p:spPr>
            <a:xfrm>
              <a:off x="1370853" y="1652846"/>
              <a:ext cx="4766" cy="1385"/>
            </a:xfrm>
            <a:custGeom>
              <a:avLst/>
              <a:gdLst/>
              <a:ahLst/>
              <a:cxnLst/>
              <a:rect l="l" t="t" r="r" b="b"/>
              <a:pathLst>
                <a:path w="351" h="102" extrusionOk="0">
                  <a:moveTo>
                    <a:pt x="1" y="0"/>
                  </a:moveTo>
                  <a:cubicBezTo>
                    <a:pt x="120" y="25"/>
                    <a:pt x="235" y="60"/>
                    <a:pt x="351" y="102"/>
                  </a:cubicBezTo>
                  <a:lnTo>
                    <a:pt x="351" y="102"/>
                  </a:lnTo>
                  <a:cubicBezTo>
                    <a:pt x="235" y="60"/>
                    <a:pt x="120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2" name="Google Shape;6749;p64">
              <a:extLst>
                <a:ext uri="{FF2B5EF4-FFF2-40B4-BE49-F238E27FC236}">
                  <a16:creationId xmlns:a16="http://schemas.microsoft.com/office/drawing/2014/main" id="{70547CB6-2CC7-1F1E-A93A-7419A73B504A}"/>
                </a:ext>
              </a:extLst>
            </p:cNvPr>
            <p:cNvSpPr/>
            <p:nvPr/>
          </p:nvSpPr>
          <p:spPr>
            <a:xfrm>
              <a:off x="1132813" y="1645052"/>
              <a:ext cx="202889" cy="1100"/>
            </a:xfrm>
            <a:custGeom>
              <a:avLst/>
              <a:gdLst/>
              <a:ahLst/>
              <a:cxnLst/>
              <a:rect l="l" t="t" r="r" b="b"/>
              <a:pathLst>
                <a:path w="14943" h="81" extrusionOk="0">
                  <a:moveTo>
                    <a:pt x="1" y="81"/>
                  </a:moveTo>
                  <a:lnTo>
                    <a:pt x="149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3" name="Google Shape;6750;p64">
              <a:extLst>
                <a:ext uri="{FF2B5EF4-FFF2-40B4-BE49-F238E27FC236}">
                  <a16:creationId xmlns:a16="http://schemas.microsoft.com/office/drawing/2014/main" id="{176683A5-797D-1411-18FB-5D9071DB4154}"/>
                </a:ext>
              </a:extLst>
            </p:cNvPr>
            <p:cNvSpPr/>
            <p:nvPr/>
          </p:nvSpPr>
          <p:spPr>
            <a:xfrm>
              <a:off x="1415496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4" name="Google Shape;6751;p64">
              <a:extLst>
                <a:ext uri="{FF2B5EF4-FFF2-40B4-BE49-F238E27FC236}">
                  <a16:creationId xmlns:a16="http://schemas.microsoft.com/office/drawing/2014/main" id="{5B4B93A4-97D4-8880-AE5C-A4EBC65BA3C8}"/>
                </a:ext>
              </a:extLst>
            </p:cNvPr>
            <p:cNvSpPr/>
            <p:nvPr/>
          </p:nvSpPr>
          <p:spPr>
            <a:xfrm>
              <a:off x="1075678" y="1581930"/>
              <a:ext cx="1113" cy="1439"/>
            </a:xfrm>
            <a:custGeom>
              <a:avLst/>
              <a:gdLst/>
              <a:ahLst/>
              <a:cxnLst/>
              <a:rect l="l" t="t" r="r" b="b"/>
              <a:pathLst>
                <a:path w="82" h="106" extrusionOk="0">
                  <a:moveTo>
                    <a:pt x="1" y="0"/>
                  </a:moveTo>
                  <a:cubicBezTo>
                    <a:pt x="36" y="35"/>
                    <a:pt x="78" y="81"/>
                    <a:pt x="78" y="105"/>
                  </a:cubicBezTo>
                  <a:cubicBezTo>
                    <a:pt x="81" y="81"/>
                    <a:pt x="36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5" name="Google Shape;6752;p64">
              <a:extLst>
                <a:ext uri="{FF2B5EF4-FFF2-40B4-BE49-F238E27FC236}">
                  <a16:creationId xmlns:a16="http://schemas.microsoft.com/office/drawing/2014/main" id="{BEC36C00-2808-EF68-88F1-9D36363355A0}"/>
                </a:ext>
              </a:extLst>
            </p:cNvPr>
            <p:cNvSpPr/>
            <p:nvPr/>
          </p:nvSpPr>
          <p:spPr>
            <a:xfrm>
              <a:off x="1457410" y="169937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"/>
                  </a:moveTo>
                  <a:lnTo>
                    <a:pt x="1" y="15"/>
                  </a:ln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6" name="Google Shape;6753;p64">
              <a:extLst>
                <a:ext uri="{FF2B5EF4-FFF2-40B4-BE49-F238E27FC236}">
                  <a16:creationId xmlns:a16="http://schemas.microsoft.com/office/drawing/2014/main" id="{4A8C3B90-5DC6-2C88-AE9D-5216C682EEC0}"/>
                </a:ext>
              </a:extLst>
            </p:cNvPr>
            <p:cNvSpPr/>
            <p:nvPr/>
          </p:nvSpPr>
          <p:spPr>
            <a:xfrm>
              <a:off x="1456649" y="1702091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7" name="Google Shape;6754;p64">
              <a:extLst>
                <a:ext uri="{FF2B5EF4-FFF2-40B4-BE49-F238E27FC236}">
                  <a16:creationId xmlns:a16="http://schemas.microsoft.com/office/drawing/2014/main" id="{81C688AB-83CF-0CAB-74C8-733A0B78CE3A}"/>
                </a:ext>
              </a:extLst>
            </p:cNvPr>
            <p:cNvSpPr/>
            <p:nvPr/>
          </p:nvSpPr>
          <p:spPr>
            <a:xfrm>
              <a:off x="1457152" y="1701467"/>
              <a:ext cx="136" cy="163"/>
            </a:xfrm>
            <a:custGeom>
              <a:avLst/>
              <a:gdLst/>
              <a:ahLst/>
              <a:cxnLst/>
              <a:rect l="l" t="t" r="r" b="b"/>
              <a:pathLst>
                <a:path w="10" h="12" extrusionOk="0">
                  <a:moveTo>
                    <a:pt x="9" y="1"/>
                  </a:moveTo>
                  <a:cubicBezTo>
                    <a:pt x="6" y="4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6" y="8"/>
                    <a:pt x="9" y="4"/>
                    <a:pt x="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8" name="Google Shape;6755;p64">
              <a:extLst>
                <a:ext uri="{FF2B5EF4-FFF2-40B4-BE49-F238E27FC236}">
                  <a16:creationId xmlns:a16="http://schemas.microsoft.com/office/drawing/2014/main" id="{DC8C497A-6412-9E65-927A-418CC02228A1}"/>
                </a:ext>
              </a:extLst>
            </p:cNvPr>
            <p:cNvSpPr/>
            <p:nvPr/>
          </p:nvSpPr>
          <p:spPr>
            <a:xfrm>
              <a:off x="1456935" y="1701806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9" name="Google Shape;6756;p64">
              <a:extLst>
                <a:ext uri="{FF2B5EF4-FFF2-40B4-BE49-F238E27FC236}">
                  <a16:creationId xmlns:a16="http://schemas.microsoft.com/office/drawing/2014/main" id="{45AF03CE-160E-7AB0-ED83-F4EE8E7A10AE}"/>
                </a:ext>
              </a:extLst>
            </p:cNvPr>
            <p:cNvSpPr/>
            <p:nvPr/>
          </p:nvSpPr>
          <p:spPr>
            <a:xfrm>
              <a:off x="1457464" y="170009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0" name="Google Shape;6757;p64">
              <a:extLst>
                <a:ext uri="{FF2B5EF4-FFF2-40B4-BE49-F238E27FC236}">
                  <a16:creationId xmlns:a16="http://schemas.microsoft.com/office/drawing/2014/main" id="{6C4352B0-7740-9ABB-C8F0-4D6CBADEA1C5}"/>
                </a:ext>
              </a:extLst>
            </p:cNvPr>
            <p:cNvSpPr/>
            <p:nvPr/>
          </p:nvSpPr>
          <p:spPr>
            <a:xfrm>
              <a:off x="1457369" y="1701181"/>
              <a:ext cx="54" cy="122"/>
            </a:xfrm>
            <a:custGeom>
              <a:avLst/>
              <a:gdLst/>
              <a:ahLst/>
              <a:cxnLst/>
              <a:rect l="l" t="t" r="r" b="b"/>
              <a:pathLst>
                <a:path w="4" h="9" extrusionOk="0">
                  <a:moveTo>
                    <a:pt x="4" y="1"/>
                  </a:moveTo>
                  <a:cubicBezTo>
                    <a:pt x="2" y="3"/>
                    <a:pt x="1" y="6"/>
                    <a:pt x="1" y="7"/>
                  </a:cubicBezTo>
                  <a:lnTo>
                    <a:pt x="1" y="7"/>
                  </a:lnTo>
                  <a:cubicBezTo>
                    <a:pt x="1" y="6"/>
                    <a:pt x="4" y="3"/>
                    <a:pt x="4" y="1"/>
                  </a:cubicBezTo>
                  <a:close/>
                  <a:moveTo>
                    <a:pt x="1" y="7"/>
                  </a:moveTo>
                  <a:lnTo>
                    <a:pt x="1" y="7"/>
                  </a:ln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1" name="Google Shape;6758;p64">
              <a:extLst>
                <a:ext uri="{FF2B5EF4-FFF2-40B4-BE49-F238E27FC236}">
                  <a16:creationId xmlns:a16="http://schemas.microsoft.com/office/drawing/2014/main" id="{D21982CB-ADFD-9B75-F459-7BC821957DBE}"/>
                </a:ext>
              </a:extLst>
            </p:cNvPr>
            <p:cNvSpPr/>
            <p:nvPr/>
          </p:nvSpPr>
          <p:spPr>
            <a:xfrm>
              <a:off x="1539174" y="1665921"/>
              <a:ext cx="14" cy="285"/>
            </a:xfrm>
            <a:custGeom>
              <a:avLst/>
              <a:gdLst/>
              <a:ahLst/>
              <a:cxnLst/>
              <a:rect l="l" t="t" r="r" b="b"/>
              <a:pathLst>
                <a:path w="1" h="21" extrusionOk="0">
                  <a:moveTo>
                    <a:pt x="0" y="2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2" name="Google Shape;6759;p64">
              <a:extLst>
                <a:ext uri="{FF2B5EF4-FFF2-40B4-BE49-F238E27FC236}">
                  <a16:creationId xmlns:a16="http://schemas.microsoft.com/office/drawing/2014/main" id="{D8FA9AB9-C15F-B0DB-159A-E3DE9A29B61D}"/>
                </a:ext>
              </a:extLst>
            </p:cNvPr>
            <p:cNvSpPr/>
            <p:nvPr/>
          </p:nvSpPr>
          <p:spPr>
            <a:xfrm>
              <a:off x="1536512" y="1661494"/>
              <a:ext cx="2865" cy="530"/>
            </a:xfrm>
            <a:custGeom>
              <a:avLst/>
              <a:gdLst/>
              <a:ahLst/>
              <a:cxnLst/>
              <a:rect l="l" t="t" r="r" b="b"/>
              <a:pathLst>
                <a:path w="211" h="39" extrusionOk="0">
                  <a:moveTo>
                    <a:pt x="0" y="0"/>
                  </a:moveTo>
                  <a:lnTo>
                    <a:pt x="0" y="0"/>
                  </a:lnTo>
                  <a:cubicBezTo>
                    <a:pt x="81" y="7"/>
                    <a:pt x="196" y="14"/>
                    <a:pt x="210" y="39"/>
                  </a:cubicBezTo>
                  <a:cubicBezTo>
                    <a:pt x="196" y="14"/>
                    <a:pt x="81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3" name="Google Shape;6760;p64">
              <a:extLst>
                <a:ext uri="{FF2B5EF4-FFF2-40B4-BE49-F238E27FC236}">
                  <a16:creationId xmlns:a16="http://schemas.microsoft.com/office/drawing/2014/main" id="{7F2907A0-75F0-59B4-8D40-A25442F183C9}"/>
                </a:ext>
              </a:extLst>
            </p:cNvPr>
            <p:cNvSpPr/>
            <p:nvPr/>
          </p:nvSpPr>
          <p:spPr>
            <a:xfrm>
              <a:off x="1477423" y="16896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" y="7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4" name="Google Shape;6761;p64">
              <a:extLst>
                <a:ext uri="{FF2B5EF4-FFF2-40B4-BE49-F238E27FC236}">
                  <a16:creationId xmlns:a16="http://schemas.microsoft.com/office/drawing/2014/main" id="{FBB65F19-BE17-25D4-C5A5-6BFFB35D979C}"/>
                </a:ext>
              </a:extLst>
            </p:cNvPr>
            <p:cNvSpPr/>
            <p:nvPr/>
          </p:nvSpPr>
          <p:spPr>
            <a:xfrm>
              <a:off x="1428843" y="170332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5" name="Google Shape;6762;p64">
              <a:extLst>
                <a:ext uri="{FF2B5EF4-FFF2-40B4-BE49-F238E27FC236}">
                  <a16:creationId xmlns:a16="http://schemas.microsoft.com/office/drawing/2014/main" id="{6D4E8046-44AA-7BE7-C782-43DFF0D2F1B0}"/>
                </a:ext>
              </a:extLst>
            </p:cNvPr>
            <p:cNvSpPr/>
            <p:nvPr/>
          </p:nvSpPr>
          <p:spPr>
            <a:xfrm>
              <a:off x="1428897" y="1704223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8"/>
                    <a:pt x="0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6" name="Google Shape;6763;p64">
              <a:extLst>
                <a:ext uri="{FF2B5EF4-FFF2-40B4-BE49-F238E27FC236}">
                  <a16:creationId xmlns:a16="http://schemas.microsoft.com/office/drawing/2014/main" id="{3C7BE7B2-A452-DD0D-7199-63CC1A0E42A3}"/>
                </a:ext>
              </a:extLst>
            </p:cNvPr>
            <p:cNvSpPr/>
            <p:nvPr/>
          </p:nvSpPr>
          <p:spPr>
            <a:xfrm>
              <a:off x="1428992" y="1705038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7"/>
                    <a:pt x="4" y="14"/>
                    <a:pt x="7" y="18"/>
                  </a:cubicBezTo>
                  <a:cubicBezTo>
                    <a:pt x="7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7" name="Google Shape;6764;p64">
              <a:extLst>
                <a:ext uri="{FF2B5EF4-FFF2-40B4-BE49-F238E27FC236}">
                  <a16:creationId xmlns:a16="http://schemas.microsoft.com/office/drawing/2014/main" id="{EF8C7743-1F91-760B-35FD-FAA2011F5FF9}"/>
                </a:ext>
              </a:extLst>
            </p:cNvPr>
            <p:cNvSpPr/>
            <p:nvPr/>
          </p:nvSpPr>
          <p:spPr>
            <a:xfrm>
              <a:off x="1456269" y="1702376"/>
              <a:ext cx="163" cy="149"/>
            </a:xfrm>
            <a:custGeom>
              <a:avLst/>
              <a:gdLst/>
              <a:ahLst/>
              <a:cxnLst/>
              <a:rect l="l" t="t" r="r" b="b"/>
              <a:pathLst>
                <a:path w="12" h="11" extrusionOk="0">
                  <a:moveTo>
                    <a:pt x="1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8" name="Google Shape;6765;p64">
              <a:extLst>
                <a:ext uri="{FF2B5EF4-FFF2-40B4-BE49-F238E27FC236}">
                  <a16:creationId xmlns:a16="http://schemas.microsoft.com/office/drawing/2014/main" id="{A3255E5B-1D14-36F0-30DD-69D9CFA3FDE1}"/>
                </a:ext>
              </a:extLst>
            </p:cNvPr>
            <p:cNvSpPr/>
            <p:nvPr/>
          </p:nvSpPr>
          <p:spPr>
            <a:xfrm>
              <a:off x="1429223" y="170589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1" y="0"/>
                  </a:moveTo>
                  <a:lnTo>
                    <a:pt x="1" y="0"/>
                  </a:lnTo>
                  <a:cubicBezTo>
                    <a:pt x="1" y="4"/>
                    <a:pt x="4" y="7"/>
                    <a:pt x="4" y="11"/>
                  </a:cubicBezTo>
                  <a:cubicBezTo>
                    <a:pt x="4" y="7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9" name="Google Shape;6766;p64">
              <a:extLst>
                <a:ext uri="{FF2B5EF4-FFF2-40B4-BE49-F238E27FC236}">
                  <a16:creationId xmlns:a16="http://schemas.microsoft.com/office/drawing/2014/main" id="{4C1720D4-8341-AA15-FEBD-701932518C15}"/>
                </a:ext>
              </a:extLst>
            </p:cNvPr>
            <p:cNvSpPr/>
            <p:nvPr/>
          </p:nvSpPr>
          <p:spPr>
            <a:xfrm>
              <a:off x="1428897" y="1702227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0" name="Google Shape;6767;p64">
              <a:extLst>
                <a:ext uri="{FF2B5EF4-FFF2-40B4-BE49-F238E27FC236}">
                  <a16:creationId xmlns:a16="http://schemas.microsoft.com/office/drawing/2014/main" id="{10A96F61-0987-43C2-BEDD-C9D67C5F6923}"/>
                </a:ext>
              </a:extLst>
            </p:cNvPr>
            <p:cNvSpPr/>
            <p:nvPr/>
          </p:nvSpPr>
          <p:spPr>
            <a:xfrm>
              <a:off x="1455794" y="1702702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1" name="Google Shape;6768;p64">
              <a:extLst>
                <a:ext uri="{FF2B5EF4-FFF2-40B4-BE49-F238E27FC236}">
                  <a16:creationId xmlns:a16="http://schemas.microsoft.com/office/drawing/2014/main" id="{CDF56076-B4E3-F067-33FC-63793F60347B}"/>
                </a:ext>
              </a:extLst>
            </p:cNvPr>
            <p:cNvSpPr/>
            <p:nvPr/>
          </p:nvSpPr>
          <p:spPr>
            <a:xfrm>
              <a:off x="1429562" y="1706653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cubicBezTo>
                    <a:pt x="4" y="7"/>
                    <a:pt x="4" y="11"/>
                    <a:pt x="7" y="14"/>
                  </a:cubicBezTo>
                  <a:cubicBezTo>
                    <a:pt x="7" y="11"/>
                    <a:pt x="4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2" name="Google Shape;6769;p64">
              <a:extLst>
                <a:ext uri="{FF2B5EF4-FFF2-40B4-BE49-F238E27FC236}">
                  <a16:creationId xmlns:a16="http://schemas.microsoft.com/office/drawing/2014/main" id="{E1E4B30D-1D47-2D47-E8C4-FBAD0B85C83C}"/>
                </a:ext>
              </a:extLst>
            </p:cNvPr>
            <p:cNvSpPr/>
            <p:nvPr/>
          </p:nvSpPr>
          <p:spPr>
            <a:xfrm>
              <a:off x="1455224" y="1703042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3" name="Google Shape;6770;p64">
              <a:extLst>
                <a:ext uri="{FF2B5EF4-FFF2-40B4-BE49-F238E27FC236}">
                  <a16:creationId xmlns:a16="http://schemas.microsoft.com/office/drawing/2014/main" id="{69DE7D72-625D-08C7-3BDC-42E05AA3D173}"/>
                </a:ext>
              </a:extLst>
            </p:cNvPr>
            <p:cNvSpPr/>
            <p:nvPr/>
          </p:nvSpPr>
          <p:spPr>
            <a:xfrm>
              <a:off x="1482080" y="1685595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1" y="18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4" name="Google Shape;6771;p64">
              <a:extLst>
                <a:ext uri="{FF2B5EF4-FFF2-40B4-BE49-F238E27FC236}">
                  <a16:creationId xmlns:a16="http://schemas.microsoft.com/office/drawing/2014/main" id="{A850ED73-22E0-0295-4E80-43E81E34BC76}"/>
                </a:ext>
              </a:extLst>
            </p:cNvPr>
            <p:cNvSpPr/>
            <p:nvPr/>
          </p:nvSpPr>
          <p:spPr>
            <a:xfrm>
              <a:off x="1539174" y="1665486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5" name="Google Shape;6772;p64">
              <a:extLst>
                <a:ext uri="{FF2B5EF4-FFF2-40B4-BE49-F238E27FC236}">
                  <a16:creationId xmlns:a16="http://schemas.microsoft.com/office/drawing/2014/main" id="{32BE3018-FE51-E748-C208-D1508EB86F9F}"/>
                </a:ext>
              </a:extLst>
            </p:cNvPr>
            <p:cNvSpPr/>
            <p:nvPr/>
          </p:nvSpPr>
          <p:spPr>
            <a:xfrm>
              <a:off x="1539174" y="166687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0"/>
                  </a:moveTo>
                  <a:lnTo>
                    <a:pt x="0" y="21"/>
                  </a:ln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6" name="Google Shape;6773;p64">
              <a:extLst>
                <a:ext uri="{FF2B5EF4-FFF2-40B4-BE49-F238E27FC236}">
                  <a16:creationId xmlns:a16="http://schemas.microsoft.com/office/drawing/2014/main" id="{F019D5E3-965A-797C-CDF5-1469F260C96D}"/>
                </a:ext>
              </a:extLst>
            </p:cNvPr>
            <p:cNvSpPr/>
            <p:nvPr/>
          </p:nvSpPr>
          <p:spPr>
            <a:xfrm>
              <a:off x="1539174" y="166639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lnTo>
                    <a:pt x="0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7" name="Google Shape;6774;p64">
              <a:extLst>
                <a:ext uri="{FF2B5EF4-FFF2-40B4-BE49-F238E27FC236}">
                  <a16:creationId xmlns:a16="http://schemas.microsoft.com/office/drawing/2014/main" id="{5D76C83B-F0EA-47A7-AFD0-62B7C3040A63}"/>
                </a:ext>
              </a:extLst>
            </p:cNvPr>
            <p:cNvSpPr/>
            <p:nvPr/>
          </p:nvSpPr>
          <p:spPr>
            <a:xfrm>
              <a:off x="1485217" y="1683409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8" name="Google Shape;6775;p64">
              <a:extLst>
                <a:ext uri="{FF2B5EF4-FFF2-40B4-BE49-F238E27FC236}">
                  <a16:creationId xmlns:a16="http://schemas.microsoft.com/office/drawing/2014/main" id="{3EF5602B-320F-B2A9-25B2-BD566CB2B7BB}"/>
                </a:ext>
              </a:extLst>
            </p:cNvPr>
            <p:cNvSpPr/>
            <p:nvPr/>
          </p:nvSpPr>
          <p:spPr>
            <a:xfrm>
              <a:off x="1485407" y="168335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9" name="Google Shape;6776;p64">
              <a:extLst>
                <a:ext uri="{FF2B5EF4-FFF2-40B4-BE49-F238E27FC236}">
                  <a16:creationId xmlns:a16="http://schemas.microsoft.com/office/drawing/2014/main" id="{3412B615-2A38-42DD-6289-16C4884F84EC}"/>
                </a:ext>
              </a:extLst>
            </p:cNvPr>
            <p:cNvSpPr/>
            <p:nvPr/>
          </p:nvSpPr>
          <p:spPr>
            <a:xfrm>
              <a:off x="1480139" y="1687115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0" y="25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0" name="Google Shape;6777;p64">
              <a:extLst>
                <a:ext uri="{FF2B5EF4-FFF2-40B4-BE49-F238E27FC236}">
                  <a16:creationId xmlns:a16="http://schemas.microsoft.com/office/drawing/2014/main" id="{18ABCB9D-1DB2-FE1D-DB96-2519AD45AC6B}"/>
                </a:ext>
              </a:extLst>
            </p:cNvPr>
            <p:cNvSpPr/>
            <p:nvPr/>
          </p:nvSpPr>
          <p:spPr>
            <a:xfrm>
              <a:off x="1539174" y="166505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1" name="Google Shape;6778;p64">
              <a:extLst>
                <a:ext uri="{FF2B5EF4-FFF2-40B4-BE49-F238E27FC236}">
                  <a16:creationId xmlns:a16="http://schemas.microsoft.com/office/drawing/2014/main" id="{779F9FA5-A96A-EEB8-0589-89BD1D044C91}"/>
                </a:ext>
              </a:extLst>
            </p:cNvPr>
            <p:cNvSpPr/>
            <p:nvPr/>
          </p:nvSpPr>
          <p:spPr>
            <a:xfrm>
              <a:off x="1485556" y="16832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2" name="Google Shape;6779;p64">
              <a:extLst>
                <a:ext uri="{FF2B5EF4-FFF2-40B4-BE49-F238E27FC236}">
                  <a16:creationId xmlns:a16="http://schemas.microsoft.com/office/drawing/2014/main" id="{58090FC4-60E1-A0BA-4A99-406EA1E0D52C}"/>
                </a:ext>
              </a:extLst>
            </p:cNvPr>
            <p:cNvSpPr/>
            <p:nvPr/>
          </p:nvSpPr>
          <p:spPr>
            <a:xfrm>
              <a:off x="1483845" y="1684264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3" name="Google Shape;6780;p64">
              <a:extLst>
                <a:ext uri="{FF2B5EF4-FFF2-40B4-BE49-F238E27FC236}">
                  <a16:creationId xmlns:a16="http://schemas.microsoft.com/office/drawing/2014/main" id="{1DCE4943-083F-BBB6-2C08-317B02504635}"/>
                </a:ext>
              </a:extLst>
            </p:cNvPr>
            <p:cNvSpPr/>
            <p:nvPr/>
          </p:nvSpPr>
          <p:spPr>
            <a:xfrm>
              <a:off x="1484646" y="168378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4" name="Google Shape;6781;p64">
              <a:extLst>
                <a:ext uri="{FF2B5EF4-FFF2-40B4-BE49-F238E27FC236}">
                  <a16:creationId xmlns:a16="http://schemas.microsoft.com/office/drawing/2014/main" id="{043C6EAD-D14C-BFC9-4065-FD6128980A42}"/>
                </a:ext>
              </a:extLst>
            </p:cNvPr>
            <p:cNvSpPr/>
            <p:nvPr/>
          </p:nvSpPr>
          <p:spPr>
            <a:xfrm>
              <a:off x="1484415" y="1683924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0" y="1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5" name="Google Shape;6782;p64">
              <a:extLst>
                <a:ext uri="{FF2B5EF4-FFF2-40B4-BE49-F238E27FC236}">
                  <a16:creationId xmlns:a16="http://schemas.microsoft.com/office/drawing/2014/main" id="{35EB6B6F-17E6-F3E6-06DB-E6CD834FE2F6}"/>
                </a:ext>
              </a:extLst>
            </p:cNvPr>
            <p:cNvSpPr/>
            <p:nvPr/>
          </p:nvSpPr>
          <p:spPr>
            <a:xfrm>
              <a:off x="1484130" y="1684115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6" name="Google Shape;6783;p64">
              <a:extLst>
                <a:ext uri="{FF2B5EF4-FFF2-40B4-BE49-F238E27FC236}">
                  <a16:creationId xmlns:a16="http://schemas.microsoft.com/office/drawing/2014/main" id="{83EFBA86-3F4E-3FC4-3B41-744E903CB62A}"/>
                </a:ext>
              </a:extLst>
            </p:cNvPr>
            <p:cNvSpPr/>
            <p:nvPr/>
          </p:nvSpPr>
          <p:spPr>
            <a:xfrm>
              <a:off x="1485026" y="168354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7" name="Google Shape;6784;p64">
              <a:extLst>
                <a:ext uri="{FF2B5EF4-FFF2-40B4-BE49-F238E27FC236}">
                  <a16:creationId xmlns:a16="http://schemas.microsoft.com/office/drawing/2014/main" id="{7C746AD4-063B-DC7E-8DC7-87EEBFF5C807}"/>
                </a:ext>
              </a:extLst>
            </p:cNvPr>
            <p:cNvSpPr/>
            <p:nvPr/>
          </p:nvSpPr>
          <p:spPr>
            <a:xfrm>
              <a:off x="1539309" y="166839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1" y="0"/>
                  </a:moveTo>
                  <a:cubicBezTo>
                    <a:pt x="1" y="7"/>
                    <a:pt x="1" y="18"/>
                    <a:pt x="4" y="25"/>
                  </a:cubicBezTo>
                  <a:cubicBezTo>
                    <a:pt x="1" y="18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8" name="Google Shape;6785;p64">
              <a:extLst>
                <a:ext uri="{FF2B5EF4-FFF2-40B4-BE49-F238E27FC236}">
                  <a16:creationId xmlns:a16="http://schemas.microsoft.com/office/drawing/2014/main" id="{E0FDAF31-BB89-2E46-06C2-05440F6E8AC9}"/>
                </a:ext>
              </a:extLst>
            </p:cNvPr>
            <p:cNvSpPr/>
            <p:nvPr/>
          </p:nvSpPr>
          <p:spPr>
            <a:xfrm>
              <a:off x="1539214" y="1667346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0"/>
                  </a:moveTo>
                  <a:lnTo>
                    <a:pt x="1" y="21"/>
                  </a:lnTo>
                  <a:cubicBezTo>
                    <a:pt x="1" y="14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9" name="Google Shape;6786;p64">
              <a:extLst>
                <a:ext uri="{FF2B5EF4-FFF2-40B4-BE49-F238E27FC236}">
                  <a16:creationId xmlns:a16="http://schemas.microsoft.com/office/drawing/2014/main" id="{99F84004-D739-72E5-4DAB-FD52B879475A}"/>
                </a:ext>
              </a:extLst>
            </p:cNvPr>
            <p:cNvSpPr/>
            <p:nvPr/>
          </p:nvSpPr>
          <p:spPr>
            <a:xfrm>
              <a:off x="1484836" y="1683639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0" name="Google Shape;6787;p64">
              <a:extLst>
                <a:ext uri="{FF2B5EF4-FFF2-40B4-BE49-F238E27FC236}">
                  <a16:creationId xmlns:a16="http://schemas.microsoft.com/office/drawing/2014/main" id="{E4506BAD-2A59-CDDC-7567-C81BE53993FB}"/>
                </a:ext>
              </a:extLst>
            </p:cNvPr>
            <p:cNvSpPr/>
            <p:nvPr/>
          </p:nvSpPr>
          <p:spPr>
            <a:xfrm>
              <a:off x="1485692" y="168316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1" name="Google Shape;6788;p64">
              <a:extLst>
                <a:ext uri="{FF2B5EF4-FFF2-40B4-BE49-F238E27FC236}">
                  <a16:creationId xmlns:a16="http://schemas.microsoft.com/office/drawing/2014/main" id="{48E52F4F-7DB2-6A90-FEA0-433776B82DD3}"/>
                </a:ext>
              </a:extLst>
            </p:cNvPr>
            <p:cNvSpPr/>
            <p:nvPr/>
          </p:nvSpPr>
          <p:spPr>
            <a:xfrm>
              <a:off x="1539269" y="166786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2" name="Google Shape;6789;p64">
              <a:extLst>
                <a:ext uri="{FF2B5EF4-FFF2-40B4-BE49-F238E27FC236}">
                  <a16:creationId xmlns:a16="http://schemas.microsoft.com/office/drawing/2014/main" id="{A1209C47-5BA6-9621-FA0E-4136FEFC814D}"/>
                </a:ext>
              </a:extLst>
            </p:cNvPr>
            <p:cNvSpPr/>
            <p:nvPr/>
          </p:nvSpPr>
          <p:spPr>
            <a:xfrm>
              <a:off x="1485787" y="168316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3" name="Google Shape;6790;p64">
              <a:extLst>
                <a:ext uri="{FF2B5EF4-FFF2-40B4-BE49-F238E27FC236}">
                  <a16:creationId xmlns:a16="http://schemas.microsoft.com/office/drawing/2014/main" id="{EA3CF25E-5D07-1EC2-4697-DBCFDA009DCB}"/>
                </a:ext>
              </a:extLst>
            </p:cNvPr>
            <p:cNvSpPr/>
            <p:nvPr/>
          </p:nvSpPr>
          <p:spPr>
            <a:xfrm>
              <a:off x="1539269" y="1663300"/>
              <a:ext cx="54" cy="584"/>
            </a:xfrm>
            <a:custGeom>
              <a:avLst/>
              <a:gdLst/>
              <a:ahLst/>
              <a:cxnLst/>
              <a:rect l="l" t="t" r="r" b="b"/>
              <a:pathLst>
                <a:path w="4" h="43" extrusionOk="0">
                  <a:moveTo>
                    <a:pt x="4" y="0"/>
                  </a:moveTo>
                  <a:cubicBezTo>
                    <a:pt x="0" y="14"/>
                    <a:pt x="0" y="28"/>
                    <a:pt x="0" y="42"/>
                  </a:cubicBezTo>
                  <a:cubicBezTo>
                    <a:pt x="0" y="28"/>
                    <a:pt x="4" y="1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4" name="Google Shape;6791;p64">
              <a:extLst>
                <a:ext uri="{FF2B5EF4-FFF2-40B4-BE49-F238E27FC236}">
                  <a16:creationId xmlns:a16="http://schemas.microsoft.com/office/drawing/2014/main" id="{B5D2699F-E936-225A-4E8D-255B8D4E936D}"/>
                </a:ext>
              </a:extLst>
            </p:cNvPr>
            <p:cNvSpPr/>
            <p:nvPr/>
          </p:nvSpPr>
          <p:spPr>
            <a:xfrm>
              <a:off x="1539269" y="166391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5" name="Google Shape;6792;p64">
              <a:extLst>
                <a:ext uri="{FF2B5EF4-FFF2-40B4-BE49-F238E27FC236}">
                  <a16:creationId xmlns:a16="http://schemas.microsoft.com/office/drawing/2014/main" id="{7B259D04-8BD2-929D-F3D4-CA8948D96B36}"/>
                </a:ext>
              </a:extLst>
            </p:cNvPr>
            <p:cNvSpPr/>
            <p:nvPr/>
          </p:nvSpPr>
          <p:spPr>
            <a:xfrm>
              <a:off x="1529099" y="1659634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4"/>
                  </a:moveTo>
                  <a:cubicBezTo>
                    <a:pt x="4" y="1"/>
                    <a:pt x="11" y="1"/>
                    <a:pt x="18" y="1"/>
                  </a:cubicBezTo>
                  <a:cubicBezTo>
                    <a:pt x="11" y="1"/>
                    <a:pt x="4" y="1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6" name="Google Shape;6793;p64">
              <a:extLst>
                <a:ext uri="{FF2B5EF4-FFF2-40B4-BE49-F238E27FC236}">
                  <a16:creationId xmlns:a16="http://schemas.microsoft.com/office/drawing/2014/main" id="{51ED0966-1F24-535C-7735-1281D6C801B8}"/>
                </a:ext>
              </a:extLst>
            </p:cNvPr>
            <p:cNvSpPr/>
            <p:nvPr/>
          </p:nvSpPr>
          <p:spPr>
            <a:xfrm>
              <a:off x="1482460" y="1685309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7" name="Google Shape;6794;p64">
              <a:extLst>
                <a:ext uri="{FF2B5EF4-FFF2-40B4-BE49-F238E27FC236}">
                  <a16:creationId xmlns:a16="http://schemas.microsoft.com/office/drawing/2014/main" id="{CDF068CD-8F17-57BB-D972-5F778FD3C013}"/>
                </a:ext>
              </a:extLst>
            </p:cNvPr>
            <p:cNvSpPr/>
            <p:nvPr/>
          </p:nvSpPr>
          <p:spPr>
            <a:xfrm>
              <a:off x="1482840" y="1685024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4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8" name="Google Shape;6795;p64">
              <a:extLst>
                <a:ext uri="{FF2B5EF4-FFF2-40B4-BE49-F238E27FC236}">
                  <a16:creationId xmlns:a16="http://schemas.microsoft.com/office/drawing/2014/main" id="{917DAF9F-74AC-7E49-ECA4-5CDD3C3A4E5E}"/>
                </a:ext>
              </a:extLst>
            </p:cNvPr>
            <p:cNvSpPr/>
            <p:nvPr/>
          </p:nvSpPr>
          <p:spPr>
            <a:xfrm>
              <a:off x="1481605" y="1685975"/>
              <a:ext cx="353" cy="244"/>
            </a:xfrm>
            <a:custGeom>
              <a:avLst/>
              <a:gdLst/>
              <a:ahLst/>
              <a:cxnLst/>
              <a:rect l="l" t="t" r="r" b="b"/>
              <a:pathLst>
                <a:path w="26" h="18" extrusionOk="0">
                  <a:moveTo>
                    <a:pt x="1" y="18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9" name="Google Shape;6796;p64">
              <a:extLst>
                <a:ext uri="{FF2B5EF4-FFF2-40B4-BE49-F238E27FC236}">
                  <a16:creationId xmlns:a16="http://schemas.microsoft.com/office/drawing/2014/main" id="{CDF90325-2918-E772-2B17-7B3DE5504623}"/>
                </a:ext>
              </a:extLst>
            </p:cNvPr>
            <p:cNvSpPr/>
            <p:nvPr/>
          </p:nvSpPr>
          <p:spPr>
            <a:xfrm>
              <a:off x="1539214" y="1664672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0" name="Google Shape;6797;p64">
              <a:extLst>
                <a:ext uri="{FF2B5EF4-FFF2-40B4-BE49-F238E27FC236}">
                  <a16:creationId xmlns:a16="http://schemas.microsoft.com/office/drawing/2014/main" id="{9D8090B5-37FD-28F4-7EDA-CEEB64DF2170}"/>
                </a:ext>
              </a:extLst>
            </p:cNvPr>
            <p:cNvSpPr/>
            <p:nvPr/>
          </p:nvSpPr>
          <p:spPr>
            <a:xfrm>
              <a:off x="1539214" y="1664291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ubicBezTo>
                    <a:pt x="1" y="11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1" name="Google Shape;6798;p64">
              <a:extLst>
                <a:ext uri="{FF2B5EF4-FFF2-40B4-BE49-F238E27FC236}">
                  <a16:creationId xmlns:a16="http://schemas.microsoft.com/office/drawing/2014/main" id="{73D970E3-9162-E152-2692-B5BA600DD559}"/>
                </a:ext>
              </a:extLst>
            </p:cNvPr>
            <p:cNvSpPr/>
            <p:nvPr/>
          </p:nvSpPr>
          <p:spPr>
            <a:xfrm>
              <a:off x="1479568" y="1687536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29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2" name="Google Shape;6799;p64">
              <a:extLst>
                <a:ext uri="{FF2B5EF4-FFF2-40B4-BE49-F238E27FC236}">
                  <a16:creationId xmlns:a16="http://schemas.microsoft.com/office/drawing/2014/main" id="{91B585A7-039C-C80E-CFDF-04C68AD0AD60}"/>
                </a:ext>
              </a:extLst>
            </p:cNvPr>
            <p:cNvSpPr/>
            <p:nvPr/>
          </p:nvSpPr>
          <p:spPr>
            <a:xfrm>
              <a:off x="1485882" y="168312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3" name="Google Shape;6800;p64">
              <a:extLst>
                <a:ext uri="{FF2B5EF4-FFF2-40B4-BE49-F238E27FC236}">
                  <a16:creationId xmlns:a16="http://schemas.microsoft.com/office/drawing/2014/main" id="{A91891D7-5D74-229D-00DA-42EAC511DF21}"/>
                </a:ext>
              </a:extLst>
            </p:cNvPr>
            <p:cNvSpPr/>
            <p:nvPr/>
          </p:nvSpPr>
          <p:spPr>
            <a:xfrm>
              <a:off x="1486167" y="16830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4" name="Google Shape;6801;p64">
              <a:extLst>
                <a:ext uri="{FF2B5EF4-FFF2-40B4-BE49-F238E27FC236}">
                  <a16:creationId xmlns:a16="http://schemas.microsoft.com/office/drawing/2014/main" id="{9CB34968-77B9-4BA0-EEE2-7FC6882B4742}"/>
                </a:ext>
              </a:extLst>
            </p:cNvPr>
            <p:cNvSpPr/>
            <p:nvPr/>
          </p:nvSpPr>
          <p:spPr>
            <a:xfrm>
              <a:off x="1485977" y="16831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5" name="Google Shape;6802;p64">
              <a:extLst>
                <a:ext uri="{FF2B5EF4-FFF2-40B4-BE49-F238E27FC236}">
                  <a16:creationId xmlns:a16="http://schemas.microsoft.com/office/drawing/2014/main" id="{A7DC43A9-1230-66A3-4EB4-995FEA35574D}"/>
                </a:ext>
              </a:extLst>
            </p:cNvPr>
            <p:cNvSpPr/>
            <p:nvPr/>
          </p:nvSpPr>
          <p:spPr>
            <a:xfrm>
              <a:off x="1481184" y="1686301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0" y="22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6" name="Google Shape;6803;p64">
              <a:extLst>
                <a:ext uri="{FF2B5EF4-FFF2-40B4-BE49-F238E27FC236}">
                  <a16:creationId xmlns:a16="http://schemas.microsoft.com/office/drawing/2014/main" id="{008B5B42-1BAB-C4C7-595E-1A8F4FF31396}"/>
                </a:ext>
              </a:extLst>
            </p:cNvPr>
            <p:cNvSpPr/>
            <p:nvPr/>
          </p:nvSpPr>
          <p:spPr>
            <a:xfrm>
              <a:off x="1486031" y="16830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7" name="Google Shape;6804;p64">
              <a:extLst>
                <a:ext uri="{FF2B5EF4-FFF2-40B4-BE49-F238E27FC236}">
                  <a16:creationId xmlns:a16="http://schemas.microsoft.com/office/drawing/2014/main" id="{EC7373E3-62B0-FD50-7AD3-1446F76CF779}"/>
                </a:ext>
              </a:extLst>
            </p:cNvPr>
            <p:cNvSpPr/>
            <p:nvPr/>
          </p:nvSpPr>
          <p:spPr>
            <a:xfrm>
              <a:off x="1486072" y="168306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8" name="Google Shape;6805;p64">
              <a:extLst>
                <a:ext uri="{FF2B5EF4-FFF2-40B4-BE49-F238E27FC236}">
                  <a16:creationId xmlns:a16="http://schemas.microsoft.com/office/drawing/2014/main" id="{8157968D-0111-2E46-1C0B-5D54964973DE}"/>
                </a:ext>
              </a:extLst>
            </p:cNvPr>
            <p:cNvSpPr/>
            <p:nvPr/>
          </p:nvSpPr>
          <p:spPr>
            <a:xfrm>
              <a:off x="1480654" y="1686681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1" y="2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9" name="Google Shape;6806;p64">
              <a:extLst>
                <a:ext uri="{FF2B5EF4-FFF2-40B4-BE49-F238E27FC236}">
                  <a16:creationId xmlns:a16="http://schemas.microsoft.com/office/drawing/2014/main" id="{8FE4C5FE-11C6-1FBA-E395-2D958B74F3BA}"/>
                </a:ext>
              </a:extLst>
            </p:cNvPr>
            <p:cNvSpPr/>
            <p:nvPr/>
          </p:nvSpPr>
          <p:spPr>
            <a:xfrm>
              <a:off x="1483221" y="16847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0" name="Google Shape;6807;p64">
              <a:extLst>
                <a:ext uri="{FF2B5EF4-FFF2-40B4-BE49-F238E27FC236}">
                  <a16:creationId xmlns:a16="http://schemas.microsoft.com/office/drawing/2014/main" id="{31CE7944-6991-63FA-5E63-70F18EF2B389}"/>
                </a:ext>
              </a:extLst>
            </p:cNvPr>
            <p:cNvSpPr/>
            <p:nvPr/>
          </p:nvSpPr>
          <p:spPr>
            <a:xfrm>
              <a:off x="1539364" y="166896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cubicBezTo>
                    <a:pt x="0" y="7"/>
                    <a:pt x="4" y="14"/>
                    <a:pt x="4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1" name="Google Shape;6808;p64">
              <a:extLst>
                <a:ext uri="{FF2B5EF4-FFF2-40B4-BE49-F238E27FC236}">
                  <a16:creationId xmlns:a16="http://schemas.microsoft.com/office/drawing/2014/main" id="{A40C4BFE-2464-EE9E-E77E-CC5FDE94C747}"/>
                </a:ext>
              </a:extLst>
            </p:cNvPr>
            <p:cNvSpPr/>
            <p:nvPr/>
          </p:nvSpPr>
          <p:spPr>
            <a:xfrm>
              <a:off x="1483560" y="1684495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2" name="Google Shape;6809;p64">
              <a:extLst>
                <a:ext uri="{FF2B5EF4-FFF2-40B4-BE49-F238E27FC236}">
                  <a16:creationId xmlns:a16="http://schemas.microsoft.com/office/drawing/2014/main" id="{CC4F9E04-27ED-A2E1-CD73-854C6D4BE531}"/>
                </a:ext>
              </a:extLst>
            </p:cNvPr>
            <p:cNvSpPr/>
            <p:nvPr/>
          </p:nvSpPr>
          <p:spPr>
            <a:xfrm>
              <a:off x="1539459" y="166953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0" y="0"/>
                  </a:moveTo>
                  <a:lnTo>
                    <a:pt x="4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3" name="Google Shape;6810;p64">
              <a:extLst>
                <a:ext uri="{FF2B5EF4-FFF2-40B4-BE49-F238E27FC236}">
                  <a16:creationId xmlns:a16="http://schemas.microsoft.com/office/drawing/2014/main" id="{239867F4-4D30-D942-557A-57E42221AA6E}"/>
                </a:ext>
              </a:extLst>
            </p:cNvPr>
            <p:cNvSpPr/>
            <p:nvPr/>
          </p:nvSpPr>
          <p:spPr>
            <a:xfrm>
              <a:off x="1979940" y="1694338"/>
              <a:ext cx="92083" cy="65769"/>
            </a:xfrm>
            <a:custGeom>
              <a:avLst/>
              <a:gdLst/>
              <a:ahLst/>
              <a:cxnLst/>
              <a:rect l="l" t="t" r="r" b="b"/>
              <a:pathLst>
                <a:path w="6782" h="4844" extrusionOk="0">
                  <a:moveTo>
                    <a:pt x="669" y="1"/>
                  </a:moveTo>
                  <a:cubicBezTo>
                    <a:pt x="606" y="1"/>
                    <a:pt x="585" y="25"/>
                    <a:pt x="547" y="88"/>
                  </a:cubicBezTo>
                  <a:cubicBezTo>
                    <a:pt x="498" y="165"/>
                    <a:pt x="428" y="274"/>
                    <a:pt x="218" y="281"/>
                  </a:cubicBezTo>
                  <a:cubicBezTo>
                    <a:pt x="106" y="284"/>
                    <a:pt x="29" y="312"/>
                    <a:pt x="11" y="358"/>
                  </a:cubicBezTo>
                  <a:cubicBezTo>
                    <a:pt x="1" y="396"/>
                    <a:pt x="25" y="470"/>
                    <a:pt x="137" y="561"/>
                  </a:cubicBezTo>
                  <a:cubicBezTo>
                    <a:pt x="277" y="673"/>
                    <a:pt x="281" y="879"/>
                    <a:pt x="267" y="1058"/>
                  </a:cubicBezTo>
                  <a:lnTo>
                    <a:pt x="270" y="1058"/>
                  </a:lnTo>
                  <a:lnTo>
                    <a:pt x="277" y="1054"/>
                  </a:lnTo>
                  <a:cubicBezTo>
                    <a:pt x="281" y="1051"/>
                    <a:pt x="284" y="1047"/>
                    <a:pt x="288" y="1044"/>
                  </a:cubicBezTo>
                  <a:cubicBezTo>
                    <a:pt x="345" y="975"/>
                    <a:pt x="407" y="941"/>
                    <a:pt x="464" y="941"/>
                  </a:cubicBezTo>
                  <a:cubicBezTo>
                    <a:pt x="481" y="941"/>
                    <a:pt x="496" y="944"/>
                    <a:pt x="512" y="949"/>
                  </a:cubicBezTo>
                  <a:cubicBezTo>
                    <a:pt x="571" y="974"/>
                    <a:pt x="610" y="1037"/>
                    <a:pt x="603" y="1107"/>
                  </a:cubicBezTo>
                  <a:cubicBezTo>
                    <a:pt x="613" y="1121"/>
                    <a:pt x="655" y="1124"/>
                    <a:pt x="700" y="1124"/>
                  </a:cubicBezTo>
                  <a:cubicBezTo>
                    <a:pt x="734" y="1124"/>
                    <a:pt x="769" y="1122"/>
                    <a:pt x="792" y="1121"/>
                  </a:cubicBezTo>
                  <a:cubicBezTo>
                    <a:pt x="820" y="1121"/>
                    <a:pt x="848" y="1117"/>
                    <a:pt x="872" y="1117"/>
                  </a:cubicBezTo>
                  <a:cubicBezTo>
                    <a:pt x="914" y="1117"/>
                    <a:pt x="960" y="1131"/>
                    <a:pt x="995" y="1159"/>
                  </a:cubicBezTo>
                  <a:lnTo>
                    <a:pt x="998" y="1159"/>
                  </a:lnTo>
                  <a:cubicBezTo>
                    <a:pt x="1016" y="1152"/>
                    <a:pt x="1033" y="1142"/>
                    <a:pt x="1051" y="1131"/>
                  </a:cubicBezTo>
                  <a:cubicBezTo>
                    <a:pt x="1110" y="1087"/>
                    <a:pt x="1181" y="1064"/>
                    <a:pt x="1253" y="1064"/>
                  </a:cubicBezTo>
                  <a:cubicBezTo>
                    <a:pt x="1300" y="1064"/>
                    <a:pt x="1346" y="1074"/>
                    <a:pt x="1390" y="1093"/>
                  </a:cubicBezTo>
                  <a:cubicBezTo>
                    <a:pt x="1450" y="1117"/>
                    <a:pt x="1488" y="1177"/>
                    <a:pt x="1488" y="1243"/>
                  </a:cubicBezTo>
                  <a:cubicBezTo>
                    <a:pt x="1506" y="1254"/>
                    <a:pt x="1527" y="1261"/>
                    <a:pt x="1544" y="1264"/>
                  </a:cubicBezTo>
                  <a:cubicBezTo>
                    <a:pt x="1593" y="1282"/>
                    <a:pt x="1653" y="1303"/>
                    <a:pt x="1667" y="1362"/>
                  </a:cubicBezTo>
                  <a:cubicBezTo>
                    <a:pt x="1684" y="1422"/>
                    <a:pt x="1639" y="1471"/>
                    <a:pt x="1607" y="1506"/>
                  </a:cubicBezTo>
                  <a:cubicBezTo>
                    <a:pt x="1541" y="1565"/>
                    <a:pt x="1471" y="1618"/>
                    <a:pt x="1394" y="1663"/>
                  </a:cubicBezTo>
                  <a:cubicBezTo>
                    <a:pt x="1327" y="1709"/>
                    <a:pt x="1271" y="1740"/>
                    <a:pt x="1271" y="1775"/>
                  </a:cubicBezTo>
                  <a:cubicBezTo>
                    <a:pt x="1278" y="1817"/>
                    <a:pt x="1289" y="1859"/>
                    <a:pt x="1306" y="1901"/>
                  </a:cubicBezTo>
                  <a:cubicBezTo>
                    <a:pt x="1348" y="2031"/>
                    <a:pt x="1415" y="2210"/>
                    <a:pt x="1292" y="2332"/>
                  </a:cubicBezTo>
                  <a:cubicBezTo>
                    <a:pt x="1247" y="2378"/>
                    <a:pt x="1250" y="2441"/>
                    <a:pt x="1261" y="2525"/>
                  </a:cubicBezTo>
                  <a:cubicBezTo>
                    <a:pt x="1271" y="2584"/>
                    <a:pt x="1278" y="2644"/>
                    <a:pt x="1240" y="2689"/>
                  </a:cubicBezTo>
                  <a:cubicBezTo>
                    <a:pt x="1215" y="2714"/>
                    <a:pt x="1180" y="2728"/>
                    <a:pt x="1145" y="2728"/>
                  </a:cubicBezTo>
                  <a:cubicBezTo>
                    <a:pt x="1058" y="2728"/>
                    <a:pt x="1012" y="2752"/>
                    <a:pt x="1009" y="2763"/>
                  </a:cubicBezTo>
                  <a:cubicBezTo>
                    <a:pt x="1009" y="2763"/>
                    <a:pt x="1009" y="2784"/>
                    <a:pt x="1054" y="2829"/>
                  </a:cubicBezTo>
                  <a:cubicBezTo>
                    <a:pt x="1250" y="3025"/>
                    <a:pt x="1303" y="3109"/>
                    <a:pt x="1275" y="3179"/>
                  </a:cubicBezTo>
                  <a:cubicBezTo>
                    <a:pt x="1259" y="3216"/>
                    <a:pt x="1222" y="3240"/>
                    <a:pt x="1182" y="3240"/>
                  </a:cubicBezTo>
                  <a:cubicBezTo>
                    <a:pt x="1177" y="3240"/>
                    <a:pt x="1172" y="3240"/>
                    <a:pt x="1166" y="3239"/>
                  </a:cubicBezTo>
                  <a:cubicBezTo>
                    <a:pt x="1152" y="3239"/>
                    <a:pt x="1128" y="3260"/>
                    <a:pt x="1110" y="3291"/>
                  </a:cubicBezTo>
                  <a:cubicBezTo>
                    <a:pt x="1086" y="3330"/>
                    <a:pt x="1072" y="3379"/>
                    <a:pt x="1079" y="3424"/>
                  </a:cubicBezTo>
                  <a:cubicBezTo>
                    <a:pt x="1086" y="3431"/>
                    <a:pt x="1103" y="3445"/>
                    <a:pt x="1121" y="3459"/>
                  </a:cubicBezTo>
                  <a:cubicBezTo>
                    <a:pt x="1208" y="3533"/>
                    <a:pt x="1317" y="3620"/>
                    <a:pt x="1292" y="3715"/>
                  </a:cubicBezTo>
                  <a:cubicBezTo>
                    <a:pt x="1282" y="3764"/>
                    <a:pt x="1236" y="3795"/>
                    <a:pt x="1163" y="3809"/>
                  </a:cubicBezTo>
                  <a:cubicBezTo>
                    <a:pt x="1040" y="3830"/>
                    <a:pt x="1009" y="3904"/>
                    <a:pt x="1002" y="4005"/>
                  </a:cubicBezTo>
                  <a:lnTo>
                    <a:pt x="1002" y="4079"/>
                  </a:lnTo>
                  <a:lnTo>
                    <a:pt x="1002" y="4082"/>
                  </a:lnTo>
                  <a:lnTo>
                    <a:pt x="1002" y="4089"/>
                  </a:lnTo>
                  <a:lnTo>
                    <a:pt x="1002" y="4093"/>
                  </a:lnTo>
                  <a:lnTo>
                    <a:pt x="1002" y="4096"/>
                  </a:lnTo>
                  <a:lnTo>
                    <a:pt x="1002" y="4103"/>
                  </a:lnTo>
                  <a:lnTo>
                    <a:pt x="1005" y="4110"/>
                  </a:lnTo>
                  <a:lnTo>
                    <a:pt x="1009" y="4118"/>
                  </a:lnTo>
                  <a:lnTo>
                    <a:pt x="1012" y="4128"/>
                  </a:lnTo>
                  <a:lnTo>
                    <a:pt x="1016" y="4135"/>
                  </a:lnTo>
                  <a:lnTo>
                    <a:pt x="1026" y="4153"/>
                  </a:lnTo>
                  <a:lnTo>
                    <a:pt x="1026" y="4156"/>
                  </a:lnTo>
                  <a:lnTo>
                    <a:pt x="1040" y="4184"/>
                  </a:lnTo>
                  <a:cubicBezTo>
                    <a:pt x="1072" y="4177"/>
                    <a:pt x="1103" y="4177"/>
                    <a:pt x="1131" y="4177"/>
                  </a:cubicBezTo>
                  <a:cubicBezTo>
                    <a:pt x="1138" y="4177"/>
                    <a:pt x="1145" y="4176"/>
                    <a:pt x="1152" y="4176"/>
                  </a:cubicBezTo>
                  <a:cubicBezTo>
                    <a:pt x="1211" y="4176"/>
                    <a:pt x="1271" y="4190"/>
                    <a:pt x="1327" y="4216"/>
                  </a:cubicBezTo>
                  <a:cubicBezTo>
                    <a:pt x="1436" y="4268"/>
                    <a:pt x="1516" y="4394"/>
                    <a:pt x="1604" y="4527"/>
                  </a:cubicBezTo>
                  <a:cubicBezTo>
                    <a:pt x="1704" y="4684"/>
                    <a:pt x="1804" y="4843"/>
                    <a:pt x="1934" y="4843"/>
                  </a:cubicBezTo>
                  <a:cubicBezTo>
                    <a:pt x="1941" y="4843"/>
                    <a:pt x="1947" y="4843"/>
                    <a:pt x="1954" y="4842"/>
                  </a:cubicBezTo>
                  <a:cubicBezTo>
                    <a:pt x="1986" y="4839"/>
                    <a:pt x="1986" y="4839"/>
                    <a:pt x="1989" y="4800"/>
                  </a:cubicBezTo>
                  <a:cubicBezTo>
                    <a:pt x="1996" y="4755"/>
                    <a:pt x="2014" y="4713"/>
                    <a:pt x="2045" y="4681"/>
                  </a:cubicBezTo>
                  <a:cubicBezTo>
                    <a:pt x="2086" y="4641"/>
                    <a:pt x="2136" y="4629"/>
                    <a:pt x="2190" y="4629"/>
                  </a:cubicBezTo>
                  <a:cubicBezTo>
                    <a:pt x="2224" y="4629"/>
                    <a:pt x="2259" y="4634"/>
                    <a:pt x="2294" y="4639"/>
                  </a:cubicBezTo>
                  <a:cubicBezTo>
                    <a:pt x="2332" y="4643"/>
                    <a:pt x="2371" y="4646"/>
                    <a:pt x="2406" y="4646"/>
                  </a:cubicBezTo>
                  <a:cubicBezTo>
                    <a:pt x="2434" y="4646"/>
                    <a:pt x="2465" y="4629"/>
                    <a:pt x="2511" y="4594"/>
                  </a:cubicBezTo>
                  <a:cubicBezTo>
                    <a:pt x="2623" y="4506"/>
                    <a:pt x="2763" y="4454"/>
                    <a:pt x="2906" y="4454"/>
                  </a:cubicBezTo>
                  <a:cubicBezTo>
                    <a:pt x="3032" y="4450"/>
                    <a:pt x="3137" y="4443"/>
                    <a:pt x="3235" y="4440"/>
                  </a:cubicBezTo>
                  <a:cubicBezTo>
                    <a:pt x="3335" y="4432"/>
                    <a:pt x="3427" y="4428"/>
                    <a:pt x="3517" y="4428"/>
                  </a:cubicBezTo>
                  <a:cubicBezTo>
                    <a:pt x="3547" y="4428"/>
                    <a:pt x="3577" y="4428"/>
                    <a:pt x="3606" y="4429"/>
                  </a:cubicBezTo>
                  <a:cubicBezTo>
                    <a:pt x="3616" y="4429"/>
                    <a:pt x="3626" y="4430"/>
                    <a:pt x="3635" y="4430"/>
                  </a:cubicBezTo>
                  <a:cubicBezTo>
                    <a:pt x="3795" y="4430"/>
                    <a:pt x="3902" y="4374"/>
                    <a:pt x="3936" y="4279"/>
                  </a:cubicBezTo>
                  <a:cubicBezTo>
                    <a:pt x="3995" y="4110"/>
                    <a:pt x="4184" y="3977"/>
                    <a:pt x="4419" y="3946"/>
                  </a:cubicBezTo>
                  <a:cubicBezTo>
                    <a:pt x="4538" y="3928"/>
                    <a:pt x="4548" y="3837"/>
                    <a:pt x="4559" y="3690"/>
                  </a:cubicBezTo>
                  <a:cubicBezTo>
                    <a:pt x="4559" y="3662"/>
                    <a:pt x="4562" y="3638"/>
                    <a:pt x="4566" y="3613"/>
                  </a:cubicBezTo>
                  <a:cubicBezTo>
                    <a:pt x="4576" y="3515"/>
                    <a:pt x="4692" y="3424"/>
                    <a:pt x="4818" y="3323"/>
                  </a:cubicBezTo>
                  <a:cubicBezTo>
                    <a:pt x="4874" y="3281"/>
                    <a:pt x="4961" y="3211"/>
                    <a:pt x="4972" y="3183"/>
                  </a:cubicBezTo>
                  <a:cubicBezTo>
                    <a:pt x="4965" y="3144"/>
                    <a:pt x="4954" y="3109"/>
                    <a:pt x="4944" y="3071"/>
                  </a:cubicBezTo>
                  <a:cubicBezTo>
                    <a:pt x="4895" y="2906"/>
                    <a:pt x="4814" y="2623"/>
                    <a:pt x="4986" y="2364"/>
                  </a:cubicBezTo>
                  <a:cubicBezTo>
                    <a:pt x="5073" y="2238"/>
                    <a:pt x="5178" y="2126"/>
                    <a:pt x="5297" y="2034"/>
                  </a:cubicBezTo>
                  <a:cubicBezTo>
                    <a:pt x="5388" y="1964"/>
                    <a:pt x="5430" y="1929"/>
                    <a:pt x="5430" y="1866"/>
                  </a:cubicBezTo>
                  <a:cubicBezTo>
                    <a:pt x="5430" y="1600"/>
                    <a:pt x="5822" y="1555"/>
                    <a:pt x="5991" y="1534"/>
                  </a:cubicBezTo>
                  <a:cubicBezTo>
                    <a:pt x="6134" y="1516"/>
                    <a:pt x="6222" y="1453"/>
                    <a:pt x="6320" y="1376"/>
                  </a:cubicBezTo>
                  <a:cubicBezTo>
                    <a:pt x="6397" y="1313"/>
                    <a:pt x="6481" y="1261"/>
                    <a:pt x="6572" y="1222"/>
                  </a:cubicBezTo>
                  <a:cubicBezTo>
                    <a:pt x="6722" y="1159"/>
                    <a:pt x="6782" y="1061"/>
                    <a:pt x="6764" y="893"/>
                  </a:cubicBezTo>
                  <a:lnTo>
                    <a:pt x="6432" y="893"/>
                  </a:lnTo>
                  <a:lnTo>
                    <a:pt x="6372" y="890"/>
                  </a:lnTo>
                  <a:lnTo>
                    <a:pt x="6358" y="890"/>
                  </a:lnTo>
                  <a:lnTo>
                    <a:pt x="6316" y="886"/>
                  </a:lnTo>
                  <a:lnTo>
                    <a:pt x="6299" y="886"/>
                  </a:lnTo>
                  <a:cubicBezTo>
                    <a:pt x="6281" y="883"/>
                    <a:pt x="6264" y="879"/>
                    <a:pt x="6246" y="876"/>
                  </a:cubicBezTo>
                  <a:cubicBezTo>
                    <a:pt x="6197" y="865"/>
                    <a:pt x="6131" y="855"/>
                    <a:pt x="6061" y="844"/>
                  </a:cubicBezTo>
                  <a:cubicBezTo>
                    <a:pt x="5819" y="809"/>
                    <a:pt x="5644" y="781"/>
                    <a:pt x="5563" y="701"/>
                  </a:cubicBezTo>
                  <a:cubicBezTo>
                    <a:pt x="5525" y="659"/>
                    <a:pt x="5476" y="624"/>
                    <a:pt x="5420" y="603"/>
                  </a:cubicBezTo>
                  <a:cubicBezTo>
                    <a:pt x="5416" y="655"/>
                    <a:pt x="5385" y="701"/>
                    <a:pt x="5336" y="725"/>
                  </a:cubicBezTo>
                  <a:cubicBezTo>
                    <a:pt x="5290" y="751"/>
                    <a:pt x="5228" y="763"/>
                    <a:pt x="5162" y="763"/>
                  </a:cubicBezTo>
                  <a:cubicBezTo>
                    <a:pt x="5068" y="763"/>
                    <a:pt x="4964" y="738"/>
                    <a:pt x="4888" y="690"/>
                  </a:cubicBezTo>
                  <a:cubicBezTo>
                    <a:pt x="4797" y="638"/>
                    <a:pt x="4706" y="596"/>
                    <a:pt x="4608" y="557"/>
                  </a:cubicBezTo>
                  <a:cubicBezTo>
                    <a:pt x="4520" y="522"/>
                    <a:pt x="4436" y="480"/>
                    <a:pt x="4356" y="435"/>
                  </a:cubicBezTo>
                  <a:cubicBezTo>
                    <a:pt x="4296" y="400"/>
                    <a:pt x="4240" y="372"/>
                    <a:pt x="4181" y="347"/>
                  </a:cubicBezTo>
                  <a:lnTo>
                    <a:pt x="4121" y="319"/>
                  </a:lnTo>
                  <a:lnTo>
                    <a:pt x="4104" y="309"/>
                  </a:lnTo>
                  <a:lnTo>
                    <a:pt x="4069" y="295"/>
                  </a:lnTo>
                  <a:cubicBezTo>
                    <a:pt x="4059" y="295"/>
                    <a:pt x="4048" y="296"/>
                    <a:pt x="4038" y="296"/>
                  </a:cubicBezTo>
                  <a:cubicBezTo>
                    <a:pt x="3956" y="296"/>
                    <a:pt x="3844" y="273"/>
                    <a:pt x="3708" y="246"/>
                  </a:cubicBezTo>
                  <a:cubicBezTo>
                    <a:pt x="3554" y="214"/>
                    <a:pt x="3383" y="180"/>
                    <a:pt x="3238" y="180"/>
                  </a:cubicBezTo>
                  <a:cubicBezTo>
                    <a:pt x="3206" y="180"/>
                    <a:pt x="3174" y="182"/>
                    <a:pt x="3144" y="186"/>
                  </a:cubicBezTo>
                  <a:cubicBezTo>
                    <a:pt x="3080" y="194"/>
                    <a:pt x="2991" y="197"/>
                    <a:pt x="2886" y="197"/>
                  </a:cubicBezTo>
                  <a:cubicBezTo>
                    <a:pt x="2704" y="197"/>
                    <a:pt x="2475" y="188"/>
                    <a:pt x="2238" y="179"/>
                  </a:cubicBezTo>
                  <a:cubicBezTo>
                    <a:pt x="2007" y="170"/>
                    <a:pt x="1772" y="162"/>
                    <a:pt x="1583" y="162"/>
                  </a:cubicBezTo>
                  <a:cubicBezTo>
                    <a:pt x="1488" y="162"/>
                    <a:pt x="1404" y="164"/>
                    <a:pt x="1338" y="169"/>
                  </a:cubicBezTo>
                  <a:cubicBezTo>
                    <a:pt x="1305" y="171"/>
                    <a:pt x="1275" y="172"/>
                    <a:pt x="1246" y="172"/>
                  </a:cubicBezTo>
                  <a:cubicBezTo>
                    <a:pt x="1045" y="172"/>
                    <a:pt x="941" y="113"/>
                    <a:pt x="855" y="64"/>
                  </a:cubicBezTo>
                  <a:cubicBezTo>
                    <a:pt x="799" y="25"/>
                    <a:pt x="736" y="1"/>
                    <a:pt x="66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4" name="Google Shape;6811;p64">
              <a:extLst>
                <a:ext uri="{FF2B5EF4-FFF2-40B4-BE49-F238E27FC236}">
                  <a16:creationId xmlns:a16="http://schemas.microsoft.com/office/drawing/2014/main" id="{FD340D0D-4B37-66A6-87DB-42412946993B}"/>
                </a:ext>
              </a:extLst>
            </p:cNvPr>
            <p:cNvSpPr/>
            <p:nvPr/>
          </p:nvSpPr>
          <p:spPr>
            <a:xfrm>
              <a:off x="2067501" y="1729043"/>
              <a:ext cx="4956" cy="3069"/>
            </a:xfrm>
            <a:custGeom>
              <a:avLst/>
              <a:gdLst/>
              <a:ahLst/>
              <a:cxnLst/>
              <a:rect l="l" t="t" r="r" b="b"/>
              <a:pathLst>
                <a:path w="365" h="226" extrusionOk="0">
                  <a:moveTo>
                    <a:pt x="303" y="0"/>
                  </a:moveTo>
                  <a:cubicBezTo>
                    <a:pt x="198" y="0"/>
                    <a:pt x="41" y="106"/>
                    <a:pt x="0" y="158"/>
                  </a:cubicBezTo>
                  <a:cubicBezTo>
                    <a:pt x="74" y="202"/>
                    <a:pt x="151" y="226"/>
                    <a:pt x="215" y="226"/>
                  </a:cubicBezTo>
                  <a:cubicBezTo>
                    <a:pt x="251" y="226"/>
                    <a:pt x="283" y="218"/>
                    <a:pt x="308" y="203"/>
                  </a:cubicBezTo>
                  <a:cubicBezTo>
                    <a:pt x="361" y="168"/>
                    <a:pt x="364" y="98"/>
                    <a:pt x="357" y="46"/>
                  </a:cubicBezTo>
                  <a:cubicBezTo>
                    <a:pt x="354" y="14"/>
                    <a:pt x="340" y="4"/>
                    <a:pt x="308" y="0"/>
                  </a:cubicBezTo>
                  <a:cubicBezTo>
                    <a:pt x="307" y="0"/>
                    <a:pt x="305" y="0"/>
                    <a:pt x="30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5" name="Google Shape;6812;p64">
              <a:extLst>
                <a:ext uri="{FF2B5EF4-FFF2-40B4-BE49-F238E27FC236}">
                  <a16:creationId xmlns:a16="http://schemas.microsoft.com/office/drawing/2014/main" id="{1198D029-F5BC-387E-6D83-28CDFC59915F}"/>
                </a:ext>
              </a:extLst>
            </p:cNvPr>
            <p:cNvSpPr/>
            <p:nvPr/>
          </p:nvSpPr>
          <p:spPr>
            <a:xfrm>
              <a:off x="1993626" y="1750237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6" name="Google Shape;6813;p64">
              <a:extLst>
                <a:ext uri="{FF2B5EF4-FFF2-40B4-BE49-F238E27FC236}">
                  <a16:creationId xmlns:a16="http://schemas.microsoft.com/office/drawing/2014/main" id="{08744D9B-AD45-C789-CF1E-F859945C7B00}"/>
                </a:ext>
              </a:extLst>
            </p:cNvPr>
            <p:cNvSpPr/>
            <p:nvPr/>
          </p:nvSpPr>
          <p:spPr>
            <a:xfrm>
              <a:off x="1993870" y="1750767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4" y="28"/>
                  </a:moveTo>
                  <a:lnTo>
                    <a:pt x="14" y="2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7" name="Google Shape;6814;p64">
              <a:extLst>
                <a:ext uri="{FF2B5EF4-FFF2-40B4-BE49-F238E27FC236}">
                  <a16:creationId xmlns:a16="http://schemas.microsoft.com/office/drawing/2014/main" id="{279A7B20-A25A-26C3-FDB8-3290796FFE3B}"/>
                </a:ext>
              </a:extLst>
            </p:cNvPr>
            <p:cNvSpPr/>
            <p:nvPr/>
          </p:nvSpPr>
          <p:spPr>
            <a:xfrm>
              <a:off x="1993490" y="174976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8" name="Google Shape;6815;p64">
              <a:extLst>
                <a:ext uri="{FF2B5EF4-FFF2-40B4-BE49-F238E27FC236}">
                  <a16:creationId xmlns:a16="http://schemas.microsoft.com/office/drawing/2014/main" id="{AE2D95E7-3232-04FB-B030-9169BBECD9FC}"/>
                </a:ext>
              </a:extLst>
            </p:cNvPr>
            <p:cNvSpPr/>
            <p:nvPr/>
          </p:nvSpPr>
          <p:spPr>
            <a:xfrm>
              <a:off x="1993490" y="174989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9" name="Google Shape;6816;p64">
              <a:extLst>
                <a:ext uri="{FF2B5EF4-FFF2-40B4-BE49-F238E27FC236}">
                  <a16:creationId xmlns:a16="http://schemas.microsoft.com/office/drawing/2014/main" id="{56A12169-49BF-FC75-E352-D0BCAA530AA6}"/>
                </a:ext>
              </a:extLst>
            </p:cNvPr>
            <p:cNvSpPr/>
            <p:nvPr/>
          </p:nvSpPr>
          <p:spPr>
            <a:xfrm>
              <a:off x="1993436" y="174966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cubicBezTo>
                    <a:pt x="1" y="4"/>
                    <a:pt x="1" y="4"/>
                    <a:pt x="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0" name="Google Shape;6817;p64">
              <a:extLst>
                <a:ext uri="{FF2B5EF4-FFF2-40B4-BE49-F238E27FC236}">
                  <a16:creationId xmlns:a16="http://schemas.microsoft.com/office/drawing/2014/main" id="{0CC077F8-A315-FAF5-287A-C7F682DE4B83}"/>
                </a:ext>
              </a:extLst>
            </p:cNvPr>
            <p:cNvSpPr/>
            <p:nvPr/>
          </p:nvSpPr>
          <p:spPr>
            <a:xfrm>
              <a:off x="1983552" y="170869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1" y="4"/>
                  </a:ln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1" name="Google Shape;6818;p64">
              <a:extLst>
                <a:ext uri="{FF2B5EF4-FFF2-40B4-BE49-F238E27FC236}">
                  <a16:creationId xmlns:a16="http://schemas.microsoft.com/office/drawing/2014/main" id="{D2FC526E-063E-F88A-186C-FA0D2F6D7453}"/>
                </a:ext>
              </a:extLst>
            </p:cNvPr>
            <p:cNvSpPr/>
            <p:nvPr/>
          </p:nvSpPr>
          <p:spPr>
            <a:xfrm>
              <a:off x="1993721" y="1750481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1" y="1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2" name="Google Shape;6819;p64">
              <a:extLst>
                <a:ext uri="{FF2B5EF4-FFF2-40B4-BE49-F238E27FC236}">
                  <a16:creationId xmlns:a16="http://schemas.microsoft.com/office/drawing/2014/main" id="{1F8F8FF3-19FA-A818-D98F-687A35D88DC5}"/>
                </a:ext>
              </a:extLst>
            </p:cNvPr>
            <p:cNvSpPr/>
            <p:nvPr/>
          </p:nvSpPr>
          <p:spPr>
            <a:xfrm>
              <a:off x="1993531" y="175004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3" name="Google Shape;6820;p64">
              <a:extLst>
                <a:ext uri="{FF2B5EF4-FFF2-40B4-BE49-F238E27FC236}">
                  <a16:creationId xmlns:a16="http://schemas.microsoft.com/office/drawing/2014/main" id="{3A595E07-B978-C49F-A170-8C64C04165A7}"/>
                </a:ext>
              </a:extLst>
            </p:cNvPr>
            <p:cNvSpPr/>
            <p:nvPr/>
          </p:nvSpPr>
          <p:spPr>
            <a:xfrm>
              <a:off x="1983647" y="170850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"/>
                  </a:moveTo>
                  <a:cubicBezTo>
                    <a:pt x="11" y="4"/>
                    <a:pt x="8" y="11"/>
                    <a:pt x="1" y="15"/>
                  </a:cubicBezTo>
                  <a:cubicBezTo>
                    <a:pt x="8" y="11"/>
                    <a:pt x="11" y="4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4" name="Google Shape;6821;p64">
              <a:extLst>
                <a:ext uri="{FF2B5EF4-FFF2-40B4-BE49-F238E27FC236}">
                  <a16:creationId xmlns:a16="http://schemas.microsoft.com/office/drawing/2014/main" id="{45928293-2C51-38D5-BD2E-A5A3BCA41B5B}"/>
                </a:ext>
              </a:extLst>
            </p:cNvPr>
            <p:cNvSpPr/>
            <p:nvPr/>
          </p:nvSpPr>
          <p:spPr>
            <a:xfrm>
              <a:off x="2035703" y="169852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1"/>
                  </a:moveTo>
                  <a:lnTo>
                    <a:pt x="1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5" name="Google Shape;6822;p64">
              <a:extLst>
                <a:ext uri="{FF2B5EF4-FFF2-40B4-BE49-F238E27FC236}">
                  <a16:creationId xmlns:a16="http://schemas.microsoft.com/office/drawing/2014/main" id="{F21D0850-5198-8376-408D-5350F1744D7B}"/>
                </a:ext>
              </a:extLst>
            </p:cNvPr>
            <p:cNvSpPr/>
            <p:nvPr/>
          </p:nvSpPr>
          <p:spPr>
            <a:xfrm>
              <a:off x="2065505" y="1706314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6" name="Google Shape;6823;p64">
              <a:extLst>
                <a:ext uri="{FF2B5EF4-FFF2-40B4-BE49-F238E27FC236}">
                  <a16:creationId xmlns:a16="http://schemas.microsoft.com/office/drawing/2014/main" id="{C433B31F-C3DA-72E9-D02A-E707210DF947}"/>
                </a:ext>
              </a:extLst>
            </p:cNvPr>
            <p:cNvSpPr/>
            <p:nvPr/>
          </p:nvSpPr>
          <p:spPr>
            <a:xfrm>
              <a:off x="2066266" y="170640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7" name="Google Shape;6824;p64">
              <a:extLst>
                <a:ext uri="{FF2B5EF4-FFF2-40B4-BE49-F238E27FC236}">
                  <a16:creationId xmlns:a16="http://schemas.microsoft.com/office/drawing/2014/main" id="{D7202565-5BCC-48F0-058E-F5AEE7DE53B7}"/>
                </a:ext>
              </a:extLst>
            </p:cNvPr>
            <p:cNvSpPr/>
            <p:nvPr/>
          </p:nvSpPr>
          <p:spPr>
            <a:xfrm>
              <a:off x="2067257" y="170646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8" name="Google Shape;6825;p64">
              <a:extLst>
                <a:ext uri="{FF2B5EF4-FFF2-40B4-BE49-F238E27FC236}">
                  <a16:creationId xmlns:a16="http://schemas.microsoft.com/office/drawing/2014/main" id="{BD8D3ED4-F617-1705-7BBD-22552E3B63C6}"/>
                </a:ext>
              </a:extLst>
            </p:cNvPr>
            <p:cNvSpPr/>
            <p:nvPr/>
          </p:nvSpPr>
          <p:spPr>
            <a:xfrm>
              <a:off x="2068357" y="1706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9" name="Google Shape;6826;p64">
              <a:extLst>
                <a:ext uri="{FF2B5EF4-FFF2-40B4-BE49-F238E27FC236}">
                  <a16:creationId xmlns:a16="http://schemas.microsoft.com/office/drawing/2014/main" id="{2114F208-C4FC-BC4B-20CE-60499EE985BD}"/>
                </a:ext>
              </a:extLst>
            </p:cNvPr>
            <p:cNvSpPr/>
            <p:nvPr/>
          </p:nvSpPr>
          <p:spPr>
            <a:xfrm>
              <a:off x="2071819" y="170640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0" name="Google Shape;6827;p64">
              <a:extLst>
                <a:ext uri="{FF2B5EF4-FFF2-40B4-BE49-F238E27FC236}">
                  <a16:creationId xmlns:a16="http://schemas.microsoft.com/office/drawing/2014/main" id="{26183449-8CD9-290F-5AA8-D5CDF0E254F6}"/>
                </a:ext>
              </a:extLst>
            </p:cNvPr>
            <p:cNvSpPr/>
            <p:nvPr/>
          </p:nvSpPr>
          <p:spPr>
            <a:xfrm>
              <a:off x="2145164" y="1665201"/>
              <a:ext cx="22919" cy="11663"/>
            </a:xfrm>
            <a:custGeom>
              <a:avLst/>
              <a:gdLst/>
              <a:ahLst/>
              <a:cxnLst/>
              <a:rect l="l" t="t" r="r" b="b"/>
              <a:pathLst>
                <a:path w="1688" h="859" extrusionOk="0">
                  <a:moveTo>
                    <a:pt x="1614" y="0"/>
                  </a:moveTo>
                  <a:lnTo>
                    <a:pt x="1600" y="11"/>
                  </a:lnTo>
                  <a:cubicBezTo>
                    <a:pt x="1499" y="74"/>
                    <a:pt x="1380" y="109"/>
                    <a:pt x="1257" y="113"/>
                  </a:cubicBezTo>
                  <a:cubicBezTo>
                    <a:pt x="1145" y="113"/>
                    <a:pt x="1047" y="165"/>
                    <a:pt x="963" y="214"/>
                  </a:cubicBezTo>
                  <a:cubicBezTo>
                    <a:pt x="911" y="253"/>
                    <a:pt x="851" y="274"/>
                    <a:pt x="788" y="284"/>
                  </a:cubicBezTo>
                  <a:cubicBezTo>
                    <a:pt x="704" y="274"/>
                    <a:pt x="627" y="260"/>
                    <a:pt x="547" y="239"/>
                  </a:cubicBezTo>
                  <a:cubicBezTo>
                    <a:pt x="428" y="207"/>
                    <a:pt x="302" y="186"/>
                    <a:pt x="176" y="172"/>
                  </a:cubicBezTo>
                  <a:lnTo>
                    <a:pt x="106" y="169"/>
                  </a:lnTo>
                  <a:lnTo>
                    <a:pt x="95" y="169"/>
                  </a:lnTo>
                  <a:lnTo>
                    <a:pt x="18" y="162"/>
                  </a:lnTo>
                  <a:cubicBezTo>
                    <a:pt x="18" y="179"/>
                    <a:pt x="18" y="197"/>
                    <a:pt x="15" y="214"/>
                  </a:cubicBezTo>
                  <a:lnTo>
                    <a:pt x="15" y="221"/>
                  </a:lnTo>
                  <a:cubicBezTo>
                    <a:pt x="15" y="242"/>
                    <a:pt x="11" y="260"/>
                    <a:pt x="11" y="281"/>
                  </a:cubicBezTo>
                  <a:cubicBezTo>
                    <a:pt x="11" y="302"/>
                    <a:pt x="8" y="319"/>
                    <a:pt x="4" y="340"/>
                  </a:cubicBezTo>
                  <a:lnTo>
                    <a:pt x="4" y="351"/>
                  </a:lnTo>
                  <a:cubicBezTo>
                    <a:pt x="4" y="375"/>
                    <a:pt x="4" y="396"/>
                    <a:pt x="1" y="417"/>
                  </a:cubicBezTo>
                  <a:lnTo>
                    <a:pt x="1" y="424"/>
                  </a:lnTo>
                  <a:cubicBezTo>
                    <a:pt x="1" y="445"/>
                    <a:pt x="1" y="463"/>
                    <a:pt x="1" y="484"/>
                  </a:cubicBezTo>
                  <a:lnTo>
                    <a:pt x="1" y="498"/>
                  </a:lnTo>
                  <a:lnTo>
                    <a:pt x="1" y="564"/>
                  </a:lnTo>
                  <a:lnTo>
                    <a:pt x="1" y="578"/>
                  </a:lnTo>
                  <a:lnTo>
                    <a:pt x="1" y="638"/>
                  </a:lnTo>
                  <a:lnTo>
                    <a:pt x="1" y="652"/>
                  </a:lnTo>
                  <a:lnTo>
                    <a:pt x="1" y="718"/>
                  </a:lnTo>
                  <a:lnTo>
                    <a:pt x="1" y="725"/>
                  </a:lnTo>
                  <a:cubicBezTo>
                    <a:pt x="64" y="704"/>
                    <a:pt x="134" y="694"/>
                    <a:pt x="200" y="694"/>
                  </a:cubicBezTo>
                  <a:cubicBezTo>
                    <a:pt x="207" y="693"/>
                    <a:pt x="213" y="693"/>
                    <a:pt x="220" y="693"/>
                  </a:cubicBezTo>
                  <a:cubicBezTo>
                    <a:pt x="251" y="693"/>
                    <a:pt x="280" y="700"/>
                    <a:pt x="309" y="711"/>
                  </a:cubicBezTo>
                  <a:cubicBezTo>
                    <a:pt x="372" y="739"/>
                    <a:pt x="417" y="795"/>
                    <a:pt x="431" y="858"/>
                  </a:cubicBezTo>
                  <a:lnTo>
                    <a:pt x="463" y="855"/>
                  </a:lnTo>
                  <a:lnTo>
                    <a:pt x="491" y="851"/>
                  </a:lnTo>
                  <a:lnTo>
                    <a:pt x="522" y="844"/>
                  </a:lnTo>
                  <a:lnTo>
                    <a:pt x="547" y="841"/>
                  </a:lnTo>
                  <a:lnTo>
                    <a:pt x="575" y="837"/>
                  </a:lnTo>
                  <a:lnTo>
                    <a:pt x="596" y="834"/>
                  </a:lnTo>
                  <a:lnTo>
                    <a:pt x="620" y="827"/>
                  </a:lnTo>
                  <a:lnTo>
                    <a:pt x="641" y="823"/>
                  </a:lnTo>
                  <a:lnTo>
                    <a:pt x="659" y="820"/>
                  </a:lnTo>
                  <a:lnTo>
                    <a:pt x="680" y="816"/>
                  </a:lnTo>
                  <a:lnTo>
                    <a:pt x="694" y="813"/>
                  </a:lnTo>
                  <a:lnTo>
                    <a:pt x="711" y="809"/>
                  </a:lnTo>
                  <a:lnTo>
                    <a:pt x="722" y="806"/>
                  </a:lnTo>
                  <a:lnTo>
                    <a:pt x="739" y="799"/>
                  </a:lnTo>
                  <a:cubicBezTo>
                    <a:pt x="761" y="791"/>
                    <a:pt x="784" y="788"/>
                    <a:pt x="808" y="788"/>
                  </a:cubicBezTo>
                  <a:cubicBezTo>
                    <a:pt x="858" y="788"/>
                    <a:pt x="911" y="801"/>
                    <a:pt x="963" y="813"/>
                  </a:cubicBezTo>
                  <a:cubicBezTo>
                    <a:pt x="991" y="820"/>
                    <a:pt x="1019" y="827"/>
                    <a:pt x="1051" y="830"/>
                  </a:cubicBezTo>
                  <a:cubicBezTo>
                    <a:pt x="1079" y="750"/>
                    <a:pt x="1156" y="575"/>
                    <a:pt x="1285" y="564"/>
                  </a:cubicBezTo>
                  <a:cubicBezTo>
                    <a:pt x="1292" y="540"/>
                    <a:pt x="1296" y="515"/>
                    <a:pt x="1299" y="491"/>
                  </a:cubicBezTo>
                  <a:cubicBezTo>
                    <a:pt x="1310" y="417"/>
                    <a:pt x="1324" y="309"/>
                    <a:pt x="1422" y="298"/>
                  </a:cubicBezTo>
                  <a:cubicBezTo>
                    <a:pt x="1429" y="295"/>
                    <a:pt x="1436" y="295"/>
                    <a:pt x="1439" y="291"/>
                  </a:cubicBezTo>
                  <a:lnTo>
                    <a:pt x="1453" y="288"/>
                  </a:lnTo>
                  <a:lnTo>
                    <a:pt x="1464" y="281"/>
                  </a:lnTo>
                  <a:lnTo>
                    <a:pt x="1478" y="274"/>
                  </a:lnTo>
                  <a:lnTo>
                    <a:pt x="1495" y="263"/>
                  </a:lnTo>
                  <a:lnTo>
                    <a:pt x="1502" y="260"/>
                  </a:lnTo>
                  <a:cubicBezTo>
                    <a:pt x="1548" y="228"/>
                    <a:pt x="1593" y="193"/>
                    <a:pt x="1639" y="158"/>
                  </a:cubicBezTo>
                  <a:lnTo>
                    <a:pt x="1653" y="148"/>
                  </a:lnTo>
                  <a:lnTo>
                    <a:pt x="1677" y="127"/>
                  </a:lnTo>
                  <a:lnTo>
                    <a:pt x="1688" y="116"/>
                  </a:lnTo>
                  <a:lnTo>
                    <a:pt x="1677" y="99"/>
                  </a:lnTo>
                  <a:lnTo>
                    <a:pt x="1674" y="92"/>
                  </a:lnTo>
                  <a:cubicBezTo>
                    <a:pt x="1656" y="60"/>
                    <a:pt x="1635" y="28"/>
                    <a:pt x="1621" y="7"/>
                  </a:cubicBezTo>
                  <a:lnTo>
                    <a:pt x="16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1" name="Google Shape;6828;p64">
              <a:extLst>
                <a:ext uri="{FF2B5EF4-FFF2-40B4-BE49-F238E27FC236}">
                  <a16:creationId xmlns:a16="http://schemas.microsoft.com/office/drawing/2014/main" id="{479691BC-8BC0-EE68-7BDF-494CA6E001EA}"/>
                </a:ext>
              </a:extLst>
            </p:cNvPr>
            <p:cNvSpPr/>
            <p:nvPr/>
          </p:nvSpPr>
          <p:spPr>
            <a:xfrm>
              <a:off x="2165463" y="166871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2" name="Google Shape;6829;p64">
              <a:extLst>
                <a:ext uri="{FF2B5EF4-FFF2-40B4-BE49-F238E27FC236}">
                  <a16:creationId xmlns:a16="http://schemas.microsoft.com/office/drawing/2014/main" id="{7FA3C95A-2105-774D-A28D-2BFCB08F3908}"/>
                </a:ext>
              </a:extLst>
            </p:cNvPr>
            <p:cNvSpPr/>
            <p:nvPr/>
          </p:nvSpPr>
          <p:spPr>
            <a:xfrm>
              <a:off x="2165028" y="1668908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3" name="Google Shape;6830;p64">
              <a:extLst>
                <a:ext uri="{FF2B5EF4-FFF2-40B4-BE49-F238E27FC236}">
                  <a16:creationId xmlns:a16="http://schemas.microsoft.com/office/drawing/2014/main" id="{DEDCBB62-D608-1F59-D9C5-E383B156C008}"/>
                </a:ext>
              </a:extLst>
            </p:cNvPr>
            <p:cNvSpPr/>
            <p:nvPr/>
          </p:nvSpPr>
          <p:spPr>
            <a:xfrm>
              <a:off x="2167880" y="1666776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11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4" name="Google Shape;6831;p64">
              <a:extLst>
                <a:ext uri="{FF2B5EF4-FFF2-40B4-BE49-F238E27FC236}">
                  <a16:creationId xmlns:a16="http://schemas.microsoft.com/office/drawing/2014/main" id="{C4AE6DDD-2CD6-9E27-DEDA-5F1326A1852B}"/>
                </a:ext>
              </a:extLst>
            </p:cNvPr>
            <p:cNvSpPr/>
            <p:nvPr/>
          </p:nvSpPr>
          <p:spPr>
            <a:xfrm>
              <a:off x="2167404" y="166719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5" name="Google Shape;6832;p64">
              <a:extLst>
                <a:ext uri="{FF2B5EF4-FFF2-40B4-BE49-F238E27FC236}">
                  <a16:creationId xmlns:a16="http://schemas.microsoft.com/office/drawing/2014/main" id="{511F0635-40F5-08C3-3878-029DAAA8C8BA}"/>
                </a:ext>
              </a:extLst>
            </p:cNvPr>
            <p:cNvSpPr/>
            <p:nvPr/>
          </p:nvSpPr>
          <p:spPr>
            <a:xfrm>
              <a:off x="2151437" y="1676701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6" name="Google Shape;6833;p64">
              <a:extLst>
                <a:ext uri="{FF2B5EF4-FFF2-40B4-BE49-F238E27FC236}">
                  <a16:creationId xmlns:a16="http://schemas.microsoft.com/office/drawing/2014/main" id="{FC87462F-ACF9-65AC-92BB-E9CEC1E2A288}"/>
                </a:ext>
              </a:extLst>
            </p:cNvPr>
            <p:cNvSpPr/>
            <p:nvPr/>
          </p:nvSpPr>
          <p:spPr>
            <a:xfrm>
              <a:off x="2152917" y="1676470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7" name="Google Shape;6834;p64">
              <a:extLst>
                <a:ext uri="{FF2B5EF4-FFF2-40B4-BE49-F238E27FC236}">
                  <a16:creationId xmlns:a16="http://schemas.microsoft.com/office/drawing/2014/main" id="{76CA1DEF-3E3F-8019-A630-06844C84C9C0}"/>
                </a:ext>
              </a:extLst>
            </p:cNvPr>
            <p:cNvSpPr/>
            <p:nvPr/>
          </p:nvSpPr>
          <p:spPr>
            <a:xfrm>
              <a:off x="2152198" y="1676606"/>
              <a:ext cx="394" cy="68"/>
            </a:xfrm>
            <a:custGeom>
              <a:avLst/>
              <a:gdLst/>
              <a:ahLst/>
              <a:cxnLst/>
              <a:rect l="l" t="t" r="r" b="b"/>
              <a:pathLst>
                <a:path w="29" h="5" extrusionOk="0">
                  <a:moveTo>
                    <a:pt x="2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8" name="Google Shape;6835;p64">
              <a:extLst>
                <a:ext uri="{FF2B5EF4-FFF2-40B4-BE49-F238E27FC236}">
                  <a16:creationId xmlns:a16="http://schemas.microsoft.com/office/drawing/2014/main" id="{0C5344E2-3508-8C63-99AD-D74696F06DAC}"/>
                </a:ext>
              </a:extLst>
            </p:cNvPr>
            <p:cNvSpPr/>
            <p:nvPr/>
          </p:nvSpPr>
          <p:spPr>
            <a:xfrm>
              <a:off x="2150962" y="167685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9" name="Google Shape;6836;p64">
              <a:extLst>
                <a:ext uri="{FF2B5EF4-FFF2-40B4-BE49-F238E27FC236}">
                  <a16:creationId xmlns:a16="http://schemas.microsoft.com/office/drawing/2014/main" id="{6EFB0C93-1CBE-3BE9-C426-B007B073BDBE}"/>
                </a:ext>
              </a:extLst>
            </p:cNvPr>
            <p:cNvSpPr/>
            <p:nvPr/>
          </p:nvSpPr>
          <p:spPr>
            <a:xfrm>
              <a:off x="2154913" y="1676036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0" name="Google Shape;6837;p64">
              <a:extLst>
                <a:ext uri="{FF2B5EF4-FFF2-40B4-BE49-F238E27FC236}">
                  <a16:creationId xmlns:a16="http://schemas.microsoft.com/office/drawing/2014/main" id="{2463248B-0EF8-4D47-8EC4-75EBB9D82E1D}"/>
                </a:ext>
              </a:extLst>
            </p:cNvPr>
            <p:cNvSpPr/>
            <p:nvPr/>
          </p:nvSpPr>
          <p:spPr>
            <a:xfrm>
              <a:off x="2153528" y="1676375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1" name="Google Shape;6838;p64">
              <a:extLst>
                <a:ext uri="{FF2B5EF4-FFF2-40B4-BE49-F238E27FC236}">
                  <a16:creationId xmlns:a16="http://schemas.microsoft.com/office/drawing/2014/main" id="{418D41F0-566B-A201-BC89-A8FC2BC06D99}"/>
                </a:ext>
              </a:extLst>
            </p:cNvPr>
            <p:cNvSpPr/>
            <p:nvPr/>
          </p:nvSpPr>
          <p:spPr>
            <a:xfrm>
              <a:off x="2154098" y="1676280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2" name="Google Shape;6839;p64">
              <a:extLst>
                <a:ext uri="{FF2B5EF4-FFF2-40B4-BE49-F238E27FC236}">
                  <a16:creationId xmlns:a16="http://schemas.microsoft.com/office/drawing/2014/main" id="{36400A88-CFB7-D9ED-FBAE-EA1245144B66}"/>
                </a:ext>
              </a:extLst>
            </p:cNvPr>
            <p:cNvSpPr/>
            <p:nvPr/>
          </p:nvSpPr>
          <p:spPr>
            <a:xfrm>
              <a:off x="2154533" y="1676131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3" name="Google Shape;6840;p64">
              <a:extLst>
                <a:ext uri="{FF2B5EF4-FFF2-40B4-BE49-F238E27FC236}">
                  <a16:creationId xmlns:a16="http://schemas.microsoft.com/office/drawing/2014/main" id="{9E5E52CD-9B52-29A0-6560-E5536875A823}"/>
                </a:ext>
              </a:extLst>
            </p:cNvPr>
            <p:cNvSpPr/>
            <p:nvPr/>
          </p:nvSpPr>
          <p:spPr>
            <a:xfrm>
              <a:off x="2164703" y="166909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4" name="Google Shape;6841;p64">
              <a:extLst>
                <a:ext uri="{FF2B5EF4-FFF2-40B4-BE49-F238E27FC236}">
                  <a16:creationId xmlns:a16="http://schemas.microsoft.com/office/drawing/2014/main" id="{4CACA96E-D918-D693-209C-ABCB9ED56610}"/>
                </a:ext>
              </a:extLst>
            </p:cNvPr>
            <p:cNvSpPr/>
            <p:nvPr/>
          </p:nvSpPr>
          <p:spPr>
            <a:xfrm>
              <a:off x="2145450" y="1667387"/>
              <a:ext cx="1018" cy="109"/>
            </a:xfrm>
            <a:custGeom>
              <a:avLst/>
              <a:gdLst/>
              <a:ahLst/>
              <a:cxnLst/>
              <a:rect l="l" t="t" r="r" b="b"/>
              <a:pathLst>
                <a:path w="75" h="8" extrusionOk="0">
                  <a:moveTo>
                    <a:pt x="1" y="1"/>
                  </a:moveTo>
                  <a:lnTo>
                    <a:pt x="74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5" name="Google Shape;6842;p64">
              <a:extLst>
                <a:ext uri="{FF2B5EF4-FFF2-40B4-BE49-F238E27FC236}">
                  <a16:creationId xmlns:a16="http://schemas.microsoft.com/office/drawing/2014/main" id="{8D91C43C-34AB-9265-1E22-EEC8A64FAEB1}"/>
                </a:ext>
              </a:extLst>
            </p:cNvPr>
            <p:cNvSpPr/>
            <p:nvPr/>
          </p:nvSpPr>
          <p:spPr>
            <a:xfrm>
              <a:off x="2166888" y="166520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18" y="0"/>
                  </a:lnTo>
                  <a:lnTo>
                    <a:pt x="21" y="7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6" name="Google Shape;6843;p64">
              <a:extLst>
                <a:ext uri="{FF2B5EF4-FFF2-40B4-BE49-F238E27FC236}">
                  <a16:creationId xmlns:a16="http://schemas.microsoft.com/office/drawing/2014/main" id="{8824BD3F-2BA5-534E-B958-7430C1CD73AF}"/>
                </a:ext>
              </a:extLst>
            </p:cNvPr>
            <p:cNvSpPr/>
            <p:nvPr/>
          </p:nvSpPr>
          <p:spPr>
            <a:xfrm>
              <a:off x="2146590" y="1667482"/>
              <a:ext cx="964" cy="68"/>
            </a:xfrm>
            <a:custGeom>
              <a:avLst/>
              <a:gdLst/>
              <a:ahLst/>
              <a:cxnLst/>
              <a:rect l="l" t="t" r="r" b="b"/>
              <a:pathLst>
                <a:path w="71" h="5" extrusionOk="0">
                  <a:moveTo>
                    <a:pt x="7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7" name="Google Shape;6844;p64">
              <a:extLst>
                <a:ext uri="{FF2B5EF4-FFF2-40B4-BE49-F238E27FC236}">
                  <a16:creationId xmlns:a16="http://schemas.microsoft.com/office/drawing/2014/main" id="{1AD1C5D8-BEA8-7131-4465-AC9C7D948E83}"/>
                </a:ext>
              </a:extLst>
            </p:cNvPr>
            <p:cNvSpPr/>
            <p:nvPr/>
          </p:nvSpPr>
          <p:spPr>
            <a:xfrm>
              <a:off x="2167174" y="1665296"/>
              <a:ext cx="720" cy="1154"/>
            </a:xfrm>
            <a:custGeom>
              <a:avLst/>
              <a:gdLst/>
              <a:ahLst/>
              <a:cxnLst/>
              <a:rect l="l" t="t" r="r" b="b"/>
              <a:pathLst>
                <a:path w="53" h="85" extrusionOk="0">
                  <a:moveTo>
                    <a:pt x="0" y="0"/>
                  </a:moveTo>
                  <a:cubicBezTo>
                    <a:pt x="14" y="21"/>
                    <a:pt x="35" y="53"/>
                    <a:pt x="53" y="85"/>
                  </a:cubicBezTo>
                  <a:cubicBezTo>
                    <a:pt x="35" y="53"/>
                    <a:pt x="18" y="2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8" name="Google Shape;6845;p64">
              <a:extLst>
                <a:ext uri="{FF2B5EF4-FFF2-40B4-BE49-F238E27FC236}">
                  <a16:creationId xmlns:a16="http://schemas.microsoft.com/office/drawing/2014/main" id="{FFA76B24-25CC-9B81-9026-4B5EA2E6A262}"/>
                </a:ext>
              </a:extLst>
            </p:cNvPr>
            <p:cNvSpPr/>
            <p:nvPr/>
          </p:nvSpPr>
          <p:spPr>
            <a:xfrm>
              <a:off x="2167934" y="1666532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11" y="18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9" name="Google Shape;6846;p64">
              <a:extLst>
                <a:ext uri="{FF2B5EF4-FFF2-40B4-BE49-F238E27FC236}">
                  <a16:creationId xmlns:a16="http://schemas.microsoft.com/office/drawing/2014/main" id="{EFD99D47-12AD-E5CC-976C-72815DFA4C78}"/>
                </a:ext>
              </a:extLst>
            </p:cNvPr>
            <p:cNvSpPr/>
            <p:nvPr/>
          </p:nvSpPr>
          <p:spPr>
            <a:xfrm>
              <a:off x="2167119" y="166520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1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0" name="Google Shape;6847;p64">
              <a:extLst>
                <a:ext uri="{FF2B5EF4-FFF2-40B4-BE49-F238E27FC236}">
                  <a16:creationId xmlns:a16="http://schemas.microsoft.com/office/drawing/2014/main" id="{DA0C1EA1-BE29-75B3-B0F1-D28810658D3D}"/>
                </a:ext>
              </a:extLst>
            </p:cNvPr>
            <p:cNvSpPr/>
            <p:nvPr/>
          </p:nvSpPr>
          <p:spPr>
            <a:xfrm>
              <a:off x="2196637" y="1711826"/>
              <a:ext cx="45172" cy="43706"/>
            </a:xfrm>
            <a:custGeom>
              <a:avLst/>
              <a:gdLst/>
              <a:ahLst/>
              <a:cxnLst/>
              <a:rect l="l" t="t" r="r" b="b"/>
              <a:pathLst>
                <a:path w="3327" h="3219" extrusionOk="0">
                  <a:moveTo>
                    <a:pt x="3299" y="1"/>
                  </a:moveTo>
                  <a:lnTo>
                    <a:pt x="3285" y="25"/>
                  </a:lnTo>
                  <a:lnTo>
                    <a:pt x="3274" y="29"/>
                  </a:lnTo>
                  <a:lnTo>
                    <a:pt x="3257" y="32"/>
                  </a:lnTo>
                  <a:lnTo>
                    <a:pt x="3246" y="32"/>
                  </a:lnTo>
                  <a:lnTo>
                    <a:pt x="3222" y="39"/>
                  </a:lnTo>
                  <a:lnTo>
                    <a:pt x="3215" y="39"/>
                  </a:lnTo>
                  <a:lnTo>
                    <a:pt x="3197" y="43"/>
                  </a:lnTo>
                  <a:lnTo>
                    <a:pt x="3190" y="46"/>
                  </a:lnTo>
                  <a:lnTo>
                    <a:pt x="3180" y="53"/>
                  </a:lnTo>
                  <a:lnTo>
                    <a:pt x="3173" y="53"/>
                  </a:lnTo>
                  <a:lnTo>
                    <a:pt x="3162" y="60"/>
                  </a:lnTo>
                  <a:lnTo>
                    <a:pt x="3159" y="60"/>
                  </a:lnTo>
                  <a:lnTo>
                    <a:pt x="3145" y="67"/>
                  </a:lnTo>
                  <a:cubicBezTo>
                    <a:pt x="3148" y="74"/>
                    <a:pt x="3148" y="85"/>
                    <a:pt x="3152" y="92"/>
                  </a:cubicBezTo>
                  <a:cubicBezTo>
                    <a:pt x="3152" y="120"/>
                    <a:pt x="3145" y="148"/>
                    <a:pt x="3127" y="172"/>
                  </a:cubicBezTo>
                  <a:cubicBezTo>
                    <a:pt x="3092" y="225"/>
                    <a:pt x="3015" y="260"/>
                    <a:pt x="2914" y="267"/>
                  </a:cubicBezTo>
                  <a:lnTo>
                    <a:pt x="2865" y="267"/>
                  </a:lnTo>
                  <a:cubicBezTo>
                    <a:pt x="2816" y="263"/>
                    <a:pt x="2396" y="232"/>
                    <a:pt x="2255" y="162"/>
                  </a:cubicBezTo>
                  <a:lnTo>
                    <a:pt x="2245" y="158"/>
                  </a:lnTo>
                  <a:lnTo>
                    <a:pt x="2231" y="155"/>
                  </a:lnTo>
                  <a:lnTo>
                    <a:pt x="2227" y="155"/>
                  </a:lnTo>
                  <a:lnTo>
                    <a:pt x="2210" y="151"/>
                  </a:lnTo>
                  <a:lnTo>
                    <a:pt x="1692" y="151"/>
                  </a:lnTo>
                  <a:lnTo>
                    <a:pt x="1643" y="155"/>
                  </a:lnTo>
                  <a:lnTo>
                    <a:pt x="1594" y="155"/>
                  </a:lnTo>
                  <a:cubicBezTo>
                    <a:pt x="1546" y="228"/>
                    <a:pt x="1209" y="416"/>
                    <a:pt x="1052" y="416"/>
                  </a:cubicBezTo>
                  <a:cubicBezTo>
                    <a:pt x="1037" y="416"/>
                    <a:pt x="1024" y="414"/>
                    <a:pt x="1013" y="410"/>
                  </a:cubicBezTo>
                  <a:cubicBezTo>
                    <a:pt x="1002" y="421"/>
                    <a:pt x="992" y="431"/>
                    <a:pt x="981" y="445"/>
                  </a:cubicBezTo>
                  <a:cubicBezTo>
                    <a:pt x="936" y="505"/>
                    <a:pt x="869" y="547"/>
                    <a:pt x="796" y="571"/>
                  </a:cubicBezTo>
                  <a:cubicBezTo>
                    <a:pt x="778" y="575"/>
                    <a:pt x="761" y="578"/>
                    <a:pt x="740" y="582"/>
                  </a:cubicBezTo>
                  <a:lnTo>
                    <a:pt x="460" y="582"/>
                  </a:lnTo>
                  <a:cubicBezTo>
                    <a:pt x="460" y="585"/>
                    <a:pt x="456" y="589"/>
                    <a:pt x="456" y="592"/>
                  </a:cubicBezTo>
                  <a:cubicBezTo>
                    <a:pt x="453" y="596"/>
                    <a:pt x="449" y="606"/>
                    <a:pt x="446" y="613"/>
                  </a:cubicBezTo>
                  <a:lnTo>
                    <a:pt x="442" y="627"/>
                  </a:lnTo>
                  <a:cubicBezTo>
                    <a:pt x="439" y="634"/>
                    <a:pt x="432" y="645"/>
                    <a:pt x="428" y="652"/>
                  </a:cubicBezTo>
                  <a:lnTo>
                    <a:pt x="421" y="666"/>
                  </a:lnTo>
                  <a:cubicBezTo>
                    <a:pt x="418" y="676"/>
                    <a:pt x="411" y="687"/>
                    <a:pt x="404" y="697"/>
                  </a:cubicBezTo>
                  <a:lnTo>
                    <a:pt x="397" y="711"/>
                  </a:lnTo>
                  <a:cubicBezTo>
                    <a:pt x="390" y="722"/>
                    <a:pt x="386" y="732"/>
                    <a:pt x="379" y="743"/>
                  </a:cubicBezTo>
                  <a:lnTo>
                    <a:pt x="365" y="764"/>
                  </a:lnTo>
                  <a:lnTo>
                    <a:pt x="348" y="789"/>
                  </a:lnTo>
                  <a:lnTo>
                    <a:pt x="330" y="813"/>
                  </a:lnTo>
                  <a:lnTo>
                    <a:pt x="316" y="831"/>
                  </a:lnTo>
                  <a:cubicBezTo>
                    <a:pt x="309" y="841"/>
                    <a:pt x="302" y="852"/>
                    <a:pt x="295" y="862"/>
                  </a:cubicBezTo>
                  <a:lnTo>
                    <a:pt x="284" y="873"/>
                  </a:lnTo>
                  <a:cubicBezTo>
                    <a:pt x="274" y="883"/>
                    <a:pt x="263" y="897"/>
                    <a:pt x="253" y="908"/>
                  </a:cubicBezTo>
                  <a:cubicBezTo>
                    <a:pt x="235" y="929"/>
                    <a:pt x="225" y="953"/>
                    <a:pt x="221" y="981"/>
                  </a:cubicBezTo>
                  <a:cubicBezTo>
                    <a:pt x="221" y="992"/>
                    <a:pt x="218" y="1002"/>
                    <a:pt x="214" y="1016"/>
                  </a:cubicBezTo>
                  <a:lnTo>
                    <a:pt x="214" y="1023"/>
                  </a:lnTo>
                  <a:cubicBezTo>
                    <a:pt x="214" y="1027"/>
                    <a:pt x="211" y="1030"/>
                    <a:pt x="211" y="1034"/>
                  </a:cubicBezTo>
                  <a:cubicBezTo>
                    <a:pt x="207" y="1037"/>
                    <a:pt x="211" y="1041"/>
                    <a:pt x="207" y="1044"/>
                  </a:cubicBezTo>
                  <a:cubicBezTo>
                    <a:pt x="204" y="1048"/>
                    <a:pt x="204" y="1051"/>
                    <a:pt x="200" y="1058"/>
                  </a:cubicBezTo>
                  <a:cubicBezTo>
                    <a:pt x="200" y="1062"/>
                    <a:pt x="197" y="1062"/>
                    <a:pt x="193" y="1065"/>
                  </a:cubicBezTo>
                  <a:cubicBezTo>
                    <a:pt x="193" y="1069"/>
                    <a:pt x="186" y="1076"/>
                    <a:pt x="183" y="1079"/>
                  </a:cubicBezTo>
                  <a:cubicBezTo>
                    <a:pt x="183" y="1079"/>
                    <a:pt x="179" y="1083"/>
                    <a:pt x="179" y="1086"/>
                  </a:cubicBezTo>
                  <a:cubicBezTo>
                    <a:pt x="172" y="1090"/>
                    <a:pt x="169" y="1093"/>
                    <a:pt x="162" y="1097"/>
                  </a:cubicBezTo>
                  <a:cubicBezTo>
                    <a:pt x="162" y="1097"/>
                    <a:pt x="158" y="1104"/>
                    <a:pt x="155" y="1104"/>
                  </a:cubicBezTo>
                  <a:cubicBezTo>
                    <a:pt x="148" y="1107"/>
                    <a:pt x="141" y="1111"/>
                    <a:pt x="134" y="1114"/>
                  </a:cubicBezTo>
                  <a:lnTo>
                    <a:pt x="127" y="1118"/>
                  </a:lnTo>
                  <a:cubicBezTo>
                    <a:pt x="116" y="1121"/>
                    <a:pt x="109" y="1125"/>
                    <a:pt x="102" y="1125"/>
                  </a:cubicBezTo>
                  <a:lnTo>
                    <a:pt x="88" y="1132"/>
                  </a:lnTo>
                  <a:cubicBezTo>
                    <a:pt x="57" y="1135"/>
                    <a:pt x="22" y="1254"/>
                    <a:pt x="1" y="1317"/>
                  </a:cubicBezTo>
                  <a:lnTo>
                    <a:pt x="1" y="1324"/>
                  </a:lnTo>
                  <a:cubicBezTo>
                    <a:pt x="200" y="1419"/>
                    <a:pt x="323" y="1629"/>
                    <a:pt x="299" y="1849"/>
                  </a:cubicBezTo>
                  <a:cubicBezTo>
                    <a:pt x="291" y="1898"/>
                    <a:pt x="323" y="1947"/>
                    <a:pt x="369" y="1965"/>
                  </a:cubicBezTo>
                  <a:cubicBezTo>
                    <a:pt x="393" y="1976"/>
                    <a:pt x="419" y="1981"/>
                    <a:pt x="445" y="1981"/>
                  </a:cubicBezTo>
                  <a:cubicBezTo>
                    <a:pt x="494" y="1981"/>
                    <a:pt x="541" y="1963"/>
                    <a:pt x="575" y="1926"/>
                  </a:cubicBezTo>
                  <a:cubicBezTo>
                    <a:pt x="614" y="1881"/>
                    <a:pt x="671" y="1857"/>
                    <a:pt x="740" y="1857"/>
                  </a:cubicBezTo>
                  <a:cubicBezTo>
                    <a:pt x="788" y="1857"/>
                    <a:pt x="842" y="1868"/>
                    <a:pt x="901" y="1891"/>
                  </a:cubicBezTo>
                  <a:cubicBezTo>
                    <a:pt x="1016" y="1933"/>
                    <a:pt x="1181" y="2045"/>
                    <a:pt x="1181" y="2150"/>
                  </a:cubicBezTo>
                  <a:cubicBezTo>
                    <a:pt x="1184" y="2175"/>
                    <a:pt x="1170" y="2199"/>
                    <a:pt x="1149" y="2217"/>
                  </a:cubicBezTo>
                  <a:cubicBezTo>
                    <a:pt x="1128" y="2236"/>
                    <a:pt x="1102" y="2243"/>
                    <a:pt x="1069" y="2243"/>
                  </a:cubicBezTo>
                  <a:cubicBezTo>
                    <a:pt x="1036" y="2243"/>
                    <a:pt x="997" y="2236"/>
                    <a:pt x="950" y="2227"/>
                  </a:cubicBezTo>
                  <a:cubicBezTo>
                    <a:pt x="891" y="2217"/>
                    <a:pt x="820" y="2204"/>
                    <a:pt x="752" y="2204"/>
                  </a:cubicBezTo>
                  <a:cubicBezTo>
                    <a:pt x="686" y="2204"/>
                    <a:pt x="621" y="2216"/>
                    <a:pt x="572" y="2252"/>
                  </a:cubicBezTo>
                  <a:cubicBezTo>
                    <a:pt x="558" y="2259"/>
                    <a:pt x="537" y="2280"/>
                    <a:pt x="533" y="2294"/>
                  </a:cubicBezTo>
                  <a:cubicBezTo>
                    <a:pt x="530" y="2322"/>
                    <a:pt x="575" y="2374"/>
                    <a:pt x="610" y="2416"/>
                  </a:cubicBezTo>
                  <a:cubicBezTo>
                    <a:pt x="666" y="2486"/>
                    <a:pt x="740" y="2574"/>
                    <a:pt x="712" y="2675"/>
                  </a:cubicBezTo>
                  <a:cubicBezTo>
                    <a:pt x="694" y="2749"/>
                    <a:pt x="715" y="2826"/>
                    <a:pt x="761" y="2882"/>
                  </a:cubicBezTo>
                  <a:cubicBezTo>
                    <a:pt x="799" y="2935"/>
                    <a:pt x="862" y="2970"/>
                    <a:pt x="929" y="2970"/>
                  </a:cubicBezTo>
                  <a:lnTo>
                    <a:pt x="939" y="2970"/>
                  </a:lnTo>
                  <a:cubicBezTo>
                    <a:pt x="1051" y="2970"/>
                    <a:pt x="1160" y="3054"/>
                    <a:pt x="1254" y="3124"/>
                  </a:cubicBezTo>
                  <a:cubicBezTo>
                    <a:pt x="1300" y="3159"/>
                    <a:pt x="1373" y="3215"/>
                    <a:pt x="1405" y="3218"/>
                  </a:cubicBezTo>
                  <a:cubicBezTo>
                    <a:pt x="1408" y="3173"/>
                    <a:pt x="1359" y="3033"/>
                    <a:pt x="1331" y="2963"/>
                  </a:cubicBezTo>
                  <a:cubicBezTo>
                    <a:pt x="1279" y="2815"/>
                    <a:pt x="1254" y="2742"/>
                    <a:pt x="1289" y="2693"/>
                  </a:cubicBezTo>
                  <a:cubicBezTo>
                    <a:pt x="1310" y="2659"/>
                    <a:pt x="1340" y="2648"/>
                    <a:pt x="1373" y="2648"/>
                  </a:cubicBezTo>
                  <a:cubicBezTo>
                    <a:pt x="1408" y="2648"/>
                    <a:pt x="1448" y="2660"/>
                    <a:pt x="1485" y="2668"/>
                  </a:cubicBezTo>
                  <a:cubicBezTo>
                    <a:pt x="1533" y="2684"/>
                    <a:pt x="1575" y="2695"/>
                    <a:pt x="1609" y="2695"/>
                  </a:cubicBezTo>
                  <a:cubicBezTo>
                    <a:pt x="1636" y="2695"/>
                    <a:pt x="1659" y="2687"/>
                    <a:pt x="1674" y="2668"/>
                  </a:cubicBezTo>
                  <a:cubicBezTo>
                    <a:pt x="1695" y="2644"/>
                    <a:pt x="1692" y="2633"/>
                    <a:pt x="1692" y="2630"/>
                  </a:cubicBezTo>
                  <a:cubicBezTo>
                    <a:pt x="1675" y="2600"/>
                    <a:pt x="1590" y="2560"/>
                    <a:pt x="1488" y="2560"/>
                  </a:cubicBezTo>
                  <a:cubicBezTo>
                    <a:pt x="1483" y="2560"/>
                    <a:pt x="1479" y="2560"/>
                    <a:pt x="1475" y="2560"/>
                  </a:cubicBezTo>
                  <a:cubicBezTo>
                    <a:pt x="1472" y="2560"/>
                    <a:pt x="1469" y="2560"/>
                    <a:pt x="1466" y="2560"/>
                  </a:cubicBezTo>
                  <a:cubicBezTo>
                    <a:pt x="1382" y="2560"/>
                    <a:pt x="1352" y="2514"/>
                    <a:pt x="1345" y="2490"/>
                  </a:cubicBezTo>
                  <a:cubicBezTo>
                    <a:pt x="1328" y="2437"/>
                    <a:pt x="1349" y="2378"/>
                    <a:pt x="1398" y="2343"/>
                  </a:cubicBezTo>
                  <a:cubicBezTo>
                    <a:pt x="1444" y="2306"/>
                    <a:pt x="1500" y="2288"/>
                    <a:pt x="1556" y="2288"/>
                  </a:cubicBezTo>
                  <a:cubicBezTo>
                    <a:pt x="1607" y="2288"/>
                    <a:pt x="1658" y="2303"/>
                    <a:pt x="1702" y="2332"/>
                  </a:cubicBezTo>
                  <a:cubicBezTo>
                    <a:pt x="1748" y="2359"/>
                    <a:pt x="1784" y="2370"/>
                    <a:pt x="1816" y="2370"/>
                  </a:cubicBezTo>
                  <a:cubicBezTo>
                    <a:pt x="1864" y="2370"/>
                    <a:pt x="1902" y="2347"/>
                    <a:pt x="1944" y="2322"/>
                  </a:cubicBezTo>
                  <a:cubicBezTo>
                    <a:pt x="1975" y="2301"/>
                    <a:pt x="2010" y="2287"/>
                    <a:pt x="2049" y="2280"/>
                  </a:cubicBezTo>
                  <a:cubicBezTo>
                    <a:pt x="2066" y="2238"/>
                    <a:pt x="2070" y="2192"/>
                    <a:pt x="2056" y="2147"/>
                  </a:cubicBezTo>
                  <a:cubicBezTo>
                    <a:pt x="2035" y="2056"/>
                    <a:pt x="1961" y="1982"/>
                    <a:pt x="1870" y="1961"/>
                  </a:cubicBezTo>
                  <a:cubicBezTo>
                    <a:pt x="1839" y="1953"/>
                    <a:pt x="1812" y="1949"/>
                    <a:pt x="1790" y="1949"/>
                  </a:cubicBezTo>
                  <a:cubicBezTo>
                    <a:pt x="1732" y="1949"/>
                    <a:pt x="1700" y="1974"/>
                    <a:pt x="1667" y="2000"/>
                  </a:cubicBezTo>
                  <a:cubicBezTo>
                    <a:pt x="1631" y="2028"/>
                    <a:pt x="1593" y="2051"/>
                    <a:pt x="1548" y="2051"/>
                  </a:cubicBezTo>
                  <a:cubicBezTo>
                    <a:pt x="1504" y="2051"/>
                    <a:pt x="1452" y="2028"/>
                    <a:pt x="1387" y="1961"/>
                  </a:cubicBezTo>
                  <a:cubicBezTo>
                    <a:pt x="1345" y="1916"/>
                    <a:pt x="1300" y="1860"/>
                    <a:pt x="1314" y="1797"/>
                  </a:cubicBezTo>
                  <a:cubicBezTo>
                    <a:pt x="1331" y="1734"/>
                    <a:pt x="1394" y="1709"/>
                    <a:pt x="1454" y="1685"/>
                  </a:cubicBezTo>
                  <a:cubicBezTo>
                    <a:pt x="1520" y="1664"/>
                    <a:pt x="1545" y="1650"/>
                    <a:pt x="1545" y="1625"/>
                  </a:cubicBezTo>
                  <a:cubicBezTo>
                    <a:pt x="1545" y="1538"/>
                    <a:pt x="1415" y="1391"/>
                    <a:pt x="1300" y="1265"/>
                  </a:cubicBezTo>
                  <a:cubicBezTo>
                    <a:pt x="1233" y="1195"/>
                    <a:pt x="1170" y="1121"/>
                    <a:pt x="1114" y="1048"/>
                  </a:cubicBezTo>
                  <a:cubicBezTo>
                    <a:pt x="1065" y="988"/>
                    <a:pt x="1051" y="908"/>
                    <a:pt x="1083" y="841"/>
                  </a:cubicBezTo>
                  <a:cubicBezTo>
                    <a:pt x="1128" y="764"/>
                    <a:pt x="1212" y="718"/>
                    <a:pt x="1303" y="718"/>
                  </a:cubicBezTo>
                  <a:lnTo>
                    <a:pt x="1310" y="718"/>
                  </a:lnTo>
                  <a:cubicBezTo>
                    <a:pt x="1314" y="718"/>
                    <a:pt x="1317" y="718"/>
                    <a:pt x="1320" y="718"/>
                  </a:cubicBezTo>
                  <a:cubicBezTo>
                    <a:pt x="1397" y="718"/>
                    <a:pt x="1466" y="756"/>
                    <a:pt x="1506" y="824"/>
                  </a:cubicBezTo>
                  <a:cubicBezTo>
                    <a:pt x="1539" y="879"/>
                    <a:pt x="1602" y="899"/>
                    <a:pt x="1671" y="899"/>
                  </a:cubicBezTo>
                  <a:cubicBezTo>
                    <a:pt x="1736" y="899"/>
                    <a:pt x="1807" y="881"/>
                    <a:pt x="1860" y="859"/>
                  </a:cubicBezTo>
                  <a:cubicBezTo>
                    <a:pt x="1856" y="834"/>
                    <a:pt x="1853" y="806"/>
                    <a:pt x="1842" y="785"/>
                  </a:cubicBezTo>
                  <a:cubicBezTo>
                    <a:pt x="1818" y="694"/>
                    <a:pt x="1769" y="522"/>
                    <a:pt x="1968" y="445"/>
                  </a:cubicBezTo>
                  <a:cubicBezTo>
                    <a:pt x="2028" y="422"/>
                    <a:pt x="2078" y="413"/>
                    <a:pt x="2120" y="413"/>
                  </a:cubicBezTo>
                  <a:cubicBezTo>
                    <a:pt x="2218" y="413"/>
                    <a:pt x="2274" y="465"/>
                    <a:pt x="2318" y="519"/>
                  </a:cubicBezTo>
                  <a:cubicBezTo>
                    <a:pt x="2325" y="529"/>
                    <a:pt x="2332" y="536"/>
                    <a:pt x="2343" y="547"/>
                  </a:cubicBezTo>
                  <a:cubicBezTo>
                    <a:pt x="2357" y="533"/>
                    <a:pt x="2371" y="522"/>
                    <a:pt x="2385" y="508"/>
                  </a:cubicBezTo>
                  <a:cubicBezTo>
                    <a:pt x="2452" y="442"/>
                    <a:pt x="2557" y="344"/>
                    <a:pt x="2739" y="344"/>
                  </a:cubicBezTo>
                  <a:cubicBezTo>
                    <a:pt x="2875" y="344"/>
                    <a:pt x="2994" y="421"/>
                    <a:pt x="3099" y="498"/>
                  </a:cubicBezTo>
                  <a:lnTo>
                    <a:pt x="3106" y="491"/>
                  </a:lnTo>
                  <a:lnTo>
                    <a:pt x="3127" y="466"/>
                  </a:lnTo>
                  <a:lnTo>
                    <a:pt x="3138" y="456"/>
                  </a:lnTo>
                  <a:cubicBezTo>
                    <a:pt x="3141" y="449"/>
                    <a:pt x="3148" y="445"/>
                    <a:pt x="3152" y="438"/>
                  </a:cubicBezTo>
                  <a:cubicBezTo>
                    <a:pt x="3152" y="435"/>
                    <a:pt x="3155" y="431"/>
                    <a:pt x="3159" y="428"/>
                  </a:cubicBezTo>
                  <a:cubicBezTo>
                    <a:pt x="3159" y="424"/>
                    <a:pt x="3162" y="421"/>
                    <a:pt x="3166" y="417"/>
                  </a:cubicBezTo>
                  <a:cubicBezTo>
                    <a:pt x="3166" y="410"/>
                    <a:pt x="3169" y="403"/>
                    <a:pt x="3169" y="396"/>
                  </a:cubicBezTo>
                  <a:cubicBezTo>
                    <a:pt x="3169" y="330"/>
                    <a:pt x="3215" y="288"/>
                    <a:pt x="3257" y="253"/>
                  </a:cubicBezTo>
                  <a:cubicBezTo>
                    <a:pt x="3299" y="214"/>
                    <a:pt x="3327" y="186"/>
                    <a:pt x="3327" y="144"/>
                  </a:cubicBezTo>
                  <a:cubicBezTo>
                    <a:pt x="3327" y="130"/>
                    <a:pt x="3327" y="120"/>
                    <a:pt x="3323" y="106"/>
                  </a:cubicBezTo>
                  <a:cubicBezTo>
                    <a:pt x="3323" y="102"/>
                    <a:pt x="3323" y="99"/>
                    <a:pt x="3323" y="92"/>
                  </a:cubicBezTo>
                  <a:cubicBezTo>
                    <a:pt x="3320" y="88"/>
                    <a:pt x="3320" y="74"/>
                    <a:pt x="3316" y="67"/>
                  </a:cubicBezTo>
                  <a:lnTo>
                    <a:pt x="3313" y="50"/>
                  </a:lnTo>
                  <a:cubicBezTo>
                    <a:pt x="3309" y="39"/>
                    <a:pt x="3309" y="32"/>
                    <a:pt x="3306" y="22"/>
                  </a:cubicBezTo>
                  <a:lnTo>
                    <a:pt x="3302" y="11"/>
                  </a:lnTo>
                  <a:lnTo>
                    <a:pt x="329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1" name="Google Shape;6848;p64">
              <a:extLst>
                <a:ext uri="{FF2B5EF4-FFF2-40B4-BE49-F238E27FC236}">
                  <a16:creationId xmlns:a16="http://schemas.microsoft.com/office/drawing/2014/main" id="{CE9953D7-455E-18FA-E9D9-49D0B3706921}"/>
                </a:ext>
              </a:extLst>
            </p:cNvPr>
            <p:cNvSpPr/>
            <p:nvPr/>
          </p:nvSpPr>
          <p:spPr>
            <a:xfrm>
              <a:off x="2220411" y="1765512"/>
              <a:ext cx="17176" cy="3557"/>
            </a:xfrm>
            <a:custGeom>
              <a:avLst/>
              <a:gdLst/>
              <a:ahLst/>
              <a:cxnLst/>
              <a:rect l="l" t="t" r="r" b="b"/>
              <a:pathLst>
                <a:path w="1265" h="262" extrusionOk="0">
                  <a:moveTo>
                    <a:pt x="149" y="0"/>
                  </a:moveTo>
                  <a:cubicBezTo>
                    <a:pt x="138" y="0"/>
                    <a:pt x="127" y="2"/>
                    <a:pt x="116" y="6"/>
                  </a:cubicBezTo>
                  <a:cubicBezTo>
                    <a:pt x="74" y="17"/>
                    <a:pt x="32" y="34"/>
                    <a:pt x="0" y="62"/>
                  </a:cubicBezTo>
                  <a:cubicBezTo>
                    <a:pt x="70" y="83"/>
                    <a:pt x="144" y="108"/>
                    <a:pt x="214" y="132"/>
                  </a:cubicBezTo>
                  <a:cubicBezTo>
                    <a:pt x="375" y="192"/>
                    <a:pt x="553" y="258"/>
                    <a:pt x="739" y="262"/>
                  </a:cubicBezTo>
                  <a:cubicBezTo>
                    <a:pt x="921" y="262"/>
                    <a:pt x="1096" y="227"/>
                    <a:pt x="1264" y="164"/>
                  </a:cubicBezTo>
                  <a:lnTo>
                    <a:pt x="1264" y="164"/>
                  </a:lnTo>
                  <a:cubicBezTo>
                    <a:pt x="1253" y="165"/>
                    <a:pt x="1241" y="166"/>
                    <a:pt x="1230" y="166"/>
                  </a:cubicBezTo>
                  <a:cubicBezTo>
                    <a:pt x="1186" y="166"/>
                    <a:pt x="1142" y="155"/>
                    <a:pt x="1103" y="136"/>
                  </a:cubicBezTo>
                  <a:cubicBezTo>
                    <a:pt x="1079" y="120"/>
                    <a:pt x="1012" y="117"/>
                    <a:pt x="935" y="117"/>
                  </a:cubicBezTo>
                  <a:cubicBezTo>
                    <a:pt x="892" y="117"/>
                    <a:pt x="845" y="118"/>
                    <a:pt x="802" y="118"/>
                  </a:cubicBezTo>
                  <a:cubicBezTo>
                    <a:pt x="744" y="120"/>
                    <a:pt x="686" y="122"/>
                    <a:pt x="630" y="122"/>
                  </a:cubicBezTo>
                  <a:cubicBezTo>
                    <a:pt x="460" y="122"/>
                    <a:pt x="306" y="106"/>
                    <a:pt x="224" y="27"/>
                  </a:cubicBezTo>
                  <a:cubicBezTo>
                    <a:pt x="203" y="10"/>
                    <a:pt x="176" y="0"/>
                    <a:pt x="1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2" name="Google Shape;6849;p64">
              <a:extLst>
                <a:ext uri="{FF2B5EF4-FFF2-40B4-BE49-F238E27FC236}">
                  <a16:creationId xmlns:a16="http://schemas.microsoft.com/office/drawing/2014/main" id="{4387A78C-7692-BECC-8E47-42E462E69D57}"/>
                </a:ext>
              </a:extLst>
            </p:cNvPr>
            <p:cNvSpPr/>
            <p:nvPr/>
          </p:nvSpPr>
          <p:spPr>
            <a:xfrm>
              <a:off x="2239039" y="171828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3" name="Google Shape;6850;p64">
              <a:extLst>
                <a:ext uri="{FF2B5EF4-FFF2-40B4-BE49-F238E27FC236}">
                  <a16:creationId xmlns:a16="http://schemas.microsoft.com/office/drawing/2014/main" id="{5D1FA121-C7BA-CE2A-0A18-625568F3CC94}"/>
                </a:ext>
              </a:extLst>
            </p:cNvPr>
            <p:cNvSpPr/>
            <p:nvPr/>
          </p:nvSpPr>
          <p:spPr>
            <a:xfrm>
              <a:off x="2241701" y="1713591"/>
              <a:ext cx="68" cy="489"/>
            </a:xfrm>
            <a:custGeom>
              <a:avLst/>
              <a:gdLst/>
              <a:ahLst/>
              <a:cxnLst/>
              <a:rect l="l" t="t" r="r" b="b"/>
              <a:pathLst>
                <a:path w="5" h="36" extrusionOk="0">
                  <a:moveTo>
                    <a:pt x="1" y="0"/>
                  </a:moveTo>
                  <a:cubicBezTo>
                    <a:pt x="1" y="11"/>
                    <a:pt x="1" y="25"/>
                    <a:pt x="4" y="35"/>
                  </a:cubicBezTo>
                  <a:cubicBezTo>
                    <a:pt x="1" y="25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4" name="Google Shape;6851;p64">
              <a:extLst>
                <a:ext uri="{FF2B5EF4-FFF2-40B4-BE49-F238E27FC236}">
                  <a16:creationId xmlns:a16="http://schemas.microsoft.com/office/drawing/2014/main" id="{759C3B1F-5C26-BAE4-782A-14B298A5BB44}"/>
                </a:ext>
              </a:extLst>
            </p:cNvPr>
            <p:cNvSpPr/>
            <p:nvPr/>
          </p:nvSpPr>
          <p:spPr>
            <a:xfrm>
              <a:off x="2239515" y="171752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5" name="Google Shape;6852;p64">
              <a:extLst>
                <a:ext uri="{FF2B5EF4-FFF2-40B4-BE49-F238E27FC236}">
                  <a16:creationId xmlns:a16="http://schemas.microsoft.com/office/drawing/2014/main" id="{CB6B7177-4937-1049-60E2-EF063710E01B}"/>
                </a:ext>
              </a:extLst>
            </p:cNvPr>
            <p:cNvSpPr/>
            <p:nvPr/>
          </p:nvSpPr>
          <p:spPr>
            <a:xfrm>
              <a:off x="2241415" y="1712397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1" y="1"/>
                  </a:moveTo>
                  <a:cubicBezTo>
                    <a:pt x="4" y="11"/>
                    <a:pt x="8" y="22"/>
                    <a:pt x="8" y="29"/>
                  </a:cubicBezTo>
                  <a:cubicBezTo>
                    <a:pt x="8" y="22"/>
                    <a:pt x="4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6" name="Google Shape;6853;p64">
              <a:extLst>
                <a:ext uri="{FF2B5EF4-FFF2-40B4-BE49-F238E27FC236}">
                  <a16:creationId xmlns:a16="http://schemas.microsoft.com/office/drawing/2014/main" id="{BBB5C2FE-12A8-0030-202F-E098D3924B3E}"/>
                </a:ext>
              </a:extLst>
            </p:cNvPr>
            <p:cNvSpPr/>
            <p:nvPr/>
          </p:nvSpPr>
          <p:spPr>
            <a:xfrm>
              <a:off x="2241415" y="171216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7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7" name="Google Shape;6854;p64">
              <a:extLst>
                <a:ext uri="{FF2B5EF4-FFF2-40B4-BE49-F238E27FC236}">
                  <a16:creationId xmlns:a16="http://schemas.microsoft.com/office/drawing/2014/main" id="{7AF3EB41-77A1-2330-9C7A-0CD6B75200EF}"/>
                </a:ext>
              </a:extLst>
            </p:cNvPr>
            <p:cNvSpPr/>
            <p:nvPr/>
          </p:nvSpPr>
          <p:spPr>
            <a:xfrm>
              <a:off x="2239324" y="171796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7"/>
                    <a:pt x="1" y="11"/>
                  </a:cubicBez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8" name="Google Shape;6855;p64">
              <a:extLst>
                <a:ext uri="{FF2B5EF4-FFF2-40B4-BE49-F238E27FC236}">
                  <a16:creationId xmlns:a16="http://schemas.microsoft.com/office/drawing/2014/main" id="{07052C6D-BD75-8434-E7B3-3AFD0B8758E8}"/>
                </a:ext>
              </a:extLst>
            </p:cNvPr>
            <p:cNvSpPr/>
            <p:nvPr/>
          </p:nvSpPr>
          <p:spPr>
            <a:xfrm>
              <a:off x="2238618" y="1718764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0" y="1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9" name="Google Shape;6856;p64">
              <a:extLst>
                <a:ext uri="{FF2B5EF4-FFF2-40B4-BE49-F238E27FC236}">
                  <a16:creationId xmlns:a16="http://schemas.microsoft.com/office/drawing/2014/main" id="{3D3C913D-BC2A-B7C2-667D-7B0CAF737B32}"/>
                </a:ext>
              </a:extLst>
            </p:cNvPr>
            <p:cNvSpPr/>
            <p:nvPr/>
          </p:nvSpPr>
          <p:spPr>
            <a:xfrm>
              <a:off x="2241605" y="171306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5"/>
                    <a:pt x="4" y="25"/>
                  </a:cubicBezTo>
                  <a:cubicBezTo>
                    <a:pt x="4" y="15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0" name="Google Shape;6857;p64">
              <a:extLst>
                <a:ext uri="{FF2B5EF4-FFF2-40B4-BE49-F238E27FC236}">
                  <a16:creationId xmlns:a16="http://schemas.microsoft.com/office/drawing/2014/main" id="{DCD71250-BC91-70BC-86DA-BDEBD45D6618}"/>
                </a:ext>
              </a:extLst>
            </p:cNvPr>
            <p:cNvSpPr/>
            <p:nvPr/>
          </p:nvSpPr>
          <p:spPr>
            <a:xfrm>
              <a:off x="2196637" y="1727427"/>
              <a:ext cx="1398" cy="2620"/>
            </a:xfrm>
            <a:custGeom>
              <a:avLst/>
              <a:gdLst/>
              <a:ahLst/>
              <a:cxnLst/>
              <a:rect l="l" t="t" r="r" b="b"/>
              <a:pathLst>
                <a:path w="103" h="193" extrusionOk="0">
                  <a:moveTo>
                    <a:pt x="102" y="0"/>
                  </a:moveTo>
                  <a:cubicBezTo>
                    <a:pt x="101" y="0"/>
                    <a:pt x="100" y="0"/>
                    <a:pt x="99" y="1"/>
                  </a:cubicBezTo>
                  <a:lnTo>
                    <a:pt x="99" y="1"/>
                  </a:lnTo>
                  <a:lnTo>
                    <a:pt x="102" y="0"/>
                  </a:lnTo>
                  <a:close/>
                  <a:moveTo>
                    <a:pt x="99" y="1"/>
                  </a:moveTo>
                  <a:lnTo>
                    <a:pt x="88" y="4"/>
                  </a:lnTo>
                  <a:cubicBezTo>
                    <a:pt x="93" y="4"/>
                    <a:pt x="96" y="2"/>
                    <a:pt x="99" y="1"/>
                  </a:cubicBezTo>
                  <a:close/>
                  <a:moveTo>
                    <a:pt x="88" y="4"/>
                  </a:moveTo>
                  <a:cubicBezTo>
                    <a:pt x="60" y="11"/>
                    <a:pt x="22" y="126"/>
                    <a:pt x="1" y="193"/>
                  </a:cubicBezTo>
                  <a:cubicBezTo>
                    <a:pt x="22" y="130"/>
                    <a:pt x="60" y="11"/>
                    <a:pt x="88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1" name="Google Shape;6858;p64">
              <a:extLst>
                <a:ext uri="{FF2B5EF4-FFF2-40B4-BE49-F238E27FC236}">
                  <a16:creationId xmlns:a16="http://schemas.microsoft.com/office/drawing/2014/main" id="{9E0F5969-46CB-0DFB-BB83-D253C8E0E924}"/>
                </a:ext>
              </a:extLst>
            </p:cNvPr>
            <p:cNvSpPr/>
            <p:nvPr/>
          </p:nvSpPr>
          <p:spPr>
            <a:xfrm>
              <a:off x="2199054" y="1726762"/>
              <a:ext cx="68" cy="122"/>
            </a:xfrm>
            <a:custGeom>
              <a:avLst/>
              <a:gdLst/>
              <a:ahLst/>
              <a:cxnLst/>
              <a:rect l="l" t="t" r="r" b="b"/>
              <a:pathLst>
                <a:path w="5" h="9" extrusionOk="0">
                  <a:moveTo>
                    <a:pt x="5" y="0"/>
                  </a:moveTo>
                  <a:lnTo>
                    <a:pt x="5" y="0"/>
                  </a:lnTo>
                  <a:cubicBezTo>
                    <a:pt x="5" y="0"/>
                    <a:pt x="3" y="4"/>
                    <a:pt x="2" y="6"/>
                  </a:cubicBezTo>
                  <a:lnTo>
                    <a:pt x="2" y="6"/>
                  </a:lnTo>
                  <a:cubicBezTo>
                    <a:pt x="3" y="4"/>
                    <a:pt x="5" y="2"/>
                    <a:pt x="5" y="0"/>
                  </a:cubicBezTo>
                  <a:close/>
                  <a:moveTo>
                    <a:pt x="2" y="6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7"/>
                    <a:pt x="2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2" name="Google Shape;6859;p64">
              <a:extLst>
                <a:ext uri="{FF2B5EF4-FFF2-40B4-BE49-F238E27FC236}">
                  <a16:creationId xmlns:a16="http://schemas.microsoft.com/office/drawing/2014/main" id="{56CE4223-EC89-4DE9-E485-A2B5C89F2BB9}"/>
                </a:ext>
              </a:extLst>
            </p:cNvPr>
            <p:cNvSpPr/>
            <p:nvPr/>
          </p:nvSpPr>
          <p:spPr>
            <a:xfrm>
              <a:off x="2199447" y="1726178"/>
              <a:ext cx="81" cy="122"/>
            </a:xfrm>
            <a:custGeom>
              <a:avLst/>
              <a:gdLst/>
              <a:ahLst/>
              <a:cxnLst/>
              <a:rect l="l" t="t" r="r" b="b"/>
              <a:pathLst>
                <a:path w="6" h="9" extrusionOk="0">
                  <a:moveTo>
                    <a:pt x="5" y="0"/>
                  </a:moveTo>
                  <a:cubicBezTo>
                    <a:pt x="5" y="0"/>
                    <a:pt x="5" y="0"/>
                    <a:pt x="4" y="1"/>
                  </a:cubicBezTo>
                  <a:cubicBezTo>
                    <a:pt x="0" y="5"/>
                    <a:pt x="0" y="5"/>
                    <a:pt x="0" y="8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3" name="Google Shape;6860;p64">
              <a:extLst>
                <a:ext uri="{FF2B5EF4-FFF2-40B4-BE49-F238E27FC236}">
                  <a16:creationId xmlns:a16="http://schemas.microsoft.com/office/drawing/2014/main" id="{AA4F61CC-12CF-BC9F-B6A7-B95DBC3BDDA6}"/>
                </a:ext>
              </a:extLst>
            </p:cNvPr>
            <p:cNvSpPr/>
            <p:nvPr/>
          </p:nvSpPr>
          <p:spPr>
            <a:xfrm>
              <a:off x="2199542" y="172594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4" name="Google Shape;6861;p64">
              <a:extLst>
                <a:ext uri="{FF2B5EF4-FFF2-40B4-BE49-F238E27FC236}">
                  <a16:creationId xmlns:a16="http://schemas.microsoft.com/office/drawing/2014/main" id="{05A5AAA1-9E08-BF3A-84E9-7D230CB4EFF8}"/>
                </a:ext>
              </a:extLst>
            </p:cNvPr>
            <p:cNvSpPr/>
            <p:nvPr/>
          </p:nvSpPr>
          <p:spPr>
            <a:xfrm>
              <a:off x="2199257" y="1726463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0"/>
                  </a:moveTo>
                  <a:cubicBezTo>
                    <a:pt x="7" y="0"/>
                    <a:pt x="6" y="2"/>
                    <a:pt x="5" y="3"/>
                  </a:cubicBezTo>
                  <a:lnTo>
                    <a:pt x="5" y="3"/>
                  </a:lnTo>
                  <a:cubicBezTo>
                    <a:pt x="6" y="3"/>
                    <a:pt x="7" y="2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lose/>
                  <a:moveTo>
                    <a:pt x="5" y="3"/>
                  </a:moveTo>
                  <a:cubicBezTo>
                    <a:pt x="3" y="6"/>
                    <a:pt x="0" y="8"/>
                    <a:pt x="0" y="8"/>
                  </a:cubicBezTo>
                  <a:cubicBezTo>
                    <a:pt x="2" y="8"/>
                    <a:pt x="4" y="5"/>
                    <a:pt x="5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5" name="Google Shape;6862;p64">
              <a:extLst>
                <a:ext uri="{FF2B5EF4-FFF2-40B4-BE49-F238E27FC236}">
                  <a16:creationId xmlns:a16="http://schemas.microsoft.com/office/drawing/2014/main" id="{C7E2ED4E-BCCA-EBB3-95B9-5E6ABCBFB2AB}"/>
                </a:ext>
              </a:extLst>
            </p:cNvPr>
            <p:cNvSpPr/>
            <p:nvPr/>
          </p:nvSpPr>
          <p:spPr>
            <a:xfrm>
              <a:off x="2200534" y="172381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6" name="Google Shape;6863;p64">
              <a:extLst>
                <a:ext uri="{FF2B5EF4-FFF2-40B4-BE49-F238E27FC236}">
                  <a16:creationId xmlns:a16="http://schemas.microsoft.com/office/drawing/2014/main" id="{484D5DA1-1994-29E2-A4A3-F564542139C9}"/>
                </a:ext>
              </a:extLst>
            </p:cNvPr>
            <p:cNvSpPr/>
            <p:nvPr/>
          </p:nvSpPr>
          <p:spPr>
            <a:xfrm>
              <a:off x="2198728" y="1727033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0"/>
                  </a:moveTo>
                  <a:cubicBezTo>
                    <a:pt x="9" y="0"/>
                    <a:pt x="4" y="5"/>
                    <a:pt x="1" y="5"/>
                  </a:cubicBezTo>
                  <a:cubicBezTo>
                    <a:pt x="4" y="5"/>
                    <a:pt x="8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7" name="Google Shape;6864;p64">
              <a:extLst>
                <a:ext uri="{FF2B5EF4-FFF2-40B4-BE49-F238E27FC236}">
                  <a16:creationId xmlns:a16="http://schemas.microsoft.com/office/drawing/2014/main" id="{E194BB95-06AE-575E-B026-71800DE19281}"/>
                </a:ext>
              </a:extLst>
            </p:cNvPr>
            <p:cNvSpPr/>
            <p:nvPr/>
          </p:nvSpPr>
          <p:spPr>
            <a:xfrm>
              <a:off x="2198348" y="1727277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8" name="Google Shape;6865;p64">
              <a:extLst>
                <a:ext uri="{FF2B5EF4-FFF2-40B4-BE49-F238E27FC236}">
                  <a16:creationId xmlns:a16="http://schemas.microsoft.com/office/drawing/2014/main" id="{30E865A7-8450-D658-CCE8-BEFB5B2ED372}"/>
                </a:ext>
              </a:extLst>
            </p:cNvPr>
            <p:cNvSpPr/>
            <p:nvPr/>
          </p:nvSpPr>
          <p:spPr>
            <a:xfrm>
              <a:off x="2202733" y="172014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7" y="0"/>
                  </a:moveTo>
                  <a:cubicBezTo>
                    <a:pt x="4" y="7"/>
                    <a:pt x="4" y="14"/>
                    <a:pt x="0" y="21"/>
                  </a:cubicBezTo>
                  <a:cubicBezTo>
                    <a:pt x="4" y="14"/>
                    <a:pt x="7" y="7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9" name="Google Shape;6866;p64">
              <a:extLst>
                <a:ext uri="{FF2B5EF4-FFF2-40B4-BE49-F238E27FC236}">
                  <a16:creationId xmlns:a16="http://schemas.microsoft.com/office/drawing/2014/main" id="{C16D8827-E65A-CE4D-AB2A-53EBA5FC82AE}"/>
                </a:ext>
              </a:extLst>
            </p:cNvPr>
            <p:cNvSpPr/>
            <p:nvPr/>
          </p:nvSpPr>
          <p:spPr>
            <a:xfrm>
              <a:off x="2202489" y="1720624"/>
              <a:ext cx="163" cy="394"/>
            </a:xfrm>
            <a:custGeom>
              <a:avLst/>
              <a:gdLst/>
              <a:ahLst/>
              <a:cxnLst/>
              <a:rect l="l" t="t" r="r" b="b"/>
              <a:pathLst>
                <a:path w="12" h="29" extrusionOk="0">
                  <a:moveTo>
                    <a:pt x="1" y="28"/>
                  </a:moveTo>
                  <a:cubicBezTo>
                    <a:pt x="4" y="18"/>
                    <a:pt x="8" y="11"/>
                    <a:pt x="11" y="0"/>
                  </a:cubicBezTo>
                  <a:cubicBezTo>
                    <a:pt x="8" y="11"/>
                    <a:pt x="4" y="18"/>
                    <a:pt x="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0" name="Google Shape;6867;p64">
              <a:extLst>
                <a:ext uri="{FF2B5EF4-FFF2-40B4-BE49-F238E27FC236}">
                  <a16:creationId xmlns:a16="http://schemas.microsoft.com/office/drawing/2014/main" id="{CCC443FB-2D6B-D76D-A6AA-6DC2B427152F}"/>
                </a:ext>
              </a:extLst>
            </p:cNvPr>
            <p:cNvSpPr/>
            <p:nvPr/>
          </p:nvSpPr>
          <p:spPr>
            <a:xfrm>
              <a:off x="2202163" y="1721154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0"/>
                  </a:moveTo>
                  <a:cubicBezTo>
                    <a:pt x="11" y="11"/>
                    <a:pt x="4" y="21"/>
                    <a:pt x="0" y="31"/>
                  </a:cubicBezTo>
                  <a:cubicBezTo>
                    <a:pt x="7" y="21"/>
                    <a:pt x="11" y="11"/>
                    <a:pt x="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1" name="Google Shape;6868;p64">
              <a:extLst>
                <a:ext uri="{FF2B5EF4-FFF2-40B4-BE49-F238E27FC236}">
                  <a16:creationId xmlns:a16="http://schemas.microsoft.com/office/drawing/2014/main" id="{5ED24EE2-78C5-1C8A-63B0-F31B631B4DE3}"/>
                </a:ext>
              </a:extLst>
            </p:cNvPr>
            <p:cNvSpPr/>
            <p:nvPr/>
          </p:nvSpPr>
          <p:spPr>
            <a:xfrm>
              <a:off x="2201402" y="1722485"/>
              <a:ext cx="244" cy="339"/>
            </a:xfrm>
            <a:custGeom>
              <a:avLst/>
              <a:gdLst/>
              <a:ahLst/>
              <a:cxnLst/>
              <a:rect l="l" t="t" r="r" b="b"/>
              <a:pathLst>
                <a:path w="18" h="25" extrusionOk="0">
                  <a:moveTo>
                    <a:pt x="0" y="25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2" name="Google Shape;6869;p64">
              <a:extLst>
                <a:ext uri="{FF2B5EF4-FFF2-40B4-BE49-F238E27FC236}">
                  <a16:creationId xmlns:a16="http://schemas.microsoft.com/office/drawing/2014/main" id="{C2D151BB-10BC-003F-3D82-F05A99F18AA1}"/>
                </a:ext>
              </a:extLst>
            </p:cNvPr>
            <p:cNvSpPr/>
            <p:nvPr/>
          </p:nvSpPr>
          <p:spPr>
            <a:xfrm>
              <a:off x="2201783" y="1721806"/>
              <a:ext cx="244" cy="394"/>
            </a:xfrm>
            <a:custGeom>
              <a:avLst/>
              <a:gdLst/>
              <a:ahLst/>
              <a:cxnLst/>
              <a:rect l="l" t="t" r="r" b="b"/>
              <a:pathLst>
                <a:path w="18" h="29" extrusionOk="0">
                  <a:moveTo>
                    <a:pt x="18" y="1"/>
                  </a:moveTo>
                  <a:cubicBezTo>
                    <a:pt x="14" y="8"/>
                    <a:pt x="7" y="19"/>
                    <a:pt x="0" y="29"/>
                  </a:cubicBezTo>
                  <a:cubicBezTo>
                    <a:pt x="7" y="19"/>
                    <a:pt x="14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3" name="Google Shape;6870;p64">
              <a:extLst>
                <a:ext uri="{FF2B5EF4-FFF2-40B4-BE49-F238E27FC236}">
                  <a16:creationId xmlns:a16="http://schemas.microsoft.com/office/drawing/2014/main" id="{722A0CA0-439F-EF51-3026-50963DAA3ABE}"/>
                </a:ext>
              </a:extLst>
            </p:cNvPr>
            <p:cNvSpPr/>
            <p:nvPr/>
          </p:nvSpPr>
          <p:spPr>
            <a:xfrm>
              <a:off x="2200968" y="1723150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" y="2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4" name="Google Shape;6871;p64">
              <a:extLst>
                <a:ext uri="{FF2B5EF4-FFF2-40B4-BE49-F238E27FC236}">
                  <a16:creationId xmlns:a16="http://schemas.microsoft.com/office/drawing/2014/main" id="{6CE823BC-08A2-6CDD-3892-53A2B0AF5212}"/>
                </a:ext>
              </a:extLst>
            </p:cNvPr>
            <p:cNvSpPr/>
            <p:nvPr/>
          </p:nvSpPr>
          <p:spPr>
            <a:xfrm>
              <a:off x="2226344" y="171391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5" name="Google Shape;6872;p64">
              <a:extLst>
                <a:ext uri="{FF2B5EF4-FFF2-40B4-BE49-F238E27FC236}">
                  <a16:creationId xmlns:a16="http://schemas.microsoft.com/office/drawing/2014/main" id="{BB084ED0-F18C-588F-4C71-E65C68F2A398}"/>
                </a:ext>
              </a:extLst>
            </p:cNvPr>
            <p:cNvSpPr/>
            <p:nvPr/>
          </p:nvSpPr>
          <p:spPr>
            <a:xfrm>
              <a:off x="2225964" y="1713917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6" name="Google Shape;6873;p64">
              <a:extLst>
                <a:ext uri="{FF2B5EF4-FFF2-40B4-BE49-F238E27FC236}">
                  <a16:creationId xmlns:a16="http://schemas.microsoft.com/office/drawing/2014/main" id="{CD03159B-3E8C-29CB-2925-B22E9C1A7588}"/>
                </a:ext>
              </a:extLst>
            </p:cNvPr>
            <p:cNvSpPr/>
            <p:nvPr/>
          </p:nvSpPr>
          <p:spPr>
            <a:xfrm>
              <a:off x="2225543" y="171387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7" name="Google Shape;6874;p64">
              <a:extLst>
                <a:ext uri="{FF2B5EF4-FFF2-40B4-BE49-F238E27FC236}">
                  <a16:creationId xmlns:a16="http://schemas.microsoft.com/office/drawing/2014/main" id="{42346548-7AFD-0B2D-0890-39CD51017372}"/>
                </a:ext>
              </a:extLst>
            </p:cNvPr>
            <p:cNvSpPr/>
            <p:nvPr/>
          </p:nvSpPr>
          <p:spPr>
            <a:xfrm>
              <a:off x="2222882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8" name="Google Shape;6875;p64">
              <a:extLst>
                <a:ext uri="{FF2B5EF4-FFF2-40B4-BE49-F238E27FC236}">
                  <a16:creationId xmlns:a16="http://schemas.microsoft.com/office/drawing/2014/main" id="{944EF942-80B3-A656-CEF9-45F70E4EC397}"/>
                </a:ext>
              </a:extLst>
            </p:cNvPr>
            <p:cNvSpPr/>
            <p:nvPr/>
          </p:nvSpPr>
          <p:spPr>
            <a:xfrm>
              <a:off x="2226915" y="171401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9" name="Google Shape;6876;p64">
              <a:extLst>
                <a:ext uri="{FF2B5EF4-FFF2-40B4-BE49-F238E27FC236}">
                  <a16:creationId xmlns:a16="http://schemas.microsoft.com/office/drawing/2014/main" id="{C6776EC6-47AF-B3D0-D27E-8F184DD86D9B}"/>
                </a:ext>
              </a:extLst>
            </p:cNvPr>
            <p:cNvSpPr/>
            <p:nvPr/>
          </p:nvSpPr>
          <p:spPr>
            <a:xfrm>
              <a:off x="2223588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0" name="Google Shape;6877;p64">
              <a:extLst>
                <a:ext uri="{FF2B5EF4-FFF2-40B4-BE49-F238E27FC236}">
                  <a16:creationId xmlns:a16="http://schemas.microsoft.com/office/drawing/2014/main" id="{E16549EE-E979-7FFB-8681-AC4A783ED983}"/>
                </a:ext>
              </a:extLst>
            </p:cNvPr>
            <p:cNvSpPr/>
            <p:nvPr/>
          </p:nvSpPr>
          <p:spPr>
            <a:xfrm>
              <a:off x="2225014" y="1713822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1" name="Google Shape;6878;p64">
              <a:extLst>
                <a:ext uri="{FF2B5EF4-FFF2-40B4-BE49-F238E27FC236}">
                  <a16:creationId xmlns:a16="http://schemas.microsoft.com/office/drawing/2014/main" id="{4DD648BE-64D3-2639-996F-CB5383C6149F}"/>
                </a:ext>
              </a:extLst>
            </p:cNvPr>
            <p:cNvSpPr/>
            <p:nvPr/>
          </p:nvSpPr>
          <p:spPr>
            <a:xfrm>
              <a:off x="2224824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2" name="Google Shape;6879;p64">
              <a:extLst>
                <a:ext uri="{FF2B5EF4-FFF2-40B4-BE49-F238E27FC236}">
                  <a16:creationId xmlns:a16="http://schemas.microsoft.com/office/drawing/2014/main" id="{5086F5C3-FA74-6270-2695-5E498AEC858C}"/>
                </a:ext>
              </a:extLst>
            </p:cNvPr>
            <p:cNvSpPr/>
            <p:nvPr/>
          </p:nvSpPr>
          <p:spPr>
            <a:xfrm>
              <a:off x="2226684" y="171397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3" name="Google Shape;6880;p64">
              <a:extLst>
                <a:ext uri="{FF2B5EF4-FFF2-40B4-BE49-F238E27FC236}">
                  <a16:creationId xmlns:a16="http://schemas.microsoft.com/office/drawing/2014/main" id="{03CEBD66-7709-5661-BD8C-B66C2391334D}"/>
                </a:ext>
              </a:extLst>
            </p:cNvPr>
            <p:cNvSpPr/>
            <p:nvPr/>
          </p:nvSpPr>
          <p:spPr>
            <a:xfrm>
              <a:off x="2240845" y="1712206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4" name="Google Shape;6881;p64">
              <a:extLst>
                <a:ext uri="{FF2B5EF4-FFF2-40B4-BE49-F238E27FC236}">
                  <a16:creationId xmlns:a16="http://schemas.microsoft.com/office/drawing/2014/main" id="{54531380-1640-F0C1-E51F-8C8E5C8D4BB9}"/>
                </a:ext>
              </a:extLst>
            </p:cNvPr>
            <p:cNvSpPr/>
            <p:nvPr/>
          </p:nvSpPr>
          <p:spPr>
            <a:xfrm>
              <a:off x="2240370" y="1712301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5" name="Google Shape;6882;p64">
              <a:extLst>
                <a:ext uri="{FF2B5EF4-FFF2-40B4-BE49-F238E27FC236}">
                  <a16:creationId xmlns:a16="http://schemas.microsoft.com/office/drawing/2014/main" id="{B49F6345-8B7A-248E-35B0-164196631BA7}"/>
                </a:ext>
              </a:extLst>
            </p:cNvPr>
            <p:cNvSpPr/>
            <p:nvPr/>
          </p:nvSpPr>
          <p:spPr>
            <a:xfrm>
              <a:off x="2241225" y="171216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1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6" name="Google Shape;6883;p64">
              <a:extLst>
                <a:ext uri="{FF2B5EF4-FFF2-40B4-BE49-F238E27FC236}">
                  <a16:creationId xmlns:a16="http://schemas.microsoft.com/office/drawing/2014/main" id="{E50A5EC0-321D-6DCD-F04D-C16DCCCD6019}"/>
                </a:ext>
              </a:extLst>
            </p:cNvPr>
            <p:cNvSpPr/>
            <p:nvPr/>
          </p:nvSpPr>
          <p:spPr>
            <a:xfrm>
              <a:off x="2239379" y="1712682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7" name="Google Shape;6884;p64">
              <a:extLst>
                <a:ext uri="{FF2B5EF4-FFF2-40B4-BE49-F238E27FC236}">
                  <a16:creationId xmlns:a16="http://schemas.microsoft.com/office/drawing/2014/main" id="{2250EE76-D3AD-A84E-649B-1E339BAB4301}"/>
                </a:ext>
              </a:extLst>
            </p:cNvPr>
            <p:cNvSpPr/>
            <p:nvPr/>
          </p:nvSpPr>
          <p:spPr>
            <a:xfrm>
              <a:off x="2240044" y="1712397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18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8" name="Google Shape;6885;p64">
              <a:extLst>
                <a:ext uri="{FF2B5EF4-FFF2-40B4-BE49-F238E27FC236}">
                  <a16:creationId xmlns:a16="http://schemas.microsoft.com/office/drawing/2014/main" id="{268FF8ED-5CA3-91B5-E444-CCBA46C25F1B}"/>
                </a:ext>
              </a:extLst>
            </p:cNvPr>
            <p:cNvSpPr/>
            <p:nvPr/>
          </p:nvSpPr>
          <p:spPr>
            <a:xfrm>
              <a:off x="2227159" y="1714067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9" name="Google Shape;6886;p64">
              <a:extLst>
                <a:ext uri="{FF2B5EF4-FFF2-40B4-BE49-F238E27FC236}">
                  <a16:creationId xmlns:a16="http://schemas.microsoft.com/office/drawing/2014/main" id="{224386A9-0C5A-2124-413C-0947ED1997DC}"/>
                </a:ext>
              </a:extLst>
            </p:cNvPr>
            <p:cNvSpPr/>
            <p:nvPr/>
          </p:nvSpPr>
          <p:spPr>
            <a:xfrm>
              <a:off x="2239800" y="171249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0" name="Google Shape;6887;p64">
              <a:extLst>
                <a:ext uri="{FF2B5EF4-FFF2-40B4-BE49-F238E27FC236}">
                  <a16:creationId xmlns:a16="http://schemas.microsoft.com/office/drawing/2014/main" id="{E702F635-5C51-72C9-D336-249C553BA8CF}"/>
                </a:ext>
              </a:extLst>
            </p:cNvPr>
            <p:cNvSpPr/>
            <p:nvPr/>
          </p:nvSpPr>
          <p:spPr>
            <a:xfrm>
              <a:off x="2239569" y="1712587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1" name="Google Shape;6888;p64">
              <a:extLst>
                <a:ext uri="{FF2B5EF4-FFF2-40B4-BE49-F238E27FC236}">
                  <a16:creationId xmlns:a16="http://schemas.microsoft.com/office/drawing/2014/main" id="{699B9A0F-E81A-B6B4-48E2-C458E61BF127}"/>
                </a:ext>
              </a:extLst>
            </p:cNvPr>
            <p:cNvSpPr/>
            <p:nvPr/>
          </p:nvSpPr>
          <p:spPr>
            <a:xfrm>
              <a:off x="2223873" y="17138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2" name="Google Shape;6889;p64">
              <a:extLst>
                <a:ext uri="{FF2B5EF4-FFF2-40B4-BE49-F238E27FC236}">
                  <a16:creationId xmlns:a16="http://schemas.microsoft.com/office/drawing/2014/main" id="{D6BB59B6-2606-5A96-B00C-E5DD0C690598}"/>
                </a:ext>
              </a:extLst>
            </p:cNvPr>
            <p:cNvSpPr/>
            <p:nvPr/>
          </p:nvSpPr>
          <p:spPr>
            <a:xfrm>
              <a:off x="2218320" y="1714067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0" y="0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3" name="Google Shape;6890;p64">
              <a:extLst>
                <a:ext uri="{FF2B5EF4-FFF2-40B4-BE49-F238E27FC236}">
                  <a16:creationId xmlns:a16="http://schemas.microsoft.com/office/drawing/2014/main" id="{BA361F7D-CF25-E296-5218-9980858A3D07}"/>
                </a:ext>
              </a:extLst>
            </p:cNvPr>
            <p:cNvSpPr/>
            <p:nvPr/>
          </p:nvSpPr>
          <p:spPr>
            <a:xfrm>
              <a:off x="2221742" y="1713822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4" name="Google Shape;6891;p64">
              <a:extLst>
                <a:ext uri="{FF2B5EF4-FFF2-40B4-BE49-F238E27FC236}">
                  <a16:creationId xmlns:a16="http://schemas.microsoft.com/office/drawing/2014/main" id="{D872029D-3C78-8BCC-E908-4ECBDA391220}"/>
                </a:ext>
              </a:extLst>
            </p:cNvPr>
            <p:cNvSpPr/>
            <p:nvPr/>
          </p:nvSpPr>
          <p:spPr>
            <a:xfrm>
              <a:off x="2236188" y="1713157"/>
              <a:ext cx="3245" cy="2349"/>
            </a:xfrm>
            <a:custGeom>
              <a:avLst/>
              <a:gdLst/>
              <a:ahLst/>
              <a:cxnLst/>
              <a:rect l="l" t="t" r="r" b="b"/>
              <a:pathLst>
                <a:path w="239" h="173" extrusionOk="0">
                  <a:moveTo>
                    <a:pt x="1" y="172"/>
                  </a:moveTo>
                  <a:cubicBezTo>
                    <a:pt x="102" y="165"/>
                    <a:pt x="179" y="130"/>
                    <a:pt x="214" y="78"/>
                  </a:cubicBezTo>
                  <a:cubicBezTo>
                    <a:pt x="232" y="53"/>
                    <a:pt x="239" y="29"/>
                    <a:pt x="239" y="1"/>
                  </a:cubicBezTo>
                  <a:cubicBezTo>
                    <a:pt x="239" y="29"/>
                    <a:pt x="232" y="53"/>
                    <a:pt x="214" y="78"/>
                  </a:cubicBezTo>
                  <a:cubicBezTo>
                    <a:pt x="179" y="130"/>
                    <a:pt x="102" y="165"/>
                    <a:pt x="1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5" name="Google Shape;6892;p64">
              <a:extLst>
                <a:ext uri="{FF2B5EF4-FFF2-40B4-BE49-F238E27FC236}">
                  <a16:creationId xmlns:a16="http://schemas.microsoft.com/office/drawing/2014/main" id="{10A58D11-F4FE-AC1E-71E7-962C8DE96A48}"/>
                </a:ext>
              </a:extLst>
            </p:cNvPr>
            <p:cNvSpPr/>
            <p:nvPr/>
          </p:nvSpPr>
          <p:spPr>
            <a:xfrm>
              <a:off x="2218985" y="1713972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6" name="Google Shape;6893;p64">
              <a:extLst>
                <a:ext uri="{FF2B5EF4-FFF2-40B4-BE49-F238E27FC236}">
                  <a16:creationId xmlns:a16="http://schemas.microsoft.com/office/drawing/2014/main" id="{823CD27C-2111-BB00-027F-7BD90791AC2A}"/>
                </a:ext>
              </a:extLst>
            </p:cNvPr>
            <p:cNvSpPr/>
            <p:nvPr/>
          </p:nvSpPr>
          <p:spPr>
            <a:xfrm>
              <a:off x="2219977" y="1713917"/>
              <a:ext cx="543" cy="14"/>
            </a:xfrm>
            <a:custGeom>
              <a:avLst/>
              <a:gdLst/>
              <a:ahLst/>
              <a:cxnLst/>
              <a:rect l="l" t="t" r="r" b="b"/>
              <a:pathLst>
                <a:path w="40" h="1" extrusionOk="0">
                  <a:moveTo>
                    <a:pt x="3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7" name="Google Shape;6894;p64">
              <a:extLst>
                <a:ext uri="{FF2B5EF4-FFF2-40B4-BE49-F238E27FC236}">
                  <a16:creationId xmlns:a16="http://schemas.microsoft.com/office/drawing/2014/main" id="{997630AF-1014-E21B-6B78-2E2A76303258}"/>
                </a:ext>
              </a:extLst>
            </p:cNvPr>
            <p:cNvSpPr/>
            <p:nvPr/>
          </p:nvSpPr>
          <p:spPr>
            <a:xfrm>
              <a:off x="2220886" y="1713876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3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8" name="Google Shape;6895;p64">
              <a:extLst>
                <a:ext uri="{FF2B5EF4-FFF2-40B4-BE49-F238E27FC236}">
                  <a16:creationId xmlns:a16="http://schemas.microsoft.com/office/drawing/2014/main" id="{1B5C965B-891F-574F-FE71-06C20D7AE4F7}"/>
                </a:ext>
              </a:extLst>
            </p:cNvPr>
            <p:cNvSpPr/>
            <p:nvPr/>
          </p:nvSpPr>
          <p:spPr>
            <a:xfrm>
              <a:off x="2206005" y="1719905"/>
              <a:ext cx="679" cy="68"/>
            </a:xfrm>
            <a:custGeom>
              <a:avLst/>
              <a:gdLst/>
              <a:ahLst/>
              <a:cxnLst/>
              <a:rect l="l" t="t" r="r" b="b"/>
              <a:pathLst>
                <a:path w="50" h="5" extrusionOk="0">
                  <a:moveTo>
                    <a:pt x="15" y="1"/>
                  </a:moveTo>
                  <a:lnTo>
                    <a:pt x="1" y="4"/>
                  </a:lnTo>
                  <a:cubicBezTo>
                    <a:pt x="18" y="4"/>
                    <a:pt x="32" y="1"/>
                    <a:pt x="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9" name="Google Shape;6896;p64">
              <a:extLst>
                <a:ext uri="{FF2B5EF4-FFF2-40B4-BE49-F238E27FC236}">
                  <a16:creationId xmlns:a16="http://schemas.microsoft.com/office/drawing/2014/main" id="{212F0E43-5FFD-8CB1-9C61-2450B0D6C5AA}"/>
                </a:ext>
              </a:extLst>
            </p:cNvPr>
            <p:cNvSpPr/>
            <p:nvPr/>
          </p:nvSpPr>
          <p:spPr>
            <a:xfrm>
              <a:off x="2202923" y="1719973"/>
              <a:ext cx="1480" cy="41"/>
            </a:xfrm>
            <a:custGeom>
              <a:avLst/>
              <a:gdLst/>
              <a:ahLst/>
              <a:cxnLst/>
              <a:rect l="l" t="t" r="r" b="b"/>
              <a:pathLst>
                <a:path w="109" h="3" extrusionOk="0">
                  <a:moveTo>
                    <a:pt x="54" y="0"/>
                  </a:moveTo>
                  <a:cubicBezTo>
                    <a:pt x="36" y="0"/>
                    <a:pt x="18" y="1"/>
                    <a:pt x="0" y="3"/>
                  </a:cubicBezTo>
                  <a:lnTo>
                    <a:pt x="109" y="3"/>
                  </a:lnTo>
                  <a:cubicBezTo>
                    <a:pt x="91" y="1"/>
                    <a:pt x="73" y="0"/>
                    <a:pt x="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0" name="Google Shape;6897;p64">
              <a:extLst>
                <a:ext uri="{FF2B5EF4-FFF2-40B4-BE49-F238E27FC236}">
                  <a16:creationId xmlns:a16="http://schemas.microsoft.com/office/drawing/2014/main" id="{CC1B4B86-63BA-9884-4951-0F44C571583B}"/>
                </a:ext>
              </a:extLst>
            </p:cNvPr>
            <p:cNvSpPr/>
            <p:nvPr/>
          </p:nvSpPr>
          <p:spPr>
            <a:xfrm>
              <a:off x="2205204" y="1719959"/>
              <a:ext cx="625" cy="14"/>
            </a:xfrm>
            <a:custGeom>
              <a:avLst/>
              <a:gdLst/>
              <a:ahLst/>
              <a:cxnLst/>
              <a:rect l="l" t="t" r="r" b="b"/>
              <a:pathLst>
                <a:path w="46" h="1" extrusionOk="0">
                  <a:moveTo>
                    <a:pt x="25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1" name="Google Shape;6898;p64">
              <a:extLst>
                <a:ext uri="{FF2B5EF4-FFF2-40B4-BE49-F238E27FC236}">
                  <a16:creationId xmlns:a16="http://schemas.microsoft.com/office/drawing/2014/main" id="{C3E09B4F-9B9B-A02F-1B46-B08F47121702}"/>
                </a:ext>
              </a:extLst>
            </p:cNvPr>
            <p:cNvSpPr/>
            <p:nvPr/>
          </p:nvSpPr>
          <p:spPr>
            <a:xfrm>
              <a:off x="2206725" y="1719715"/>
              <a:ext cx="720" cy="163"/>
            </a:xfrm>
            <a:custGeom>
              <a:avLst/>
              <a:gdLst/>
              <a:ahLst/>
              <a:cxnLst/>
              <a:rect l="l" t="t" r="r" b="b"/>
              <a:pathLst>
                <a:path w="53" h="12" extrusionOk="0">
                  <a:moveTo>
                    <a:pt x="53" y="1"/>
                  </a:moveTo>
                  <a:cubicBezTo>
                    <a:pt x="35" y="4"/>
                    <a:pt x="18" y="8"/>
                    <a:pt x="0" y="11"/>
                  </a:cubicBezTo>
                  <a:cubicBezTo>
                    <a:pt x="18" y="8"/>
                    <a:pt x="35" y="4"/>
                    <a:pt x="5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2" name="Google Shape;6899;p64">
              <a:extLst>
                <a:ext uri="{FF2B5EF4-FFF2-40B4-BE49-F238E27FC236}">
                  <a16:creationId xmlns:a16="http://schemas.microsoft.com/office/drawing/2014/main" id="{38BBAD4B-6C21-85A6-7F00-3D86B5C1F01E}"/>
                </a:ext>
              </a:extLst>
            </p:cNvPr>
            <p:cNvSpPr/>
            <p:nvPr/>
          </p:nvSpPr>
          <p:spPr>
            <a:xfrm>
              <a:off x="2285094" y="1766163"/>
              <a:ext cx="11622" cy="5675"/>
            </a:xfrm>
            <a:custGeom>
              <a:avLst/>
              <a:gdLst/>
              <a:ahLst/>
              <a:cxnLst/>
              <a:rect l="l" t="t" r="r" b="b"/>
              <a:pathLst>
                <a:path w="856" h="418" extrusionOk="0">
                  <a:moveTo>
                    <a:pt x="855" y="0"/>
                  </a:moveTo>
                  <a:cubicBezTo>
                    <a:pt x="680" y="60"/>
                    <a:pt x="502" y="95"/>
                    <a:pt x="320" y="102"/>
                  </a:cubicBezTo>
                  <a:cubicBezTo>
                    <a:pt x="134" y="112"/>
                    <a:pt x="33" y="182"/>
                    <a:pt x="19" y="245"/>
                  </a:cubicBezTo>
                  <a:cubicBezTo>
                    <a:pt x="1" y="305"/>
                    <a:pt x="68" y="350"/>
                    <a:pt x="99" y="368"/>
                  </a:cubicBezTo>
                  <a:cubicBezTo>
                    <a:pt x="162" y="405"/>
                    <a:pt x="233" y="418"/>
                    <a:pt x="301" y="418"/>
                  </a:cubicBezTo>
                  <a:cubicBezTo>
                    <a:pt x="379" y="418"/>
                    <a:pt x="453" y="400"/>
                    <a:pt x="502" y="385"/>
                  </a:cubicBezTo>
                  <a:cubicBezTo>
                    <a:pt x="593" y="361"/>
                    <a:pt x="677" y="315"/>
                    <a:pt x="743" y="252"/>
                  </a:cubicBezTo>
                  <a:cubicBezTo>
                    <a:pt x="736" y="182"/>
                    <a:pt x="778" y="84"/>
                    <a:pt x="8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3" name="Google Shape;6900;p64">
              <a:extLst>
                <a:ext uri="{FF2B5EF4-FFF2-40B4-BE49-F238E27FC236}">
                  <a16:creationId xmlns:a16="http://schemas.microsoft.com/office/drawing/2014/main" id="{E1BCBAEA-FF29-F62C-D51D-1EA212CE99A5}"/>
                </a:ext>
              </a:extLst>
            </p:cNvPr>
            <p:cNvSpPr/>
            <p:nvPr/>
          </p:nvSpPr>
          <p:spPr>
            <a:xfrm>
              <a:off x="1868957" y="1453664"/>
              <a:ext cx="77052" cy="36456"/>
            </a:xfrm>
            <a:custGeom>
              <a:avLst/>
              <a:gdLst/>
              <a:ahLst/>
              <a:cxnLst/>
              <a:rect l="l" t="t" r="r" b="b"/>
              <a:pathLst>
                <a:path w="5675" h="2685" extrusionOk="0">
                  <a:moveTo>
                    <a:pt x="4170" y="0"/>
                  </a:moveTo>
                  <a:cubicBezTo>
                    <a:pt x="4167" y="0"/>
                    <a:pt x="4165" y="1"/>
                    <a:pt x="4163" y="2"/>
                  </a:cubicBezTo>
                  <a:cubicBezTo>
                    <a:pt x="4135" y="12"/>
                    <a:pt x="4128" y="51"/>
                    <a:pt x="4135" y="142"/>
                  </a:cubicBezTo>
                  <a:cubicBezTo>
                    <a:pt x="4142" y="194"/>
                    <a:pt x="4142" y="247"/>
                    <a:pt x="4128" y="296"/>
                  </a:cubicBezTo>
                  <a:cubicBezTo>
                    <a:pt x="4109" y="351"/>
                    <a:pt x="4065" y="368"/>
                    <a:pt x="4015" y="368"/>
                  </a:cubicBezTo>
                  <a:cubicBezTo>
                    <a:pt x="3970" y="368"/>
                    <a:pt x="3920" y="355"/>
                    <a:pt x="3879" y="345"/>
                  </a:cubicBezTo>
                  <a:cubicBezTo>
                    <a:pt x="3858" y="338"/>
                    <a:pt x="3830" y="331"/>
                    <a:pt x="3806" y="327"/>
                  </a:cubicBezTo>
                  <a:cubicBezTo>
                    <a:pt x="3802" y="383"/>
                    <a:pt x="3767" y="429"/>
                    <a:pt x="3715" y="450"/>
                  </a:cubicBezTo>
                  <a:cubicBezTo>
                    <a:pt x="3699" y="455"/>
                    <a:pt x="3683" y="457"/>
                    <a:pt x="3667" y="457"/>
                  </a:cubicBezTo>
                  <a:cubicBezTo>
                    <a:pt x="3602" y="457"/>
                    <a:pt x="3532" y="418"/>
                    <a:pt x="3473" y="348"/>
                  </a:cubicBezTo>
                  <a:cubicBezTo>
                    <a:pt x="3450" y="322"/>
                    <a:pt x="3417" y="308"/>
                    <a:pt x="3381" y="308"/>
                  </a:cubicBezTo>
                  <a:cubicBezTo>
                    <a:pt x="3369" y="308"/>
                    <a:pt x="3356" y="310"/>
                    <a:pt x="3343" y="313"/>
                  </a:cubicBezTo>
                  <a:cubicBezTo>
                    <a:pt x="3319" y="317"/>
                    <a:pt x="3291" y="331"/>
                    <a:pt x="3273" y="352"/>
                  </a:cubicBezTo>
                  <a:cubicBezTo>
                    <a:pt x="3280" y="390"/>
                    <a:pt x="3263" y="429"/>
                    <a:pt x="3231" y="450"/>
                  </a:cubicBezTo>
                  <a:cubicBezTo>
                    <a:pt x="3216" y="460"/>
                    <a:pt x="3200" y="464"/>
                    <a:pt x="3183" y="464"/>
                  </a:cubicBezTo>
                  <a:cubicBezTo>
                    <a:pt x="3131" y="464"/>
                    <a:pt x="3065" y="424"/>
                    <a:pt x="2965" y="359"/>
                  </a:cubicBezTo>
                  <a:lnTo>
                    <a:pt x="2892" y="317"/>
                  </a:lnTo>
                  <a:cubicBezTo>
                    <a:pt x="2869" y="304"/>
                    <a:pt x="2845" y="298"/>
                    <a:pt x="2821" y="298"/>
                  </a:cubicBezTo>
                  <a:cubicBezTo>
                    <a:pt x="2791" y="298"/>
                    <a:pt x="2763" y="307"/>
                    <a:pt x="2738" y="324"/>
                  </a:cubicBezTo>
                  <a:cubicBezTo>
                    <a:pt x="2664" y="376"/>
                    <a:pt x="2622" y="464"/>
                    <a:pt x="2626" y="499"/>
                  </a:cubicBezTo>
                  <a:cubicBezTo>
                    <a:pt x="2643" y="618"/>
                    <a:pt x="2584" y="649"/>
                    <a:pt x="2559" y="660"/>
                  </a:cubicBezTo>
                  <a:cubicBezTo>
                    <a:pt x="2548" y="664"/>
                    <a:pt x="2537" y="666"/>
                    <a:pt x="2526" y="666"/>
                  </a:cubicBezTo>
                  <a:cubicBezTo>
                    <a:pt x="2454" y="666"/>
                    <a:pt x="2377" y="589"/>
                    <a:pt x="2286" y="429"/>
                  </a:cubicBezTo>
                  <a:cubicBezTo>
                    <a:pt x="2271" y="405"/>
                    <a:pt x="2240" y="355"/>
                    <a:pt x="2210" y="355"/>
                  </a:cubicBezTo>
                  <a:cubicBezTo>
                    <a:pt x="2205" y="355"/>
                    <a:pt x="2200" y="356"/>
                    <a:pt x="2195" y="359"/>
                  </a:cubicBezTo>
                  <a:cubicBezTo>
                    <a:pt x="2143" y="401"/>
                    <a:pt x="2125" y="471"/>
                    <a:pt x="2150" y="534"/>
                  </a:cubicBezTo>
                  <a:cubicBezTo>
                    <a:pt x="2220" y="656"/>
                    <a:pt x="2220" y="800"/>
                    <a:pt x="2153" y="863"/>
                  </a:cubicBezTo>
                  <a:cubicBezTo>
                    <a:pt x="2129" y="885"/>
                    <a:pt x="2098" y="897"/>
                    <a:pt x="2066" y="897"/>
                  </a:cubicBezTo>
                  <a:cubicBezTo>
                    <a:pt x="2038" y="897"/>
                    <a:pt x="2010" y="888"/>
                    <a:pt x="1985" y="870"/>
                  </a:cubicBezTo>
                  <a:cubicBezTo>
                    <a:pt x="1972" y="862"/>
                    <a:pt x="1957" y="858"/>
                    <a:pt x="1941" y="858"/>
                  </a:cubicBezTo>
                  <a:cubicBezTo>
                    <a:pt x="1865" y="858"/>
                    <a:pt x="1768" y="938"/>
                    <a:pt x="1719" y="1013"/>
                  </a:cubicBezTo>
                  <a:cubicBezTo>
                    <a:pt x="1701" y="1043"/>
                    <a:pt x="1665" y="1061"/>
                    <a:pt x="1629" y="1061"/>
                  </a:cubicBezTo>
                  <a:cubicBezTo>
                    <a:pt x="1623" y="1061"/>
                    <a:pt x="1617" y="1060"/>
                    <a:pt x="1611" y="1059"/>
                  </a:cubicBezTo>
                  <a:cubicBezTo>
                    <a:pt x="1512" y="1038"/>
                    <a:pt x="1414" y="866"/>
                    <a:pt x="1393" y="726"/>
                  </a:cubicBezTo>
                  <a:cubicBezTo>
                    <a:pt x="1376" y="618"/>
                    <a:pt x="1407" y="534"/>
                    <a:pt x="1481" y="488"/>
                  </a:cubicBezTo>
                  <a:cubicBezTo>
                    <a:pt x="1432" y="373"/>
                    <a:pt x="889" y="54"/>
                    <a:pt x="690" y="54"/>
                  </a:cubicBezTo>
                  <a:cubicBezTo>
                    <a:pt x="669" y="54"/>
                    <a:pt x="651" y="58"/>
                    <a:pt x="634" y="61"/>
                  </a:cubicBezTo>
                  <a:cubicBezTo>
                    <a:pt x="644" y="86"/>
                    <a:pt x="690" y="149"/>
                    <a:pt x="809" y="247"/>
                  </a:cubicBezTo>
                  <a:cubicBezTo>
                    <a:pt x="833" y="264"/>
                    <a:pt x="896" y="317"/>
                    <a:pt x="882" y="376"/>
                  </a:cubicBezTo>
                  <a:cubicBezTo>
                    <a:pt x="872" y="411"/>
                    <a:pt x="844" y="436"/>
                    <a:pt x="812" y="443"/>
                  </a:cubicBezTo>
                  <a:cubicBezTo>
                    <a:pt x="802" y="445"/>
                    <a:pt x="790" y="446"/>
                    <a:pt x="778" y="446"/>
                  </a:cubicBezTo>
                  <a:cubicBezTo>
                    <a:pt x="694" y="446"/>
                    <a:pt x="573" y="397"/>
                    <a:pt x="515" y="320"/>
                  </a:cubicBezTo>
                  <a:cubicBezTo>
                    <a:pt x="503" y="305"/>
                    <a:pt x="485" y="295"/>
                    <a:pt x="467" y="295"/>
                  </a:cubicBezTo>
                  <a:cubicBezTo>
                    <a:pt x="464" y="295"/>
                    <a:pt x="461" y="295"/>
                    <a:pt x="459" y="296"/>
                  </a:cubicBezTo>
                  <a:cubicBezTo>
                    <a:pt x="399" y="299"/>
                    <a:pt x="319" y="362"/>
                    <a:pt x="266" y="450"/>
                  </a:cubicBezTo>
                  <a:cubicBezTo>
                    <a:pt x="221" y="520"/>
                    <a:pt x="168" y="586"/>
                    <a:pt x="109" y="642"/>
                  </a:cubicBezTo>
                  <a:cubicBezTo>
                    <a:pt x="53" y="698"/>
                    <a:pt x="7" y="747"/>
                    <a:pt x="0" y="789"/>
                  </a:cubicBezTo>
                  <a:cubicBezTo>
                    <a:pt x="0" y="793"/>
                    <a:pt x="7" y="810"/>
                    <a:pt x="39" y="831"/>
                  </a:cubicBezTo>
                  <a:cubicBezTo>
                    <a:pt x="106" y="866"/>
                    <a:pt x="181" y="884"/>
                    <a:pt x="255" y="884"/>
                  </a:cubicBezTo>
                  <a:cubicBezTo>
                    <a:pt x="316" y="884"/>
                    <a:pt x="376" y="872"/>
                    <a:pt x="434" y="849"/>
                  </a:cubicBezTo>
                  <a:cubicBezTo>
                    <a:pt x="564" y="796"/>
                    <a:pt x="714" y="760"/>
                    <a:pt x="850" y="760"/>
                  </a:cubicBezTo>
                  <a:cubicBezTo>
                    <a:pt x="974" y="760"/>
                    <a:pt x="1088" y="790"/>
                    <a:pt x="1166" y="863"/>
                  </a:cubicBezTo>
                  <a:cubicBezTo>
                    <a:pt x="1201" y="887"/>
                    <a:pt x="1218" y="929"/>
                    <a:pt x="1215" y="971"/>
                  </a:cubicBezTo>
                  <a:cubicBezTo>
                    <a:pt x="1211" y="1038"/>
                    <a:pt x="1148" y="1076"/>
                    <a:pt x="1099" y="1112"/>
                  </a:cubicBezTo>
                  <a:cubicBezTo>
                    <a:pt x="1092" y="1119"/>
                    <a:pt x="1078" y="1126"/>
                    <a:pt x="1068" y="1133"/>
                  </a:cubicBezTo>
                  <a:cubicBezTo>
                    <a:pt x="1148" y="1199"/>
                    <a:pt x="1141" y="1259"/>
                    <a:pt x="1131" y="1290"/>
                  </a:cubicBezTo>
                  <a:cubicBezTo>
                    <a:pt x="1102" y="1362"/>
                    <a:pt x="1007" y="1401"/>
                    <a:pt x="845" y="1401"/>
                  </a:cubicBezTo>
                  <a:cubicBezTo>
                    <a:pt x="809" y="1401"/>
                    <a:pt x="770" y="1399"/>
                    <a:pt x="728" y="1395"/>
                  </a:cubicBezTo>
                  <a:cubicBezTo>
                    <a:pt x="693" y="1392"/>
                    <a:pt x="659" y="1391"/>
                    <a:pt x="625" y="1391"/>
                  </a:cubicBezTo>
                  <a:cubicBezTo>
                    <a:pt x="435" y="1391"/>
                    <a:pt x="268" y="1429"/>
                    <a:pt x="200" y="1465"/>
                  </a:cubicBezTo>
                  <a:cubicBezTo>
                    <a:pt x="308" y="1465"/>
                    <a:pt x="417" y="1458"/>
                    <a:pt x="525" y="1444"/>
                  </a:cubicBezTo>
                  <a:cubicBezTo>
                    <a:pt x="650" y="1428"/>
                    <a:pt x="739" y="1419"/>
                    <a:pt x="804" y="1419"/>
                  </a:cubicBezTo>
                  <a:cubicBezTo>
                    <a:pt x="869" y="1419"/>
                    <a:pt x="910" y="1428"/>
                    <a:pt x="938" y="1451"/>
                  </a:cubicBezTo>
                  <a:cubicBezTo>
                    <a:pt x="956" y="1465"/>
                    <a:pt x="966" y="1486"/>
                    <a:pt x="970" y="1511"/>
                  </a:cubicBezTo>
                  <a:lnTo>
                    <a:pt x="970" y="1542"/>
                  </a:lnTo>
                  <a:cubicBezTo>
                    <a:pt x="970" y="1581"/>
                    <a:pt x="977" y="1658"/>
                    <a:pt x="998" y="1672"/>
                  </a:cubicBezTo>
                  <a:cubicBezTo>
                    <a:pt x="1001" y="1674"/>
                    <a:pt x="1006" y="1676"/>
                    <a:pt x="1014" y="1676"/>
                  </a:cubicBezTo>
                  <a:cubicBezTo>
                    <a:pt x="1026" y="1676"/>
                    <a:pt x="1046" y="1672"/>
                    <a:pt x="1071" y="1661"/>
                  </a:cubicBezTo>
                  <a:cubicBezTo>
                    <a:pt x="1098" y="1650"/>
                    <a:pt x="1132" y="1638"/>
                    <a:pt x="1166" y="1638"/>
                  </a:cubicBezTo>
                  <a:cubicBezTo>
                    <a:pt x="1187" y="1638"/>
                    <a:pt x="1207" y="1642"/>
                    <a:pt x="1225" y="1654"/>
                  </a:cubicBezTo>
                  <a:cubicBezTo>
                    <a:pt x="1274" y="1686"/>
                    <a:pt x="1278" y="1749"/>
                    <a:pt x="1281" y="1794"/>
                  </a:cubicBezTo>
                  <a:cubicBezTo>
                    <a:pt x="1278" y="1812"/>
                    <a:pt x="1281" y="1829"/>
                    <a:pt x="1285" y="1847"/>
                  </a:cubicBezTo>
                  <a:cubicBezTo>
                    <a:pt x="1351" y="1875"/>
                    <a:pt x="1386" y="1948"/>
                    <a:pt x="1372" y="2018"/>
                  </a:cubicBezTo>
                  <a:cubicBezTo>
                    <a:pt x="1358" y="2106"/>
                    <a:pt x="1271" y="2211"/>
                    <a:pt x="1075" y="2221"/>
                  </a:cubicBezTo>
                  <a:cubicBezTo>
                    <a:pt x="900" y="2232"/>
                    <a:pt x="844" y="2256"/>
                    <a:pt x="826" y="2267"/>
                  </a:cubicBezTo>
                  <a:cubicBezTo>
                    <a:pt x="830" y="2274"/>
                    <a:pt x="837" y="2281"/>
                    <a:pt x="844" y="2288"/>
                  </a:cubicBezTo>
                  <a:cubicBezTo>
                    <a:pt x="880" y="2325"/>
                    <a:pt x="935" y="2339"/>
                    <a:pt x="1003" y="2339"/>
                  </a:cubicBezTo>
                  <a:cubicBezTo>
                    <a:pt x="1107" y="2339"/>
                    <a:pt x="1239" y="2306"/>
                    <a:pt x="1369" y="2274"/>
                  </a:cubicBezTo>
                  <a:lnTo>
                    <a:pt x="1477" y="2246"/>
                  </a:lnTo>
                  <a:cubicBezTo>
                    <a:pt x="1505" y="2239"/>
                    <a:pt x="1537" y="2235"/>
                    <a:pt x="1565" y="2235"/>
                  </a:cubicBezTo>
                  <a:cubicBezTo>
                    <a:pt x="1754" y="2235"/>
                    <a:pt x="1971" y="2358"/>
                    <a:pt x="2181" y="2477"/>
                  </a:cubicBezTo>
                  <a:cubicBezTo>
                    <a:pt x="2286" y="2540"/>
                    <a:pt x="2398" y="2596"/>
                    <a:pt x="2510" y="2645"/>
                  </a:cubicBezTo>
                  <a:cubicBezTo>
                    <a:pt x="2579" y="2672"/>
                    <a:pt x="2662" y="2684"/>
                    <a:pt x="2748" y="2684"/>
                  </a:cubicBezTo>
                  <a:cubicBezTo>
                    <a:pt x="2903" y="2684"/>
                    <a:pt x="3071" y="2646"/>
                    <a:pt x="3196" y="2592"/>
                  </a:cubicBezTo>
                  <a:cubicBezTo>
                    <a:pt x="3308" y="2543"/>
                    <a:pt x="3361" y="2494"/>
                    <a:pt x="3371" y="2463"/>
                  </a:cubicBezTo>
                  <a:cubicBezTo>
                    <a:pt x="3420" y="2333"/>
                    <a:pt x="3599" y="2309"/>
                    <a:pt x="3774" y="2284"/>
                  </a:cubicBezTo>
                  <a:cubicBezTo>
                    <a:pt x="3890" y="2267"/>
                    <a:pt x="4009" y="2253"/>
                    <a:pt x="4075" y="2207"/>
                  </a:cubicBezTo>
                  <a:cubicBezTo>
                    <a:pt x="4275" y="2071"/>
                    <a:pt x="4520" y="1931"/>
                    <a:pt x="4842" y="1913"/>
                  </a:cubicBezTo>
                  <a:lnTo>
                    <a:pt x="4849" y="1917"/>
                  </a:lnTo>
                  <a:cubicBezTo>
                    <a:pt x="4999" y="1910"/>
                    <a:pt x="5055" y="1808"/>
                    <a:pt x="5111" y="1714"/>
                  </a:cubicBezTo>
                  <a:cubicBezTo>
                    <a:pt x="5150" y="1646"/>
                    <a:pt x="5192" y="1569"/>
                    <a:pt x="5273" y="1569"/>
                  </a:cubicBezTo>
                  <a:cubicBezTo>
                    <a:pt x="5280" y="1569"/>
                    <a:pt x="5286" y="1569"/>
                    <a:pt x="5293" y="1570"/>
                  </a:cubicBezTo>
                  <a:cubicBezTo>
                    <a:pt x="5295" y="1570"/>
                    <a:pt x="5296" y="1570"/>
                    <a:pt x="5297" y="1570"/>
                  </a:cubicBezTo>
                  <a:cubicBezTo>
                    <a:pt x="5373" y="1570"/>
                    <a:pt x="5558" y="1378"/>
                    <a:pt x="5647" y="1199"/>
                  </a:cubicBezTo>
                  <a:cubicBezTo>
                    <a:pt x="5675" y="1147"/>
                    <a:pt x="5661" y="1055"/>
                    <a:pt x="5612" y="975"/>
                  </a:cubicBezTo>
                  <a:cubicBezTo>
                    <a:pt x="5563" y="894"/>
                    <a:pt x="5489" y="845"/>
                    <a:pt x="5423" y="845"/>
                  </a:cubicBezTo>
                  <a:cubicBezTo>
                    <a:pt x="5297" y="845"/>
                    <a:pt x="5174" y="786"/>
                    <a:pt x="5097" y="684"/>
                  </a:cubicBezTo>
                  <a:cubicBezTo>
                    <a:pt x="5055" y="628"/>
                    <a:pt x="5041" y="555"/>
                    <a:pt x="5062" y="488"/>
                  </a:cubicBezTo>
                  <a:cubicBezTo>
                    <a:pt x="5076" y="450"/>
                    <a:pt x="5045" y="387"/>
                    <a:pt x="5013" y="331"/>
                  </a:cubicBezTo>
                  <a:cubicBezTo>
                    <a:pt x="4989" y="289"/>
                    <a:pt x="4971" y="243"/>
                    <a:pt x="4964" y="198"/>
                  </a:cubicBezTo>
                  <a:cubicBezTo>
                    <a:pt x="4877" y="208"/>
                    <a:pt x="4789" y="226"/>
                    <a:pt x="4709" y="250"/>
                  </a:cubicBezTo>
                  <a:lnTo>
                    <a:pt x="4670" y="257"/>
                  </a:lnTo>
                  <a:cubicBezTo>
                    <a:pt x="4659" y="260"/>
                    <a:pt x="4647" y="262"/>
                    <a:pt x="4636" y="262"/>
                  </a:cubicBezTo>
                  <a:cubicBezTo>
                    <a:pt x="4553" y="262"/>
                    <a:pt x="4461" y="191"/>
                    <a:pt x="4366" y="121"/>
                  </a:cubicBezTo>
                  <a:cubicBezTo>
                    <a:pt x="4314" y="79"/>
                    <a:pt x="4208" y="0"/>
                    <a:pt x="41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4" name="Google Shape;6901;p64">
              <a:extLst>
                <a:ext uri="{FF2B5EF4-FFF2-40B4-BE49-F238E27FC236}">
                  <a16:creationId xmlns:a16="http://schemas.microsoft.com/office/drawing/2014/main" id="{9FE5A3B3-3A85-D854-4CA2-0C1024D8EF0A}"/>
                </a:ext>
              </a:extLst>
            </p:cNvPr>
            <p:cNvSpPr/>
            <p:nvPr/>
          </p:nvSpPr>
          <p:spPr>
            <a:xfrm>
              <a:off x="1971712" y="1589955"/>
              <a:ext cx="30821" cy="28486"/>
            </a:xfrm>
            <a:custGeom>
              <a:avLst/>
              <a:gdLst/>
              <a:ahLst/>
              <a:cxnLst/>
              <a:rect l="l" t="t" r="r" b="b"/>
              <a:pathLst>
                <a:path w="2270" h="2098" extrusionOk="0">
                  <a:moveTo>
                    <a:pt x="1160" y="1"/>
                  </a:moveTo>
                  <a:cubicBezTo>
                    <a:pt x="1111" y="29"/>
                    <a:pt x="1058" y="50"/>
                    <a:pt x="1002" y="60"/>
                  </a:cubicBezTo>
                  <a:cubicBezTo>
                    <a:pt x="918" y="78"/>
                    <a:pt x="838" y="109"/>
                    <a:pt x="764" y="155"/>
                  </a:cubicBezTo>
                  <a:cubicBezTo>
                    <a:pt x="706" y="197"/>
                    <a:pt x="646" y="210"/>
                    <a:pt x="588" y="210"/>
                  </a:cubicBezTo>
                  <a:cubicBezTo>
                    <a:pt x="525" y="210"/>
                    <a:pt x="464" y="194"/>
                    <a:pt x="407" y="179"/>
                  </a:cubicBezTo>
                  <a:cubicBezTo>
                    <a:pt x="353" y="164"/>
                    <a:pt x="303" y="150"/>
                    <a:pt x="256" y="150"/>
                  </a:cubicBezTo>
                  <a:cubicBezTo>
                    <a:pt x="227" y="150"/>
                    <a:pt x="199" y="155"/>
                    <a:pt x="172" y="169"/>
                  </a:cubicBezTo>
                  <a:lnTo>
                    <a:pt x="158" y="176"/>
                  </a:lnTo>
                  <a:cubicBezTo>
                    <a:pt x="172" y="193"/>
                    <a:pt x="186" y="211"/>
                    <a:pt x="200" y="225"/>
                  </a:cubicBezTo>
                  <a:cubicBezTo>
                    <a:pt x="260" y="291"/>
                    <a:pt x="369" y="414"/>
                    <a:pt x="260" y="561"/>
                  </a:cubicBezTo>
                  <a:cubicBezTo>
                    <a:pt x="218" y="624"/>
                    <a:pt x="218" y="645"/>
                    <a:pt x="218" y="652"/>
                  </a:cubicBezTo>
                  <a:cubicBezTo>
                    <a:pt x="221" y="669"/>
                    <a:pt x="274" y="704"/>
                    <a:pt x="323" y="736"/>
                  </a:cubicBezTo>
                  <a:cubicBezTo>
                    <a:pt x="383" y="774"/>
                    <a:pt x="442" y="816"/>
                    <a:pt x="498" y="858"/>
                  </a:cubicBezTo>
                  <a:cubicBezTo>
                    <a:pt x="568" y="914"/>
                    <a:pt x="603" y="967"/>
                    <a:pt x="603" y="1026"/>
                  </a:cubicBezTo>
                  <a:cubicBezTo>
                    <a:pt x="607" y="1107"/>
                    <a:pt x="544" y="1159"/>
                    <a:pt x="488" y="1212"/>
                  </a:cubicBezTo>
                  <a:cubicBezTo>
                    <a:pt x="428" y="1264"/>
                    <a:pt x="379" y="1310"/>
                    <a:pt x="379" y="1373"/>
                  </a:cubicBezTo>
                  <a:cubicBezTo>
                    <a:pt x="379" y="1541"/>
                    <a:pt x="242" y="1608"/>
                    <a:pt x="144" y="1657"/>
                  </a:cubicBezTo>
                  <a:cubicBezTo>
                    <a:pt x="81" y="1688"/>
                    <a:pt x="25" y="1716"/>
                    <a:pt x="8" y="1755"/>
                  </a:cubicBezTo>
                  <a:cubicBezTo>
                    <a:pt x="1" y="1769"/>
                    <a:pt x="4" y="1800"/>
                    <a:pt x="36" y="1846"/>
                  </a:cubicBezTo>
                  <a:cubicBezTo>
                    <a:pt x="116" y="1968"/>
                    <a:pt x="316" y="2098"/>
                    <a:pt x="491" y="2098"/>
                  </a:cubicBezTo>
                  <a:cubicBezTo>
                    <a:pt x="673" y="2098"/>
                    <a:pt x="1128" y="1975"/>
                    <a:pt x="1391" y="1727"/>
                  </a:cubicBezTo>
                  <a:cubicBezTo>
                    <a:pt x="1512" y="1615"/>
                    <a:pt x="1615" y="1587"/>
                    <a:pt x="1706" y="1587"/>
                  </a:cubicBezTo>
                  <a:cubicBezTo>
                    <a:pt x="1752" y="1587"/>
                    <a:pt x="1795" y="1594"/>
                    <a:pt x="1835" y="1601"/>
                  </a:cubicBezTo>
                  <a:cubicBezTo>
                    <a:pt x="1874" y="1607"/>
                    <a:pt x="1909" y="1613"/>
                    <a:pt x="1944" y="1613"/>
                  </a:cubicBezTo>
                  <a:cubicBezTo>
                    <a:pt x="1987" y="1613"/>
                    <a:pt x="2029" y="1604"/>
                    <a:pt x="2077" y="1580"/>
                  </a:cubicBezTo>
                  <a:cubicBezTo>
                    <a:pt x="2269" y="1482"/>
                    <a:pt x="2147" y="596"/>
                    <a:pt x="2049" y="400"/>
                  </a:cubicBezTo>
                  <a:cubicBezTo>
                    <a:pt x="2035" y="372"/>
                    <a:pt x="2028" y="344"/>
                    <a:pt x="2028" y="312"/>
                  </a:cubicBezTo>
                  <a:lnTo>
                    <a:pt x="2014" y="302"/>
                  </a:lnTo>
                  <a:lnTo>
                    <a:pt x="1993" y="284"/>
                  </a:lnTo>
                  <a:lnTo>
                    <a:pt x="1961" y="260"/>
                  </a:lnTo>
                  <a:lnTo>
                    <a:pt x="1944" y="242"/>
                  </a:lnTo>
                  <a:lnTo>
                    <a:pt x="1916" y="218"/>
                  </a:lnTo>
                  <a:lnTo>
                    <a:pt x="1902" y="204"/>
                  </a:lnTo>
                  <a:cubicBezTo>
                    <a:pt x="1891" y="190"/>
                    <a:pt x="1877" y="176"/>
                    <a:pt x="1867" y="162"/>
                  </a:cubicBezTo>
                  <a:cubicBezTo>
                    <a:pt x="1805" y="93"/>
                    <a:pt x="1761" y="70"/>
                    <a:pt x="1739" y="70"/>
                  </a:cubicBezTo>
                  <a:cubicBezTo>
                    <a:pt x="1737" y="70"/>
                    <a:pt x="1735" y="70"/>
                    <a:pt x="1734" y="71"/>
                  </a:cubicBezTo>
                  <a:cubicBezTo>
                    <a:pt x="1713" y="78"/>
                    <a:pt x="1678" y="134"/>
                    <a:pt x="1664" y="228"/>
                  </a:cubicBezTo>
                  <a:cubicBezTo>
                    <a:pt x="1657" y="270"/>
                    <a:pt x="1632" y="309"/>
                    <a:pt x="1597" y="326"/>
                  </a:cubicBezTo>
                  <a:cubicBezTo>
                    <a:pt x="1580" y="334"/>
                    <a:pt x="1563" y="337"/>
                    <a:pt x="1546" y="337"/>
                  </a:cubicBezTo>
                  <a:cubicBezTo>
                    <a:pt x="1490" y="337"/>
                    <a:pt x="1430" y="304"/>
                    <a:pt x="1366" y="267"/>
                  </a:cubicBezTo>
                  <a:cubicBezTo>
                    <a:pt x="1328" y="242"/>
                    <a:pt x="1286" y="225"/>
                    <a:pt x="1244" y="211"/>
                  </a:cubicBezTo>
                  <a:cubicBezTo>
                    <a:pt x="1195" y="204"/>
                    <a:pt x="1156" y="165"/>
                    <a:pt x="1149" y="120"/>
                  </a:cubicBezTo>
                  <a:cubicBezTo>
                    <a:pt x="1146" y="113"/>
                    <a:pt x="1146" y="102"/>
                    <a:pt x="1146" y="95"/>
                  </a:cubicBezTo>
                  <a:lnTo>
                    <a:pt x="1146" y="85"/>
                  </a:lnTo>
                  <a:cubicBezTo>
                    <a:pt x="1146" y="81"/>
                    <a:pt x="1146" y="74"/>
                    <a:pt x="1146" y="67"/>
                  </a:cubicBezTo>
                  <a:lnTo>
                    <a:pt x="1146" y="57"/>
                  </a:lnTo>
                  <a:cubicBezTo>
                    <a:pt x="1146" y="53"/>
                    <a:pt x="1149" y="43"/>
                    <a:pt x="1149" y="36"/>
                  </a:cubicBezTo>
                  <a:lnTo>
                    <a:pt x="1153" y="29"/>
                  </a:lnTo>
                  <a:cubicBezTo>
                    <a:pt x="1156" y="18"/>
                    <a:pt x="1156" y="11"/>
                    <a:pt x="1160" y="4"/>
                  </a:cubicBezTo>
                  <a:lnTo>
                    <a:pt x="116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5" name="Google Shape;6902;p64">
              <a:extLst>
                <a:ext uri="{FF2B5EF4-FFF2-40B4-BE49-F238E27FC236}">
                  <a16:creationId xmlns:a16="http://schemas.microsoft.com/office/drawing/2014/main" id="{4ADFCDD9-8DC7-C2EE-A362-243157BC6091}"/>
                </a:ext>
              </a:extLst>
            </p:cNvPr>
            <p:cNvSpPr/>
            <p:nvPr/>
          </p:nvSpPr>
          <p:spPr>
            <a:xfrm>
              <a:off x="1984936" y="1583342"/>
              <a:ext cx="6422" cy="5010"/>
            </a:xfrm>
            <a:custGeom>
              <a:avLst/>
              <a:gdLst/>
              <a:ahLst/>
              <a:cxnLst/>
              <a:rect l="l" t="t" r="r" b="b"/>
              <a:pathLst>
                <a:path w="473" h="369" extrusionOk="0">
                  <a:moveTo>
                    <a:pt x="180" y="0"/>
                  </a:moveTo>
                  <a:cubicBezTo>
                    <a:pt x="134" y="0"/>
                    <a:pt x="86" y="11"/>
                    <a:pt x="46" y="36"/>
                  </a:cubicBezTo>
                  <a:cubicBezTo>
                    <a:pt x="18" y="50"/>
                    <a:pt x="4" y="78"/>
                    <a:pt x="4" y="106"/>
                  </a:cubicBezTo>
                  <a:cubicBezTo>
                    <a:pt x="0" y="166"/>
                    <a:pt x="28" y="180"/>
                    <a:pt x="105" y="208"/>
                  </a:cubicBezTo>
                  <a:cubicBezTo>
                    <a:pt x="165" y="229"/>
                    <a:pt x="256" y="260"/>
                    <a:pt x="263" y="358"/>
                  </a:cubicBezTo>
                  <a:lnTo>
                    <a:pt x="263" y="369"/>
                  </a:lnTo>
                  <a:cubicBezTo>
                    <a:pt x="273" y="358"/>
                    <a:pt x="280" y="348"/>
                    <a:pt x="291" y="337"/>
                  </a:cubicBezTo>
                  <a:cubicBezTo>
                    <a:pt x="298" y="327"/>
                    <a:pt x="305" y="316"/>
                    <a:pt x="315" y="309"/>
                  </a:cubicBezTo>
                  <a:lnTo>
                    <a:pt x="319" y="306"/>
                  </a:lnTo>
                  <a:cubicBezTo>
                    <a:pt x="326" y="295"/>
                    <a:pt x="333" y="288"/>
                    <a:pt x="340" y="281"/>
                  </a:cubicBezTo>
                  <a:lnTo>
                    <a:pt x="347" y="278"/>
                  </a:lnTo>
                  <a:cubicBezTo>
                    <a:pt x="354" y="271"/>
                    <a:pt x="361" y="267"/>
                    <a:pt x="364" y="260"/>
                  </a:cubicBezTo>
                  <a:cubicBezTo>
                    <a:pt x="371" y="257"/>
                    <a:pt x="375" y="253"/>
                    <a:pt x="378" y="250"/>
                  </a:cubicBezTo>
                  <a:lnTo>
                    <a:pt x="385" y="243"/>
                  </a:lnTo>
                  <a:lnTo>
                    <a:pt x="392" y="232"/>
                  </a:lnTo>
                  <a:lnTo>
                    <a:pt x="399" y="225"/>
                  </a:lnTo>
                  <a:lnTo>
                    <a:pt x="410" y="208"/>
                  </a:lnTo>
                  <a:lnTo>
                    <a:pt x="413" y="201"/>
                  </a:lnTo>
                  <a:lnTo>
                    <a:pt x="424" y="180"/>
                  </a:lnTo>
                  <a:lnTo>
                    <a:pt x="431" y="169"/>
                  </a:lnTo>
                  <a:cubicBezTo>
                    <a:pt x="434" y="159"/>
                    <a:pt x="438" y="152"/>
                    <a:pt x="441" y="141"/>
                  </a:cubicBezTo>
                  <a:lnTo>
                    <a:pt x="445" y="134"/>
                  </a:lnTo>
                  <a:cubicBezTo>
                    <a:pt x="452" y="124"/>
                    <a:pt x="455" y="110"/>
                    <a:pt x="459" y="96"/>
                  </a:cubicBezTo>
                  <a:lnTo>
                    <a:pt x="462" y="85"/>
                  </a:lnTo>
                  <a:cubicBezTo>
                    <a:pt x="466" y="75"/>
                    <a:pt x="469" y="68"/>
                    <a:pt x="473" y="57"/>
                  </a:cubicBezTo>
                  <a:lnTo>
                    <a:pt x="462" y="54"/>
                  </a:lnTo>
                  <a:cubicBezTo>
                    <a:pt x="378" y="19"/>
                    <a:pt x="291" y="1"/>
                    <a:pt x="200" y="1"/>
                  </a:cubicBezTo>
                  <a:cubicBezTo>
                    <a:pt x="193" y="1"/>
                    <a:pt x="187" y="0"/>
                    <a:pt x="1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6" name="Google Shape;6903;p64">
              <a:extLst>
                <a:ext uri="{FF2B5EF4-FFF2-40B4-BE49-F238E27FC236}">
                  <a16:creationId xmlns:a16="http://schemas.microsoft.com/office/drawing/2014/main" id="{BFB7797B-BD47-484B-8FD1-457A41B9F62B}"/>
                </a:ext>
              </a:extLst>
            </p:cNvPr>
            <p:cNvSpPr/>
            <p:nvPr/>
          </p:nvSpPr>
          <p:spPr>
            <a:xfrm>
              <a:off x="1999193" y="1543044"/>
              <a:ext cx="61805" cy="90508"/>
            </a:xfrm>
            <a:custGeom>
              <a:avLst/>
              <a:gdLst/>
              <a:ahLst/>
              <a:cxnLst/>
              <a:rect l="l" t="t" r="r" b="b"/>
              <a:pathLst>
                <a:path w="4552" h="6666" extrusionOk="0">
                  <a:moveTo>
                    <a:pt x="1810" y="0"/>
                  </a:moveTo>
                  <a:cubicBezTo>
                    <a:pt x="1796" y="21"/>
                    <a:pt x="1782" y="46"/>
                    <a:pt x="1772" y="70"/>
                  </a:cubicBezTo>
                  <a:cubicBezTo>
                    <a:pt x="1744" y="130"/>
                    <a:pt x="1709" y="182"/>
                    <a:pt x="1660" y="228"/>
                  </a:cubicBezTo>
                  <a:cubicBezTo>
                    <a:pt x="1602" y="272"/>
                    <a:pt x="1519" y="294"/>
                    <a:pt x="1398" y="294"/>
                  </a:cubicBezTo>
                  <a:cubicBezTo>
                    <a:pt x="1298" y="294"/>
                    <a:pt x="1172" y="279"/>
                    <a:pt x="1016" y="249"/>
                  </a:cubicBezTo>
                  <a:cubicBezTo>
                    <a:pt x="1005" y="246"/>
                    <a:pt x="993" y="245"/>
                    <a:pt x="982" y="245"/>
                  </a:cubicBezTo>
                  <a:cubicBezTo>
                    <a:pt x="947" y="245"/>
                    <a:pt x="913" y="257"/>
                    <a:pt x="886" y="284"/>
                  </a:cubicBezTo>
                  <a:cubicBezTo>
                    <a:pt x="795" y="361"/>
                    <a:pt x="750" y="546"/>
                    <a:pt x="753" y="641"/>
                  </a:cubicBezTo>
                  <a:cubicBezTo>
                    <a:pt x="760" y="750"/>
                    <a:pt x="669" y="823"/>
                    <a:pt x="599" y="886"/>
                  </a:cubicBezTo>
                  <a:cubicBezTo>
                    <a:pt x="554" y="921"/>
                    <a:pt x="501" y="970"/>
                    <a:pt x="508" y="991"/>
                  </a:cubicBezTo>
                  <a:cubicBezTo>
                    <a:pt x="547" y="1079"/>
                    <a:pt x="522" y="1177"/>
                    <a:pt x="449" y="1236"/>
                  </a:cubicBezTo>
                  <a:cubicBezTo>
                    <a:pt x="424" y="1253"/>
                    <a:pt x="396" y="1261"/>
                    <a:pt x="368" y="1261"/>
                  </a:cubicBezTo>
                  <a:cubicBezTo>
                    <a:pt x="331" y="1261"/>
                    <a:pt x="294" y="1247"/>
                    <a:pt x="266" y="1219"/>
                  </a:cubicBezTo>
                  <a:cubicBezTo>
                    <a:pt x="245" y="1198"/>
                    <a:pt x="228" y="1180"/>
                    <a:pt x="210" y="1159"/>
                  </a:cubicBezTo>
                  <a:cubicBezTo>
                    <a:pt x="156" y="1098"/>
                    <a:pt x="122" y="1068"/>
                    <a:pt x="86" y="1068"/>
                  </a:cubicBezTo>
                  <a:cubicBezTo>
                    <a:pt x="65" y="1068"/>
                    <a:pt x="44" y="1079"/>
                    <a:pt x="18" y="1100"/>
                  </a:cubicBezTo>
                  <a:cubicBezTo>
                    <a:pt x="0" y="1117"/>
                    <a:pt x="4" y="1124"/>
                    <a:pt x="4" y="1128"/>
                  </a:cubicBezTo>
                  <a:cubicBezTo>
                    <a:pt x="21" y="1187"/>
                    <a:pt x="214" y="1289"/>
                    <a:pt x="382" y="1310"/>
                  </a:cubicBezTo>
                  <a:cubicBezTo>
                    <a:pt x="410" y="1313"/>
                    <a:pt x="480" y="1320"/>
                    <a:pt x="501" y="1380"/>
                  </a:cubicBezTo>
                  <a:cubicBezTo>
                    <a:pt x="522" y="1439"/>
                    <a:pt x="470" y="1495"/>
                    <a:pt x="403" y="1558"/>
                  </a:cubicBezTo>
                  <a:cubicBezTo>
                    <a:pt x="337" y="1621"/>
                    <a:pt x="252" y="1702"/>
                    <a:pt x="238" y="1789"/>
                  </a:cubicBezTo>
                  <a:cubicBezTo>
                    <a:pt x="228" y="1849"/>
                    <a:pt x="238" y="1863"/>
                    <a:pt x="340" y="1894"/>
                  </a:cubicBezTo>
                  <a:cubicBezTo>
                    <a:pt x="417" y="1915"/>
                    <a:pt x="515" y="1947"/>
                    <a:pt x="529" y="2062"/>
                  </a:cubicBezTo>
                  <a:cubicBezTo>
                    <a:pt x="533" y="2122"/>
                    <a:pt x="505" y="2178"/>
                    <a:pt x="459" y="2209"/>
                  </a:cubicBezTo>
                  <a:lnTo>
                    <a:pt x="463" y="2213"/>
                  </a:lnTo>
                  <a:cubicBezTo>
                    <a:pt x="512" y="2241"/>
                    <a:pt x="512" y="2300"/>
                    <a:pt x="512" y="2370"/>
                  </a:cubicBezTo>
                  <a:cubicBezTo>
                    <a:pt x="512" y="2423"/>
                    <a:pt x="512" y="2507"/>
                    <a:pt x="543" y="2531"/>
                  </a:cubicBezTo>
                  <a:cubicBezTo>
                    <a:pt x="557" y="2538"/>
                    <a:pt x="573" y="2542"/>
                    <a:pt x="590" y="2542"/>
                  </a:cubicBezTo>
                  <a:cubicBezTo>
                    <a:pt x="599" y="2542"/>
                    <a:pt x="608" y="2541"/>
                    <a:pt x="617" y="2538"/>
                  </a:cubicBezTo>
                  <a:cubicBezTo>
                    <a:pt x="743" y="2517"/>
                    <a:pt x="774" y="2412"/>
                    <a:pt x="806" y="2279"/>
                  </a:cubicBezTo>
                  <a:cubicBezTo>
                    <a:pt x="825" y="2208"/>
                    <a:pt x="848" y="2109"/>
                    <a:pt x="932" y="2109"/>
                  </a:cubicBezTo>
                  <a:cubicBezTo>
                    <a:pt x="938" y="2109"/>
                    <a:pt x="945" y="2110"/>
                    <a:pt x="953" y="2111"/>
                  </a:cubicBezTo>
                  <a:cubicBezTo>
                    <a:pt x="981" y="2115"/>
                    <a:pt x="1009" y="2129"/>
                    <a:pt x="1026" y="2153"/>
                  </a:cubicBezTo>
                  <a:cubicBezTo>
                    <a:pt x="1058" y="2199"/>
                    <a:pt x="1044" y="2255"/>
                    <a:pt x="1033" y="2314"/>
                  </a:cubicBezTo>
                  <a:cubicBezTo>
                    <a:pt x="1019" y="2381"/>
                    <a:pt x="1005" y="2458"/>
                    <a:pt x="1040" y="2524"/>
                  </a:cubicBezTo>
                  <a:cubicBezTo>
                    <a:pt x="1110" y="2657"/>
                    <a:pt x="1012" y="2815"/>
                    <a:pt x="932" y="2938"/>
                  </a:cubicBezTo>
                  <a:cubicBezTo>
                    <a:pt x="900" y="2983"/>
                    <a:pt x="872" y="3036"/>
                    <a:pt x="851" y="3088"/>
                  </a:cubicBezTo>
                  <a:cubicBezTo>
                    <a:pt x="906" y="3113"/>
                    <a:pt x="964" y="3124"/>
                    <a:pt x="1025" y="3124"/>
                  </a:cubicBezTo>
                  <a:cubicBezTo>
                    <a:pt x="1033" y="3124"/>
                    <a:pt x="1042" y="3124"/>
                    <a:pt x="1051" y="3123"/>
                  </a:cubicBezTo>
                  <a:cubicBezTo>
                    <a:pt x="1215" y="3123"/>
                    <a:pt x="1432" y="3081"/>
                    <a:pt x="1523" y="2987"/>
                  </a:cubicBezTo>
                  <a:cubicBezTo>
                    <a:pt x="1592" y="2915"/>
                    <a:pt x="1655" y="2889"/>
                    <a:pt x="1707" y="2889"/>
                  </a:cubicBezTo>
                  <a:cubicBezTo>
                    <a:pt x="1744" y="2889"/>
                    <a:pt x="1774" y="2903"/>
                    <a:pt x="1796" y="2924"/>
                  </a:cubicBezTo>
                  <a:cubicBezTo>
                    <a:pt x="1870" y="2994"/>
                    <a:pt x="1856" y="3137"/>
                    <a:pt x="1768" y="3239"/>
                  </a:cubicBezTo>
                  <a:cubicBezTo>
                    <a:pt x="1737" y="3274"/>
                    <a:pt x="1702" y="3326"/>
                    <a:pt x="1716" y="3375"/>
                  </a:cubicBezTo>
                  <a:cubicBezTo>
                    <a:pt x="1733" y="3424"/>
                    <a:pt x="1775" y="3459"/>
                    <a:pt x="1828" y="3473"/>
                  </a:cubicBezTo>
                  <a:lnTo>
                    <a:pt x="1838" y="3477"/>
                  </a:lnTo>
                  <a:cubicBezTo>
                    <a:pt x="1947" y="3512"/>
                    <a:pt x="2013" y="3536"/>
                    <a:pt x="2041" y="3603"/>
                  </a:cubicBezTo>
                  <a:cubicBezTo>
                    <a:pt x="2055" y="3659"/>
                    <a:pt x="2045" y="3722"/>
                    <a:pt x="2010" y="3767"/>
                  </a:cubicBezTo>
                  <a:cubicBezTo>
                    <a:pt x="1978" y="3827"/>
                    <a:pt x="1978" y="3928"/>
                    <a:pt x="1982" y="4023"/>
                  </a:cubicBezTo>
                  <a:cubicBezTo>
                    <a:pt x="1989" y="4096"/>
                    <a:pt x="1985" y="4173"/>
                    <a:pt x="1968" y="4250"/>
                  </a:cubicBezTo>
                  <a:cubicBezTo>
                    <a:pt x="1930" y="4366"/>
                    <a:pt x="1726" y="4382"/>
                    <a:pt x="1611" y="4382"/>
                  </a:cubicBezTo>
                  <a:cubicBezTo>
                    <a:pt x="1579" y="4382"/>
                    <a:pt x="1554" y="4381"/>
                    <a:pt x="1541" y="4380"/>
                  </a:cubicBezTo>
                  <a:cubicBezTo>
                    <a:pt x="1338" y="4366"/>
                    <a:pt x="1296" y="4313"/>
                    <a:pt x="1285" y="4282"/>
                  </a:cubicBezTo>
                  <a:cubicBezTo>
                    <a:pt x="1282" y="4281"/>
                    <a:pt x="1279" y="4281"/>
                    <a:pt x="1276" y="4281"/>
                  </a:cubicBezTo>
                  <a:cubicBezTo>
                    <a:pt x="1261" y="4281"/>
                    <a:pt x="1245" y="4288"/>
                    <a:pt x="1236" y="4299"/>
                  </a:cubicBezTo>
                  <a:cubicBezTo>
                    <a:pt x="1233" y="4303"/>
                    <a:pt x="1233" y="4303"/>
                    <a:pt x="1236" y="4313"/>
                  </a:cubicBezTo>
                  <a:cubicBezTo>
                    <a:pt x="1285" y="4415"/>
                    <a:pt x="1205" y="4506"/>
                    <a:pt x="1149" y="4576"/>
                  </a:cubicBezTo>
                  <a:cubicBezTo>
                    <a:pt x="1124" y="4604"/>
                    <a:pt x="1079" y="4656"/>
                    <a:pt x="1082" y="4674"/>
                  </a:cubicBezTo>
                  <a:cubicBezTo>
                    <a:pt x="1114" y="4691"/>
                    <a:pt x="1149" y="4702"/>
                    <a:pt x="1184" y="4712"/>
                  </a:cubicBezTo>
                  <a:cubicBezTo>
                    <a:pt x="1271" y="4740"/>
                    <a:pt x="1397" y="4775"/>
                    <a:pt x="1404" y="4891"/>
                  </a:cubicBezTo>
                  <a:cubicBezTo>
                    <a:pt x="1415" y="5087"/>
                    <a:pt x="1103" y="5248"/>
                    <a:pt x="830" y="5329"/>
                  </a:cubicBezTo>
                  <a:cubicBezTo>
                    <a:pt x="781" y="5343"/>
                    <a:pt x="764" y="5360"/>
                    <a:pt x="760" y="5364"/>
                  </a:cubicBezTo>
                  <a:cubicBezTo>
                    <a:pt x="757" y="5367"/>
                    <a:pt x="781" y="5402"/>
                    <a:pt x="834" y="5427"/>
                  </a:cubicBezTo>
                  <a:cubicBezTo>
                    <a:pt x="866" y="5443"/>
                    <a:pt x="901" y="5451"/>
                    <a:pt x="931" y="5451"/>
                  </a:cubicBezTo>
                  <a:cubicBezTo>
                    <a:pt x="953" y="5451"/>
                    <a:pt x="972" y="5446"/>
                    <a:pt x="984" y="5437"/>
                  </a:cubicBezTo>
                  <a:cubicBezTo>
                    <a:pt x="1031" y="5403"/>
                    <a:pt x="1069" y="5391"/>
                    <a:pt x="1100" y="5391"/>
                  </a:cubicBezTo>
                  <a:cubicBezTo>
                    <a:pt x="1145" y="5391"/>
                    <a:pt x="1178" y="5416"/>
                    <a:pt x="1208" y="5444"/>
                  </a:cubicBezTo>
                  <a:cubicBezTo>
                    <a:pt x="1244" y="5477"/>
                    <a:pt x="1289" y="5497"/>
                    <a:pt x="1334" y="5497"/>
                  </a:cubicBezTo>
                  <a:cubicBezTo>
                    <a:pt x="1338" y="5497"/>
                    <a:pt x="1341" y="5497"/>
                    <a:pt x="1345" y="5497"/>
                  </a:cubicBezTo>
                  <a:cubicBezTo>
                    <a:pt x="1432" y="5500"/>
                    <a:pt x="1516" y="5521"/>
                    <a:pt x="1597" y="5556"/>
                  </a:cubicBezTo>
                  <a:cubicBezTo>
                    <a:pt x="1660" y="5581"/>
                    <a:pt x="1718" y="5603"/>
                    <a:pt x="1783" y="5603"/>
                  </a:cubicBezTo>
                  <a:cubicBezTo>
                    <a:pt x="1818" y="5603"/>
                    <a:pt x="1856" y="5597"/>
                    <a:pt x="1898" y="5581"/>
                  </a:cubicBezTo>
                  <a:cubicBezTo>
                    <a:pt x="1953" y="5560"/>
                    <a:pt x="2012" y="5542"/>
                    <a:pt x="2060" y="5542"/>
                  </a:cubicBezTo>
                  <a:cubicBezTo>
                    <a:pt x="2101" y="5542"/>
                    <a:pt x="2134" y="5554"/>
                    <a:pt x="2153" y="5588"/>
                  </a:cubicBezTo>
                  <a:cubicBezTo>
                    <a:pt x="2188" y="5651"/>
                    <a:pt x="2143" y="5728"/>
                    <a:pt x="2010" y="5833"/>
                  </a:cubicBezTo>
                  <a:cubicBezTo>
                    <a:pt x="1929" y="5894"/>
                    <a:pt x="1837" y="5910"/>
                    <a:pt x="1747" y="5910"/>
                  </a:cubicBezTo>
                  <a:cubicBezTo>
                    <a:pt x="1704" y="5910"/>
                    <a:pt x="1662" y="5906"/>
                    <a:pt x="1621" y="5903"/>
                  </a:cubicBezTo>
                  <a:cubicBezTo>
                    <a:pt x="1583" y="5899"/>
                    <a:pt x="1548" y="5896"/>
                    <a:pt x="1513" y="5896"/>
                  </a:cubicBezTo>
                  <a:cubicBezTo>
                    <a:pt x="1507" y="5895"/>
                    <a:pt x="1502" y="5895"/>
                    <a:pt x="1497" y="5895"/>
                  </a:cubicBezTo>
                  <a:cubicBezTo>
                    <a:pt x="1461" y="5895"/>
                    <a:pt x="1427" y="5905"/>
                    <a:pt x="1394" y="5920"/>
                  </a:cubicBezTo>
                  <a:cubicBezTo>
                    <a:pt x="1212" y="6018"/>
                    <a:pt x="704" y="6543"/>
                    <a:pt x="715" y="6666"/>
                  </a:cubicBezTo>
                  <a:cubicBezTo>
                    <a:pt x="739" y="6648"/>
                    <a:pt x="760" y="6631"/>
                    <a:pt x="781" y="6613"/>
                  </a:cubicBezTo>
                  <a:cubicBezTo>
                    <a:pt x="858" y="6536"/>
                    <a:pt x="946" y="6477"/>
                    <a:pt x="1047" y="6431"/>
                  </a:cubicBezTo>
                  <a:cubicBezTo>
                    <a:pt x="1109" y="6406"/>
                    <a:pt x="1160" y="6396"/>
                    <a:pt x="1204" y="6396"/>
                  </a:cubicBezTo>
                  <a:cubicBezTo>
                    <a:pt x="1293" y="6396"/>
                    <a:pt x="1350" y="6436"/>
                    <a:pt x="1397" y="6466"/>
                  </a:cubicBezTo>
                  <a:cubicBezTo>
                    <a:pt x="1422" y="6487"/>
                    <a:pt x="1450" y="6501"/>
                    <a:pt x="1485" y="6508"/>
                  </a:cubicBezTo>
                  <a:cubicBezTo>
                    <a:pt x="1485" y="6508"/>
                    <a:pt x="1486" y="6509"/>
                    <a:pt x="1486" y="6509"/>
                  </a:cubicBezTo>
                  <a:cubicBezTo>
                    <a:pt x="1504" y="6509"/>
                    <a:pt x="1531" y="6451"/>
                    <a:pt x="1551" y="6414"/>
                  </a:cubicBezTo>
                  <a:cubicBezTo>
                    <a:pt x="1580" y="6351"/>
                    <a:pt x="1622" y="6263"/>
                    <a:pt x="1703" y="6263"/>
                  </a:cubicBezTo>
                  <a:cubicBezTo>
                    <a:pt x="1713" y="6263"/>
                    <a:pt x="1723" y="6264"/>
                    <a:pt x="1733" y="6267"/>
                  </a:cubicBezTo>
                  <a:cubicBezTo>
                    <a:pt x="1768" y="6267"/>
                    <a:pt x="1807" y="6260"/>
                    <a:pt x="1838" y="6246"/>
                  </a:cubicBezTo>
                  <a:cubicBezTo>
                    <a:pt x="1906" y="6217"/>
                    <a:pt x="1978" y="6202"/>
                    <a:pt x="2051" y="6202"/>
                  </a:cubicBezTo>
                  <a:cubicBezTo>
                    <a:pt x="2076" y="6202"/>
                    <a:pt x="2101" y="6204"/>
                    <a:pt x="2125" y="6207"/>
                  </a:cubicBezTo>
                  <a:cubicBezTo>
                    <a:pt x="2152" y="6212"/>
                    <a:pt x="2178" y="6215"/>
                    <a:pt x="2205" y="6215"/>
                  </a:cubicBezTo>
                  <a:cubicBezTo>
                    <a:pt x="2312" y="6215"/>
                    <a:pt x="2419" y="6175"/>
                    <a:pt x="2500" y="6102"/>
                  </a:cubicBezTo>
                  <a:cubicBezTo>
                    <a:pt x="2527" y="6079"/>
                    <a:pt x="2559" y="6070"/>
                    <a:pt x="2593" y="6070"/>
                  </a:cubicBezTo>
                  <a:cubicBezTo>
                    <a:pt x="2663" y="6070"/>
                    <a:pt x="2742" y="6109"/>
                    <a:pt x="2815" y="6144"/>
                  </a:cubicBezTo>
                  <a:cubicBezTo>
                    <a:pt x="2857" y="6169"/>
                    <a:pt x="2899" y="6186"/>
                    <a:pt x="2945" y="6200"/>
                  </a:cubicBezTo>
                  <a:cubicBezTo>
                    <a:pt x="3042" y="6135"/>
                    <a:pt x="3364" y="6077"/>
                    <a:pt x="3553" y="6077"/>
                  </a:cubicBezTo>
                  <a:cubicBezTo>
                    <a:pt x="3568" y="6077"/>
                    <a:pt x="3583" y="6077"/>
                    <a:pt x="3596" y="6078"/>
                  </a:cubicBezTo>
                  <a:cubicBezTo>
                    <a:pt x="3598" y="6078"/>
                    <a:pt x="3601" y="6078"/>
                    <a:pt x="3604" y="6078"/>
                  </a:cubicBezTo>
                  <a:cubicBezTo>
                    <a:pt x="3762" y="6078"/>
                    <a:pt x="4193" y="5887"/>
                    <a:pt x="4310" y="5780"/>
                  </a:cubicBezTo>
                  <a:cubicBezTo>
                    <a:pt x="4278" y="5775"/>
                    <a:pt x="4248" y="5772"/>
                    <a:pt x="4218" y="5772"/>
                  </a:cubicBezTo>
                  <a:cubicBezTo>
                    <a:pt x="4187" y="5772"/>
                    <a:pt x="4158" y="5775"/>
                    <a:pt x="4128" y="5780"/>
                  </a:cubicBezTo>
                  <a:cubicBezTo>
                    <a:pt x="4115" y="5782"/>
                    <a:pt x="4102" y="5783"/>
                    <a:pt x="4091" y="5783"/>
                  </a:cubicBezTo>
                  <a:cubicBezTo>
                    <a:pt x="4006" y="5783"/>
                    <a:pt x="3972" y="5732"/>
                    <a:pt x="3960" y="5710"/>
                  </a:cubicBezTo>
                  <a:cubicBezTo>
                    <a:pt x="3918" y="5619"/>
                    <a:pt x="3977" y="5472"/>
                    <a:pt x="4114" y="5343"/>
                  </a:cubicBezTo>
                  <a:cubicBezTo>
                    <a:pt x="4163" y="5297"/>
                    <a:pt x="4215" y="5255"/>
                    <a:pt x="4268" y="5217"/>
                  </a:cubicBezTo>
                  <a:cubicBezTo>
                    <a:pt x="4404" y="5108"/>
                    <a:pt x="4534" y="5010"/>
                    <a:pt x="4545" y="4863"/>
                  </a:cubicBezTo>
                  <a:cubicBezTo>
                    <a:pt x="4552" y="4786"/>
                    <a:pt x="4461" y="4712"/>
                    <a:pt x="4376" y="4667"/>
                  </a:cubicBezTo>
                  <a:cubicBezTo>
                    <a:pt x="4283" y="4620"/>
                    <a:pt x="4194" y="4603"/>
                    <a:pt x="4141" y="4603"/>
                  </a:cubicBezTo>
                  <a:cubicBezTo>
                    <a:pt x="4119" y="4603"/>
                    <a:pt x="4104" y="4606"/>
                    <a:pt x="4096" y="4611"/>
                  </a:cubicBezTo>
                  <a:cubicBezTo>
                    <a:pt x="4072" y="4681"/>
                    <a:pt x="4012" y="4730"/>
                    <a:pt x="3939" y="4737"/>
                  </a:cubicBezTo>
                  <a:cubicBezTo>
                    <a:pt x="3936" y="4737"/>
                    <a:pt x="3934" y="4737"/>
                    <a:pt x="3931" y="4737"/>
                  </a:cubicBezTo>
                  <a:cubicBezTo>
                    <a:pt x="3853" y="4737"/>
                    <a:pt x="3776" y="4685"/>
                    <a:pt x="3715" y="4586"/>
                  </a:cubicBezTo>
                  <a:cubicBezTo>
                    <a:pt x="3648" y="4478"/>
                    <a:pt x="3687" y="4373"/>
                    <a:pt x="3711" y="4313"/>
                  </a:cubicBezTo>
                  <a:lnTo>
                    <a:pt x="3715" y="4306"/>
                  </a:lnTo>
                  <a:cubicBezTo>
                    <a:pt x="3659" y="4271"/>
                    <a:pt x="3610" y="4226"/>
                    <a:pt x="3582" y="4170"/>
                  </a:cubicBezTo>
                  <a:cubicBezTo>
                    <a:pt x="3561" y="4138"/>
                    <a:pt x="3494" y="4019"/>
                    <a:pt x="3522" y="3935"/>
                  </a:cubicBezTo>
                  <a:cubicBezTo>
                    <a:pt x="3529" y="3869"/>
                    <a:pt x="3382" y="3410"/>
                    <a:pt x="3158" y="3354"/>
                  </a:cubicBezTo>
                  <a:cubicBezTo>
                    <a:pt x="2875" y="3288"/>
                    <a:pt x="2808" y="2952"/>
                    <a:pt x="2763" y="2727"/>
                  </a:cubicBezTo>
                  <a:cubicBezTo>
                    <a:pt x="2756" y="2696"/>
                    <a:pt x="2752" y="2668"/>
                    <a:pt x="2745" y="2640"/>
                  </a:cubicBezTo>
                  <a:cubicBezTo>
                    <a:pt x="2728" y="2563"/>
                    <a:pt x="2696" y="2552"/>
                    <a:pt x="2623" y="2535"/>
                  </a:cubicBezTo>
                  <a:cubicBezTo>
                    <a:pt x="2532" y="2514"/>
                    <a:pt x="2451" y="2465"/>
                    <a:pt x="2392" y="2391"/>
                  </a:cubicBezTo>
                  <a:cubicBezTo>
                    <a:pt x="2341" y="2325"/>
                    <a:pt x="2275" y="2305"/>
                    <a:pt x="2197" y="2305"/>
                  </a:cubicBezTo>
                  <a:cubicBezTo>
                    <a:pt x="2151" y="2305"/>
                    <a:pt x="2100" y="2312"/>
                    <a:pt x="2045" y="2321"/>
                  </a:cubicBezTo>
                  <a:cubicBezTo>
                    <a:pt x="2013" y="2328"/>
                    <a:pt x="1982" y="2332"/>
                    <a:pt x="1954" y="2335"/>
                  </a:cubicBezTo>
                  <a:cubicBezTo>
                    <a:pt x="1949" y="2336"/>
                    <a:pt x="1944" y="2336"/>
                    <a:pt x="1939" y="2336"/>
                  </a:cubicBezTo>
                  <a:cubicBezTo>
                    <a:pt x="1896" y="2336"/>
                    <a:pt x="1858" y="2309"/>
                    <a:pt x="1842" y="2265"/>
                  </a:cubicBezTo>
                  <a:cubicBezTo>
                    <a:pt x="1803" y="2157"/>
                    <a:pt x="1954" y="1964"/>
                    <a:pt x="2108" y="1859"/>
                  </a:cubicBezTo>
                  <a:cubicBezTo>
                    <a:pt x="2272" y="1751"/>
                    <a:pt x="2486" y="1131"/>
                    <a:pt x="2500" y="974"/>
                  </a:cubicBezTo>
                  <a:cubicBezTo>
                    <a:pt x="2446" y="936"/>
                    <a:pt x="2246" y="917"/>
                    <a:pt x="2043" y="917"/>
                  </a:cubicBezTo>
                  <a:cubicBezTo>
                    <a:pt x="1850" y="917"/>
                    <a:pt x="1655" y="934"/>
                    <a:pt x="1583" y="970"/>
                  </a:cubicBezTo>
                  <a:cubicBezTo>
                    <a:pt x="1550" y="987"/>
                    <a:pt x="1513" y="995"/>
                    <a:pt x="1477" y="995"/>
                  </a:cubicBezTo>
                  <a:cubicBezTo>
                    <a:pt x="1429" y="995"/>
                    <a:pt x="1381" y="980"/>
                    <a:pt x="1341" y="953"/>
                  </a:cubicBezTo>
                  <a:cubicBezTo>
                    <a:pt x="1282" y="918"/>
                    <a:pt x="1250" y="855"/>
                    <a:pt x="1254" y="785"/>
                  </a:cubicBezTo>
                  <a:cubicBezTo>
                    <a:pt x="1261" y="732"/>
                    <a:pt x="1296" y="690"/>
                    <a:pt x="1345" y="672"/>
                  </a:cubicBezTo>
                  <a:cubicBezTo>
                    <a:pt x="1481" y="616"/>
                    <a:pt x="1723" y="357"/>
                    <a:pt x="1716" y="291"/>
                  </a:cubicBezTo>
                  <a:cubicBezTo>
                    <a:pt x="1705" y="217"/>
                    <a:pt x="1751" y="154"/>
                    <a:pt x="1789" y="105"/>
                  </a:cubicBezTo>
                  <a:cubicBezTo>
                    <a:pt x="1845" y="28"/>
                    <a:pt x="1838" y="21"/>
                    <a:pt x="1821" y="7"/>
                  </a:cubicBezTo>
                  <a:lnTo>
                    <a:pt x="181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7" name="Google Shape;6904;p64">
              <a:extLst>
                <a:ext uri="{FF2B5EF4-FFF2-40B4-BE49-F238E27FC236}">
                  <a16:creationId xmlns:a16="http://schemas.microsoft.com/office/drawing/2014/main" id="{6E1637E4-BFAC-EAA8-E598-8D7807FC375B}"/>
                </a:ext>
              </a:extLst>
            </p:cNvPr>
            <p:cNvSpPr/>
            <p:nvPr/>
          </p:nvSpPr>
          <p:spPr>
            <a:xfrm>
              <a:off x="1996287" y="1548177"/>
              <a:ext cx="3965" cy="4861"/>
            </a:xfrm>
            <a:custGeom>
              <a:avLst/>
              <a:gdLst/>
              <a:ahLst/>
              <a:cxnLst/>
              <a:rect l="l" t="t" r="r" b="b"/>
              <a:pathLst>
                <a:path w="292" h="358" extrusionOk="0">
                  <a:moveTo>
                    <a:pt x="288" y="0"/>
                  </a:moveTo>
                  <a:lnTo>
                    <a:pt x="288" y="0"/>
                  </a:lnTo>
                  <a:cubicBezTo>
                    <a:pt x="214" y="28"/>
                    <a:pt x="39" y="252"/>
                    <a:pt x="1" y="358"/>
                  </a:cubicBezTo>
                  <a:cubicBezTo>
                    <a:pt x="109" y="329"/>
                    <a:pt x="228" y="196"/>
                    <a:pt x="274" y="84"/>
                  </a:cubicBezTo>
                  <a:cubicBezTo>
                    <a:pt x="284" y="56"/>
                    <a:pt x="291" y="28"/>
                    <a:pt x="28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8" name="Google Shape;6905;p64">
              <a:extLst>
                <a:ext uri="{FF2B5EF4-FFF2-40B4-BE49-F238E27FC236}">
                  <a16:creationId xmlns:a16="http://schemas.microsoft.com/office/drawing/2014/main" id="{47597AA2-01A4-F321-4CE7-ACFED79A962C}"/>
                </a:ext>
              </a:extLst>
            </p:cNvPr>
            <p:cNvSpPr/>
            <p:nvPr/>
          </p:nvSpPr>
          <p:spPr>
            <a:xfrm>
              <a:off x="1989118" y="1581876"/>
              <a:ext cx="16646" cy="10848"/>
            </a:xfrm>
            <a:custGeom>
              <a:avLst/>
              <a:gdLst/>
              <a:ahLst/>
              <a:cxnLst/>
              <a:rect l="l" t="t" r="r" b="b"/>
              <a:pathLst>
                <a:path w="1226" h="799" extrusionOk="0">
                  <a:moveTo>
                    <a:pt x="773" y="1"/>
                  </a:moveTo>
                  <a:cubicBezTo>
                    <a:pt x="708" y="1"/>
                    <a:pt x="632" y="36"/>
                    <a:pt x="536" y="85"/>
                  </a:cubicBezTo>
                  <a:cubicBezTo>
                    <a:pt x="462" y="123"/>
                    <a:pt x="382" y="155"/>
                    <a:pt x="301" y="172"/>
                  </a:cubicBezTo>
                  <a:lnTo>
                    <a:pt x="301" y="176"/>
                  </a:lnTo>
                  <a:cubicBezTo>
                    <a:pt x="298" y="186"/>
                    <a:pt x="294" y="197"/>
                    <a:pt x="291" y="211"/>
                  </a:cubicBezTo>
                  <a:cubicBezTo>
                    <a:pt x="287" y="225"/>
                    <a:pt x="280" y="235"/>
                    <a:pt x="277" y="249"/>
                  </a:cubicBezTo>
                  <a:lnTo>
                    <a:pt x="277" y="256"/>
                  </a:lnTo>
                  <a:cubicBezTo>
                    <a:pt x="270" y="267"/>
                    <a:pt x="266" y="281"/>
                    <a:pt x="263" y="291"/>
                  </a:cubicBezTo>
                  <a:lnTo>
                    <a:pt x="259" y="298"/>
                  </a:lnTo>
                  <a:cubicBezTo>
                    <a:pt x="252" y="312"/>
                    <a:pt x="249" y="323"/>
                    <a:pt x="242" y="337"/>
                  </a:cubicBezTo>
                  <a:lnTo>
                    <a:pt x="242" y="340"/>
                  </a:lnTo>
                  <a:cubicBezTo>
                    <a:pt x="235" y="351"/>
                    <a:pt x="231" y="365"/>
                    <a:pt x="224" y="375"/>
                  </a:cubicBezTo>
                  <a:lnTo>
                    <a:pt x="221" y="379"/>
                  </a:lnTo>
                  <a:cubicBezTo>
                    <a:pt x="214" y="389"/>
                    <a:pt x="207" y="400"/>
                    <a:pt x="200" y="410"/>
                  </a:cubicBezTo>
                  <a:lnTo>
                    <a:pt x="196" y="417"/>
                  </a:lnTo>
                  <a:cubicBezTo>
                    <a:pt x="189" y="428"/>
                    <a:pt x="179" y="435"/>
                    <a:pt x="172" y="445"/>
                  </a:cubicBezTo>
                  <a:lnTo>
                    <a:pt x="168" y="449"/>
                  </a:lnTo>
                  <a:cubicBezTo>
                    <a:pt x="158" y="459"/>
                    <a:pt x="151" y="466"/>
                    <a:pt x="140" y="473"/>
                  </a:cubicBezTo>
                  <a:cubicBezTo>
                    <a:pt x="74" y="526"/>
                    <a:pt x="28" y="596"/>
                    <a:pt x="0" y="676"/>
                  </a:cubicBezTo>
                  <a:cubicBezTo>
                    <a:pt x="53" y="694"/>
                    <a:pt x="105" y="715"/>
                    <a:pt x="154" y="746"/>
                  </a:cubicBezTo>
                  <a:cubicBezTo>
                    <a:pt x="186" y="767"/>
                    <a:pt x="221" y="785"/>
                    <a:pt x="256" y="799"/>
                  </a:cubicBezTo>
                  <a:cubicBezTo>
                    <a:pt x="270" y="711"/>
                    <a:pt x="312" y="568"/>
                    <a:pt x="424" y="536"/>
                  </a:cubicBezTo>
                  <a:cubicBezTo>
                    <a:pt x="438" y="533"/>
                    <a:pt x="452" y="531"/>
                    <a:pt x="466" y="531"/>
                  </a:cubicBezTo>
                  <a:cubicBezTo>
                    <a:pt x="536" y="531"/>
                    <a:pt x="608" y="576"/>
                    <a:pt x="686" y="669"/>
                  </a:cubicBezTo>
                  <a:cubicBezTo>
                    <a:pt x="697" y="680"/>
                    <a:pt x="707" y="690"/>
                    <a:pt x="718" y="704"/>
                  </a:cubicBezTo>
                  <a:lnTo>
                    <a:pt x="725" y="711"/>
                  </a:lnTo>
                  <a:lnTo>
                    <a:pt x="753" y="739"/>
                  </a:lnTo>
                  <a:lnTo>
                    <a:pt x="763" y="746"/>
                  </a:lnTo>
                  <a:cubicBezTo>
                    <a:pt x="777" y="760"/>
                    <a:pt x="788" y="771"/>
                    <a:pt x="805" y="781"/>
                  </a:cubicBezTo>
                  <a:cubicBezTo>
                    <a:pt x="858" y="739"/>
                    <a:pt x="914" y="708"/>
                    <a:pt x="980" y="687"/>
                  </a:cubicBezTo>
                  <a:cubicBezTo>
                    <a:pt x="1058" y="662"/>
                    <a:pt x="1128" y="620"/>
                    <a:pt x="1191" y="571"/>
                  </a:cubicBezTo>
                  <a:cubicBezTo>
                    <a:pt x="1215" y="550"/>
                    <a:pt x="1226" y="522"/>
                    <a:pt x="1226" y="494"/>
                  </a:cubicBezTo>
                  <a:cubicBezTo>
                    <a:pt x="1226" y="375"/>
                    <a:pt x="1036" y="193"/>
                    <a:pt x="886" y="50"/>
                  </a:cubicBezTo>
                  <a:cubicBezTo>
                    <a:pt x="852" y="15"/>
                    <a:pt x="815" y="1"/>
                    <a:pt x="77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9" name="Google Shape;6906;p64">
              <a:extLst>
                <a:ext uri="{FF2B5EF4-FFF2-40B4-BE49-F238E27FC236}">
                  <a16:creationId xmlns:a16="http://schemas.microsoft.com/office/drawing/2014/main" id="{459B6E8C-BB26-BA29-9F07-0EDB3072041E}"/>
                </a:ext>
              </a:extLst>
            </p:cNvPr>
            <p:cNvSpPr/>
            <p:nvPr/>
          </p:nvSpPr>
          <p:spPr>
            <a:xfrm>
              <a:off x="2038310" y="1522800"/>
              <a:ext cx="2009" cy="5621"/>
            </a:xfrm>
            <a:custGeom>
              <a:avLst/>
              <a:gdLst/>
              <a:ahLst/>
              <a:cxnLst/>
              <a:rect l="l" t="t" r="r" b="b"/>
              <a:pathLst>
                <a:path w="148" h="414" extrusionOk="0">
                  <a:moveTo>
                    <a:pt x="114" y="1"/>
                  </a:moveTo>
                  <a:cubicBezTo>
                    <a:pt x="113" y="1"/>
                    <a:pt x="111" y="2"/>
                    <a:pt x="109" y="3"/>
                  </a:cubicBezTo>
                  <a:cubicBezTo>
                    <a:pt x="81" y="10"/>
                    <a:pt x="60" y="45"/>
                    <a:pt x="50" y="73"/>
                  </a:cubicBezTo>
                  <a:cubicBezTo>
                    <a:pt x="11" y="182"/>
                    <a:pt x="1" y="298"/>
                    <a:pt x="18" y="413"/>
                  </a:cubicBezTo>
                  <a:cubicBezTo>
                    <a:pt x="95" y="270"/>
                    <a:pt x="148" y="45"/>
                    <a:pt x="120" y="3"/>
                  </a:cubicBezTo>
                  <a:cubicBezTo>
                    <a:pt x="118" y="2"/>
                    <a:pt x="116" y="1"/>
                    <a:pt x="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0" name="Google Shape;6907;p64">
              <a:extLst>
                <a:ext uri="{FF2B5EF4-FFF2-40B4-BE49-F238E27FC236}">
                  <a16:creationId xmlns:a16="http://schemas.microsoft.com/office/drawing/2014/main" id="{C7E0B50B-4D57-D033-98EC-C7560F4CB29C}"/>
                </a:ext>
              </a:extLst>
            </p:cNvPr>
            <p:cNvSpPr/>
            <p:nvPr/>
          </p:nvSpPr>
          <p:spPr>
            <a:xfrm>
              <a:off x="1993015" y="1584252"/>
              <a:ext cx="149" cy="543"/>
            </a:xfrm>
            <a:custGeom>
              <a:avLst/>
              <a:gdLst/>
              <a:ahLst/>
              <a:cxnLst/>
              <a:rect l="l" t="t" r="r" b="b"/>
              <a:pathLst>
                <a:path w="11" h="40" extrusionOk="0">
                  <a:moveTo>
                    <a:pt x="11" y="1"/>
                  </a:moveTo>
                  <a:cubicBezTo>
                    <a:pt x="7" y="11"/>
                    <a:pt x="4" y="25"/>
                    <a:pt x="0" y="39"/>
                  </a:cubicBezTo>
                  <a:cubicBezTo>
                    <a:pt x="7" y="25"/>
                    <a:pt x="11" y="11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1" name="Google Shape;6908;p64">
              <a:extLst>
                <a:ext uri="{FF2B5EF4-FFF2-40B4-BE49-F238E27FC236}">
                  <a16:creationId xmlns:a16="http://schemas.microsoft.com/office/drawing/2014/main" id="{5226770E-4AE3-6969-0408-8155663EBF4B}"/>
                </a:ext>
              </a:extLst>
            </p:cNvPr>
            <p:cNvSpPr/>
            <p:nvPr/>
          </p:nvSpPr>
          <p:spPr>
            <a:xfrm>
              <a:off x="1992105" y="158653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6"/>
                  </a:moveTo>
                  <a:cubicBezTo>
                    <a:pt x="8" y="22"/>
                    <a:pt x="11" y="11"/>
                    <a:pt x="18" y="1"/>
                  </a:cubicBezTo>
                  <a:cubicBezTo>
                    <a:pt x="11" y="11"/>
                    <a:pt x="8" y="22"/>
                    <a:pt x="1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2" name="Google Shape;6909;p64">
              <a:extLst>
                <a:ext uri="{FF2B5EF4-FFF2-40B4-BE49-F238E27FC236}">
                  <a16:creationId xmlns:a16="http://schemas.microsoft.com/office/drawing/2014/main" id="{FC2D144B-45FE-BE40-A5A9-28E2803C0830}"/>
                </a:ext>
              </a:extLst>
            </p:cNvPr>
            <p:cNvSpPr/>
            <p:nvPr/>
          </p:nvSpPr>
          <p:spPr>
            <a:xfrm>
              <a:off x="1992866" y="1584782"/>
              <a:ext cx="163" cy="489"/>
            </a:xfrm>
            <a:custGeom>
              <a:avLst/>
              <a:gdLst/>
              <a:ahLst/>
              <a:cxnLst/>
              <a:rect l="l" t="t" r="r" b="b"/>
              <a:pathLst>
                <a:path w="12" h="36" extrusionOk="0">
                  <a:moveTo>
                    <a:pt x="11" y="0"/>
                  </a:moveTo>
                  <a:cubicBezTo>
                    <a:pt x="8" y="11"/>
                    <a:pt x="4" y="25"/>
                    <a:pt x="1" y="35"/>
                  </a:cubicBezTo>
                  <a:cubicBezTo>
                    <a:pt x="4" y="25"/>
                    <a:pt x="11" y="1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3" name="Google Shape;6910;p64">
              <a:extLst>
                <a:ext uri="{FF2B5EF4-FFF2-40B4-BE49-F238E27FC236}">
                  <a16:creationId xmlns:a16="http://schemas.microsoft.com/office/drawing/2014/main" id="{5BAC42A6-6072-7341-7C78-761647A22403}"/>
                </a:ext>
              </a:extLst>
            </p:cNvPr>
            <p:cNvSpPr/>
            <p:nvPr/>
          </p:nvSpPr>
          <p:spPr>
            <a:xfrm>
              <a:off x="1991820" y="1587063"/>
              <a:ext cx="299" cy="434"/>
            </a:xfrm>
            <a:custGeom>
              <a:avLst/>
              <a:gdLst/>
              <a:ahLst/>
              <a:cxnLst/>
              <a:rect l="l" t="t" r="r" b="b"/>
              <a:pathLst>
                <a:path w="22" h="32" extrusionOk="0">
                  <a:moveTo>
                    <a:pt x="22" y="0"/>
                  </a:moveTo>
                  <a:cubicBezTo>
                    <a:pt x="11" y="11"/>
                    <a:pt x="4" y="21"/>
                    <a:pt x="1" y="32"/>
                  </a:cubicBezTo>
                  <a:cubicBezTo>
                    <a:pt x="8" y="21"/>
                    <a:pt x="15" y="11"/>
                    <a:pt x="2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4" name="Google Shape;6911;p64">
              <a:extLst>
                <a:ext uri="{FF2B5EF4-FFF2-40B4-BE49-F238E27FC236}">
                  <a16:creationId xmlns:a16="http://schemas.microsoft.com/office/drawing/2014/main" id="{540F960C-04E8-E3BE-802F-80AB5B2A1375}"/>
                </a:ext>
              </a:extLst>
            </p:cNvPr>
            <p:cNvSpPr/>
            <p:nvPr/>
          </p:nvSpPr>
          <p:spPr>
            <a:xfrm>
              <a:off x="1992390" y="1585963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8" y="1"/>
                  </a:moveTo>
                  <a:cubicBezTo>
                    <a:pt x="11" y="11"/>
                    <a:pt x="4" y="25"/>
                    <a:pt x="1" y="36"/>
                  </a:cubicBezTo>
                  <a:cubicBezTo>
                    <a:pt x="8" y="25"/>
                    <a:pt x="11" y="1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5" name="Google Shape;6912;p64">
              <a:extLst>
                <a:ext uri="{FF2B5EF4-FFF2-40B4-BE49-F238E27FC236}">
                  <a16:creationId xmlns:a16="http://schemas.microsoft.com/office/drawing/2014/main" id="{A3A35297-77AE-6C1B-2D44-EECA7A3AF228}"/>
                </a:ext>
              </a:extLst>
            </p:cNvPr>
            <p:cNvSpPr/>
            <p:nvPr/>
          </p:nvSpPr>
          <p:spPr>
            <a:xfrm>
              <a:off x="1992635" y="1585352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39"/>
                  </a:moveTo>
                  <a:cubicBezTo>
                    <a:pt x="7" y="25"/>
                    <a:pt x="11" y="14"/>
                    <a:pt x="14" y="0"/>
                  </a:cubicBezTo>
                  <a:cubicBezTo>
                    <a:pt x="11" y="14"/>
                    <a:pt x="7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6" name="Google Shape;6913;p64">
              <a:extLst>
                <a:ext uri="{FF2B5EF4-FFF2-40B4-BE49-F238E27FC236}">
                  <a16:creationId xmlns:a16="http://schemas.microsoft.com/office/drawing/2014/main" id="{C4D90F6F-D7BA-0856-DF32-7E6437159D71}"/>
                </a:ext>
              </a:extLst>
            </p:cNvPr>
            <p:cNvSpPr/>
            <p:nvPr/>
          </p:nvSpPr>
          <p:spPr>
            <a:xfrm>
              <a:off x="1998432" y="1591000"/>
              <a:ext cx="434" cy="489"/>
            </a:xfrm>
            <a:custGeom>
              <a:avLst/>
              <a:gdLst/>
              <a:ahLst/>
              <a:cxnLst/>
              <a:rect l="l" t="t" r="r" b="b"/>
              <a:pathLst>
                <a:path w="32" h="36" extrusionOk="0">
                  <a:moveTo>
                    <a:pt x="0" y="1"/>
                  </a:moveTo>
                  <a:lnTo>
                    <a:pt x="0" y="1"/>
                  </a:lnTo>
                  <a:cubicBezTo>
                    <a:pt x="11" y="11"/>
                    <a:pt x="18" y="25"/>
                    <a:pt x="32" y="36"/>
                  </a:cubicBezTo>
                  <a:cubicBezTo>
                    <a:pt x="21" y="25"/>
                    <a:pt x="11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7" name="Google Shape;6914;p64">
              <a:extLst>
                <a:ext uri="{FF2B5EF4-FFF2-40B4-BE49-F238E27FC236}">
                  <a16:creationId xmlns:a16="http://schemas.microsoft.com/office/drawing/2014/main" id="{9C273CE9-BF68-9B1F-E004-F1E7C3BAE8D0}"/>
                </a:ext>
              </a:extLst>
            </p:cNvPr>
            <p:cNvSpPr/>
            <p:nvPr/>
          </p:nvSpPr>
          <p:spPr>
            <a:xfrm>
              <a:off x="1999478" y="1592046"/>
              <a:ext cx="530" cy="489"/>
            </a:xfrm>
            <a:custGeom>
              <a:avLst/>
              <a:gdLst/>
              <a:ahLst/>
              <a:cxnLst/>
              <a:rect l="l" t="t" r="r" b="b"/>
              <a:pathLst>
                <a:path w="39" h="36" extrusionOk="0">
                  <a:moveTo>
                    <a:pt x="39" y="36"/>
                  </a:moveTo>
                  <a:lnTo>
                    <a:pt x="39" y="36"/>
                  </a:lnTo>
                  <a:cubicBezTo>
                    <a:pt x="25" y="25"/>
                    <a:pt x="11" y="15"/>
                    <a:pt x="0" y="1"/>
                  </a:cubicBezTo>
                  <a:cubicBezTo>
                    <a:pt x="11" y="15"/>
                    <a:pt x="25" y="25"/>
                    <a:pt x="39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8" name="Google Shape;6915;p64">
              <a:extLst>
                <a:ext uri="{FF2B5EF4-FFF2-40B4-BE49-F238E27FC236}">
                  <a16:creationId xmlns:a16="http://schemas.microsoft.com/office/drawing/2014/main" id="{D4DA04CE-AE61-2C4F-94DA-815CBD97DF27}"/>
                </a:ext>
              </a:extLst>
            </p:cNvPr>
            <p:cNvSpPr/>
            <p:nvPr/>
          </p:nvSpPr>
          <p:spPr>
            <a:xfrm>
              <a:off x="1990965" y="158801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1" y="25"/>
                  </a:moveTo>
                  <a:cubicBezTo>
                    <a:pt x="11" y="18"/>
                    <a:pt x="18" y="7"/>
                    <a:pt x="29" y="0"/>
                  </a:cubicBezTo>
                  <a:cubicBezTo>
                    <a:pt x="18" y="7"/>
                    <a:pt x="11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9" name="Google Shape;6916;p64">
              <a:extLst>
                <a:ext uri="{FF2B5EF4-FFF2-40B4-BE49-F238E27FC236}">
                  <a16:creationId xmlns:a16="http://schemas.microsoft.com/office/drawing/2014/main" id="{0DD290E1-8D55-FA52-DDC5-3524E2630525}"/>
                </a:ext>
              </a:extLst>
            </p:cNvPr>
            <p:cNvSpPr/>
            <p:nvPr/>
          </p:nvSpPr>
          <p:spPr>
            <a:xfrm>
              <a:off x="1998948" y="1591570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9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0" name="Google Shape;6917;p64">
              <a:extLst>
                <a:ext uri="{FF2B5EF4-FFF2-40B4-BE49-F238E27FC236}">
                  <a16:creationId xmlns:a16="http://schemas.microsoft.com/office/drawing/2014/main" id="{16471176-6D96-76DB-EF48-DE3D7095BF33}"/>
                </a:ext>
              </a:extLst>
            </p:cNvPr>
            <p:cNvSpPr/>
            <p:nvPr/>
          </p:nvSpPr>
          <p:spPr>
            <a:xfrm>
              <a:off x="1991399" y="1587579"/>
              <a:ext cx="339" cy="394"/>
            </a:xfrm>
            <a:custGeom>
              <a:avLst/>
              <a:gdLst/>
              <a:ahLst/>
              <a:cxnLst/>
              <a:rect l="l" t="t" r="r" b="b"/>
              <a:pathLst>
                <a:path w="25" h="29" extrusionOk="0">
                  <a:moveTo>
                    <a:pt x="25" y="1"/>
                  </a:moveTo>
                  <a:cubicBezTo>
                    <a:pt x="18" y="11"/>
                    <a:pt x="11" y="18"/>
                    <a:pt x="0" y="29"/>
                  </a:cubicBezTo>
                  <a:cubicBezTo>
                    <a:pt x="11" y="18"/>
                    <a:pt x="18" y="11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1" name="Google Shape;6918;p64">
              <a:extLst>
                <a:ext uri="{FF2B5EF4-FFF2-40B4-BE49-F238E27FC236}">
                  <a16:creationId xmlns:a16="http://schemas.microsoft.com/office/drawing/2014/main" id="{92F5C8E4-E9BA-E2DE-D409-28F988197218}"/>
                </a:ext>
              </a:extLst>
            </p:cNvPr>
            <p:cNvSpPr/>
            <p:nvPr/>
          </p:nvSpPr>
          <p:spPr>
            <a:xfrm>
              <a:off x="2108940" y="1555794"/>
              <a:ext cx="19932" cy="28906"/>
            </a:xfrm>
            <a:custGeom>
              <a:avLst/>
              <a:gdLst/>
              <a:ahLst/>
              <a:cxnLst/>
              <a:rect l="l" t="t" r="r" b="b"/>
              <a:pathLst>
                <a:path w="1468" h="2129" extrusionOk="0">
                  <a:moveTo>
                    <a:pt x="1190" y="0"/>
                  </a:moveTo>
                  <a:cubicBezTo>
                    <a:pt x="1168" y="0"/>
                    <a:pt x="1147" y="5"/>
                    <a:pt x="1128" y="14"/>
                  </a:cubicBezTo>
                  <a:cubicBezTo>
                    <a:pt x="1093" y="28"/>
                    <a:pt x="981" y="73"/>
                    <a:pt x="971" y="189"/>
                  </a:cubicBezTo>
                  <a:cubicBezTo>
                    <a:pt x="946" y="395"/>
                    <a:pt x="775" y="399"/>
                    <a:pt x="684" y="402"/>
                  </a:cubicBezTo>
                  <a:lnTo>
                    <a:pt x="652" y="402"/>
                  </a:lnTo>
                  <a:cubicBezTo>
                    <a:pt x="680" y="444"/>
                    <a:pt x="750" y="549"/>
                    <a:pt x="652" y="644"/>
                  </a:cubicBezTo>
                  <a:cubicBezTo>
                    <a:pt x="624" y="668"/>
                    <a:pt x="589" y="682"/>
                    <a:pt x="554" y="682"/>
                  </a:cubicBezTo>
                  <a:cubicBezTo>
                    <a:pt x="494" y="679"/>
                    <a:pt x="456" y="637"/>
                    <a:pt x="417" y="591"/>
                  </a:cubicBezTo>
                  <a:cubicBezTo>
                    <a:pt x="379" y="549"/>
                    <a:pt x="340" y="504"/>
                    <a:pt x="284" y="500"/>
                  </a:cubicBezTo>
                  <a:cubicBezTo>
                    <a:pt x="282" y="500"/>
                    <a:pt x="279" y="500"/>
                    <a:pt x="276" y="500"/>
                  </a:cubicBezTo>
                  <a:cubicBezTo>
                    <a:pt x="228" y="500"/>
                    <a:pt x="194" y="557"/>
                    <a:pt x="148" y="693"/>
                  </a:cubicBezTo>
                  <a:cubicBezTo>
                    <a:pt x="130" y="752"/>
                    <a:pt x="102" y="812"/>
                    <a:pt x="71" y="868"/>
                  </a:cubicBezTo>
                  <a:cubicBezTo>
                    <a:pt x="1" y="973"/>
                    <a:pt x="46" y="1235"/>
                    <a:pt x="74" y="1407"/>
                  </a:cubicBezTo>
                  <a:lnTo>
                    <a:pt x="81" y="1442"/>
                  </a:lnTo>
                  <a:cubicBezTo>
                    <a:pt x="102" y="1515"/>
                    <a:pt x="137" y="1582"/>
                    <a:pt x="190" y="1638"/>
                  </a:cubicBezTo>
                  <a:cubicBezTo>
                    <a:pt x="256" y="1725"/>
                    <a:pt x="333" y="1830"/>
                    <a:pt x="288" y="1953"/>
                  </a:cubicBezTo>
                  <a:cubicBezTo>
                    <a:pt x="277" y="1992"/>
                    <a:pt x="305" y="2048"/>
                    <a:pt x="347" y="2107"/>
                  </a:cubicBezTo>
                  <a:lnTo>
                    <a:pt x="694" y="2107"/>
                  </a:lnTo>
                  <a:lnTo>
                    <a:pt x="712" y="2111"/>
                  </a:lnTo>
                  <a:lnTo>
                    <a:pt x="726" y="2111"/>
                  </a:lnTo>
                  <a:lnTo>
                    <a:pt x="743" y="2114"/>
                  </a:lnTo>
                  <a:lnTo>
                    <a:pt x="754" y="2114"/>
                  </a:lnTo>
                  <a:lnTo>
                    <a:pt x="771" y="2118"/>
                  </a:lnTo>
                  <a:lnTo>
                    <a:pt x="782" y="2118"/>
                  </a:lnTo>
                  <a:lnTo>
                    <a:pt x="799" y="2121"/>
                  </a:lnTo>
                  <a:lnTo>
                    <a:pt x="806" y="2121"/>
                  </a:lnTo>
                  <a:lnTo>
                    <a:pt x="831" y="2128"/>
                  </a:lnTo>
                  <a:lnTo>
                    <a:pt x="880" y="2128"/>
                  </a:lnTo>
                  <a:lnTo>
                    <a:pt x="852" y="2097"/>
                  </a:lnTo>
                  <a:cubicBezTo>
                    <a:pt x="782" y="2062"/>
                    <a:pt x="715" y="1999"/>
                    <a:pt x="726" y="1915"/>
                  </a:cubicBezTo>
                  <a:cubicBezTo>
                    <a:pt x="729" y="1865"/>
                    <a:pt x="761" y="1823"/>
                    <a:pt x="803" y="1809"/>
                  </a:cubicBezTo>
                  <a:cubicBezTo>
                    <a:pt x="819" y="1803"/>
                    <a:pt x="836" y="1801"/>
                    <a:pt x="853" y="1801"/>
                  </a:cubicBezTo>
                  <a:cubicBezTo>
                    <a:pt x="957" y="1801"/>
                    <a:pt x="1079" y="1896"/>
                    <a:pt x="1118" y="1929"/>
                  </a:cubicBezTo>
                  <a:cubicBezTo>
                    <a:pt x="1170" y="1971"/>
                    <a:pt x="1235" y="1991"/>
                    <a:pt x="1301" y="1991"/>
                  </a:cubicBezTo>
                  <a:cubicBezTo>
                    <a:pt x="1323" y="1991"/>
                    <a:pt x="1345" y="1989"/>
                    <a:pt x="1366" y="1985"/>
                  </a:cubicBezTo>
                  <a:cubicBezTo>
                    <a:pt x="1394" y="1974"/>
                    <a:pt x="1398" y="1964"/>
                    <a:pt x="1398" y="1960"/>
                  </a:cubicBezTo>
                  <a:cubicBezTo>
                    <a:pt x="1405" y="1911"/>
                    <a:pt x="1373" y="1729"/>
                    <a:pt x="1321" y="1690"/>
                  </a:cubicBezTo>
                  <a:cubicBezTo>
                    <a:pt x="1319" y="1687"/>
                    <a:pt x="1316" y="1685"/>
                    <a:pt x="1313" y="1685"/>
                  </a:cubicBezTo>
                  <a:cubicBezTo>
                    <a:pt x="1309" y="1685"/>
                    <a:pt x="1305" y="1687"/>
                    <a:pt x="1300" y="1690"/>
                  </a:cubicBezTo>
                  <a:cubicBezTo>
                    <a:pt x="1228" y="1727"/>
                    <a:pt x="1174" y="1743"/>
                    <a:pt x="1129" y="1743"/>
                  </a:cubicBezTo>
                  <a:cubicBezTo>
                    <a:pt x="1057" y="1743"/>
                    <a:pt x="1011" y="1701"/>
                    <a:pt x="964" y="1634"/>
                  </a:cubicBezTo>
                  <a:cubicBezTo>
                    <a:pt x="904" y="1547"/>
                    <a:pt x="971" y="1456"/>
                    <a:pt x="1030" y="1372"/>
                  </a:cubicBezTo>
                  <a:cubicBezTo>
                    <a:pt x="1062" y="1333"/>
                    <a:pt x="1090" y="1288"/>
                    <a:pt x="1107" y="1239"/>
                  </a:cubicBezTo>
                  <a:cubicBezTo>
                    <a:pt x="1142" y="1134"/>
                    <a:pt x="1254" y="1109"/>
                    <a:pt x="1342" y="1088"/>
                  </a:cubicBezTo>
                  <a:cubicBezTo>
                    <a:pt x="1380" y="1081"/>
                    <a:pt x="1450" y="1064"/>
                    <a:pt x="1457" y="1050"/>
                  </a:cubicBezTo>
                  <a:cubicBezTo>
                    <a:pt x="1457" y="1050"/>
                    <a:pt x="1468" y="990"/>
                    <a:pt x="1230" y="875"/>
                  </a:cubicBezTo>
                  <a:cubicBezTo>
                    <a:pt x="1146" y="833"/>
                    <a:pt x="1125" y="703"/>
                    <a:pt x="1121" y="665"/>
                  </a:cubicBezTo>
                  <a:cubicBezTo>
                    <a:pt x="1118" y="623"/>
                    <a:pt x="1107" y="465"/>
                    <a:pt x="1202" y="385"/>
                  </a:cubicBezTo>
                  <a:cubicBezTo>
                    <a:pt x="1233" y="357"/>
                    <a:pt x="1272" y="259"/>
                    <a:pt x="1279" y="147"/>
                  </a:cubicBezTo>
                  <a:cubicBezTo>
                    <a:pt x="1286" y="101"/>
                    <a:pt x="1275" y="52"/>
                    <a:pt x="1254" y="14"/>
                  </a:cubicBezTo>
                  <a:cubicBezTo>
                    <a:pt x="1233" y="5"/>
                    <a:pt x="1211" y="0"/>
                    <a:pt x="119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2" name="Google Shape;6919;p64">
              <a:extLst>
                <a:ext uri="{FF2B5EF4-FFF2-40B4-BE49-F238E27FC236}">
                  <a16:creationId xmlns:a16="http://schemas.microsoft.com/office/drawing/2014/main" id="{927A81C2-12F0-3766-B843-C14B752918F4}"/>
                </a:ext>
              </a:extLst>
            </p:cNvPr>
            <p:cNvSpPr/>
            <p:nvPr/>
          </p:nvSpPr>
          <p:spPr>
            <a:xfrm>
              <a:off x="2132850" y="1574558"/>
              <a:ext cx="8948" cy="12288"/>
            </a:xfrm>
            <a:custGeom>
              <a:avLst/>
              <a:gdLst/>
              <a:ahLst/>
              <a:cxnLst/>
              <a:rect l="l" t="t" r="r" b="b"/>
              <a:pathLst>
                <a:path w="659" h="905" extrusionOk="0">
                  <a:moveTo>
                    <a:pt x="389" y="0"/>
                  </a:moveTo>
                  <a:cubicBezTo>
                    <a:pt x="382" y="18"/>
                    <a:pt x="368" y="32"/>
                    <a:pt x="354" y="42"/>
                  </a:cubicBezTo>
                  <a:cubicBezTo>
                    <a:pt x="329" y="55"/>
                    <a:pt x="303" y="61"/>
                    <a:pt x="276" y="61"/>
                  </a:cubicBezTo>
                  <a:cubicBezTo>
                    <a:pt x="258" y="61"/>
                    <a:pt x="240" y="58"/>
                    <a:pt x="221" y="53"/>
                  </a:cubicBezTo>
                  <a:cubicBezTo>
                    <a:pt x="200" y="48"/>
                    <a:pt x="180" y="44"/>
                    <a:pt x="160" y="44"/>
                  </a:cubicBezTo>
                  <a:cubicBezTo>
                    <a:pt x="123" y="44"/>
                    <a:pt x="88" y="60"/>
                    <a:pt x="46" y="119"/>
                  </a:cubicBezTo>
                  <a:cubicBezTo>
                    <a:pt x="15" y="158"/>
                    <a:pt x="1" y="210"/>
                    <a:pt x="11" y="263"/>
                  </a:cubicBezTo>
                  <a:cubicBezTo>
                    <a:pt x="36" y="382"/>
                    <a:pt x="179" y="487"/>
                    <a:pt x="239" y="526"/>
                  </a:cubicBezTo>
                  <a:cubicBezTo>
                    <a:pt x="302" y="557"/>
                    <a:pt x="330" y="627"/>
                    <a:pt x="305" y="694"/>
                  </a:cubicBezTo>
                  <a:cubicBezTo>
                    <a:pt x="279" y="759"/>
                    <a:pt x="194" y="799"/>
                    <a:pt x="101" y="799"/>
                  </a:cubicBezTo>
                  <a:cubicBezTo>
                    <a:pt x="84" y="799"/>
                    <a:pt x="67" y="798"/>
                    <a:pt x="50" y="795"/>
                  </a:cubicBezTo>
                  <a:lnTo>
                    <a:pt x="50" y="795"/>
                  </a:lnTo>
                  <a:cubicBezTo>
                    <a:pt x="81" y="855"/>
                    <a:pt x="141" y="893"/>
                    <a:pt x="207" y="904"/>
                  </a:cubicBezTo>
                  <a:cubicBezTo>
                    <a:pt x="212" y="904"/>
                    <a:pt x="217" y="905"/>
                    <a:pt x="222" y="905"/>
                  </a:cubicBezTo>
                  <a:cubicBezTo>
                    <a:pt x="262" y="905"/>
                    <a:pt x="312" y="880"/>
                    <a:pt x="361" y="830"/>
                  </a:cubicBezTo>
                  <a:cubicBezTo>
                    <a:pt x="473" y="722"/>
                    <a:pt x="533" y="568"/>
                    <a:pt x="529" y="533"/>
                  </a:cubicBezTo>
                  <a:cubicBezTo>
                    <a:pt x="515" y="473"/>
                    <a:pt x="543" y="382"/>
                    <a:pt x="599" y="224"/>
                  </a:cubicBezTo>
                  <a:cubicBezTo>
                    <a:pt x="617" y="172"/>
                    <a:pt x="641" y="95"/>
                    <a:pt x="659" y="39"/>
                  </a:cubicBezTo>
                  <a:lnTo>
                    <a:pt x="659" y="39"/>
                  </a:lnTo>
                  <a:cubicBezTo>
                    <a:pt x="634" y="77"/>
                    <a:pt x="592" y="105"/>
                    <a:pt x="547" y="119"/>
                  </a:cubicBezTo>
                  <a:cubicBezTo>
                    <a:pt x="539" y="121"/>
                    <a:pt x="532" y="122"/>
                    <a:pt x="525" y="122"/>
                  </a:cubicBezTo>
                  <a:cubicBezTo>
                    <a:pt x="464" y="122"/>
                    <a:pt x="424" y="60"/>
                    <a:pt x="38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3" name="Google Shape;6920;p64">
              <a:extLst>
                <a:ext uri="{FF2B5EF4-FFF2-40B4-BE49-F238E27FC236}">
                  <a16:creationId xmlns:a16="http://schemas.microsoft.com/office/drawing/2014/main" id="{FB6D79CB-5770-43F1-0E8C-4A4F5FE924AA}"/>
                </a:ext>
              </a:extLst>
            </p:cNvPr>
            <p:cNvSpPr/>
            <p:nvPr/>
          </p:nvSpPr>
          <p:spPr>
            <a:xfrm>
              <a:off x="2116217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4" name="Google Shape;6921;p64">
              <a:extLst>
                <a:ext uri="{FF2B5EF4-FFF2-40B4-BE49-F238E27FC236}">
                  <a16:creationId xmlns:a16="http://schemas.microsoft.com/office/drawing/2014/main" id="{D756CA9E-86F7-3A12-578A-81AA6EB31B3D}"/>
                </a:ext>
              </a:extLst>
            </p:cNvPr>
            <p:cNvSpPr/>
            <p:nvPr/>
          </p:nvSpPr>
          <p:spPr>
            <a:xfrm>
              <a:off x="2117168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5" name="Google Shape;6922;p64">
              <a:extLst>
                <a:ext uri="{FF2B5EF4-FFF2-40B4-BE49-F238E27FC236}">
                  <a16:creationId xmlns:a16="http://schemas.microsoft.com/office/drawing/2014/main" id="{2B98A02B-2FE9-266C-25C2-55BCD4A3F27F}"/>
                </a:ext>
              </a:extLst>
            </p:cNvPr>
            <p:cNvSpPr/>
            <p:nvPr/>
          </p:nvSpPr>
          <p:spPr>
            <a:xfrm>
              <a:off x="2115267" y="1584496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6" name="Google Shape;6923;p64">
              <a:extLst>
                <a:ext uri="{FF2B5EF4-FFF2-40B4-BE49-F238E27FC236}">
                  <a16:creationId xmlns:a16="http://schemas.microsoft.com/office/drawing/2014/main" id="{852BE980-5D24-8934-8F6B-0D36924321D1}"/>
                </a:ext>
              </a:extLst>
            </p:cNvPr>
            <p:cNvSpPr/>
            <p:nvPr/>
          </p:nvSpPr>
          <p:spPr>
            <a:xfrm>
              <a:off x="2115742" y="1584537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7" name="Google Shape;6924;p64">
              <a:extLst>
                <a:ext uri="{FF2B5EF4-FFF2-40B4-BE49-F238E27FC236}">
                  <a16:creationId xmlns:a16="http://schemas.microsoft.com/office/drawing/2014/main" id="{3747D921-EC1C-9411-EF01-35D7417374D2}"/>
                </a:ext>
              </a:extLst>
            </p:cNvPr>
            <p:cNvSpPr/>
            <p:nvPr/>
          </p:nvSpPr>
          <p:spPr>
            <a:xfrm>
              <a:off x="2114357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8" name="Google Shape;6925;p64">
              <a:extLst>
                <a:ext uri="{FF2B5EF4-FFF2-40B4-BE49-F238E27FC236}">
                  <a16:creationId xmlns:a16="http://schemas.microsoft.com/office/drawing/2014/main" id="{768ED220-1C74-2FF2-1222-7F2371F7D1CF}"/>
                </a:ext>
              </a:extLst>
            </p:cNvPr>
            <p:cNvSpPr/>
            <p:nvPr/>
          </p:nvSpPr>
          <p:spPr>
            <a:xfrm>
              <a:off x="2115022" y="15844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9" name="Google Shape;6926;p64">
              <a:extLst>
                <a:ext uri="{FF2B5EF4-FFF2-40B4-BE49-F238E27FC236}">
                  <a16:creationId xmlns:a16="http://schemas.microsoft.com/office/drawing/2014/main" id="{44140526-C048-DCBA-0141-8BE642613C77}"/>
                </a:ext>
              </a:extLst>
            </p:cNvPr>
            <p:cNvSpPr/>
            <p:nvPr/>
          </p:nvSpPr>
          <p:spPr>
            <a:xfrm>
              <a:off x="2117643" y="1584687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0" name="Google Shape;6927;p64">
              <a:extLst>
                <a:ext uri="{FF2B5EF4-FFF2-40B4-BE49-F238E27FC236}">
                  <a16:creationId xmlns:a16="http://schemas.microsoft.com/office/drawing/2014/main" id="{909DEA5F-8488-D39F-BADC-3122CB073ACD}"/>
                </a:ext>
              </a:extLst>
            </p:cNvPr>
            <p:cNvSpPr/>
            <p:nvPr/>
          </p:nvSpPr>
          <p:spPr>
            <a:xfrm>
              <a:off x="2120263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1" name="Google Shape;6928;p64">
              <a:extLst>
                <a:ext uri="{FF2B5EF4-FFF2-40B4-BE49-F238E27FC236}">
                  <a16:creationId xmlns:a16="http://schemas.microsoft.com/office/drawing/2014/main" id="{6C391A2F-1E51-D487-A62D-3C63FEE6A058}"/>
                </a:ext>
              </a:extLst>
            </p:cNvPr>
            <p:cNvSpPr/>
            <p:nvPr/>
          </p:nvSpPr>
          <p:spPr>
            <a:xfrm>
              <a:off x="212087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2" name="Google Shape;6929;p64">
              <a:extLst>
                <a:ext uri="{FF2B5EF4-FFF2-40B4-BE49-F238E27FC236}">
                  <a16:creationId xmlns:a16="http://schemas.microsoft.com/office/drawing/2014/main" id="{88EC3E28-0FDF-2DD3-685D-A33744FAD3B9}"/>
                </a:ext>
              </a:extLst>
            </p:cNvPr>
            <p:cNvSpPr/>
            <p:nvPr/>
          </p:nvSpPr>
          <p:spPr>
            <a:xfrm>
              <a:off x="2120399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3" name="Google Shape;6930;p64">
              <a:extLst>
                <a:ext uri="{FF2B5EF4-FFF2-40B4-BE49-F238E27FC236}">
                  <a16:creationId xmlns:a16="http://schemas.microsoft.com/office/drawing/2014/main" id="{D5F4A73E-50AD-17A2-7C3E-6C6246B58FCF}"/>
                </a:ext>
              </a:extLst>
            </p:cNvPr>
            <p:cNvSpPr/>
            <p:nvPr/>
          </p:nvSpPr>
          <p:spPr>
            <a:xfrm>
              <a:off x="2118118" y="1584727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4" name="Google Shape;6931;p64">
              <a:extLst>
                <a:ext uri="{FF2B5EF4-FFF2-40B4-BE49-F238E27FC236}">
                  <a16:creationId xmlns:a16="http://schemas.microsoft.com/office/drawing/2014/main" id="{1EAD6DDA-81FA-1245-60BB-B418B2CF5550}"/>
                </a:ext>
              </a:extLst>
            </p:cNvPr>
            <p:cNvSpPr/>
            <p:nvPr/>
          </p:nvSpPr>
          <p:spPr>
            <a:xfrm>
              <a:off x="2118553" y="1584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5" name="Google Shape;6932;p64">
              <a:extLst>
                <a:ext uri="{FF2B5EF4-FFF2-40B4-BE49-F238E27FC236}">
                  <a16:creationId xmlns:a16="http://schemas.microsoft.com/office/drawing/2014/main" id="{B07C2593-42D9-825B-FB1F-5F087BEB078F}"/>
                </a:ext>
              </a:extLst>
            </p:cNvPr>
            <p:cNvSpPr/>
            <p:nvPr/>
          </p:nvSpPr>
          <p:spPr>
            <a:xfrm>
              <a:off x="2118973" y="158487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6" name="Google Shape;6933;p64">
              <a:extLst>
                <a:ext uri="{FF2B5EF4-FFF2-40B4-BE49-F238E27FC236}">
                  <a16:creationId xmlns:a16="http://schemas.microsoft.com/office/drawing/2014/main" id="{786DF6FB-5166-FD63-CDF9-2699A34E3482}"/>
                </a:ext>
              </a:extLst>
            </p:cNvPr>
            <p:cNvSpPr/>
            <p:nvPr/>
          </p:nvSpPr>
          <p:spPr>
            <a:xfrm>
              <a:off x="2119408" y="1584917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7" name="Google Shape;6934;p64">
              <a:extLst>
                <a:ext uri="{FF2B5EF4-FFF2-40B4-BE49-F238E27FC236}">
                  <a16:creationId xmlns:a16="http://schemas.microsoft.com/office/drawing/2014/main" id="{9A605B87-45E5-5224-54BA-66576555A1E6}"/>
                </a:ext>
              </a:extLst>
            </p:cNvPr>
            <p:cNvSpPr/>
            <p:nvPr/>
          </p:nvSpPr>
          <p:spPr>
            <a:xfrm>
              <a:off x="2116692" y="158463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8" name="Google Shape;6935;p64">
              <a:extLst>
                <a:ext uri="{FF2B5EF4-FFF2-40B4-BE49-F238E27FC236}">
                  <a16:creationId xmlns:a16="http://schemas.microsoft.com/office/drawing/2014/main" id="{183FFA8E-985A-1C88-18BF-EB4EB64FDB01}"/>
                </a:ext>
              </a:extLst>
            </p:cNvPr>
            <p:cNvSpPr/>
            <p:nvPr/>
          </p:nvSpPr>
          <p:spPr>
            <a:xfrm>
              <a:off x="2119734" y="158501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9" name="Google Shape;6936;p64">
              <a:extLst>
                <a:ext uri="{FF2B5EF4-FFF2-40B4-BE49-F238E27FC236}">
                  <a16:creationId xmlns:a16="http://schemas.microsoft.com/office/drawing/2014/main" id="{047C5826-9C26-7CDA-9EA3-1C250E7FFA51}"/>
                </a:ext>
              </a:extLst>
            </p:cNvPr>
            <p:cNvSpPr/>
            <p:nvPr/>
          </p:nvSpPr>
          <p:spPr>
            <a:xfrm>
              <a:off x="2113936" y="15844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0" name="Google Shape;6937;p64">
              <a:extLst>
                <a:ext uri="{FF2B5EF4-FFF2-40B4-BE49-F238E27FC236}">
                  <a16:creationId xmlns:a16="http://schemas.microsoft.com/office/drawing/2014/main" id="{F00C1D0E-0A6E-D523-FEF5-FC7A32199EA1}"/>
                </a:ext>
              </a:extLst>
            </p:cNvPr>
            <p:cNvSpPr/>
            <p:nvPr/>
          </p:nvSpPr>
          <p:spPr>
            <a:xfrm>
              <a:off x="2120644" y="15851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1" name="Google Shape;6938;p64">
              <a:extLst>
                <a:ext uri="{FF2B5EF4-FFF2-40B4-BE49-F238E27FC236}">
                  <a16:creationId xmlns:a16="http://schemas.microsoft.com/office/drawing/2014/main" id="{32454792-8D2A-1547-AA70-5D83F5DA5619}"/>
                </a:ext>
              </a:extLst>
            </p:cNvPr>
            <p:cNvSpPr/>
            <p:nvPr/>
          </p:nvSpPr>
          <p:spPr>
            <a:xfrm>
              <a:off x="2182285" y="1554259"/>
              <a:ext cx="4766" cy="7617"/>
            </a:xfrm>
            <a:custGeom>
              <a:avLst/>
              <a:gdLst/>
              <a:ahLst/>
              <a:cxnLst/>
              <a:rect l="l" t="t" r="r" b="b"/>
              <a:pathLst>
                <a:path w="351" h="561" extrusionOk="0">
                  <a:moveTo>
                    <a:pt x="330" y="1"/>
                  </a:moveTo>
                  <a:cubicBezTo>
                    <a:pt x="225" y="4"/>
                    <a:pt x="151" y="102"/>
                    <a:pt x="102" y="186"/>
                  </a:cubicBezTo>
                  <a:cubicBezTo>
                    <a:pt x="39" y="298"/>
                    <a:pt x="4" y="428"/>
                    <a:pt x="1" y="561"/>
                  </a:cubicBezTo>
                  <a:cubicBezTo>
                    <a:pt x="134" y="428"/>
                    <a:pt x="246" y="274"/>
                    <a:pt x="326" y="102"/>
                  </a:cubicBezTo>
                  <a:cubicBezTo>
                    <a:pt x="340" y="71"/>
                    <a:pt x="351" y="36"/>
                    <a:pt x="3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2" name="Google Shape;6939;p64">
              <a:extLst>
                <a:ext uri="{FF2B5EF4-FFF2-40B4-BE49-F238E27FC236}">
                  <a16:creationId xmlns:a16="http://schemas.microsoft.com/office/drawing/2014/main" id="{8FFE3212-57DE-F358-D454-E148EFF67C97}"/>
                </a:ext>
              </a:extLst>
            </p:cNvPr>
            <p:cNvSpPr/>
            <p:nvPr/>
          </p:nvSpPr>
          <p:spPr>
            <a:xfrm>
              <a:off x="2133094" y="1420616"/>
              <a:ext cx="90752" cy="158463"/>
            </a:xfrm>
            <a:custGeom>
              <a:avLst/>
              <a:gdLst/>
              <a:ahLst/>
              <a:cxnLst/>
              <a:rect l="l" t="t" r="r" b="b"/>
              <a:pathLst>
                <a:path w="6684" h="11671" extrusionOk="0">
                  <a:moveTo>
                    <a:pt x="4929" y="0"/>
                  </a:moveTo>
                  <a:cubicBezTo>
                    <a:pt x="4914" y="0"/>
                    <a:pt x="4903" y="5"/>
                    <a:pt x="4894" y="10"/>
                  </a:cubicBezTo>
                  <a:cubicBezTo>
                    <a:pt x="4821" y="55"/>
                    <a:pt x="4779" y="234"/>
                    <a:pt x="4779" y="381"/>
                  </a:cubicBezTo>
                  <a:cubicBezTo>
                    <a:pt x="4786" y="475"/>
                    <a:pt x="4737" y="563"/>
                    <a:pt x="4653" y="605"/>
                  </a:cubicBezTo>
                  <a:cubicBezTo>
                    <a:pt x="4620" y="621"/>
                    <a:pt x="4583" y="629"/>
                    <a:pt x="4545" y="629"/>
                  </a:cubicBezTo>
                  <a:cubicBezTo>
                    <a:pt x="4467" y="629"/>
                    <a:pt x="4383" y="596"/>
                    <a:pt x="4310" y="535"/>
                  </a:cubicBezTo>
                  <a:cubicBezTo>
                    <a:pt x="4263" y="495"/>
                    <a:pt x="4211" y="488"/>
                    <a:pt x="4149" y="488"/>
                  </a:cubicBezTo>
                  <a:cubicBezTo>
                    <a:pt x="4128" y="488"/>
                    <a:pt x="4106" y="488"/>
                    <a:pt x="4082" y="489"/>
                  </a:cubicBezTo>
                  <a:cubicBezTo>
                    <a:pt x="4061" y="491"/>
                    <a:pt x="4040" y="492"/>
                    <a:pt x="4019" y="492"/>
                  </a:cubicBezTo>
                  <a:cubicBezTo>
                    <a:pt x="3928" y="492"/>
                    <a:pt x="3838" y="474"/>
                    <a:pt x="3753" y="440"/>
                  </a:cubicBezTo>
                  <a:cubicBezTo>
                    <a:pt x="3726" y="428"/>
                    <a:pt x="3711" y="426"/>
                    <a:pt x="3704" y="426"/>
                  </a:cubicBezTo>
                  <a:cubicBezTo>
                    <a:pt x="3702" y="426"/>
                    <a:pt x="3701" y="426"/>
                    <a:pt x="3701" y="426"/>
                  </a:cubicBezTo>
                  <a:cubicBezTo>
                    <a:pt x="3683" y="447"/>
                    <a:pt x="3697" y="577"/>
                    <a:pt x="3704" y="636"/>
                  </a:cubicBezTo>
                  <a:cubicBezTo>
                    <a:pt x="3711" y="678"/>
                    <a:pt x="3715" y="724"/>
                    <a:pt x="3715" y="766"/>
                  </a:cubicBezTo>
                  <a:cubicBezTo>
                    <a:pt x="3715" y="990"/>
                    <a:pt x="3403" y="990"/>
                    <a:pt x="3235" y="990"/>
                  </a:cubicBezTo>
                  <a:cubicBezTo>
                    <a:pt x="3102" y="990"/>
                    <a:pt x="2885" y="1105"/>
                    <a:pt x="2885" y="1235"/>
                  </a:cubicBezTo>
                  <a:cubicBezTo>
                    <a:pt x="2885" y="1347"/>
                    <a:pt x="2818" y="1427"/>
                    <a:pt x="2766" y="1494"/>
                  </a:cubicBezTo>
                  <a:cubicBezTo>
                    <a:pt x="2731" y="1540"/>
                    <a:pt x="2706" y="1575"/>
                    <a:pt x="2713" y="1585"/>
                  </a:cubicBezTo>
                  <a:cubicBezTo>
                    <a:pt x="2801" y="1701"/>
                    <a:pt x="2752" y="1827"/>
                    <a:pt x="2573" y="1963"/>
                  </a:cubicBezTo>
                  <a:cubicBezTo>
                    <a:pt x="2524" y="1998"/>
                    <a:pt x="2465" y="2103"/>
                    <a:pt x="2416" y="2187"/>
                  </a:cubicBezTo>
                  <a:cubicBezTo>
                    <a:pt x="2381" y="2254"/>
                    <a:pt x="2342" y="2317"/>
                    <a:pt x="2293" y="2373"/>
                  </a:cubicBezTo>
                  <a:cubicBezTo>
                    <a:pt x="2283" y="2383"/>
                    <a:pt x="2283" y="2397"/>
                    <a:pt x="2286" y="2439"/>
                  </a:cubicBezTo>
                  <a:cubicBezTo>
                    <a:pt x="2293" y="2509"/>
                    <a:pt x="2304" y="2611"/>
                    <a:pt x="2178" y="2691"/>
                  </a:cubicBezTo>
                  <a:cubicBezTo>
                    <a:pt x="2099" y="2741"/>
                    <a:pt x="2005" y="2765"/>
                    <a:pt x="1913" y="2765"/>
                  </a:cubicBezTo>
                  <a:cubicBezTo>
                    <a:pt x="1907" y="2765"/>
                    <a:pt x="1900" y="2765"/>
                    <a:pt x="1894" y="2765"/>
                  </a:cubicBezTo>
                  <a:cubicBezTo>
                    <a:pt x="1856" y="2765"/>
                    <a:pt x="1817" y="2768"/>
                    <a:pt x="1782" y="2782"/>
                  </a:cubicBezTo>
                  <a:cubicBezTo>
                    <a:pt x="1779" y="2782"/>
                    <a:pt x="1775" y="2786"/>
                    <a:pt x="1775" y="2789"/>
                  </a:cubicBezTo>
                  <a:cubicBezTo>
                    <a:pt x="1761" y="2807"/>
                    <a:pt x="1754" y="2831"/>
                    <a:pt x="1758" y="2856"/>
                  </a:cubicBezTo>
                  <a:cubicBezTo>
                    <a:pt x="1758" y="2880"/>
                    <a:pt x="1758" y="2905"/>
                    <a:pt x="1761" y="2936"/>
                  </a:cubicBezTo>
                  <a:lnTo>
                    <a:pt x="1765" y="2964"/>
                  </a:lnTo>
                  <a:cubicBezTo>
                    <a:pt x="1775" y="3059"/>
                    <a:pt x="1775" y="3150"/>
                    <a:pt x="1768" y="3244"/>
                  </a:cubicBezTo>
                  <a:cubicBezTo>
                    <a:pt x="1740" y="3482"/>
                    <a:pt x="1569" y="3735"/>
                    <a:pt x="1390" y="3976"/>
                  </a:cubicBezTo>
                  <a:cubicBezTo>
                    <a:pt x="1355" y="4018"/>
                    <a:pt x="1341" y="4060"/>
                    <a:pt x="1348" y="4081"/>
                  </a:cubicBezTo>
                  <a:cubicBezTo>
                    <a:pt x="1359" y="4120"/>
                    <a:pt x="1436" y="4144"/>
                    <a:pt x="1474" y="4155"/>
                  </a:cubicBezTo>
                  <a:lnTo>
                    <a:pt x="1488" y="4158"/>
                  </a:lnTo>
                  <a:cubicBezTo>
                    <a:pt x="1527" y="4172"/>
                    <a:pt x="1558" y="4204"/>
                    <a:pt x="1576" y="4242"/>
                  </a:cubicBezTo>
                  <a:cubicBezTo>
                    <a:pt x="1607" y="4319"/>
                    <a:pt x="1590" y="4438"/>
                    <a:pt x="1527" y="4564"/>
                  </a:cubicBezTo>
                  <a:cubicBezTo>
                    <a:pt x="1481" y="4657"/>
                    <a:pt x="1408" y="4683"/>
                    <a:pt x="1334" y="4683"/>
                  </a:cubicBezTo>
                  <a:cubicBezTo>
                    <a:pt x="1265" y="4683"/>
                    <a:pt x="1196" y="4660"/>
                    <a:pt x="1149" y="4645"/>
                  </a:cubicBezTo>
                  <a:cubicBezTo>
                    <a:pt x="1124" y="4634"/>
                    <a:pt x="1103" y="4627"/>
                    <a:pt x="1086" y="4624"/>
                  </a:cubicBezTo>
                  <a:cubicBezTo>
                    <a:pt x="1081" y="4623"/>
                    <a:pt x="1075" y="4622"/>
                    <a:pt x="1069" y="4622"/>
                  </a:cubicBezTo>
                  <a:cubicBezTo>
                    <a:pt x="981" y="4622"/>
                    <a:pt x="747" y="4735"/>
                    <a:pt x="613" y="4960"/>
                  </a:cubicBezTo>
                  <a:cubicBezTo>
                    <a:pt x="469" y="5198"/>
                    <a:pt x="522" y="5334"/>
                    <a:pt x="564" y="5446"/>
                  </a:cubicBezTo>
                  <a:cubicBezTo>
                    <a:pt x="595" y="5516"/>
                    <a:pt x="574" y="5590"/>
                    <a:pt x="553" y="5660"/>
                  </a:cubicBezTo>
                  <a:cubicBezTo>
                    <a:pt x="525" y="5755"/>
                    <a:pt x="497" y="5853"/>
                    <a:pt x="564" y="5986"/>
                  </a:cubicBezTo>
                  <a:cubicBezTo>
                    <a:pt x="655" y="6168"/>
                    <a:pt x="613" y="6269"/>
                    <a:pt x="574" y="6360"/>
                  </a:cubicBezTo>
                  <a:cubicBezTo>
                    <a:pt x="550" y="6409"/>
                    <a:pt x="539" y="6469"/>
                    <a:pt x="543" y="6525"/>
                  </a:cubicBezTo>
                  <a:cubicBezTo>
                    <a:pt x="553" y="6595"/>
                    <a:pt x="606" y="6626"/>
                    <a:pt x="693" y="6672"/>
                  </a:cubicBezTo>
                  <a:cubicBezTo>
                    <a:pt x="777" y="6717"/>
                    <a:pt x="890" y="6777"/>
                    <a:pt x="907" y="6917"/>
                  </a:cubicBezTo>
                  <a:cubicBezTo>
                    <a:pt x="925" y="7011"/>
                    <a:pt x="900" y="7109"/>
                    <a:pt x="841" y="7183"/>
                  </a:cubicBezTo>
                  <a:cubicBezTo>
                    <a:pt x="788" y="7242"/>
                    <a:pt x="714" y="7274"/>
                    <a:pt x="637" y="7274"/>
                  </a:cubicBezTo>
                  <a:cubicBezTo>
                    <a:pt x="634" y="7295"/>
                    <a:pt x="634" y="7312"/>
                    <a:pt x="637" y="7330"/>
                  </a:cubicBezTo>
                  <a:cubicBezTo>
                    <a:pt x="644" y="7365"/>
                    <a:pt x="662" y="7393"/>
                    <a:pt x="690" y="7410"/>
                  </a:cubicBezTo>
                  <a:cubicBezTo>
                    <a:pt x="848" y="7491"/>
                    <a:pt x="802" y="7904"/>
                    <a:pt x="746" y="8020"/>
                  </a:cubicBezTo>
                  <a:cubicBezTo>
                    <a:pt x="700" y="8104"/>
                    <a:pt x="592" y="8107"/>
                    <a:pt x="494" y="8111"/>
                  </a:cubicBezTo>
                  <a:cubicBezTo>
                    <a:pt x="459" y="8111"/>
                    <a:pt x="424" y="8114"/>
                    <a:pt x="389" y="8118"/>
                  </a:cubicBezTo>
                  <a:cubicBezTo>
                    <a:pt x="403" y="8209"/>
                    <a:pt x="371" y="8317"/>
                    <a:pt x="347" y="8412"/>
                  </a:cubicBezTo>
                  <a:cubicBezTo>
                    <a:pt x="329" y="8461"/>
                    <a:pt x="319" y="8510"/>
                    <a:pt x="312" y="8562"/>
                  </a:cubicBezTo>
                  <a:cubicBezTo>
                    <a:pt x="312" y="8622"/>
                    <a:pt x="305" y="8933"/>
                    <a:pt x="189" y="8989"/>
                  </a:cubicBezTo>
                  <a:cubicBezTo>
                    <a:pt x="176" y="8998"/>
                    <a:pt x="160" y="9002"/>
                    <a:pt x="145" y="9002"/>
                  </a:cubicBezTo>
                  <a:cubicBezTo>
                    <a:pt x="121" y="9002"/>
                    <a:pt x="96" y="8992"/>
                    <a:pt x="77" y="8975"/>
                  </a:cubicBezTo>
                  <a:lnTo>
                    <a:pt x="70" y="8972"/>
                  </a:lnTo>
                  <a:lnTo>
                    <a:pt x="67" y="8972"/>
                  </a:lnTo>
                  <a:lnTo>
                    <a:pt x="60" y="8968"/>
                  </a:lnTo>
                  <a:lnTo>
                    <a:pt x="56" y="8968"/>
                  </a:lnTo>
                  <a:lnTo>
                    <a:pt x="39" y="8965"/>
                  </a:lnTo>
                  <a:lnTo>
                    <a:pt x="11" y="8965"/>
                  </a:lnTo>
                  <a:cubicBezTo>
                    <a:pt x="0" y="9154"/>
                    <a:pt x="84" y="9336"/>
                    <a:pt x="228" y="9455"/>
                  </a:cubicBezTo>
                  <a:cubicBezTo>
                    <a:pt x="343" y="9549"/>
                    <a:pt x="354" y="9668"/>
                    <a:pt x="361" y="9777"/>
                  </a:cubicBezTo>
                  <a:cubicBezTo>
                    <a:pt x="368" y="9865"/>
                    <a:pt x="371" y="9952"/>
                    <a:pt x="434" y="10033"/>
                  </a:cubicBezTo>
                  <a:cubicBezTo>
                    <a:pt x="494" y="10113"/>
                    <a:pt x="536" y="10201"/>
                    <a:pt x="564" y="10295"/>
                  </a:cubicBezTo>
                  <a:cubicBezTo>
                    <a:pt x="585" y="10379"/>
                    <a:pt x="634" y="10456"/>
                    <a:pt x="697" y="10512"/>
                  </a:cubicBezTo>
                  <a:cubicBezTo>
                    <a:pt x="886" y="10673"/>
                    <a:pt x="914" y="10782"/>
                    <a:pt x="827" y="10999"/>
                  </a:cubicBezTo>
                  <a:cubicBezTo>
                    <a:pt x="809" y="11051"/>
                    <a:pt x="812" y="11055"/>
                    <a:pt x="869" y="11083"/>
                  </a:cubicBezTo>
                  <a:cubicBezTo>
                    <a:pt x="911" y="11104"/>
                    <a:pt x="981" y="11135"/>
                    <a:pt x="988" y="11223"/>
                  </a:cubicBezTo>
                  <a:cubicBezTo>
                    <a:pt x="988" y="11275"/>
                    <a:pt x="984" y="11331"/>
                    <a:pt x="981" y="11384"/>
                  </a:cubicBezTo>
                  <a:cubicBezTo>
                    <a:pt x="970" y="11478"/>
                    <a:pt x="960" y="11601"/>
                    <a:pt x="988" y="11657"/>
                  </a:cubicBezTo>
                  <a:cubicBezTo>
                    <a:pt x="993" y="11666"/>
                    <a:pt x="995" y="11671"/>
                    <a:pt x="1009" y="11671"/>
                  </a:cubicBezTo>
                  <a:cubicBezTo>
                    <a:pt x="1023" y="11671"/>
                    <a:pt x="1047" y="11666"/>
                    <a:pt x="1096" y="11653"/>
                  </a:cubicBezTo>
                  <a:cubicBezTo>
                    <a:pt x="1180" y="11632"/>
                    <a:pt x="1268" y="11618"/>
                    <a:pt x="1355" y="11615"/>
                  </a:cubicBezTo>
                  <a:cubicBezTo>
                    <a:pt x="1359" y="11615"/>
                    <a:pt x="1364" y="11615"/>
                    <a:pt x="1368" y="11615"/>
                  </a:cubicBezTo>
                  <a:cubicBezTo>
                    <a:pt x="1406" y="11615"/>
                    <a:pt x="1443" y="11602"/>
                    <a:pt x="1474" y="11580"/>
                  </a:cubicBezTo>
                  <a:cubicBezTo>
                    <a:pt x="1499" y="11555"/>
                    <a:pt x="1495" y="11503"/>
                    <a:pt x="1495" y="11443"/>
                  </a:cubicBezTo>
                  <a:lnTo>
                    <a:pt x="1495" y="11352"/>
                  </a:lnTo>
                  <a:cubicBezTo>
                    <a:pt x="1492" y="11268"/>
                    <a:pt x="1548" y="11195"/>
                    <a:pt x="1632" y="11177"/>
                  </a:cubicBezTo>
                  <a:cubicBezTo>
                    <a:pt x="1663" y="11167"/>
                    <a:pt x="1663" y="11163"/>
                    <a:pt x="1667" y="11156"/>
                  </a:cubicBezTo>
                  <a:cubicBezTo>
                    <a:pt x="1684" y="11111"/>
                    <a:pt x="1723" y="11072"/>
                    <a:pt x="1768" y="11055"/>
                  </a:cubicBezTo>
                  <a:cubicBezTo>
                    <a:pt x="1819" y="11033"/>
                    <a:pt x="1881" y="11023"/>
                    <a:pt x="1948" y="11023"/>
                  </a:cubicBezTo>
                  <a:cubicBezTo>
                    <a:pt x="2033" y="11023"/>
                    <a:pt x="2125" y="11040"/>
                    <a:pt x="2206" y="11076"/>
                  </a:cubicBezTo>
                  <a:cubicBezTo>
                    <a:pt x="2228" y="11088"/>
                    <a:pt x="2252" y="11094"/>
                    <a:pt x="2276" y="11094"/>
                  </a:cubicBezTo>
                  <a:cubicBezTo>
                    <a:pt x="2294" y="11094"/>
                    <a:pt x="2312" y="11090"/>
                    <a:pt x="2328" y="11083"/>
                  </a:cubicBezTo>
                  <a:cubicBezTo>
                    <a:pt x="2377" y="11058"/>
                    <a:pt x="2416" y="10981"/>
                    <a:pt x="2430" y="10876"/>
                  </a:cubicBezTo>
                  <a:cubicBezTo>
                    <a:pt x="2437" y="10845"/>
                    <a:pt x="2451" y="10764"/>
                    <a:pt x="2517" y="10747"/>
                  </a:cubicBezTo>
                  <a:cubicBezTo>
                    <a:pt x="2525" y="10745"/>
                    <a:pt x="2533" y="10744"/>
                    <a:pt x="2540" y="10744"/>
                  </a:cubicBezTo>
                  <a:cubicBezTo>
                    <a:pt x="2599" y="10744"/>
                    <a:pt x="2645" y="10803"/>
                    <a:pt x="2685" y="10862"/>
                  </a:cubicBezTo>
                  <a:lnTo>
                    <a:pt x="2706" y="10887"/>
                  </a:lnTo>
                  <a:cubicBezTo>
                    <a:pt x="2797" y="10747"/>
                    <a:pt x="2874" y="10600"/>
                    <a:pt x="2931" y="10442"/>
                  </a:cubicBezTo>
                  <a:lnTo>
                    <a:pt x="2931" y="10442"/>
                  </a:lnTo>
                  <a:cubicBezTo>
                    <a:pt x="2910" y="10463"/>
                    <a:pt x="2885" y="10491"/>
                    <a:pt x="2853" y="10526"/>
                  </a:cubicBezTo>
                  <a:cubicBezTo>
                    <a:pt x="2829" y="10551"/>
                    <a:pt x="2780" y="10606"/>
                    <a:pt x="2726" y="10606"/>
                  </a:cubicBezTo>
                  <a:cubicBezTo>
                    <a:pt x="2712" y="10606"/>
                    <a:pt x="2697" y="10602"/>
                    <a:pt x="2682" y="10593"/>
                  </a:cubicBezTo>
                  <a:cubicBezTo>
                    <a:pt x="2556" y="10512"/>
                    <a:pt x="2734" y="10078"/>
                    <a:pt x="2738" y="10075"/>
                  </a:cubicBezTo>
                  <a:cubicBezTo>
                    <a:pt x="2780" y="9977"/>
                    <a:pt x="2794" y="9728"/>
                    <a:pt x="2801" y="9549"/>
                  </a:cubicBezTo>
                  <a:cubicBezTo>
                    <a:pt x="2804" y="9469"/>
                    <a:pt x="2811" y="9392"/>
                    <a:pt x="2822" y="9311"/>
                  </a:cubicBezTo>
                  <a:cubicBezTo>
                    <a:pt x="2843" y="9217"/>
                    <a:pt x="2892" y="8989"/>
                    <a:pt x="3179" y="8930"/>
                  </a:cubicBezTo>
                  <a:cubicBezTo>
                    <a:pt x="3340" y="8898"/>
                    <a:pt x="3540" y="8734"/>
                    <a:pt x="3606" y="8615"/>
                  </a:cubicBezTo>
                  <a:cubicBezTo>
                    <a:pt x="3627" y="8580"/>
                    <a:pt x="3627" y="8562"/>
                    <a:pt x="3624" y="8559"/>
                  </a:cubicBezTo>
                  <a:cubicBezTo>
                    <a:pt x="3582" y="8450"/>
                    <a:pt x="3694" y="8345"/>
                    <a:pt x="3806" y="8244"/>
                  </a:cubicBezTo>
                  <a:cubicBezTo>
                    <a:pt x="3855" y="8198"/>
                    <a:pt x="3942" y="8118"/>
                    <a:pt x="3942" y="8090"/>
                  </a:cubicBezTo>
                  <a:cubicBezTo>
                    <a:pt x="3939" y="8009"/>
                    <a:pt x="3603" y="7662"/>
                    <a:pt x="3456" y="7571"/>
                  </a:cubicBezTo>
                  <a:cubicBezTo>
                    <a:pt x="3410" y="7540"/>
                    <a:pt x="3319" y="7536"/>
                    <a:pt x="3249" y="7533"/>
                  </a:cubicBezTo>
                  <a:cubicBezTo>
                    <a:pt x="3158" y="7526"/>
                    <a:pt x="3088" y="7522"/>
                    <a:pt x="3053" y="7473"/>
                  </a:cubicBezTo>
                  <a:cubicBezTo>
                    <a:pt x="3036" y="7449"/>
                    <a:pt x="3032" y="7421"/>
                    <a:pt x="3039" y="7393"/>
                  </a:cubicBezTo>
                  <a:cubicBezTo>
                    <a:pt x="3050" y="7351"/>
                    <a:pt x="3039" y="7172"/>
                    <a:pt x="2973" y="6808"/>
                  </a:cubicBezTo>
                  <a:cubicBezTo>
                    <a:pt x="2952" y="6686"/>
                    <a:pt x="3022" y="6574"/>
                    <a:pt x="3085" y="6469"/>
                  </a:cubicBezTo>
                  <a:cubicBezTo>
                    <a:pt x="3127" y="6399"/>
                    <a:pt x="3176" y="6322"/>
                    <a:pt x="3176" y="6262"/>
                  </a:cubicBezTo>
                  <a:lnTo>
                    <a:pt x="3176" y="6238"/>
                  </a:lnTo>
                  <a:cubicBezTo>
                    <a:pt x="3176" y="6063"/>
                    <a:pt x="3176" y="5849"/>
                    <a:pt x="3365" y="5779"/>
                  </a:cubicBezTo>
                  <a:cubicBezTo>
                    <a:pt x="3407" y="5765"/>
                    <a:pt x="3414" y="5744"/>
                    <a:pt x="3431" y="5702"/>
                  </a:cubicBezTo>
                  <a:cubicBezTo>
                    <a:pt x="3459" y="5611"/>
                    <a:pt x="3536" y="5541"/>
                    <a:pt x="3631" y="5527"/>
                  </a:cubicBezTo>
                  <a:cubicBezTo>
                    <a:pt x="3697" y="5509"/>
                    <a:pt x="3729" y="5453"/>
                    <a:pt x="3771" y="5362"/>
                  </a:cubicBezTo>
                  <a:cubicBezTo>
                    <a:pt x="3813" y="5271"/>
                    <a:pt x="3869" y="5156"/>
                    <a:pt x="4002" y="5100"/>
                  </a:cubicBezTo>
                  <a:cubicBezTo>
                    <a:pt x="4082" y="5068"/>
                    <a:pt x="4156" y="5023"/>
                    <a:pt x="4226" y="4974"/>
                  </a:cubicBezTo>
                  <a:cubicBezTo>
                    <a:pt x="4317" y="4907"/>
                    <a:pt x="4411" y="4851"/>
                    <a:pt x="4516" y="4802"/>
                  </a:cubicBezTo>
                  <a:cubicBezTo>
                    <a:pt x="4814" y="4655"/>
                    <a:pt x="5259" y="4344"/>
                    <a:pt x="5325" y="4200"/>
                  </a:cubicBezTo>
                  <a:cubicBezTo>
                    <a:pt x="5343" y="4165"/>
                    <a:pt x="5315" y="4120"/>
                    <a:pt x="5269" y="4046"/>
                  </a:cubicBezTo>
                  <a:cubicBezTo>
                    <a:pt x="5206" y="3952"/>
                    <a:pt x="5105" y="3791"/>
                    <a:pt x="5287" y="3651"/>
                  </a:cubicBezTo>
                  <a:cubicBezTo>
                    <a:pt x="5388" y="3574"/>
                    <a:pt x="5392" y="3500"/>
                    <a:pt x="5392" y="3419"/>
                  </a:cubicBezTo>
                  <a:cubicBezTo>
                    <a:pt x="5392" y="3339"/>
                    <a:pt x="5395" y="3244"/>
                    <a:pt x="5514" y="3199"/>
                  </a:cubicBezTo>
                  <a:cubicBezTo>
                    <a:pt x="5644" y="3146"/>
                    <a:pt x="5707" y="3080"/>
                    <a:pt x="5801" y="2978"/>
                  </a:cubicBezTo>
                  <a:lnTo>
                    <a:pt x="5843" y="2929"/>
                  </a:lnTo>
                  <a:cubicBezTo>
                    <a:pt x="5904" y="2864"/>
                    <a:pt x="5974" y="2847"/>
                    <a:pt x="6049" y="2847"/>
                  </a:cubicBezTo>
                  <a:cubicBezTo>
                    <a:pt x="6087" y="2847"/>
                    <a:pt x="6126" y="2851"/>
                    <a:pt x="6165" y="2856"/>
                  </a:cubicBezTo>
                  <a:cubicBezTo>
                    <a:pt x="6213" y="2863"/>
                    <a:pt x="6261" y="2866"/>
                    <a:pt x="6309" y="2866"/>
                  </a:cubicBezTo>
                  <a:cubicBezTo>
                    <a:pt x="6358" y="2866"/>
                    <a:pt x="6407" y="2863"/>
                    <a:pt x="6456" y="2856"/>
                  </a:cubicBezTo>
                  <a:cubicBezTo>
                    <a:pt x="6495" y="2848"/>
                    <a:pt x="6536" y="2845"/>
                    <a:pt x="6577" y="2845"/>
                  </a:cubicBezTo>
                  <a:cubicBezTo>
                    <a:pt x="6612" y="2845"/>
                    <a:pt x="6648" y="2847"/>
                    <a:pt x="6683" y="2852"/>
                  </a:cubicBezTo>
                  <a:lnTo>
                    <a:pt x="6683" y="2849"/>
                  </a:lnTo>
                  <a:lnTo>
                    <a:pt x="6683" y="2838"/>
                  </a:lnTo>
                  <a:cubicBezTo>
                    <a:pt x="6683" y="2831"/>
                    <a:pt x="6680" y="2824"/>
                    <a:pt x="6680" y="2814"/>
                  </a:cubicBezTo>
                  <a:lnTo>
                    <a:pt x="6676" y="2803"/>
                  </a:lnTo>
                  <a:lnTo>
                    <a:pt x="6669" y="2786"/>
                  </a:lnTo>
                  <a:lnTo>
                    <a:pt x="6669" y="2775"/>
                  </a:lnTo>
                  <a:cubicBezTo>
                    <a:pt x="6666" y="2768"/>
                    <a:pt x="6662" y="2761"/>
                    <a:pt x="6662" y="2754"/>
                  </a:cubicBezTo>
                  <a:lnTo>
                    <a:pt x="6662" y="2747"/>
                  </a:lnTo>
                  <a:lnTo>
                    <a:pt x="6655" y="2733"/>
                  </a:lnTo>
                  <a:lnTo>
                    <a:pt x="6655" y="2730"/>
                  </a:lnTo>
                  <a:lnTo>
                    <a:pt x="6648" y="2719"/>
                  </a:lnTo>
                  <a:lnTo>
                    <a:pt x="6648" y="2716"/>
                  </a:lnTo>
                  <a:cubicBezTo>
                    <a:pt x="6648" y="2712"/>
                    <a:pt x="6645" y="2712"/>
                    <a:pt x="6645" y="2709"/>
                  </a:cubicBezTo>
                  <a:cubicBezTo>
                    <a:pt x="6645" y="2709"/>
                    <a:pt x="6634" y="2698"/>
                    <a:pt x="6620" y="2684"/>
                  </a:cubicBezTo>
                  <a:lnTo>
                    <a:pt x="6606" y="2667"/>
                  </a:lnTo>
                  <a:lnTo>
                    <a:pt x="6592" y="2653"/>
                  </a:lnTo>
                  <a:lnTo>
                    <a:pt x="6589" y="2649"/>
                  </a:lnTo>
                  <a:lnTo>
                    <a:pt x="6575" y="2632"/>
                  </a:lnTo>
                  <a:lnTo>
                    <a:pt x="6571" y="2628"/>
                  </a:lnTo>
                  <a:lnTo>
                    <a:pt x="6557" y="2607"/>
                  </a:lnTo>
                  <a:lnTo>
                    <a:pt x="6554" y="2600"/>
                  </a:lnTo>
                  <a:lnTo>
                    <a:pt x="6540" y="2583"/>
                  </a:lnTo>
                  <a:lnTo>
                    <a:pt x="6536" y="2576"/>
                  </a:lnTo>
                  <a:lnTo>
                    <a:pt x="6522" y="2558"/>
                  </a:lnTo>
                  <a:lnTo>
                    <a:pt x="6519" y="2548"/>
                  </a:lnTo>
                  <a:lnTo>
                    <a:pt x="6508" y="2530"/>
                  </a:lnTo>
                  <a:lnTo>
                    <a:pt x="6501" y="2520"/>
                  </a:lnTo>
                  <a:lnTo>
                    <a:pt x="6494" y="2506"/>
                  </a:lnTo>
                  <a:cubicBezTo>
                    <a:pt x="6491" y="2499"/>
                    <a:pt x="6491" y="2495"/>
                    <a:pt x="6491" y="2492"/>
                  </a:cubicBezTo>
                  <a:cubicBezTo>
                    <a:pt x="6487" y="2488"/>
                    <a:pt x="6487" y="2481"/>
                    <a:pt x="6484" y="2478"/>
                  </a:cubicBezTo>
                  <a:cubicBezTo>
                    <a:pt x="6484" y="2474"/>
                    <a:pt x="6480" y="2471"/>
                    <a:pt x="6480" y="2464"/>
                  </a:cubicBezTo>
                  <a:cubicBezTo>
                    <a:pt x="6480" y="2460"/>
                    <a:pt x="6477" y="2457"/>
                    <a:pt x="6477" y="2450"/>
                  </a:cubicBezTo>
                  <a:cubicBezTo>
                    <a:pt x="6477" y="2446"/>
                    <a:pt x="6477" y="2443"/>
                    <a:pt x="6477" y="2436"/>
                  </a:cubicBezTo>
                  <a:lnTo>
                    <a:pt x="6477" y="2425"/>
                  </a:lnTo>
                  <a:cubicBezTo>
                    <a:pt x="6477" y="2422"/>
                    <a:pt x="6477" y="2415"/>
                    <a:pt x="6477" y="2411"/>
                  </a:cubicBezTo>
                  <a:lnTo>
                    <a:pt x="6477" y="2401"/>
                  </a:lnTo>
                  <a:cubicBezTo>
                    <a:pt x="6477" y="2394"/>
                    <a:pt x="6480" y="2383"/>
                    <a:pt x="6484" y="2376"/>
                  </a:cubicBezTo>
                  <a:cubicBezTo>
                    <a:pt x="6500" y="2337"/>
                    <a:pt x="6538" y="2313"/>
                    <a:pt x="6580" y="2313"/>
                  </a:cubicBezTo>
                  <a:cubicBezTo>
                    <a:pt x="6583" y="2313"/>
                    <a:pt x="6586" y="2313"/>
                    <a:pt x="6589" y="2313"/>
                  </a:cubicBezTo>
                  <a:cubicBezTo>
                    <a:pt x="6603" y="2310"/>
                    <a:pt x="6634" y="2264"/>
                    <a:pt x="6645" y="2177"/>
                  </a:cubicBezTo>
                  <a:cubicBezTo>
                    <a:pt x="6655" y="2079"/>
                    <a:pt x="6631" y="1991"/>
                    <a:pt x="6585" y="1970"/>
                  </a:cubicBezTo>
                  <a:cubicBezTo>
                    <a:pt x="6470" y="1911"/>
                    <a:pt x="6473" y="1767"/>
                    <a:pt x="6477" y="1648"/>
                  </a:cubicBezTo>
                  <a:cubicBezTo>
                    <a:pt x="6477" y="1589"/>
                    <a:pt x="6480" y="1512"/>
                    <a:pt x="6463" y="1484"/>
                  </a:cubicBezTo>
                  <a:cubicBezTo>
                    <a:pt x="6459" y="1480"/>
                    <a:pt x="6456" y="1477"/>
                    <a:pt x="6452" y="1473"/>
                  </a:cubicBezTo>
                  <a:cubicBezTo>
                    <a:pt x="6305" y="1385"/>
                    <a:pt x="6344" y="1175"/>
                    <a:pt x="6379" y="990"/>
                  </a:cubicBezTo>
                  <a:cubicBezTo>
                    <a:pt x="6386" y="955"/>
                    <a:pt x="6389" y="920"/>
                    <a:pt x="6396" y="888"/>
                  </a:cubicBezTo>
                  <a:cubicBezTo>
                    <a:pt x="6407" y="797"/>
                    <a:pt x="6057" y="654"/>
                    <a:pt x="5868" y="580"/>
                  </a:cubicBezTo>
                  <a:cubicBezTo>
                    <a:pt x="5791" y="549"/>
                    <a:pt x="5717" y="517"/>
                    <a:pt x="5654" y="493"/>
                  </a:cubicBezTo>
                  <a:cubicBezTo>
                    <a:pt x="5612" y="475"/>
                    <a:pt x="5574" y="454"/>
                    <a:pt x="5535" y="430"/>
                  </a:cubicBezTo>
                  <a:cubicBezTo>
                    <a:pt x="5437" y="367"/>
                    <a:pt x="5343" y="297"/>
                    <a:pt x="5259" y="216"/>
                  </a:cubicBezTo>
                  <a:cubicBezTo>
                    <a:pt x="5189" y="157"/>
                    <a:pt x="5119" y="101"/>
                    <a:pt x="5042" y="52"/>
                  </a:cubicBezTo>
                  <a:lnTo>
                    <a:pt x="5038" y="52"/>
                  </a:lnTo>
                  <a:cubicBezTo>
                    <a:pt x="5024" y="41"/>
                    <a:pt x="5010" y="31"/>
                    <a:pt x="4996" y="20"/>
                  </a:cubicBezTo>
                  <a:cubicBezTo>
                    <a:pt x="4967" y="6"/>
                    <a:pt x="4945" y="0"/>
                    <a:pt x="492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3" name="Google Shape;6940;p64">
              <a:extLst>
                <a:ext uri="{FF2B5EF4-FFF2-40B4-BE49-F238E27FC236}">
                  <a16:creationId xmlns:a16="http://schemas.microsoft.com/office/drawing/2014/main" id="{463CD2A8-5C94-CDB4-17AF-1E287B43F420}"/>
                </a:ext>
              </a:extLst>
            </p:cNvPr>
            <p:cNvSpPr/>
            <p:nvPr/>
          </p:nvSpPr>
          <p:spPr>
            <a:xfrm>
              <a:off x="2223833" y="14593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4" name="Google Shape;6941;p64">
              <a:extLst>
                <a:ext uri="{FF2B5EF4-FFF2-40B4-BE49-F238E27FC236}">
                  <a16:creationId xmlns:a16="http://schemas.microsoft.com/office/drawing/2014/main" id="{11A628C5-EFA4-5653-5060-7AF954707CB6}"/>
                </a:ext>
              </a:extLst>
            </p:cNvPr>
            <p:cNvSpPr/>
            <p:nvPr/>
          </p:nvSpPr>
          <p:spPr>
            <a:xfrm>
              <a:off x="2221022" y="145424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"/>
                  </a:moveTo>
                  <a:cubicBezTo>
                    <a:pt x="1" y="4"/>
                    <a:pt x="4" y="11"/>
                    <a:pt x="8" y="15"/>
                  </a:cubicBezTo>
                  <a:cubicBezTo>
                    <a:pt x="4" y="11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5" name="Google Shape;6942;p64">
              <a:extLst>
                <a:ext uri="{FF2B5EF4-FFF2-40B4-BE49-F238E27FC236}">
                  <a16:creationId xmlns:a16="http://schemas.microsoft.com/office/drawing/2014/main" id="{7CB90DE9-224B-32E3-D103-833FECB4799D}"/>
                </a:ext>
              </a:extLst>
            </p:cNvPr>
            <p:cNvSpPr/>
            <p:nvPr/>
          </p:nvSpPr>
          <p:spPr>
            <a:xfrm>
              <a:off x="2221782" y="1455673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6" name="Google Shape;6943;p64">
              <a:extLst>
                <a:ext uri="{FF2B5EF4-FFF2-40B4-BE49-F238E27FC236}">
                  <a16:creationId xmlns:a16="http://schemas.microsoft.com/office/drawing/2014/main" id="{17F6FFEE-6827-41A3-3686-2C1E86F89FDA}"/>
                </a:ext>
              </a:extLst>
            </p:cNvPr>
            <p:cNvSpPr/>
            <p:nvPr/>
          </p:nvSpPr>
          <p:spPr>
            <a:xfrm>
              <a:off x="2221552" y="1455347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7" name="Google Shape;6944;p64">
              <a:extLst>
                <a:ext uri="{FF2B5EF4-FFF2-40B4-BE49-F238E27FC236}">
                  <a16:creationId xmlns:a16="http://schemas.microsoft.com/office/drawing/2014/main" id="{A00567CD-2AE9-BA24-C3E5-94A8417E841B}"/>
                </a:ext>
              </a:extLst>
            </p:cNvPr>
            <p:cNvSpPr/>
            <p:nvPr/>
          </p:nvSpPr>
          <p:spPr>
            <a:xfrm>
              <a:off x="2221171" y="1454587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7" y="14"/>
                    <a:pt x="7" y="18"/>
                  </a:cubicBezTo>
                  <a:cubicBezTo>
                    <a:pt x="7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8" name="Google Shape;6945;p64">
              <a:extLst>
                <a:ext uri="{FF2B5EF4-FFF2-40B4-BE49-F238E27FC236}">
                  <a16:creationId xmlns:a16="http://schemas.microsoft.com/office/drawing/2014/main" id="{D223B1E7-E816-56BB-0710-D094BF0E3845}"/>
                </a:ext>
              </a:extLst>
            </p:cNvPr>
            <p:cNvSpPr/>
            <p:nvPr/>
          </p:nvSpPr>
          <p:spPr>
            <a:xfrm>
              <a:off x="2223737" y="1458864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cubicBezTo>
                    <a:pt x="0" y="7"/>
                    <a:pt x="4" y="14"/>
                    <a:pt x="7" y="25"/>
                  </a:cubicBezTo>
                  <a:cubicBezTo>
                    <a:pt x="4" y="14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9" name="Google Shape;6946;p64">
              <a:extLst>
                <a:ext uri="{FF2B5EF4-FFF2-40B4-BE49-F238E27FC236}">
                  <a16:creationId xmlns:a16="http://schemas.microsoft.com/office/drawing/2014/main" id="{885EE049-FDF1-BA66-03C2-BFDDCD89FF2A}"/>
                </a:ext>
              </a:extLst>
            </p:cNvPr>
            <p:cNvSpPr/>
            <p:nvPr/>
          </p:nvSpPr>
          <p:spPr>
            <a:xfrm>
              <a:off x="2221361" y="1454967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1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0" name="Google Shape;6947;p64">
              <a:extLst>
                <a:ext uri="{FF2B5EF4-FFF2-40B4-BE49-F238E27FC236}">
                  <a16:creationId xmlns:a16="http://schemas.microsoft.com/office/drawing/2014/main" id="{19593CB1-EECD-96CA-659D-E3FDFBFBFAC7}"/>
                </a:ext>
              </a:extLst>
            </p:cNvPr>
            <p:cNvSpPr/>
            <p:nvPr/>
          </p:nvSpPr>
          <p:spPr>
            <a:xfrm>
              <a:off x="2223642" y="145842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0" y="1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1" name="Google Shape;6948;p64">
              <a:extLst>
                <a:ext uri="{FF2B5EF4-FFF2-40B4-BE49-F238E27FC236}">
                  <a16:creationId xmlns:a16="http://schemas.microsoft.com/office/drawing/2014/main" id="{6AFF6965-CA48-41E3-073C-53F4E143EB33}"/>
                </a:ext>
              </a:extLst>
            </p:cNvPr>
            <p:cNvSpPr/>
            <p:nvPr/>
          </p:nvSpPr>
          <p:spPr>
            <a:xfrm>
              <a:off x="2222692" y="1456868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0"/>
                  </a:moveTo>
                  <a:lnTo>
                    <a:pt x="14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2" name="Google Shape;6949;p64">
              <a:extLst>
                <a:ext uri="{FF2B5EF4-FFF2-40B4-BE49-F238E27FC236}">
                  <a16:creationId xmlns:a16="http://schemas.microsoft.com/office/drawing/2014/main" id="{7ABA01BB-0282-3EAE-6C63-69FD7ED9D1C4}"/>
                </a:ext>
              </a:extLst>
            </p:cNvPr>
            <p:cNvSpPr/>
            <p:nvPr/>
          </p:nvSpPr>
          <p:spPr>
            <a:xfrm>
              <a:off x="2222502" y="14565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3" name="Google Shape;6950;p64">
              <a:extLst>
                <a:ext uri="{FF2B5EF4-FFF2-40B4-BE49-F238E27FC236}">
                  <a16:creationId xmlns:a16="http://schemas.microsoft.com/office/drawing/2014/main" id="{043E7690-AF18-4D81-313F-DAF7FDBA17BC}"/>
                </a:ext>
              </a:extLst>
            </p:cNvPr>
            <p:cNvSpPr/>
            <p:nvPr/>
          </p:nvSpPr>
          <p:spPr>
            <a:xfrm>
              <a:off x="2223547" y="145800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7"/>
                    <a:pt x="4" y="14"/>
                    <a:pt x="7" y="21"/>
                  </a:cubicBezTo>
                  <a:cubicBezTo>
                    <a:pt x="4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4" name="Google Shape;6951;p64">
              <a:extLst>
                <a:ext uri="{FF2B5EF4-FFF2-40B4-BE49-F238E27FC236}">
                  <a16:creationId xmlns:a16="http://schemas.microsoft.com/office/drawing/2014/main" id="{3FEB191B-8FEF-40AB-5C2C-544E0D598E89}"/>
                </a:ext>
              </a:extLst>
            </p:cNvPr>
            <p:cNvSpPr/>
            <p:nvPr/>
          </p:nvSpPr>
          <p:spPr>
            <a:xfrm>
              <a:off x="2223303" y="145757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1"/>
                  </a:moveTo>
                  <a:lnTo>
                    <a:pt x="4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5" name="Google Shape;6952;p64">
              <a:extLst>
                <a:ext uri="{FF2B5EF4-FFF2-40B4-BE49-F238E27FC236}">
                  <a16:creationId xmlns:a16="http://schemas.microsoft.com/office/drawing/2014/main" id="{0DE76F38-43CE-0B9F-18D4-3C93D94605D6}"/>
                </a:ext>
              </a:extLst>
            </p:cNvPr>
            <p:cNvSpPr/>
            <p:nvPr/>
          </p:nvSpPr>
          <p:spPr>
            <a:xfrm>
              <a:off x="2222258" y="1456338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6" name="Google Shape;6953;p64">
              <a:extLst>
                <a:ext uri="{FF2B5EF4-FFF2-40B4-BE49-F238E27FC236}">
                  <a16:creationId xmlns:a16="http://schemas.microsoft.com/office/drawing/2014/main" id="{61BAD9B5-6672-8AA4-F0ED-942B5941E0B0}"/>
                </a:ext>
              </a:extLst>
            </p:cNvPr>
            <p:cNvSpPr/>
            <p:nvPr/>
          </p:nvSpPr>
          <p:spPr>
            <a:xfrm>
              <a:off x="2220927" y="1453922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0"/>
                  </a:moveTo>
                  <a:cubicBezTo>
                    <a:pt x="1" y="4"/>
                    <a:pt x="4" y="7"/>
                    <a:pt x="4" y="14"/>
                  </a:cubicBezTo>
                  <a:cubicBezTo>
                    <a:pt x="4" y="7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7" name="Google Shape;6954;p64">
              <a:extLst>
                <a:ext uri="{FF2B5EF4-FFF2-40B4-BE49-F238E27FC236}">
                  <a16:creationId xmlns:a16="http://schemas.microsoft.com/office/drawing/2014/main" id="{4F78B7AA-3060-B6F1-A13C-42BDAF0D08F2}"/>
                </a:ext>
              </a:extLst>
            </p:cNvPr>
            <p:cNvSpPr/>
            <p:nvPr/>
          </p:nvSpPr>
          <p:spPr>
            <a:xfrm>
              <a:off x="2223398" y="145776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8" name="Google Shape;6955;p64">
              <a:extLst>
                <a:ext uri="{FF2B5EF4-FFF2-40B4-BE49-F238E27FC236}">
                  <a16:creationId xmlns:a16="http://schemas.microsoft.com/office/drawing/2014/main" id="{90E53F98-94D6-A15D-F068-3F8B135DB20D}"/>
                </a:ext>
              </a:extLst>
            </p:cNvPr>
            <p:cNvSpPr/>
            <p:nvPr/>
          </p:nvSpPr>
          <p:spPr>
            <a:xfrm>
              <a:off x="2222882" y="1457058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cubicBezTo>
                    <a:pt x="14" y="14"/>
                    <a:pt x="21" y="25"/>
                    <a:pt x="25" y="25"/>
                  </a:cubicBezTo>
                  <a:cubicBezTo>
                    <a:pt x="25" y="25"/>
                    <a:pt x="1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9" name="Google Shape;6956;p64">
              <a:extLst>
                <a:ext uri="{FF2B5EF4-FFF2-40B4-BE49-F238E27FC236}">
                  <a16:creationId xmlns:a16="http://schemas.microsoft.com/office/drawing/2014/main" id="{2F9A45C0-4137-7839-4420-3A75296C15AA}"/>
                </a:ext>
              </a:extLst>
            </p:cNvPr>
            <p:cNvSpPr/>
            <p:nvPr/>
          </p:nvSpPr>
          <p:spPr>
            <a:xfrm>
              <a:off x="2220886" y="145320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ubicBezTo>
                    <a:pt x="0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0" name="Google Shape;6957;p64">
              <a:extLst>
                <a:ext uri="{FF2B5EF4-FFF2-40B4-BE49-F238E27FC236}">
                  <a16:creationId xmlns:a16="http://schemas.microsoft.com/office/drawing/2014/main" id="{B8C7E18F-8634-50F8-E261-AFEF46A990EF}"/>
                </a:ext>
              </a:extLst>
            </p:cNvPr>
            <p:cNvSpPr/>
            <p:nvPr/>
          </p:nvSpPr>
          <p:spPr>
            <a:xfrm>
              <a:off x="2222027" y="145601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0" y="0"/>
                  </a:moveTo>
                  <a:lnTo>
                    <a:pt x="1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1" name="Google Shape;6958;p64">
              <a:extLst>
                <a:ext uri="{FF2B5EF4-FFF2-40B4-BE49-F238E27FC236}">
                  <a16:creationId xmlns:a16="http://schemas.microsoft.com/office/drawing/2014/main" id="{6E99A8C0-B516-0D33-F377-90F488207344}"/>
                </a:ext>
              </a:extLst>
            </p:cNvPr>
            <p:cNvSpPr/>
            <p:nvPr/>
          </p:nvSpPr>
          <p:spPr>
            <a:xfrm>
              <a:off x="2220886" y="145354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2" name="Google Shape;6959;p64">
              <a:extLst>
                <a:ext uri="{FF2B5EF4-FFF2-40B4-BE49-F238E27FC236}">
                  <a16:creationId xmlns:a16="http://schemas.microsoft.com/office/drawing/2014/main" id="{98529C1A-F44D-0E18-C483-85FC23DB4685}"/>
                </a:ext>
              </a:extLst>
            </p:cNvPr>
            <p:cNvSpPr/>
            <p:nvPr/>
          </p:nvSpPr>
          <p:spPr>
            <a:xfrm>
              <a:off x="2201498" y="1421268"/>
              <a:ext cx="6667" cy="5146"/>
            </a:xfrm>
            <a:custGeom>
              <a:avLst/>
              <a:gdLst/>
              <a:ahLst/>
              <a:cxnLst/>
              <a:rect l="l" t="t" r="r" b="b"/>
              <a:pathLst>
                <a:path w="491" h="379" extrusionOk="0">
                  <a:moveTo>
                    <a:pt x="0" y="0"/>
                  </a:moveTo>
                  <a:lnTo>
                    <a:pt x="0" y="0"/>
                  </a:lnTo>
                  <a:cubicBezTo>
                    <a:pt x="74" y="49"/>
                    <a:pt x="144" y="105"/>
                    <a:pt x="210" y="165"/>
                  </a:cubicBezTo>
                  <a:cubicBezTo>
                    <a:pt x="298" y="245"/>
                    <a:pt x="389" y="315"/>
                    <a:pt x="490" y="378"/>
                  </a:cubicBezTo>
                  <a:cubicBezTo>
                    <a:pt x="392" y="315"/>
                    <a:pt x="298" y="245"/>
                    <a:pt x="214" y="165"/>
                  </a:cubicBezTo>
                  <a:cubicBezTo>
                    <a:pt x="154" y="112"/>
                    <a:pt x="91" y="63"/>
                    <a:pt x="28" y="18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3" name="Google Shape;6960;p64">
              <a:extLst>
                <a:ext uri="{FF2B5EF4-FFF2-40B4-BE49-F238E27FC236}">
                  <a16:creationId xmlns:a16="http://schemas.microsoft.com/office/drawing/2014/main" id="{5BD02EA8-F238-3BBC-124B-32748AC77F6D}"/>
                </a:ext>
              </a:extLst>
            </p:cNvPr>
            <p:cNvSpPr/>
            <p:nvPr/>
          </p:nvSpPr>
          <p:spPr>
            <a:xfrm>
              <a:off x="2212618" y="1541442"/>
              <a:ext cx="2580" cy="489"/>
            </a:xfrm>
            <a:custGeom>
              <a:avLst/>
              <a:gdLst/>
              <a:ahLst/>
              <a:cxnLst/>
              <a:rect l="l" t="t" r="r" b="b"/>
              <a:pathLst>
                <a:path w="190" h="36" extrusionOk="0">
                  <a:moveTo>
                    <a:pt x="139" y="0"/>
                  </a:moveTo>
                  <a:cubicBezTo>
                    <a:pt x="92" y="0"/>
                    <a:pt x="46" y="7"/>
                    <a:pt x="0" y="17"/>
                  </a:cubicBezTo>
                  <a:cubicBezTo>
                    <a:pt x="30" y="30"/>
                    <a:pt x="62" y="36"/>
                    <a:pt x="93" y="36"/>
                  </a:cubicBezTo>
                  <a:cubicBezTo>
                    <a:pt x="102" y="36"/>
                    <a:pt x="111" y="35"/>
                    <a:pt x="119" y="34"/>
                  </a:cubicBezTo>
                  <a:cubicBezTo>
                    <a:pt x="144" y="27"/>
                    <a:pt x="168" y="17"/>
                    <a:pt x="189" y="3"/>
                  </a:cubicBezTo>
                  <a:cubicBezTo>
                    <a:pt x="172" y="1"/>
                    <a:pt x="155" y="0"/>
                    <a:pt x="1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4" name="Google Shape;6961;p64">
              <a:extLst>
                <a:ext uri="{FF2B5EF4-FFF2-40B4-BE49-F238E27FC236}">
                  <a16:creationId xmlns:a16="http://schemas.microsoft.com/office/drawing/2014/main" id="{E16F5C1E-D351-D145-D2E6-FC33997E0986}"/>
                </a:ext>
              </a:extLst>
            </p:cNvPr>
            <p:cNvSpPr/>
            <p:nvPr/>
          </p:nvSpPr>
          <p:spPr>
            <a:xfrm>
              <a:off x="2219746" y="1534599"/>
              <a:ext cx="33333" cy="20244"/>
            </a:xfrm>
            <a:custGeom>
              <a:avLst/>
              <a:gdLst/>
              <a:ahLst/>
              <a:cxnLst/>
              <a:rect l="l" t="t" r="r" b="b"/>
              <a:pathLst>
                <a:path w="2455" h="1491" extrusionOk="0">
                  <a:moveTo>
                    <a:pt x="1429" y="1"/>
                  </a:moveTo>
                  <a:cubicBezTo>
                    <a:pt x="1394" y="1"/>
                    <a:pt x="1361" y="3"/>
                    <a:pt x="1331" y="10"/>
                  </a:cubicBezTo>
                  <a:cubicBezTo>
                    <a:pt x="1236" y="27"/>
                    <a:pt x="1114" y="38"/>
                    <a:pt x="988" y="52"/>
                  </a:cubicBezTo>
                  <a:cubicBezTo>
                    <a:pt x="750" y="76"/>
                    <a:pt x="424" y="108"/>
                    <a:pt x="347" y="192"/>
                  </a:cubicBezTo>
                  <a:cubicBezTo>
                    <a:pt x="277" y="255"/>
                    <a:pt x="200" y="304"/>
                    <a:pt x="116" y="339"/>
                  </a:cubicBezTo>
                  <a:cubicBezTo>
                    <a:pt x="74" y="356"/>
                    <a:pt x="35" y="377"/>
                    <a:pt x="0" y="402"/>
                  </a:cubicBezTo>
                  <a:lnTo>
                    <a:pt x="7" y="412"/>
                  </a:lnTo>
                  <a:cubicBezTo>
                    <a:pt x="84" y="465"/>
                    <a:pt x="119" y="552"/>
                    <a:pt x="102" y="643"/>
                  </a:cubicBezTo>
                  <a:cubicBezTo>
                    <a:pt x="91" y="689"/>
                    <a:pt x="102" y="734"/>
                    <a:pt x="133" y="769"/>
                  </a:cubicBezTo>
                  <a:cubicBezTo>
                    <a:pt x="223" y="895"/>
                    <a:pt x="263" y="938"/>
                    <a:pt x="331" y="938"/>
                  </a:cubicBezTo>
                  <a:cubicBezTo>
                    <a:pt x="348" y="938"/>
                    <a:pt x="367" y="935"/>
                    <a:pt x="389" y="930"/>
                  </a:cubicBezTo>
                  <a:cubicBezTo>
                    <a:pt x="414" y="926"/>
                    <a:pt x="438" y="923"/>
                    <a:pt x="462" y="923"/>
                  </a:cubicBezTo>
                  <a:cubicBezTo>
                    <a:pt x="542" y="923"/>
                    <a:pt x="611" y="951"/>
                    <a:pt x="641" y="1007"/>
                  </a:cubicBezTo>
                  <a:cubicBezTo>
                    <a:pt x="662" y="1049"/>
                    <a:pt x="662" y="1102"/>
                    <a:pt x="641" y="1144"/>
                  </a:cubicBezTo>
                  <a:lnTo>
                    <a:pt x="711" y="1140"/>
                  </a:lnTo>
                  <a:lnTo>
                    <a:pt x="722" y="1140"/>
                  </a:lnTo>
                  <a:lnTo>
                    <a:pt x="774" y="1137"/>
                  </a:lnTo>
                  <a:lnTo>
                    <a:pt x="1096" y="1137"/>
                  </a:lnTo>
                  <a:lnTo>
                    <a:pt x="1107" y="1140"/>
                  </a:lnTo>
                  <a:lnTo>
                    <a:pt x="1110" y="1140"/>
                  </a:lnTo>
                  <a:lnTo>
                    <a:pt x="1117" y="1144"/>
                  </a:lnTo>
                  <a:lnTo>
                    <a:pt x="1121" y="1144"/>
                  </a:lnTo>
                  <a:lnTo>
                    <a:pt x="1128" y="1147"/>
                  </a:lnTo>
                  <a:lnTo>
                    <a:pt x="1131" y="1151"/>
                  </a:lnTo>
                  <a:lnTo>
                    <a:pt x="1156" y="1172"/>
                  </a:lnTo>
                  <a:cubicBezTo>
                    <a:pt x="1506" y="1442"/>
                    <a:pt x="1600" y="1466"/>
                    <a:pt x="1625" y="1466"/>
                  </a:cubicBezTo>
                  <a:lnTo>
                    <a:pt x="1898" y="1466"/>
                  </a:lnTo>
                  <a:lnTo>
                    <a:pt x="1933" y="1470"/>
                  </a:lnTo>
                  <a:lnTo>
                    <a:pt x="1950" y="1470"/>
                  </a:lnTo>
                  <a:lnTo>
                    <a:pt x="1992" y="1477"/>
                  </a:lnTo>
                  <a:lnTo>
                    <a:pt x="2013" y="1477"/>
                  </a:lnTo>
                  <a:lnTo>
                    <a:pt x="2059" y="1484"/>
                  </a:lnTo>
                  <a:lnTo>
                    <a:pt x="2083" y="1484"/>
                  </a:lnTo>
                  <a:cubicBezTo>
                    <a:pt x="2083" y="1484"/>
                    <a:pt x="2094" y="1491"/>
                    <a:pt x="2094" y="1491"/>
                  </a:cubicBezTo>
                  <a:cubicBezTo>
                    <a:pt x="2094" y="1466"/>
                    <a:pt x="2101" y="1445"/>
                    <a:pt x="2108" y="1428"/>
                  </a:cubicBezTo>
                  <a:lnTo>
                    <a:pt x="2108" y="1424"/>
                  </a:lnTo>
                  <a:cubicBezTo>
                    <a:pt x="2111" y="1414"/>
                    <a:pt x="2118" y="1407"/>
                    <a:pt x="2125" y="1400"/>
                  </a:cubicBezTo>
                  <a:lnTo>
                    <a:pt x="2125" y="1393"/>
                  </a:lnTo>
                  <a:cubicBezTo>
                    <a:pt x="2132" y="1386"/>
                    <a:pt x="2139" y="1379"/>
                    <a:pt x="2146" y="1375"/>
                  </a:cubicBezTo>
                  <a:lnTo>
                    <a:pt x="2150" y="1368"/>
                  </a:lnTo>
                  <a:cubicBezTo>
                    <a:pt x="2157" y="1361"/>
                    <a:pt x="2167" y="1358"/>
                    <a:pt x="2174" y="1350"/>
                  </a:cubicBezTo>
                  <a:lnTo>
                    <a:pt x="2185" y="1343"/>
                  </a:lnTo>
                  <a:cubicBezTo>
                    <a:pt x="2206" y="1333"/>
                    <a:pt x="2227" y="1322"/>
                    <a:pt x="2248" y="1315"/>
                  </a:cubicBezTo>
                  <a:cubicBezTo>
                    <a:pt x="2262" y="1308"/>
                    <a:pt x="2279" y="1301"/>
                    <a:pt x="2293" y="1291"/>
                  </a:cubicBezTo>
                  <a:cubicBezTo>
                    <a:pt x="2293" y="1284"/>
                    <a:pt x="2290" y="1280"/>
                    <a:pt x="2283" y="1273"/>
                  </a:cubicBezTo>
                  <a:lnTo>
                    <a:pt x="2265" y="1245"/>
                  </a:lnTo>
                  <a:cubicBezTo>
                    <a:pt x="2202" y="1158"/>
                    <a:pt x="2171" y="1116"/>
                    <a:pt x="2157" y="1004"/>
                  </a:cubicBezTo>
                  <a:cubicBezTo>
                    <a:pt x="2157" y="986"/>
                    <a:pt x="2153" y="969"/>
                    <a:pt x="2153" y="951"/>
                  </a:cubicBezTo>
                  <a:cubicBezTo>
                    <a:pt x="2146" y="902"/>
                    <a:pt x="2139" y="853"/>
                    <a:pt x="2129" y="808"/>
                  </a:cubicBezTo>
                  <a:cubicBezTo>
                    <a:pt x="2125" y="790"/>
                    <a:pt x="2125" y="776"/>
                    <a:pt x="2122" y="759"/>
                  </a:cubicBezTo>
                  <a:cubicBezTo>
                    <a:pt x="2115" y="731"/>
                    <a:pt x="2111" y="699"/>
                    <a:pt x="2111" y="668"/>
                  </a:cubicBezTo>
                  <a:cubicBezTo>
                    <a:pt x="2111" y="654"/>
                    <a:pt x="2115" y="636"/>
                    <a:pt x="2115" y="622"/>
                  </a:cubicBezTo>
                  <a:cubicBezTo>
                    <a:pt x="2118" y="584"/>
                    <a:pt x="2136" y="545"/>
                    <a:pt x="2160" y="514"/>
                  </a:cubicBezTo>
                  <a:cubicBezTo>
                    <a:pt x="2171" y="496"/>
                    <a:pt x="2188" y="482"/>
                    <a:pt x="2202" y="465"/>
                  </a:cubicBezTo>
                  <a:cubicBezTo>
                    <a:pt x="2244" y="426"/>
                    <a:pt x="2279" y="377"/>
                    <a:pt x="2304" y="325"/>
                  </a:cubicBezTo>
                  <a:cubicBezTo>
                    <a:pt x="2328" y="276"/>
                    <a:pt x="2360" y="230"/>
                    <a:pt x="2402" y="192"/>
                  </a:cubicBezTo>
                  <a:lnTo>
                    <a:pt x="2419" y="174"/>
                  </a:lnTo>
                  <a:lnTo>
                    <a:pt x="2423" y="167"/>
                  </a:lnTo>
                  <a:lnTo>
                    <a:pt x="2437" y="153"/>
                  </a:lnTo>
                  <a:lnTo>
                    <a:pt x="2440" y="150"/>
                  </a:lnTo>
                  <a:cubicBezTo>
                    <a:pt x="2444" y="146"/>
                    <a:pt x="2447" y="139"/>
                    <a:pt x="2451" y="136"/>
                  </a:cubicBezTo>
                  <a:cubicBezTo>
                    <a:pt x="2451" y="132"/>
                    <a:pt x="2454" y="125"/>
                    <a:pt x="2454" y="122"/>
                  </a:cubicBezTo>
                  <a:cubicBezTo>
                    <a:pt x="2454" y="122"/>
                    <a:pt x="2454" y="118"/>
                    <a:pt x="2454" y="118"/>
                  </a:cubicBezTo>
                  <a:cubicBezTo>
                    <a:pt x="2454" y="115"/>
                    <a:pt x="2454" y="108"/>
                    <a:pt x="2454" y="104"/>
                  </a:cubicBezTo>
                  <a:lnTo>
                    <a:pt x="2454" y="101"/>
                  </a:lnTo>
                  <a:cubicBezTo>
                    <a:pt x="2454" y="94"/>
                    <a:pt x="2451" y="90"/>
                    <a:pt x="2451" y="83"/>
                  </a:cubicBezTo>
                  <a:cubicBezTo>
                    <a:pt x="2423" y="97"/>
                    <a:pt x="2398" y="104"/>
                    <a:pt x="2370" y="111"/>
                  </a:cubicBezTo>
                  <a:cubicBezTo>
                    <a:pt x="2334" y="122"/>
                    <a:pt x="2294" y="126"/>
                    <a:pt x="2249" y="126"/>
                  </a:cubicBezTo>
                  <a:cubicBezTo>
                    <a:pt x="2133" y="126"/>
                    <a:pt x="1992" y="96"/>
                    <a:pt x="1845" y="66"/>
                  </a:cubicBezTo>
                  <a:cubicBezTo>
                    <a:pt x="1702" y="33"/>
                    <a:pt x="1552" y="1"/>
                    <a:pt x="14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5" name="Google Shape;6962;p64">
              <a:extLst>
                <a:ext uri="{FF2B5EF4-FFF2-40B4-BE49-F238E27FC236}">
                  <a16:creationId xmlns:a16="http://schemas.microsoft.com/office/drawing/2014/main" id="{EB562F01-9313-E733-1572-27B090513F48}"/>
                </a:ext>
              </a:extLst>
            </p:cNvPr>
            <p:cNvSpPr/>
            <p:nvPr/>
          </p:nvSpPr>
          <p:spPr>
            <a:xfrm>
              <a:off x="2210051" y="1545190"/>
              <a:ext cx="7047" cy="5092"/>
            </a:xfrm>
            <a:custGeom>
              <a:avLst/>
              <a:gdLst/>
              <a:ahLst/>
              <a:cxnLst/>
              <a:rect l="l" t="t" r="r" b="b"/>
              <a:pathLst>
                <a:path w="519" h="375" extrusionOk="0">
                  <a:moveTo>
                    <a:pt x="414" y="0"/>
                  </a:moveTo>
                  <a:cubicBezTo>
                    <a:pt x="368" y="0"/>
                    <a:pt x="308" y="8"/>
                    <a:pt x="235" y="28"/>
                  </a:cubicBezTo>
                  <a:cubicBezTo>
                    <a:pt x="133" y="59"/>
                    <a:pt x="56" y="136"/>
                    <a:pt x="21" y="238"/>
                  </a:cubicBezTo>
                  <a:cubicBezTo>
                    <a:pt x="4" y="280"/>
                    <a:pt x="0" y="325"/>
                    <a:pt x="7" y="374"/>
                  </a:cubicBezTo>
                  <a:cubicBezTo>
                    <a:pt x="130" y="350"/>
                    <a:pt x="417" y="122"/>
                    <a:pt x="518" y="24"/>
                  </a:cubicBezTo>
                  <a:lnTo>
                    <a:pt x="518" y="21"/>
                  </a:lnTo>
                  <a:cubicBezTo>
                    <a:pt x="505" y="11"/>
                    <a:pt x="470" y="0"/>
                    <a:pt x="4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6" name="Google Shape;6963;p64">
              <a:extLst>
                <a:ext uri="{FF2B5EF4-FFF2-40B4-BE49-F238E27FC236}">
                  <a16:creationId xmlns:a16="http://schemas.microsoft.com/office/drawing/2014/main" id="{286BE181-8C3D-DA8C-47AC-3D1D7D92255E}"/>
                </a:ext>
              </a:extLst>
            </p:cNvPr>
            <p:cNvSpPr/>
            <p:nvPr/>
          </p:nvSpPr>
          <p:spPr>
            <a:xfrm>
              <a:off x="2234002" y="1549982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7" name="Google Shape;6964;p64">
              <a:extLst>
                <a:ext uri="{FF2B5EF4-FFF2-40B4-BE49-F238E27FC236}">
                  <a16:creationId xmlns:a16="http://schemas.microsoft.com/office/drawing/2014/main" id="{906F5A6F-0B90-9071-2BE7-20E4AE8EB191}"/>
                </a:ext>
              </a:extLst>
            </p:cNvPr>
            <p:cNvSpPr/>
            <p:nvPr/>
          </p:nvSpPr>
          <p:spPr>
            <a:xfrm>
              <a:off x="2234342" y="155002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8" name="Google Shape;6965;p64">
              <a:extLst>
                <a:ext uri="{FF2B5EF4-FFF2-40B4-BE49-F238E27FC236}">
                  <a16:creationId xmlns:a16="http://schemas.microsoft.com/office/drawing/2014/main" id="{E6187015-4A72-90F6-6E3F-C1341D7F1EE8}"/>
                </a:ext>
              </a:extLst>
            </p:cNvPr>
            <p:cNvSpPr/>
            <p:nvPr/>
          </p:nvSpPr>
          <p:spPr>
            <a:xfrm>
              <a:off x="2234722" y="1550118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9" name="Google Shape;6966;p64">
              <a:extLst>
                <a:ext uri="{FF2B5EF4-FFF2-40B4-BE49-F238E27FC236}">
                  <a16:creationId xmlns:a16="http://schemas.microsoft.com/office/drawing/2014/main" id="{DE821748-00A5-A08C-E36D-85C97DE0E547}"/>
                </a:ext>
              </a:extLst>
            </p:cNvPr>
            <p:cNvSpPr/>
            <p:nvPr/>
          </p:nvSpPr>
          <p:spPr>
            <a:xfrm>
              <a:off x="2234572" y="155007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0" name="Google Shape;6967;p64">
              <a:extLst>
                <a:ext uri="{FF2B5EF4-FFF2-40B4-BE49-F238E27FC236}">
                  <a16:creationId xmlns:a16="http://schemas.microsoft.com/office/drawing/2014/main" id="{3123AF39-7B02-82C8-CA69-4F1348F7DD6D}"/>
                </a:ext>
              </a:extLst>
            </p:cNvPr>
            <p:cNvSpPr/>
            <p:nvPr/>
          </p:nvSpPr>
          <p:spPr>
            <a:xfrm>
              <a:off x="2229630" y="1549982"/>
              <a:ext cx="733" cy="54"/>
            </a:xfrm>
            <a:custGeom>
              <a:avLst/>
              <a:gdLst/>
              <a:ahLst/>
              <a:cxnLst/>
              <a:rect l="l" t="t" r="r" b="b"/>
              <a:pathLst>
                <a:path w="54" h="4" extrusionOk="0">
                  <a:moveTo>
                    <a:pt x="53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1" name="Google Shape;6968;p64">
              <a:extLst>
                <a:ext uri="{FF2B5EF4-FFF2-40B4-BE49-F238E27FC236}">
                  <a16:creationId xmlns:a16="http://schemas.microsoft.com/office/drawing/2014/main" id="{050B4838-8070-75A1-2934-896CCFB02BFE}"/>
                </a:ext>
              </a:extLst>
            </p:cNvPr>
            <p:cNvSpPr/>
            <p:nvPr/>
          </p:nvSpPr>
          <p:spPr>
            <a:xfrm>
              <a:off x="2245652" y="1554599"/>
              <a:ext cx="530" cy="54"/>
            </a:xfrm>
            <a:custGeom>
              <a:avLst/>
              <a:gdLst/>
              <a:ahLst/>
              <a:cxnLst/>
              <a:rect l="l" t="t" r="r" b="b"/>
              <a:pathLst>
                <a:path w="39" h="4" extrusionOk="0">
                  <a:moveTo>
                    <a:pt x="39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2" name="Google Shape;6969;p64">
              <a:extLst>
                <a:ext uri="{FF2B5EF4-FFF2-40B4-BE49-F238E27FC236}">
                  <a16:creationId xmlns:a16="http://schemas.microsoft.com/office/drawing/2014/main" id="{8BD59360-4A74-9B59-38B5-107CE904CBBF}"/>
                </a:ext>
              </a:extLst>
            </p:cNvPr>
            <p:cNvSpPr/>
            <p:nvPr/>
          </p:nvSpPr>
          <p:spPr>
            <a:xfrm>
              <a:off x="2244986" y="1554544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3" name="Google Shape;6970;p64">
              <a:extLst>
                <a:ext uri="{FF2B5EF4-FFF2-40B4-BE49-F238E27FC236}">
                  <a16:creationId xmlns:a16="http://schemas.microsoft.com/office/drawing/2014/main" id="{D64E0ACB-D9F2-14AB-DDD3-4CBC00108422}"/>
                </a:ext>
              </a:extLst>
            </p:cNvPr>
            <p:cNvSpPr/>
            <p:nvPr/>
          </p:nvSpPr>
          <p:spPr>
            <a:xfrm>
              <a:off x="2235102" y="1550213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4" name="Google Shape;6971;p64">
              <a:extLst>
                <a:ext uri="{FF2B5EF4-FFF2-40B4-BE49-F238E27FC236}">
                  <a16:creationId xmlns:a16="http://schemas.microsoft.com/office/drawing/2014/main" id="{C4624CF9-D890-545C-5550-7C292FE5BDFB}"/>
                </a:ext>
              </a:extLst>
            </p:cNvPr>
            <p:cNvSpPr/>
            <p:nvPr/>
          </p:nvSpPr>
          <p:spPr>
            <a:xfrm>
              <a:off x="2244416" y="1554544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32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5" name="Google Shape;6972;p64">
              <a:extLst>
                <a:ext uri="{FF2B5EF4-FFF2-40B4-BE49-F238E27FC236}">
                  <a16:creationId xmlns:a16="http://schemas.microsoft.com/office/drawing/2014/main" id="{7E9073F2-F00D-7C10-D21D-22143AA7BBA6}"/>
                </a:ext>
              </a:extLst>
            </p:cNvPr>
            <p:cNvSpPr/>
            <p:nvPr/>
          </p:nvSpPr>
          <p:spPr>
            <a:xfrm>
              <a:off x="2233622" y="15499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6" name="Google Shape;6973;p64">
              <a:extLst>
                <a:ext uri="{FF2B5EF4-FFF2-40B4-BE49-F238E27FC236}">
                  <a16:creationId xmlns:a16="http://schemas.microsoft.com/office/drawing/2014/main" id="{FBF4626E-284D-4E89-38E1-19E1517B5745}"/>
                </a:ext>
              </a:extLst>
            </p:cNvPr>
            <p:cNvSpPr/>
            <p:nvPr/>
          </p:nvSpPr>
          <p:spPr>
            <a:xfrm>
              <a:off x="2247267" y="1554789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7" name="Google Shape;6974;p64">
              <a:extLst>
                <a:ext uri="{FF2B5EF4-FFF2-40B4-BE49-F238E27FC236}">
                  <a16:creationId xmlns:a16="http://schemas.microsoft.com/office/drawing/2014/main" id="{07E3E2DE-A2A9-FF9C-6C2E-15A1BBD6FC08}"/>
                </a:ext>
              </a:extLst>
            </p:cNvPr>
            <p:cNvSpPr/>
            <p:nvPr/>
          </p:nvSpPr>
          <p:spPr>
            <a:xfrm>
              <a:off x="2246412" y="1554694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42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8" name="Google Shape;6975;p64">
              <a:extLst>
                <a:ext uri="{FF2B5EF4-FFF2-40B4-BE49-F238E27FC236}">
                  <a16:creationId xmlns:a16="http://schemas.microsoft.com/office/drawing/2014/main" id="{35DBCAE8-1C52-CC15-E2AB-5245C2B239C5}"/>
                </a:ext>
              </a:extLst>
            </p:cNvPr>
            <p:cNvSpPr/>
            <p:nvPr/>
          </p:nvSpPr>
          <p:spPr>
            <a:xfrm>
              <a:off x="2243941" y="1554504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9" name="Google Shape;6976;p64">
              <a:extLst>
                <a:ext uri="{FF2B5EF4-FFF2-40B4-BE49-F238E27FC236}">
                  <a16:creationId xmlns:a16="http://schemas.microsoft.com/office/drawing/2014/main" id="{34E2B8A6-C895-93D9-857E-597E0EB3F508}"/>
                </a:ext>
              </a:extLst>
            </p:cNvPr>
            <p:cNvSpPr/>
            <p:nvPr/>
          </p:nvSpPr>
          <p:spPr>
            <a:xfrm>
              <a:off x="2242420" y="155450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0" name="Google Shape;6977;p64">
              <a:extLst>
                <a:ext uri="{FF2B5EF4-FFF2-40B4-BE49-F238E27FC236}">
                  <a16:creationId xmlns:a16="http://schemas.microsoft.com/office/drawing/2014/main" id="{1196DEF9-0869-F3BC-9896-36DC8D99FF76}"/>
                </a:ext>
              </a:extLst>
            </p:cNvPr>
            <p:cNvSpPr/>
            <p:nvPr/>
          </p:nvSpPr>
          <p:spPr>
            <a:xfrm>
              <a:off x="2242230" y="155450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1" name="Google Shape;6978;p64">
              <a:extLst>
                <a:ext uri="{FF2B5EF4-FFF2-40B4-BE49-F238E27FC236}">
                  <a16:creationId xmlns:a16="http://schemas.microsoft.com/office/drawing/2014/main" id="{5C937D22-B272-BD01-1072-7C19C12A7EE5}"/>
                </a:ext>
              </a:extLst>
            </p:cNvPr>
            <p:cNvSpPr/>
            <p:nvPr/>
          </p:nvSpPr>
          <p:spPr>
            <a:xfrm>
              <a:off x="2228530" y="1550023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1" y="8"/>
                  </a:moveTo>
                  <a:lnTo>
                    <a:pt x="7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2" name="Google Shape;6979;p64">
              <a:extLst>
                <a:ext uri="{FF2B5EF4-FFF2-40B4-BE49-F238E27FC236}">
                  <a16:creationId xmlns:a16="http://schemas.microsoft.com/office/drawing/2014/main" id="{41744CD7-B26D-8589-9013-2B00B216D9F1}"/>
                </a:ext>
              </a:extLst>
            </p:cNvPr>
            <p:cNvSpPr/>
            <p:nvPr/>
          </p:nvSpPr>
          <p:spPr>
            <a:xfrm>
              <a:off x="2243506" y="15544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3" name="Google Shape;6980;p64">
              <a:extLst>
                <a:ext uri="{FF2B5EF4-FFF2-40B4-BE49-F238E27FC236}">
                  <a16:creationId xmlns:a16="http://schemas.microsoft.com/office/drawing/2014/main" id="{C5D0AF86-8EFF-6A09-B2EA-DEE6BC211409}"/>
                </a:ext>
              </a:extLst>
            </p:cNvPr>
            <p:cNvSpPr/>
            <p:nvPr/>
          </p:nvSpPr>
          <p:spPr>
            <a:xfrm>
              <a:off x="2242841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4" name="Google Shape;6981;p64">
              <a:extLst>
                <a:ext uri="{FF2B5EF4-FFF2-40B4-BE49-F238E27FC236}">
                  <a16:creationId xmlns:a16="http://schemas.microsoft.com/office/drawing/2014/main" id="{05E63A20-DCCC-2EC5-E7CE-A2A5383D35ED}"/>
                </a:ext>
              </a:extLst>
            </p:cNvPr>
            <p:cNvSpPr/>
            <p:nvPr/>
          </p:nvSpPr>
          <p:spPr>
            <a:xfrm>
              <a:off x="2242610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5" name="Google Shape;6982;p64">
              <a:extLst>
                <a:ext uri="{FF2B5EF4-FFF2-40B4-BE49-F238E27FC236}">
                  <a16:creationId xmlns:a16="http://schemas.microsoft.com/office/drawing/2014/main" id="{0BAB561A-0DA3-D7EA-A5FA-800541E591D0}"/>
                </a:ext>
              </a:extLst>
            </p:cNvPr>
            <p:cNvSpPr/>
            <p:nvPr/>
          </p:nvSpPr>
          <p:spPr>
            <a:xfrm>
              <a:off x="223244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6" name="Google Shape;6983;p64">
              <a:extLst>
                <a:ext uri="{FF2B5EF4-FFF2-40B4-BE49-F238E27FC236}">
                  <a16:creationId xmlns:a16="http://schemas.microsoft.com/office/drawing/2014/main" id="{D161AA3A-749F-5032-EC3E-865FA7834CAB}"/>
                </a:ext>
              </a:extLst>
            </p:cNvPr>
            <p:cNvSpPr/>
            <p:nvPr/>
          </p:nvSpPr>
          <p:spPr>
            <a:xfrm>
              <a:off x="2242081" y="155454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7" name="Google Shape;6984;p64">
              <a:extLst>
                <a:ext uri="{FF2B5EF4-FFF2-40B4-BE49-F238E27FC236}">
                  <a16:creationId xmlns:a16="http://schemas.microsoft.com/office/drawing/2014/main" id="{7C8C3713-1EA6-D9BB-2A2A-7198F0B56C4E}"/>
                </a:ext>
              </a:extLst>
            </p:cNvPr>
            <p:cNvSpPr/>
            <p:nvPr/>
          </p:nvSpPr>
          <p:spPr>
            <a:xfrm>
              <a:off x="2243126" y="15544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8" name="Google Shape;6985;p64">
              <a:extLst>
                <a:ext uri="{FF2B5EF4-FFF2-40B4-BE49-F238E27FC236}">
                  <a16:creationId xmlns:a16="http://schemas.microsoft.com/office/drawing/2014/main" id="{AB936172-941A-B1CA-3B94-602CE787F895}"/>
                </a:ext>
              </a:extLst>
            </p:cNvPr>
            <p:cNvSpPr/>
            <p:nvPr/>
          </p:nvSpPr>
          <p:spPr>
            <a:xfrm>
              <a:off x="2230581" y="1549928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43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9" name="Google Shape;6986;p64">
              <a:extLst>
                <a:ext uri="{FF2B5EF4-FFF2-40B4-BE49-F238E27FC236}">
                  <a16:creationId xmlns:a16="http://schemas.microsoft.com/office/drawing/2014/main" id="{52C4538D-617E-8497-C8DC-409BFE8D0A76}"/>
                </a:ext>
              </a:extLst>
            </p:cNvPr>
            <p:cNvSpPr/>
            <p:nvPr/>
          </p:nvSpPr>
          <p:spPr>
            <a:xfrm>
              <a:off x="2234912" y="155011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0" name="Google Shape;6987;p64">
              <a:extLst>
                <a:ext uri="{FF2B5EF4-FFF2-40B4-BE49-F238E27FC236}">
                  <a16:creationId xmlns:a16="http://schemas.microsoft.com/office/drawing/2014/main" id="{EBB1F3D2-D3B5-766C-7869-C487CF1A5C30}"/>
                </a:ext>
              </a:extLst>
            </p:cNvPr>
            <p:cNvSpPr/>
            <p:nvPr/>
          </p:nvSpPr>
          <p:spPr>
            <a:xfrm>
              <a:off x="2233011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1" name="Google Shape;6988;p64">
              <a:extLst>
                <a:ext uri="{FF2B5EF4-FFF2-40B4-BE49-F238E27FC236}">
                  <a16:creationId xmlns:a16="http://schemas.microsoft.com/office/drawing/2014/main" id="{E44C799B-A3E4-5448-3B9F-8E8F4BF07188}"/>
                </a:ext>
              </a:extLst>
            </p:cNvPr>
            <p:cNvSpPr/>
            <p:nvPr/>
          </p:nvSpPr>
          <p:spPr>
            <a:xfrm>
              <a:off x="2231436" y="1549928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2" name="Google Shape;6989;p64">
              <a:extLst>
                <a:ext uri="{FF2B5EF4-FFF2-40B4-BE49-F238E27FC236}">
                  <a16:creationId xmlns:a16="http://schemas.microsoft.com/office/drawing/2014/main" id="{FE74672B-9E56-A9FD-5F98-F7B1EAD03051}"/>
                </a:ext>
              </a:extLst>
            </p:cNvPr>
            <p:cNvSpPr/>
            <p:nvPr/>
          </p:nvSpPr>
          <p:spPr>
            <a:xfrm>
              <a:off x="2235197" y="155030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3" name="Google Shape;6990;p64">
              <a:extLst>
                <a:ext uri="{FF2B5EF4-FFF2-40B4-BE49-F238E27FC236}">
                  <a16:creationId xmlns:a16="http://schemas.microsoft.com/office/drawing/2014/main" id="{DDA48FC1-3BB3-9F98-A849-82C1881A43EC}"/>
                </a:ext>
              </a:extLst>
            </p:cNvPr>
            <p:cNvSpPr/>
            <p:nvPr/>
          </p:nvSpPr>
          <p:spPr>
            <a:xfrm>
              <a:off x="2242040" y="1554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4" name="Google Shape;6991;p64">
              <a:extLst>
                <a:ext uri="{FF2B5EF4-FFF2-40B4-BE49-F238E27FC236}">
                  <a16:creationId xmlns:a16="http://schemas.microsoft.com/office/drawing/2014/main" id="{6C739ECD-D348-5B8C-1D3E-17B9662555C0}"/>
                </a:ext>
              </a:extLst>
            </p:cNvPr>
            <p:cNvSpPr/>
            <p:nvPr/>
          </p:nvSpPr>
          <p:spPr>
            <a:xfrm>
              <a:off x="2233486" y="15499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5" name="Google Shape;6992;p64">
              <a:extLst>
                <a:ext uri="{FF2B5EF4-FFF2-40B4-BE49-F238E27FC236}">
                  <a16:creationId xmlns:a16="http://schemas.microsoft.com/office/drawing/2014/main" id="{48072480-B688-22C4-5EE5-64AA435E0886}"/>
                </a:ext>
              </a:extLst>
            </p:cNvPr>
            <p:cNvSpPr/>
            <p:nvPr/>
          </p:nvSpPr>
          <p:spPr>
            <a:xfrm>
              <a:off x="2235007" y="155017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6" name="Google Shape;6993;p64">
              <a:extLst>
                <a:ext uri="{FF2B5EF4-FFF2-40B4-BE49-F238E27FC236}">
                  <a16:creationId xmlns:a16="http://schemas.microsoft.com/office/drawing/2014/main" id="{091CFF2D-912B-61D7-C0B1-5FCC20ED63AD}"/>
                </a:ext>
              </a:extLst>
            </p:cNvPr>
            <p:cNvSpPr/>
            <p:nvPr/>
          </p:nvSpPr>
          <p:spPr>
            <a:xfrm>
              <a:off x="2295603" y="2007327"/>
              <a:ext cx="56822" cy="70087"/>
            </a:xfrm>
            <a:custGeom>
              <a:avLst/>
              <a:gdLst/>
              <a:ahLst/>
              <a:cxnLst/>
              <a:rect l="l" t="t" r="r" b="b"/>
              <a:pathLst>
                <a:path w="4185" h="5162" extrusionOk="0">
                  <a:moveTo>
                    <a:pt x="638" y="1"/>
                  </a:moveTo>
                  <a:cubicBezTo>
                    <a:pt x="602" y="1"/>
                    <a:pt x="556" y="5"/>
                    <a:pt x="498" y="16"/>
                  </a:cubicBezTo>
                  <a:lnTo>
                    <a:pt x="491" y="16"/>
                  </a:lnTo>
                  <a:cubicBezTo>
                    <a:pt x="375" y="40"/>
                    <a:pt x="151" y="187"/>
                    <a:pt x="109" y="250"/>
                  </a:cubicBezTo>
                  <a:cubicBezTo>
                    <a:pt x="109" y="254"/>
                    <a:pt x="106" y="257"/>
                    <a:pt x="106" y="261"/>
                  </a:cubicBezTo>
                  <a:cubicBezTo>
                    <a:pt x="106" y="268"/>
                    <a:pt x="102" y="275"/>
                    <a:pt x="99" y="278"/>
                  </a:cubicBezTo>
                  <a:lnTo>
                    <a:pt x="95" y="289"/>
                  </a:lnTo>
                  <a:cubicBezTo>
                    <a:pt x="95" y="292"/>
                    <a:pt x="92" y="296"/>
                    <a:pt x="92" y="296"/>
                  </a:cubicBezTo>
                  <a:lnTo>
                    <a:pt x="85" y="306"/>
                  </a:lnTo>
                  <a:lnTo>
                    <a:pt x="81" y="313"/>
                  </a:lnTo>
                  <a:lnTo>
                    <a:pt x="74" y="324"/>
                  </a:lnTo>
                  <a:lnTo>
                    <a:pt x="67" y="331"/>
                  </a:lnTo>
                  <a:lnTo>
                    <a:pt x="284" y="527"/>
                  </a:lnTo>
                  <a:lnTo>
                    <a:pt x="340" y="919"/>
                  </a:lnTo>
                  <a:lnTo>
                    <a:pt x="568" y="1118"/>
                  </a:lnTo>
                  <a:lnTo>
                    <a:pt x="568" y="1146"/>
                  </a:lnTo>
                  <a:cubicBezTo>
                    <a:pt x="568" y="1300"/>
                    <a:pt x="557" y="1451"/>
                    <a:pt x="540" y="1601"/>
                  </a:cubicBezTo>
                  <a:cubicBezTo>
                    <a:pt x="508" y="1854"/>
                    <a:pt x="291" y="2148"/>
                    <a:pt x="155" y="2284"/>
                  </a:cubicBezTo>
                  <a:lnTo>
                    <a:pt x="155" y="2288"/>
                  </a:lnTo>
                  <a:lnTo>
                    <a:pt x="151" y="2291"/>
                  </a:lnTo>
                  <a:lnTo>
                    <a:pt x="148" y="2295"/>
                  </a:lnTo>
                  <a:lnTo>
                    <a:pt x="144" y="2302"/>
                  </a:lnTo>
                  <a:lnTo>
                    <a:pt x="141" y="2309"/>
                  </a:lnTo>
                  <a:lnTo>
                    <a:pt x="141" y="2312"/>
                  </a:lnTo>
                  <a:lnTo>
                    <a:pt x="137" y="2319"/>
                  </a:lnTo>
                  <a:lnTo>
                    <a:pt x="137" y="2323"/>
                  </a:lnTo>
                  <a:lnTo>
                    <a:pt x="130" y="2333"/>
                  </a:lnTo>
                  <a:lnTo>
                    <a:pt x="130" y="2337"/>
                  </a:lnTo>
                  <a:lnTo>
                    <a:pt x="123" y="2351"/>
                  </a:lnTo>
                  <a:cubicBezTo>
                    <a:pt x="120" y="2365"/>
                    <a:pt x="113" y="2375"/>
                    <a:pt x="106" y="2393"/>
                  </a:cubicBezTo>
                  <a:lnTo>
                    <a:pt x="106" y="2396"/>
                  </a:lnTo>
                  <a:lnTo>
                    <a:pt x="95" y="2417"/>
                  </a:lnTo>
                  <a:lnTo>
                    <a:pt x="92" y="2424"/>
                  </a:lnTo>
                  <a:lnTo>
                    <a:pt x="85" y="2442"/>
                  </a:lnTo>
                  <a:lnTo>
                    <a:pt x="81" y="2452"/>
                  </a:lnTo>
                  <a:lnTo>
                    <a:pt x="71" y="2473"/>
                  </a:lnTo>
                  <a:lnTo>
                    <a:pt x="67" y="2484"/>
                  </a:lnTo>
                  <a:lnTo>
                    <a:pt x="57" y="2505"/>
                  </a:lnTo>
                  <a:lnTo>
                    <a:pt x="53" y="2519"/>
                  </a:lnTo>
                  <a:lnTo>
                    <a:pt x="50" y="2529"/>
                  </a:lnTo>
                  <a:cubicBezTo>
                    <a:pt x="211" y="2575"/>
                    <a:pt x="410" y="2659"/>
                    <a:pt x="389" y="2785"/>
                  </a:cubicBezTo>
                  <a:cubicBezTo>
                    <a:pt x="372" y="2876"/>
                    <a:pt x="281" y="2907"/>
                    <a:pt x="197" y="2935"/>
                  </a:cubicBezTo>
                  <a:cubicBezTo>
                    <a:pt x="74" y="2981"/>
                    <a:pt x="1" y="3012"/>
                    <a:pt x="1" y="3124"/>
                  </a:cubicBezTo>
                  <a:lnTo>
                    <a:pt x="1" y="3142"/>
                  </a:lnTo>
                  <a:lnTo>
                    <a:pt x="2070" y="4238"/>
                  </a:lnTo>
                  <a:lnTo>
                    <a:pt x="2042" y="4581"/>
                  </a:lnTo>
                  <a:lnTo>
                    <a:pt x="2115" y="4637"/>
                  </a:lnTo>
                  <a:lnTo>
                    <a:pt x="2126" y="4644"/>
                  </a:lnTo>
                  <a:lnTo>
                    <a:pt x="2150" y="4661"/>
                  </a:lnTo>
                  <a:lnTo>
                    <a:pt x="2164" y="4672"/>
                  </a:lnTo>
                  <a:lnTo>
                    <a:pt x="2185" y="4686"/>
                  </a:lnTo>
                  <a:lnTo>
                    <a:pt x="2213" y="4707"/>
                  </a:lnTo>
                  <a:lnTo>
                    <a:pt x="2231" y="4717"/>
                  </a:lnTo>
                  <a:lnTo>
                    <a:pt x="2262" y="4742"/>
                  </a:lnTo>
                  <a:lnTo>
                    <a:pt x="2276" y="4752"/>
                  </a:lnTo>
                  <a:lnTo>
                    <a:pt x="2322" y="4784"/>
                  </a:lnTo>
                  <a:lnTo>
                    <a:pt x="2329" y="4787"/>
                  </a:lnTo>
                  <a:lnTo>
                    <a:pt x="2381" y="4826"/>
                  </a:lnTo>
                  <a:lnTo>
                    <a:pt x="2388" y="4829"/>
                  </a:lnTo>
                  <a:lnTo>
                    <a:pt x="2441" y="4868"/>
                  </a:lnTo>
                  <a:lnTo>
                    <a:pt x="2448" y="4875"/>
                  </a:lnTo>
                  <a:lnTo>
                    <a:pt x="2504" y="4913"/>
                  </a:lnTo>
                  <a:lnTo>
                    <a:pt x="2514" y="4920"/>
                  </a:lnTo>
                  <a:lnTo>
                    <a:pt x="2570" y="4959"/>
                  </a:lnTo>
                  <a:lnTo>
                    <a:pt x="2581" y="4966"/>
                  </a:lnTo>
                  <a:lnTo>
                    <a:pt x="2637" y="5008"/>
                  </a:lnTo>
                  <a:lnTo>
                    <a:pt x="2647" y="5015"/>
                  </a:lnTo>
                  <a:lnTo>
                    <a:pt x="2703" y="5053"/>
                  </a:lnTo>
                  <a:lnTo>
                    <a:pt x="2717" y="5064"/>
                  </a:lnTo>
                  <a:lnTo>
                    <a:pt x="2766" y="5099"/>
                  </a:lnTo>
                  <a:lnTo>
                    <a:pt x="2791" y="5113"/>
                  </a:lnTo>
                  <a:lnTo>
                    <a:pt x="2822" y="5137"/>
                  </a:lnTo>
                  <a:lnTo>
                    <a:pt x="2861" y="5162"/>
                  </a:lnTo>
                  <a:cubicBezTo>
                    <a:pt x="3053" y="4689"/>
                    <a:pt x="3298" y="4150"/>
                    <a:pt x="3372" y="4038"/>
                  </a:cubicBezTo>
                  <a:cubicBezTo>
                    <a:pt x="3428" y="3954"/>
                    <a:pt x="3505" y="3884"/>
                    <a:pt x="3600" y="3842"/>
                  </a:cubicBezTo>
                  <a:cubicBezTo>
                    <a:pt x="3645" y="3821"/>
                    <a:pt x="3691" y="3789"/>
                    <a:pt x="3722" y="3751"/>
                  </a:cubicBezTo>
                  <a:cubicBezTo>
                    <a:pt x="3755" y="3703"/>
                    <a:pt x="3807" y="3675"/>
                    <a:pt x="3860" y="3675"/>
                  </a:cubicBezTo>
                  <a:cubicBezTo>
                    <a:pt x="3869" y="3675"/>
                    <a:pt x="3878" y="3676"/>
                    <a:pt x="3887" y="3677"/>
                  </a:cubicBezTo>
                  <a:cubicBezTo>
                    <a:pt x="3888" y="3677"/>
                    <a:pt x="3890" y="3677"/>
                    <a:pt x="3892" y="3677"/>
                  </a:cubicBezTo>
                  <a:cubicBezTo>
                    <a:pt x="3921" y="3677"/>
                    <a:pt x="3947" y="3674"/>
                    <a:pt x="4020" y="3562"/>
                  </a:cubicBezTo>
                  <a:cubicBezTo>
                    <a:pt x="4027" y="3551"/>
                    <a:pt x="4034" y="3537"/>
                    <a:pt x="4041" y="3527"/>
                  </a:cubicBezTo>
                  <a:lnTo>
                    <a:pt x="3785" y="3121"/>
                  </a:lnTo>
                  <a:lnTo>
                    <a:pt x="3754" y="1122"/>
                  </a:lnTo>
                  <a:lnTo>
                    <a:pt x="4016" y="712"/>
                  </a:lnTo>
                  <a:lnTo>
                    <a:pt x="4184" y="471"/>
                  </a:lnTo>
                  <a:lnTo>
                    <a:pt x="4160" y="481"/>
                  </a:lnTo>
                  <a:lnTo>
                    <a:pt x="4139" y="488"/>
                  </a:lnTo>
                  <a:lnTo>
                    <a:pt x="4128" y="492"/>
                  </a:lnTo>
                  <a:lnTo>
                    <a:pt x="4111" y="495"/>
                  </a:lnTo>
                  <a:lnTo>
                    <a:pt x="4104" y="499"/>
                  </a:lnTo>
                  <a:lnTo>
                    <a:pt x="4090" y="502"/>
                  </a:lnTo>
                  <a:lnTo>
                    <a:pt x="4083" y="502"/>
                  </a:lnTo>
                  <a:lnTo>
                    <a:pt x="4072" y="509"/>
                  </a:lnTo>
                  <a:cubicBezTo>
                    <a:pt x="4044" y="523"/>
                    <a:pt x="4013" y="530"/>
                    <a:pt x="3981" y="530"/>
                  </a:cubicBezTo>
                  <a:cubicBezTo>
                    <a:pt x="3946" y="530"/>
                    <a:pt x="3911" y="527"/>
                    <a:pt x="3880" y="513"/>
                  </a:cubicBezTo>
                  <a:cubicBezTo>
                    <a:pt x="3810" y="488"/>
                    <a:pt x="3750" y="439"/>
                    <a:pt x="3719" y="373"/>
                  </a:cubicBezTo>
                  <a:cubicBezTo>
                    <a:pt x="3713" y="370"/>
                    <a:pt x="3704" y="369"/>
                    <a:pt x="3693" y="369"/>
                  </a:cubicBezTo>
                  <a:cubicBezTo>
                    <a:pt x="3631" y="369"/>
                    <a:pt x="3496" y="404"/>
                    <a:pt x="3333" y="495"/>
                  </a:cubicBezTo>
                  <a:cubicBezTo>
                    <a:pt x="3256" y="544"/>
                    <a:pt x="3190" y="607"/>
                    <a:pt x="3130" y="677"/>
                  </a:cubicBezTo>
                  <a:lnTo>
                    <a:pt x="3113" y="698"/>
                  </a:lnTo>
                  <a:lnTo>
                    <a:pt x="3109" y="702"/>
                  </a:lnTo>
                  <a:lnTo>
                    <a:pt x="3092" y="723"/>
                  </a:lnTo>
                  <a:lnTo>
                    <a:pt x="3074" y="740"/>
                  </a:lnTo>
                  <a:lnTo>
                    <a:pt x="3071" y="744"/>
                  </a:lnTo>
                  <a:lnTo>
                    <a:pt x="3050" y="761"/>
                  </a:lnTo>
                  <a:lnTo>
                    <a:pt x="3046" y="761"/>
                  </a:lnTo>
                  <a:lnTo>
                    <a:pt x="3032" y="775"/>
                  </a:lnTo>
                  <a:lnTo>
                    <a:pt x="3025" y="779"/>
                  </a:lnTo>
                  <a:cubicBezTo>
                    <a:pt x="3022" y="782"/>
                    <a:pt x="3015" y="786"/>
                    <a:pt x="3008" y="789"/>
                  </a:cubicBezTo>
                  <a:lnTo>
                    <a:pt x="3004" y="789"/>
                  </a:lnTo>
                  <a:lnTo>
                    <a:pt x="2987" y="793"/>
                  </a:lnTo>
                  <a:lnTo>
                    <a:pt x="2983" y="793"/>
                  </a:lnTo>
                  <a:cubicBezTo>
                    <a:pt x="2976" y="796"/>
                    <a:pt x="2969" y="796"/>
                    <a:pt x="2962" y="796"/>
                  </a:cubicBezTo>
                  <a:lnTo>
                    <a:pt x="2934" y="796"/>
                  </a:lnTo>
                  <a:lnTo>
                    <a:pt x="2924" y="793"/>
                  </a:lnTo>
                  <a:lnTo>
                    <a:pt x="2920" y="793"/>
                  </a:lnTo>
                  <a:lnTo>
                    <a:pt x="2906" y="786"/>
                  </a:lnTo>
                  <a:lnTo>
                    <a:pt x="2903" y="786"/>
                  </a:lnTo>
                  <a:cubicBezTo>
                    <a:pt x="2868" y="761"/>
                    <a:pt x="2661" y="726"/>
                    <a:pt x="2497" y="705"/>
                  </a:cubicBezTo>
                  <a:cubicBezTo>
                    <a:pt x="2434" y="695"/>
                    <a:pt x="2371" y="691"/>
                    <a:pt x="2311" y="688"/>
                  </a:cubicBezTo>
                  <a:cubicBezTo>
                    <a:pt x="2273" y="684"/>
                    <a:pt x="2234" y="677"/>
                    <a:pt x="2199" y="660"/>
                  </a:cubicBezTo>
                  <a:cubicBezTo>
                    <a:pt x="2171" y="649"/>
                    <a:pt x="2140" y="635"/>
                    <a:pt x="2108" y="618"/>
                  </a:cubicBezTo>
                  <a:cubicBezTo>
                    <a:pt x="1940" y="530"/>
                    <a:pt x="1783" y="425"/>
                    <a:pt x="1636" y="306"/>
                  </a:cubicBezTo>
                  <a:cubicBezTo>
                    <a:pt x="1587" y="261"/>
                    <a:pt x="1461" y="250"/>
                    <a:pt x="1356" y="243"/>
                  </a:cubicBezTo>
                  <a:lnTo>
                    <a:pt x="1314" y="240"/>
                  </a:lnTo>
                  <a:cubicBezTo>
                    <a:pt x="1212" y="236"/>
                    <a:pt x="1138" y="233"/>
                    <a:pt x="1089" y="205"/>
                  </a:cubicBezTo>
                  <a:lnTo>
                    <a:pt x="1065" y="194"/>
                  </a:lnTo>
                  <a:cubicBezTo>
                    <a:pt x="1044" y="184"/>
                    <a:pt x="1023" y="173"/>
                    <a:pt x="995" y="163"/>
                  </a:cubicBezTo>
                  <a:lnTo>
                    <a:pt x="925" y="135"/>
                  </a:lnTo>
                  <a:lnTo>
                    <a:pt x="911" y="128"/>
                  </a:lnTo>
                  <a:lnTo>
                    <a:pt x="869" y="114"/>
                  </a:lnTo>
                  <a:cubicBezTo>
                    <a:pt x="844" y="100"/>
                    <a:pt x="816" y="82"/>
                    <a:pt x="792" y="65"/>
                  </a:cubicBezTo>
                  <a:lnTo>
                    <a:pt x="785" y="61"/>
                  </a:lnTo>
                  <a:cubicBezTo>
                    <a:pt x="774" y="54"/>
                    <a:pt x="764" y="44"/>
                    <a:pt x="757" y="33"/>
                  </a:cubicBezTo>
                  <a:cubicBezTo>
                    <a:pt x="747" y="21"/>
                    <a:pt x="718" y="1"/>
                    <a:pt x="6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7" name="Google Shape;6994;p64">
              <a:extLst>
                <a:ext uri="{FF2B5EF4-FFF2-40B4-BE49-F238E27FC236}">
                  <a16:creationId xmlns:a16="http://schemas.microsoft.com/office/drawing/2014/main" id="{46962EF4-925B-35FD-9C6F-22E87B9F2AEC}"/>
                </a:ext>
              </a:extLst>
            </p:cNvPr>
            <p:cNvSpPr/>
            <p:nvPr/>
          </p:nvSpPr>
          <p:spPr>
            <a:xfrm>
              <a:off x="2349886" y="2013858"/>
              <a:ext cx="2254" cy="3286"/>
            </a:xfrm>
            <a:custGeom>
              <a:avLst/>
              <a:gdLst/>
              <a:ahLst/>
              <a:cxnLst/>
              <a:rect l="l" t="t" r="r" b="b"/>
              <a:pathLst>
                <a:path w="166" h="242" extrusionOk="0">
                  <a:moveTo>
                    <a:pt x="1" y="242"/>
                  </a:moveTo>
                  <a:lnTo>
                    <a:pt x="165" y="0"/>
                  </a:lnTo>
                  <a:lnTo>
                    <a:pt x="16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8" name="Google Shape;6995;p64">
              <a:extLst>
                <a:ext uri="{FF2B5EF4-FFF2-40B4-BE49-F238E27FC236}">
                  <a16:creationId xmlns:a16="http://schemas.microsoft.com/office/drawing/2014/main" id="{8894DDD4-7DE0-D9AD-8FCC-8126B0276E46}"/>
                </a:ext>
              </a:extLst>
            </p:cNvPr>
            <p:cNvSpPr/>
            <p:nvPr/>
          </p:nvSpPr>
          <p:spPr>
            <a:xfrm>
              <a:off x="2308149" y="2009201"/>
              <a:ext cx="964" cy="394"/>
            </a:xfrm>
            <a:custGeom>
              <a:avLst/>
              <a:gdLst/>
              <a:ahLst/>
              <a:cxnLst/>
              <a:rect l="l" t="t" r="r" b="b"/>
              <a:pathLst>
                <a:path w="71" h="29" extrusionOk="0">
                  <a:moveTo>
                    <a:pt x="1" y="0"/>
                  </a:moveTo>
                  <a:lnTo>
                    <a:pt x="71" y="28"/>
                  </a:lnTo>
                  <a:lnTo>
                    <a:pt x="53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9" name="Google Shape;6996;p64">
              <a:extLst>
                <a:ext uri="{FF2B5EF4-FFF2-40B4-BE49-F238E27FC236}">
                  <a16:creationId xmlns:a16="http://schemas.microsoft.com/office/drawing/2014/main" id="{7FEB2DD9-EBCE-5714-0669-3040765E123E}"/>
                </a:ext>
              </a:extLst>
            </p:cNvPr>
            <p:cNvSpPr/>
            <p:nvPr/>
          </p:nvSpPr>
          <p:spPr>
            <a:xfrm>
              <a:off x="2302310" y="2007341"/>
              <a:ext cx="3530" cy="448"/>
            </a:xfrm>
            <a:custGeom>
              <a:avLst/>
              <a:gdLst/>
              <a:ahLst/>
              <a:cxnLst/>
              <a:rect l="l" t="t" r="r" b="b"/>
              <a:pathLst>
                <a:path w="260" h="33" extrusionOk="0">
                  <a:moveTo>
                    <a:pt x="148" y="1"/>
                  </a:moveTo>
                  <a:cubicBezTo>
                    <a:pt x="112" y="1"/>
                    <a:pt x="64" y="5"/>
                    <a:pt x="0" y="18"/>
                  </a:cubicBezTo>
                  <a:lnTo>
                    <a:pt x="0" y="18"/>
                  </a:lnTo>
                  <a:cubicBezTo>
                    <a:pt x="61" y="6"/>
                    <a:pt x="108" y="1"/>
                    <a:pt x="144" y="1"/>
                  </a:cubicBezTo>
                  <a:cubicBezTo>
                    <a:pt x="222" y="1"/>
                    <a:pt x="250" y="22"/>
                    <a:pt x="259" y="32"/>
                  </a:cubicBezTo>
                  <a:cubicBezTo>
                    <a:pt x="250" y="20"/>
                    <a:pt x="223" y="1"/>
                    <a:pt x="14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0" name="Google Shape;6997;p64">
              <a:extLst>
                <a:ext uri="{FF2B5EF4-FFF2-40B4-BE49-F238E27FC236}">
                  <a16:creationId xmlns:a16="http://schemas.microsoft.com/office/drawing/2014/main" id="{E063D62B-13C3-0DE5-A9EC-461583A3C683}"/>
                </a:ext>
              </a:extLst>
            </p:cNvPr>
            <p:cNvSpPr/>
            <p:nvPr/>
          </p:nvSpPr>
          <p:spPr>
            <a:xfrm>
              <a:off x="2296513" y="201176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1" name="Google Shape;6998;p64">
              <a:extLst>
                <a:ext uri="{FF2B5EF4-FFF2-40B4-BE49-F238E27FC236}">
                  <a16:creationId xmlns:a16="http://schemas.microsoft.com/office/drawing/2014/main" id="{C7CA06E3-0878-E765-6322-E40C68B1E3EC}"/>
                </a:ext>
              </a:extLst>
            </p:cNvPr>
            <p:cNvSpPr/>
            <p:nvPr/>
          </p:nvSpPr>
          <p:spPr>
            <a:xfrm>
              <a:off x="2296649" y="201152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2" name="Google Shape;6999;p64">
              <a:extLst>
                <a:ext uri="{FF2B5EF4-FFF2-40B4-BE49-F238E27FC236}">
                  <a16:creationId xmlns:a16="http://schemas.microsoft.com/office/drawing/2014/main" id="{ED8B100F-54A2-0514-4547-683481C7B90B}"/>
                </a:ext>
              </a:extLst>
            </p:cNvPr>
            <p:cNvSpPr/>
            <p:nvPr/>
          </p:nvSpPr>
          <p:spPr>
            <a:xfrm>
              <a:off x="2296798" y="2011237"/>
              <a:ext cx="109" cy="122"/>
            </a:xfrm>
            <a:custGeom>
              <a:avLst/>
              <a:gdLst/>
              <a:ahLst/>
              <a:cxnLst/>
              <a:rect l="l" t="t" r="r" b="b"/>
              <a:pathLst>
                <a:path w="8" h="9" extrusionOk="0">
                  <a:moveTo>
                    <a:pt x="7" y="1"/>
                  </a:moveTo>
                  <a:lnTo>
                    <a:pt x="7" y="1"/>
                  </a:lnTo>
                  <a:cubicBezTo>
                    <a:pt x="5" y="3"/>
                    <a:pt x="3" y="6"/>
                    <a:pt x="2" y="7"/>
                  </a:cubicBezTo>
                  <a:lnTo>
                    <a:pt x="2" y="7"/>
                  </a:lnTo>
                  <a:cubicBezTo>
                    <a:pt x="5" y="6"/>
                    <a:pt x="7" y="4"/>
                    <a:pt x="7" y="1"/>
                  </a:cubicBezTo>
                  <a:close/>
                  <a:moveTo>
                    <a:pt x="2" y="7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3" name="Google Shape;7000;p64">
              <a:extLst>
                <a:ext uri="{FF2B5EF4-FFF2-40B4-BE49-F238E27FC236}">
                  <a16:creationId xmlns:a16="http://schemas.microsoft.com/office/drawing/2014/main" id="{8BBD1EB6-429C-8018-712B-672C6127A8C4}"/>
                </a:ext>
              </a:extLst>
            </p:cNvPr>
            <p:cNvSpPr/>
            <p:nvPr/>
          </p:nvSpPr>
          <p:spPr>
            <a:xfrm>
              <a:off x="2296934" y="2010857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1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4" name="Google Shape;7001;p64">
              <a:extLst>
                <a:ext uri="{FF2B5EF4-FFF2-40B4-BE49-F238E27FC236}">
                  <a16:creationId xmlns:a16="http://schemas.microsoft.com/office/drawing/2014/main" id="{112DD2FE-23D7-4E7F-34D0-86EB0CD05417}"/>
                </a:ext>
              </a:extLst>
            </p:cNvPr>
            <p:cNvSpPr/>
            <p:nvPr/>
          </p:nvSpPr>
          <p:spPr>
            <a:xfrm>
              <a:off x="2306248" y="200819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5" name="Google Shape;7002;p64">
              <a:extLst>
                <a:ext uri="{FF2B5EF4-FFF2-40B4-BE49-F238E27FC236}">
                  <a16:creationId xmlns:a16="http://schemas.microsoft.com/office/drawing/2014/main" id="{43846EEC-9A3F-562B-E9D5-33E953687ACF}"/>
                </a:ext>
              </a:extLst>
            </p:cNvPr>
            <p:cNvSpPr/>
            <p:nvPr/>
          </p:nvSpPr>
          <p:spPr>
            <a:xfrm>
              <a:off x="2336336" y="201808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6" name="Google Shape;7003;p64">
              <a:extLst>
                <a:ext uri="{FF2B5EF4-FFF2-40B4-BE49-F238E27FC236}">
                  <a16:creationId xmlns:a16="http://schemas.microsoft.com/office/drawing/2014/main" id="{365E4695-CB5B-DCB1-FF00-371073455822}"/>
                </a:ext>
              </a:extLst>
            </p:cNvPr>
            <p:cNvSpPr/>
            <p:nvPr/>
          </p:nvSpPr>
          <p:spPr>
            <a:xfrm>
              <a:off x="2336675" y="20178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7" name="Google Shape;7004;p64">
              <a:extLst>
                <a:ext uri="{FF2B5EF4-FFF2-40B4-BE49-F238E27FC236}">
                  <a16:creationId xmlns:a16="http://schemas.microsoft.com/office/drawing/2014/main" id="{8C13BAB7-9F71-C1C6-610E-704EEAD58BC6}"/>
                </a:ext>
              </a:extLst>
            </p:cNvPr>
            <p:cNvSpPr/>
            <p:nvPr/>
          </p:nvSpPr>
          <p:spPr>
            <a:xfrm>
              <a:off x="2348270" y="2014333"/>
              <a:ext cx="1398" cy="244"/>
            </a:xfrm>
            <a:custGeom>
              <a:avLst/>
              <a:gdLst/>
              <a:ahLst/>
              <a:cxnLst/>
              <a:rect l="l" t="t" r="r" b="b"/>
              <a:pathLst>
                <a:path w="103" h="18" extrusionOk="0">
                  <a:moveTo>
                    <a:pt x="102" y="18"/>
                  </a:moveTo>
                  <a:cubicBezTo>
                    <a:pt x="67" y="18"/>
                    <a:pt x="32" y="11"/>
                    <a:pt x="1" y="0"/>
                  </a:cubicBezTo>
                  <a:cubicBezTo>
                    <a:pt x="32" y="11"/>
                    <a:pt x="67" y="18"/>
                    <a:pt x="102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8" name="Google Shape;7005;p64">
              <a:extLst>
                <a:ext uri="{FF2B5EF4-FFF2-40B4-BE49-F238E27FC236}">
                  <a16:creationId xmlns:a16="http://schemas.microsoft.com/office/drawing/2014/main" id="{756EE1CE-BBCA-F1CE-1BAC-34AEE896034B}"/>
                </a:ext>
              </a:extLst>
            </p:cNvPr>
            <p:cNvSpPr/>
            <p:nvPr/>
          </p:nvSpPr>
          <p:spPr>
            <a:xfrm>
              <a:off x="2335765" y="20182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9" name="Google Shape;7006;p64">
              <a:extLst>
                <a:ext uri="{FF2B5EF4-FFF2-40B4-BE49-F238E27FC236}">
                  <a16:creationId xmlns:a16="http://schemas.microsoft.com/office/drawing/2014/main" id="{E5E73B8C-9159-2404-95F1-52B203A2C6A0}"/>
                </a:ext>
              </a:extLst>
            </p:cNvPr>
            <p:cNvSpPr/>
            <p:nvPr/>
          </p:nvSpPr>
          <p:spPr>
            <a:xfrm>
              <a:off x="2335480" y="201823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0" name="Google Shape;7007;p64">
              <a:extLst>
                <a:ext uri="{FF2B5EF4-FFF2-40B4-BE49-F238E27FC236}">
                  <a16:creationId xmlns:a16="http://schemas.microsoft.com/office/drawing/2014/main" id="{52A6D799-B1C2-3790-9298-FA6070B4DED2}"/>
                </a:ext>
              </a:extLst>
            </p:cNvPr>
            <p:cNvSpPr/>
            <p:nvPr/>
          </p:nvSpPr>
          <p:spPr>
            <a:xfrm>
              <a:off x="2335249" y="201813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1" name="Google Shape;7008;p64">
              <a:extLst>
                <a:ext uri="{FF2B5EF4-FFF2-40B4-BE49-F238E27FC236}">
                  <a16:creationId xmlns:a16="http://schemas.microsoft.com/office/drawing/2014/main" id="{10FFCB1E-FEBD-EF23-A9A5-D35E173CF01E}"/>
                </a:ext>
              </a:extLst>
            </p:cNvPr>
            <p:cNvSpPr/>
            <p:nvPr/>
          </p:nvSpPr>
          <p:spPr>
            <a:xfrm>
              <a:off x="2336051" y="201817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2" name="Google Shape;7009;p64">
              <a:extLst>
                <a:ext uri="{FF2B5EF4-FFF2-40B4-BE49-F238E27FC236}">
                  <a16:creationId xmlns:a16="http://schemas.microsoft.com/office/drawing/2014/main" id="{5081FD62-F507-3384-0B34-BED49970ED2A}"/>
                </a:ext>
              </a:extLst>
            </p:cNvPr>
            <p:cNvSpPr/>
            <p:nvPr/>
          </p:nvSpPr>
          <p:spPr>
            <a:xfrm>
              <a:off x="2335059" y="20179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3" name="Google Shape;7010;p64">
              <a:extLst>
                <a:ext uri="{FF2B5EF4-FFF2-40B4-BE49-F238E27FC236}">
                  <a16:creationId xmlns:a16="http://schemas.microsoft.com/office/drawing/2014/main" id="{6FC404B0-CD4B-453C-68DA-ADC697A56F91}"/>
                </a:ext>
              </a:extLst>
            </p:cNvPr>
            <p:cNvSpPr/>
            <p:nvPr/>
          </p:nvSpPr>
          <p:spPr>
            <a:xfrm>
              <a:off x="2337816" y="2016804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4" name="Google Shape;7011;p64">
              <a:extLst>
                <a:ext uri="{FF2B5EF4-FFF2-40B4-BE49-F238E27FC236}">
                  <a16:creationId xmlns:a16="http://schemas.microsoft.com/office/drawing/2014/main" id="{024B3C8A-E404-25C5-2968-CE1E61BB6D90}"/>
                </a:ext>
              </a:extLst>
            </p:cNvPr>
            <p:cNvSpPr/>
            <p:nvPr/>
          </p:nvSpPr>
          <p:spPr>
            <a:xfrm>
              <a:off x="2337245" y="201741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5" name="Google Shape;7012;p64">
              <a:extLst>
                <a:ext uri="{FF2B5EF4-FFF2-40B4-BE49-F238E27FC236}">
                  <a16:creationId xmlns:a16="http://schemas.microsoft.com/office/drawing/2014/main" id="{74EBDFE3-2A00-E4A7-C279-F24CC5A78DFC}"/>
                </a:ext>
              </a:extLst>
            </p:cNvPr>
            <p:cNvSpPr/>
            <p:nvPr/>
          </p:nvSpPr>
          <p:spPr>
            <a:xfrm>
              <a:off x="2337571" y="20171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6" name="Google Shape;7013;p64">
              <a:extLst>
                <a:ext uri="{FF2B5EF4-FFF2-40B4-BE49-F238E27FC236}">
                  <a16:creationId xmlns:a16="http://schemas.microsoft.com/office/drawing/2014/main" id="{D2352BA7-9304-3238-E60B-81B701E05B14}"/>
                </a:ext>
              </a:extLst>
            </p:cNvPr>
            <p:cNvSpPr/>
            <p:nvPr/>
          </p:nvSpPr>
          <p:spPr>
            <a:xfrm>
              <a:off x="2336960" y="201770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7" name="Google Shape;7014;p64">
              <a:extLst>
                <a:ext uri="{FF2B5EF4-FFF2-40B4-BE49-F238E27FC236}">
                  <a16:creationId xmlns:a16="http://schemas.microsoft.com/office/drawing/2014/main" id="{91647685-D565-4964-E83E-E347258D31B0}"/>
                </a:ext>
              </a:extLst>
            </p:cNvPr>
            <p:cNvSpPr/>
            <p:nvPr/>
          </p:nvSpPr>
          <p:spPr>
            <a:xfrm>
              <a:off x="2307388" y="2008861"/>
              <a:ext cx="584" cy="258"/>
            </a:xfrm>
            <a:custGeom>
              <a:avLst/>
              <a:gdLst/>
              <a:ahLst/>
              <a:cxnLst/>
              <a:rect l="l" t="t" r="r" b="b"/>
              <a:pathLst>
                <a:path w="43" h="19" extrusionOk="0">
                  <a:moveTo>
                    <a:pt x="1" y="1"/>
                  </a:moveTo>
                  <a:lnTo>
                    <a:pt x="1" y="4"/>
                  </a:lnTo>
                  <a:lnTo>
                    <a:pt x="43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8" name="Google Shape;7015;p64">
              <a:extLst>
                <a:ext uri="{FF2B5EF4-FFF2-40B4-BE49-F238E27FC236}">
                  <a16:creationId xmlns:a16="http://schemas.microsoft.com/office/drawing/2014/main" id="{868AFEDD-8321-2CE8-721D-69CFA71E9ED6}"/>
                </a:ext>
              </a:extLst>
            </p:cNvPr>
            <p:cNvSpPr/>
            <p:nvPr/>
          </p:nvSpPr>
          <p:spPr>
            <a:xfrm>
              <a:off x="2324170" y="2015704"/>
              <a:ext cx="1303" cy="584"/>
            </a:xfrm>
            <a:custGeom>
              <a:avLst/>
              <a:gdLst/>
              <a:ahLst/>
              <a:cxnLst/>
              <a:rect l="l" t="t" r="r" b="b"/>
              <a:pathLst>
                <a:path w="96" h="43" extrusionOk="0">
                  <a:moveTo>
                    <a:pt x="1" y="1"/>
                  </a:moveTo>
                  <a:lnTo>
                    <a:pt x="1" y="1"/>
                  </a:lnTo>
                  <a:cubicBezTo>
                    <a:pt x="32" y="22"/>
                    <a:pt x="64" y="32"/>
                    <a:pt x="95" y="43"/>
                  </a:cubicBezTo>
                  <a:cubicBezTo>
                    <a:pt x="64" y="32"/>
                    <a:pt x="36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9" name="Google Shape;7016;p64">
              <a:extLst>
                <a:ext uri="{FF2B5EF4-FFF2-40B4-BE49-F238E27FC236}">
                  <a16:creationId xmlns:a16="http://schemas.microsoft.com/office/drawing/2014/main" id="{3B3CE649-29F2-34C0-B4EE-D09644026585}"/>
                </a:ext>
              </a:extLst>
            </p:cNvPr>
            <p:cNvSpPr/>
            <p:nvPr/>
          </p:nvSpPr>
          <p:spPr>
            <a:xfrm>
              <a:off x="2310050" y="20099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2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0" name="Google Shape;7017;p64">
              <a:extLst>
                <a:ext uri="{FF2B5EF4-FFF2-40B4-BE49-F238E27FC236}">
                  <a16:creationId xmlns:a16="http://schemas.microsoft.com/office/drawing/2014/main" id="{3845E325-D325-CD0F-8240-9F400F9448A9}"/>
                </a:ext>
              </a:extLst>
            </p:cNvPr>
            <p:cNvSpPr/>
            <p:nvPr/>
          </p:nvSpPr>
          <p:spPr>
            <a:xfrm>
              <a:off x="2351651" y="201395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1" name="Google Shape;7018;p64">
              <a:extLst>
                <a:ext uri="{FF2B5EF4-FFF2-40B4-BE49-F238E27FC236}">
                  <a16:creationId xmlns:a16="http://schemas.microsoft.com/office/drawing/2014/main" id="{3CEFE009-4679-28D8-7045-4125D2E16FFF}"/>
                </a:ext>
              </a:extLst>
            </p:cNvPr>
            <p:cNvSpPr/>
            <p:nvPr/>
          </p:nvSpPr>
          <p:spPr>
            <a:xfrm>
              <a:off x="2314001" y="2010626"/>
              <a:ext cx="10183" cy="5092"/>
            </a:xfrm>
            <a:custGeom>
              <a:avLst/>
              <a:gdLst/>
              <a:ahLst/>
              <a:cxnLst/>
              <a:rect l="l" t="t" r="r" b="b"/>
              <a:pathLst>
                <a:path w="750" h="375" extrusionOk="0">
                  <a:moveTo>
                    <a:pt x="1" y="0"/>
                  </a:moveTo>
                  <a:cubicBezTo>
                    <a:pt x="106" y="7"/>
                    <a:pt x="228" y="18"/>
                    <a:pt x="277" y="63"/>
                  </a:cubicBezTo>
                  <a:cubicBezTo>
                    <a:pt x="424" y="182"/>
                    <a:pt x="582" y="287"/>
                    <a:pt x="750" y="375"/>
                  </a:cubicBezTo>
                  <a:cubicBezTo>
                    <a:pt x="582" y="287"/>
                    <a:pt x="424" y="182"/>
                    <a:pt x="277" y="63"/>
                  </a:cubicBezTo>
                  <a:cubicBezTo>
                    <a:pt x="228" y="18"/>
                    <a:pt x="106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2" name="Google Shape;7019;p64">
              <a:extLst>
                <a:ext uri="{FF2B5EF4-FFF2-40B4-BE49-F238E27FC236}">
                  <a16:creationId xmlns:a16="http://schemas.microsoft.com/office/drawing/2014/main" id="{33D5A511-7BFB-453F-04F1-4EE45DF897F7}"/>
                </a:ext>
              </a:extLst>
            </p:cNvPr>
            <p:cNvSpPr/>
            <p:nvPr/>
          </p:nvSpPr>
          <p:spPr>
            <a:xfrm>
              <a:off x="2352072" y="201385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3" name="Google Shape;7020;p64">
              <a:extLst>
                <a:ext uri="{FF2B5EF4-FFF2-40B4-BE49-F238E27FC236}">
                  <a16:creationId xmlns:a16="http://schemas.microsoft.com/office/drawing/2014/main" id="{5F1819FB-0A0B-88F1-D558-F85AE83BE03B}"/>
                </a:ext>
              </a:extLst>
            </p:cNvPr>
            <p:cNvSpPr/>
            <p:nvPr/>
          </p:nvSpPr>
          <p:spPr>
            <a:xfrm>
              <a:off x="2351027" y="20141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4" name="Google Shape;7021;p64">
              <a:extLst>
                <a:ext uri="{FF2B5EF4-FFF2-40B4-BE49-F238E27FC236}">
                  <a16:creationId xmlns:a16="http://schemas.microsoft.com/office/drawing/2014/main" id="{40C60B3E-D2DE-690D-A68B-9403C7493530}"/>
                </a:ext>
              </a:extLst>
            </p:cNvPr>
            <p:cNvSpPr/>
            <p:nvPr/>
          </p:nvSpPr>
          <p:spPr>
            <a:xfrm>
              <a:off x="2351312" y="20140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5" name="Google Shape;7022;p64">
              <a:extLst>
                <a:ext uri="{FF2B5EF4-FFF2-40B4-BE49-F238E27FC236}">
                  <a16:creationId xmlns:a16="http://schemas.microsoft.com/office/drawing/2014/main" id="{968782C2-9CF2-4672-DDB6-567A00EC95F7}"/>
                </a:ext>
              </a:extLst>
            </p:cNvPr>
            <p:cNvSpPr/>
            <p:nvPr/>
          </p:nvSpPr>
          <p:spPr>
            <a:xfrm>
              <a:off x="2263574" y="2013192"/>
              <a:ext cx="38180" cy="39646"/>
            </a:xfrm>
            <a:custGeom>
              <a:avLst/>
              <a:gdLst/>
              <a:ahLst/>
              <a:cxnLst/>
              <a:rect l="l" t="t" r="r" b="b"/>
              <a:pathLst>
                <a:path w="2812" h="2920" extrusionOk="0">
                  <a:moveTo>
                    <a:pt x="2346" y="0"/>
                  </a:moveTo>
                  <a:lnTo>
                    <a:pt x="2325" y="14"/>
                  </a:lnTo>
                  <a:cubicBezTo>
                    <a:pt x="2290" y="39"/>
                    <a:pt x="2255" y="70"/>
                    <a:pt x="2230" y="102"/>
                  </a:cubicBezTo>
                  <a:cubicBezTo>
                    <a:pt x="2223" y="140"/>
                    <a:pt x="2195" y="175"/>
                    <a:pt x="2160" y="189"/>
                  </a:cubicBezTo>
                  <a:cubicBezTo>
                    <a:pt x="2122" y="210"/>
                    <a:pt x="2068" y="219"/>
                    <a:pt x="2012" y="219"/>
                  </a:cubicBezTo>
                  <a:cubicBezTo>
                    <a:pt x="1934" y="219"/>
                    <a:pt x="1851" y="202"/>
                    <a:pt x="1796" y="175"/>
                  </a:cubicBezTo>
                  <a:cubicBezTo>
                    <a:pt x="1787" y="171"/>
                    <a:pt x="1775" y="169"/>
                    <a:pt x="1761" y="169"/>
                  </a:cubicBezTo>
                  <a:cubicBezTo>
                    <a:pt x="1676" y="169"/>
                    <a:pt x="1510" y="239"/>
                    <a:pt x="1477" y="284"/>
                  </a:cubicBezTo>
                  <a:cubicBezTo>
                    <a:pt x="1474" y="291"/>
                    <a:pt x="1470" y="298"/>
                    <a:pt x="1463" y="305"/>
                  </a:cubicBezTo>
                  <a:lnTo>
                    <a:pt x="1460" y="308"/>
                  </a:lnTo>
                  <a:cubicBezTo>
                    <a:pt x="1453" y="312"/>
                    <a:pt x="1449" y="315"/>
                    <a:pt x="1442" y="319"/>
                  </a:cubicBezTo>
                  <a:cubicBezTo>
                    <a:pt x="1435" y="322"/>
                    <a:pt x="1428" y="326"/>
                    <a:pt x="1421" y="326"/>
                  </a:cubicBezTo>
                  <a:lnTo>
                    <a:pt x="1376" y="326"/>
                  </a:lnTo>
                  <a:lnTo>
                    <a:pt x="1362" y="322"/>
                  </a:lnTo>
                  <a:lnTo>
                    <a:pt x="1355" y="322"/>
                  </a:lnTo>
                  <a:lnTo>
                    <a:pt x="1341" y="319"/>
                  </a:lnTo>
                  <a:lnTo>
                    <a:pt x="1334" y="315"/>
                  </a:lnTo>
                  <a:lnTo>
                    <a:pt x="1320" y="308"/>
                  </a:lnTo>
                  <a:lnTo>
                    <a:pt x="1316" y="308"/>
                  </a:lnTo>
                  <a:lnTo>
                    <a:pt x="1299" y="298"/>
                  </a:lnTo>
                  <a:lnTo>
                    <a:pt x="1292" y="298"/>
                  </a:lnTo>
                  <a:lnTo>
                    <a:pt x="1281" y="287"/>
                  </a:lnTo>
                  <a:lnTo>
                    <a:pt x="1274" y="284"/>
                  </a:lnTo>
                  <a:lnTo>
                    <a:pt x="1260" y="277"/>
                  </a:lnTo>
                  <a:lnTo>
                    <a:pt x="1257" y="273"/>
                  </a:lnTo>
                  <a:lnTo>
                    <a:pt x="1239" y="263"/>
                  </a:lnTo>
                  <a:cubicBezTo>
                    <a:pt x="1194" y="231"/>
                    <a:pt x="1127" y="193"/>
                    <a:pt x="1092" y="193"/>
                  </a:cubicBezTo>
                  <a:cubicBezTo>
                    <a:pt x="994" y="214"/>
                    <a:pt x="900" y="238"/>
                    <a:pt x="805" y="273"/>
                  </a:cubicBezTo>
                  <a:lnTo>
                    <a:pt x="788" y="263"/>
                  </a:lnTo>
                  <a:lnTo>
                    <a:pt x="711" y="287"/>
                  </a:lnTo>
                  <a:lnTo>
                    <a:pt x="707" y="322"/>
                  </a:lnTo>
                  <a:lnTo>
                    <a:pt x="707" y="326"/>
                  </a:lnTo>
                  <a:lnTo>
                    <a:pt x="707" y="343"/>
                  </a:lnTo>
                  <a:lnTo>
                    <a:pt x="707" y="350"/>
                  </a:lnTo>
                  <a:lnTo>
                    <a:pt x="707" y="364"/>
                  </a:lnTo>
                  <a:lnTo>
                    <a:pt x="707" y="378"/>
                  </a:lnTo>
                  <a:lnTo>
                    <a:pt x="707" y="385"/>
                  </a:lnTo>
                  <a:lnTo>
                    <a:pt x="704" y="406"/>
                  </a:lnTo>
                  <a:lnTo>
                    <a:pt x="704" y="413"/>
                  </a:lnTo>
                  <a:lnTo>
                    <a:pt x="704" y="438"/>
                  </a:lnTo>
                  <a:lnTo>
                    <a:pt x="704" y="441"/>
                  </a:lnTo>
                  <a:lnTo>
                    <a:pt x="700" y="466"/>
                  </a:lnTo>
                  <a:lnTo>
                    <a:pt x="700" y="473"/>
                  </a:lnTo>
                  <a:lnTo>
                    <a:pt x="697" y="497"/>
                  </a:lnTo>
                  <a:lnTo>
                    <a:pt x="697" y="504"/>
                  </a:lnTo>
                  <a:lnTo>
                    <a:pt x="693" y="529"/>
                  </a:lnTo>
                  <a:lnTo>
                    <a:pt x="693" y="536"/>
                  </a:lnTo>
                  <a:lnTo>
                    <a:pt x="690" y="557"/>
                  </a:lnTo>
                  <a:lnTo>
                    <a:pt x="690" y="564"/>
                  </a:lnTo>
                  <a:lnTo>
                    <a:pt x="690" y="588"/>
                  </a:lnTo>
                  <a:lnTo>
                    <a:pt x="690" y="599"/>
                  </a:lnTo>
                  <a:lnTo>
                    <a:pt x="690" y="616"/>
                  </a:lnTo>
                  <a:lnTo>
                    <a:pt x="690" y="627"/>
                  </a:lnTo>
                  <a:lnTo>
                    <a:pt x="690" y="644"/>
                  </a:lnTo>
                  <a:lnTo>
                    <a:pt x="690" y="655"/>
                  </a:lnTo>
                  <a:lnTo>
                    <a:pt x="690" y="669"/>
                  </a:lnTo>
                  <a:lnTo>
                    <a:pt x="690" y="679"/>
                  </a:lnTo>
                  <a:lnTo>
                    <a:pt x="690" y="693"/>
                  </a:lnTo>
                  <a:lnTo>
                    <a:pt x="690" y="711"/>
                  </a:lnTo>
                  <a:cubicBezTo>
                    <a:pt x="690" y="749"/>
                    <a:pt x="718" y="774"/>
                    <a:pt x="763" y="809"/>
                  </a:cubicBezTo>
                  <a:cubicBezTo>
                    <a:pt x="809" y="844"/>
                    <a:pt x="872" y="896"/>
                    <a:pt x="872" y="980"/>
                  </a:cubicBezTo>
                  <a:cubicBezTo>
                    <a:pt x="872" y="1061"/>
                    <a:pt x="812" y="1138"/>
                    <a:pt x="763" y="1197"/>
                  </a:cubicBezTo>
                  <a:cubicBezTo>
                    <a:pt x="742" y="1218"/>
                    <a:pt x="725" y="1243"/>
                    <a:pt x="711" y="1271"/>
                  </a:cubicBezTo>
                  <a:cubicBezTo>
                    <a:pt x="693" y="1390"/>
                    <a:pt x="546" y="1446"/>
                    <a:pt x="438" y="1481"/>
                  </a:cubicBezTo>
                  <a:cubicBezTo>
                    <a:pt x="403" y="1492"/>
                    <a:pt x="385" y="1534"/>
                    <a:pt x="361" y="1600"/>
                  </a:cubicBezTo>
                  <a:cubicBezTo>
                    <a:pt x="340" y="1667"/>
                    <a:pt x="301" y="1730"/>
                    <a:pt x="252" y="1775"/>
                  </a:cubicBezTo>
                  <a:cubicBezTo>
                    <a:pt x="214" y="1803"/>
                    <a:pt x="200" y="1873"/>
                    <a:pt x="189" y="1950"/>
                  </a:cubicBezTo>
                  <a:cubicBezTo>
                    <a:pt x="179" y="2013"/>
                    <a:pt x="161" y="2080"/>
                    <a:pt x="137" y="2139"/>
                  </a:cubicBezTo>
                  <a:cubicBezTo>
                    <a:pt x="77" y="2279"/>
                    <a:pt x="46" y="2433"/>
                    <a:pt x="46" y="2584"/>
                  </a:cubicBezTo>
                  <a:lnTo>
                    <a:pt x="46" y="2633"/>
                  </a:lnTo>
                  <a:lnTo>
                    <a:pt x="46" y="2647"/>
                  </a:lnTo>
                  <a:cubicBezTo>
                    <a:pt x="46" y="2661"/>
                    <a:pt x="46" y="2675"/>
                    <a:pt x="46" y="2689"/>
                  </a:cubicBezTo>
                  <a:lnTo>
                    <a:pt x="46" y="2703"/>
                  </a:lnTo>
                  <a:cubicBezTo>
                    <a:pt x="46" y="2720"/>
                    <a:pt x="42" y="2738"/>
                    <a:pt x="39" y="2755"/>
                  </a:cubicBezTo>
                  <a:lnTo>
                    <a:pt x="39" y="2762"/>
                  </a:lnTo>
                  <a:cubicBezTo>
                    <a:pt x="35" y="2780"/>
                    <a:pt x="35" y="2794"/>
                    <a:pt x="32" y="2808"/>
                  </a:cubicBezTo>
                  <a:lnTo>
                    <a:pt x="28" y="2822"/>
                  </a:lnTo>
                  <a:cubicBezTo>
                    <a:pt x="25" y="2836"/>
                    <a:pt x="21" y="2853"/>
                    <a:pt x="18" y="2867"/>
                  </a:cubicBezTo>
                  <a:lnTo>
                    <a:pt x="14" y="2878"/>
                  </a:lnTo>
                  <a:cubicBezTo>
                    <a:pt x="11" y="2892"/>
                    <a:pt x="7" y="2906"/>
                    <a:pt x="0" y="2920"/>
                  </a:cubicBezTo>
                  <a:lnTo>
                    <a:pt x="4" y="2920"/>
                  </a:lnTo>
                  <a:cubicBezTo>
                    <a:pt x="14" y="2920"/>
                    <a:pt x="25" y="2920"/>
                    <a:pt x="35" y="2916"/>
                  </a:cubicBezTo>
                  <a:cubicBezTo>
                    <a:pt x="46" y="2916"/>
                    <a:pt x="53" y="2913"/>
                    <a:pt x="63" y="2909"/>
                  </a:cubicBezTo>
                  <a:lnTo>
                    <a:pt x="70" y="2906"/>
                  </a:lnTo>
                  <a:lnTo>
                    <a:pt x="91" y="2899"/>
                  </a:lnTo>
                  <a:lnTo>
                    <a:pt x="98" y="2895"/>
                  </a:lnTo>
                  <a:lnTo>
                    <a:pt x="126" y="2881"/>
                  </a:lnTo>
                  <a:lnTo>
                    <a:pt x="137" y="2878"/>
                  </a:lnTo>
                  <a:lnTo>
                    <a:pt x="161" y="2867"/>
                  </a:lnTo>
                  <a:lnTo>
                    <a:pt x="165" y="2867"/>
                  </a:lnTo>
                  <a:lnTo>
                    <a:pt x="189" y="2857"/>
                  </a:lnTo>
                  <a:lnTo>
                    <a:pt x="224" y="2843"/>
                  </a:lnTo>
                  <a:lnTo>
                    <a:pt x="263" y="2829"/>
                  </a:lnTo>
                  <a:lnTo>
                    <a:pt x="270" y="2829"/>
                  </a:lnTo>
                  <a:lnTo>
                    <a:pt x="301" y="2818"/>
                  </a:lnTo>
                  <a:lnTo>
                    <a:pt x="326" y="2811"/>
                  </a:lnTo>
                  <a:lnTo>
                    <a:pt x="340" y="2808"/>
                  </a:lnTo>
                  <a:lnTo>
                    <a:pt x="378" y="2797"/>
                  </a:lnTo>
                  <a:lnTo>
                    <a:pt x="417" y="2787"/>
                  </a:lnTo>
                  <a:lnTo>
                    <a:pt x="497" y="2762"/>
                  </a:lnTo>
                  <a:lnTo>
                    <a:pt x="504" y="2762"/>
                  </a:lnTo>
                  <a:cubicBezTo>
                    <a:pt x="599" y="2734"/>
                    <a:pt x="676" y="2717"/>
                    <a:pt x="700" y="2710"/>
                  </a:cubicBezTo>
                  <a:lnTo>
                    <a:pt x="718" y="2710"/>
                  </a:lnTo>
                  <a:lnTo>
                    <a:pt x="1131" y="2675"/>
                  </a:lnTo>
                  <a:cubicBezTo>
                    <a:pt x="1211" y="2465"/>
                    <a:pt x="1362" y="2146"/>
                    <a:pt x="1575" y="2083"/>
                  </a:cubicBezTo>
                  <a:cubicBezTo>
                    <a:pt x="1665" y="2056"/>
                    <a:pt x="1772" y="2043"/>
                    <a:pt x="1889" y="2043"/>
                  </a:cubicBezTo>
                  <a:cubicBezTo>
                    <a:pt x="2013" y="2043"/>
                    <a:pt x="2147" y="2058"/>
                    <a:pt x="2283" y="2087"/>
                  </a:cubicBezTo>
                  <a:lnTo>
                    <a:pt x="2293" y="2062"/>
                  </a:lnTo>
                  <a:lnTo>
                    <a:pt x="2297" y="2048"/>
                  </a:lnTo>
                  <a:lnTo>
                    <a:pt x="2314" y="2010"/>
                  </a:lnTo>
                  <a:lnTo>
                    <a:pt x="2328" y="1978"/>
                  </a:lnTo>
                  <a:lnTo>
                    <a:pt x="2332" y="1964"/>
                  </a:lnTo>
                  <a:lnTo>
                    <a:pt x="2342" y="1947"/>
                  </a:lnTo>
                  <a:lnTo>
                    <a:pt x="2346" y="1936"/>
                  </a:lnTo>
                  <a:lnTo>
                    <a:pt x="2353" y="1919"/>
                  </a:lnTo>
                  <a:lnTo>
                    <a:pt x="2360" y="1908"/>
                  </a:lnTo>
                  <a:lnTo>
                    <a:pt x="2363" y="1894"/>
                  </a:lnTo>
                  <a:lnTo>
                    <a:pt x="2370" y="1884"/>
                  </a:lnTo>
                  <a:lnTo>
                    <a:pt x="2377" y="1873"/>
                  </a:lnTo>
                  <a:lnTo>
                    <a:pt x="2381" y="1866"/>
                  </a:lnTo>
                  <a:lnTo>
                    <a:pt x="2384" y="1856"/>
                  </a:lnTo>
                  <a:lnTo>
                    <a:pt x="2391" y="1849"/>
                  </a:lnTo>
                  <a:lnTo>
                    <a:pt x="2395" y="1838"/>
                  </a:lnTo>
                  <a:lnTo>
                    <a:pt x="2398" y="1831"/>
                  </a:lnTo>
                  <a:lnTo>
                    <a:pt x="2402" y="1824"/>
                  </a:lnTo>
                  <a:lnTo>
                    <a:pt x="2405" y="1817"/>
                  </a:lnTo>
                  <a:lnTo>
                    <a:pt x="2412" y="1814"/>
                  </a:lnTo>
                  <a:lnTo>
                    <a:pt x="2416" y="1807"/>
                  </a:lnTo>
                  <a:lnTo>
                    <a:pt x="2419" y="1803"/>
                  </a:lnTo>
                  <a:lnTo>
                    <a:pt x="2423" y="1796"/>
                  </a:lnTo>
                  <a:lnTo>
                    <a:pt x="2426" y="1793"/>
                  </a:lnTo>
                  <a:lnTo>
                    <a:pt x="2426" y="1789"/>
                  </a:lnTo>
                  <a:lnTo>
                    <a:pt x="2430" y="1786"/>
                  </a:lnTo>
                  <a:lnTo>
                    <a:pt x="2433" y="1782"/>
                  </a:lnTo>
                  <a:lnTo>
                    <a:pt x="2440" y="1775"/>
                  </a:lnTo>
                  <a:cubicBezTo>
                    <a:pt x="2587" y="1628"/>
                    <a:pt x="2759" y="1365"/>
                    <a:pt x="2783" y="1169"/>
                  </a:cubicBezTo>
                  <a:cubicBezTo>
                    <a:pt x="2804" y="1001"/>
                    <a:pt x="2811" y="826"/>
                    <a:pt x="2811" y="760"/>
                  </a:cubicBezTo>
                  <a:lnTo>
                    <a:pt x="2594" y="567"/>
                  </a:lnTo>
                  <a:lnTo>
                    <a:pt x="2538" y="175"/>
                  </a:lnTo>
                  <a:lnTo>
                    <a:pt x="234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6" name="Google Shape;7023;p64">
              <a:extLst>
                <a:ext uri="{FF2B5EF4-FFF2-40B4-BE49-F238E27FC236}">
                  <a16:creationId xmlns:a16="http://schemas.microsoft.com/office/drawing/2014/main" id="{FCBDE2ED-0D1D-308C-139C-7C4784C9C26A}"/>
                </a:ext>
              </a:extLst>
            </p:cNvPr>
            <p:cNvSpPr/>
            <p:nvPr/>
          </p:nvSpPr>
          <p:spPr>
            <a:xfrm>
              <a:off x="2263710" y="205268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7" name="Google Shape;7024;p64">
              <a:extLst>
                <a:ext uri="{FF2B5EF4-FFF2-40B4-BE49-F238E27FC236}">
                  <a16:creationId xmlns:a16="http://schemas.microsoft.com/office/drawing/2014/main" id="{37D5EC49-1F48-840B-6EF6-9962FBC776DE}"/>
                </a:ext>
              </a:extLst>
            </p:cNvPr>
            <p:cNvSpPr/>
            <p:nvPr/>
          </p:nvSpPr>
          <p:spPr>
            <a:xfrm>
              <a:off x="2264144" y="205254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8" name="Google Shape;7025;p64">
              <a:extLst>
                <a:ext uri="{FF2B5EF4-FFF2-40B4-BE49-F238E27FC236}">
                  <a16:creationId xmlns:a16="http://schemas.microsoft.com/office/drawing/2014/main" id="{66358D90-5289-A3F6-053F-54884F487963}"/>
                </a:ext>
              </a:extLst>
            </p:cNvPr>
            <p:cNvSpPr/>
            <p:nvPr/>
          </p:nvSpPr>
          <p:spPr>
            <a:xfrm>
              <a:off x="2265135" y="2052024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9" name="Google Shape;7026;p64">
              <a:extLst>
                <a:ext uri="{FF2B5EF4-FFF2-40B4-BE49-F238E27FC236}">
                  <a16:creationId xmlns:a16="http://schemas.microsoft.com/office/drawing/2014/main" id="{B87297CB-8C56-7EC7-5E8D-1E6487C8786A}"/>
                </a:ext>
              </a:extLst>
            </p:cNvPr>
            <p:cNvSpPr/>
            <p:nvPr/>
          </p:nvSpPr>
          <p:spPr>
            <a:xfrm>
              <a:off x="2264524" y="2052404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0" name="Google Shape;7027;p64">
              <a:extLst>
                <a:ext uri="{FF2B5EF4-FFF2-40B4-BE49-F238E27FC236}">
                  <a16:creationId xmlns:a16="http://schemas.microsoft.com/office/drawing/2014/main" id="{4C58EFC7-B891-C46F-8EA2-A398A3C191DD}"/>
                </a:ext>
              </a:extLst>
            </p:cNvPr>
            <p:cNvSpPr/>
            <p:nvPr/>
          </p:nvSpPr>
          <p:spPr>
            <a:xfrm>
              <a:off x="2265475" y="2051834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11"/>
                  </a:moveTo>
                  <a:lnTo>
                    <a:pt x="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1" name="Google Shape;7028;p64">
              <a:extLst>
                <a:ext uri="{FF2B5EF4-FFF2-40B4-BE49-F238E27FC236}">
                  <a16:creationId xmlns:a16="http://schemas.microsoft.com/office/drawing/2014/main" id="{C03A3AC9-9905-F9FF-01CA-A7317E8CC765}"/>
                </a:ext>
              </a:extLst>
            </p:cNvPr>
            <p:cNvSpPr/>
            <p:nvPr/>
          </p:nvSpPr>
          <p:spPr>
            <a:xfrm>
              <a:off x="2266941" y="2051304"/>
              <a:ext cx="448" cy="163"/>
            </a:xfrm>
            <a:custGeom>
              <a:avLst/>
              <a:gdLst/>
              <a:ahLst/>
              <a:cxnLst/>
              <a:rect l="l" t="t" r="r" b="b"/>
              <a:pathLst>
                <a:path w="33" h="12" extrusionOk="0">
                  <a:moveTo>
                    <a:pt x="1" y="1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2" name="Google Shape;7029;p64">
              <a:extLst>
                <a:ext uri="{FF2B5EF4-FFF2-40B4-BE49-F238E27FC236}">
                  <a16:creationId xmlns:a16="http://schemas.microsoft.com/office/drawing/2014/main" id="{3AEF60E8-E553-8F3E-C3D5-2EE29FCDE08F}"/>
                </a:ext>
              </a:extLst>
            </p:cNvPr>
            <p:cNvSpPr/>
            <p:nvPr/>
          </p:nvSpPr>
          <p:spPr>
            <a:xfrm>
              <a:off x="2270037" y="2050503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3" name="Google Shape;7030;p64">
              <a:extLst>
                <a:ext uri="{FF2B5EF4-FFF2-40B4-BE49-F238E27FC236}">
                  <a16:creationId xmlns:a16="http://schemas.microsoft.com/office/drawing/2014/main" id="{994566A0-6385-592A-A31A-AC370D8C4A4A}"/>
                </a:ext>
              </a:extLst>
            </p:cNvPr>
            <p:cNvSpPr/>
            <p:nvPr/>
          </p:nvSpPr>
          <p:spPr>
            <a:xfrm>
              <a:off x="2263329" y="20527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4" name="Google Shape;7031;p64">
              <a:extLst>
                <a:ext uri="{FF2B5EF4-FFF2-40B4-BE49-F238E27FC236}">
                  <a16:creationId xmlns:a16="http://schemas.microsoft.com/office/drawing/2014/main" id="{56EFCA5A-79D5-4F5D-5DBB-276CC70DDE9A}"/>
                </a:ext>
              </a:extLst>
            </p:cNvPr>
            <p:cNvSpPr/>
            <p:nvPr/>
          </p:nvSpPr>
          <p:spPr>
            <a:xfrm>
              <a:off x="2265896" y="2051644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14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5" name="Google Shape;7032;p64">
              <a:extLst>
                <a:ext uri="{FF2B5EF4-FFF2-40B4-BE49-F238E27FC236}">
                  <a16:creationId xmlns:a16="http://schemas.microsoft.com/office/drawing/2014/main" id="{0C7972EA-C94F-B728-A211-7C6230FB748C}"/>
                </a:ext>
              </a:extLst>
            </p:cNvPr>
            <p:cNvSpPr/>
            <p:nvPr/>
          </p:nvSpPr>
          <p:spPr>
            <a:xfrm>
              <a:off x="2266371" y="2051495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1" y="11"/>
                  </a:moveTo>
                  <a:lnTo>
                    <a:pt x="3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6" name="Google Shape;7033;p64">
              <a:extLst>
                <a:ext uri="{FF2B5EF4-FFF2-40B4-BE49-F238E27FC236}">
                  <a16:creationId xmlns:a16="http://schemas.microsoft.com/office/drawing/2014/main" id="{D3E32CE8-668C-2524-089F-FD7DC900AB18}"/>
                </a:ext>
              </a:extLst>
            </p:cNvPr>
            <p:cNvSpPr/>
            <p:nvPr/>
          </p:nvSpPr>
          <p:spPr>
            <a:xfrm>
              <a:off x="2267756" y="205116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7" name="Google Shape;7034;p64">
              <a:extLst>
                <a:ext uri="{FF2B5EF4-FFF2-40B4-BE49-F238E27FC236}">
                  <a16:creationId xmlns:a16="http://schemas.microsoft.com/office/drawing/2014/main" id="{9EFA20D6-AF97-DFF4-4809-A8F9811C0FBA}"/>
                </a:ext>
              </a:extLst>
            </p:cNvPr>
            <p:cNvSpPr/>
            <p:nvPr/>
          </p:nvSpPr>
          <p:spPr>
            <a:xfrm>
              <a:off x="2280872" y="201703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8" name="Google Shape;7035;p64">
              <a:extLst>
                <a:ext uri="{FF2B5EF4-FFF2-40B4-BE49-F238E27FC236}">
                  <a16:creationId xmlns:a16="http://schemas.microsoft.com/office/drawing/2014/main" id="{A5BF3CF0-D9B4-9D98-09F5-431734F64B66}"/>
                </a:ext>
              </a:extLst>
            </p:cNvPr>
            <p:cNvSpPr/>
            <p:nvPr/>
          </p:nvSpPr>
          <p:spPr>
            <a:xfrm>
              <a:off x="2281958" y="201751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9" name="Google Shape;7036;p64">
              <a:extLst>
                <a:ext uri="{FF2B5EF4-FFF2-40B4-BE49-F238E27FC236}">
                  <a16:creationId xmlns:a16="http://schemas.microsoft.com/office/drawing/2014/main" id="{34734DBC-2196-A1CC-6683-D496E0D58CD1}"/>
                </a:ext>
              </a:extLst>
            </p:cNvPr>
            <p:cNvSpPr/>
            <p:nvPr/>
          </p:nvSpPr>
          <p:spPr>
            <a:xfrm>
              <a:off x="2283098" y="2017184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0" name="Google Shape;7037;p64">
              <a:extLst>
                <a:ext uri="{FF2B5EF4-FFF2-40B4-BE49-F238E27FC236}">
                  <a16:creationId xmlns:a16="http://schemas.microsoft.com/office/drawing/2014/main" id="{BAA6DC92-6275-3B79-DF9E-40999DAE9C2A}"/>
                </a:ext>
              </a:extLst>
            </p:cNvPr>
            <p:cNvSpPr/>
            <p:nvPr/>
          </p:nvSpPr>
          <p:spPr>
            <a:xfrm>
              <a:off x="2282338" y="20175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1" name="Google Shape;7038;p64">
              <a:extLst>
                <a:ext uri="{FF2B5EF4-FFF2-40B4-BE49-F238E27FC236}">
                  <a16:creationId xmlns:a16="http://schemas.microsoft.com/office/drawing/2014/main" id="{B233CFE3-05F8-FFBF-2652-1E3F37D43C3B}"/>
                </a:ext>
              </a:extLst>
            </p:cNvPr>
            <p:cNvSpPr/>
            <p:nvPr/>
          </p:nvSpPr>
          <p:spPr>
            <a:xfrm>
              <a:off x="2282528" y="201751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2" name="Google Shape;7039;p64">
              <a:extLst>
                <a:ext uri="{FF2B5EF4-FFF2-40B4-BE49-F238E27FC236}">
                  <a16:creationId xmlns:a16="http://schemas.microsoft.com/office/drawing/2014/main" id="{D0EBB39C-5AB2-7AD0-6357-B8E6FDB578A7}"/>
                </a:ext>
              </a:extLst>
            </p:cNvPr>
            <p:cNvSpPr/>
            <p:nvPr/>
          </p:nvSpPr>
          <p:spPr>
            <a:xfrm>
              <a:off x="2274219" y="2015664"/>
              <a:ext cx="3910" cy="1059"/>
            </a:xfrm>
            <a:custGeom>
              <a:avLst/>
              <a:gdLst/>
              <a:ahLst/>
              <a:cxnLst/>
              <a:rect l="l" t="t" r="r" b="b"/>
              <a:pathLst>
                <a:path w="288" h="78" extrusionOk="0">
                  <a:moveTo>
                    <a:pt x="287" y="0"/>
                  </a:moveTo>
                  <a:cubicBezTo>
                    <a:pt x="189" y="18"/>
                    <a:pt x="95" y="42"/>
                    <a:pt x="0" y="77"/>
                  </a:cubicBezTo>
                  <a:lnTo>
                    <a:pt x="0" y="77"/>
                  </a:lnTo>
                  <a:cubicBezTo>
                    <a:pt x="95" y="42"/>
                    <a:pt x="189" y="18"/>
                    <a:pt x="28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3" name="Google Shape;7040;p64">
              <a:extLst>
                <a:ext uri="{FF2B5EF4-FFF2-40B4-BE49-F238E27FC236}">
                  <a16:creationId xmlns:a16="http://schemas.microsoft.com/office/drawing/2014/main" id="{71E19F46-D3F0-E50D-6A6E-4AF15D3FA47E}"/>
                </a:ext>
              </a:extLst>
            </p:cNvPr>
            <p:cNvSpPr/>
            <p:nvPr/>
          </p:nvSpPr>
          <p:spPr>
            <a:xfrm>
              <a:off x="2282867" y="201737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4" name="Google Shape;7041;p64">
              <a:extLst>
                <a:ext uri="{FF2B5EF4-FFF2-40B4-BE49-F238E27FC236}">
                  <a16:creationId xmlns:a16="http://schemas.microsoft.com/office/drawing/2014/main" id="{83C886ED-41F0-9FA6-9716-96718A95318F}"/>
                </a:ext>
              </a:extLst>
            </p:cNvPr>
            <p:cNvSpPr/>
            <p:nvPr/>
          </p:nvSpPr>
          <p:spPr>
            <a:xfrm>
              <a:off x="2281673" y="201741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5" name="Google Shape;7042;p64">
              <a:extLst>
                <a:ext uri="{FF2B5EF4-FFF2-40B4-BE49-F238E27FC236}">
                  <a16:creationId xmlns:a16="http://schemas.microsoft.com/office/drawing/2014/main" id="{B8AE1B29-8F2C-72AA-14D5-FE6853601369}"/>
                </a:ext>
              </a:extLst>
            </p:cNvPr>
            <p:cNvSpPr/>
            <p:nvPr/>
          </p:nvSpPr>
          <p:spPr>
            <a:xfrm>
              <a:off x="2280586" y="2016899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6" name="Google Shape;7043;p64">
              <a:extLst>
                <a:ext uri="{FF2B5EF4-FFF2-40B4-BE49-F238E27FC236}">
                  <a16:creationId xmlns:a16="http://schemas.microsoft.com/office/drawing/2014/main" id="{AB0B9CC2-927E-703C-9793-65EFF86EEE0F}"/>
                </a:ext>
              </a:extLst>
            </p:cNvPr>
            <p:cNvSpPr/>
            <p:nvPr/>
          </p:nvSpPr>
          <p:spPr>
            <a:xfrm>
              <a:off x="2280342" y="201675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7" name="Google Shape;7044;p64">
              <a:extLst>
                <a:ext uri="{FF2B5EF4-FFF2-40B4-BE49-F238E27FC236}">
                  <a16:creationId xmlns:a16="http://schemas.microsoft.com/office/drawing/2014/main" id="{EFBBF9CA-3304-7364-A7C1-AF660A8A7762}"/>
                </a:ext>
              </a:extLst>
            </p:cNvPr>
            <p:cNvSpPr/>
            <p:nvPr/>
          </p:nvSpPr>
          <p:spPr>
            <a:xfrm>
              <a:off x="2281442" y="201732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1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8" name="Google Shape;7045;p64">
              <a:extLst>
                <a:ext uri="{FF2B5EF4-FFF2-40B4-BE49-F238E27FC236}">
                  <a16:creationId xmlns:a16="http://schemas.microsoft.com/office/drawing/2014/main" id="{9E5CF3CD-91DE-B31A-F676-2E044B850C67}"/>
                </a:ext>
              </a:extLst>
            </p:cNvPr>
            <p:cNvSpPr/>
            <p:nvPr/>
          </p:nvSpPr>
          <p:spPr>
            <a:xfrm>
              <a:off x="2281157" y="2017225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9" name="Google Shape;7046;p64">
              <a:extLst>
                <a:ext uri="{FF2B5EF4-FFF2-40B4-BE49-F238E27FC236}">
                  <a16:creationId xmlns:a16="http://schemas.microsoft.com/office/drawing/2014/main" id="{CC235766-EA95-98AE-071F-C6D4DA32CD34}"/>
                </a:ext>
              </a:extLst>
            </p:cNvPr>
            <p:cNvSpPr/>
            <p:nvPr/>
          </p:nvSpPr>
          <p:spPr>
            <a:xfrm>
              <a:off x="2295793" y="203786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0" name="Google Shape;7047;p64">
              <a:extLst>
                <a:ext uri="{FF2B5EF4-FFF2-40B4-BE49-F238E27FC236}">
                  <a16:creationId xmlns:a16="http://schemas.microsoft.com/office/drawing/2014/main" id="{68D9ED46-9399-43EF-5AA4-55B2396054E6}"/>
                </a:ext>
              </a:extLst>
            </p:cNvPr>
            <p:cNvSpPr/>
            <p:nvPr/>
          </p:nvSpPr>
          <p:spPr>
            <a:xfrm>
              <a:off x="2295562" y="2038284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1" name="Google Shape;7048;p64">
              <a:extLst>
                <a:ext uri="{FF2B5EF4-FFF2-40B4-BE49-F238E27FC236}">
                  <a16:creationId xmlns:a16="http://schemas.microsoft.com/office/drawing/2014/main" id="{48AF00C4-A69C-39EA-712D-D68518227679}"/>
                </a:ext>
              </a:extLst>
            </p:cNvPr>
            <p:cNvSpPr/>
            <p:nvPr/>
          </p:nvSpPr>
          <p:spPr>
            <a:xfrm>
              <a:off x="2295413" y="203856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2" name="Google Shape;7049;p64">
              <a:extLst>
                <a:ext uri="{FF2B5EF4-FFF2-40B4-BE49-F238E27FC236}">
                  <a16:creationId xmlns:a16="http://schemas.microsoft.com/office/drawing/2014/main" id="{11B1588E-C40B-8786-A01C-ED932B78BD51}"/>
                </a:ext>
              </a:extLst>
            </p:cNvPr>
            <p:cNvSpPr/>
            <p:nvPr/>
          </p:nvSpPr>
          <p:spPr>
            <a:xfrm>
              <a:off x="2295698" y="203805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3" name="Google Shape;7050;p64">
              <a:extLst>
                <a:ext uri="{FF2B5EF4-FFF2-40B4-BE49-F238E27FC236}">
                  <a16:creationId xmlns:a16="http://schemas.microsoft.com/office/drawing/2014/main" id="{0E14A4A0-080E-3CB6-695B-5DD97E5C1673}"/>
                </a:ext>
              </a:extLst>
            </p:cNvPr>
            <p:cNvSpPr/>
            <p:nvPr/>
          </p:nvSpPr>
          <p:spPr>
            <a:xfrm>
              <a:off x="2294897" y="2039669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4" name="Google Shape;7051;p64">
              <a:extLst>
                <a:ext uri="{FF2B5EF4-FFF2-40B4-BE49-F238E27FC236}">
                  <a16:creationId xmlns:a16="http://schemas.microsoft.com/office/drawing/2014/main" id="{CB3D5832-94B5-DC9B-708C-5A0B8C079ACA}"/>
                </a:ext>
              </a:extLst>
            </p:cNvPr>
            <p:cNvSpPr/>
            <p:nvPr/>
          </p:nvSpPr>
          <p:spPr>
            <a:xfrm>
              <a:off x="2295277" y="203890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5" name="Google Shape;7052;p64">
              <a:extLst>
                <a:ext uri="{FF2B5EF4-FFF2-40B4-BE49-F238E27FC236}">
                  <a16:creationId xmlns:a16="http://schemas.microsoft.com/office/drawing/2014/main" id="{B588F198-B93C-8C99-0423-942A45FA206E}"/>
                </a:ext>
              </a:extLst>
            </p:cNvPr>
            <p:cNvSpPr/>
            <p:nvPr/>
          </p:nvSpPr>
          <p:spPr>
            <a:xfrm>
              <a:off x="2295087" y="2039234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6" name="Google Shape;7053;p64">
              <a:extLst>
                <a:ext uri="{FF2B5EF4-FFF2-40B4-BE49-F238E27FC236}">
                  <a16:creationId xmlns:a16="http://schemas.microsoft.com/office/drawing/2014/main" id="{E6844F6C-8C8F-0DA2-F123-858584FF8628}"/>
                </a:ext>
              </a:extLst>
            </p:cNvPr>
            <p:cNvSpPr/>
            <p:nvPr/>
          </p:nvSpPr>
          <p:spPr>
            <a:xfrm>
              <a:off x="2296228" y="2037293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7" name="Google Shape;7054;p64">
              <a:extLst>
                <a:ext uri="{FF2B5EF4-FFF2-40B4-BE49-F238E27FC236}">
                  <a16:creationId xmlns:a16="http://schemas.microsoft.com/office/drawing/2014/main" id="{5FE31A50-4F34-6AFF-DAB3-4CC43A071E7A}"/>
                </a:ext>
              </a:extLst>
            </p:cNvPr>
            <p:cNvSpPr/>
            <p:nvPr/>
          </p:nvSpPr>
          <p:spPr>
            <a:xfrm>
              <a:off x="2296323" y="2037197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8" name="Google Shape;7055;p64">
              <a:extLst>
                <a:ext uri="{FF2B5EF4-FFF2-40B4-BE49-F238E27FC236}">
                  <a16:creationId xmlns:a16="http://schemas.microsoft.com/office/drawing/2014/main" id="{7B35E1B9-8B1B-1DA7-188C-DA3A0EFB1896}"/>
                </a:ext>
              </a:extLst>
            </p:cNvPr>
            <p:cNvSpPr/>
            <p:nvPr/>
          </p:nvSpPr>
          <p:spPr>
            <a:xfrm>
              <a:off x="2294707" y="2040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9" name="Google Shape;7056;p64">
              <a:extLst>
                <a:ext uri="{FF2B5EF4-FFF2-40B4-BE49-F238E27FC236}">
                  <a16:creationId xmlns:a16="http://schemas.microsoft.com/office/drawing/2014/main" id="{E7581DE6-E207-E3C8-F05C-A8E5D8E67C8D}"/>
                </a:ext>
              </a:extLst>
            </p:cNvPr>
            <p:cNvSpPr/>
            <p:nvPr/>
          </p:nvSpPr>
          <p:spPr>
            <a:xfrm>
              <a:off x="2295128" y="2013043"/>
              <a:ext cx="2634" cy="2349"/>
            </a:xfrm>
            <a:custGeom>
              <a:avLst/>
              <a:gdLst/>
              <a:ahLst/>
              <a:cxnLst/>
              <a:rect l="l" t="t" r="r" b="b"/>
              <a:pathLst>
                <a:path w="194" h="173" extrusionOk="0">
                  <a:moveTo>
                    <a:pt x="1" y="1"/>
                  </a:moveTo>
                  <a:lnTo>
                    <a:pt x="1" y="1"/>
                  </a:lnTo>
                  <a:lnTo>
                    <a:pt x="193" y="17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0" name="Google Shape;7057;p64">
              <a:extLst>
                <a:ext uri="{FF2B5EF4-FFF2-40B4-BE49-F238E27FC236}">
                  <a16:creationId xmlns:a16="http://schemas.microsoft.com/office/drawing/2014/main" id="{D8F3B920-6DE5-BD12-25EC-040C4FFC674C}"/>
                </a:ext>
              </a:extLst>
            </p:cNvPr>
            <p:cNvSpPr/>
            <p:nvPr/>
          </p:nvSpPr>
          <p:spPr>
            <a:xfrm>
              <a:off x="2296133" y="2037388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1" name="Google Shape;7058;p64">
              <a:extLst>
                <a:ext uri="{FF2B5EF4-FFF2-40B4-BE49-F238E27FC236}">
                  <a16:creationId xmlns:a16="http://schemas.microsoft.com/office/drawing/2014/main" id="{90A93352-BBED-BE36-4DB7-3FD9A08F43FD}"/>
                </a:ext>
              </a:extLst>
            </p:cNvPr>
            <p:cNvSpPr/>
            <p:nvPr/>
          </p:nvSpPr>
          <p:spPr>
            <a:xfrm>
              <a:off x="2295943" y="203767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2" name="Google Shape;7059;p64">
              <a:extLst>
                <a:ext uri="{FF2B5EF4-FFF2-40B4-BE49-F238E27FC236}">
                  <a16:creationId xmlns:a16="http://schemas.microsoft.com/office/drawing/2014/main" id="{7398ED15-BCA1-86BC-FBC3-D4D8C51606F5}"/>
                </a:ext>
              </a:extLst>
            </p:cNvPr>
            <p:cNvSpPr/>
            <p:nvPr/>
          </p:nvSpPr>
          <p:spPr>
            <a:xfrm>
              <a:off x="2296038" y="203752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3" name="Google Shape;7060;p64">
              <a:extLst>
                <a:ext uri="{FF2B5EF4-FFF2-40B4-BE49-F238E27FC236}">
                  <a16:creationId xmlns:a16="http://schemas.microsoft.com/office/drawing/2014/main" id="{F8F3271E-7F24-951B-0F61-BD54E3CACE15}"/>
                </a:ext>
              </a:extLst>
            </p:cNvPr>
            <p:cNvSpPr/>
            <p:nvPr/>
          </p:nvSpPr>
          <p:spPr>
            <a:xfrm>
              <a:off x="2294422" y="2040809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4" name="Google Shape;7061;p64">
              <a:extLst>
                <a:ext uri="{FF2B5EF4-FFF2-40B4-BE49-F238E27FC236}">
                  <a16:creationId xmlns:a16="http://schemas.microsoft.com/office/drawing/2014/main" id="{45B9258B-0304-6B19-D048-5D1451318A77}"/>
                </a:ext>
              </a:extLst>
            </p:cNvPr>
            <p:cNvSpPr/>
            <p:nvPr/>
          </p:nvSpPr>
          <p:spPr>
            <a:xfrm>
              <a:off x="2462729" y="1678276"/>
              <a:ext cx="126732" cy="73834"/>
            </a:xfrm>
            <a:custGeom>
              <a:avLst/>
              <a:gdLst/>
              <a:ahLst/>
              <a:cxnLst/>
              <a:rect l="l" t="t" r="r" b="b"/>
              <a:pathLst>
                <a:path w="9334" h="5438" extrusionOk="0">
                  <a:moveTo>
                    <a:pt x="1285" y="0"/>
                  </a:moveTo>
                  <a:lnTo>
                    <a:pt x="64" y="329"/>
                  </a:lnTo>
                  <a:lnTo>
                    <a:pt x="1" y="2661"/>
                  </a:lnTo>
                  <a:lnTo>
                    <a:pt x="8" y="2661"/>
                  </a:lnTo>
                  <a:cubicBezTo>
                    <a:pt x="25" y="2668"/>
                    <a:pt x="46" y="2675"/>
                    <a:pt x="64" y="2682"/>
                  </a:cubicBezTo>
                  <a:lnTo>
                    <a:pt x="71" y="2682"/>
                  </a:lnTo>
                  <a:cubicBezTo>
                    <a:pt x="92" y="2685"/>
                    <a:pt x="113" y="2692"/>
                    <a:pt x="137" y="2696"/>
                  </a:cubicBezTo>
                  <a:lnTo>
                    <a:pt x="151" y="2699"/>
                  </a:lnTo>
                  <a:cubicBezTo>
                    <a:pt x="172" y="2703"/>
                    <a:pt x="197" y="2710"/>
                    <a:pt x="221" y="2713"/>
                  </a:cubicBezTo>
                  <a:lnTo>
                    <a:pt x="235" y="2713"/>
                  </a:lnTo>
                  <a:cubicBezTo>
                    <a:pt x="263" y="2717"/>
                    <a:pt x="291" y="2717"/>
                    <a:pt x="319" y="2720"/>
                  </a:cubicBezTo>
                  <a:cubicBezTo>
                    <a:pt x="327" y="2722"/>
                    <a:pt x="336" y="2723"/>
                    <a:pt x="344" y="2723"/>
                  </a:cubicBezTo>
                  <a:cubicBezTo>
                    <a:pt x="368" y="2723"/>
                    <a:pt x="393" y="2716"/>
                    <a:pt x="414" y="2703"/>
                  </a:cubicBezTo>
                  <a:cubicBezTo>
                    <a:pt x="442" y="2675"/>
                    <a:pt x="442" y="2605"/>
                    <a:pt x="442" y="2552"/>
                  </a:cubicBezTo>
                  <a:lnTo>
                    <a:pt x="442" y="2528"/>
                  </a:lnTo>
                  <a:cubicBezTo>
                    <a:pt x="442" y="2433"/>
                    <a:pt x="529" y="2342"/>
                    <a:pt x="568" y="2307"/>
                  </a:cubicBezTo>
                  <a:cubicBezTo>
                    <a:pt x="645" y="2240"/>
                    <a:pt x="761" y="2169"/>
                    <a:pt x="872" y="2169"/>
                  </a:cubicBezTo>
                  <a:cubicBezTo>
                    <a:pt x="881" y="2169"/>
                    <a:pt x="891" y="2170"/>
                    <a:pt x="900" y="2171"/>
                  </a:cubicBezTo>
                  <a:cubicBezTo>
                    <a:pt x="903" y="2171"/>
                    <a:pt x="906" y="2171"/>
                    <a:pt x="909" y="2171"/>
                  </a:cubicBezTo>
                  <a:cubicBezTo>
                    <a:pt x="948" y="2171"/>
                    <a:pt x="962" y="2148"/>
                    <a:pt x="988" y="2069"/>
                  </a:cubicBezTo>
                  <a:cubicBezTo>
                    <a:pt x="1005" y="2024"/>
                    <a:pt x="1026" y="1961"/>
                    <a:pt x="1089" y="1961"/>
                  </a:cubicBezTo>
                  <a:cubicBezTo>
                    <a:pt x="1124" y="1961"/>
                    <a:pt x="1229" y="1933"/>
                    <a:pt x="1261" y="1880"/>
                  </a:cubicBezTo>
                  <a:cubicBezTo>
                    <a:pt x="1282" y="1842"/>
                    <a:pt x="1320" y="1821"/>
                    <a:pt x="1362" y="1817"/>
                  </a:cubicBezTo>
                  <a:cubicBezTo>
                    <a:pt x="1373" y="1816"/>
                    <a:pt x="1383" y="1816"/>
                    <a:pt x="1394" y="1816"/>
                  </a:cubicBezTo>
                  <a:cubicBezTo>
                    <a:pt x="1425" y="1816"/>
                    <a:pt x="1457" y="1820"/>
                    <a:pt x="1489" y="1828"/>
                  </a:cubicBezTo>
                  <a:cubicBezTo>
                    <a:pt x="1587" y="1852"/>
                    <a:pt x="1678" y="1898"/>
                    <a:pt x="1751" y="1964"/>
                  </a:cubicBezTo>
                  <a:cubicBezTo>
                    <a:pt x="1807" y="2020"/>
                    <a:pt x="1958" y="2052"/>
                    <a:pt x="2080" y="2076"/>
                  </a:cubicBezTo>
                  <a:lnTo>
                    <a:pt x="2140" y="2090"/>
                  </a:lnTo>
                  <a:cubicBezTo>
                    <a:pt x="2336" y="2136"/>
                    <a:pt x="2378" y="2598"/>
                    <a:pt x="2385" y="2713"/>
                  </a:cubicBezTo>
                  <a:cubicBezTo>
                    <a:pt x="2465" y="2745"/>
                    <a:pt x="2794" y="2755"/>
                    <a:pt x="2938" y="2759"/>
                  </a:cubicBezTo>
                  <a:cubicBezTo>
                    <a:pt x="3032" y="2762"/>
                    <a:pt x="3102" y="2762"/>
                    <a:pt x="3137" y="2769"/>
                  </a:cubicBezTo>
                  <a:cubicBezTo>
                    <a:pt x="3239" y="2783"/>
                    <a:pt x="3277" y="2881"/>
                    <a:pt x="3316" y="2972"/>
                  </a:cubicBezTo>
                  <a:cubicBezTo>
                    <a:pt x="3337" y="3035"/>
                    <a:pt x="3368" y="3095"/>
                    <a:pt x="3407" y="3147"/>
                  </a:cubicBezTo>
                  <a:cubicBezTo>
                    <a:pt x="3421" y="3168"/>
                    <a:pt x="3435" y="3186"/>
                    <a:pt x="3445" y="3207"/>
                  </a:cubicBezTo>
                  <a:cubicBezTo>
                    <a:pt x="3526" y="3330"/>
                    <a:pt x="3596" y="3463"/>
                    <a:pt x="3652" y="3603"/>
                  </a:cubicBezTo>
                  <a:lnTo>
                    <a:pt x="3656" y="3617"/>
                  </a:lnTo>
                  <a:cubicBezTo>
                    <a:pt x="3673" y="3652"/>
                    <a:pt x="3799" y="3725"/>
                    <a:pt x="3883" y="3774"/>
                  </a:cubicBezTo>
                  <a:cubicBezTo>
                    <a:pt x="4009" y="3848"/>
                    <a:pt x="4146" y="3925"/>
                    <a:pt x="4202" y="4009"/>
                  </a:cubicBezTo>
                  <a:cubicBezTo>
                    <a:pt x="4282" y="4131"/>
                    <a:pt x="4559" y="4271"/>
                    <a:pt x="4800" y="4355"/>
                  </a:cubicBezTo>
                  <a:cubicBezTo>
                    <a:pt x="4919" y="4401"/>
                    <a:pt x="5035" y="4499"/>
                    <a:pt x="5133" y="4586"/>
                  </a:cubicBezTo>
                  <a:cubicBezTo>
                    <a:pt x="5201" y="4645"/>
                    <a:pt x="5294" y="4726"/>
                    <a:pt x="5334" y="4726"/>
                  </a:cubicBezTo>
                  <a:cubicBezTo>
                    <a:pt x="5334" y="4726"/>
                    <a:pt x="5335" y="4726"/>
                    <a:pt x="5336" y="4726"/>
                  </a:cubicBezTo>
                  <a:cubicBezTo>
                    <a:pt x="5343" y="4725"/>
                    <a:pt x="5351" y="4725"/>
                    <a:pt x="5360" y="4725"/>
                  </a:cubicBezTo>
                  <a:cubicBezTo>
                    <a:pt x="5509" y="4725"/>
                    <a:pt x="5798" y="4865"/>
                    <a:pt x="5858" y="4894"/>
                  </a:cubicBezTo>
                  <a:lnTo>
                    <a:pt x="5889" y="4908"/>
                  </a:lnTo>
                  <a:lnTo>
                    <a:pt x="5928" y="5230"/>
                  </a:lnTo>
                  <a:cubicBezTo>
                    <a:pt x="5935" y="5230"/>
                    <a:pt x="5945" y="5227"/>
                    <a:pt x="5956" y="5227"/>
                  </a:cubicBezTo>
                  <a:lnTo>
                    <a:pt x="5959" y="5227"/>
                  </a:lnTo>
                  <a:cubicBezTo>
                    <a:pt x="5963" y="5225"/>
                    <a:pt x="5967" y="5224"/>
                    <a:pt x="5972" y="5224"/>
                  </a:cubicBezTo>
                  <a:cubicBezTo>
                    <a:pt x="5977" y="5224"/>
                    <a:pt x="5982" y="5225"/>
                    <a:pt x="5987" y="5227"/>
                  </a:cubicBezTo>
                  <a:cubicBezTo>
                    <a:pt x="6022" y="5227"/>
                    <a:pt x="6057" y="5230"/>
                    <a:pt x="6089" y="5244"/>
                  </a:cubicBezTo>
                  <a:cubicBezTo>
                    <a:pt x="6099" y="5248"/>
                    <a:pt x="6110" y="5251"/>
                    <a:pt x="6117" y="5255"/>
                  </a:cubicBezTo>
                  <a:lnTo>
                    <a:pt x="6145" y="5269"/>
                  </a:lnTo>
                  <a:lnTo>
                    <a:pt x="6148" y="5272"/>
                  </a:lnTo>
                  <a:lnTo>
                    <a:pt x="6173" y="5286"/>
                  </a:lnTo>
                  <a:lnTo>
                    <a:pt x="6176" y="5286"/>
                  </a:lnTo>
                  <a:lnTo>
                    <a:pt x="6197" y="5301"/>
                  </a:lnTo>
                  <a:lnTo>
                    <a:pt x="6204" y="5308"/>
                  </a:lnTo>
                  <a:lnTo>
                    <a:pt x="6225" y="5322"/>
                  </a:lnTo>
                  <a:cubicBezTo>
                    <a:pt x="6264" y="5353"/>
                    <a:pt x="6313" y="5378"/>
                    <a:pt x="6365" y="5385"/>
                  </a:cubicBezTo>
                  <a:cubicBezTo>
                    <a:pt x="6379" y="5385"/>
                    <a:pt x="6390" y="5388"/>
                    <a:pt x="6400" y="5388"/>
                  </a:cubicBezTo>
                  <a:lnTo>
                    <a:pt x="6411" y="5392"/>
                  </a:lnTo>
                  <a:cubicBezTo>
                    <a:pt x="6421" y="5392"/>
                    <a:pt x="6428" y="5395"/>
                    <a:pt x="6435" y="5399"/>
                  </a:cubicBezTo>
                  <a:lnTo>
                    <a:pt x="6449" y="5402"/>
                  </a:lnTo>
                  <a:lnTo>
                    <a:pt x="6477" y="5416"/>
                  </a:lnTo>
                  <a:lnTo>
                    <a:pt x="6484" y="5420"/>
                  </a:lnTo>
                  <a:cubicBezTo>
                    <a:pt x="6495" y="5423"/>
                    <a:pt x="6509" y="5430"/>
                    <a:pt x="6519" y="5437"/>
                  </a:cubicBezTo>
                  <a:cubicBezTo>
                    <a:pt x="6530" y="5423"/>
                    <a:pt x="6533" y="5399"/>
                    <a:pt x="6533" y="5381"/>
                  </a:cubicBezTo>
                  <a:lnTo>
                    <a:pt x="6533" y="5364"/>
                  </a:lnTo>
                  <a:cubicBezTo>
                    <a:pt x="6540" y="5339"/>
                    <a:pt x="6544" y="5311"/>
                    <a:pt x="6551" y="5283"/>
                  </a:cubicBezTo>
                  <a:cubicBezTo>
                    <a:pt x="6551" y="5276"/>
                    <a:pt x="6558" y="5269"/>
                    <a:pt x="6558" y="5258"/>
                  </a:cubicBezTo>
                  <a:cubicBezTo>
                    <a:pt x="6565" y="5241"/>
                    <a:pt x="6568" y="5223"/>
                    <a:pt x="6575" y="5206"/>
                  </a:cubicBezTo>
                  <a:cubicBezTo>
                    <a:pt x="6579" y="5199"/>
                    <a:pt x="6582" y="5188"/>
                    <a:pt x="6589" y="5178"/>
                  </a:cubicBezTo>
                  <a:cubicBezTo>
                    <a:pt x="6593" y="5171"/>
                    <a:pt x="6600" y="5150"/>
                    <a:pt x="6610" y="5136"/>
                  </a:cubicBezTo>
                  <a:cubicBezTo>
                    <a:pt x="6617" y="5122"/>
                    <a:pt x="6617" y="5118"/>
                    <a:pt x="6624" y="5108"/>
                  </a:cubicBezTo>
                  <a:cubicBezTo>
                    <a:pt x="6628" y="5101"/>
                    <a:pt x="6642" y="5083"/>
                    <a:pt x="6649" y="5069"/>
                  </a:cubicBezTo>
                  <a:cubicBezTo>
                    <a:pt x="6659" y="5059"/>
                    <a:pt x="6659" y="5055"/>
                    <a:pt x="6666" y="5045"/>
                  </a:cubicBezTo>
                  <a:cubicBezTo>
                    <a:pt x="6673" y="5038"/>
                    <a:pt x="6687" y="5020"/>
                    <a:pt x="6701" y="5006"/>
                  </a:cubicBezTo>
                  <a:cubicBezTo>
                    <a:pt x="6712" y="4996"/>
                    <a:pt x="6712" y="4996"/>
                    <a:pt x="6719" y="4989"/>
                  </a:cubicBezTo>
                  <a:cubicBezTo>
                    <a:pt x="6736" y="4971"/>
                    <a:pt x="6754" y="4954"/>
                    <a:pt x="6775" y="4936"/>
                  </a:cubicBezTo>
                  <a:cubicBezTo>
                    <a:pt x="6778" y="4936"/>
                    <a:pt x="6782" y="4933"/>
                    <a:pt x="6785" y="4929"/>
                  </a:cubicBezTo>
                  <a:cubicBezTo>
                    <a:pt x="6806" y="4901"/>
                    <a:pt x="6799" y="4866"/>
                    <a:pt x="6750" y="4765"/>
                  </a:cubicBezTo>
                  <a:cubicBezTo>
                    <a:pt x="6712" y="4684"/>
                    <a:pt x="6670" y="4590"/>
                    <a:pt x="6687" y="4492"/>
                  </a:cubicBezTo>
                  <a:cubicBezTo>
                    <a:pt x="6694" y="4443"/>
                    <a:pt x="6610" y="4380"/>
                    <a:pt x="6533" y="4327"/>
                  </a:cubicBezTo>
                  <a:cubicBezTo>
                    <a:pt x="6435" y="4261"/>
                    <a:pt x="6323" y="4184"/>
                    <a:pt x="6348" y="4072"/>
                  </a:cubicBezTo>
                  <a:cubicBezTo>
                    <a:pt x="6379" y="3932"/>
                    <a:pt x="6558" y="3900"/>
                    <a:pt x="6715" y="3872"/>
                  </a:cubicBezTo>
                  <a:cubicBezTo>
                    <a:pt x="6778" y="3865"/>
                    <a:pt x="6841" y="3851"/>
                    <a:pt x="6901" y="3830"/>
                  </a:cubicBezTo>
                  <a:cubicBezTo>
                    <a:pt x="6936" y="3816"/>
                    <a:pt x="6943" y="3781"/>
                    <a:pt x="6953" y="3708"/>
                  </a:cubicBezTo>
                  <a:cubicBezTo>
                    <a:pt x="6960" y="3634"/>
                    <a:pt x="6974" y="3519"/>
                    <a:pt x="7107" y="3519"/>
                  </a:cubicBezTo>
                  <a:cubicBezTo>
                    <a:pt x="7202" y="3519"/>
                    <a:pt x="7254" y="3417"/>
                    <a:pt x="7303" y="3270"/>
                  </a:cubicBezTo>
                  <a:cubicBezTo>
                    <a:pt x="7335" y="3175"/>
                    <a:pt x="7418" y="3158"/>
                    <a:pt x="7495" y="3158"/>
                  </a:cubicBezTo>
                  <a:cubicBezTo>
                    <a:pt x="7521" y="3158"/>
                    <a:pt x="7547" y="3160"/>
                    <a:pt x="7569" y="3161"/>
                  </a:cubicBezTo>
                  <a:cubicBezTo>
                    <a:pt x="7596" y="3163"/>
                    <a:pt x="7623" y="3165"/>
                    <a:pt x="7647" y="3165"/>
                  </a:cubicBezTo>
                  <a:cubicBezTo>
                    <a:pt x="7686" y="3165"/>
                    <a:pt x="7721" y="3160"/>
                    <a:pt x="7745" y="3140"/>
                  </a:cubicBezTo>
                  <a:cubicBezTo>
                    <a:pt x="7834" y="3076"/>
                    <a:pt x="7970" y="3011"/>
                    <a:pt x="8075" y="3011"/>
                  </a:cubicBezTo>
                  <a:cubicBezTo>
                    <a:pt x="8089" y="3011"/>
                    <a:pt x="8103" y="3012"/>
                    <a:pt x="8116" y="3014"/>
                  </a:cubicBezTo>
                  <a:cubicBezTo>
                    <a:pt x="8158" y="3021"/>
                    <a:pt x="8193" y="3046"/>
                    <a:pt x="8214" y="3081"/>
                  </a:cubicBezTo>
                  <a:lnTo>
                    <a:pt x="8217" y="3088"/>
                  </a:lnTo>
                  <a:lnTo>
                    <a:pt x="8221" y="3095"/>
                  </a:lnTo>
                  <a:lnTo>
                    <a:pt x="8221" y="3098"/>
                  </a:lnTo>
                  <a:lnTo>
                    <a:pt x="8221" y="3105"/>
                  </a:lnTo>
                  <a:lnTo>
                    <a:pt x="8221" y="3109"/>
                  </a:lnTo>
                  <a:lnTo>
                    <a:pt x="8221" y="3116"/>
                  </a:lnTo>
                  <a:lnTo>
                    <a:pt x="8221" y="3123"/>
                  </a:lnTo>
                  <a:lnTo>
                    <a:pt x="8221" y="3130"/>
                  </a:lnTo>
                  <a:lnTo>
                    <a:pt x="8221" y="3137"/>
                  </a:lnTo>
                  <a:lnTo>
                    <a:pt x="8221" y="3147"/>
                  </a:lnTo>
                  <a:lnTo>
                    <a:pt x="8221" y="3154"/>
                  </a:lnTo>
                  <a:lnTo>
                    <a:pt x="8221" y="3165"/>
                  </a:lnTo>
                  <a:lnTo>
                    <a:pt x="8221" y="3175"/>
                  </a:lnTo>
                  <a:cubicBezTo>
                    <a:pt x="8221" y="3179"/>
                    <a:pt x="8221" y="3186"/>
                    <a:pt x="8217" y="3189"/>
                  </a:cubicBezTo>
                  <a:lnTo>
                    <a:pt x="8214" y="3200"/>
                  </a:lnTo>
                  <a:cubicBezTo>
                    <a:pt x="8214" y="3207"/>
                    <a:pt x="8210" y="3214"/>
                    <a:pt x="8207" y="3221"/>
                  </a:cubicBezTo>
                  <a:lnTo>
                    <a:pt x="8207" y="3228"/>
                  </a:lnTo>
                  <a:cubicBezTo>
                    <a:pt x="8203" y="3239"/>
                    <a:pt x="8200" y="3249"/>
                    <a:pt x="8193" y="3260"/>
                  </a:cubicBezTo>
                  <a:lnTo>
                    <a:pt x="8193" y="3263"/>
                  </a:lnTo>
                  <a:cubicBezTo>
                    <a:pt x="8189" y="3274"/>
                    <a:pt x="8186" y="3288"/>
                    <a:pt x="8179" y="3298"/>
                  </a:cubicBezTo>
                  <a:lnTo>
                    <a:pt x="8172" y="3312"/>
                  </a:lnTo>
                  <a:lnTo>
                    <a:pt x="8158" y="3344"/>
                  </a:lnTo>
                  <a:lnTo>
                    <a:pt x="8151" y="3361"/>
                  </a:lnTo>
                  <a:lnTo>
                    <a:pt x="8133" y="3393"/>
                  </a:lnTo>
                  <a:lnTo>
                    <a:pt x="8123" y="3414"/>
                  </a:lnTo>
                  <a:lnTo>
                    <a:pt x="8102" y="3449"/>
                  </a:lnTo>
                  <a:lnTo>
                    <a:pt x="8088" y="3473"/>
                  </a:lnTo>
                  <a:lnTo>
                    <a:pt x="8077" y="3491"/>
                  </a:lnTo>
                  <a:lnTo>
                    <a:pt x="8119" y="3487"/>
                  </a:lnTo>
                  <a:cubicBezTo>
                    <a:pt x="8196" y="3480"/>
                    <a:pt x="8277" y="3473"/>
                    <a:pt x="8343" y="3459"/>
                  </a:cubicBezTo>
                  <a:lnTo>
                    <a:pt x="8354" y="3459"/>
                  </a:lnTo>
                  <a:cubicBezTo>
                    <a:pt x="8455" y="3442"/>
                    <a:pt x="8525" y="3424"/>
                    <a:pt x="8543" y="3407"/>
                  </a:cubicBezTo>
                  <a:cubicBezTo>
                    <a:pt x="8546" y="3400"/>
                    <a:pt x="8553" y="3396"/>
                    <a:pt x="8557" y="3393"/>
                  </a:cubicBezTo>
                  <a:cubicBezTo>
                    <a:pt x="8560" y="3393"/>
                    <a:pt x="8564" y="3389"/>
                    <a:pt x="8567" y="3386"/>
                  </a:cubicBezTo>
                  <a:cubicBezTo>
                    <a:pt x="8574" y="3382"/>
                    <a:pt x="8578" y="3379"/>
                    <a:pt x="8588" y="3375"/>
                  </a:cubicBezTo>
                  <a:lnTo>
                    <a:pt x="8592" y="3375"/>
                  </a:lnTo>
                  <a:cubicBezTo>
                    <a:pt x="8599" y="3372"/>
                    <a:pt x="8606" y="3368"/>
                    <a:pt x="8613" y="3368"/>
                  </a:cubicBezTo>
                  <a:lnTo>
                    <a:pt x="8634" y="3368"/>
                  </a:lnTo>
                  <a:cubicBezTo>
                    <a:pt x="8686" y="3368"/>
                    <a:pt x="8735" y="3372"/>
                    <a:pt x="8788" y="3386"/>
                  </a:cubicBezTo>
                  <a:cubicBezTo>
                    <a:pt x="8842" y="3395"/>
                    <a:pt x="8888" y="3402"/>
                    <a:pt x="8926" y="3402"/>
                  </a:cubicBezTo>
                  <a:cubicBezTo>
                    <a:pt x="8984" y="3402"/>
                    <a:pt x="9024" y="3386"/>
                    <a:pt x="9047" y="3340"/>
                  </a:cubicBezTo>
                  <a:cubicBezTo>
                    <a:pt x="9113" y="3210"/>
                    <a:pt x="9250" y="3186"/>
                    <a:pt x="9330" y="3168"/>
                  </a:cubicBezTo>
                  <a:lnTo>
                    <a:pt x="9334" y="3168"/>
                  </a:lnTo>
                  <a:cubicBezTo>
                    <a:pt x="9327" y="3161"/>
                    <a:pt x="9316" y="3151"/>
                    <a:pt x="9302" y="3140"/>
                  </a:cubicBezTo>
                  <a:cubicBezTo>
                    <a:pt x="9078" y="2951"/>
                    <a:pt x="8816" y="2811"/>
                    <a:pt x="8697" y="2780"/>
                  </a:cubicBezTo>
                  <a:cubicBezTo>
                    <a:pt x="8686" y="2776"/>
                    <a:pt x="8676" y="2776"/>
                    <a:pt x="8665" y="2773"/>
                  </a:cubicBezTo>
                  <a:lnTo>
                    <a:pt x="8648" y="2773"/>
                  </a:lnTo>
                  <a:cubicBezTo>
                    <a:pt x="8613" y="2850"/>
                    <a:pt x="8539" y="2902"/>
                    <a:pt x="8455" y="2909"/>
                  </a:cubicBezTo>
                  <a:cubicBezTo>
                    <a:pt x="8429" y="2915"/>
                    <a:pt x="8401" y="2918"/>
                    <a:pt x="8371" y="2918"/>
                  </a:cubicBezTo>
                  <a:cubicBezTo>
                    <a:pt x="8276" y="2918"/>
                    <a:pt x="8173" y="2886"/>
                    <a:pt x="8109" y="2808"/>
                  </a:cubicBezTo>
                  <a:lnTo>
                    <a:pt x="8088" y="2783"/>
                  </a:lnTo>
                  <a:cubicBezTo>
                    <a:pt x="8046" y="2724"/>
                    <a:pt x="7993" y="2678"/>
                    <a:pt x="7930" y="2647"/>
                  </a:cubicBezTo>
                  <a:cubicBezTo>
                    <a:pt x="7911" y="2639"/>
                    <a:pt x="7885" y="2632"/>
                    <a:pt x="7847" y="2632"/>
                  </a:cubicBezTo>
                  <a:cubicBezTo>
                    <a:pt x="7814" y="2632"/>
                    <a:pt x="7772" y="2638"/>
                    <a:pt x="7720" y="2654"/>
                  </a:cubicBezTo>
                  <a:lnTo>
                    <a:pt x="7717" y="2654"/>
                  </a:lnTo>
                  <a:cubicBezTo>
                    <a:pt x="7699" y="2661"/>
                    <a:pt x="7681" y="2668"/>
                    <a:pt x="7664" y="2675"/>
                  </a:cubicBezTo>
                  <a:cubicBezTo>
                    <a:pt x="7342" y="2804"/>
                    <a:pt x="7160" y="2962"/>
                    <a:pt x="7142" y="3056"/>
                  </a:cubicBezTo>
                  <a:cubicBezTo>
                    <a:pt x="7121" y="3154"/>
                    <a:pt x="7048" y="3235"/>
                    <a:pt x="6953" y="3270"/>
                  </a:cubicBezTo>
                  <a:lnTo>
                    <a:pt x="6936" y="3274"/>
                  </a:lnTo>
                  <a:lnTo>
                    <a:pt x="6894" y="3274"/>
                  </a:lnTo>
                  <a:cubicBezTo>
                    <a:pt x="6834" y="3274"/>
                    <a:pt x="6768" y="3235"/>
                    <a:pt x="6757" y="3133"/>
                  </a:cubicBezTo>
                  <a:cubicBezTo>
                    <a:pt x="6740" y="3004"/>
                    <a:pt x="6498" y="2944"/>
                    <a:pt x="6351" y="2909"/>
                  </a:cubicBezTo>
                  <a:cubicBezTo>
                    <a:pt x="6292" y="2899"/>
                    <a:pt x="6232" y="2895"/>
                    <a:pt x="6173" y="2895"/>
                  </a:cubicBezTo>
                  <a:cubicBezTo>
                    <a:pt x="6029" y="2895"/>
                    <a:pt x="5851" y="2895"/>
                    <a:pt x="5826" y="2724"/>
                  </a:cubicBezTo>
                  <a:cubicBezTo>
                    <a:pt x="5819" y="2657"/>
                    <a:pt x="5756" y="2573"/>
                    <a:pt x="5697" y="2493"/>
                  </a:cubicBezTo>
                  <a:cubicBezTo>
                    <a:pt x="5619" y="2388"/>
                    <a:pt x="5539" y="2279"/>
                    <a:pt x="5525" y="2160"/>
                  </a:cubicBezTo>
                  <a:cubicBezTo>
                    <a:pt x="5521" y="2104"/>
                    <a:pt x="5518" y="2045"/>
                    <a:pt x="5518" y="1985"/>
                  </a:cubicBezTo>
                  <a:cubicBezTo>
                    <a:pt x="5518" y="1824"/>
                    <a:pt x="5514" y="1719"/>
                    <a:pt x="5444" y="1698"/>
                  </a:cubicBezTo>
                  <a:cubicBezTo>
                    <a:pt x="5339" y="1674"/>
                    <a:pt x="5262" y="1586"/>
                    <a:pt x="5192" y="1509"/>
                  </a:cubicBezTo>
                  <a:cubicBezTo>
                    <a:pt x="5136" y="1443"/>
                    <a:pt x="5077" y="1376"/>
                    <a:pt x="5028" y="1376"/>
                  </a:cubicBezTo>
                  <a:cubicBezTo>
                    <a:pt x="4363" y="1376"/>
                    <a:pt x="3985" y="1362"/>
                    <a:pt x="3904" y="1327"/>
                  </a:cubicBezTo>
                  <a:cubicBezTo>
                    <a:pt x="3901" y="1326"/>
                    <a:pt x="3896" y="1326"/>
                    <a:pt x="3891" y="1326"/>
                  </a:cubicBezTo>
                  <a:cubicBezTo>
                    <a:pt x="3844" y="1326"/>
                    <a:pt x="3730" y="1350"/>
                    <a:pt x="3649" y="1366"/>
                  </a:cubicBezTo>
                  <a:cubicBezTo>
                    <a:pt x="3524" y="1393"/>
                    <a:pt x="3409" y="1418"/>
                    <a:pt x="3319" y="1418"/>
                  </a:cubicBezTo>
                  <a:cubicBezTo>
                    <a:pt x="3235" y="1418"/>
                    <a:pt x="3174" y="1395"/>
                    <a:pt x="3151" y="1331"/>
                  </a:cubicBezTo>
                  <a:cubicBezTo>
                    <a:pt x="3151" y="1324"/>
                    <a:pt x="3148" y="1320"/>
                    <a:pt x="3144" y="1313"/>
                  </a:cubicBezTo>
                  <a:lnTo>
                    <a:pt x="3141" y="1306"/>
                  </a:lnTo>
                  <a:lnTo>
                    <a:pt x="3130" y="1289"/>
                  </a:lnTo>
                  <a:lnTo>
                    <a:pt x="3123" y="1278"/>
                  </a:lnTo>
                  <a:lnTo>
                    <a:pt x="3109" y="1261"/>
                  </a:lnTo>
                  <a:lnTo>
                    <a:pt x="3099" y="1247"/>
                  </a:lnTo>
                  <a:lnTo>
                    <a:pt x="3081" y="1226"/>
                  </a:lnTo>
                  <a:lnTo>
                    <a:pt x="3071" y="1212"/>
                  </a:lnTo>
                  <a:lnTo>
                    <a:pt x="3050" y="1187"/>
                  </a:lnTo>
                  <a:lnTo>
                    <a:pt x="3036" y="1170"/>
                  </a:lnTo>
                  <a:lnTo>
                    <a:pt x="3015" y="1145"/>
                  </a:lnTo>
                  <a:lnTo>
                    <a:pt x="3001" y="1127"/>
                  </a:lnTo>
                  <a:lnTo>
                    <a:pt x="2976" y="1099"/>
                  </a:lnTo>
                  <a:lnTo>
                    <a:pt x="2962" y="1082"/>
                  </a:lnTo>
                  <a:lnTo>
                    <a:pt x="2931" y="1047"/>
                  </a:lnTo>
                  <a:lnTo>
                    <a:pt x="2917" y="1036"/>
                  </a:lnTo>
                  <a:lnTo>
                    <a:pt x="2875" y="987"/>
                  </a:lnTo>
                  <a:lnTo>
                    <a:pt x="2826" y="938"/>
                  </a:lnTo>
                  <a:lnTo>
                    <a:pt x="2819" y="928"/>
                  </a:lnTo>
                  <a:lnTo>
                    <a:pt x="2780" y="889"/>
                  </a:lnTo>
                  <a:lnTo>
                    <a:pt x="2763" y="875"/>
                  </a:lnTo>
                  <a:lnTo>
                    <a:pt x="2731" y="844"/>
                  </a:lnTo>
                  <a:lnTo>
                    <a:pt x="2714" y="823"/>
                  </a:lnTo>
                  <a:lnTo>
                    <a:pt x="2682" y="795"/>
                  </a:lnTo>
                  <a:lnTo>
                    <a:pt x="2665" y="777"/>
                  </a:lnTo>
                  <a:lnTo>
                    <a:pt x="2637" y="753"/>
                  </a:lnTo>
                  <a:lnTo>
                    <a:pt x="2616" y="735"/>
                  </a:lnTo>
                  <a:lnTo>
                    <a:pt x="2605" y="725"/>
                  </a:lnTo>
                  <a:cubicBezTo>
                    <a:pt x="2570" y="795"/>
                    <a:pt x="2518" y="858"/>
                    <a:pt x="2455" y="903"/>
                  </a:cubicBezTo>
                  <a:cubicBezTo>
                    <a:pt x="2270" y="1034"/>
                    <a:pt x="2083" y="1104"/>
                    <a:pt x="1935" y="1104"/>
                  </a:cubicBezTo>
                  <a:cubicBezTo>
                    <a:pt x="1861" y="1104"/>
                    <a:pt x="1797" y="1087"/>
                    <a:pt x="1748" y="1050"/>
                  </a:cubicBezTo>
                  <a:cubicBezTo>
                    <a:pt x="1695" y="1008"/>
                    <a:pt x="1618" y="914"/>
                    <a:pt x="1692" y="714"/>
                  </a:cubicBezTo>
                  <a:cubicBezTo>
                    <a:pt x="1790" y="441"/>
                    <a:pt x="1811" y="154"/>
                    <a:pt x="1741" y="56"/>
                  </a:cubicBezTo>
                  <a:cubicBezTo>
                    <a:pt x="1731" y="41"/>
                    <a:pt x="1713" y="28"/>
                    <a:pt x="1695" y="28"/>
                  </a:cubicBezTo>
                  <a:cubicBezTo>
                    <a:pt x="1692" y="28"/>
                    <a:pt x="1690" y="28"/>
                    <a:pt x="1688" y="28"/>
                  </a:cubicBezTo>
                  <a:cubicBezTo>
                    <a:pt x="1639" y="28"/>
                    <a:pt x="1625" y="277"/>
                    <a:pt x="1618" y="382"/>
                  </a:cubicBezTo>
                  <a:cubicBezTo>
                    <a:pt x="1608" y="595"/>
                    <a:pt x="1601" y="781"/>
                    <a:pt x="1482" y="816"/>
                  </a:cubicBezTo>
                  <a:cubicBezTo>
                    <a:pt x="1470" y="819"/>
                    <a:pt x="1458" y="821"/>
                    <a:pt x="1446" y="821"/>
                  </a:cubicBezTo>
                  <a:cubicBezTo>
                    <a:pt x="1411" y="821"/>
                    <a:pt x="1376" y="806"/>
                    <a:pt x="1355" y="777"/>
                  </a:cubicBezTo>
                  <a:cubicBezTo>
                    <a:pt x="1250" y="665"/>
                    <a:pt x="1222" y="277"/>
                    <a:pt x="12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5" name="Google Shape;7062;p64">
              <a:extLst>
                <a:ext uri="{FF2B5EF4-FFF2-40B4-BE49-F238E27FC236}">
                  <a16:creationId xmlns:a16="http://schemas.microsoft.com/office/drawing/2014/main" id="{0D88B1CD-7E1B-6711-FA4F-A7B9EA2777C8}"/>
                </a:ext>
              </a:extLst>
            </p:cNvPr>
            <p:cNvSpPr/>
            <p:nvPr/>
          </p:nvSpPr>
          <p:spPr>
            <a:xfrm>
              <a:off x="2580038" y="1723951"/>
              <a:ext cx="2105" cy="258"/>
            </a:xfrm>
            <a:custGeom>
              <a:avLst/>
              <a:gdLst/>
              <a:ahLst/>
              <a:cxnLst/>
              <a:rect l="l" t="t" r="r" b="b"/>
              <a:pathLst>
                <a:path w="155" h="19" extrusionOk="0">
                  <a:moveTo>
                    <a:pt x="1" y="1"/>
                  </a:moveTo>
                  <a:cubicBezTo>
                    <a:pt x="50" y="1"/>
                    <a:pt x="102" y="4"/>
                    <a:pt x="155" y="18"/>
                  </a:cubicBezTo>
                  <a:cubicBezTo>
                    <a:pt x="102" y="4"/>
                    <a:pt x="50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6" name="Google Shape;7063;p64">
              <a:extLst>
                <a:ext uri="{FF2B5EF4-FFF2-40B4-BE49-F238E27FC236}">
                  <a16:creationId xmlns:a16="http://schemas.microsoft.com/office/drawing/2014/main" id="{B0A9F570-8FDE-703A-6B94-91F9F3FF604E}"/>
                </a:ext>
              </a:extLst>
            </p:cNvPr>
            <p:cNvSpPr/>
            <p:nvPr/>
          </p:nvSpPr>
          <p:spPr>
            <a:xfrm>
              <a:off x="2573059" y="1725241"/>
              <a:ext cx="3096" cy="394"/>
            </a:xfrm>
            <a:custGeom>
              <a:avLst/>
              <a:gdLst/>
              <a:ahLst/>
              <a:cxnLst/>
              <a:rect l="l" t="t" r="r" b="b"/>
              <a:pathLst>
                <a:path w="228" h="29" extrusionOk="0">
                  <a:moveTo>
                    <a:pt x="228" y="0"/>
                  </a:moveTo>
                  <a:cubicBezTo>
                    <a:pt x="158" y="14"/>
                    <a:pt x="77" y="21"/>
                    <a:pt x="0" y="28"/>
                  </a:cubicBezTo>
                  <a:cubicBezTo>
                    <a:pt x="84" y="21"/>
                    <a:pt x="165" y="14"/>
                    <a:pt x="22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7" name="Google Shape;7064;p64">
              <a:extLst>
                <a:ext uri="{FF2B5EF4-FFF2-40B4-BE49-F238E27FC236}">
                  <a16:creationId xmlns:a16="http://schemas.microsoft.com/office/drawing/2014/main" id="{9805B36B-5E7E-DAED-1482-4762D6CBB9ED}"/>
                </a:ext>
              </a:extLst>
            </p:cNvPr>
            <p:cNvSpPr/>
            <p:nvPr/>
          </p:nvSpPr>
          <p:spPr>
            <a:xfrm>
              <a:off x="2579807" y="17239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8" name="Google Shape;7065;p64">
              <a:extLst>
                <a:ext uri="{FF2B5EF4-FFF2-40B4-BE49-F238E27FC236}">
                  <a16:creationId xmlns:a16="http://schemas.microsoft.com/office/drawing/2014/main" id="{ED1A5C9C-2F00-9DD7-02BD-3927EC99FB86}"/>
                </a:ext>
              </a:extLst>
            </p:cNvPr>
            <p:cNvSpPr/>
            <p:nvPr/>
          </p:nvSpPr>
          <p:spPr>
            <a:xfrm>
              <a:off x="2580894" y="1715913"/>
              <a:ext cx="8242" cy="4915"/>
            </a:xfrm>
            <a:custGeom>
              <a:avLst/>
              <a:gdLst/>
              <a:ahLst/>
              <a:cxnLst/>
              <a:rect l="l" t="t" r="r" b="b"/>
              <a:pathLst>
                <a:path w="607" h="362" extrusionOk="0">
                  <a:moveTo>
                    <a:pt x="1" y="1"/>
                  </a:moveTo>
                  <a:cubicBezTo>
                    <a:pt x="120" y="33"/>
                    <a:pt x="382" y="176"/>
                    <a:pt x="606" y="361"/>
                  </a:cubicBezTo>
                  <a:cubicBezTo>
                    <a:pt x="382" y="173"/>
                    <a:pt x="120" y="3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9" name="Google Shape;7066;p64">
              <a:extLst>
                <a:ext uri="{FF2B5EF4-FFF2-40B4-BE49-F238E27FC236}">
                  <a16:creationId xmlns:a16="http://schemas.microsoft.com/office/drawing/2014/main" id="{A67C6931-FAFF-0832-18BE-015954F16797}"/>
                </a:ext>
              </a:extLst>
            </p:cNvPr>
            <p:cNvSpPr/>
            <p:nvPr/>
          </p:nvSpPr>
          <p:spPr>
            <a:xfrm>
              <a:off x="2579034" y="1724236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8" y="1"/>
                  </a:moveTo>
                  <a:cubicBezTo>
                    <a:pt x="5" y="1"/>
                    <a:pt x="2" y="3"/>
                    <a:pt x="1" y="6"/>
                  </a:cubicBezTo>
                  <a:lnTo>
                    <a:pt x="1" y="6"/>
                  </a:lnTo>
                  <a:cubicBezTo>
                    <a:pt x="3" y="4"/>
                    <a:pt x="6" y="1"/>
                    <a:pt x="8" y="1"/>
                  </a:cubicBezTo>
                  <a:close/>
                  <a:moveTo>
                    <a:pt x="1" y="6"/>
                  </a:moveTo>
                  <a:lnTo>
                    <a:pt x="1" y="6"/>
                  </a:lnTo>
                  <a:cubicBezTo>
                    <a:pt x="1" y="7"/>
                    <a:pt x="0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7"/>
                    <a:pt x="1" y="7"/>
                    <a:pt x="1" y="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0" name="Google Shape;7067;p64">
              <a:extLst>
                <a:ext uri="{FF2B5EF4-FFF2-40B4-BE49-F238E27FC236}">
                  <a16:creationId xmlns:a16="http://schemas.microsoft.com/office/drawing/2014/main" id="{ED37091E-E960-EEC1-2754-20A976B39C8E}"/>
                </a:ext>
              </a:extLst>
            </p:cNvPr>
            <p:cNvSpPr/>
            <p:nvPr/>
          </p:nvSpPr>
          <p:spPr>
            <a:xfrm>
              <a:off x="2570534" y="1714107"/>
              <a:ext cx="2390" cy="2200"/>
            </a:xfrm>
            <a:custGeom>
              <a:avLst/>
              <a:gdLst/>
              <a:ahLst/>
              <a:cxnLst/>
              <a:rect l="l" t="t" r="r" b="b"/>
              <a:pathLst>
                <a:path w="176" h="162" extrusionOk="0">
                  <a:moveTo>
                    <a:pt x="1" y="1"/>
                  </a:moveTo>
                  <a:cubicBezTo>
                    <a:pt x="60" y="32"/>
                    <a:pt x="116" y="78"/>
                    <a:pt x="155" y="137"/>
                  </a:cubicBezTo>
                  <a:lnTo>
                    <a:pt x="176" y="162"/>
                  </a:lnTo>
                  <a:lnTo>
                    <a:pt x="151" y="130"/>
                  </a:lnTo>
                  <a:cubicBezTo>
                    <a:pt x="116" y="81"/>
                    <a:pt x="74" y="43"/>
                    <a:pt x="25" y="8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1" name="Google Shape;7068;p64">
              <a:extLst>
                <a:ext uri="{FF2B5EF4-FFF2-40B4-BE49-F238E27FC236}">
                  <a16:creationId xmlns:a16="http://schemas.microsoft.com/office/drawing/2014/main" id="{96F2ABB8-4742-5854-AAC5-7C09AA2FD3BE}"/>
                </a:ext>
              </a:extLst>
            </p:cNvPr>
            <p:cNvSpPr/>
            <p:nvPr/>
          </p:nvSpPr>
          <p:spPr>
            <a:xfrm>
              <a:off x="2576291" y="17252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2" name="Google Shape;7069;p64">
              <a:extLst>
                <a:ext uri="{FF2B5EF4-FFF2-40B4-BE49-F238E27FC236}">
                  <a16:creationId xmlns:a16="http://schemas.microsoft.com/office/drawing/2014/main" id="{95EED872-BE0D-E6C0-93E1-96398541C53F}"/>
                </a:ext>
              </a:extLst>
            </p:cNvPr>
            <p:cNvSpPr/>
            <p:nvPr/>
          </p:nvSpPr>
          <p:spPr>
            <a:xfrm>
              <a:off x="2579427" y="1724046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3" name="Google Shape;7070;p64">
              <a:extLst>
                <a:ext uri="{FF2B5EF4-FFF2-40B4-BE49-F238E27FC236}">
                  <a16:creationId xmlns:a16="http://schemas.microsoft.com/office/drawing/2014/main" id="{9BC53972-163E-8545-9A6B-37D00960B749}"/>
                </a:ext>
              </a:extLst>
            </p:cNvPr>
            <p:cNvSpPr/>
            <p:nvPr/>
          </p:nvSpPr>
          <p:spPr>
            <a:xfrm>
              <a:off x="2086700" y="1392158"/>
              <a:ext cx="189338" cy="157838"/>
            </a:xfrm>
            <a:custGeom>
              <a:avLst/>
              <a:gdLst/>
              <a:ahLst/>
              <a:cxnLst/>
              <a:rect l="l" t="t" r="r" b="b"/>
              <a:pathLst>
                <a:path w="13945" h="11625" extrusionOk="0">
                  <a:moveTo>
                    <a:pt x="11107" y="0"/>
                  </a:moveTo>
                  <a:cubicBezTo>
                    <a:pt x="11045" y="0"/>
                    <a:pt x="11013" y="49"/>
                    <a:pt x="10969" y="138"/>
                  </a:cubicBezTo>
                  <a:cubicBezTo>
                    <a:pt x="10955" y="173"/>
                    <a:pt x="10934" y="205"/>
                    <a:pt x="10909" y="233"/>
                  </a:cubicBezTo>
                  <a:cubicBezTo>
                    <a:pt x="10885" y="257"/>
                    <a:pt x="10852" y="266"/>
                    <a:pt x="10814" y="266"/>
                  </a:cubicBezTo>
                  <a:cubicBezTo>
                    <a:pt x="10754" y="266"/>
                    <a:pt x="10679" y="242"/>
                    <a:pt x="10601" y="219"/>
                  </a:cubicBezTo>
                  <a:cubicBezTo>
                    <a:pt x="10577" y="212"/>
                    <a:pt x="10549" y="201"/>
                    <a:pt x="10524" y="198"/>
                  </a:cubicBezTo>
                  <a:cubicBezTo>
                    <a:pt x="10510" y="219"/>
                    <a:pt x="10489" y="240"/>
                    <a:pt x="10464" y="257"/>
                  </a:cubicBezTo>
                  <a:cubicBezTo>
                    <a:pt x="10450" y="264"/>
                    <a:pt x="10426" y="285"/>
                    <a:pt x="10422" y="292"/>
                  </a:cubicBezTo>
                  <a:cubicBezTo>
                    <a:pt x="10426" y="299"/>
                    <a:pt x="10429" y="306"/>
                    <a:pt x="10433" y="313"/>
                  </a:cubicBezTo>
                  <a:cubicBezTo>
                    <a:pt x="10475" y="366"/>
                    <a:pt x="10482" y="439"/>
                    <a:pt x="10454" y="499"/>
                  </a:cubicBezTo>
                  <a:cubicBezTo>
                    <a:pt x="10433" y="541"/>
                    <a:pt x="10391" y="565"/>
                    <a:pt x="10345" y="565"/>
                  </a:cubicBezTo>
                  <a:cubicBezTo>
                    <a:pt x="10314" y="565"/>
                    <a:pt x="10251" y="551"/>
                    <a:pt x="10202" y="460"/>
                  </a:cubicBezTo>
                  <a:cubicBezTo>
                    <a:pt x="10191" y="443"/>
                    <a:pt x="10174" y="429"/>
                    <a:pt x="10149" y="429"/>
                  </a:cubicBezTo>
                  <a:cubicBezTo>
                    <a:pt x="10086" y="429"/>
                    <a:pt x="9992" y="502"/>
                    <a:pt x="9936" y="593"/>
                  </a:cubicBezTo>
                  <a:cubicBezTo>
                    <a:pt x="9904" y="646"/>
                    <a:pt x="9862" y="695"/>
                    <a:pt x="9810" y="733"/>
                  </a:cubicBezTo>
                  <a:cubicBezTo>
                    <a:pt x="9866" y="789"/>
                    <a:pt x="9890" y="866"/>
                    <a:pt x="9876" y="943"/>
                  </a:cubicBezTo>
                  <a:cubicBezTo>
                    <a:pt x="9869" y="1038"/>
                    <a:pt x="9803" y="1118"/>
                    <a:pt x="9712" y="1146"/>
                  </a:cubicBezTo>
                  <a:cubicBezTo>
                    <a:pt x="9699" y="1150"/>
                    <a:pt x="9686" y="1152"/>
                    <a:pt x="9673" y="1152"/>
                  </a:cubicBezTo>
                  <a:cubicBezTo>
                    <a:pt x="9652" y="1152"/>
                    <a:pt x="9631" y="1147"/>
                    <a:pt x="9614" y="1136"/>
                  </a:cubicBezTo>
                  <a:cubicBezTo>
                    <a:pt x="9547" y="1094"/>
                    <a:pt x="9530" y="996"/>
                    <a:pt x="9512" y="901"/>
                  </a:cubicBezTo>
                  <a:cubicBezTo>
                    <a:pt x="9509" y="866"/>
                    <a:pt x="9498" y="831"/>
                    <a:pt x="9488" y="796"/>
                  </a:cubicBezTo>
                  <a:cubicBezTo>
                    <a:pt x="9481" y="798"/>
                    <a:pt x="9473" y="799"/>
                    <a:pt x="9466" y="799"/>
                  </a:cubicBezTo>
                  <a:cubicBezTo>
                    <a:pt x="9456" y="799"/>
                    <a:pt x="9446" y="797"/>
                    <a:pt x="9435" y="793"/>
                  </a:cubicBezTo>
                  <a:lnTo>
                    <a:pt x="9435" y="793"/>
                  </a:lnTo>
                  <a:cubicBezTo>
                    <a:pt x="9442" y="807"/>
                    <a:pt x="9442" y="821"/>
                    <a:pt x="9442" y="838"/>
                  </a:cubicBezTo>
                  <a:cubicBezTo>
                    <a:pt x="9439" y="884"/>
                    <a:pt x="9407" y="926"/>
                    <a:pt x="9362" y="940"/>
                  </a:cubicBezTo>
                  <a:cubicBezTo>
                    <a:pt x="9329" y="953"/>
                    <a:pt x="9294" y="959"/>
                    <a:pt x="9260" y="959"/>
                  </a:cubicBezTo>
                  <a:cubicBezTo>
                    <a:pt x="9200" y="959"/>
                    <a:pt x="9141" y="939"/>
                    <a:pt x="9092" y="901"/>
                  </a:cubicBezTo>
                  <a:cubicBezTo>
                    <a:pt x="9059" y="871"/>
                    <a:pt x="9014" y="860"/>
                    <a:pt x="8968" y="860"/>
                  </a:cubicBezTo>
                  <a:cubicBezTo>
                    <a:pt x="8909" y="860"/>
                    <a:pt x="8847" y="878"/>
                    <a:pt x="8802" y="898"/>
                  </a:cubicBezTo>
                  <a:cubicBezTo>
                    <a:pt x="8830" y="919"/>
                    <a:pt x="8875" y="940"/>
                    <a:pt x="8903" y="957"/>
                  </a:cubicBezTo>
                  <a:cubicBezTo>
                    <a:pt x="9022" y="1024"/>
                    <a:pt x="9082" y="1062"/>
                    <a:pt x="9096" y="1118"/>
                  </a:cubicBezTo>
                  <a:cubicBezTo>
                    <a:pt x="9103" y="1146"/>
                    <a:pt x="9092" y="1178"/>
                    <a:pt x="9071" y="1199"/>
                  </a:cubicBezTo>
                  <a:cubicBezTo>
                    <a:pt x="9054" y="1212"/>
                    <a:pt x="9036" y="1217"/>
                    <a:pt x="9017" y="1217"/>
                  </a:cubicBezTo>
                  <a:cubicBezTo>
                    <a:pt x="8984" y="1217"/>
                    <a:pt x="8948" y="1202"/>
                    <a:pt x="8907" y="1185"/>
                  </a:cubicBezTo>
                  <a:cubicBezTo>
                    <a:pt x="8875" y="1171"/>
                    <a:pt x="8844" y="1160"/>
                    <a:pt x="8812" y="1153"/>
                  </a:cubicBezTo>
                  <a:cubicBezTo>
                    <a:pt x="8783" y="1174"/>
                    <a:pt x="8750" y="1184"/>
                    <a:pt x="8717" y="1184"/>
                  </a:cubicBezTo>
                  <a:cubicBezTo>
                    <a:pt x="8695" y="1184"/>
                    <a:pt x="8672" y="1179"/>
                    <a:pt x="8651" y="1171"/>
                  </a:cubicBezTo>
                  <a:cubicBezTo>
                    <a:pt x="8585" y="1150"/>
                    <a:pt x="8525" y="1111"/>
                    <a:pt x="8476" y="1059"/>
                  </a:cubicBezTo>
                  <a:lnTo>
                    <a:pt x="8476" y="1059"/>
                  </a:lnTo>
                  <a:cubicBezTo>
                    <a:pt x="8522" y="1122"/>
                    <a:pt x="8511" y="1206"/>
                    <a:pt x="8504" y="1276"/>
                  </a:cubicBezTo>
                  <a:cubicBezTo>
                    <a:pt x="8501" y="1311"/>
                    <a:pt x="8497" y="1349"/>
                    <a:pt x="8497" y="1384"/>
                  </a:cubicBezTo>
                  <a:cubicBezTo>
                    <a:pt x="8504" y="1440"/>
                    <a:pt x="8476" y="1497"/>
                    <a:pt x="8424" y="1521"/>
                  </a:cubicBezTo>
                  <a:cubicBezTo>
                    <a:pt x="8405" y="1527"/>
                    <a:pt x="8387" y="1531"/>
                    <a:pt x="8368" y="1531"/>
                  </a:cubicBezTo>
                  <a:cubicBezTo>
                    <a:pt x="8325" y="1531"/>
                    <a:pt x="8284" y="1514"/>
                    <a:pt x="8252" y="1483"/>
                  </a:cubicBezTo>
                  <a:cubicBezTo>
                    <a:pt x="8185" y="1426"/>
                    <a:pt x="8161" y="1335"/>
                    <a:pt x="8182" y="1251"/>
                  </a:cubicBezTo>
                  <a:cubicBezTo>
                    <a:pt x="8185" y="1244"/>
                    <a:pt x="8189" y="1237"/>
                    <a:pt x="8189" y="1230"/>
                  </a:cubicBezTo>
                  <a:cubicBezTo>
                    <a:pt x="8185" y="1229"/>
                    <a:pt x="8180" y="1229"/>
                    <a:pt x="8174" y="1229"/>
                  </a:cubicBezTo>
                  <a:cubicBezTo>
                    <a:pt x="8137" y="1229"/>
                    <a:pt x="8060" y="1249"/>
                    <a:pt x="7972" y="1304"/>
                  </a:cubicBezTo>
                  <a:cubicBezTo>
                    <a:pt x="7955" y="1314"/>
                    <a:pt x="7922" y="1333"/>
                    <a:pt x="7887" y="1333"/>
                  </a:cubicBezTo>
                  <a:cubicBezTo>
                    <a:pt x="7871" y="1333"/>
                    <a:pt x="7854" y="1329"/>
                    <a:pt x="7839" y="1318"/>
                  </a:cubicBezTo>
                  <a:cubicBezTo>
                    <a:pt x="7790" y="1279"/>
                    <a:pt x="7804" y="1216"/>
                    <a:pt x="7825" y="1143"/>
                  </a:cubicBezTo>
                  <a:cubicBezTo>
                    <a:pt x="7839" y="1083"/>
                    <a:pt x="7860" y="999"/>
                    <a:pt x="7839" y="957"/>
                  </a:cubicBezTo>
                  <a:cubicBezTo>
                    <a:pt x="7834" y="945"/>
                    <a:pt x="7829" y="937"/>
                    <a:pt x="7812" y="937"/>
                  </a:cubicBezTo>
                  <a:cubicBezTo>
                    <a:pt x="7794" y="937"/>
                    <a:pt x="7762" y="946"/>
                    <a:pt x="7699" y="971"/>
                  </a:cubicBezTo>
                  <a:cubicBezTo>
                    <a:pt x="7643" y="996"/>
                    <a:pt x="7587" y="1013"/>
                    <a:pt x="7531" y="1027"/>
                  </a:cubicBezTo>
                  <a:lnTo>
                    <a:pt x="7503" y="1034"/>
                  </a:lnTo>
                  <a:cubicBezTo>
                    <a:pt x="7464" y="1038"/>
                    <a:pt x="7426" y="1048"/>
                    <a:pt x="7398" y="1055"/>
                  </a:cubicBezTo>
                  <a:lnTo>
                    <a:pt x="7415" y="1073"/>
                  </a:lnTo>
                  <a:cubicBezTo>
                    <a:pt x="7496" y="1160"/>
                    <a:pt x="7524" y="1279"/>
                    <a:pt x="7478" y="1356"/>
                  </a:cubicBezTo>
                  <a:cubicBezTo>
                    <a:pt x="7451" y="1406"/>
                    <a:pt x="7401" y="1436"/>
                    <a:pt x="7347" y="1436"/>
                  </a:cubicBezTo>
                  <a:cubicBezTo>
                    <a:pt x="7332" y="1436"/>
                    <a:pt x="7318" y="1434"/>
                    <a:pt x="7303" y="1430"/>
                  </a:cubicBezTo>
                  <a:cubicBezTo>
                    <a:pt x="7275" y="1425"/>
                    <a:pt x="7255" y="1424"/>
                    <a:pt x="7240" y="1424"/>
                  </a:cubicBezTo>
                  <a:cubicBezTo>
                    <a:pt x="7211" y="1424"/>
                    <a:pt x="7205" y="1430"/>
                    <a:pt x="7205" y="1430"/>
                  </a:cubicBezTo>
                  <a:cubicBezTo>
                    <a:pt x="7205" y="1430"/>
                    <a:pt x="7195" y="1440"/>
                    <a:pt x="7202" y="1490"/>
                  </a:cubicBezTo>
                  <a:cubicBezTo>
                    <a:pt x="7216" y="1574"/>
                    <a:pt x="7153" y="1654"/>
                    <a:pt x="7065" y="1665"/>
                  </a:cubicBezTo>
                  <a:cubicBezTo>
                    <a:pt x="7057" y="1666"/>
                    <a:pt x="7048" y="1667"/>
                    <a:pt x="7040" y="1667"/>
                  </a:cubicBezTo>
                  <a:cubicBezTo>
                    <a:pt x="6962" y="1667"/>
                    <a:pt x="6892" y="1610"/>
                    <a:pt x="6876" y="1528"/>
                  </a:cubicBezTo>
                  <a:cubicBezTo>
                    <a:pt x="6863" y="1520"/>
                    <a:pt x="6846" y="1516"/>
                    <a:pt x="6828" y="1516"/>
                  </a:cubicBezTo>
                  <a:cubicBezTo>
                    <a:pt x="6822" y="1516"/>
                    <a:pt x="6816" y="1517"/>
                    <a:pt x="6810" y="1518"/>
                  </a:cubicBezTo>
                  <a:cubicBezTo>
                    <a:pt x="6740" y="1518"/>
                    <a:pt x="6673" y="1549"/>
                    <a:pt x="6628" y="1605"/>
                  </a:cubicBezTo>
                  <a:cubicBezTo>
                    <a:pt x="6586" y="1661"/>
                    <a:pt x="6537" y="1710"/>
                    <a:pt x="6484" y="1756"/>
                  </a:cubicBezTo>
                  <a:cubicBezTo>
                    <a:pt x="6414" y="1815"/>
                    <a:pt x="6351" y="1868"/>
                    <a:pt x="6351" y="1920"/>
                  </a:cubicBezTo>
                  <a:cubicBezTo>
                    <a:pt x="6365" y="1917"/>
                    <a:pt x="6386" y="1906"/>
                    <a:pt x="6404" y="1899"/>
                  </a:cubicBezTo>
                  <a:cubicBezTo>
                    <a:pt x="6453" y="1875"/>
                    <a:pt x="6519" y="1846"/>
                    <a:pt x="6587" y="1846"/>
                  </a:cubicBezTo>
                  <a:cubicBezTo>
                    <a:pt x="6610" y="1846"/>
                    <a:pt x="6633" y="1849"/>
                    <a:pt x="6656" y="1857"/>
                  </a:cubicBezTo>
                  <a:cubicBezTo>
                    <a:pt x="6799" y="1903"/>
                    <a:pt x="6768" y="2001"/>
                    <a:pt x="6754" y="2036"/>
                  </a:cubicBezTo>
                  <a:cubicBezTo>
                    <a:pt x="6754" y="2043"/>
                    <a:pt x="6750" y="2053"/>
                    <a:pt x="6750" y="2060"/>
                  </a:cubicBezTo>
                  <a:lnTo>
                    <a:pt x="6754" y="2064"/>
                  </a:lnTo>
                  <a:cubicBezTo>
                    <a:pt x="6810" y="2116"/>
                    <a:pt x="6834" y="2193"/>
                    <a:pt x="6820" y="2267"/>
                  </a:cubicBezTo>
                  <a:cubicBezTo>
                    <a:pt x="6813" y="2305"/>
                    <a:pt x="6789" y="2337"/>
                    <a:pt x="6750" y="2351"/>
                  </a:cubicBezTo>
                  <a:cubicBezTo>
                    <a:pt x="6740" y="2353"/>
                    <a:pt x="6729" y="2354"/>
                    <a:pt x="6718" y="2354"/>
                  </a:cubicBezTo>
                  <a:cubicBezTo>
                    <a:pt x="6679" y="2354"/>
                    <a:pt x="6641" y="2339"/>
                    <a:pt x="6614" y="2309"/>
                  </a:cubicBezTo>
                  <a:cubicBezTo>
                    <a:pt x="6561" y="2260"/>
                    <a:pt x="6512" y="2237"/>
                    <a:pt x="6482" y="2237"/>
                  </a:cubicBezTo>
                  <a:cubicBezTo>
                    <a:pt x="6477" y="2237"/>
                    <a:pt x="6473" y="2238"/>
                    <a:pt x="6470" y="2239"/>
                  </a:cubicBezTo>
                  <a:cubicBezTo>
                    <a:pt x="6446" y="2249"/>
                    <a:pt x="6446" y="2281"/>
                    <a:pt x="6442" y="2302"/>
                  </a:cubicBezTo>
                  <a:cubicBezTo>
                    <a:pt x="6432" y="2368"/>
                    <a:pt x="6404" y="2410"/>
                    <a:pt x="6358" y="2421"/>
                  </a:cubicBezTo>
                  <a:cubicBezTo>
                    <a:pt x="6350" y="2423"/>
                    <a:pt x="6342" y="2424"/>
                    <a:pt x="6334" y="2424"/>
                  </a:cubicBezTo>
                  <a:cubicBezTo>
                    <a:pt x="6264" y="2424"/>
                    <a:pt x="6203" y="2343"/>
                    <a:pt x="6127" y="2242"/>
                  </a:cubicBezTo>
                  <a:lnTo>
                    <a:pt x="6085" y="2193"/>
                  </a:lnTo>
                  <a:cubicBezTo>
                    <a:pt x="6067" y="2211"/>
                    <a:pt x="6050" y="2228"/>
                    <a:pt x="6032" y="2253"/>
                  </a:cubicBezTo>
                  <a:cubicBezTo>
                    <a:pt x="5998" y="2298"/>
                    <a:pt x="5938" y="2370"/>
                    <a:pt x="5867" y="2370"/>
                  </a:cubicBezTo>
                  <a:cubicBezTo>
                    <a:pt x="5844" y="2370"/>
                    <a:pt x="5819" y="2363"/>
                    <a:pt x="5794" y="2344"/>
                  </a:cubicBezTo>
                  <a:cubicBezTo>
                    <a:pt x="5693" y="2267"/>
                    <a:pt x="5773" y="2144"/>
                    <a:pt x="5836" y="2046"/>
                  </a:cubicBezTo>
                  <a:cubicBezTo>
                    <a:pt x="5868" y="1997"/>
                    <a:pt x="5927" y="1903"/>
                    <a:pt x="5910" y="1875"/>
                  </a:cubicBezTo>
                  <a:lnTo>
                    <a:pt x="5910" y="1875"/>
                  </a:lnTo>
                  <a:cubicBezTo>
                    <a:pt x="5885" y="1903"/>
                    <a:pt x="5864" y="1927"/>
                    <a:pt x="5843" y="1959"/>
                  </a:cubicBezTo>
                  <a:cubicBezTo>
                    <a:pt x="5798" y="2022"/>
                    <a:pt x="5745" y="2085"/>
                    <a:pt x="5689" y="2144"/>
                  </a:cubicBezTo>
                  <a:cubicBezTo>
                    <a:pt x="5605" y="2221"/>
                    <a:pt x="5507" y="2284"/>
                    <a:pt x="5402" y="2323"/>
                  </a:cubicBezTo>
                  <a:lnTo>
                    <a:pt x="5357" y="2340"/>
                  </a:lnTo>
                  <a:cubicBezTo>
                    <a:pt x="5371" y="2361"/>
                    <a:pt x="5378" y="2386"/>
                    <a:pt x="5374" y="2410"/>
                  </a:cubicBezTo>
                  <a:cubicBezTo>
                    <a:pt x="5367" y="2470"/>
                    <a:pt x="5311" y="2508"/>
                    <a:pt x="5252" y="2547"/>
                  </a:cubicBezTo>
                  <a:cubicBezTo>
                    <a:pt x="5192" y="2585"/>
                    <a:pt x="5136" y="2624"/>
                    <a:pt x="5122" y="2676"/>
                  </a:cubicBezTo>
                  <a:lnTo>
                    <a:pt x="5119" y="2683"/>
                  </a:lnTo>
                  <a:cubicBezTo>
                    <a:pt x="5292" y="2591"/>
                    <a:pt x="5395" y="2566"/>
                    <a:pt x="5458" y="2566"/>
                  </a:cubicBezTo>
                  <a:cubicBezTo>
                    <a:pt x="5510" y="2566"/>
                    <a:pt x="5535" y="2583"/>
                    <a:pt x="5549" y="2592"/>
                  </a:cubicBezTo>
                  <a:cubicBezTo>
                    <a:pt x="5577" y="2612"/>
                    <a:pt x="5617" y="2634"/>
                    <a:pt x="5660" y="2634"/>
                  </a:cubicBezTo>
                  <a:cubicBezTo>
                    <a:pt x="5699" y="2634"/>
                    <a:pt x="5742" y="2616"/>
                    <a:pt x="5780" y="2561"/>
                  </a:cubicBezTo>
                  <a:cubicBezTo>
                    <a:pt x="5822" y="2494"/>
                    <a:pt x="5892" y="2449"/>
                    <a:pt x="5973" y="2435"/>
                  </a:cubicBezTo>
                  <a:cubicBezTo>
                    <a:pt x="5981" y="2434"/>
                    <a:pt x="5988" y="2434"/>
                    <a:pt x="5996" y="2434"/>
                  </a:cubicBezTo>
                  <a:cubicBezTo>
                    <a:pt x="6079" y="2434"/>
                    <a:pt x="6157" y="2468"/>
                    <a:pt x="6218" y="2526"/>
                  </a:cubicBezTo>
                  <a:cubicBezTo>
                    <a:pt x="6242" y="2547"/>
                    <a:pt x="6260" y="2578"/>
                    <a:pt x="6263" y="2613"/>
                  </a:cubicBezTo>
                  <a:cubicBezTo>
                    <a:pt x="6260" y="2662"/>
                    <a:pt x="6239" y="2711"/>
                    <a:pt x="6197" y="2743"/>
                  </a:cubicBezTo>
                  <a:cubicBezTo>
                    <a:pt x="6148" y="2799"/>
                    <a:pt x="6151" y="2802"/>
                    <a:pt x="6172" y="2823"/>
                  </a:cubicBezTo>
                  <a:cubicBezTo>
                    <a:pt x="6253" y="2904"/>
                    <a:pt x="6221" y="2977"/>
                    <a:pt x="6207" y="2998"/>
                  </a:cubicBezTo>
                  <a:cubicBezTo>
                    <a:pt x="6171" y="3051"/>
                    <a:pt x="6111" y="3082"/>
                    <a:pt x="6048" y="3082"/>
                  </a:cubicBezTo>
                  <a:cubicBezTo>
                    <a:pt x="6031" y="3082"/>
                    <a:pt x="6014" y="3080"/>
                    <a:pt x="5997" y="3075"/>
                  </a:cubicBezTo>
                  <a:cubicBezTo>
                    <a:pt x="5945" y="3065"/>
                    <a:pt x="5906" y="3016"/>
                    <a:pt x="5906" y="2960"/>
                  </a:cubicBezTo>
                  <a:cubicBezTo>
                    <a:pt x="5903" y="2921"/>
                    <a:pt x="5875" y="2886"/>
                    <a:pt x="5836" y="2876"/>
                  </a:cubicBezTo>
                  <a:cubicBezTo>
                    <a:pt x="5832" y="2875"/>
                    <a:pt x="5829" y="2875"/>
                    <a:pt x="5826" y="2875"/>
                  </a:cubicBezTo>
                  <a:cubicBezTo>
                    <a:pt x="5817" y="2875"/>
                    <a:pt x="5815" y="2878"/>
                    <a:pt x="5812" y="2886"/>
                  </a:cubicBezTo>
                  <a:cubicBezTo>
                    <a:pt x="5780" y="2942"/>
                    <a:pt x="5665" y="3131"/>
                    <a:pt x="5500" y="3149"/>
                  </a:cubicBezTo>
                  <a:cubicBezTo>
                    <a:pt x="5448" y="3152"/>
                    <a:pt x="5343" y="3299"/>
                    <a:pt x="5343" y="3478"/>
                  </a:cubicBezTo>
                  <a:cubicBezTo>
                    <a:pt x="5346" y="3527"/>
                    <a:pt x="5332" y="3573"/>
                    <a:pt x="5297" y="3608"/>
                  </a:cubicBezTo>
                  <a:cubicBezTo>
                    <a:pt x="5269" y="3630"/>
                    <a:pt x="5235" y="3641"/>
                    <a:pt x="5200" y="3641"/>
                  </a:cubicBezTo>
                  <a:cubicBezTo>
                    <a:pt x="5192" y="3641"/>
                    <a:pt x="5183" y="3640"/>
                    <a:pt x="5175" y="3639"/>
                  </a:cubicBezTo>
                  <a:lnTo>
                    <a:pt x="5143" y="3639"/>
                  </a:lnTo>
                  <a:cubicBezTo>
                    <a:pt x="5143" y="3643"/>
                    <a:pt x="5140" y="3650"/>
                    <a:pt x="5140" y="3657"/>
                  </a:cubicBezTo>
                  <a:cubicBezTo>
                    <a:pt x="5119" y="3881"/>
                    <a:pt x="4769" y="4241"/>
                    <a:pt x="4618" y="4385"/>
                  </a:cubicBezTo>
                  <a:cubicBezTo>
                    <a:pt x="4510" y="4490"/>
                    <a:pt x="4527" y="4528"/>
                    <a:pt x="4545" y="4584"/>
                  </a:cubicBezTo>
                  <a:cubicBezTo>
                    <a:pt x="4573" y="4644"/>
                    <a:pt x="4573" y="4714"/>
                    <a:pt x="4541" y="4773"/>
                  </a:cubicBezTo>
                  <a:cubicBezTo>
                    <a:pt x="4497" y="4856"/>
                    <a:pt x="4411" y="4875"/>
                    <a:pt x="4326" y="4875"/>
                  </a:cubicBezTo>
                  <a:cubicBezTo>
                    <a:pt x="4289" y="4875"/>
                    <a:pt x="4252" y="4871"/>
                    <a:pt x="4219" y="4868"/>
                  </a:cubicBezTo>
                  <a:cubicBezTo>
                    <a:pt x="4198" y="4866"/>
                    <a:pt x="4177" y="4865"/>
                    <a:pt x="4156" y="4865"/>
                  </a:cubicBezTo>
                  <a:cubicBezTo>
                    <a:pt x="4136" y="4865"/>
                    <a:pt x="4116" y="4866"/>
                    <a:pt x="4096" y="4868"/>
                  </a:cubicBezTo>
                  <a:cubicBezTo>
                    <a:pt x="4089" y="4917"/>
                    <a:pt x="4089" y="4969"/>
                    <a:pt x="4096" y="5018"/>
                  </a:cubicBezTo>
                  <a:cubicBezTo>
                    <a:pt x="4103" y="5144"/>
                    <a:pt x="4117" y="5288"/>
                    <a:pt x="4026" y="5368"/>
                  </a:cubicBezTo>
                  <a:cubicBezTo>
                    <a:pt x="3981" y="5407"/>
                    <a:pt x="3988" y="5449"/>
                    <a:pt x="4019" y="5543"/>
                  </a:cubicBezTo>
                  <a:cubicBezTo>
                    <a:pt x="4037" y="5589"/>
                    <a:pt x="4047" y="5638"/>
                    <a:pt x="4047" y="5687"/>
                  </a:cubicBezTo>
                  <a:cubicBezTo>
                    <a:pt x="4051" y="5719"/>
                    <a:pt x="4037" y="5750"/>
                    <a:pt x="4012" y="5771"/>
                  </a:cubicBezTo>
                  <a:cubicBezTo>
                    <a:pt x="3989" y="5789"/>
                    <a:pt x="3961" y="5796"/>
                    <a:pt x="3929" y="5796"/>
                  </a:cubicBezTo>
                  <a:cubicBezTo>
                    <a:pt x="3894" y="5796"/>
                    <a:pt x="3854" y="5787"/>
                    <a:pt x="3813" y="5778"/>
                  </a:cubicBezTo>
                  <a:cubicBezTo>
                    <a:pt x="3778" y="5768"/>
                    <a:pt x="3743" y="5761"/>
                    <a:pt x="3704" y="5761"/>
                  </a:cubicBezTo>
                  <a:cubicBezTo>
                    <a:pt x="3673" y="5883"/>
                    <a:pt x="3508" y="5894"/>
                    <a:pt x="3389" y="5904"/>
                  </a:cubicBezTo>
                  <a:lnTo>
                    <a:pt x="3340" y="5911"/>
                  </a:lnTo>
                  <a:cubicBezTo>
                    <a:pt x="3424" y="5995"/>
                    <a:pt x="3515" y="6076"/>
                    <a:pt x="3613" y="6146"/>
                  </a:cubicBezTo>
                  <a:cubicBezTo>
                    <a:pt x="3694" y="6209"/>
                    <a:pt x="3680" y="6279"/>
                    <a:pt x="3669" y="6303"/>
                  </a:cubicBezTo>
                  <a:cubicBezTo>
                    <a:pt x="3646" y="6370"/>
                    <a:pt x="3566" y="6401"/>
                    <a:pt x="3498" y="6401"/>
                  </a:cubicBezTo>
                  <a:cubicBezTo>
                    <a:pt x="3494" y="6401"/>
                    <a:pt x="3491" y="6401"/>
                    <a:pt x="3487" y="6401"/>
                  </a:cubicBezTo>
                  <a:cubicBezTo>
                    <a:pt x="3421" y="6398"/>
                    <a:pt x="3365" y="6359"/>
                    <a:pt x="3340" y="6300"/>
                  </a:cubicBezTo>
                  <a:cubicBezTo>
                    <a:pt x="3291" y="6321"/>
                    <a:pt x="3242" y="6352"/>
                    <a:pt x="3193" y="6384"/>
                  </a:cubicBezTo>
                  <a:cubicBezTo>
                    <a:pt x="3113" y="6436"/>
                    <a:pt x="3029" y="6482"/>
                    <a:pt x="2945" y="6524"/>
                  </a:cubicBezTo>
                  <a:cubicBezTo>
                    <a:pt x="2864" y="6559"/>
                    <a:pt x="2808" y="6625"/>
                    <a:pt x="2784" y="6706"/>
                  </a:cubicBezTo>
                  <a:cubicBezTo>
                    <a:pt x="2756" y="6779"/>
                    <a:pt x="2717" y="6874"/>
                    <a:pt x="2581" y="6877"/>
                  </a:cubicBezTo>
                  <a:cubicBezTo>
                    <a:pt x="2525" y="6881"/>
                    <a:pt x="2504" y="6923"/>
                    <a:pt x="2469" y="7045"/>
                  </a:cubicBezTo>
                  <a:cubicBezTo>
                    <a:pt x="2448" y="7129"/>
                    <a:pt x="2423" y="7224"/>
                    <a:pt x="2350" y="7276"/>
                  </a:cubicBezTo>
                  <a:cubicBezTo>
                    <a:pt x="2324" y="7296"/>
                    <a:pt x="2295" y="7307"/>
                    <a:pt x="2265" y="7307"/>
                  </a:cubicBezTo>
                  <a:cubicBezTo>
                    <a:pt x="2257" y="7307"/>
                    <a:pt x="2249" y="7306"/>
                    <a:pt x="2241" y="7304"/>
                  </a:cubicBezTo>
                  <a:cubicBezTo>
                    <a:pt x="2182" y="7290"/>
                    <a:pt x="2157" y="7234"/>
                    <a:pt x="2132" y="7182"/>
                  </a:cubicBezTo>
                  <a:cubicBezTo>
                    <a:pt x="2094" y="7105"/>
                    <a:pt x="2069" y="7059"/>
                    <a:pt x="2006" y="7056"/>
                  </a:cubicBezTo>
                  <a:cubicBezTo>
                    <a:pt x="1954" y="7056"/>
                    <a:pt x="1929" y="7063"/>
                    <a:pt x="1926" y="7073"/>
                  </a:cubicBezTo>
                  <a:cubicBezTo>
                    <a:pt x="1915" y="7094"/>
                    <a:pt x="1926" y="7157"/>
                    <a:pt x="1999" y="7259"/>
                  </a:cubicBezTo>
                  <a:cubicBezTo>
                    <a:pt x="2013" y="7283"/>
                    <a:pt x="2055" y="7339"/>
                    <a:pt x="2031" y="7399"/>
                  </a:cubicBezTo>
                  <a:cubicBezTo>
                    <a:pt x="2003" y="7455"/>
                    <a:pt x="1940" y="7462"/>
                    <a:pt x="1873" y="7465"/>
                  </a:cubicBezTo>
                  <a:cubicBezTo>
                    <a:pt x="1807" y="7472"/>
                    <a:pt x="1733" y="7479"/>
                    <a:pt x="1698" y="7525"/>
                  </a:cubicBezTo>
                  <a:cubicBezTo>
                    <a:pt x="1621" y="7619"/>
                    <a:pt x="1488" y="7640"/>
                    <a:pt x="1369" y="7654"/>
                  </a:cubicBezTo>
                  <a:cubicBezTo>
                    <a:pt x="1292" y="7665"/>
                    <a:pt x="1212" y="7679"/>
                    <a:pt x="1180" y="7711"/>
                  </a:cubicBezTo>
                  <a:cubicBezTo>
                    <a:pt x="1208" y="7725"/>
                    <a:pt x="1240" y="7735"/>
                    <a:pt x="1271" y="7746"/>
                  </a:cubicBezTo>
                  <a:cubicBezTo>
                    <a:pt x="1352" y="7774"/>
                    <a:pt x="1436" y="7802"/>
                    <a:pt x="1471" y="7865"/>
                  </a:cubicBezTo>
                  <a:cubicBezTo>
                    <a:pt x="1488" y="7896"/>
                    <a:pt x="1485" y="7938"/>
                    <a:pt x="1464" y="7966"/>
                  </a:cubicBezTo>
                  <a:cubicBezTo>
                    <a:pt x="1435" y="8002"/>
                    <a:pt x="1368" y="8015"/>
                    <a:pt x="1286" y="8015"/>
                  </a:cubicBezTo>
                  <a:cubicBezTo>
                    <a:pt x="1171" y="8015"/>
                    <a:pt x="1027" y="7989"/>
                    <a:pt x="928" y="7966"/>
                  </a:cubicBezTo>
                  <a:cubicBezTo>
                    <a:pt x="921" y="7965"/>
                    <a:pt x="915" y="7964"/>
                    <a:pt x="909" y="7964"/>
                  </a:cubicBezTo>
                  <a:cubicBezTo>
                    <a:pt x="886" y="7964"/>
                    <a:pt x="876" y="7979"/>
                    <a:pt x="848" y="8033"/>
                  </a:cubicBezTo>
                  <a:cubicBezTo>
                    <a:pt x="820" y="8083"/>
                    <a:pt x="775" y="8166"/>
                    <a:pt x="676" y="8166"/>
                  </a:cubicBezTo>
                  <a:cubicBezTo>
                    <a:pt x="664" y="8166"/>
                    <a:pt x="651" y="8165"/>
                    <a:pt x="638" y="8162"/>
                  </a:cubicBezTo>
                  <a:cubicBezTo>
                    <a:pt x="629" y="8161"/>
                    <a:pt x="619" y="8160"/>
                    <a:pt x="610" y="8160"/>
                  </a:cubicBezTo>
                  <a:cubicBezTo>
                    <a:pt x="543" y="8160"/>
                    <a:pt x="479" y="8194"/>
                    <a:pt x="442" y="8250"/>
                  </a:cubicBezTo>
                  <a:cubicBezTo>
                    <a:pt x="428" y="8267"/>
                    <a:pt x="431" y="8292"/>
                    <a:pt x="449" y="8302"/>
                  </a:cubicBezTo>
                  <a:cubicBezTo>
                    <a:pt x="533" y="8386"/>
                    <a:pt x="491" y="8453"/>
                    <a:pt x="477" y="8470"/>
                  </a:cubicBezTo>
                  <a:cubicBezTo>
                    <a:pt x="451" y="8502"/>
                    <a:pt x="403" y="8517"/>
                    <a:pt x="349" y="8517"/>
                  </a:cubicBezTo>
                  <a:cubicBezTo>
                    <a:pt x="286" y="8517"/>
                    <a:pt x="214" y="8497"/>
                    <a:pt x="162" y="8463"/>
                  </a:cubicBezTo>
                  <a:cubicBezTo>
                    <a:pt x="156" y="8458"/>
                    <a:pt x="151" y="8455"/>
                    <a:pt x="145" y="8455"/>
                  </a:cubicBezTo>
                  <a:cubicBezTo>
                    <a:pt x="142" y="8455"/>
                    <a:pt x="140" y="8455"/>
                    <a:pt x="137" y="8456"/>
                  </a:cubicBezTo>
                  <a:cubicBezTo>
                    <a:pt x="95" y="8474"/>
                    <a:pt x="42" y="8561"/>
                    <a:pt x="11" y="8666"/>
                  </a:cubicBezTo>
                  <a:cubicBezTo>
                    <a:pt x="0" y="8701"/>
                    <a:pt x="53" y="8743"/>
                    <a:pt x="116" y="8785"/>
                  </a:cubicBezTo>
                  <a:cubicBezTo>
                    <a:pt x="179" y="8831"/>
                    <a:pt x="232" y="8866"/>
                    <a:pt x="225" y="8932"/>
                  </a:cubicBezTo>
                  <a:cubicBezTo>
                    <a:pt x="211" y="8978"/>
                    <a:pt x="183" y="9020"/>
                    <a:pt x="148" y="9048"/>
                  </a:cubicBezTo>
                  <a:lnTo>
                    <a:pt x="130" y="9069"/>
                  </a:lnTo>
                  <a:cubicBezTo>
                    <a:pt x="183" y="9079"/>
                    <a:pt x="225" y="9121"/>
                    <a:pt x="232" y="9177"/>
                  </a:cubicBezTo>
                  <a:cubicBezTo>
                    <a:pt x="239" y="9272"/>
                    <a:pt x="137" y="9356"/>
                    <a:pt x="60" y="9387"/>
                  </a:cubicBezTo>
                  <a:cubicBezTo>
                    <a:pt x="35" y="9398"/>
                    <a:pt x="32" y="9412"/>
                    <a:pt x="32" y="9415"/>
                  </a:cubicBezTo>
                  <a:cubicBezTo>
                    <a:pt x="25" y="9436"/>
                    <a:pt x="39" y="9482"/>
                    <a:pt x="88" y="9545"/>
                  </a:cubicBezTo>
                  <a:cubicBezTo>
                    <a:pt x="165" y="9643"/>
                    <a:pt x="99" y="9720"/>
                    <a:pt x="63" y="9758"/>
                  </a:cubicBezTo>
                  <a:cubicBezTo>
                    <a:pt x="25" y="9804"/>
                    <a:pt x="7" y="9822"/>
                    <a:pt x="49" y="9881"/>
                  </a:cubicBezTo>
                  <a:cubicBezTo>
                    <a:pt x="74" y="9916"/>
                    <a:pt x="90" y="9928"/>
                    <a:pt x="108" y="9928"/>
                  </a:cubicBezTo>
                  <a:cubicBezTo>
                    <a:pt x="121" y="9928"/>
                    <a:pt x="135" y="9921"/>
                    <a:pt x="155" y="9913"/>
                  </a:cubicBezTo>
                  <a:cubicBezTo>
                    <a:pt x="170" y="9906"/>
                    <a:pt x="197" y="9896"/>
                    <a:pt x="227" y="9896"/>
                  </a:cubicBezTo>
                  <a:cubicBezTo>
                    <a:pt x="266" y="9896"/>
                    <a:pt x="310" y="9914"/>
                    <a:pt x="340" y="9983"/>
                  </a:cubicBezTo>
                  <a:cubicBezTo>
                    <a:pt x="344" y="9993"/>
                    <a:pt x="351" y="10000"/>
                    <a:pt x="351" y="10000"/>
                  </a:cubicBezTo>
                  <a:cubicBezTo>
                    <a:pt x="352" y="10000"/>
                    <a:pt x="354" y="10001"/>
                    <a:pt x="356" y="10001"/>
                  </a:cubicBezTo>
                  <a:cubicBezTo>
                    <a:pt x="395" y="10001"/>
                    <a:pt x="484" y="9937"/>
                    <a:pt x="624" y="9811"/>
                  </a:cubicBezTo>
                  <a:cubicBezTo>
                    <a:pt x="673" y="9765"/>
                    <a:pt x="719" y="9751"/>
                    <a:pt x="755" y="9751"/>
                  </a:cubicBezTo>
                  <a:cubicBezTo>
                    <a:pt x="790" y="9751"/>
                    <a:pt x="816" y="9764"/>
                    <a:pt x="830" y="9772"/>
                  </a:cubicBezTo>
                  <a:cubicBezTo>
                    <a:pt x="900" y="9825"/>
                    <a:pt x="925" y="9916"/>
                    <a:pt x="900" y="9997"/>
                  </a:cubicBezTo>
                  <a:cubicBezTo>
                    <a:pt x="883" y="10057"/>
                    <a:pt x="828" y="10098"/>
                    <a:pt x="767" y="10098"/>
                  </a:cubicBezTo>
                  <a:cubicBezTo>
                    <a:pt x="765" y="10098"/>
                    <a:pt x="763" y="10098"/>
                    <a:pt x="760" y="10098"/>
                  </a:cubicBezTo>
                  <a:cubicBezTo>
                    <a:pt x="752" y="10097"/>
                    <a:pt x="744" y="10097"/>
                    <a:pt x="736" y="10097"/>
                  </a:cubicBezTo>
                  <a:cubicBezTo>
                    <a:pt x="671" y="10097"/>
                    <a:pt x="611" y="10121"/>
                    <a:pt x="564" y="10165"/>
                  </a:cubicBezTo>
                  <a:cubicBezTo>
                    <a:pt x="547" y="10186"/>
                    <a:pt x="536" y="10217"/>
                    <a:pt x="543" y="10242"/>
                  </a:cubicBezTo>
                  <a:cubicBezTo>
                    <a:pt x="561" y="10298"/>
                    <a:pt x="540" y="10354"/>
                    <a:pt x="498" y="10389"/>
                  </a:cubicBezTo>
                  <a:cubicBezTo>
                    <a:pt x="468" y="10407"/>
                    <a:pt x="434" y="10417"/>
                    <a:pt x="399" y="10417"/>
                  </a:cubicBezTo>
                  <a:cubicBezTo>
                    <a:pt x="367" y="10417"/>
                    <a:pt x="335" y="10409"/>
                    <a:pt x="305" y="10392"/>
                  </a:cubicBezTo>
                  <a:cubicBezTo>
                    <a:pt x="228" y="10357"/>
                    <a:pt x="183" y="10277"/>
                    <a:pt x="190" y="10193"/>
                  </a:cubicBezTo>
                  <a:lnTo>
                    <a:pt x="190" y="10193"/>
                  </a:lnTo>
                  <a:cubicBezTo>
                    <a:pt x="158" y="10207"/>
                    <a:pt x="130" y="10231"/>
                    <a:pt x="116" y="10263"/>
                  </a:cubicBezTo>
                  <a:cubicBezTo>
                    <a:pt x="102" y="10291"/>
                    <a:pt x="113" y="10305"/>
                    <a:pt x="116" y="10312"/>
                  </a:cubicBezTo>
                  <a:cubicBezTo>
                    <a:pt x="218" y="10424"/>
                    <a:pt x="162" y="10522"/>
                    <a:pt x="127" y="10585"/>
                  </a:cubicBezTo>
                  <a:cubicBezTo>
                    <a:pt x="106" y="10613"/>
                    <a:pt x="95" y="10644"/>
                    <a:pt x="92" y="10676"/>
                  </a:cubicBezTo>
                  <a:cubicBezTo>
                    <a:pt x="92" y="10679"/>
                    <a:pt x="92" y="10679"/>
                    <a:pt x="92" y="10683"/>
                  </a:cubicBezTo>
                  <a:cubicBezTo>
                    <a:pt x="102" y="10690"/>
                    <a:pt x="116" y="10690"/>
                    <a:pt x="127" y="10690"/>
                  </a:cubicBezTo>
                  <a:cubicBezTo>
                    <a:pt x="186" y="10683"/>
                    <a:pt x="242" y="10651"/>
                    <a:pt x="277" y="10602"/>
                  </a:cubicBezTo>
                  <a:cubicBezTo>
                    <a:pt x="316" y="10532"/>
                    <a:pt x="389" y="10487"/>
                    <a:pt x="470" y="10483"/>
                  </a:cubicBezTo>
                  <a:lnTo>
                    <a:pt x="487" y="10483"/>
                  </a:lnTo>
                  <a:cubicBezTo>
                    <a:pt x="578" y="10497"/>
                    <a:pt x="655" y="10557"/>
                    <a:pt x="683" y="10644"/>
                  </a:cubicBezTo>
                  <a:cubicBezTo>
                    <a:pt x="701" y="10679"/>
                    <a:pt x="701" y="10718"/>
                    <a:pt x="690" y="10756"/>
                  </a:cubicBezTo>
                  <a:cubicBezTo>
                    <a:pt x="673" y="10788"/>
                    <a:pt x="638" y="10812"/>
                    <a:pt x="603" y="10819"/>
                  </a:cubicBezTo>
                  <a:cubicBezTo>
                    <a:pt x="564" y="10833"/>
                    <a:pt x="550" y="10837"/>
                    <a:pt x="550" y="10886"/>
                  </a:cubicBezTo>
                  <a:cubicBezTo>
                    <a:pt x="550" y="11033"/>
                    <a:pt x="477" y="11050"/>
                    <a:pt x="403" y="11054"/>
                  </a:cubicBezTo>
                  <a:cubicBezTo>
                    <a:pt x="398" y="11053"/>
                    <a:pt x="393" y="11052"/>
                    <a:pt x="387" y="11052"/>
                  </a:cubicBezTo>
                  <a:cubicBezTo>
                    <a:pt x="357" y="11052"/>
                    <a:pt x="327" y="11069"/>
                    <a:pt x="312" y="11096"/>
                  </a:cubicBezTo>
                  <a:cubicBezTo>
                    <a:pt x="312" y="11096"/>
                    <a:pt x="309" y="11099"/>
                    <a:pt x="312" y="11110"/>
                  </a:cubicBezTo>
                  <a:cubicBezTo>
                    <a:pt x="351" y="11222"/>
                    <a:pt x="704" y="11411"/>
                    <a:pt x="848" y="11449"/>
                  </a:cubicBezTo>
                  <a:cubicBezTo>
                    <a:pt x="907" y="11463"/>
                    <a:pt x="963" y="11488"/>
                    <a:pt x="1016" y="11519"/>
                  </a:cubicBezTo>
                  <a:cubicBezTo>
                    <a:pt x="1110" y="11569"/>
                    <a:pt x="1216" y="11624"/>
                    <a:pt x="1367" y="11624"/>
                  </a:cubicBezTo>
                  <a:cubicBezTo>
                    <a:pt x="1396" y="11624"/>
                    <a:pt x="1427" y="11622"/>
                    <a:pt x="1460" y="11617"/>
                  </a:cubicBezTo>
                  <a:cubicBezTo>
                    <a:pt x="1758" y="11572"/>
                    <a:pt x="2360" y="10987"/>
                    <a:pt x="2437" y="10889"/>
                  </a:cubicBezTo>
                  <a:cubicBezTo>
                    <a:pt x="2485" y="10828"/>
                    <a:pt x="2551" y="10817"/>
                    <a:pt x="2614" y="10817"/>
                  </a:cubicBezTo>
                  <a:cubicBezTo>
                    <a:pt x="2634" y="10817"/>
                    <a:pt x="2653" y="10818"/>
                    <a:pt x="2672" y="10819"/>
                  </a:cubicBezTo>
                  <a:cubicBezTo>
                    <a:pt x="2695" y="10822"/>
                    <a:pt x="2717" y="10824"/>
                    <a:pt x="2738" y="10824"/>
                  </a:cubicBezTo>
                  <a:cubicBezTo>
                    <a:pt x="2772" y="10824"/>
                    <a:pt x="2803" y="10818"/>
                    <a:pt x="2829" y="10798"/>
                  </a:cubicBezTo>
                  <a:cubicBezTo>
                    <a:pt x="2868" y="10767"/>
                    <a:pt x="2878" y="10686"/>
                    <a:pt x="2885" y="10609"/>
                  </a:cubicBezTo>
                  <a:cubicBezTo>
                    <a:pt x="2896" y="10522"/>
                    <a:pt x="2903" y="10434"/>
                    <a:pt x="2973" y="10396"/>
                  </a:cubicBezTo>
                  <a:cubicBezTo>
                    <a:pt x="2988" y="10387"/>
                    <a:pt x="3005" y="10383"/>
                    <a:pt x="3023" y="10383"/>
                  </a:cubicBezTo>
                  <a:cubicBezTo>
                    <a:pt x="3034" y="10383"/>
                    <a:pt x="3046" y="10385"/>
                    <a:pt x="3057" y="10389"/>
                  </a:cubicBezTo>
                  <a:cubicBezTo>
                    <a:pt x="3120" y="10410"/>
                    <a:pt x="3151" y="10487"/>
                    <a:pt x="3186" y="10574"/>
                  </a:cubicBezTo>
                  <a:cubicBezTo>
                    <a:pt x="3204" y="10616"/>
                    <a:pt x="3221" y="10655"/>
                    <a:pt x="3249" y="10693"/>
                  </a:cubicBezTo>
                  <a:cubicBezTo>
                    <a:pt x="3344" y="10728"/>
                    <a:pt x="3396" y="10805"/>
                    <a:pt x="3410" y="10931"/>
                  </a:cubicBezTo>
                  <a:lnTo>
                    <a:pt x="3463" y="10931"/>
                  </a:lnTo>
                  <a:cubicBezTo>
                    <a:pt x="3473" y="10935"/>
                    <a:pt x="3487" y="10938"/>
                    <a:pt x="3498" y="10938"/>
                  </a:cubicBezTo>
                  <a:lnTo>
                    <a:pt x="3508" y="10942"/>
                  </a:lnTo>
                  <a:cubicBezTo>
                    <a:pt x="3522" y="10949"/>
                    <a:pt x="3533" y="10952"/>
                    <a:pt x="3543" y="10959"/>
                  </a:cubicBezTo>
                  <a:cubicBezTo>
                    <a:pt x="3575" y="10861"/>
                    <a:pt x="3589" y="10760"/>
                    <a:pt x="3589" y="10658"/>
                  </a:cubicBezTo>
                  <a:cubicBezTo>
                    <a:pt x="3592" y="10595"/>
                    <a:pt x="3606" y="10536"/>
                    <a:pt x="3627" y="10473"/>
                  </a:cubicBezTo>
                  <a:cubicBezTo>
                    <a:pt x="3652" y="10403"/>
                    <a:pt x="3666" y="10329"/>
                    <a:pt x="3669" y="10256"/>
                  </a:cubicBezTo>
                  <a:cubicBezTo>
                    <a:pt x="3669" y="10249"/>
                    <a:pt x="3669" y="10238"/>
                    <a:pt x="3666" y="10231"/>
                  </a:cubicBezTo>
                  <a:cubicBezTo>
                    <a:pt x="3659" y="10200"/>
                    <a:pt x="3666" y="10165"/>
                    <a:pt x="3687" y="10137"/>
                  </a:cubicBezTo>
                  <a:cubicBezTo>
                    <a:pt x="3732" y="10084"/>
                    <a:pt x="3813" y="10081"/>
                    <a:pt x="3897" y="10077"/>
                  </a:cubicBezTo>
                  <a:cubicBezTo>
                    <a:pt x="3942" y="10077"/>
                    <a:pt x="4023" y="10074"/>
                    <a:pt x="4037" y="10060"/>
                  </a:cubicBezTo>
                  <a:cubicBezTo>
                    <a:pt x="4086" y="9962"/>
                    <a:pt x="4089" y="9660"/>
                    <a:pt x="4037" y="9629"/>
                  </a:cubicBezTo>
                  <a:cubicBezTo>
                    <a:pt x="3942" y="9569"/>
                    <a:pt x="3893" y="9457"/>
                    <a:pt x="3914" y="9349"/>
                  </a:cubicBezTo>
                  <a:cubicBezTo>
                    <a:pt x="3925" y="9289"/>
                    <a:pt x="3977" y="9244"/>
                    <a:pt x="4040" y="9244"/>
                  </a:cubicBezTo>
                  <a:cubicBezTo>
                    <a:pt x="4082" y="9244"/>
                    <a:pt x="4121" y="9226"/>
                    <a:pt x="4149" y="9198"/>
                  </a:cubicBezTo>
                  <a:cubicBezTo>
                    <a:pt x="4184" y="9149"/>
                    <a:pt x="4198" y="9090"/>
                    <a:pt x="4184" y="9030"/>
                  </a:cubicBezTo>
                  <a:cubicBezTo>
                    <a:pt x="4177" y="8964"/>
                    <a:pt x="4121" y="8932"/>
                    <a:pt x="4037" y="8887"/>
                  </a:cubicBezTo>
                  <a:cubicBezTo>
                    <a:pt x="3949" y="8841"/>
                    <a:pt x="3837" y="8778"/>
                    <a:pt x="3820" y="8642"/>
                  </a:cubicBezTo>
                  <a:cubicBezTo>
                    <a:pt x="3813" y="8561"/>
                    <a:pt x="3827" y="8481"/>
                    <a:pt x="3862" y="8407"/>
                  </a:cubicBezTo>
                  <a:cubicBezTo>
                    <a:pt x="3893" y="8330"/>
                    <a:pt x="3918" y="8271"/>
                    <a:pt x="3851" y="8145"/>
                  </a:cubicBezTo>
                  <a:cubicBezTo>
                    <a:pt x="3764" y="7963"/>
                    <a:pt x="3806" y="7826"/>
                    <a:pt x="3834" y="7721"/>
                  </a:cubicBezTo>
                  <a:cubicBezTo>
                    <a:pt x="3851" y="7668"/>
                    <a:pt x="3862" y="7623"/>
                    <a:pt x="3851" y="7591"/>
                  </a:cubicBezTo>
                  <a:cubicBezTo>
                    <a:pt x="3788" y="7437"/>
                    <a:pt x="3743" y="7262"/>
                    <a:pt x="3907" y="6986"/>
                  </a:cubicBezTo>
                  <a:cubicBezTo>
                    <a:pt x="4053" y="6748"/>
                    <a:pt x="4319" y="6588"/>
                    <a:pt x="4480" y="6588"/>
                  </a:cubicBezTo>
                  <a:cubicBezTo>
                    <a:pt x="4497" y="6588"/>
                    <a:pt x="4513" y="6590"/>
                    <a:pt x="4527" y="6594"/>
                  </a:cubicBezTo>
                  <a:cubicBezTo>
                    <a:pt x="4548" y="6597"/>
                    <a:pt x="4569" y="6608"/>
                    <a:pt x="4597" y="6615"/>
                  </a:cubicBezTo>
                  <a:cubicBezTo>
                    <a:pt x="4658" y="6637"/>
                    <a:pt x="4704" y="6650"/>
                    <a:pt x="4738" y="6650"/>
                  </a:cubicBezTo>
                  <a:cubicBezTo>
                    <a:pt x="4774" y="6650"/>
                    <a:pt x="4798" y="6635"/>
                    <a:pt x="4814" y="6601"/>
                  </a:cubicBezTo>
                  <a:cubicBezTo>
                    <a:pt x="4867" y="6499"/>
                    <a:pt x="4874" y="6422"/>
                    <a:pt x="4860" y="6391"/>
                  </a:cubicBezTo>
                  <a:cubicBezTo>
                    <a:pt x="4856" y="6384"/>
                    <a:pt x="4853" y="6380"/>
                    <a:pt x="4853" y="6380"/>
                  </a:cubicBezTo>
                  <a:lnTo>
                    <a:pt x="4839" y="6377"/>
                  </a:lnTo>
                  <a:cubicBezTo>
                    <a:pt x="4776" y="6356"/>
                    <a:pt x="4660" y="6321"/>
                    <a:pt x="4629" y="6219"/>
                  </a:cubicBezTo>
                  <a:cubicBezTo>
                    <a:pt x="4608" y="6153"/>
                    <a:pt x="4629" y="6076"/>
                    <a:pt x="4688" y="5995"/>
                  </a:cubicBezTo>
                  <a:lnTo>
                    <a:pt x="4720" y="5950"/>
                  </a:lnTo>
                  <a:cubicBezTo>
                    <a:pt x="4877" y="5736"/>
                    <a:pt x="5017" y="5519"/>
                    <a:pt x="5042" y="5323"/>
                  </a:cubicBezTo>
                  <a:cubicBezTo>
                    <a:pt x="5049" y="5239"/>
                    <a:pt x="5049" y="5155"/>
                    <a:pt x="5038" y="5071"/>
                  </a:cubicBezTo>
                  <a:cubicBezTo>
                    <a:pt x="5028" y="4955"/>
                    <a:pt x="5017" y="4857"/>
                    <a:pt x="5084" y="4791"/>
                  </a:cubicBezTo>
                  <a:cubicBezTo>
                    <a:pt x="5140" y="4735"/>
                    <a:pt x="5217" y="4731"/>
                    <a:pt x="5294" y="4728"/>
                  </a:cubicBezTo>
                  <a:cubicBezTo>
                    <a:pt x="5300" y="4728"/>
                    <a:pt x="5307" y="4728"/>
                    <a:pt x="5313" y="4728"/>
                  </a:cubicBezTo>
                  <a:cubicBezTo>
                    <a:pt x="5383" y="4728"/>
                    <a:pt x="5450" y="4711"/>
                    <a:pt x="5511" y="4679"/>
                  </a:cubicBezTo>
                  <a:cubicBezTo>
                    <a:pt x="5570" y="4640"/>
                    <a:pt x="5567" y="4605"/>
                    <a:pt x="5563" y="4546"/>
                  </a:cubicBezTo>
                  <a:cubicBezTo>
                    <a:pt x="5549" y="4486"/>
                    <a:pt x="5567" y="4423"/>
                    <a:pt x="5605" y="4374"/>
                  </a:cubicBezTo>
                  <a:cubicBezTo>
                    <a:pt x="5644" y="4325"/>
                    <a:pt x="5679" y="4273"/>
                    <a:pt x="5707" y="4217"/>
                  </a:cubicBezTo>
                  <a:cubicBezTo>
                    <a:pt x="5766" y="4115"/>
                    <a:pt x="5829" y="4007"/>
                    <a:pt x="5899" y="3954"/>
                  </a:cubicBezTo>
                  <a:cubicBezTo>
                    <a:pt x="6067" y="3828"/>
                    <a:pt x="6029" y="3779"/>
                    <a:pt x="6015" y="3762"/>
                  </a:cubicBezTo>
                  <a:cubicBezTo>
                    <a:pt x="6001" y="3741"/>
                    <a:pt x="5990" y="3716"/>
                    <a:pt x="5987" y="3692"/>
                  </a:cubicBezTo>
                  <a:cubicBezTo>
                    <a:pt x="5980" y="3622"/>
                    <a:pt x="6032" y="3559"/>
                    <a:pt x="6071" y="3509"/>
                  </a:cubicBezTo>
                  <a:cubicBezTo>
                    <a:pt x="6106" y="3471"/>
                    <a:pt x="6130" y="3425"/>
                    <a:pt x="6151" y="3380"/>
                  </a:cubicBezTo>
                  <a:cubicBezTo>
                    <a:pt x="6155" y="3362"/>
                    <a:pt x="6158" y="3348"/>
                    <a:pt x="6158" y="3331"/>
                  </a:cubicBezTo>
                  <a:cubicBezTo>
                    <a:pt x="6158" y="3110"/>
                    <a:pt x="6446" y="2953"/>
                    <a:pt x="6642" y="2953"/>
                  </a:cubicBezTo>
                  <a:cubicBezTo>
                    <a:pt x="6754" y="2953"/>
                    <a:pt x="6992" y="2953"/>
                    <a:pt x="6992" y="2862"/>
                  </a:cubicBezTo>
                  <a:cubicBezTo>
                    <a:pt x="6988" y="2823"/>
                    <a:pt x="6985" y="2785"/>
                    <a:pt x="6981" y="2746"/>
                  </a:cubicBezTo>
                  <a:cubicBezTo>
                    <a:pt x="6964" y="2613"/>
                    <a:pt x="6950" y="2473"/>
                    <a:pt x="7030" y="2414"/>
                  </a:cubicBezTo>
                  <a:cubicBezTo>
                    <a:pt x="7053" y="2396"/>
                    <a:pt x="7080" y="2387"/>
                    <a:pt x="7111" y="2387"/>
                  </a:cubicBezTo>
                  <a:cubicBezTo>
                    <a:pt x="7141" y="2387"/>
                    <a:pt x="7175" y="2396"/>
                    <a:pt x="7212" y="2414"/>
                  </a:cubicBezTo>
                  <a:cubicBezTo>
                    <a:pt x="7280" y="2438"/>
                    <a:pt x="7353" y="2452"/>
                    <a:pt x="7424" y="2452"/>
                  </a:cubicBezTo>
                  <a:cubicBezTo>
                    <a:pt x="7445" y="2452"/>
                    <a:pt x="7465" y="2451"/>
                    <a:pt x="7485" y="2449"/>
                  </a:cubicBezTo>
                  <a:cubicBezTo>
                    <a:pt x="7506" y="2448"/>
                    <a:pt x="7527" y="2447"/>
                    <a:pt x="7549" y="2447"/>
                  </a:cubicBezTo>
                  <a:cubicBezTo>
                    <a:pt x="7633" y="2447"/>
                    <a:pt x="7719" y="2459"/>
                    <a:pt x="7800" y="2526"/>
                  </a:cubicBezTo>
                  <a:cubicBezTo>
                    <a:pt x="7849" y="2567"/>
                    <a:pt x="7908" y="2591"/>
                    <a:pt x="7956" y="2591"/>
                  </a:cubicBezTo>
                  <a:cubicBezTo>
                    <a:pt x="7974" y="2591"/>
                    <a:pt x="7990" y="2588"/>
                    <a:pt x="8003" y="2582"/>
                  </a:cubicBezTo>
                  <a:cubicBezTo>
                    <a:pt x="8042" y="2561"/>
                    <a:pt x="8063" y="2515"/>
                    <a:pt x="8056" y="2473"/>
                  </a:cubicBezTo>
                  <a:cubicBezTo>
                    <a:pt x="8056" y="2298"/>
                    <a:pt x="8105" y="2067"/>
                    <a:pt x="8234" y="1994"/>
                  </a:cubicBezTo>
                  <a:lnTo>
                    <a:pt x="8255" y="1983"/>
                  </a:lnTo>
                  <a:lnTo>
                    <a:pt x="8259" y="1983"/>
                  </a:lnTo>
                  <a:lnTo>
                    <a:pt x="8276" y="1976"/>
                  </a:lnTo>
                  <a:lnTo>
                    <a:pt x="8283" y="1976"/>
                  </a:lnTo>
                  <a:lnTo>
                    <a:pt x="8301" y="1973"/>
                  </a:lnTo>
                  <a:lnTo>
                    <a:pt x="8308" y="1973"/>
                  </a:lnTo>
                  <a:cubicBezTo>
                    <a:pt x="8311" y="1971"/>
                    <a:pt x="8315" y="1970"/>
                    <a:pt x="8318" y="1970"/>
                  </a:cubicBezTo>
                  <a:cubicBezTo>
                    <a:pt x="8322" y="1970"/>
                    <a:pt x="8325" y="1971"/>
                    <a:pt x="8329" y="1973"/>
                  </a:cubicBezTo>
                  <a:lnTo>
                    <a:pt x="8339" y="1973"/>
                  </a:lnTo>
                  <a:cubicBezTo>
                    <a:pt x="8343" y="1971"/>
                    <a:pt x="8346" y="1970"/>
                    <a:pt x="8348" y="1970"/>
                  </a:cubicBezTo>
                  <a:cubicBezTo>
                    <a:pt x="8351" y="1970"/>
                    <a:pt x="8353" y="1971"/>
                    <a:pt x="8357" y="1973"/>
                  </a:cubicBezTo>
                  <a:lnTo>
                    <a:pt x="8371" y="1973"/>
                  </a:lnTo>
                  <a:cubicBezTo>
                    <a:pt x="8378" y="1973"/>
                    <a:pt x="8385" y="1973"/>
                    <a:pt x="8392" y="1976"/>
                  </a:cubicBezTo>
                  <a:lnTo>
                    <a:pt x="8406" y="1980"/>
                  </a:lnTo>
                  <a:cubicBezTo>
                    <a:pt x="8413" y="1980"/>
                    <a:pt x="8420" y="1983"/>
                    <a:pt x="8427" y="1987"/>
                  </a:cubicBezTo>
                  <a:lnTo>
                    <a:pt x="8445" y="1994"/>
                  </a:lnTo>
                  <a:cubicBezTo>
                    <a:pt x="8448" y="1997"/>
                    <a:pt x="8455" y="1997"/>
                    <a:pt x="8462" y="2001"/>
                  </a:cubicBezTo>
                  <a:lnTo>
                    <a:pt x="8469" y="1994"/>
                  </a:lnTo>
                  <a:lnTo>
                    <a:pt x="8476" y="1983"/>
                  </a:lnTo>
                  <a:lnTo>
                    <a:pt x="8490" y="1962"/>
                  </a:lnTo>
                  <a:lnTo>
                    <a:pt x="8497" y="1952"/>
                  </a:lnTo>
                  <a:lnTo>
                    <a:pt x="8511" y="1934"/>
                  </a:lnTo>
                  <a:lnTo>
                    <a:pt x="8518" y="1924"/>
                  </a:lnTo>
                  <a:lnTo>
                    <a:pt x="8536" y="1906"/>
                  </a:lnTo>
                  <a:lnTo>
                    <a:pt x="8543" y="1896"/>
                  </a:lnTo>
                  <a:lnTo>
                    <a:pt x="8560" y="1878"/>
                  </a:lnTo>
                  <a:lnTo>
                    <a:pt x="8567" y="1871"/>
                  </a:lnTo>
                  <a:lnTo>
                    <a:pt x="8588" y="1854"/>
                  </a:lnTo>
                  <a:lnTo>
                    <a:pt x="8592" y="1847"/>
                  </a:lnTo>
                  <a:cubicBezTo>
                    <a:pt x="8609" y="1833"/>
                    <a:pt x="8630" y="1822"/>
                    <a:pt x="8648" y="1808"/>
                  </a:cubicBezTo>
                  <a:lnTo>
                    <a:pt x="8655" y="1808"/>
                  </a:lnTo>
                  <a:lnTo>
                    <a:pt x="8676" y="1794"/>
                  </a:lnTo>
                  <a:lnTo>
                    <a:pt x="8686" y="1791"/>
                  </a:lnTo>
                  <a:lnTo>
                    <a:pt x="8704" y="1784"/>
                  </a:lnTo>
                  <a:lnTo>
                    <a:pt x="8714" y="1777"/>
                  </a:lnTo>
                  <a:lnTo>
                    <a:pt x="8732" y="1773"/>
                  </a:lnTo>
                  <a:lnTo>
                    <a:pt x="8746" y="1770"/>
                  </a:lnTo>
                  <a:lnTo>
                    <a:pt x="8763" y="1763"/>
                  </a:lnTo>
                  <a:lnTo>
                    <a:pt x="8774" y="1763"/>
                  </a:lnTo>
                  <a:lnTo>
                    <a:pt x="8791" y="1759"/>
                  </a:lnTo>
                  <a:lnTo>
                    <a:pt x="8865" y="1759"/>
                  </a:lnTo>
                  <a:cubicBezTo>
                    <a:pt x="8987" y="1777"/>
                    <a:pt x="9082" y="1878"/>
                    <a:pt x="9173" y="1980"/>
                  </a:cubicBezTo>
                  <a:cubicBezTo>
                    <a:pt x="9264" y="2081"/>
                    <a:pt x="9351" y="2179"/>
                    <a:pt x="9467" y="2200"/>
                  </a:cubicBezTo>
                  <a:cubicBezTo>
                    <a:pt x="9523" y="2211"/>
                    <a:pt x="9579" y="2225"/>
                    <a:pt x="9635" y="2239"/>
                  </a:cubicBezTo>
                  <a:cubicBezTo>
                    <a:pt x="9734" y="2263"/>
                    <a:pt x="9835" y="2287"/>
                    <a:pt x="9907" y="2287"/>
                  </a:cubicBezTo>
                  <a:cubicBezTo>
                    <a:pt x="9949" y="2287"/>
                    <a:pt x="9981" y="2278"/>
                    <a:pt x="9995" y="2256"/>
                  </a:cubicBezTo>
                  <a:cubicBezTo>
                    <a:pt x="10029" y="2199"/>
                    <a:pt x="10075" y="2181"/>
                    <a:pt x="10123" y="2181"/>
                  </a:cubicBezTo>
                  <a:cubicBezTo>
                    <a:pt x="10175" y="2181"/>
                    <a:pt x="10230" y="2203"/>
                    <a:pt x="10272" y="2221"/>
                  </a:cubicBezTo>
                  <a:cubicBezTo>
                    <a:pt x="10320" y="2240"/>
                    <a:pt x="10368" y="2259"/>
                    <a:pt x="10410" y="2259"/>
                  </a:cubicBezTo>
                  <a:cubicBezTo>
                    <a:pt x="10423" y="2259"/>
                    <a:pt x="10435" y="2257"/>
                    <a:pt x="10447" y="2253"/>
                  </a:cubicBezTo>
                  <a:cubicBezTo>
                    <a:pt x="10465" y="2246"/>
                    <a:pt x="10482" y="2244"/>
                    <a:pt x="10498" y="2244"/>
                  </a:cubicBezTo>
                  <a:cubicBezTo>
                    <a:pt x="10580" y="2244"/>
                    <a:pt x="10631" y="2317"/>
                    <a:pt x="10661" y="2358"/>
                  </a:cubicBezTo>
                  <a:cubicBezTo>
                    <a:pt x="10671" y="2368"/>
                    <a:pt x="10682" y="2382"/>
                    <a:pt x="10689" y="2393"/>
                  </a:cubicBezTo>
                  <a:cubicBezTo>
                    <a:pt x="10703" y="2382"/>
                    <a:pt x="10717" y="2368"/>
                    <a:pt x="10727" y="2354"/>
                  </a:cubicBezTo>
                  <a:cubicBezTo>
                    <a:pt x="10766" y="2302"/>
                    <a:pt x="10787" y="2239"/>
                    <a:pt x="10787" y="2176"/>
                  </a:cubicBezTo>
                  <a:cubicBezTo>
                    <a:pt x="10787" y="2127"/>
                    <a:pt x="10804" y="2081"/>
                    <a:pt x="10836" y="2046"/>
                  </a:cubicBezTo>
                  <a:cubicBezTo>
                    <a:pt x="10864" y="2025"/>
                    <a:pt x="10899" y="2014"/>
                    <a:pt x="10954" y="2014"/>
                  </a:cubicBezTo>
                  <a:cubicBezTo>
                    <a:pt x="10972" y="2014"/>
                    <a:pt x="10993" y="2015"/>
                    <a:pt x="11018" y="2018"/>
                  </a:cubicBezTo>
                  <a:cubicBezTo>
                    <a:pt x="11024" y="2019"/>
                    <a:pt x="11030" y="2019"/>
                    <a:pt x="11036" y="2019"/>
                  </a:cubicBezTo>
                  <a:cubicBezTo>
                    <a:pt x="11054" y="2019"/>
                    <a:pt x="11071" y="2016"/>
                    <a:pt x="11084" y="2008"/>
                  </a:cubicBezTo>
                  <a:cubicBezTo>
                    <a:pt x="11112" y="1980"/>
                    <a:pt x="11088" y="1868"/>
                    <a:pt x="11074" y="1794"/>
                  </a:cubicBezTo>
                  <a:cubicBezTo>
                    <a:pt x="11063" y="1735"/>
                    <a:pt x="11053" y="1675"/>
                    <a:pt x="11049" y="1616"/>
                  </a:cubicBezTo>
                  <a:cubicBezTo>
                    <a:pt x="11049" y="1486"/>
                    <a:pt x="11168" y="1416"/>
                    <a:pt x="11263" y="1360"/>
                  </a:cubicBezTo>
                  <a:cubicBezTo>
                    <a:pt x="11326" y="1325"/>
                    <a:pt x="11389" y="1290"/>
                    <a:pt x="11389" y="1251"/>
                  </a:cubicBezTo>
                  <a:cubicBezTo>
                    <a:pt x="11389" y="1216"/>
                    <a:pt x="11403" y="1185"/>
                    <a:pt x="11424" y="1160"/>
                  </a:cubicBezTo>
                  <a:cubicBezTo>
                    <a:pt x="11487" y="1101"/>
                    <a:pt x="11609" y="1101"/>
                    <a:pt x="11735" y="1101"/>
                  </a:cubicBezTo>
                  <a:cubicBezTo>
                    <a:pt x="11802" y="1101"/>
                    <a:pt x="11924" y="1101"/>
                    <a:pt x="11949" y="1083"/>
                  </a:cubicBezTo>
                  <a:cubicBezTo>
                    <a:pt x="12021" y="995"/>
                    <a:pt x="12130" y="946"/>
                    <a:pt x="12244" y="946"/>
                  </a:cubicBezTo>
                  <a:cubicBezTo>
                    <a:pt x="12252" y="946"/>
                    <a:pt x="12260" y="946"/>
                    <a:pt x="12267" y="947"/>
                  </a:cubicBezTo>
                  <a:cubicBezTo>
                    <a:pt x="12362" y="950"/>
                    <a:pt x="12449" y="1006"/>
                    <a:pt x="12498" y="1090"/>
                  </a:cubicBezTo>
                  <a:cubicBezTo>
                    <a:pt x="12537" y="1160"/>
                    <a:pt x="12667" y="1216"/>
                    <a:pt x="12779" y="1265"/>
                  </a:cubicBezTo>
                  <a:cubicBezTo>
                    <a:pt x="12922" y="1328"/>
                    <a:pt x="13059" y="1388"/>
                    <a:pt x="13076" y="1500"/>
                  </a:cubicBezTo>
                  <a:cubicBezTo>
                    <a:pt x="13080" y="1514"/>
                    <a:pt x="13080" y="1528"/>
                    <a:pt x="13083" y="1546"/>
                  </a:cubicBezTo>
                  <a:lnTo>
                    <a:pt x="13083" y="1563"/>
                  </a:lnTo>
                  <a:lnTo>
                    <a:pt x="13083" y="1595"/>
                  </a:lnTo>
                  <a:lnTo>
                    <a:pt x="13083" y="1612"/>
                  </a:lnTo>
                  <a:lnTo>
                    <a:pt x="13083" y="1647"/>
                  </a:lnTo>
                  <a:lnTo>
                    <a:pt x="13083" y="1668"/>
                  </a:lnTo>
                  <a:lnTo>
                    <a:pt x="13083" y="1679"/>
                  </a:lnTo>
                  <a:cubicBezTo>
                    <a:pt x="13125" y="1654"/>
                    <a:pt x="13171" y="1640"/>
                    <a:pt x="13216" y="1633"/>
                  </a:cubicBezTo>
                  <a:lnTo>
                    <a:pt x="13220" y="1633"/>
                  </a:lnTo>
                  <a:cubicBezTo>
                    <a:pt x="13237" y="1630"/>
                    <a:pt x="13251" y="1630"/>
                    <a:pt x="13265" y="1630"/>
                  </a:cubicBezTo>
                  <a:cubicBezTo>
                    <a:pt x="13321" y="1630"/>
                    <a:pt x="13388" y="1577"/>
                    <a:pt x="13447" y="1532"/>
                  </a:cubicBezTo>
                  <a:cubicBezTo>
                    <a:pt x="13525" y="1473"/>
                    <a:pt x="13606" y="1415"/>
                    <a:pt x="13695" y="1415"/>
                  </a:cubicBezTo>
                  <a:cubicBezTo>
                    <a:pt x="13702" y="1415"/>
                    <a:pt x="13710" y="1415"/>
                    <a:pt x="13717" y="1416"/>
                  </a:cubicBezTo>
                  <a:lnTo>
                    <a:pt x="13731" y="1416"/>
                  </a:lnTo>
                  <a:cubicBezTo>
                    <a:pt x="13738" y="1416"/>
                    <a:pt x="13755" y="1423"/>
                    <a:pt x="13766" y="1423"/>
                  </a:cubicBezTo>
                  <a:cubicBezTo>
                    <a:pt x="13774" y="1425"/>
                    <a:pt x="13783" y="1426"/>
                    <a:pt x="13792" y="1426"/>
                  </a:cubicBezTo>
                  <a:cubicBezTo>
                    <a:pt x="13816" y="1426"/>
                    <a:pt x="13841" y="1419"/>
                    <a:pt x="13864" y="1409"/>
                  </a:cubicBezTo>
                  <a:cubicBezTo>
                    <a:pt x="13871" y="1402"/>
                    <a:pt x="13878" y="1395"/>
                    <a:pt x="13885" y="1388"/>
                  </a:cubicBezTo>
                  <a:lnTo>
                    <a:pt x="13888" y="1381"/>
                  </a:lnTo>
                  <a:cubicBezTo>
                    <a:pt x="13895" y="1374"/>
                    <a:pt x="13899" y="1370"/>
                    <a:pt x="13902" y="1363"/>
                  </a:cubicBezTo>
                  <a:lnTo>
                    <a:pt x="13906" y="1353"/>
                  </a:lnTo>
                  <a:cubicBezTo>
                    <a:pt x="13913" y="1342"/>
                    <a:pt x="13916" y="1332"/>
                    <a:pt x="13920" y="1321"/>
                  </a:cubicBezTo>
                  <a:cubicBezTo>
                    <a:pt x="13872" y="1300"/>
                    <a:pt x="13821" y="1289"/>
                    <a:pt x="13770" y="1289"/>
                  </a:cubicBezTo>
                  <a:cubicBezTo>
                    <a:pt x="13739" y="1289"/>
                    <a:pt x="13708" y="1293"/>
                    <a:pt x="13678" y="1300"/>
                  </a:cubicBezTo>
                  <a:cubicBezTo>
                    <a:pt x="13671" y="1304"/>
                    <a:pt x="13654" y="1311"/>
                    <a:pt x="13650" y="1321"/>
                  </a:cubicBezTo>
                  <a:cubicBezTo>
                    <a:pt x="13626" y="1399"/>
                    <a:pt x="13554" y="1449"/>
                    <a:pt x="13475" y="1449"/>
                  </a:cubicBezTo>
                  <a:cubicBezTo>
                    <a:pt x="13461" y="1449"/>
                    <a:pt x="13447" y="1447"/>
                    <a:pt x="13433" y="1444"/>
                  </a:cubicBezTo>
                  <a:cubicBezTo>
                    <a:pt x="13346" y="1437"/>
                    <a:pt x="13279" y="1363"/>
                    <a:pt x="13283" y="1276"/>
                  </a:cubicBezTo>
                  <a:cubicBezTo>
                    <a:pt x="13276" y="1241"/>
                    <a:pt x="13139" y="1171"/>
                    <a:pt x="13087" y="1143"/>
                  </a:cubicBezTo>
                  <a:cubicBezTo>
                    <a:pt x="12996" y="1101"/>
                    <a:pt x="12943" y="1069"/>
                    <a:pt x="12929" y="1020"/>
                  </a:cubicBezTo>
                  <a:cubicBezTo>
                    <a:pt x="12919" y="985"/>
                    <a:pt x="12929" y="947"/>
                    <a:pt x="12957" y="926"/>
                  </a:cubicBezTo>
                  <a:cubicBezTo>
                    <a:pt x="12981" y="908"/>
                    <a:pt x="13015" y="900"/>
                    <a:pt x="13054" y="900"/>
                  </a:cubicBezTo>
                  <a:cubicBezTo>
                    <a:pt x="13131" y="900"/>
                    <a:pt x="13226" y="930"/>
                    <a:pt x="13300" y="971"/>
                  </a:cubicBezTo>
                  <a:cubicBezTo>
                    <a:pt x="13328" y="987"/>
                    <a:pt x="13352" y="996"/>
                    <a:pt x="13378" y="996"/>
                  </a:cubicBezTo>
                  <a:cubicBezTo>
                    <a:pt x="13428" y="996"/>
                    <a:pt x="13486" y="961"/>
                    <a:pt x="13587" y="866"/>
                  </a:cubicBezTo>
                  <a:cubicBezTo>
                    <a:pt x="13655" y="805"/>
                    <a:pt x="13745" y="771"/>
                    <a:pt x="13838" y="771"/>
                  </a:cubicBezTo>
                  <a:cubicBezTo>
                    <a:pt x="13847" y="771"/>
                    <a:pt x="13855" y="771"/>
                    <a:pt x="13864" y="772"/>
                  </a:cubicBezTo>
                  <a:cubicBezTo>
                    <a:pt x="13888" y="772"/>
                    <a:pt x="13913" y="768"/>
                    <a:pt x="13937" y="761"/>
                  </a:cubicBezTo>
                  <a:lnTo>
                    <a:pt x="13937" y="758"/>
                  </a:lnTo>
                  <a:cubicBezTo>
                    <a:pt x="13944" y="723"/>
                    <a:pt x="13843" y="663"/>
                    <a:pt x="13797" y="635"/>
                  </a:cubicBezTo>
                  <a:cubicBezTo>
                    <a:pt x="13745" y="607"/>
                    <a:pt x="13703" y="572"/>
                    <a:pt x="13664" y="530"/>
                  </a:cubicBezTo>
                  <a:cubicBezTo>
                    <a:pt x="13634" y="485"/>
                    <a:pt x="13510" y="416"/>
                    <a:pt x="13380" y="416"/>
                  </a:cubicBezTo>
                  <a:cubicBezTo>
                    <a:pt x="13359" y="416"/>
                    <a:pt x="13338" y="418"/>
                    <a:pt x="13318" y="422"/>
                  </a:cubicBezTo>
                  <a:cubicBezTo>
                    <a:pt x="13284" y="428"/>
                    <a:pt x="13255" y="431"/>
                    <a:pt x="13229" y="431"/>
                  </a:cubicBezTo>
                  <a:cubicBezTo>
                    <a:pt x="13132" y="431"/>
                    <a:pt x="13085" y="387"/>
                    <a:pt x="13027" y="324"/>
                  </a:cubicBezTo>
                  <a:cubicBezTo>
                    <a:pt x="13010" y="306"/>
                    <a:pt x="12992" y="289"/>
                    <a:pt x="12971" y="268"/>
                  </a:cubicBezTo>
                  <a:cubicBezTo>
                    <a:pt x="12962" y="260"/>
                    <a:pt x="12947" y="256"/>
                    <a:pt x="12928" y="256"/>
                  </a:cubicBezTo>
                  <a:cubicBezTo>
                    <a:pt x="12904" y="256"/>
                    <a:pt x="12873" y="263"/>
                    <a:pt x="12838" y="278"/>
                  </a:cubicBezTo>
                  <a:cubicBezTo>
                    <a:pt x="12751" y="317"/>
                    <a:pt x="12653" y="408"/>
                    <a:pt x="12653" y="513"/>
                  </a:cubicBezTo>
                  <a:cubicBezTo>
                    <a:pt x="12653" y="670"/>
                    <a:pt x="12565" y="716"/>
                    <a:pt x="12540" y="723"/>
                  </a:cubicBezTo>
                  <a:cubicBezTo>
                    <a:pt x="12526" y="728"/>
                    <a:pt x="12512" y="730"/>
                    <a:pt x="12498" y="730"/>
                  </a:cubicBezTo>
                  <a:cubicBezTo>
                    <a:pt x="12463" y="730"/>
                    <a:pt x="12429" y="715"/>
                    <a:pt x="12404" y="688"/>
                  </a:cubicBezTo>
                  <a:cubicBezTo>
                    <a:pt x="12369" y="639"/>
                    <a:pt x="12369" y="576"/>
                    <a:pt x="12404" y="527"/>
                  </a:cubicBezTo>
                  <a:cubicBezTo>
                    <a:pt x="12421" y="499"/>
                    <a:pt x="12414" y="464"/>
                    <a:pt x="12400" y="415"/>
                  </a:cubicBezTo>
                  <a:cubicBezTo>
                    <a:pt x="12390" y="376"/>
                    <a:pt x="12383" y="334"/>
                    <a:pt x="12390" y="292"/>
                  </a:cubicBezTo>
                  <a:cubicBezTo>
                    <a:pt x="12404" y="236"/>
                    <a:pt x="12453" y="198"/>
                    <a:pt x="12509" y="187"/>
                  </a:cubicBezTo>
                  <a:cubicBezTo>
                    <a:pt x="12540" y="180"/>
                    <a:pt x="12540" y="166"/>
                    <a:pt x="12540" y="156"/>
                  </a:cubicBezTo>
                  <a:cubicBezTo>
                    <a:pt x="12533" y="107"/>
                    <a:pt x="12453" y="23"/>
                    <a:pt x="12292" y="9"/>
                  </a:cubicBezTo>
                  <a:cubicBezTo>
                    <a:pt x="12282" y="8"/>
                    <a:pt x="12272" y="8"/>
                    <a:pt x="12262" y="8"/>
                  </a:cubicBezTo>
                  <a:cubicBezTo>
                    <a:pt x="12129" y="8"/>
                    <a:pt x="12048" y="73"/>
                    <a:pt x="12019" y="135"/>
                  </a:cubicBezTo>
                  <a:cubicBezTo>
                    <a:pt x="11998" y="173"/>
                    <a:pt x="12001" y="201"/>
                    <a:pt x="12008" y="208"/>
                  </a:cubicBezTo>
                  <a:cubicBezTo>
                    <a:pt x="12047" y="250"/>
                    <a:pt x="12047" y="313"/>
                    <a:pt x="12012" y="394"/>
                  </a:cubicBezTo>
                  <a:cubicBezTo>
                    <a:pt x="11956" y="516"/>
                    <a:pt x="11770" y="747"/>
                    <a:pt x="11637" y="747"/>
                  </a:cubicBezTo>
                  <a:cubicBezTo>
                    <a:pt x="11602" y="747"/>
                    <a:pt x="11571" y="733"/>
                    <a:pt x="11550" y="705"/>
                  </a:cubicBezTo>
                  <a:cubicBezTo>
                    <a:pt x="11501" y="646"/>
                    <a:pt x="11522" y="548"/>
                    <a:pt x="11550" y="422"/>
                  </a:cubicBezTo>
                  <a:cubicBezTo>
                    <a:pt x="11564" y="355"/>
                    <a:pt x="11574" y="289"/>
                    <a:pt x="11578" y="222"/>
                  </a:cubicBezTo>
                  <a:lnTo>
                    <a:pt x="11578" y="215"/>
                  </a:lnTo>
                  <a:cubicBezTo>
                    <a:pt x="11546" y="236"/>
                    <a:pt x="11480" y="296"/>
                    <a:pt x="11347" y="450"/>
                  </a:cubicBezTo>
                  <a:cubicBezTo>
                    <a:pt x="11298" y="502"/>
                    <a:pt x="11256" y="555"/>
                    <a:pt x="11214" y="604"/>
                  </a:cubicBezTo>
                  <a:cubicBezTo>
                    <a:pt x="11039" y="814"/>
                    <a:pt x="10909" y="964"/>
                    <a:pt x="10783" y="989"/>
                  </a:cubicBezTo>
                  <a:cubicBezTo>
                    <a:pt x="10774" y="991"/>
                    <a:pt x="10766" y="992"/>
                    <a:pt x="10757" y="992"/>
                  </a:cubicBezTo>
                  <a:cubicBezTo>
                    <a:pt x="10703" y="992"/>
                    <a:pt x="10651" y="956"/>
                    <a:pt x="10636" y="901"/>
                  </a:cubicBezTo>
                  <a:cubicBezTo>
                    <a:pt x="10594" y="789"/>
                    <a:pt x="10668" y="607"/>
                    <a:pt x="10839" y="516"/>
                  </a:cubicBezTo>
                  <a:cubicBezTo>
                    <a:pt x="10927" y="467"/>
                    <a:pt x="10976" y="369"/>
                    <a:pt x="11021" y="285"/>
                  </a:cubicBezTo>
                  <a:cubicBezTo>
                    <a:pt x="11067" y="187"/>
                    <a:pt x="11116" y="86"/>
                    <a:pt x="11224" y="86"/>
                  </a:cubicBezTo>
                  <a:cubicBezTo>
                    <a:pt x="11227" y="87"/>
                    <a:pt x="11230" y="87"/>
                    <a:pt x="11233" y="87"/>
                  </a:cubicBezTo>
                  <a:cubicBezTo>
                    <a:pt x="11240" y="87"/>
                    <a:pt x="11248" y="84"/>
                    <a:pt x="11256" y="79"/>
                  </a:cubicBezTo>
                  <a:cubicBezTo>
                    <a:pt x="11256" y="75"/>
                    <a:pt x="11252" y="72"/>
                    <a:pt x="11249" y="68"/>
                  </a:cubicBezTo>
                  <a:cubicBezTo>
                    <a:pt x="11224" y="33"/>
                    <a:pt x="11186" y="12"/>
                    <a:pt x="11144" y="5"/>
                  </a:cubicBezTo>
                  <a:cubicBezTo>
                    <a:pt x="11130" y="2"/>
                    <a:pt x="11118" y="0"/>
                    <a:pt x="111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4" name="Google Shape;7071;p64">
              <a:extLst>
                <a:ext uri="{FF2B5EF4-FFF2-40B4-BE49-F238E27FC236}">
                  <a16:creationId xmlns:a16="http://schemas.microsoft.com/office/drawing/2014/main" id="{9ED8C5EA-BADA-0F16-89B9-0F5310E43869}"/>
                </a:ext>
              </a:extLst>
            </p:cNvPr>
            <p:cNvSpPr/>
            <p:nvPr/>
          </p:nvSpPr>
          <p:spPr>
            <a:xfrm>
              <a:off x="2127052" y="1276572"/>
              <a:ext cx="5961" cy="5526"/>
            </a:xfrm>
            <a:custGeom>
              <a:avLst/>
              <a:gdLst/>
              <a:ahLst/>
              <a:cxnLst/>
              <a:rect l="l" t="t" r="r" b="b"/>
              <a:pathLst>
                <a:path w="439" h="407" extrusionOk="0">
                  <a:moveTo>
                    <a:pt x="77" y="1"/>
                  </a:moveTo>
                  <a:cubicBezTo>
                    <a:pt x="60" y="1"/>
                    <a:pt x="40" y="4"/>
                    <a:pt x="15" y="11"/>
                  </a:cubicBezTo>
                  <a:cubicBezTo>
                    <a:pt x="11" y="11"/>
                    <a:pt x="4" y="15"/>
                    <a:pt x="1" y="18"/>
                  </a:cubicBezTo>
                  <a:cubicBezTo>
                    <a:pt x="4" y="39"/>
                    <a:pt x="11" y="60"/>
                    <a:pt x="22" y="78"/>
                  </a:cubicBezTo>
                  <a:cubicBezTo>
                    <a:pt x="95" y="204"/>
                    <a:pt x="284" y="354"/>
                    <a:pt x="354" y="372"/>
                  </a:cubicBezTo>
                  <a:cubicBezTo>
                    <a:pt x="382" y="379"/>
                    <a:pt x="410" y="389"/>
                    <a:pt x="438" y="407"/>
                  </a:cubicBezTo>
                  <a:cubicBezTo>
                    <a:pt x="400" y="368"/>
                    <a:pt x="361" y="319"/>
                    <a:pt x="312" y="274"/>
                  </a:cubicBezTo>
                  <a:cubicBezTo>
                    <a:pt x="270" y="221"/>
                    <a:pt x="228" y="169"/>
                    <a:pt x="197" y="109"/>
                  </a:cubicBezTo>
                  <a:cubicBezTo>
                    <a:pt x="149" y="35"/>
                    <a:pt x="129" y="1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5" name="Google Shape;7072;p64">
              <a:extLst>
                <a:ext uri="{FF2B5EF4-FFF2-40B4-BE49-F238E27FC236}">
                  <a16:creationId xmlns:a16="http://schemas.microsoft.com/office/drawing/2014/main" id="{EE4277C1-EE0F-60E4-FFC3-889532771689}"/>
                </a:ext>
              </a:extLst>
            </p:cNvPr>
            <p:cNvSpPr/>
            <p:nvPr/>
          </p:nvSpPr>
          <p:spPr>
            <a:xfrm>
              <a:off x="2199678" y="1404961"/>
              <a:ext cx="1724" cy="1290"/>
            </a:xfrm>
            <a:custGeom>
              <a:avLst/>
              <a:gdLst/>
              <a:ahLst/>
              <a:cxnLst/>
              <a:rect l="l" t="t" r="r" b="b"/>
              <a:pathLst>
                <a:path w="127" h="95" extrusionOk="0">
                  <a:moveTo>
                    <a:pt x="85" y="0"/>
                  </a:moveTo>
                  <a:cubicBezTo>
                    <a:pt x="53" y="0"/>
                    <a:pt x="25" y="11"/>
                    <a:pt x="1" y="28"/>
                  </a:cubicBezTo>
                  <a:cubicBezTo>
                    <a:pt x="46" y="39"/>
                    <a:pt x="92" y="60"/>
                    <a:pt x="127" y="95"/>
                  </a:cubicBezTo>
                  <a:cubicBezTo>
                    <a:pt x="103" y="67"/>
                    <a:pt x="89" y="35"/>
                    <a:pt x="8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6" name="Google Shape;7073;p64">
              <a:extLst>
                <a:ext uri="{FF2B5EF4-FFF2-40B4-BE49-F238E27FC236}">
                  <a16:creationId xmlns:a16="http://schemas.microsoft.com/office/drawing/2014/main" id="{F07B65F1-8077-F413-BEE0-F91C0F8AFF68}"/>
                </a:ext>
              </a:extLst>
            </p:cNvPr>
            <p:cNvSpPr/>
            <p:nvPr/>
          </p:nvSpPr>
          <p:spPr>
            <a:xfrm>
              <a:off x="2210947" y="1395471"/>
              <a:ext cx="9043" cy="6409"/>
            </a:xfrm>
            <a:custGeom>
              <a:avLst/>
              <a:gdLst/>
              <a:ahLst/>
              <a:cxnLst/>
              <a:rect l="l" t="t" r="r" b="b"/>
              <a:pathLst>
                <a:path w="666" h="472" extrusionOk="0">
                  <a:moveTo>
                    <a:pt x="648" y="0"/>
                  </a:moveTo>
                  <a:cubicBezTo>
                    <a:pt x="644" y="0"/>
                    <a:pt x="641" y="1"/>
                    <a:pt x="641" y="3"/>
                  </a:cubicBezTo>
                  <a:cubicBezTo>
                    <a:pt x="620" y="3"/>
                    <a:pt x="603" y="20"/>
                    <a:pt x="603" y="41"/>
                  </a:cubicBezTo>
                  <a:cubicBezTo>
                    <a:pt x="603" y="80"/>
                    <a:pt x="589" y="115"/>
                    <a:pt x="561" y="143"/>
                  </a:cubicBezTo>
                  <a:cubicBezTo>
                    <a:pt x="509" y="192"/>
                    <a:pt x="417" y="204"/>
                    <a:pt x="310" y="204"/>
                  </a:cubicBezTo>
                  <a:cubicBezTo>
                    <a:pt x="259" y="204"/>
                    <a:pt x="204" y="201"/>
                    <a:pt x="148" y="199"/>
                  </a:cubicBezTo>
                  <a:lnTo>
                    <a:pt x="88" y="195"/>
                  </a:lnTo>
                  <a:lnTo>
                    <a:pt x="81" y="195"/>
                  </a:lnTo>
                  <a:cubicBezTo>
                    <a:pt x="43" y="195"/>
                    <a:pt x="22" y="209"/>
                    <a:pt x="15" y="234"/>
                  </a:cubicBezTo>
                  <a:cubicBezTo>
                    <a:pt x="1" y="276"/>
                    <a:pt x="39" y="370"/>
                    <a:pt x="158" y="437"/>
                  </a:cubicBezTo>
                  <a:cubicBezTo>
                    <a:pt x="176" y="447"/>
                    <a:pt x="193" y="458"/>
                    <a:pt x="207" y="472"/>
                  </a:cubicBezTo>
                  <a:cubicBezTo>
                    <a:pt x="204" y="437"/>
                    <a:pt x="211" y="398"/>
                    <a:pt x="225" y="367"/>
                  </a:cubicBezTo>
                  <a:cubicBezTo>
                    <a:pt x="260" y="276"/>
                    <a:pt x="344" y="216"/>
                    <a:pt x="442" y="213"/>
                  </a:cubicBezTo>
                  <a:cubicBezTo>
                    <a:pt x="543" y="213"/>
                    <a:pt x="655" y="59"/>
                    <a:pt x="666" y="6"/>
                  </a:cubicBezTo>
                  <a:cubicBezTo>
                    <a:pt x="662" y="2"/>
                    <a:pt x="654" y="0"/>
                    <a:pt x="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7" name="Google Shape;7074;p64">
              <a:extLst>
                <a:ext uri="{FF2B5EF4-FFF2-40B4-BE49-F238E27FC236}">
                  <a16:creationId xmlns:a16="http://schemas.microsoft.com/office/drawing/2014/main" id="{E8B98359-5CB3-0460-BCB1-BED2A8BEBFBC}"/>
                </a:ext>
              </a:extLst>
            </p:cNvPr>
            <p:cNvSpPr/>
            <p:nvPr/>
          </p:nvSpPr>
          <p:spPr>
            <a:xfrm>
              <a:off x="2181335" y="1248725"/>
              <a:ext cx="67372" cy="20393"/>
            </a:xfrm>
            <a:custGeom>
              <a:avLst/>
              <a:gdLst/>
              <a:ahLst/>
              <a:cxnLst/>
              <a:rect l="l" t="t" r="r" b="b"/>
              <a:pathLst>
                <a:path w="4962" h="1502" extrusionOk="0">
                  <a:moveTo>
                    <a:pt x="981" y="0"/>
                  </a:moveTo>
                  <a:lnTo>
                    <a:pt x="981" y="0"/>
                  </a:lnTo>
                  <a:cubicBezTo>
                    <a:pt x="1012" y="53"/>
                    <a:pt x="1047" y="133"/>
                    <a:pt x="1002" y="207"/>
                  </a:cubicBezTo>
                  <a:cubicBezTo>
                    <a:pt x="976" y="248"/>
                    <a:pt x="939" y="264"/>
                    <a:pt x="897" y="264"/>
                  </a:cubicBezTo>
                  <a:cubicBezTo>
                    <a:pt x="824" y="264"/>
                    <a:pt x="736" y="218"/>
                    <a:pt x="659" y="179"/>
                  </a:cubicBezTo>
                  <a:cubicBezTo>
                    <a:pt x="641" y="168"/>
                    <a:pt x="617" y="158"/>
                    <a:pt x="596" y="147"/>
                  </a:cubicBezTo>
                  <a:lnTo>
                    <a:pt x="596" y="147"/>
                  </a:lnTo>
                  <a:lnTo>
                    <a:pt x="599" y="158"/>
                  </a:lnTo>
                  <a:cubicBezTo>
                    <a:pt x="624" y="231"/>
                    <a:pt x="652" y="322"/>
                    <a:pt x="617" y="392"/>
                  </a:cubicBezTo>
                  <a:cubicBezTo>
                    <a:pt x="606" y="420"/>
                    <a:pt x="582" y="441"/>
                    <a:pt x="550" y="445"/>
                  </a:cubicBezTo>
                  <a:cubicBezTo>
                    <a:pt x="545" y="446"/>
                    <a:pt x="541" y="446"/>
                    <a:pt x="536" y="446"/>
                  </a:cubicBezTo>
                  <a:cubicBezTo>
                    <a:pt x="480" y="446"/>
                    <a:pt x="433" y="389"/>
                    <a:pt x="365" y="312"/>
                  </a:cubicBezTo>
                  <a:cubicBezTo>
                    <a:pt x="302" y="245"/>
                    <a:pt x="207" y="137"/>
                    <a:pt x="148" y="137"/>
                  </a:cubicBezTo>
                  <a:cubicBezTo>
                    <a:pt x="102" y="137"/>
                    <a:pt x="92" y="154"/>
                    <a:pt x="67" y="210"/>
                  </a:cubicBezTo>
                  <a:cubicBezTo>
                    <a:pt x="57" y="252"/>
                    <a:pt x="32" y="287"/>
                    <a:pt x="1" y="315"/>
                  </a:cubicBezTo>
                  <a:cubicBezTo>
                    <a:pt x="32" y="336"/>
                    <a:pt x="71" y="361"/>
                    <a:pt x="99" y="378"/>
                  </a:cubicBezTo>
                  <a:cubicBezTo>
                    <a:pt x="151" y="410"/>
                    <a:pt x="200" y="441"/>
                    <a:pt x="235" y="469"/>
                  </a:cubicBezTo>
                  <a:cubicBezTo>
                    <a:pt x="267" y="490"/>
                    <a:pt x="288" y="525"/>
                    <a:pt x="288" y="564"/>
                  </a:cubicBezTo>
                  <a:cubicBezTo>
                    <a:pt x="284" y="616"/>
                    <a:pt x="239" y="644"/>
                    <a:pt x="204" y="662"/>
                  </a:cubicBezTo>
                  <a:lnTo>
                    <a:pt x="179" y="679"/>
                  </a:lnTo>
                  <a:lnTo>
                    <a:pt x="183" y="679"/>
                  </a:lnTo>
                  <a:cubicBezTo>
                    <a:pt x="284" y="782"/>
                    <a:pt x="494" y="815"/>
                    <a:pt x="738" y="815"/>
                  </a:cubicBezTo>
                  <a:cubicBezTo>
                    <a:pt x="991" y="815"/>
                    <a:pt x="1281" y="780"/>
                    <a:pt x="1524" y="749"/>
                  </a:cubicBezTo>
                  <a:cubicBezTo>
                    <a:pt x="1737" y="722"/>
                    <a:pt x="1890" y="704"/>
                    <a:pt x="1998" y="704"/>
                  </a:cubicBezTo>
                  <a:cubicBezTo>
                    <a:pt x="2070" y="704"/>
                    <a:pt x="2122" y="712"/>
                    <a:pt x="2157" y="732"/>
                  </a:cubicBezTo>
                  <a:cubicBezTo>
                    <a:pt x="2192" y="746"/>
                    <a:pt x="2213" y="784"/>
                    <a:pt x="2210" y="823"/>
                  </a:cubicBezTo>
                  <a:cubicBezTo>
                    <a:pt x="2196" y="907"/>
                    <a:pt x="2087" y="935"/>
                    <a:pt x="1632" y="1029"/>
                  </a:cubicBezTo>
                  <a:cubicBezTo>
                    <a:pt x="1457" y="1064"/>
                    <a:pt x="1177" y="1124"/>
                    <a:pt x="1075" y="1169"/>
                  </a:cubicBezTo>
                  <a:cubicBezTo>
                    <a:pt x="1224" y="1241"/>
                    <a:pt x="1767" y="1318"/>
                    <a:pt x="2056" y="1318"/>
                  </a:cubicBezTo>
                  <a:cubicBezTo>
                    <a:pt x="2136" y="1318"/>
                    <a:pt x="2196" y="1313"/>
                    <a:pt x="2224" y="1299"/>
                  </a:cubicBezTo>
                  <a:cubicBezTo>
                    <a:pt x="2245" y="1274"/>
                    <a:pt x="2276" y="1260"/>
                    <a:pt x="2311" y="1260"/>
                  </a:cubicBezTo>
                  <a:cubicBezTo>
                    <a:pt x="2367" y="1260"/>
                    <a:pt x="2434" y="1302"/>
                    <a:pt x="2500" y="1341"/>
                  </a:cubicBezTo>
                  <a:cubicBezTo>
                    <a:pt x="2602" y="1404"/>
                    <a:pt x="2742" y="1488"/>
                    <a:pt x="2931" y="1498"/>
                  </a:cubicBezTo>
                  <a:cubicBezTo>
                    <a:pt x="2956" y="1500"/>
                    <a:pt x="2979" y="1501"/>
                    <a:pt x="3000" y="1501"/>
                  </a:cubicBezTo>
                  <a:cubicBezTo>
                    <a:pt x="3136" y="1501"/>
                    <a:pt x="3200" y="1465"/>
                    <a:pt x="3263" y="1428"/>
                  </a:cubicBezTo>
                  <a:cubicBezTo>
                    <a:pt x="3347" y="1376"/>
                    <a:pt x="3442" y="1344"/>
                    <a:pt x="3540" y="1341"/>
                  </a:cubicBezTo>
                  <a:cubicBezTo>
                    <a:pt x="3841" y="1327"/>
                    <a:pt x="4174" y="1187"/>
                    <a:pt x="4181" y="1099"/>
                  </a:cubicBezTo>
                  <a:cubicBezTo>
                    <a:pt x="4188" y="994"/>
                    <a:pt x="4328" y="924"/>
                    <a:pt x="4524" y="826"/>
                  </a:cubicBezTo>
                  <a:cubicBezTo>
                    <a:pt x="4699" y="739"/>
                    <a:pt x="4961" y="609"/>
                    <a:pt x="4933" y="501"/>
                  </a:cubicBezTo>
                  <a:cubicBezTo>
                    <a:pt x="4910" y="408"/>
                    <a:pt x="4691" y="394"/>
                    <a:pt x="4488" y="394"/>
                  </a:cubicBezTo>
                  <a:cubicBezTo>
                    <a:pt x="4445" y="394"/>
                    <a:pt x="4402" y="395"/>
                    <a:pt x="4363" y="396"/>
                  </a:cubicBezTo>
                  <a:cubicBezTo>
                    <a:pt x="4321" y="396"/>
                    <a:pt x="4280" y="397"/>
                    <a:pt x="4240" y="397"/>
                  </a:cubicBezTo>
                  <a:cubicBezTo>
                    <a:pt x="4093" y="397"/>
                    <a:pt x="3967" y="389"/>
                    <a:pt x="3890" y="350"/>
                  </a:cubicBezTo>
                  <a:cubicBezTo>
                    <a:pt x="3711" y="261"/>
                    <a:pt x="3457" y="195"/>
                    <a:pt x="3301" y="195"/>
                  </a:cubicBezTo>
                  <a:cubicBezTo>
                    <a:pt x="3231" y="195"/>
                    <a:pt x="3181" y="208"/>
                    <a:pt x="3165" y="238"/>
                  </a:cubicBezTo>
                  <a:cubicBezTo>
                    <a:pt x="3106" y="354"/>
                    <a:pt x="3015" y="434"/>
                    <a:pt x="2917" y="448"/>
                  </a:cubicBezTo>
                  <a:cubicBezTo>
                    <a:pt x="2906" y="450"/>
                    <a:pt x="2895" y="451"/>
                    <a:pt x="2884" y="451"/>
                  </a:cubicBezTo>
                  <a:cubicBezTo>
                    <a:pt x="2838" y="451"/>
                    <a:pt x="2790" y="433"/>
                    <a:pt x="2756" y="399"/>
                  </a:cubicBezTo>
                  <a:cubicBezTo>
                    <a:pt x="2721" y="361"/>
                    <a:pt x="2714" y="305"/>
                    <a:pt x="2703" y="235"/>
                  </a:cubicBezTo>
                  <a:cubicBezTo>
                    <a:pt x="2696" y="165"/>
                    <a:pt x="2689" y="88"/>
                    <a:pt x="2647" y="60"/>
                  </a:cubicBezTo>
                  <a:cubicBezTo>
                    <a:pt x="2632" y="49"/>
                    <a:pt x="2615" y="45"/>
                    <a:pt x="2596" y="45"/>
                  </a:cubicBezTo>
                  <a:cubicBezTo>
                    <a:pt x="2567" y="45"/>
                    <a:pt x="2535" y="55"/>
                    <a:pt x="2507" y="63"/>
                  </a:cubicBezTo>
                  <a:cubicBezTo>
                    <a:pt x="2462" y="74"/>
                    <a:pt x="2423" y="102"/>
                    <a:pt x="2399" y="140"/>
                  </a:cubicBezTo>
                  <a:cubicBezTo>
                    <a:pt x="2367" y="203"/>
                    <a:pt x="2406" y="301"/>
                    <a:pt x="2434" y="382"/>
                  </a:cubicBezTo>
                  <a:cubicBezTo>
                    <a:pt x="2462" y="462"/>
                    <a:pt x="2493" y="546"/>
                    <a:pt x="2427" y="588"/>
                  </a:cubicBezTo>
                  <a:cubicBezTo>
                    <a:pt x="2403" y="605"/>
                    <a:pt x="2373" y="611"/>
                    <a:pt x="2340" y="611"/>
                  </a:cubicBezTo>
                  <a:cubicBezTo>
                    <a:pt x="2257" y="611"/>
                    <a:pt x="2161" y="570"/>
                    <a:pt x="2136" y="560"/>
                  </a:cubicBezTo>
                  <a:cubicBezTo>
                    <a:pt x="2070" y="529"/>
                    <a:pt x="1916" y="448"/>
                    <a:pt x="1891" y="312"/>
                  </a:cubicBezTo>
                  <a:cubicBezTo>
                    <a:pt x="1853" y="319"/>
                    <a:pt x="1818" y="333"/>
                    <a:pt x="1779" y="347"/>
                  </a:cubicBezTo>
                  <a:cubicBezTo>
                    <a:pt x="1715" y="374"/>
                    <a:pt x="1647" y="401"/>
                    <a:pt x="1585" y="401"/>
                  </a:cubicBezTo>
                  <a:cubicBezTo>
                    <a:pt x="1560" y="401"/>
                    <a:pt x="1536" y="396"/>
                    <a:pt x="1513" y="385"/>
                  </a:cubicBezTo>
                  <a:cubicBezTo>
                    <a:pt x="1478" y="364"/>
                    <a:pt x="1450" y="326"/>
                    <a:pt x="1443" y="284"/>
                  </a:cubicBezTo>
                  <a:cubicBezTo>
                    <a:pt x="1408" y="147"/>
                    <a:pt x="1121" y="32"/>
                    <a:pt x="98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8" name="Google Shape;7075;p64">
              <a:extLst>
                <a:ext uri="{FF2B5EF4-FFF2-40B4-BE49-F238E27FC236}">
                  <a16:creationId xmlns:a16="http://schemas.microsoft.com/office/drawing/2014/main" id="{14F1A643-085D-EAD1-0A47-06957AB7DABA}"/>
                </a:ext>
              </a:extLst>
            </p:cNvPr>
            <p:cNvSpPr/>
            <p:nvPr/>
          </p:nvSpPr>
          <p:spPr>
            <a:xfrm>
              <a:off x="2129768" y="1256084"/>
              <a:ext cx="99252" cy="55546"/>
            </a:xfrm>
            <a:custGeom>
              <a:avLst/>
              <a:gdLst/>
              <a:ahLst/>
              <a:cxnLst/>
              <a:rect l="l" t="t" r="r" b="b"/>
              <a:pathLst>
                <a:path w="7310" h="4091" extrusionOk="0">
                  <a:moveTo>
                    <a:pt x="2829" y="1"/>
                  </a:moveTo>
                  <a:cubicBezTo>
                    <a:pt x="2829" y="18"/>
                    <a:pt x="2825" y="36"/>
                    <a:pt x="2822" y="50"/>
                  </a:cubicBezTo>
                  <a:cubicBezTo>
                    <a:pt x="2818" y="127"/>
                    <a:pt x="2811" y="239"/>
                    <a:pt x="2710" y="260"/>
                  </a:cubicBezTo>
                  <a:cubicBezTo>
                    <a:pt x="2654" y="270"/>
                    <a:pt x="2608" y="309"/>
                    <a:pt x="2601" y="330"/>
                  </a:cubicBezTo>
                  <a:cubicBezTo>
                    <a:pt x="2601" y="340"/>
                    <a:pt x="2615" y="365"/>
                    <a:pt x="2661" y="396"/>
                  </a:cubicBezTo>
                  <a:cubicBezTo>
                    <a:pt x="2857" y="526"/>
                    <a:pt x="3060" y="1160"/>
                    <a:pt x="3025" y="1289"/>
                  </a:cubicBezTo>
                  <a:cubicBezTo>
                    <a:pt x="3018" y="1328"/>
                    <a:pt x="2984" y="1352"/>
                    <a:pt x="2945" y="1352"/>
                  </a:cubicBezTo>
                  <a:cubicBezTo>
                    <a:pt x="2943" y="1352"/>
                    <a:pt x="2940" y="1352"/>
                    <a:pt x="2937" y="1352"/>
                  </a:cubicBezTo>
                  <a:cubicBezTo>
                    <a:pt x="2797" y="1342"/>
                    <a:pt x="2314" y="841"/>
                    <a:pt x="2290" y="589"/>
                  </a:cubicBezTo>
                  <a:cubicBezTo>
                    <a:pt x="2276" y="438"/>
                    <a:pt x="2157" y="312"/>
                    <a:pt x="2080" y="302"/>
                  </a:cubicBezTo>
                  <a:cubicBezTo>
                    <a:pt x="2066" y="302"/>
                    <a:pt x="2052" y="302"/>
                    <a:pt x="2041" y="330"/>
                  </a:cubicBezTo>
                  <a:cubicBezTo>
                    <a:pt x="2010" y="403"/>
                    <a:pt x="1964" y="466"/>
                    <a:pt x="1908" y="522"/>
                  </a:cubicBezTo>
                  <a:cubicBezTo>
                    <a:pt x="1838" y="606"/>
                    <a:pt x="1803" y="648"/>
                    <a:pt x="1828" y="722"/>
                  </a:cubicBezTo>
                  <a:cubicBezTo>
                    <a:pt x="1859" y="799"/>
                    <a:pt x="1842" y="886"/>
                    <a:pt x="1782" y="946"/>
                  </a:cubicBezTo>
                  <a:cubicBezTo>
                    <a:pt x="1755" y="974"/>
                    <a:pt x="1721" y="987"/>
                    <a:pt x="1687" y="987"/>
                  </a:cubicBezTo>
                  <a:cubicBezTo>
                    <a:pt x="1615" y="987"/>
                    <a:pt x="1545" y="926"/>
                    <a:pt x="1555" y="837"/>
                  </a:cubicBezTo>
                  <a:cubicBezTo>
                    <a:pt x="1555" y="743"/>
                    <a:pt x="1292" y="585"/>
                    <a:pt x="1198" y="575"/>
                  </a:cubicBezTo>
                  <a:cubicBezTo>
                    <a:pt x="1135" y="568"/>
                    <a:pt x="1124" y="526"/>
                    <a:pt x="1121" y="508"/>
                  </a:cubicBezTo>
                  <a:cubicBezTo>
                    <a:pt x="1117" y="445"/>
                    <a:pt x="1163" y="431"/>
                    <a:pt x="1331" y="382"/>
                  </a:cubicBezTo>
                  <a:cubicBezTo>
                    <a:pt x="1432" y="358"/>
                    <a:pt x="1534" y="326"/>
                    <a:pt x="1632" y="284"/>
                  </a:cubicBezTo>
                  <a:cubicBezTo>
                    <a:pt x="1601" y="271"/>
                    <a:pt x="1553" y="261"/>
                    <a:pt x="1504" y="261"/>
                  </a:cubicBezTo>
                  <a:cubicBezTo>
                    <a:pt x="1462" y="261"/>
                    <a:pt x="1419" y="268"/>
                    <a:pt x="1387" y="288"/>
                  </a:cubicBezTo>
                  <a:cubicBezTo>
                    <a:pt x="1332" y="322"/>
                    <a:pt x="1273" y="332"/>
                    <a:pt x="1217" y="332"/>
                  </a:cubicBezTo>
                  <a:cubicBezTo>
                    <a:pt x="1177" y="332"/>
                    <a:pt x="1138" y="327"/>
                    <a:pt x="1103" y="323"/>
                  </a:cubicBezTo>
                  <a:cubicBezTo>
                    <a:pt x="1068" y="317"/>
                    <a:pt x="1040" y="314"/>
                    <a:pt x="1017" y="314"/>
                  </a:cubicBezTo>
                  <a:cubicBezTo>
                    <a:pt x="982" y="314"/>
                    <a:pt x="960" y="322"/>
                    <a:pt x="945" y="344"/>
                  </a:cubicBezTo>
                  <a:cubicBezTo>
                    <a:pt x="898" y="408"/>
                    <a:pt x="845" y="429"/>
                    <a:pt x="791" y="429"/>
                  </a:cubicBezTo>
                  <a:cubicBezTo>
                    <a:pt x="733" y="429"/>
                    <a:pt x="674" y="404"/>
                    <a:pt x="623" y="382"/>
                  </a:cubicBezTo>
                  <a:cubicBezTo>
                    <a:pt x="581" y="361"/>
                    <a:pt x="536" y="344"/>
                    <a:pt x="490" y="333"/>
                  </a:cubicBezTo>
                  <a:cubicBezTo>
                    <a:pt x="484" y="332"/>
                    <a:pt x="478" y="331"/>
                    <a:pt x="471" y="331"/>
                  </a:cubicBezTo>
                  <a:cubicBezTo>
                    <a:pt x="417" y="331"/>
                    <a:pt x="357" y="381"/>
                    <a:pt x="298" y="428"/>
                  </a:cubicBezTo>
                  <a:cubicBezTo>
                    <a:pt x="236" y="478"/>
                    <a:pt x="170" y="533"/>
                    <a:pt x="97" y="533"/>
                  </a:cubicBezTo>
                  <a:cubicBezTo>
                    <a:pt x="79" y="533"/>
                    <a:pt x="61" y="530"/>
                    <a:pt x="42" y="522"/>
                  </a:cubicBezTo>
                  <a:cubicBezTo>
                    <a:pt x="39" y="522"/>
                    <a:pt x="28" y="536"/>
                    <a:pt x="21" y="568"/>
                  </a:cubicBezTo>
                  <a:cubicBezTo>
                    <a:pt x="0" y="648"/>
                    <a:pt x="14" y="802"/>
                    <a:pt x="123" y="974"/>
                  </a:cubicBezTo>
                  <a:cubicBezTo>
                    <a:pt x="144" y="1009"/>
                    <a:pt x="175" y="1051"/>
                    <a:pt x="210" y="1058"/>
                  </a:cubicBezTo>
                  <a:cubicBezTo>
                    <a:pt x="214" y="1059"/>
                    <a:pt x="217" y="1059"/>
                    <a:pt x="221" y="1059"/>
                  </a:cubicBezTo>
                  <a:cubicBezTo>
                    <a:pt x="257" y="1059"/>
                    <a:pt x="302" y="1027"/>
                    <a:pt x="350" y="995"/>
                  </a:cubicBezTo>
                  <a:cubicBezTo>
                    <a:pt x="419" y="947"/>
                    <a:pt x="501" y="892"/>
                    <a:pt x="599" y="892"/>
                  </a:cubicBezTo>
                  <a:cubicBezTo>
                    <a:pt x="616" y="892"/>
                    <a:pt x="633" y="893"/>
                    <a:pt x="651" y="897"/>
                  </a:cubicBezTo>
                  <a:cubicBezTo>
                    <a:pt x="700" y="900"/>
                    <a:pt x="742" y="935"/>
                    <a:pt x="760" y="981"/>
                  </a:cubicBezTo>
                  <a:cubicBezTo>
                    <a:pt x="784" y="1065"/>
                    <a:pt x="707" y="1142"/>
                    <a:pt x="599" y="1247"/>
                  </a:cubicBezTo>
                  <a:cubicBezTo>
                    <a:pt x="515" y="1328"/>
                    <a:pt x="410" y="1429"/>
                    <a:pt x="385" y="1513"/>
                  </a:cubicBezTo>
                  <a:cubicBezTo>
                    <a:pt x="347" y="1636"/>
                    <a:pt x="550" y="1783"/>
                    <a:pt x="714" y="1902"/>
                  </a:cubicBezTo>
                  <a:cubicBezTo>
                    <a:pt x="784" y="1947"/>
                    <a:pt x="847" y="2000"/>
                    <a:pt x="910" y="2056"/>
                  </a:cubicBezTo>
                  <a:cubicBezTo>
                    <a:pt x="992" y="2130"/>
                    <a:pt x="1143" y="2162"/>
                    <a:pt x="1288" y="2162"/>
                  </a:cubicBezTo>
                  <a:cubicBezTo>
                    <a:pt x="1416" y="2162"/>
                    <a:pt x="1540" y="2137"/>
                    <a:pt x="1607" y="2094"/>
                  </a:cubicBezTo>
                  <a:cubicBezTo>
                    <a:pt x="1656" y="2066"/>
                    <a:pt x="1681" y="1989"/>
                    <a:pt x="1705" y="1916"/>
                  </a:cubicBezTo>
                  <a:cubicBezTo>
                    <a:pt x="1743" y="1806"/>
                    <a:pt x="1790" y="1660"/>
                    <a:pt x="1950" y="1660"/>
                  </a:cubicBezTo>
                  <a:cubicBezTo>
                    <a:pt x="1953" y="1660"/>
                    <a:pt x="1957" y="1660"/>
                    <a:pt x="1961" y="1660"/>
                  </a:cubicBezTo>
                  <a:cubicBezTo>
                    <a:pt x="1968" y="1661"/>
                    <a:pt x="1974" y="1661"/>
                    <a:pt x="1980" y="1661"/>
                  </a:cubicBezTo>
                  <a:cubicBezTo>
                    <a:pt x="2025" y="1661"/>
                    <a:pt x="2030" y="1647"/>
                    <a:pt x="2048" y="1597"/>
                  </a:cubicBezTo>
                  <a:cubicBezTo>
                    <a:pt x="2069" y="1517"/>
                    <a:pt x="2125" y="1450"/>
                    <a:pt x="2202" y="1422"/>
                  </a:cubicBezTo>
                  <a:cubicBezTo>
                    <a:pt x="2229" y="1412"/>
                    <a:pt x="2254" y="1407"/>
                    <a:pt x="2278" y="1407"/>
                  </a:cubicBezTo>
                  <a:cubicBezTo>
                    <a:pt x="2331" y="1407"/>
                    <a:pt x="2375" y="1430"/>
                    <a:pt x="2402" y="1471"/>
                  </a:cubicBezTo>
                  <a:cubicBezTo>
                    <a:pt x="2465" y="1562"/>
                    <a:pt x="2433" y="1727"/>
                    <a:pt x="2325" y="1853"/>
                  </a:cubicBezTo>
                  <a:lnTo>
                    <a:pt x="2318" y="1863"/>
                  </a:lnTo>
                  <a:cubicBezTo>
                    <a:pt x="2325" y="1864"/>
                    <a:pt x="2334" y="1865"/>
                    <a:pt x="2344" y="1865"/>
                  </a:cubicBezTo>
                  <a:cubicBezTo>
                    <a:pt x="2424" y="1865"/>
                    <a:pt x="2584" y="1825"/>
                    <a:pt x="2703" y="1716"/>
                  </a:cubicBezTo>
                  <a:cubicBezTo>
                    <a:pt x="2776" y="1645"/>
                    <a:pt x="2843" y="1608"/>
                    <a:pt x="2901" y="1608"/>
                  </a:cubicBezTo>
                  <a:cubicBezTo>
                    <a:pt x="2925" y="1608"/>
                    <a:pt x="2948" y="1615"/>
                    <a:pt x="2969" y="1629"/>
                  </a:cubicBezTo>
                  <a:cubicBezTo>
                    <a:pt x="3060" y="1681"/>
                    <a:pt x="3060" y="1835"/>
                    <a:pt x="3028" y="1961"/>
                  </a:cubicBezTo>
                  <a:cubicBezTo>
                    <a:pt x="2993" y="2101"/>
                    <a:pt x="2843" y="2126"/>
                    <a:pt x="2692" y="2154"/>
                  </a:cubicBezTo>
                  <a:cubicBezTo>
                    <a:pt x="2563" y="2175"/>
                    <a:pt x="2426" y="2199"/>
                    <a:pt x="2363" y="2287"/>
                  </a:cubicBezTo>
                  <a:cubicBezTo>
                    <a:pt x="2269" y="2420"/>
                    <a:pt x="2090" y="2434"/>
                    <a:pt x="1919" y="2451"/>
                  </a:cubicBezTo>
                  <a:cubicBezTo>
                    <a:pt x="1758" y="2465"/>
                    <a:pt x="1593" y="2479"/>
                    <a:pt x="1499" y="2584"/>
                  </a:cubicBezTo>
                  <a:cubicBezTo>
                    <a:pt x="1453" y="2633"/>
                    <a:pt x="1453" y="2658"/>
                    <a:pt x="1453" y="2658"/>
                  </a:cubicBezTo>
                  <a:cubicBezTo>
                    <a:pt x="1468" y="2681"/>
                    <a:pt x="1543" y="2698"/>
                    <a:pt x="1656" y="2698"/>
                  </a:cubicBezTo>
                  <a:cubicBezTo>
                    <a:pt x="1734" y="2698"/>
                    <a:pt x="1830" y="2690"/>
                    <a:pt x="1936" y="2668"/>
                  </a:cubicBezTo>
                  <a:cubicBezTo>
                    <a:pt x="2144" y="2627"/>
                    <a:pt x="2469" y="2597"/>
                    <a:pt x="2729" y="2597"/>
                  </a:cubicBezTo>
                  <a:cubicBezTo>
                    <a:pt x="2862" y="2597"/>
                    <a:pt x="2978" y="2605"/>
                    <a:pt x="3053" y="2623"/>
                  </a:cubicBezTo>
                  <a:cubicBezTo>
                    <a:pt x="3084" y="2630"/>
                    <a:pt x="3183" y="2651"/>
                    <a:pt x="3172" y="2728"/>
                  </a:cubicBezTo>
                  <a:cubicBezTo>
                    <a:pt x="3158" y="2857"/>
                    <a:pt x="2727" y="2871"/>
                    <a:pt x="2542" y="2871"/>
                  </a:cubicBezTo>
                  <a:cubicBezTo>
                    <a:pt x="2255" y="2871"/>
                    <a:pt x="2171" y="2945"/>
                    <a:pt x="2150" y="2966"/>
                  </a:cubicBezTo>
                  <a:cubicBezTo>
                    <a:pt x="2139" y="2976"/>
                    <a:pt x="2132" y="2990"/>
                    <a:pt x="2132" y="3004"/>
                  </a:cubicBezTo>
                  <a:cubicBezTo>
                    <a:pt x="2136" y="3032"/>
                    <a:pt x="2129" y="3057"/>
                    <a:pt x="2111" y="3074"/>
                  </a:cubicBezTo>
                  <a:cubicBezTo>
                    <a:pt x="2088" y="3099"/>
                    <a:pt x="2057" y="3107"/>
                    <a:pt x="2015" y="3107"/>
                  </a:cubicBezTo>
                  <a:cubicBezTo>
                    <a:pt x="1980" y="3107"/>
                    <a:pt x="1938" y="3102"/>
                    <a:pt x="1887" y="3095"/>
                  </a:cubicBezTo>
                  <a:cubicBezTo>
                    <a:pt x="1840" y="3090"/>
                    <a:pt x="1780" y="3084"/>
                    <a:pt x="1726" y="3084"/>
                  </a:cubicBezTo>
                  <a:cubicBezTo>
                    <a:pt x="1676" y="3084"/>
                    <a:pt x="1633" y="3089"/>
                    <a:pt x="1611" y="3106"/>
                  </a:cubicBezTo>
                  <a:cubicBezTo>
                    <a:pt x="1604" y="3113"/>
                    <a:pt x="1600" y="3120"/>
                    <a:pt x="1600" y="3130"/>
                  </a:cubicBezTo>
                  <a:cubicBezTo>
                    <a:pt x="1590" y="3215"/>
                    <a:pt x="1751" y="3288"/>
                    <a:pt x="1880" y="3348"/>
                  </a:cubicBezTo>
                  <a:cubicBezTo>
                    <a:pt x="2003" y="3407"/>
                    <a:pt x="2104" y="3456"/>
                    <a:pt x="2139" y="3530"/>
                  </a:cubicBezTo>
                  <a:cubicBezTo>
                    <a:pt x="2149" y="3551"/>
                    <a:pt x="2198" y="3557"/>
                    <a:pt x="2253" y="3557"/>
                  </a:cubicBezTo>
                  <a:cubicBezTo>
                    <a:pt x="2297" y="3557"/>
                    <a:pt x="2344" y="3554"/>
                    <a:pt x="2381" y="3551"/>
                  </a:cubicBezTo>
                  <a:cubicBezTo>
                    <a:pt x="2430" y="3545"/>
                    <a:pt x="2477" y="3541"/>
                    <a:pt x="2520" y="3541"/>
                  </a:cubicBezTo>
                  <a:cubicBezTo>
                    <a:pt x="2564" y="3541"/>
                    <a:pt x="2603" y="3545"/>
                    <a:pt x="2636" y="3558"/>
                  </a:cubicBezTo>
                  <a:cubicBezTo>
                    <a:pt x="2675" y="3565"/>
                    <a:pt x="2706" y="3600"/>
                    <a:pt x="2710" y="3642"/>
                  </a:cubicBezTo>
                  <a:cubicBezTo>
                    <a:pt x="2713" y="3715"/>
                    <a:pt x="2629" y="3754"/>
                    <a:pt x="2514" y="3806"/>
                  </a:cubicBezTo>
                  <a:lnTo>
                    <a:pt x="2454" y="3834"/>
                  </a:lnTo>
                  <a:cubicBezTo>
                    <a:pt x="2482" y="3845"/>
                    <a:pt x="2514" y="3859"/>
                    <a:pt x="2542" y="3869"/>
                  </a:cubicBezTo>
                  <a:cubicBezTo>
                    <a:pt x="2671" y="3922"/>
                    <a:pt x="2804" y="3978"/>
                    <a:pt x="2853" y="4058"/>
                  </a:cubicBezTo>
                  <a:cubicBezTo>
                    <a:pt x="2867" y="4079"/>
                    <a:pt x="2900" y="4090"/>
                    <a:pt x="2939" y="4090"/>
                  </a:cubicBezTo>
                  <a:cubicBezTo>
                    <a:pt x="2960" y="4090"/>
                    <a:pt x="2984" y="4087"/>
                    <a:pt x="3007" y="4079"/>
                  </a:cubicBezTo>
                  <a:cubicBezTo>
                    <a:pt x="3028" y="4072"/>
                    <a:pt x="3102" y="4044"/>
                    <a:pt x="3095" y="3988"/>
                  </a:cubicBezTo>
                  <a:cubicBezTo>
                    <a:pt x="3077" y="3736"/>
                    <a:pt x="3386" y="3078"/>
                    <a:pt x="3771" y="2938"/>
                  </a:cubicBezTo>
                  <a:cubicBezTo>
                    <a:pt x="3963" y="2864"/>
                    <a:pt x="3956" y="2826"/>
                    <a:pt x="3939" y="2724"/>
                  </a:cubicBezTo>
                  <a:cubicBezTo>
                    <a:pt x="3921" y="2658"/>
                    <a:pt x="3921" y="2588"/>
                    <a:pt x="3935" y="2521"/>
                  </a:cubicBezTo>
                  <a:cubicBezTo>
                    <a:pt x="3970" y="2367"/>
                    <a:pt x="4107" y="2360"/>
                    <a:pt x="4180" y="2357"/>
                  </a:cubicBezTo>
                  <a:lnTo>
                    <a:pt x="4191" y="2357"/>
                  </a:lnTo>
                  <a:cubicBezTo>
                    <a:pt x="4086" y="2136"/>
                    <a:pt x="4187" y="2028"/>
                    <a:pt x="4401" y="1825"/>
                  </a:cubicBezTo>
                  <a:cubicBezTo>
                    <a:pt x="4551" y="1685"/>
                    <a:pt x="4674" y="1681"/>
                    <a:pt x="4796" y="1678"/>
                  </a:cubicBezTo>
                  <a:cubicBezTo>
                    <a:pt x="4891" y="1678"/>
                    <a:pt x="4982" y="1657"/>
                    <a:pt x="5069" y="1618"/>
                  </a:cubicBezTo>
                  <a:cubicBezTo>
                    <a:pt x="5140" y="1584"/>
                    <a:pt x="5202" y="1570"/>
                    <a:pt x="5255" y="1570"/>
                  </a:cubicBezTo>
                  <a:cubicBezTo>
                    <a:pt x="5321" y="1570"/>
                    <a:pt x="5371" y="1591"/>
                    <a:pt x="5402" y="1618"/>
                  </a:cubicBezTo>
                  <a:cubicBezTo>
                    <a:pt x="5437" y="1646"/>
                    <a:pt x="5455" y="1695"/>
                    <a:pt x="5437" y="1741"/>
                  </a:cubicBezTo>
                  <a:cubicBezTo>
                    <a:pt x="5427" y="1783"/>
                    <a:pt x="5378" y="1849"/>
                    <a:pt x="5209" y="1863"/>
                  </a:cubicBezTo>
                  <a:cubicBezTo>
                    <a:pt x="5129" y="1870"/>
                    <a:pt x="5125" y="1905"/>
                    <a:pt x="5122" y="1916"/>
                  </a:cubicBezTo>
                  <a:cubicBezTo>
                    <a:pt x="5111" y="1982"/>
                    <a:pt x="5199" y="2105"/>
                    <a:pt x="5315" y="2150"/>
                  </a:cubicBezTo>
                  <a:cubicBezTo>
                    <a:pt x="5451" y="2203"/>
                    <a:pt x="5472" y="2269"/>
                    <a:pt x="5469" y="2332"/>
                  </a:cubicBezTo>
                  <a:cubicBezTo>
                    <a:pt x="5479" y="2336"/>
                    <a:pt x="5486" y="2339"/>
                    <a:pt x="5497" y="2339"/>
                  </a:cubicBezTo>
                  <a:cubicBezTo>
                    <a:pt x="5563" y="2353"/>
                    <a:pt x="5619" y="2402"/>
                    <a:pt x="5640" y="2469"/>
                  </a:cubicBezTo>
                  <a:cubicBezTo>
                    <a:pt x="5682" y="2598"/>
                    <a:pt x="5598" y="2794"/>
                    <a:pt x="5434" y="2973"/>
                  </a:cubicBezTo>
                  <a:cubicBezTo>
                    <a:pt x="5406" y="2994"/>
                    <a:pt x="5388" y="3025"/>
                    <a:pt x="5378" y="3060"/>
                  </a:cubicBezTo>
                  <a:cubicBezTo>
                    <a:pt x="5386" y="3067"/>
                    <a:pt x="5413" y="3073"/>
                    <a:pt x="5457" y="3073"/>
                  </a:cubicBezTo>
                  <a:cubicBezTo>
                    <a:pt x="5538" y="3073"/>
                    <a:pt x="5678" y="3053"/>
                    <a:pt x="5885" y="2976"/>
                  </a:cubicBezTo>
                  <a:cubicBezTo>
                    <a:pt x="5981" y="2940"/>
                    <a:pt x="6052" y="2923"/>
                    <a:pt x="6106" y="2923"/>
                  </a:cubicBezTo>
                  <a:cubicBezTo>
                    <a:pt x="6146" y="2923"/>
                    <a:pt x="6176" y="2932"/>
                    <a:pt x="6200" y="2952"/>
                  </a:cubicBezTo>
                  <a:cubicBezTo>
                    <a:pt x="6256" y="2994"/>
                    <a:pt x="6249" y="3071"/>
                    <a:pt x="6242" y="3137"/>
                  </a:cubicBezTo>
                  <a:cubicBezTo>
                    <a:pt x="6235" y="3200"/>
                    <a:pt x="6232" y="3246"/>
                    <a:pt x="6260" y="3271"/>
                  </a:cubicBezTo>
                  <a:cubicBezTo>
                    <a:pt x="6273" y="3283"/>
                    <a:pt x="6290" y="3291"/>
                    <a:pt x="6307" y="3291"/>
                  </a:cubicBezTo>
                  <a:cubicBezTo>
                    <a:pt x="6314" y="3291"/>
                    <a:pt x="6320" y="3290"/>
                    <a:pt x="6326" y="3288"/>
                  </a:cubicBezTo>
                  <a:cubicBezTo>
                    <a:pt x="6463" y="3285"/>
                    <a:pt x="6697" y="3130"/>
                    <a:pt x="6851" y="2945"/>
                  </a:cubicBezTo>
                  <a:cubicBezTo>
                    <a:pt x="6946" y="2840"/>
                    <a:pt x="7072" y="2763"/>
                    <a:pt x="7208" y="2724"/>
                  </a:cubicBezTo>
                  <a:cubicBezTo>
                    <a:pt x="7247" y="2714"/>
                    <a:pt x="7278" y="2696"/>
                    <a:pt x="7310" y="2679"/>
                  </a:cubicBezTo>
                  <a:cubicBezTo>
                    <a:pt x="7307" y="2658"/>
                    <a:pt x="7292" y="2640"/>
                    <a:pt x="7275" y="2630"/>
                  </a:cubicBezTo>
                  <a:cubicBezTo>
                    <a:pt x="7249" y="2614"/>
                    <a:pt x="7209" y="2604"/>
                    <a:pt x="7163" y="2604"/>
                  </a:cubicBezTo>
                  <a:cubicBezTo>
                    <a:pt x="7117" y="2604"/>
                    <a:pt x="7065" y="2614"/>
                    <a:pt x="7012" y="2637"/>
                  </a:cubicBezTo>
                  <a:cubicBezTo>
                    <a:pt x="6954" y="2662"/>
                    <a:pt x="6865" y="2676"/>
                    <a:pt x="6774" y="2676"/>
                  </a:cubicBezTo>
                  <a:cubicBezTo>
                    <a:pt x="6640" y="2676"/>
                    <a:pt x="6503" y="2646"/>
                    <a:pt x="6459" y="2577"/>
                  </a:cubicBezTo>
                  <a:cubicBezTo>
                    <a:pt x="6449" y="2560"/>
                    <a:pt x="6417" y="2490"/>
                    <a:pt x="6494" y="2420"/>
                  </a:cubicBezTo>
                  <a:cubicBezTo>
                    <a:pt x="6554" y="2364"/>
                    <a:pt x="6564" y="2329"/>
                    <a:pt x="6564" y="2322"/>
                  </a:cubicBezTo>
                  <a:cubicBezTo>
                    <a:pt x="6542" y="2314"/>
                    <a:pt x="6519" y="2310"/>
                    <a:pt x="6497" y="2310"/>
                  </a:cubicBezTo>
                  <a:cubicBezTo>
                    <a:pt x="6481" y="2310"/>
                    <a:pt x="6465" y="2312"/>
                    <a:pt x="6449" y="2315"/>
                  </a:cubicBezTo>
                  <a:cubicBezTo>
                    <a:pt x="6432" y="2316"/>
                    <a:pt x="6411" y="2317"/>
                    <a:pt x="6388" y="2317"/>
                  </a:cubicBezTo>
                  <a:cubicBezTo>
                    <a:pt x="6222" y="2317"/>
                    <a:pt x="5934" y="2271"/>
                    <a:pt x="5906" y="2154"/>
                  </a:cubicBezTo>
                  <a:cubicBezTo>
                    <a:pt x="5899" y="2129"/>
                    <a:pt x="5896" y="2066"/>
                    <a:pt x="5994" y="2031"/>
                  </a:cubicBezTo>
                  <a:cubicBezTo>
                    <a:pt x="5997" y="2028"/>
                    <a:pt x="6004" y="2024"/>
                    <a:pt x="6008" y="2024"/>
                  </a:cubicBezTo>
                  <a:cubicBezTo>
                    <a:pt x="5997" y="2000"/>
                    <a:pt x="5983" y="1979"/>
                    <a:pt x="5962" y="1961"/>
                  </a:cubicBezTo>
                  <a:cubicBezTo>
                    <a:pt x="5898" y="1900"/>
                    <a:pt x="5791" y="1852"/>
                    <a:pt x="5727" y="1852"/>
                  </a:cubicBezTo>
                  <a:cubicBezTo>
                    <a:pt x="5725" y="1852"/>
                    <a:pt x="5723" y="1853"/>
                    <a:pt x="5721" y="1853"/>
                  </a:cubicBezTo>
                  <a:cubicBezTo>
                    <a:pt x="5713" y="1854"/>
                    <a:pt x="5705" y="1854"/>
                    <a:pt x="5698" y="1854"/>
                  </a:cubicBezTo>
                  <a:cubicBezTo>
                    <a:pt x="5653" y="1854"/>
                    <a:pt x="5610" y="1837"/>
                    <a:pt x="5577" y="1804"/>
                  </a:cubicBezTo>
                  <a:cubicBezTo>
                    <a:pt x="5511" y="1737"/>
                    <a:pt x="5525" y="1622"/>
                    <a:pt x="5535" y="1520"/>
                  </a:cubicBezTo>
                  <a:cubicBezTo>
                    <a:pt x="5535" y="1503"/>
                    <a:pt x="5539" y="1485"/>
                    <a:pt x="5542" y="1468"/>
                  </a:cubicBezTo>
                  <a:cubicBezTo>
                    <a:pt x="5521" y="1436"/>
                    <a:pt x="5378" y="1387"/>
                    <a:pt x="5318" y="1366"/>
                  </a:cubicBezTo>
                  <a:cubicBezTo>
                    <a:pt x="5202" y="1328"/>
                    <a:pt x="5146" y="1310"/>
                    <a:pt x="5143" y="1247"/>
                  </a:cubicBezTo>
                  <a:cubicBezTo>
                    <a:pt x="5143" y="1237"/>
                    <a:pt x="5143" y="1226"/>
                    <a:pt x="5146" y="1216"/>
                  </a:cubicBezTo>
                  <a:cubicBezTo>
                    <a:pt x="5111" y="1202"/>
                    <a:pt x="5073" y="1195"/>
                    <a:pt x="5034" y="1195"/>
                  </a:cubicBezTo>
                  <a:cubicBezTo>
                    <a:pt x="5020" y="1195"/>
                    <a:pt x="5006" y="1198"/>
                    <a:pt x="4992" y="1209"/>
                  </a:cubicBezTo>
                  <a:cubicBezTo>
                    <a:pt x="4958" y="1262"/>
                    <a:pt x="4899" y="1291"/>
                    <a:pt x="4837" y="1291"/>
                  </a:cubicBezTo>
                  <a:cubicBezTo>
                    <a:pt x="4818" y="1291"/>
                    <a:pt x="4798" y="1288"/>
                    <a:pt x="4779" y="1282"/>
                  </a:cubicBezTo>
                  <a:cubicBezTo>
                    <a:pt x="4702" y="1254"/>
                    <a:pt x="4653" y="1177"/>
                    <a:pt x="4656" y="1096"/>
                  </a:cubicBezTo>
                  <a:cubicBezTo>
                    <a:pt x="4656" y="1093"/>
                    <a:pt x="4656" y="1093"/>
                    <a:pt x="4653" y="1086"/>
                  </a:cubicBezTo>
                  <a:cubicBezTo>
                    <a:pt x="4622" y="1059"/>
                    <a:pt x="4536" y="1051"/>
                    <a:pt x="4447" y="1051"/>
                  </a:cubicBezTo>
                  <a:cubicBezTo>
                    <a:pt x="4364" y="1051"/>
                    <a:pt x="4279" y="1058"/>
                    <a:pt x="4236" y="1061"/>
                  </a:cubicBezTo>
                  <a:lnTo>
                    <a:pt x="4219" y="1061"/>
                  </a:lnTo>
                  <a:cubicBezTo>
                    <a:pt x="4214" y="1062"/>
                    <a:pt x="4209" y="1062"/>
                    <a:pt x="4205" y="1062"/>
                  </a:cubicBezTo>
                  <a:cubicBezTo>
                    <a:pt x="4084" y="1062"/>
                    <a:pt x="4057" y="928"/>
                    <a:pt x="4037" y="830"/>
                  </a:cubicBezTo>
                  <a:cubicBezTo>
                    <a:pt x="4023" y="753"/>
                    <a:pt x="4005" y="662"/>
                    <a:pt x="3956" y="624"/>
                  </a:cubicBezTo>
                  <a:cubicBezTo>
                    <a:pt x="3948" y="619"/>
                    <a:pt x="3940" y="616"/>
                    <a:pt x="3930" y="616"/>
                  </a:cubicBezTo>
                  <a:cubicBezTo>
                    <a:pt x="3888" y="616"/>
                    <a:pt x="3828" y="662"/>
                    <a:pt x="3760" y="722"/>
                  </a:cubicBezTo>
                  <a:cubicBezTo>
                    <a:pt x="3692" y="780"/>
                    <a:pt x="3627" y="834"/>
                    <a:pt x="3560" y="834"/>
                  </a:cubicBezTo>
                  <a:cubicBezTo>
                    <a:pt x="3551" y="834"/>
                    <a:pt x="3542" y="833"/>
                    <a:pt x="3533" y="830"/>
                  </a:cubicBezTo>
                  <a:cubicBezTo>
                    <a:pt x="3498" y="823"/>
                    <a:pt x="3470" y="802"/>
                    <a:pt x="3456" y="771"/>
                  </a:cubicBezTo>
                  <a:cubicBezTo>
                    <a:pt x="3428" y="701"/>
                    <a:pt x="3480" y="613"/>
                    <a:pt x="3550" y="501"/>
                  </a:cubicBezTo>
                  <a:cubicBezTo>
                    <a:pt x="3582" y="452"/>
                    <a:pt x="3606" y="403"/>
                    <a:pt x="3631" y="354"/>
                  </a:cubicBezTo>
                  <a:cubicBezTo>
                    <a:pt x="3627" y="333"/>
                    <a:pt x="3543" y="267"/>
                    <a:pt x="3396" y="221"/>
                  </a:cubicBezTo>
                  <a:cubicBezTo>
                    <a:pt x="3333" y="204"/>
                    <a:pt x="3282" y="198"/>
                    <a:pt x="3246" y="198"/>
                  </a:cubicBezTo>
                  <a:cubicBezTo>
                    <a:pt x="3210" y="198"/>
                    <a:pt x="3188" y="204"/>
                    <a:pt x="3183" y="211"/>
                  </a:cubicBezTo>
                  <a:cubicBezTo>
                    <a:pt x="3172" y="249"/>
                    <a:pt x="3137" y="277"/>
                    <a:pt x="3095" y="284"/>
                  </a:cubicBezTo>
                  <a:cubicBezTo>
                    <a:pt x="3093" y="284"/>
                    <a:pt x="3091" y="284"/>
                    <a:pt x="3090" y="284"/>
                  </a:cubicBezTo>
                  <a:cubicBezTo>
                    <a:pt x="3023" y="284"/>
                    <a:pt x="2982" y="219"/>
                    <a:pt x="2927" y="134"/>
                  </a:cubicBezTo>
                  <a:cubicBezTo>
                    <a:pt x="2899" y="85"/>
                    <a:pt x="2864" y="43"/>
                    <a:pt x="282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9" name="Google Shape;7076;p64">
              <a:extLst>
                <a:ext uri="{FF2B5EF4-FFF2-40B4-BE49-F238E27FC236}">
                  <a16:creationId xmlns:a16="http://schemas.microsoft.com/office/drawing/2014/main" id="{F0D7F173-C5BA-A620-1F98-576661687F28}"/>
                </a:ext>
              </a:extLst>
            </p:cNvPr>
            <p:cNvSpPr/>
            <p:nvPr/>
          </p:nvSpPr>
          <p:spPr>
            <a:xfrm>
              <a:off x="2248883" y="1404961"/>
              <a:ext cx="4331" cy="1914"/>
            </a:xfrm>
            <a:custGeom>
              <a:avLst/>
              <a:gdLst/>
              <a:ahLst/>
              <a:cxnLst/>
              <a:rect l="l" t="t" r="r" b="b"/>
              <a:pathLst>
                <a:path w="319" h="141" extrusionOk="0">
                  <a:moveTo>
                    <a:pt x="0" y="140"/>
                  </a:moveTo>
                  <a:cubicBezTo>
                    <a:pt x="81" y="49"/>
                    <a:pt x="200" y="0"/>
                    <a:pt x="319" y="7"/>
                  </a:cubicBezTo>
                  <a:cubicBezTo>
                    <a:pt x="200" y="0"/>
                    <a:pt x="81" y="49"/>
                    <a:pt x="0" y="14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0" name="Google Shape;7077;p64">
              <a:extLst>
                <a:ext uri="{FF2B5EF4-FFF2-40B4-BE49-F238E27FC236}">
                  <a16:creationId xmlns:a16="http://schemas.microsoft.com/office/drawing/2014/main" id="{4970740D-0753-1A71-9235-E36F8D0BD171}"/>
                </a:ext>
              </a:extLst>
            </p:cNvPr>
            <p:cNvSpPr/>
            <p:nvPr/>
          </p:nvSpPr>
          <p:spPr>
            <a:xfrm>
              <a:off x="2202543" y="1417887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1" name="Google Shape;7078;p64">
              <a:extLst>
                <a:ext uri="{FF2B5EF4-FFF2-40B4-BE49-F238E27FC236}">
                  <a16:creationId xmlns:a16="http://schemas.microsoft.com/office/drawing/2014/main" id="{D8CAE760-4A55-D348-5261-C33301F3BB5E}"/>
                </a:ext>
              </a:extLst>
            </p:cNvPr>
            <p:cNvSpPr/>
            <p:nvPr/>
          </p:nvSpPr>
          <p:spPr>
            <a:xfrm>
              <a:off x="2202258" y="141826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2" name="Google Shape;7079;p64">
              <a:extLst>
                <a:ext uri="{FF2B5EF4-FFF2-40B4-BE49-F238E27FC236}">
                  <a16:creationId xmlns:a16="http://schemas.microsoft.com/office/drawing/2014/main" id="{F92CC798-FA83-4E82-B78D-7A9F8285D3C1}"/>
                </a:ext>
              </a:extLst>
            </p:cNvPr>
            <p:cNvSpPr/>
            <p:nvPr/>
          </p:nvSpPr>
          <p:spPr>
            <a:xfrm>
              <a:off x="2264334" y="1413800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"/>
                  </a:moveTo>
                  <a:lnTo>
                    <a:pt x="0" y="18"/>
                  </a:lnTo>
                  <a:cubicBezTo>
                    <a:pt x="0" y="15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3" name="Google Shape;7080;p64">
              <a:extLst>
                <a:ext uri="{FF2B5EF4-FFF2-40B4-BE49-F238E27FC236}">
                  <a16:creationId xmlns:a16="http://schemas.microsoft.com/office/drawing/2014/main" id="{89B43754-E65B-4D08-99F5-4E20F6F45391}"/>
                </a:ext>
              </a:extLst>
            </p:cNvPr>
            <p:cNvSpPr/>
            <p:nvPr/>
          </p:nvSpPr>
          <p:spPr>
            <a:xfrm>
              <a:off x="2201688" y="1419082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4" name="Google Shape;7081;p64">
              <a:extLst>
                <a:ext uri="{FF2B5EF4-FFF2-40B4-BE49-F238E27FC236}">
                  <a16:creationId xmlns:a16="http://schemas.microsoft.com/office/drawing/2014/main" id="{4DDF4932-04E8-2142-8EA7-48FF4AF32513}"/>
                </a:ext>
              </a:extLst>
            </p:cNvPr>
            <p:cNvSpPr/>
            <p:nvPr/>
          </p:nvSpPr>
          <p:spPr>
            <a:xfrm>
              <a:off x="2201973" y="1418647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5" name="Google Shape;7082;p64">
              <a:extLst>
                <a:ext uri="{FF2B5EF4-FFF2-40B4-BE49-F238E27FC236}">
                  <a16:creationId xmlns:a16="http://schemas.microsoft.com/office/drawing/2014/main" id="{88C3A0BD-6899-B236-59AA-83DF4E91D086}"/>
                </a:ext>
              </a:extLst>
            </p:cNvPr>
            <p:cNvSpPr/>
            <p:nvPr/>
          </p:nvSpPr>
          <p:spPr>
            <a:xfrm>
              <a:off x="2206480" y="14160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6" name="Google Shape;7083;p64">
              <a:extLst>
                <a:ext uri="{FF2B5EF4-FFF2-40B4-BE49-F238E27FC236}">
                  <a16:creationId xmlns:a16="http://schemas.microsoft.com/office/drawing/2014/main" id="{F83A7FCF-409A-23DB-9416-1D8634FAEEEB}"/>
                </a:ext>
              </a:extLst>
            </p:cNvPr>
            <p:cNvSpPr/>
            <p:nvPr/>
          </p:nvSpPr>
          <p:spPr>
            <a:xfrm>
              <a:off x="2202923" y="1417561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7" name="Google Shape;7084;p64">
              <a:extLst>
                <a:ext uri="{FF2B5EF4-FFF2-40B4-BE49-F238E27FC236}">
                  <a16:creationId xmlns:a16="http://schemas.microsoft.com/office/drawing/2014/main" id="{C9AA9525-0789-0D83-00AA-7F7BCBD796B8}"/>
                </a:ext>
              </a:extLst>
            </p:cNvPr>
            <p:cNvSpPr/>
            <p:nvPr/>
          </p:nvSpPr>
          <p:spPr>
            <a:xfrm>
              <a:off x="2203249" y="14172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8" name="Google Shape;7085;p64">
              <a:extLst>
                <a:ext uri="{FF2B5EF4-FFF2-40B4-BE49-F238E27FC236}">
                  <a16:creationId xmlns:a16="http://schemas.microsoft.com/office/drawing/2014/main" id="{BF030234-16F1-E7F0-0FA7-F7F9A6094D68}"/>
                </a:ext>
              </a:extLst>
            </p:cNvPr>
            <p:cNvSpPr/>
            <p:nvPr/>
          </p:nvSpPr>
          <p:spPr>
            <a:xfrm>
              <a:off x="2205625" y="141608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9" name="Google Shape;7086;p64">
              <a:extLst>
                <a:ext uri="{FF2B5EF4-FFF2-40B4-BE49-F238E27FC236}">
                  <a16:creationId xmlns:a16="http://schemas.microsoft.com/office/drawing/2014/main" id="{A120B089-05F2-C452-61C4-C2DDD8B030CF}"/>
                </a:ext>
              </a:extLst>
            </p:cNvPr>
            <p:cNvSpPr/>
            <p:nvPr/>
          </p:nvSpPr>
          <p:spPr>
            <a:xfrm>
              <a:off x="2206060" y="141604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0" name="Google Shape;7087;p64">
              <a:extLst>
                <a:ext uri="{FF2B5EF4-FFF2-40B4-BE49-F238E27FC236}">
                  <a16:creationId xmlns:a16="http://schemas.microsoft.com/office/drawing/2014/main" id="{6956CBAB-7DD9-C0A4-94B2-9887412776DF}"/>
                </a:ext>
              </a:extLst>
            </p:cNvPr>
            <p:cNvSpPr/>
            <p:nvPr/>
          </p:nvSpPr>
          <p:spPr>
            <a:xfrm>
              <a:off x="2264334" y="141452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1" name="Google Shape;7088;p64">
              <a:extLst>
                <a:ext uri="{FF2B5EF4-FFF2-40B4-BE49-F238E27FC236}">
                  <a16:creationId xmlns:a16="http://schemas.microsoft.com/office/drawing/2014/main" id="{7CD4F1AB-CB5F-2D0A-9B83-5CFD5A8B1F11}"/>
                </a:ext>
              </a:extLst>
            </p:cNvPr>
            <p:cNvSpPr/>
            <p:nvPr/>
          </p:nvSpPr>
          <p:spPr>
            <a:xfrm>
              <a:off x="2204104" y="141670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2" name="Google Shape;7089;p64">
              <a:extLst>
                <a:ext uri="{FF2B5EF4-FFF2-40B4-BE49-F238E27FC236}">
                  <a16:creationId xmlns:a16="http://schemas.microsoft.com/office/drawing/2014/main" id="{0B0F68F0-64D7-63A0-A3B0-C8FBF77A9F9D}"/>
                </a:ext>
              </a:extLst>
            </p:cNvPr>
            <p:cNvSpPr/>
            <p:nvPr/>
          </p:nvSpPr>
          <p:spPr>
            <a:xfrm>
              <a:off x="2264334" y="1413135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3" name="Google Shape;7090;p64">
              <a:extLst>
                <a:ext uri="{FF2B5EF4-FFF2-40B4-BE49-F238E27FC236}">
                  <a16:creationId xmlns:a16="http://schemas.microsoft.com/office/drawing/2014/main" id="{F2CF4563-8094-A3F8-87C9-B8A4E640D747}"/>
                </a:ext>
              </a:extLst>
            </p:cNvPr>
            <p:cNvSpPr/>
            <p:nvPr/>
          </p:nvSpPr>
          <p:spPr>
            <a:xfrm>
              <a:off x="2204865" y="141627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4" name="Google Shape;7091;p64">
              <a:extLst>
                <a:ext uri="{FF2B5EF4-FFF2-40B4-BE49-F238E27FC236}">
                  <a16:creationId xmlns:a16="http://schemas.microsoft.com/office/drawing/2014/main" id="{2E8D1047-E077-E6C0-6C4D-4C50B2C47542}"/>
                </a:ext>
              </a:extLst>
            </p:cNvPr>
            <p:cNvSpPr/>
            <p:nvPr/>
          </p:nvSpPr>
          <p:spPr>
            <a:xfrm>
              <a:off x="2204485" y="141646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5" name="Google Shape;7092;p64">
              <a:extLst>
                <a:ext uri="{FF2B5EF4-FFF2-40B4-BE49-F238E27FC236}">
                  <a16:creationId xmlns:a16="http://schemas.microsoft.com/office/drawing/2014/main" id="{5CD014D2-9BAF-768E-55BB-4F33AED81FF0}"/>
                </a:ext>
              </a:extLst>
            </p:cNvPr>
            <p:cNvSpPr/>
            <p:nvPr/>
          </p:nvSpPr>
          <p:spPr>
            <a:xfrm>
              <a:off x="2205245" y="141617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6" name="Google Shape;7093;p64">
              <a:extLst>
                <a:ext uri="{FF2B5EF4-FFF2-40B4-BE49-F238E27FC236}">
                  <a16:creationId xmlns:a16="http://schemas.microsoft.com/office/drawing/2014/main" id="{832EE215-40CB-CD22-76C0-3A05C96B8FC8}"/>
                </a:ext>
              </a:extLst>
            </p:cNvPr>
            <p:cNvSpPr/>
            <p:nvPr/>
          </p:nvSpPr>
          <p:spPr>
            <a:xfrm>
              <a:off x="2199162" y="141893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7" name="Google Shape;7094;p64">
              <a:extLst>
                <a:ext uri="{FF2B5EF4-FFF2-40B4-BE49-F238E27FC236}">
                  <a16:creationId xmlns:a16="http://schemas.microsoft.com/office/drawing/2014/main" id="{682026BF-40AE-6D40-664D-3189108220A7}"/>
                </a:ext>
              </a:extLst>
            </p:cNvPr>
            <p:cNvSpPr/>
            <p:nvPr/>
          </p:nvSpPr>
          <p:spPr>
            <a:xfrm>
              <a:off x="2198823" y="141902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8" name="Google Shape;7095;p64">
              <a:extLst>
                <a:ext uri="{FF2B5EF4-FFF2-40B4-BE49-F238E27FC236}">
                  <a16:creationId xmlns:a16="http://schemas.microsoft.com/office/drawing/2014/main" id="{E9913A6C-A54A-501D-922E-2B5477DED857}"/>
                </a:ext>
              </a:extLst>
            </p:cNvPr>
            <p:cNvSpPr/>
            <p:nvPr/>
          </p:nvSpPr>
          <p:spPr>
            <a:xfrm>
              <a:off x="2150921" y="1464471"/>
              <a:ext cx="4331" cy="8527"/>
            </a:xfrm>
            <a:custGeom>
              <a:avLst/>
              <a:gdLst/>
              <a:ahLst/>
              <a:cxnLst/>
              <a:rect l="l" t="t" r="r" b="b"/>
              <a:pathLst>
                <a:path w="319" h="628" extrusionOk="0">
                  <a:moveTo>
                    <a:pt x="319" y="0"/>
                  </a:moveTo>
                  <a:cubicBezTo>
                    <a:pt x="298" y="193"/>
                    <a:pt x="154" y="414"/>
                    <a:pt x="0" y="627"/>
                  </a:cubicBezTo>
                  <a:cubicBezTo>
                    <a:pt x="154" y="414"/>
                    <a:pt x="298" y="193"/>
                    <a:pt x="3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9" name="Google Shape;7096;p64">
              <a:extLst>
                <a:ext uri="{FF2B5EF4-FFF2-40B4-BE49-F238E27FC236}">
                  <a16:creationId xmlns:a16="http://schemas.microsoft.com/office/drawing/2014/main" id="{F1ABBC15-F8E8-6F1B-EA41-790E40CF006C}"/>
                </a:ext>
              </a:extLst>
            </p:cNvPr>
            <p:cNvSpPr/>
            <p:nvPr/>
          </p:nvSpPr>
          <p:spPr>
            <a:xfrm>
              <a:off x="2200248" y="1418837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0" name="Google Shape;7097;p64">
              <a:extLst>
                <a:ext uri="{FF2B5EF4-FFF2-40B4-BE49-F238E27FC236}">
                  <a16:creationId xmlns:a16="http://schemas.microsoft.com/office/drawing/2014/main" id="{69BCBC0C-8716-7AD3-7FF1-ABB981231E50}"/>
                </a:ext>
              </a:extLst>
            </p:cNvPr>
            <p:cNvSpPr/>
            <p:nvPr/>
          </p:nvSpPr>
          <p:spPr>
            <a:xfrm>
              <a:off x="2199488" y="141883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1" name="Google Shape;7098;p64">
              <a:extLst>
                <a:ext uri="{FF2B5EF4-FFF2-40B4-BE49-F238E27FC236}">
                  <a16:creationId xmlns:a16="http://schemas.microsoft.com/office/drawing/2014/main" id="{BA2CFAA5-491A-2FE2-178A-04CDE4D78AF8}"/>
                </a:ext>
              </a:extLst>
            </p:cNvPr>
            <p:cNvSpPr/>
            <p:nvPr/>
          </p:nvSpPr>
          <p:spPr>
            <a:xfrm>
              <a:off x="2136556" y="1531015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2" name="Google Shape;7099;p64">
              <a:extLst>
                <a:ext uri="{FF2B5EF4-FFF2-40B4-BE49-F238E27FC236}">
                  <a16:creationId xmlns:a16="http://schemas.microsoft.com/office/drawing/2014/main" id="{C569A2D1-CD5F-9008-F721-6D9421566D21}"/>
                </a:ext>
              </a:extLst>
            </p:cNvPr>
            <p:cNvSpPr/>
            <p:nvPr/>
          </p:nvSpPr>
          <p:spPr>
            <a:xfrm>
              <a:off x="2201158" y="1419082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3" name="Google Shape;7100;p64">
              <a:extLst>
                <a:ext uri="{FF2B5EF4-FFF2-40B4-BE49-F238E27FC236}">
                  <a16:creationId xmlns:a16="http://schemas.microsoft.com/office/drawing/2014/main" id="{8BEB41B8-54B9-16D9-90CE-C0E8E8B99938}"/>
                </a:ext>
              </a:extLst>
            </p:cNvPr>
            <p:cNvSpPr/>
            <p:nvPr/>
          </p:nvSpPr>
          <p:spPr>
            <a:xfrm>
              <a:off x="2188422" y="1425300"/>
              <a:ext cx="4290" cy="1208"/>
            </a:xfrm>
            <a:custGeom>
              <a:avLst/>
              <a:gdLst/>
              <a:ahLst/>
              <a:cxnLst/>
              <a:rect l="l" t="t" r="r" b="b"/>
              <a:pathLst>
                <a:path w="316" h="89" extrusionOk="0">
                  <a:moveTo>
                    <a:pt x="0" y="11"/>
                  </a:moveTo>
                  <a:cubicBezTo>
                    <a:pt x="105" y="8"/>
                    <a:pt x="214" y="1"/>
                    <a:pt x="315" y="88"/>
                  </a:cubicBezTo>
                  <a:cubicBezTo>
                    <a:pt x="214" y="1"/>
                    <a:pt x="105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4" name="Google Shape;7101;p64">
              <a:extLst>
                <a:ext uri="{FF2B5EF4-FFF2-40B4-BE49-F238E27FC236}">
                  <a16:creationId xmlns:a16="http://schemas.microsoft.com/office/drawing/2014/main" id="{408BB1EF-5241-8EDB-F85D-CE96C4A0220D}"/>
                </a:ext>
              </a:extLst>
            </p:cNvPr>
            <p:cNvSpPr/>
            <p:nvPr/>
          </p:nvSpPr>
          <p:spPr>
            <a:xfrm>
              <a:off x="2199828" y="1418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5" name="Google Shape;7102;p64">
              <a:extLst>
                <a:ext uri="{FF2B5EF4-FFF2-40B4-BE49-F238E27FC236}">
                  <a16:creationId xmlns:a16="http://schemas.microsoft.com/office/drawing/2014/main" id="{F32BB289-5D44-6E46-3AAF-EC6F02E1B3A9}"/>
                </a:ext>
              </a:extLst>
            </p:cNvPr>
            <p:cNvSpPr/>
            <p:nvPr/>
          </p:nvSpPr>
          <p:spPr>
            <a:xfrm>
              <a:off x="2200683" y="141893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6" name="Google Shape;7103;p64">
              <a:extLst>
                <a:ext uri="{FF2B5EF4-FFF2-40B4-BE49-F238E27FC236}">
                  <a16:creationId xmlns:a16="http://schemas.microsoft.com/office/drawing/2014/main" id="{C5259304-6D1F-CD00-F7BF-8877FD3BA979}"/>
                </a:ext>
              </a:extLst>
            </p:cNvPr>
            <p:cNvSpPr/>
            <p:nvPr/>
          </p:nvSpPr>
          <p:spPr>
            <a:xfrm>
              <a:off x="2133705" y="15405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7" name="Google Shape;7104;p64">
              <a:extLst>
                <a:ext uri="{FF2B5EF4-FFF2-40B4-BE49-F238E27FC236}">
                  <a16:creationId xmlns:a16="http://schemas.microsoft.com/office/drawing/2014/main" id="{BF204F67-3CBA-5881-BCC8-8293EDB61F48}"/>
                </a:ext>
              </a:extLst>
            </p:cNvPr>
            <p:cNvSpPr/>
            <p:nvPr/>
          </p:nvSpPr>
          <p:spPr>
            <a:xfrm>
              <a:off x="2134275" y="154066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8" name="Google Shape;7105;p64">
              <a:extLst>
                <a:ext uri="{FF2B5EF4-FFF2-40B4-BE49-F238E27FC236}">
                  <a16:creationId xmlns:a16="http://schemas.microsoft.com/office/drawing/2014/main" id="{58F3C5E6-C4AB-2E60-E050-C5418A6A95E7}"/>
                </a:ext>
              </a:extLst>
            </p:cNvPr>
            <p:cNvSpPr/>
            <p:nvPr/>
          </p:nvSpPr>
          <p:spPr>
            <a:xfrm>
              <a:off x="3024851" y="1777922"/>
              <a:ext cx="15655" cy="12165"/>
            </a:xfrm>
            <a:custGeom>
              <a:avLst/>
              <a:gdLst/>
              <a:ahLst/>
              <a:cxnLst/>
              <a:rect l="l" t="t" r="r" b="b"/>
              <a:pathLst>
                <a:path w="1153" h="896" extrusionOk="0">
                  <a:moveTo>
                    <a:pt x="939" y="0"/>
                  </a:moveTo>
                  <a:cubicBezTo>
                    <a:pt x="840" y="0"/>
                    <a:pt x="749" y="35"/>
                    <a:pt x="732" y="83"/>
                  </a:cubicBezTo>
                  <a:cubicBezTo>
                    <a:pt x="673" y="244"/>
                    <a:pt x="533" y="248"/>
                    <a:pt x="386" y="251"/>
                  </a:cubicBezTo>
                  <a:cubicBezTo>
                    <a:pt x="312" y="255"/>
                    <a:pt x="239" y="258"/>
                    <a:pt x="165" y="272"/>
                  </a:cubicBezTo>
                  <a:cubicBezTo>
                    <a:pt x="74" y="290"/>
                    <a:pt x="22" y="433"/>
                    <a:pt x="11" y="570"/>
                  </a:cubicBezTo>
                  <a:cubicBezTo>
                    <a:pt x="1" y="731"/>
                    <a:pt x="46" y="857"/>
                    <a:pt x="92" y="871"/>
                  </a:cubicBezTo>
                  <a:cubicBezTo>
                    <a:pt x="140" y="887"/>
                    <a:pt x="177" y="895"/>
                    <a:pt x="205" y="895"/>
                  </a:cubicBezTo>
                  <a:cubicBezTo>
                    <a:pt x="224" y="895"/>
                    <a:pt x="240" y="892"/>
                    <a:pt x="253" y="885"/>
                  </a:cubicBezTo>
                  <a:cubicBezTo>
                    <a:pt x="288" y="857"/>
                    <a:pt x="309" y="818"/>
                    <a:pt x="316" y="773"/>
                  </a:cubicBezTo>
                  <a:cubicBezTo>
                    <a:pt x="340" y="675"/>
                    <a:pt x="410" y="591"/>
                    <a:pt x="505" y="552"/>
                  </a:cubicBezTo>
                  <a:cubicBezTo>
                    <a:pt x="564" y="524"/>
                    <a:pt x="628" y="510"/>
                    <a:pt x="692" y="510"/>
                  </a:cubicBezTo>
                  <a:cubicBezTo>
                    <a:pt x="755" y="510"/>
                    <a:pt x="818" y="524"/>
                    <a:pt x="876" y="552"/>
                  </a:cubicBezTo>
                  <a:cubicBezTo>
                    <a:pt x="879" y="554"/>
                    <a:pt x="887" y="557"/>
                    <a:pt x="900" y="557"/>
                  </a:cubicBezTo>
                  <a:cubicBezTo>
                    <a:pt x="913" y="557"/>
                    <a:pt x="930" y="554"/>
                    <a:pt x="953" y="542"/>
                  </a:cubicBezTo>
                  <a:cubicBezTo>
                    <a:pt x="1058" y="475"/>
                    <a:pt x="1152" y="279"/>
                    <a:pt x="1152" y="125"/>
                  </a:cubicBezTo>
                  <a:cubicBezTo>
                    <a:pt x="1152" y="41"/>
                    <a:pt x="1051" y="13"/>
                    <a:pt x="1009" y="6"/>
                  </a:cubicBezTo>
                  <a:cubicBezTo>
                    <a:pt x="986" y="2"/>
                    <a:pt x="962" y="0"/>
                    <a:pt x="9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9" name="Google Shape;7106;p64">
              <a:extLst>
                <a:ext uri="{FF2B5EF4-FFF2-40B4-BE49-F238E27FC236}">
                  <a16:creationId xmlns:a16="http://schemas.microsoft.com/office/drawing/2014/main" id="{5BC172C4-4746-4FC0-4467-EABFA12E8D4B}"/>
                </a:ext>
              </a:extLst>
            </p:cNvPr>
            <p:cNvSpPr/>
            <p:nvPr/>
          </p:nvSpPr>
          <p:spPr>
            <a:xfrm>
              <a:off x="3003846" y="1783461"/>
              <a:ext cx="16795" cy="20366"/>
            </a:xfrm>
            <a:custGeom>
              <a:avLst/>
              <a:gdLst/>
              <a:ahLst/>
              <a:cxnLst/>
              <a:rect l="l" t="t" r="r" b="b"/>
              <a:pathLst>
                <a:path w="1237" h="1500" extrusionOk="0">
                  <a:moveTo>
                    <a:pt x="635" y="0"/>
                  </a:moveTo>
                  <a:cubicBezTo>
                    <a:pt x="574" y="0"/>
                    <a:pt x="441" y="49"/>
                    <a:pt x="266" y="176"/>
                  </a:cubicBezTo>
                  <a:lnTo>
                    <a:pt x="200" y="221"/>
                  </a:lnTo>
                  <a:cubicBezTo>
                    <a:pt x="4" y="365"/>
                    <a:pt x="0" y="372"/>
                    <a:pt x="60" y="477"/>
                  </a:cubicBezTo>
                  <a:cubicBezTo>
                    <a:pt x="63" y="487"/>
                    <a:pt x="84" y="522"/>
                    <a:pt x="102" y="522"/>
                  </a:cubicBezTo>
                  <a:cubicBezTo>
                    <a:pt x="133" y="519"/>
                    <a:pt x="203" y="449"/>
                    <a:pt x="245" y="326"/>
                  </a:cubicBezTo>
                  <a:cubicBezTo>
                    <a:pt x="270" y="263"/>
                    <a:pt x="308" y="246"/>
                    <a:pt x="333" y="242"/>
                  </a:cubicBezTo>
                  <a:lnTo>
                    <a:pt x="347" y="242"/>
                  </a:lnTo>
                  <a:cubicBezTo>
                    <a:pt x="382" y="246"/>
                    <a:pt x="413" y="263"/>
                    <a:pt x="434" y="295"/>
                  </a:cubicBezTo>
                  <a:cubicBezTo>
                    <a:pt x="511" y="407"/>
                    <a:pt x="557" y="708"/>
                    <a:pt x="448" y="928"/>
                  </a:cubicBezTo>
                  <a:cubicBezTo>
                    <a:pt x="371" y="1093"/>
                    <a:pt x="385" y="1289"/>
                    <a:pt x="483" y="1439"/>
                  </a:cubicBezTo>
                  <a:cubicBezTo>
                    <a:pt x="503" y="1465"/>
                    <a:pt x="537" y="1500"/>
                    <a:pt x="575" y="1500"/>
                  </a:cubicBezTo>
                  <a:cubicBezTo>
                    <a:pt x="578" y="1500"/>
                    <a:pt x="581" y="1500"/>
                    <a:pt x="585" y="1499"/>
                  </a:cubicBezTo>
                  <a:cubicBezTo>
                    <a:pt x="648" y="1485"/>
                    <a:pt x="774" y="1254"/>
                    <a:pt x="868" y="1082"/>
                  </a:cubicBezTo>
                  <a:cubicBezTo>
                    <a:pt x="952" y="914"/>
                    <a:pt x="1050" y="753"/>
                    <a:pt x="1163" y="599"/>
                  </a:cubicBezTo>
                  <a:cubicBezTo>
                    <a:pt x="1236" y="505"/>
                    <a:pt x="1233" y="477"/>
                    <a:pt x="1233" y="477"/>
                  </a:cubicBezTo>
                  <a:cubicBezTo>
                    <a:pt x="1215" y="466"/>
                    <a:pt x="1198" y="456"/>
                    <a:pt x="1180" y="452"/>
                  </a:cubicBezTo>
                  <a:cubicBezTo>
                    <a:pt x="1124" y="428"/>
                    <a:pt x="1033" y="393"/>
                    <a:pt x="1033" y="284"/>
                  </a:cubicBezTo>
                  <a:cubicBezTo>
                    <a:pt x="1033" y="253"/>
                    <a:pt x="970" y="228"/>
                    <a:pt x="889" y="200"/>
                  </a:cubicBezTo>
                  <a:cubicBezTo>
                    <a:pt x="795" y="169"/>
                    <a:pt x="676" y="130"/>
                    <a:pt x="662" y="18"/>
                  </a:cubicBezTo>
                  <a:cubicBezTo>
                    <a:pt x="662" y="8"/>
                    <a:pt x="658" y="4"/>
                    <a:pt x="658" y="4"/>
                  </a:cubicBezTo>
                  <a:cubicBezTo>
                    <a:pt x="653" y="2"/>
                    <a:pt x="645" y="0"/>
                    <a:pt x="6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0" name="Google Shape;7107;p64">
              <a:extLst>
                <a:ext uri="{FF2B5EF4-FFF2-40B4-BE49-F238E27FC236}">
                  <a16:creationId xmlns:a16="http://schemas.microsoft.com/office/drawing/2014/main" id="{D82CE6A6-D9F9-8E62-6E60-331CB5BE55C8}"/>
                </a:ext>
              </a:extLst>
            </p:cNvPr>
            <p:cNvSpPr/>
            <p:nvPr/>
          </p:nvSpPr>
          <p:spPr>
            <a:xfrm>
              <a:off x="3013581" y="1718520"/>
              <a:ext cx="82443" cy="64127"/>
            </a:xfrm>
            <a:custGeom>
              <a:avLst/>
              <a:gdLst/>
              <a:ahLst/>
              <a:cxnLst/>
              <a:rect l="l" t="t" r="r" b="b"/>
              <a:pathLst>
                <a:path w="6072" h="4723" extrusionOk="0">
                  <a:moveTo>
                    <a:pt x="5648" y="0"/>
                  </a:moveTo>
                  <a:cubicBezTo>
                    <a:pt x="5557" y="0"/>
                    <a:pt x="5329" y="141"/>
                    <a:pt x="5228" y="204"/>
                  </a:cubicBezTo>
                  <a:cubicBezTo>
                    <a:pt x="5172" y="243"/>
                    <a:pt x="5119" y="275"/>
                    <a:pt x="5084" y="292"/>
                  </a:cubicBezTo>
                  <a:cubicBezTo>
                    <a:pt x="5028" y="320"/>
                    <a:pt x="4955" y="464"/>
                    <a:pt x="4937" y="632"/>
                  </a:cubicBezTo>
                  <a:cubicBezTo>
                    <a:pt x="4923" y="761"/>
                    <a:pt x="4948" y="870"/>
                    <a:pt x="5000" y="912"/>
                  </a:cubicBezTo>
                  <a:cubicBezTo>
                    <a:pt x="5140" y="1027"/>
                    <a:pt x="5025" y="1181"/>
                    <a:pt x="4923" y="1321"/>
                  </a:cubicBezTo>
                  <a:cubicBezTo>
                    <a:pt x="4839" y="1433"/>
                    <a:pt x="4741" y="1563"/>
                    <a:pt x="4748" y="1685"/>
                  </a:cubicBezTo>
                  <a:cubicBezTo>
                    <a:pt x="4759" y="1895"/>
                    <a:pt x="4640" y="1990"/>
                    <a:pt x="4545" y="2063"/>
                  </a:cubicBezTo>
                  <a:cubicBezTo>
                    <a:pt x="4478" y="2116"/>
                    <a:pt x="4422" y="2161"/>
                    <a:pt x="4405" y="2238"/>
                  </a:cubicBezTo>
                  <a:cubicBezTo>
                    <a:pt x="4370" y="2407"/>
                    <a:pt x="4265" y="2456"/>
                    <a:pt x="4142" y="2512"/>
                  </a:cubicBezTo>
                  <a:cubicBezTo>
                    <a:pt x="4051" y="2554"/>
                    <a:pt x="3964" y="2603"/>
                    <a:pt x="3880" y="2666"/>
                  </a:cubicBezTo>
                  <a:cubicBezTo>
                    <a:pt x="3786" y="2738"/>
                    <a:pt x="3707" y="2761"/>
                    <a:pt x="3645" y="2761"/>
                  </a:cubicBezTo>
                  <a:cubicBezTo>
                    <a:pt x="3574" y="2761"/>
                    <a:pt x="3524" y="2732"/>
                    <a:pt x="3498" y="2711"/>
                  </a:cubicBezTo>
                  <a:cubicBezTo>
                    <a:pt x="3428" y="2652"/>
                    <a:pt x="3393" y="2564"/>
                    <a:pt x="3407" y="2477"/>
                  </a:cubicBezTo>
                  <a:lnTo>
                    <a:pt x="3407" y="2477"/>
                  </a:lnTo>
                  <a:cubicBezTo>
                    <a:pt x="3355" y="2501"/>
                    <a:pt x="3309" y="2536"/>
                    <a:pt x="3271" y="2578"/>
                  </a:cubicBezTo>
                  <a:cubicBezTo>
                    <a:pt x="3190" y="2655"/>
                    <a:pt x="3148" y="2760"/>
                    <a:pt x="3148" y="2869"/>
                  </a:cubicBezTo>
                  <a:cubicBezTo>
                    <a:pt x="3159" y="3100"/>
                    <a:pt x="2991" y="3219"/>
                    <a:pt x="2882" y="3296"/>
                  </a:cubicBezTo>
                  <a:cubicBezTo>
                    <a:pt x="2847" y="3320"/>
                    <a:pt x="2795" y="3355"/>
                    <a:pt x="2791" y="3373"/>
                  </a:cubicBezTo>
                  <a:cubicBezTo>
                    <a:pt x="2791" y="3376"/>
                    <a:pt x="2795" y="3380"/>
                    <a:pt x="2795" y="3383"/>
                  </a:cubicBezTo>
                  <a:cubicBezTo>
                    <a:pt x="2837" y="3436"/>
                    <a:pt x="2833" y="3509"/>
                    <a:pt x="2791" y="3562"/>
                  </a:cubicBezTo>
                  <a:cubicBezTo>
                    <a:pt x="2735" y="3631"/>
                    <a:pt x="2614" y="3670"/>
                    <a:pt x="2515" y="3670"/>
                  </a:cubicBezTo>
                  <a:cubicBezTo>
                    <a:pt x="2477" y="3670"/>
                    <a:pt x="2443" y="3664"/>
                    <a:pt x="2416" y="3653"/>
                  </a:cubicBezTo>
                  <a:cubicBezTo>
                    <a:pt x="2364" y="3635"/>
                    <a:pt x="2329" y="3583"/>
                    <a:pt x="2336" y="3527"/>
                  </a:cubicBezTo>
                  <a:cubicBezTo>
                    <a:pt x="2331" y="3525"/>
                    <a:pt x="2320" y="3523"/>
                    <a:pt x="2301" y="3523"/>
                  </a:cubicBezTo>
                  <a:cubicBezTo>
                    <a:pt x="2242" y="3523"/>
                    <a:pt x="2098" y="3545"/>
                    <a:pt x="1762" y="3677"/>
                  </a:cubicBezTo>
                  <a:cubicBezTo>
                    <a:pt x="1678" y="3710"/>
                    <a:pt x="1601" y="3721"/>
                    <a:pt x="1529" y="3721"/>
                  </a:cubicBezTo>
                  <a:cubicBezTo>
                    <a:pt x="1431" y="3721"/>
                    <a:pt x="1343" y="3699"/>
                    <a:pt x="1268" y="3681"/>
                  </a:cubicBezTo>
                  <a:cubicBezTo>
                    <a:pt x="1201" y="3664"/>
                    <a:pt x="1150" y="3653"/>
                    <a:pt x="1107" y="3653"/>
                  </a:cubicBezTo>
                  <a:cubicBezTo>
                    <a:pt x="1058" y="3653"/>
                    <a:pt x="1019" y="3668"/>
                    <a:pt x="978" y="3709"/>
                  </a:cubicBezTo>
                  <a:lnTo>
                    <a:pt x="939" y="3747"/>
                  </a:lnTo>
                  <a:cubicBezTo>
                    <a:pt x="715" y="3971"/>
                    <a:pt x="379" y="4311"/>
                    <a:pt x="102" y="4360"/>
                  </a:cubicBezTo>
                  <a:cubicBezTo>
                    <a:pt x="32" y="4374"/>
                    <a:pt x="1" y="4405"/>
                    <a:pt x="4" y="4458"/>
                  </a:cubicBezTo>
                  <a:cubicBezTo>
                    <a:pt x="8" y="4500"/>
                    <a:pt x="29" y="4535"/>
                    <a:pt x="64" y="4556"/>
                  </a:cubicBezTo>
                  <a:cubicBezTo>
                    <a:pt x="162" y="4507"/>
                    <a:pt x="281" y="4500"/>
                    <a:pt x="386" y="4497"/>
                  </a:cubicBezTo>
                  <a:cubicBezTo>
                    <a:pt x="488" y="4490"/>
                    <a:pt x="600" y="4486"/>
                    <a:pt x="638" y="4430"/>
                  </a:cubicBezTo>
                  <a:cubicBezTo>
                    <a:pt x="764" y="4237"/>
                    <a:pt x="1639" y="4076"/>
                    <a:pt x="2063" y="4062"/>
                  </a:cubicBezTo>
                  <a:lnTo>
                    <a:pt x="2108" y="4062"/>
                  </a:lnTo>
                  <a:cubicBezTo>
                    <a:pt x="2252" y="4062"/>
                    <a:pt x="2336" y="4087"/>
                    <a:pt x="2381" y="4146"/>
                  </a:cubicBezTo>
                  <a:cubicBezTo>
                    <a:pt x="2438" y="4216"/>
                    <a:pt x="2409" y="4307"/>
                    <a:pt x="2385" y="4398"/>
                  </a:cubicBezTo>
                  <a:cubicBezTo>
                    <a:pt x="2364" y="4465"/>
                    <a:pt x="2353" y="4535"/>
                    <a:pt x="2357" y="4605"/>
                  </a:cubicBezTo>
                  <a:cubicBezTo>
                    <a:pt x="2360" y="4658"/>
                    <a:pt x="2395" y="4700"/>
                    <a:pt x="2448" y="4714"/>
                  </a:cubicBezTo>
                  <a:cubicBezTo>
                    <a:pt x="2467" y="4719"/>
                    <a:pt x="2490" y="4722"/>
                    <a:pt x="2514" y="4722"/>
                  </a:cubicBezTo>
                  <a:cubicBezTo>
                    <a:pt x="2627" y="4722"/>
                    <a:pt x="2783" y="4662"/>
                    <a:pt x="2889" y="4539"/>
                  </a:cubicBezTo>
                  <a:cubicBezTo>
                    <a:pt x="2945" y="4472"/>
                    <a:pt x="3012" y="4409"/>
                    <a:pt x="3082" y="4356"/>
                  </a:cubicBezTo>
                  <a:cubicBezTo>
                    <a:pt x="3103" y="4339"/>
                    <a:pt x="3120" y="4325"/>
                    <a:pt x="3138" y="4304"/>
                  </a:cubicBezTo>
                  <a:cubicBezTo>
                    <a:pt x="3124" y="4286"/>
                    <a:pt x="3110" y="4272"/>
                    <a:pt x="3092" y="4258"/>
                  </a:cubicBezTo>
                  <a:cubicBezTo>
                    <a:pt x="2987" y="4174"/>
                    <a:pt x="2994" y="4094"/>
                    <a:pt x="3005" y="4062"/>
                  </a:cubicBezTo>
                  <a:cubicBezTo>
                    <a:pt x="3019" y="4010"/>
                    <a:pt x="3061" y="3971"/>
                    <a:pt x="3117" y="3964"/>
                  </a:cubicBezTo>
                  <a:cubicBezTo>
                    <a:pt x="3125" y="3963"/>
                    <a:pt x="3133" y="3962"/>
                    <a:pt x="3142" y="3962"/>
                  </a:cubicBezTo>
                  <a:cubicBezTo>
                    <a:pt x="3204" y="3962"/>
                    <a:pt x="3287" y="3996"/>
                    <a:pt x="3348" y="4090"/>
                  </a:cubicBezTo>
                  <a:cubicBezTo>
                    <a:pt x="3397" y="4160"/>
                    <a:pt x="3502" y="4206"/>
                    <a:pt x="3614" y="4206"/>
                  </a:cubicBezTo>
                  <a:lnTo>
                    <a:pt x="3621" y="4206"/>
                  </a:lnTo>
                  <a:cubicBezTo>
                    <a:pt x="3624" y="4206"/>
                    <a:pt x="3627" y="4206"/>
                    <a:pt x="3631" y="4206"/>
                  </a:cubicBezTo>
                  <a:cubicBezTo>
                    <a:pt x="3753" y="4206"/>
                    <a:pt x="3868" y="4144"/>
                    <a:pt x="3936" y="4045"/>
                  </a:cubicBezTo>
                  <a:cubicBezTo>
                    <a:pt x="3985" y="3961"/>
                    <a:pt x="4034" y="3919"/>
                    <a:pt x="4090" y="3912"/>
                  </a:cubicBezTo>
                  <a:cubicBezTo>
                    <a:pt x="4097" y="3911"/>
                    <a:pt x="4105" y="3910"/>
                    <a:pt x="4111" y="3910"/>
                  </a:cubicBezTo>
                  <a:cubicBezTo>
                    <a:pt x="4170" y="3910"/>
                    <a:pt x="4214" y="3947"/>
                    <a:pt x="4254" y="3982"/>
                  </a:cubicBezTo>
                  <a:cubicBezTo>
                    <a:pt x="4298" y="4018"/>
                    <a:pt x="4338" y="4049"/>
                    <a:pt x="4381" y="4049"/>
                  </a:cubicBezTo>
                  <a:cubicBezTo>
                    <a:pt x="4383" y="4049"/>
                    <a:pt x="4385" y="4049"/>
                    <a:pt x="4387" y="4048"/>
                  </a:cubicBezTo>
                  <a:cubicBezTo>
                    <a:pt x="4461" y="4041"/>
                    <a:pt x="4542" y="3891"/>
                    <a:pt x="4584" y="3810"/>
                  </a:cubicBezTo>
                  <a:cubicBezTo>
                    <a:pt x="4621" y="3738"/>
                    <a:pt x="4648" y="3686"/>
                    <a:pt x="4696" y="3686"/>
                  </a:cubicBezTo>
                  <a:cubicBezTo>
                    <a:pt x="4701" y="3686"/>
                    <a:pt x="4707" y="3686"/>
                    <a:pt x="4713" y="3688"/>
                  </a:cubicBezTo>
                  <a:cubicBezTo>
                    <a:pt x="4773" y="3698"/>
                    <a:pt x="4780" y="3761"/>
                    <a:pt x="4780" y="3782"/>
                  </a:cubicBezTo>
                  <a:cubicBezTo>
                    <a:pt x="4780" y="3803"/>
                    <a:pt x="4794" y="3821"/>
                    <a:pt x="4815" y="3828"/>
                  </a:cubicBezTo>
                  <a:cubicBezTo>
                    <a:pt x="4828" y="3832"/>
                    <a:pt x="4843" y="3835"/>
                    <a:pt x="4860" y="3835"/>
                  </a:cubicBezTo>
                  <a:cubicBezTo>
                    <a:pt x="4948" y="3835"/>
                    <a:pt x="5083" y="3775"/>
                    <a:pt x="5186" y="3663"/>
                  </a:cubicBezTo>
                  <a:cubicBezTo>
                    <a:pt x="5273" y="3569"/>
                    <a:pt x="5266" y="3425"/>
                    <a:pt x="5263" y="3275"/>
                  </a:cubicBezTo>
                  <a:cubicBezTo>
                    <a:pt x="5259" y="3142"/>
                    <a:pt x="5252" y="3002"/>
                    <a:pt x="5322" y="2897"/>
                  </a:cubicBezTo>
                  <a:cubicBezTo>
                    <a:pt x="5448" y="2708"/>
                    <a:pt x="5564" y="2337"/>
                    <a:pt x="5448" y="2123"/>
                  </a:cubicBezTo>
                  <a:cubicBezTo>
                    <a:pt x="5329" y="1895"/>
                    <a:pt x="5560" y="1738"/>
                    <a:pt x="5763" y="1598"/>
                  </a:cubicBezTo>
                  <a:cubicBezTo>
                    <a:pt x="5833" y="1552"/>
                    <a:pt x="5900" y="1500"/>
                    <a:pt x="5963" y="1447"/>
                  </a:cubicBezTo>
                  <a:cubicBezTo>
                    <a:pt x="6071" y="1349"/>
                    <a:pt x="5917" y="866"/>
                    <a:pt x="5816" y="548"/>
                  </a:cubicBezTo>
                  <a:cubicBezTo>
                    <a:pt x="5749" y="334"/>
                    <a:pt x="5690" y="152"/>
                    <a:pt x="5683" y="43"/>
                  </a:cubicBezTo>
                  <a:cubicBezTo>
                    <a:pt x="5683" y="26"/>
                    <a:pt x="5679" y="8"/>
                    <a:pt x="5672" y="5"/>
                  </a:cubicBezTo>
                  <a:cubicBezTo>
                    <a:pt x="5666" y="2"/>
                    <a:pt x="5658" y="0"/>
                    <a:pt x="56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1" name="Google Shape;7108;p64">
              <a:extLst>
                <a:ext uri="{FF2B5EF4-FFF2-40B4-BE49-F238E27FC236}">
                  <a16:creationId xmlns:a16="http://schemas.microsoft.com/office/drawing/2014/main" id="{B41B2FFF-09C5-69FC-561A-862BDB9B0119}"/>
                </a:ext>
              </a:extLst>
            </p:cNvPr>
            <p:cNvSpPr/>
            <p:nvPr/>
          </p:nvSpPr>
          <p:spPr>
            <a:xfrm>
              <a:off x="3080939" y="1680503"/>
              <a:ext cx="45973" cy="34283"/>
            </a:xfrm>
            <a:custGeom>
              <a:avLst/>
              <a:gdLst/>
              <a:ahLst/>
              <a:cxnLst/>
              <a:rect l="l" t="t" r="r" b="b"/>
              <a:pathLst>
                <a:path w="3386" h="2525" extrusionOk="0">
                  <a:moveTo>
                    <a:pt x="1100" y="1"/>
                  </a:moveTo>
                  <a:cubicBezTo>
                    <a:pt x="1058" y="4"/>
                    <a:pt x="1019" y="29"/>
                    <a:pt x="1002" y="71"/>
                  </a:cubicBezTo>
                  <a:cubicBezTo>
                    <a:pt x="984" y="109"/>
                    <a:pt x="991" y="158"/>
                    <a:pt x="1023" y="190"/>
                  </a:cubicBezTo>
                  <a:cubicBezTo>
                    <a:pt x="1142" y="344"/>
                    <a:pt x="1100" y="449"/>
                    <a:pt x="1058" y="550"/>
                  </a:cubicBezTo>
                  <a:cubicBezTo>
                    <a:pt x="1023" y="627"/>
                    <a:pt x="1005" y="711"/>
                    <a:pt x="1002" y="795"/>
                  </a:cubicBezTo>
                  <a:cubicBezTo>
                    <a:pt x="1005" y="914"/>
                    <a:pt x="967" y="1030"/>
                    <a:pt x="890" y="1121"/>
                  </a:cubicBezTo>
                  <a:cubicBezTo>
                    <a:pt x="851" y="1174"/>
                    <a:pt x="830" y="1205"/>
                    <a:pt x="841" y="1268"/>
                  </a:cubicBezTo>
                  <a:cubicBezTo>
                    <a:pt x="851" y="1321"/>
                    <a:pt x="841" y="1373"/>
                    <a:pt x="809" y="1415"/>
                  </a:cubicBezTo>
                  <a:cubicBezTo>
                    <a:pt x="743" y="1503"/>
                    <a:pt x="603" y="1513"/>
                    <a:pt x="466" y="1524"/>
                  </a:cubicBezTo>
                  <a:cubicBezTo>
                    <a:pt x="421" y="1527"/>
                    <a:pt x="375" y="1531"/>
                    <a:pt x="333" y="1538"/>
                  </a:cubicBezTo>
                  <a:cubicBezTo>
                    <a:pt x="295" y="1545"/>
                    <a:pt x="295" y="1548"/>
                    <a:pt x="295" y="1608"/>
                  </a:cubicBezTo>
                  <a:cubicBezTo>
                    <a:pt x="295" y="1678"/>
                    <a:pt x="295" y="1797"/>
                    <a:pt x="137" y="1863"/>
                  </a:cubicBezTo>
                  <a:cubicBezTo>
                    <a:pt x="53" y="1898"/>
                    <a:pt x="4" y="1947"/>
                    <a:pt x="1" y="1993"/>
                  </a:cubicBezTo>
                  <a:cubicBezTo>
                    <a:pt x="1" y="2024"/>
                    <a:pt x="18" y="2056"/>
                    <a:pt x="50" y="2070"/>
                  </a:cubicBezTo>
                  <a:cubicBezTo>
                    <a:pt x="186" y="2147"/>
                    <a:pt x="137" y="2332"/>
                    <a:pt x="99" y="2483"/>
                  </a:cubicBezTo>
                  <a:lnTo>
                    <a:pt x="88" y="2525"/>
                  </a:lnTo>
                  <a:cubicBezTo>
                    <a:pt x="144" y="2486"/>
                    <a:pt x="197" y="2441"/>
                    <a:pt x="242" y="2388"/>
                  </a:cubicBezTo>
                  <a:cubicBezTo>
                    <a:pt x="292" y="2331"/>
                    <a:pt x="346" y="2314"/>
                    <a:pt x="393" y="2314"/>
                  </a:cubicBezTo>
                  <a:cubicBezTo>
                    <a:pt x="439" y="2314"/>
                    <a:pt x="479" y="2329"/>
                    <a:pt x="508" y="2339"/>
                  </a:cubicBezTo>
                  <a:lnTo>
                    <a:pt x="519" y="2343"/>
                  </a:lnTo>
                  <a:cubicBezTo>
                    <a:pt x="508" y="2304"/>
                    <a:pt x="445" y="2259"/>
                    <a:pt x="386" y="2217"/>
                  </a:cubicBezTo>
                  <a:cubicBezTo>
                    <a:pt x="291" y="2150"/>
                    <a:pt x="183" y="2077"/>
                    <a:pt x="193" y="1958"/>
                  </a:cubicBezTo>
                  <a:cubicBezTo>
                    <a:pt x="197" y="1919"/>
                    <a:pt x="214" y="1884"/>
                    <a:pt x="246" y="1860"/>
                  </a:cubicBezTo>
                  <a:cubicBezTo>
                    <a:pt x="270" y="1842"/>
                    <a:pt x="299" y="1835"/>
                    <a:pt x="330" y="1835"/>
                  </a:cubicBezTo>
                  <a:cubicBezTo>
                    <a:pt x="365" y="1835"/>
                    <a:pt x="404" y="1843"/>
                    <a:pt x="445" y="1853"/>
                  </a:cubicBezTo>
                  <a:cubicBezTo>
                    <a:pt x="490" y="1863"/>
                    <a:pt x="541" y="1877"/>
                    <a:pt x="591" y="1877"/>
                  </a:cubicBezTo>
                  <a:cubicBezTo>
                    <a:pt x="623" y="1877"/>
                    <a:pt x="655" y="1871"/>
                    <a:pt x="683" y="1856"/>
                  </a:cubicBezTo>
                  <a:cubicBezTo>
                    <a:pt x="747" y="1824"/>
                    <a:pt x="826" y="1810"/>
                    <a:pt x="913" y="1810"/>
                  </a:cubicBezTo>
                  <a:cubicBezTo>
                    <a:pt x="1133" y="1810"/>
                    <a:pt x="1399" y="1904"/>
                    <a:pt x="1579" y="2059"/>
                  </a:cubicBezTo>
                  <a:cubicBezTo>
                    <a:pt x="1695" y="2159"/>
                    <a:pt x="1741" y="2164"/>
                    <a:pt x="1752" y="2164"/>
                  </a:cubicBezTo>
                  <a:cubicBezTo>
                    <a:pt x="1753" y="2164"/>
                    <a:pt x="1754" y="2164"/>
                    <a:pt x="1755" y="2164"/>
                  </a:cubicBezTo>
                  <a:cubicBezTo>
                    <a:pt x="1769" y="2157"/>
                    <a:pt x="1800" y="2126"/>
                    <a:pt x="1828" y="1968"/>
                  </a:cubicBezTo>
                  <a:cubicBezTo>
                    <a:pt x="1884" y="1657"/>
                    <a:pt x="2308" y="1545"/>
                    <a:pt x="2682" y="1545"/>
                  </a:cubicBezTo>
                  <a:cubicBezTo>
                    <a:pt x="2885" y="1545"/>
                    <a:pt x="2955" y="1489"/>
                    <a:pt x="2966" y="1457"/>
                  </a:cubicBezTo>
                  <a:cubicBezTo>
                    <a:pt x="2973" y="1436"/>
                    <a:pt x="2955" y="1415"/>
                    <a:pt x="2938" y="1401"/>
                  </a:cubicBezTo>
                  <a:cubicBezTo>
                    <a:pt x="2913" y="1384"/>
                    <a:pt x="2899" y="1359"/>
                    <a:pt x="2896" y="1331"/>
                  </a:cubicBezTo>
                  <a:cubicBezTo>
                    <a:pt x="2892" y="1247"/>
                    <a:pt x="2987" y="1156"/>
                    <a:pt x="3221" y="953"/>
                  </a:cubicBezTo>
                  <a:cubicBezTo>
                    <a:pt x="3270" y="914"/>
                    <a:pt x="3330" y="858"/>
                    <a:pt x="3386" y="809"/>
                  </a:cubicBezTo>
                  <a:lnTo>
                    <a:pt x="3386" y="809"/>
                  </a:lnTo>
                  <a:cubicBezTo>
                    <a:pt x="3305" y="861"/>
                    <a:pt x="3214" y="913"/>
                    <a:pt x="3136" y="913"/>
                  </a:cubicBezTo>
                  <a:cubicBezTo>
                    <a:pt x="3091" y="913"/>
                    <a:pt x="3051" y="896"/>
                    <a:pt x="3018" y="855"/>
                  </a:cubicBezTo>
                  <a:cubicBezTo>
                    <a:pt x="3007" y="839"/>
                    <a:pt x="2993" y="831"/>
                    <a:pt x="2974" y="831"/>
                  </a:cubicBezTo>
                  <a:cubicBezTo>
                    <a:pt x="2942" y="831"/>
                    <a:pt x="2894" y="853"/>
                    <a:pt x="2808" y="897"/>
                  </a:cubicBezTo>
                  <a:cubicBezTo>
                    <a:pt x="2721" y="946"/>
                    <a:pt x="2630" y="981"/>
                    <a:pt x="2535" y="1006"/>
                  </a:cubicBezTo>
                  <a:cubicBezTo>
                    <a:pt x="2523" y="1008"/>
                    <a:pt x="2510" y="1009"/>
                    <a:pt x="2497" y="1009"/>
                  </a:cubicBezTo>
                  <a:cubicBezTo>
                    <a:pt x="2177" y="1009"/>
                    <a:pt x="1443" y="364"/>
                    <a:pt x="1271" y="106"/>
                  </a:cubicBezTo>
                  <a:cubicBezTo>
                    <a:pt x="1240" y="46"/>
                    <a:pt x="1180" y="4"/>
                    <a:pt x="11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2" name="Google Shape;7109;p64">
              <a:extLst>
                <a:ext uri="{FF2B5EF4-FFF2-40B4-BE49-F238E27FC236}">
                  <a16:creationId xmlns:a16="http://schemas.microsoft.com/office/drawing/2014/main" id="{532A03E0-5A34-AF6A-4B4D-26AD455046FB}"/>
                </a:ext>
              </a:extLst>
            </p:cNvPr>
            <p:cNvSpPr/>
            <p:nvPr/>
          </p:nvSpPr>
          <p:spPr>
            <a:xfrm>
              <a:off x="2932062" y="1853304"/>
              <a:ext cx="13143" cy="22009"/>
            </a:xfrm>
            <a:custGeom>
              <a:avLst/>
              <a:gdLst/>
              <a:ahLst/>
              <a:cxnLst/>
              <a:rect l="l" t="t" r="r" b="b"/>
              <a:pathLst>
                <a:path w="968" h="1621" extrusionOk="0">
                  <a:moveTo>
                    <a:pt x="864" y="0"/>
                  </a:moveTo>
                  <a:cubicBezTo>
                    <a:pt x="846" y="0"/>
                    <a:pt x="827" y="2"/>
                    <a:pt x="806" y="6"/>
                  </a:cubicBezTo>
                  <a:cubicBezTo>
                    <a:pt x="586" y="48"/>
                    <a:pt x="222" y="311"/>
                    <a:pt x="95" y="770"/>
                  </a:cubicBezTo>
                  <a:cubicBezTo>
                    <a:pt x="1" y="1120"/>
                    <a:pt x="92" y="1354"/>
                    <a:pt x="159" y="1463"/>
                  </a:cubicBezTo>
                  <a:cubicBezTo>
                    <a:pt x="194" y="1526"/>
                    <a:pt x="243" y="1578"/>
                    <a:pt x="302" y="1620"/>
                  </a:cubicBezTo>
                  <a:cubicBezTo>
                    <a:pt x="435" y="1477"/>
                    <a:pt x="880" y="577"/>
                    <a:pt x="950" y="164"/>
                  </a:cubicBezTo>
                  <a:cubicBezTo>
                    <a:pt x="967" y="55"/>
                    <a:pt x="950" y="31"/>
                    <a:pt x="950" y="31"/>
                  </a:cubicBezTo>
                  <a:cubicBezTo>
                    <a:pt x="935" y="11"/>
                    <a:pt x="905" y="0"/>
                    <a:pt x="86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3" name="Google Shape;7110;p64">
              <a:extLst>
                <a:ext uri="{FF2B5EF4-FFF2-40B4-BE49-F238E27FC236}">
                  <a16:creationId xmlns:a16="http://schemas.microsoft.com/office/drawing/2014/main" id="{CB30A1A5-456D-A898-CC7D-1FDBEB2E2C0B}"/>
                </a:ext>
              </a:extLst>
            </p:cNvPr>
            <p:cNvSpPr/>
            <p:nvPr/>
          </p:nvSpPr>
          <p:spPr>
            <a:xfrm>
              <a:off x="2597485" y="1601971"/>
              <a:ext cx="442776" cy="287924"/>
            </a:xfrm>
            <a:custGeom>
              <a:avLst/>
              <a:gdLst/>
              <a:ahLst/>
              <a:cxnLst/>
              <a:rect l="l" t="t" r="r" b="b"/>
              <a:pathLst>
                <a:path w="32611" h="21206" extrusionOk="0">
                  <a:moveTo>
                    <a:pt x="26155" y="1"/>
                  </a:moveTo>
                  <a:cubicBezTo>
                    <a:pt x="25990" y="1"/>
                    <a:pt x="25773" y="38"/>
                    <a:pt x="25641" y="61"/>
                  </a:cubicBezTo>
                  <a:cubicBezTo>
                    <a:pt x="25585" y="71"/>
                    <a:pt x="25550" y="78"/>
                    <a:pt x="25529" y="82"/>
                  </a:cubicBezTo>
                  <a:lnTo>
                    <a:pt x="25508" y="82"/>
                  </a:lnTo>
                  <a:cubicBezTo>
                    <a:pt x="25501" y="82"/>
                    <a:pt x="25487" y="82"/>
                    <a:pt x="25466" y="78"/>
                  </a:cubicBezTo>
                  <a:cubicBezTo>
                    <a:pt x="25435" y="76"/>
                    <a:pt x="25392" y="72"/>
                    <a:pt x="25341" y="72"/>
                  </a:cubicBezTo>
                  <a:cubicBezTo>
                    <a:pt x="25198" y="72"/>
                    <a:pt x="24996" y="103"/>
                    <a:pt x="24867" y="281"/>
                  </a:cubicBezTo>
                  <a:cubicBezTo>
                    <a:pt x="24787" y="386"/>
                    <a:pt x="24772" y="435"/>
                    <a:pt x="24769" y="456"/>
                  </a:cubicBezTo>
                  <a:cubicBezTo>
                    <a:pt x="24769" y="456"/>
                    <a:pt x="24769" y="460"/>
                    <a:pt x="24769" y="463"/>
                  </a:cubicBezTo>
                  <a:cubicBezTo>
                    <a:pt x="24786" y="466"/>
                    <a:pt x="24805" y="468"/>
                    <a:pt x="24824" y="468"/>
                  </a:cubicBezTo>
                  <a:cubicBezTo>
                    <a:pt x="24831" y="468"/>
                    <a:pt x="24839" y="468"/>
                    <a:pt x="24846" y="467"/>
                  </a:cubicBezTo>
                  <a:lnTo>
                    <a:pt x="24860" y="467"/>
                  </a:lnTo>
                  <a:cubicBezTo>
                    <a:pt x="24997" y="467"/>
                    <a:pt x="25049" y="681"/>
                    <a:pt x="25088" y="912"/>
                  </a:cubicBezTo>
                  <a:cubicBezTo>
                    <a:pt x="25088" y="919"/>
                    <a:pt x="25088" y="929"/>
                    <a:pt x="25088" y="940"/>
                  </a:cubicBezTo>
                  <a:cubicBezTo>
                    <a:pt x="25084" y="1055"/>
                    <a:pt x="24937" y="1185"/>
                    <a:pt x="24843" y="1237"/>
                  </a:cubicBezTo>
                  <a:cubicBezTo>
                    <a:pt x="24829" y="1244"/>
                    <a:pt x="24818" y="1251"/>
                    <a:pt x="24804" y="1258"/>
                  </a:cubicBezTo>
                  <a:cubicBezTo>
                    <a:pt x="24744" y="1290"/>
                    <a:pt x="24534" y="1608"/>
                    <a:pt x="24503" y="1731"/>
                  </a:cubicBezTo>
                  <a:cubicBezTo>
                    <a:pt x="24489" y="1780"/>
                    <a:pt x="24468" y="1825"/>
                    <a:pt x="24440" y="1867"/>
                  </a:cubicBezTo>
                  <a:cubicBezTo>
                    <a:pt x="24422" y="1902"/>
                    <a:pt x="24401" y="1934"/>
                    <a:pt x="24380" y="1972"/>
                  </a:cubicBezTo>
                  <a:cubicBezTo>
                    <a:pt x="24335" y="2042"/>
                    <a:pt x="24296" y="2116"/>
                    <a:pt x="24261" y="2193"/>
                  </a:cubicBezTo>
                  <a:cubicBezTo>
                    <a:pt x="24247" y="2214"/>
                    <a:pt x="24244" y="2238"/>
                    <a:pt x="24244" y="2263"/>
                  </a:cubicBezTo>
                  <a:cubicBezTo>
                    <a:pt x="24258" y="2315"/>
                    <a:pt x="24247" y="2375"/>
                    <a:pt x="24216" y="2420"/>
                  </a:cubicBezTo>
                  <a:cubicBezTo>
                    <a:pt x="24149" y="2508"/>
                    <a:pt x="24055" y="2571"/>
                    <a:pt x="23946" y="2588"/>
                  </a:cubicBezTo>
                  <a:cubicBezTo>
                    <a:pt x="23894" y="2595"/>
                    <a:pt x="23757" y="2680"/>
                    <a:pt x="23656" y="2743"/>
                  </a:cubicBezTo>
                  <a:cubicBezTo>
                    <a:pt x="23589" y="2788"/>
                    <a:pt x="23516" y="2827"/>
                    <a:pt x="23442" y="2862"/>
                  </a:cubicBezTo>
                  <a:cubicBezTo>
                    <a:pt x="23421" y="2869"/>
                    <a:pt x="23388" y="2872"/>
                    <a:pt x="23349" y="2872"/>
                  </a:cubicBezTo>
                  <a:cubicBezTo>
                    <a:pt x="23235" y="2872"/>
                    <a:pt x="23063" y="2842"/>
                    <a:pt x="22945" y="2785"/>
                  </a:cubicBezTo>
                  <a:cubicBezTo>
                    <a:pt x="22893" y="2764"/>
                    <a:pt x="22854" y="2725"/>
                    <a:pt x="22826" y="2680"/>
                  </a:cubicBezTo>
                  <a:cubicBezTo>
                    <a:pt x="22826" y="2676"/>
                    <a:pt x="22823" y="2673"/>
                    <a:pt x="22823" y="2673"/>
                  </a:cubicBezTo>
                  <a:cubicBezTo>
                    <a:pt x="22816" y="2662"/>
                    <a:pt x="22809" y="2655"/>
                    <a:pt x="22805" y="2652"/>
                  </a:cubicBezTo>
                  <a:lnTo>
                    <a:pt x="22399" y="3457"/>
                  </a:lnTo>
                  <a:lnTo>
                    <a:pt x="22360" y="3772"/>
                  </a:lnTo>
                  <a:lnTo>
                    <a:pt x="22318" y="3782"/>
                  </a:lnTo>
                  <a:cubicBezTo>
                    <a:pt x="22283" y="3793"/>
                    <a:pt x="22227" y="3821"/>
                    <a:pt x="22220" y="3849"/>
                  </a:cubicBezTo>
                  <a:cubicBezTo>
                    <a:pt x="22213" y="3873"/>
                    <a:pt x="22234" y="3912"/>
                    <a:pt x="22276" y="3954"/>
                  </a:cubicBezTo>
                  <a:cubicBezTo>
                    <a:pt x="22340" y="4017"/>
                    <a:pt x="22378" y="4039"/>
                    <a:pt x="22419" y="4039"/>
                  </a:cubicBezTo>
                  <a:cubicBezTo>
                    <a:pt x="22447" y="4039"/>
                    <a:pt x="22476" y="4029"/>
                    <a:pt x="22514" y="4017"/>
                  </a:cubicBezTo>
                  <a:cubicBezTo>
                    <a:pt x="22605" y="3985"/>
                    <a:pt x="22700" y="3971"/>
                    <a:pt x="22795" y="3971"/>
                  </a:cubicBezTo>
                  <a:cubicBezTo>
                    <a:pt x="22921" y="3975"/>
                    <a:pt x="23047" y="4006"/>
                    <a:pt x="23159" y="4069"/>
                  </a:cubicBezTo>
                  <a:cubicBezTo>
                    <a:pt x="23187" y="4087"/>
                    <a:pt x="23218" y="4097"/>
                    <a:pt x="23250" y="4104"/>
                  </a:cubicBezTo>
                  <a:cubicBezTo>
                    <a:pt x="23257" y="4097"/>
                    <a:pt x="23260" y="4090"/>
                    <a:pt x="23260" y="4083"/>
                  </a:cubicBezTo>
                  <a:cubicBezTo>
                    <a:pt x="23313" y="3964"/>
                    <a:pt x="23425" y="3880"/>
                    <a:pt x="23554" y="3859"/>
                  </a:cubicBezTo>
                  <a:cubicBezTo>
                    <a:pt x="23574" y="3856"/>
                    <a:pt x="23593" y="3855"/>
                    <a:pt x="23612" y="3855"/>
                  </a:cubicBezTo>
                  <a:cubicBezTo>
                    <a:pt x="23724" y="3855"/>
                    <a:pt x="23829" y="3906"/>
                    <a:pt x="23901" y="3996"/>
                  </a:cubicBezTo>
                  <a:cubicBezTo>
                    <a:pt x="23915" y="4013"/>
                    <a:pt x="23932" y="4034"/>
                    <a:pt x="23953" y="4052"/>
                  </a:cubicBezTo>
                  <a:cubicBezTo>
                    <a:pt x="23992" y="4090"/>
                    <a:pt x="24034" y="4129"/>
                    <a:pt x="24083" y="4167"/>
                  </a:cubicBezTo>
                  <a:lnTo>
                    <a:pt x="24146" y="4220"/>
                  </a:lnTo>
                  <a:lnTo>
                    <a:pt x="24188" y="4255"/>
                  </a:lnTo>
                  <a:cubicBezTo>
                    <a:pt x="24475" y="4496"/>
                    <a:pt x="24646" y="4650"/>
                    <a:pt x="24618" y="4791"/>
                  </a:cubicBezTo>
                  <a:cubicBezTo>
                    <a:pt x="24608" y="4850"/>
                    <a:pt x="24573" y="4899"/>
                    <a:pt x="24520" y="4927"/>
                  </a:cubicBezTo>
                  <a:cubicBezTo>
                    <a:pt x="24463" y="4961"/>
                    <a:pt x="24390" y="4972"/>
                    <a:pt x="24317" y="4972"/>
                  </a:cubicBezTo>
                  <a:cubicBezTo>
                    <a:pt x="24167" y="4972"/>
                    <a:pt x="24013" y="4924"/>
                    <a:pt x="23971" y="4910"/>
                  </a:cubicBezTo>
                  <a:cubicBezTo>
                    <a:pt x="23949" y="4903"/>
                    <a:pt x="23926" y="4900"/>
                    <a:pt x="23901" y="4900"/>
                  </a:cubicBezTo>
                  <a:cubicBezTo>
                    <a:pt x="23845" y="4900"/>
                    <a:pt x="23782" y="4915"/>
                    <a:pt x="23719" y="4934"/>
                  </a:cubicBezTo>
                  <a:cubicBezTo>
                    <a:pt x="23680" y="4948"/>
                    <a:pt x="23642" y="4962"/>
                    <a:pt x="23603" y="4976"/>
                  </a:cubicBezTo>
                  <a:cubicBezTo>
                    <a:pt x="23498" y="5015"/>
                    <a:pt x="23386" y="5057"/>
                    <a:pt x="23288" y="5057"/>
                  </a:cubicBezTo>
                  <a:cubicBezTo>
                    <a:pt x="23284" y="5057"/>
                    <a:pt x="23280" y="5056"/>
                    <a:pt x="23276" y="5056"/>
                  </a:cubicBezTo>
                  <a:cubicBezTo>
                    <a:pt x="23046" y="5056"/>
                    <a:pt x="22827" y="5154"/>
                    <a:pt x="22665" y="5319"/>
                  </a:cubicBezTo>
                  <a:cubicBezTo>
                    <a:pt x="22605" y="5379"/>
                    <a:pt x="22556" y="5445"/>
                    <a:pt x="22518" y="5519"/>
                  </a:cubicBezTo>
                  <a:cubicBezTo>
                    <a:pt x="22441" y="5648"/>
                    <a:pt x="22371" y="5767"/>
                    <a:pt x="22133" y="5795"/>
                  </a:cubicBezTo>
                  <a:cubicBezTo>
                    <a:pt x="22077" y="5802"/>
                    <a:pt x="22024" y="5806"/>
                    <a:pt x="21979" y="5809"/>
                  </a:cubicBezTo>
                  <a:cubicBezTo>
                    <a:pt x="21814" y="5823"/>
                    <a:pt x="21699" y="5830"/>
                    <a:pt x="21534" y="5914"/>
                  </a:cubicBezTo>
                  <a:cubicBezTo>
                    <a:pt x="21471" y="5949"/>
                    <a:pt x="21412" y="5988"/>
                    <a:pt x="21352" y="6030"/>
                  </a:cubicBezTo>
                  <a:cubicBezTo>
                    <a:pt x="21191" y="6140"/>
                    <a:pt x="21004" y="6197"/>
                    <a:pt x="20815" y="6197"/>
                  </a:cubicBezTo>
                  <a:cubicBezTo>
                    <a:pt x="20675" y="6197"/>
                    <a:pt x="20535" y="6166"/>
                    <a:pt x="20403" y="6103"/>
                  </a:cubicBezTo>
                  <a:cubicBezTo>
                    <a:pt x="20379" y="6091"/>
                    <a:pt x="20306" y="6059"/>
                    <a:pt x="20222" y="6059"/>
                  </a:cubicBezTo>
                  <a:cubicBezTo>
                    <a:pt x="20135" y="6059"/>
                    <a:pt x="20035" y="6093"/>
                    <a:pt x="19962" y="6219"/>
                  </a:cubicBezTo>
                  <a:cubicBezTo>
                    <a:pt x="19910" y="6313"/>
                    <a:pt x="19941" y="6373"/>
                    <a:pt x="20004" y="6478"/>
                  </a:cubicBezTo>
                  <a:cubicBezTo>
                    <a:pt x="20060" y="6565"/>
                    <a:pt x="20130" y="6677"/>
                    <a:pt x="20109" y="6828"/>
                  </a:cubicBezTo>
                  <a:cubicBezTo>
                    <a:pt x="20088" y="7017"/>
                    <a:pt x="19948" y="7080"/>
                    <a:pt x="19798" y="7147"/>
                  </a:cubicBezTo>
                  <a:cubicBezTo>
                    <a:pt x="19658" y="7199"/>
                    <a:pt x="19528" y="7283"/>
                    <a:pt x="19427" y="7392"/>
                  </a:cubicBezTo>
                  <a:cubicBezTo>
                    <a:pt x="19167" y="7683"/>
                    <a:pt x="18755" y="7843"/>
                    <a:pt x="18473" y="7843"/>
                  </a:cubicBezTo>
                  <a:cubicBezTo>
                    <a:pt x="18440" y="7843"/>
                    <a:pt x="18409" y="7841"/>
                    <a:pt x="18380" y="7836"/>
                  </a:cubicBezTo>
                  <a:cubicBezTo>
                    <a:pt x="18345" y="7833"/>
                    <a:pt x="18303" y="7826"/>
                    <a:pt x="18257" y="7815"/>
                  </a:cubicBezTo>
                  <a:cubicBezTo>
                    <a:pt x="18118" y="7793"/>
                    <a:pt x="17929" y="7760"/>
                    <a:pt x="17727" y="7760"/>
                  </a:cubicBezTo>
                  <a:cubicBezTo>
                    <a:pt x="17549" y="7760"/>
                    <a:pt x="17360" y="7786"/>
                    <a:pt x="17186" y="7868"/>
                  </a:cubicBezTo>
                  <a:cubicBezTo>
                    <a:pt x="17011" y="7952"/>
                    <a:pt x="16843" y="8046"/>
                    <a:pt x="16682" y="8158"/>
                  </a:cubicBezTo>
                  <a:lnTo>
                    <a:pt x="16623" y="8193"/>
                  </a:lnTo>
                  <a:lnTo>
                    <a:pt x="16609" y="8204"/>
                  </a:lnTo>
                  <a:lnTo>
                    <a:pt x="16556" y="8239"/>
                  </a:lnTo>
                  <a:lnTo>
                    <a:pt x="16546" y="8242"/>
                  </a:lnTo>
                  <a:lnTo>
                    <a:pt x="16493" y="8274"/>
                  </a:lnTo>
                  <a:lnTo>
                    <a:pt x="16486" y="8277"/>
                  </a:lnTo>
                  <a:cubicBezTo>
                    <a:pt x="16469" y="8288"/>
                    <a:pt x="16451" y="8298"/>
                    <a:pt x="16433" y="8309"/>
                  </a:cubicBezTo>
                  <a:cubicBezTo>
                    <a:pt x="16402" y="8326"/>
                    <a:pt x="16367" y="8340"/>
                    <a:pt x="16332" y="8351"/>
                  </a:cubicBezTo>
                  <a:lnTo>
                    <a:pt x="16328" y="8351"/>
                  </a:lnTo>
                  <a:cubicBezTo>
                    <a:pt x="16314" y="8354"/>
                    <a:pt x="16300" y="8358"/>
                    <a:pt x="16283" y="8361"/>
                  </a:cubicBezTo>
                  <a:lnTo>
                    <a:pt x="16279" y="8361"/>
                  </a:lnTo>
                  <a:cubicBezTo>
                    <a:pt x="16265" y="8365"/>
                    <a:pt x="16251" y="8365"/>
                    <a:pt x="16237" y="8365"/>
                  </a:cubicBezTo>
                  <a:lnTo>
                    <a:pt x="16234" y="8365"/>
                  </a:lnTo>
                  <a:cubicBezTo>
                    <a:pt x="16220" y="8365"/>
                    <a:pt x="16206" y="8365"/>
                    <a:pt x="16195" y="8361"/>
                  </a:cubicBezTo>
                  <a:cubicBezTo>
                    <a:pt x="16118" y="8344"/>
                    <a:pt x="16048" y="8298"/>
                    <a:pt x="15999" y="8239"/>
                  </a:cubicBezTo>
                  <a:cubicBezTo>
                    <a:pt x="15955" y="8189"/>
                    <a:pt x="15917" y="8150"/>
                    <a:pt x="15844" y="8150"/>
                  </a:cubicBezTo>
                  <a:cubicBezTo>
                    <a:pt x="15836" y="8150"/>
                    <a:pt x="15827" y="8150"/>
                    <a:pt x="15817" y="8151"/>
                  </a:cubicBezTo>
                  <a:lnTo>
                    <a:pt x="15793" y="8151"/>
                  </a:lnTo>
                  <a:cubicBezTo>
                    <a:pt x="15765" y="8155"/>
                    <a:pt x="15740" y="8158"/>
                    <a:pt x="15716" y="8158"/>
                  </a:cubicBezTo>
                  <a:cubicBezTo>
                    <a:pt x="15700" y="8159"/>
                    <a:pt x="15684" y="8160"/>
                    <a:pt x="15669" y="8160"/>
                  </a:cubicBezTo>
                  <a:cubicBezTo>
                    <a:pt x="15495" y="8160"/>
                    <a:pt x="15372" y="8106"/>
                    <a:pt x="15240" y="8032"/>
                  </a:cubicBezTo>
                  <a:lnTo>
                    <a:pt x="15187" y="8001"/>
                  </a:lnTo>
                  <a:cubicBezTo>
                    <a:pt x="15151" y="7978"/>
                    <a:pt x="15118" y="7972"/>
                    <a:pt x="15081" y="7972"/>
                  </a:cubicBezTo>
                  <a:cubicBezTo>
                    <a:pt x="15060" y="7972"/>
                    <a:pt x="15037" y="7974"/>
                    <a:pt x="15012" y="7976"/>
                  </a:cubicBezTo>
                  <a:cubicBezTo>
                    <a:pt x="14986" y="7980"/>
                    <a:pt x="14960" y="7982"/>
                    <a:pt x="14935" y="7982"/>
                  </a:cubicBezTo>
                  <a:cubicBezTo>
                    <a:pt x="14807" y="7982"/>
                    <a:pt x="14684" y="7939"/>
                    <a:pt x="14585" y="7857"/>
                  </a:cubicBezTo>
                  <a:cubicBezTo>
                    <a:pt x="14389" y="7710"/>
                    <a:pt x="14070" y="7689"/>
                    <a:pt x="13839" y="7675"/>
                  </a:cubicBezTo>
                  <a:cubicBezTo>
                    <a:pt x="13755" y="7672"/>
                    <a:pt x="13685" y="7668"/>
                    <a:pt x="13629" y="7658"/>
                  </a:cubicBezTo>
                  <a:cubicBezTo>
                    <a:pt x="13528" y="7640"/>
                    <a:pt x="13265" y="7640"/>
                    <a:pt x="13017" y="7640"/>
                  </a:cubicBezTo>
                  <a:cubicBezTo>
                    <a:pt x="12751" y="7640"/>
                    <a:pt x="12474" y="7640"/>
                    <a:pt x="12327" y="7623"/>
                  </a:cubicBezTo>
                  <a:cubicBezTo>
                    <a:pt x="12274" y="7617"/>
                    <a:pt x="12221" y="7615"/>
                    <a:pt x="12167" y="7615"/>
                  </a:cubicBezTo>
                  <a:cubicBezTo>
                    <a:pt x="12113" y="7615"/>
                    <a:pt x="12059" y="7617"/>
                    <a:pt x="12005" y="7623"/>
                  </a:cubicBezTo>
                  <a:lnTo>
                    <a:pt x="11931" y="7626"/>
                  </a:lnTo>
                  <a:cubicBezTo>
                    <a:pt x="11900" y="7628"/>
                    <a:pt x="11869" y="7628"/>
                    <a:pt x="11840" y="7628"/>
                  </a:cubicBezTo>
                  <a:cubicBezTo>
                    <a:pt x="11714" y="7628"/>
                    <a:pt x="11615" y="7611"/>
                    <a:pt x="11578" y="7528"/>
                  </a:cubicBezTo>
                  <a:cubicBezTo>
                    <a:pt x="11574" y="7521"/>
                    <a:pt x="11571" y="7514"/>
                    <a:pt x="11571" y="7504"/>
                  </a:cubicBezTo>
                  <a:cubicBezTo>
                    <a:pt x="11550" y="7451"/>
                    <a:pt x="11518" y="7406"/>
                    <a:pt x="11476" y="7364"/>
                  </a:cubicBezTo>
                  <a:cubicBezTo>
                    <a:pt x="11368" y="7245"/>
                    <a:pt x="11291" y="7098"/>
                    <a:pt x="11252" y="6940"/>
                  </a:cubicBezTo>
                  <a:cubicBezTo>
                    <a:pt x="11182" y="6625"/>
                    <a:pt x="11007" y="6555"/>
                    <a:pt x="10881" y="6530"/>
                  </a:cubicBezTo>
                  <a:cubicBezTo>
                    <a:pt x="10790" y="6509"/>
                    <a:pt x="10710" y="6453"/>
                    <a:pt x="10657" y="6380"/>
                  </a:cubicBezTo>
                  <a:cubicBezTo>
                    <a:pt x="10612" y="6327"/>
                    <a:pt x="10580" y="6292"/>
                    <a:pt x="10531" y="6285"/>
                  </a:cubicBezTo>
                  <a:cubicBezTo>
                    <a:pt x="10482" y="6278"/>
                    <a:pt x="10447" y="6240"/>
                    <a:pt x="10409" y="6194"/>
                  </a:cubicBezTo>
                  <a:cubicBezTo>
                    <a:pt x="10346" y="6124"/>
                    <a:pt x="10265" y="6037"/>
                    <a:pt x="10132" y="6037"/>
                  </a:cubicBezTo>
                  <a:cubicBezTo>
                    <a:pt x="9939" y="6037"/>
                    <a:pt x="8994" y="5949"/>
                    <a:pt x="8844" y="5704"/>
                  </a:cubicBezTo>
                  <a:cubicBezTo>
                    <a:pt x="8749" y="5550"/>
                    <a:pt x="8826" y="5452"/>
                    <a:pt x="8882" y="5379"/>
                  </a:cubicBezTo>
                  <a:cubicBezTo>
                    <a:pt x="8924" y="5330"/>
                    <a:pt x="8956" y="5284"/>
                    <a:pt x="8956" y="5221"/>
                  </a:cubicBezTo>
                  <a:cubicBezTo>
                    <a:pt x="8959" y="5134"/>
                    <a:pt x="8973" y="5046"/>
                    <a:pt x="8998" y="4959"/>
                  </a:cubicBezTo>
                  <a:cubicBezTo>
                    <a:pt x="9015" y="4875"/>
                    <a:pt x="9043" y="4749"/>
                    <a:pt x="9015" y="4724"/>
                  </a:cubicBezTo>
                  <a:cubicBezTo>
                    <a:pt x="8917" y="4647"/>
                    <a:pt x="8725" y="4454"/>
                    <a:pt x="8700" y="4269"/>
                  </a:cubicBezTo>
                  <a:cubicBezTo>
                    <a:pt x="8683" y="4143"/>
                    <a:pt x="8441" y="3954"/>
                    <a:pt x="8291" y="3943"/>
                  </a:cubicBezTo>
                  <a:cubicBezTo>
                    <a:pt x="8087" y="3929"/>
                    <a:pt x="7930" y="3807"/>
                    <a:pt x="7758" y="3660"/>
                  </a:cubicBezTo>
                  <a:cubicBezTo>
                    <a:pt x="7723" y="3628"/>
                    <a:pt x="7681" y="3600"/>
                    <a:pt x="7643" y="3576"/>
                  </a:cubicBezTo>
                  <a:cubicBezTo>
                    <a:pt x="7517" y="3495"/>
                    <a:pt x="7401" y="3422"/>
                    <a:pt x="7345" y="3117"/>
                  </a:cubicBezTo>
                  <a:cubicBezTo>
                    <a:pt x="7345" y="3110"/>
                    <a:pt x="7342" y="3107"/>
                    <a:pt x="7342" y="3100"/>
                  </a:cubicBezTo>
                  <a:lnTo>
                    <a:pt x="7286" y="3089"/>
                  </a:lnTo>
                  <a:cubicBezTo>
                    <a:pt x="7258" y="3082"/>
                    <a:pt x="7230" y="3079"/>
                    <a:pt x="7205" y="3075"/>
                  </a:cubicBezTo>
                  <a:lnTo>
                    <a:pt x="7184" y="3075"/>
                  </a:lnTo>
                  <a:cubicBezTo>
                    <a:pt x="7174" y="3075"/>
                    <a:pt x="7167" y="3072"/>
                    <a:pt x="7156" y="3072"/>
                  </a:cubicBezTo>
                  <a:cubicBezTo>
                    <a:pt x="7149" y="3068"/>
                    <a:pt x="7139" y="3068"/>
                    <a:pt x="7132" y="3065"/>
                  </a:cubicBezTo>
                  <a:lnTo>
                    <a:pt x="7128" y="3065"/>
                  </a:lnTo>
                  <a:cubicBezTo>
                    <a:pt x="7121" y="3061"/>
                    <a:pt x="7114" y="3058"/>
                    <a:pt x="7107" y="3054"/>
                  </a:cubicBezTo>
                  <a:lnTo>
                    <a:pt x="7100" y="3054"/>
                  </a:lnTo>
                  <a:lnTo>
                    <a:pt x="7083" y="3044"/>
                  </a:lnTo>
                  <a:lnTo>
                    <a:pt x="7072" y="3040"/>
                  </a:lnTo>
                  <a:lnTo>
                    <a:pt x="7065" y="3033"/>
                  </a:lnTo>
                  <a:cubicBezTo>
                    <a:pt x="7065" y="3037"/>
                    <a:pt x="7062" y="3040"/>
                    <a:pt x="7058" y="3044"/>
                  </a:cubicBezTo>
                  <a:cubicBezTo>
                    <a:pt x="7051" y="3058"/>
                    <a:pt x="7041" y="3072"/>
                    <a:pt x="7034" y="3082"/>
                  </a:cubicBezTo>
                  <a:lnTo>
                    <a:pt x="7023" y="3100"/>
                  </a:lnTo>
                  <a:cubicBezTo>
                    <a:pt x="7013" y="3114"/>
                    <a:pt x="6999" y="3131"/>
                    <a:pt x="6988" y="3145"/>
                  </a:cubicBezTo>
                  <a:cubicBezTo>
                    <a:pt x="6946" y="3198"/>
                    <a:pt x="6915" y="3236"/>
                    <a:pt x="6915" y="3278"/>
                  </a:cubicBezTo>
                  <a:cubicBezTo>
                    <a:pt x="6915" y="3446"/>
                    <a:pt x="6838" y="3646"/>
                    <a:pt x="6617" y="3646"/>
                  </a:cubicBezTo>
                  <a:cubicBezTo>
                    <a:pt x="6488" y="3646"/>
                    <a:pt x="6334" y="3737"/>
                    <a:pt x="6323" y="3996"/>
                  </a:cubicBezTo>
                  <a:cubicBezTo>
                    <a:pt x="6316" y="4080"/>
                    <a:pt x="6337" y="4167"/>
                    <a:pt x="6383" y="4244"/>
                  </a:cubicBezTo>
                  <a:cubicBezTo>
                    <a:pt x="6414" y="4304"/>
                    <a:pt x="6449" y="4370"/>
                    <a:pt x="6393" y="4461"/>
                  </a:cubicBezTo>
                  <a:cubicBezTo>
                    <a:pt x="6316" y="4580"/>
                    <a:pt x="6067" y="4696"/>
                    <a:pt x="5896" y="4696"/>
                  </a:cubicBezTo>
                  <a:cubicBezTo>
                    <a:pt x="5861" y="4696"/>
                    <a:pt x="5822" y="4689"/>
                    <a:pt x="5791" y="4675"/>
                  </a:cubicBezTo>
                  <a:cubicBezTo>
                    <a:pt x="5735" y="4647"/>
                    <a:pt x="5637" y="4647"/>
                    <a:pt x="5528" y="4647"/>
                  </a:cubicBezTo>
                  <a:lnTo>
                    <a:pt x="5472" y="4647"/>
                  </a:lnTo>
                  <a:cubicBezTo>
                    <a:pt x="5420" y="4647"/>
                    <a:pt x="5364" y="4643"/>
                    <a:pt x="5308" y="4636"/>
                  </a:cubicBezTo>
                  <a:cubicBezTo>
                    <a:pt x="5245" y="4626"/>
                    <a:pt x="5185" y="4605"/>
                    <a:pt x="5133" y="4573"/>
                  </a:cubicBezTo>
                  <a:lnTo>
                    <a:pt x="5112" y="4563"/>
                  </a:lnTo>
                  <a:cubicBezTo>
                    <a:pt x="5087" y="4545"/>
                    <a:pt x="5059" y="4531"/>
                    <a:pt x="5031" y="4524"/>
                  </a:cubicBezTo>
                  <a:cubicBezTo>
                    <a:pt x="5021" y="4542"/>
                    <a:pt x="5014" y="4563"/>
                    <a:pt x="5010" y="4587"/>
                  </a:cubicBezTo>
                  <a:cubicBezTo>
                    <a:pt x="4965" y="4735"/>
                    <a:pt x="4912" y="4878"/>
                    <a:pt x="4853" y="5018"/>
                  </a:cubicBezTo>
                  <a:cubicBezTo>
                    <a:pt x="4776" y="5204"/>
                    <a:pt x="4653" y="5508"/>
                    <a:pt x="4660" y="5582"/>
                  </a:cubicBezTo>
                  <a:cubicBezTo>
                    <a:pt x="4737" y="5652"/>
                    <a:pt x="4793" y="5771"/>
                    <a:pt x="4758" y="5858"/>
                  </a:cubicBezTo>
                  <a:cubicBezTo>
                    <a:pt x="4736" y="5913"/>
                    <a:pt x="4684" y="5947"/>
                    <a:pt x="4627" y="5947"/>
                  </a:cubicBezTo>
                  <a:cubicBezTo>
                    <a:pt x="4622" y="5947"/>
                    <a:pt x="4616" y="5946"/>
                    <a:pt x="4611" y="5946"/>
                  </a:cubicBezTo>
                  <a:cubicBezTo>
                    <a:pt x="4394" y="5946"/>
                    <a:pt x="4251" y="5907"/>
                    <a:pt x="4174" y="5827"/>
                  </a:cubicBezTo>
                  <a:cubicBezTo>
                    <a:pt x="4171" y="5825"/>
                    <a:pt x="4167" y="5825"/>
                    <a:pt x="4162" y="5825"/>
                  </a:cubicBezTo>
                  <a:cubicBezTo>
                    <a:pt x="4129" y="5825"/>
                    <a:pt x="4048" y="5854"/>
                    <a:pt x="3998" y="5876"/>
                  </a:cubicBezTo>
                  <a:cubicBezTo>
                    <a:pt x="3908" y="5909"/>
                    <a:pt x="3805" y="5946"/>
                    <a:pt x="3713" y="5946"/>
                  </a:cubicBezTo>
                  <a:cubicBezTo>
                    <a:pt x="3709" y="5946"/>
                    <a:pt x="3705" y="5946"/>
                    <a:pt x="3701" y="5946"/>
                  </a:cubicBezTo>
                  <a:cubicBezTo>
                    <a:pt x="3610" y="5963"/>
                    <a:pt x="3522" y="6002"/>
                    <a:pt x="3449" y="6054"/>
                  </a:cubicBezTo>
                  <a:cubicBezTo>
                    <a:pt x="3561" y="6142"/>
                    <a:pt x="3578" y="6359"/>
                    <a:pt x="3578" y="6565"/>
                  </a:cubicBezTo>
                  <a:cubicBezTo>
                    <a:pt x="3578" y="6604"/>
                    <a:pt x="3631" y="6705"/>
                    <a:pt x="3673" y="6790"/>
                  </a:cubicBezTo>
                  <a:cubicBezTo>
                    <a:pt x="3753" y="6951"/>
                    <a:pt x="3830" y="7101"/>
                    <a:pt x="3792" y="7199"/>
                  </a:cubicBezTo>
                  <a:cubicBezTo>
                    <a:pt x="3757" y="7266"/>
                    <a:pt x="3708" y="7325"/>
                    <a:pt x="3652" y="7374"/>
                  </a:cubicBezTo>
                  <a:cubicBezTo>
                    <a:pt x="3582" y="7441"/>
                    <a:pt x="3505" y="7518"/>
                    <a:pt x="3505" y="7584"/>
                  </a:cubicBezTo>
                  <a:cubicBezTo>
                    <a:pt x="3505" y="7630"/>
                    <a:pt x="3508" y="7668"/>
                    <a:pt x="3512" y="7710"/>
                  </a:cubicBezTo>
                  <a:cubicBezTo>
                    <a:pt x="3512" y="7731"/>
                    <a:pt x="3515" y="7752"/>
                    <a:pt x="3519" y="7773"/>
                  </a:cubicBezTo>
                  <a:lnTo>
                    <a:pt x="3519" y="7805"/>
                  </a:lnTo>
                  <a:lnTo>
                    <a:pt x="3519" y="7945"/>
                  </a:lnTo>
                  <a:lnTo>
                    <a:pt x="3491" y="7924"/>
                  </a:lnTo>
                  <a:cubicBezTo>
                    <a:pt x="3477" y="7952"/>
                    <a:pt x="3456" y="7973"/>
                    <a:pt x="3424" y="7983"/>
                  </a:cubicBezTo>
                  <a:lnTo>
                    <a:pt x="3400" y="7997"/>
                  </a:lnTo>
                  <a:cubicBezTo>
                    <a:pt x="3298" y="8039"/>
                    <a:pt x="3067" y="8134"/>
                    <a:pt x="2952" y="8218"/>
                  </a:cubicBezTo>
                  <a:cubicBezTo>
                    <a:pt x="2892" y="8260"/>
                    <a:pt x="2826" y="8291"/>
                    <a:pt x="2756" y="8312"/>
                  </a:cubicBezTo>
                  <a:cubicBezTo>
                    <a:pt x="2661" y="8344"/>
                    <a:pt x="2581" y="8372"/>
                    <a:pt x="2549" y="8438"/>
                  </a:cubicBezTo>
                  <a:cubicBezTo>
                    <a:pt x="2487" y="8563"/>
                    <a:pt x="2376" y="8721"/>
                    <a:pt x="2118" y="8721"/>
                  </a:cubicBezTo>
                  <a:cubicBezTo>
                    <a:pt x="2100" y="8721"/>
                    <a:pt x="2082" y="8720"/>
                    <a:pt x="2063" y="8718"/>
                  </a:cubicBezTo>
                  <a:lnTo>
                    <a:pt x="2045" y="8718"/>
                  </a:lnTo>
                  <a:lnTo>
                    <a:pt x="1989" y="8711"/>
                  </a:lnTo>
                  <a:cubicBezTo>
                    <a:pt x="1936" y="8705"/>
                    <a:pt x="1892" y="8700"/>
                    <a:pt x="1853" y="8700"/>
                  </a:cubicBezTo>
                  <a:cubicBezTo>
                    <a:pt x="1763" y="8700"/>
                    <a:pt x="1698" y="8729"/>
                    <a:pt x="1607" y="8841"/>
                  </a:cubicBezTo>
                  <a:cubicBezTo>
                    <a:pt x="1499" y="8971"/>
                    <a:pt x="1436" y="8999"/>
                    <a:pt x="1362" y="9020"/>
                  </a:cubicBezTo>
                  <a:cubicBezTo>
                    <a:pt x="1327" y="9030"/>
                    <a:pt x="1296" y="9044"/>
                    <a:pt x="1271" y="9069"/>
                  </a:cubicBezTo>
                  <a:cubicBezTo>
                    <a:pt x="1231" y="9100"/>
                    <a:pt x="1191" y="9112"/>
                    <a:pt x="1154" y="9112"/>
                  </a:cubicBezTo>
                  <a:cubicBezTo>
                    <a:pt x="1073" y="9112"/>
                    <a:pt x="1001" y="9058"/>
                    <a:pt x="946" y="9020"/>
                  </a:cubicBezTo>
                  <a:cubicBezTo>
                    <a:pt x="921" y="8999"/>
                    <a:pt x="893" y="8981"/>
                    <a:pt x="865" y="8967"/>
                  </a:cubicBezTo>
                  <a:cubicBezTo>
                    <a:pt x="863" y="8966"/>
                    <a:pt x="860" y="8966"/>
                    <a:pt x="857" y="8966"/>
                  </a:cubicBezTo>
                  <a:cubicBezTo>
                    <a:pt x="829" y="8966"/>
                    <a:pt x="774" y="8994"/>
                    <a:pt x="736" y="9016"/>
                  </a:cubicBezTo>
                  <a:cubicBezTo>
                    <a:pt x="683" y="9051"/>
                    <a:pt x="624" y="9076"/>
                    <a:pt x="561" y="9083"/>
                  </a:cubicBezTo>
                  <a:cubicBezTo>
                    <a:pt x="536" y="9083"/>
                    <a:pt x="491" y="9121"/>
                    <a:pt x="456" y="9153"/>
                  </a:cubicBezTo>
                  <a:cubicBezTo>
                    <a:pt x="407" y="9205"/>
                    <a:pt x="344" y="9247"/>
                    <a:pt x="277" y="9272"/>
                  </a:cubicBezTo>
                  <a:cubicBezTo>
                    <a:pt x="242" y="9282"/>
                    <a:pt x="207" y="9289"/>
                    <a:pt x="172" y="9293"/>
                  </a:cubicBezTo>
                  <a:cubicBezTo>
                    <a:pt x="81" y="9307"/>
                    <a:pt x="81" y="9310"/>
                    <a:pt x="81" y="9356"/>
                  </a:cubicBezTo>
                  <a:lnTo>
                    <a:pt x="81" y="9384"/>
                  </a:lnTo>
                  <a:lnTo>
                    <a:pt x="81" y="9394"/>
                  </a:lnTo>
                  <a:lnTo>
                    <a:pt x="81" y="9415"/>
                  </a:lnTo>
                  <a:lnTo>
                    <a:pt x="81" y="9429"/>
                  </a:lnTo>
                  <a:cubicBezTo>
                    <a:pt x="81" y="9433"/>
                    <a:pt x="81" y="9443"/>
                    <a:pt x="78" y="9454"/>
                  </a:cubicBezTo>
                  <a:cubicBezTo>
                    <a:pt x="74" y="9461"/>
                    <a:pt x="78" y="9464"/>
                    <a:pt x="74" y="9468"/>
                  </a:cubicBezTo>
                  <a:cubicBezTo>
                    <a:pt x="71" y="9475"/>
                    <a:pt x="71" y="9485"/>
                    <a:pt x="67" y="9492"/>
                  </a:cubicBezTo>
                  <a:cubicBezTo>
                    <a:pt x="67" y="9499"/>
                    <a:pt x="64" y="9503"/>
                    <a:pt x="64" y="9510"/>
                  </a:cubicBezTo>
                  <a:cubicBezTo>
                    <a:pt x="60" y="9517"/>
                    <a:pt x="57" y="9524"/>
                    <a:pt x="57" y="9534"/>
                  </a:cubicBezTo>
                  <a:cubicBezTo>
                    <a:pt x="53" y="9541"/>
                    <a:pt x="50" y="9545"/>
                    <a:pt x="50" y="9552"/>
                  </a:cubicBezTo>
                  <a:cubicBezTo>
                    <a:pt x="46" y="9559"/>
                    <a:pt x="43" y="9566"/>
                    <a:pt x="39" y="9576"/>
                  </a:cubicBezTo>
                  <a:lnTo>
                    <a:pt x="29" y="9594"/>
                  </a:lnTo>
                  <a:cubicBezTo>
                    <a:pt x="25" y="9601"/>
                    <a:pt x="22" y="9608"/>
                    <a:pt x="15" y="9618"/>
                  </a:cubicBezTo>
                  <a:cubicBezTo>
                    <a:pt x="11" y="9625"/>
                    <a:pt x="8" y="9629"/>
                    <a:pt x="4" y="9636"/>
                  </a:cubicBezTo>
                  <a:lnTo>
                    <a:pt x="1" y="9643"/>
                  </a:lnTo>
                  <a:lnTo>
                    <a:pt x="74" y="10052"/>
                  </a:lnTo>
                  <a:cubicBezTo>
                    <a:pt x="106" y="10063"/>
                    <a:pt x="141" y="10077"/>
                    <a:pt x="183" y="10094"/>
                  </a:cubicBezTo>
                  <a:cubicBezTo>
                    <a:pt x="211" y="10105"/>
                    <a:pt x="239" y="10115"/>
                    <a:pt x="267" y="10129"/>
                  </a:cubicBezTo>
                  <a:cubicBezTo>
                    <a:pt x="428" y="10203"/>
                    <a:pt x="606" y="10315"/>
                    <a:pt x="620" y="10441"/>
                  </a:cubicBezTo>
                  <a:lnTo>
                    <a:pt x="624" y="10469"/>
                  </a:lnTo>
                  <a:lnTo>
                    <a:pt x="624" y="10472"/>
                  </a:lnTo>
                  <a:lnTo>
                    <a:pt x="631" y="10511"/>
                  </a:lnTo>
                  <a:cubicBezTo>
                    <a:pt x="659" y="10710"/>
                    <a:pt x="718" y="11092"/>
                    <a:pt x="725" y="11159"/>
                  </a:cubicBezTo>
                  <a:lnTo>
                    <a:pt x="732" y="11162"/>
                  </a:lnTo>
                  <a:lnTo>
                    <a:pt x="809" y="11222"/>
                  </a:lnTo>
                  <a:lnTo>
                    <a:pt x="827" y="11232"/>
                  </a:lnTo>
                  <a:lnTo>
                    <a:pt x="900" y="11288"/>
                  </a:lnTo>
                  <a:cubicBezTo>
                    <a:pt x="1121" y="11446"/>
                    <a:pt x="1201" y="11505"/>
                    <a:pt x="1208" y="11572"/>
                  </a:cubicBezTo>
                  <a:cubicBezTo>
                    <a:pt x="1208" y="11575"/>
                    <a:pt x="1208" y="11582"/>
                    <a:pt x="1208" y="11586"/>
                  </a:cubicBezTo>
                  <a:cubicBezTo>
                    <a:pt x="1212" y="11740"/>
                    <a:pt x="1306" y="11880"/>
                    <a:pt x="1450" y="11939"/>
                  </a:cubicBezTo>
                  <a:lnTo>
                    <a:pt x="1502" y="11964"/>
                  </a:lnTo>
                  <a:lnTo>
                    <a:pt x="1516" y="11971"/>
                  </a:lnTo>
                  <a:lnTo>
                    <a:pt x="1562" y="11992"/>
                  </a:lnTo>
                  <a:lnTo>
                    <a:pt x="1579" y="11999"/>
                  </a:lnTo>
                  <a:lnTo>
                    <a:pt x="1618" y="12020"/>
                  </a:lnTo>
                  <a:lnTo>
                    <a:pt x="1635" y="12027"/>
                  </a:lnTo>
                  <a:lnTo>
                    <a:pt x="1684" y="12055"/>
                  </a:lnTo>
                  <a:lnTo>
                    <a:pt x="1688" y="12055"/>
                  </a:lnTo>
                  <a:lnTo>
                    <a:pt x="1740" y="12083"/>
                  </a:lnTo>
                  <a:lnTo>
                    <a:pt x="1754" y="12090"/>
                  </a:lnTo>
                  <a:lnTo>
                    <a:pt x="1786" y="12107"/>
                  </a:lnTo>
                  <a:lnTo>
                    <a:pt x="1803" y="12118"/>
                  </a:lnTo>
                  <a:lnTo>
                    <a:pt x="1817" y="12125"/>
                  </a:lnTo>
                  <a:lnTo>
                    <a:pt x="1821" y="12111"/>
                  </a:lnTo>
                  <a:lnTo>
                    <a:pt x="2101" y="12083"/>
                  </a:lnTo>
                  <a:lnTo>
                    <a:pt x="2119" y="12093"/>
                  </a:lnTo>
                  <a:lnTo>
                    <a:pt x="2126" y="12100"/>
                  </a:lnTo>
                  <a:cubicBezTo>
                    <a:pt x="2150" y="12114"/>
                    <a:pt x="2171" y="12132"/>
                    <a:pt x="2192" y="12149"/>
                  </a:cubicBezTo>
                  <a:cubicBezTo>
                    <a:pt x="2199" y="12142"/>
                    <a:pt x="2203" y="12135"/>
                    <a:pt x="2210" y="12128"/>
                  </a:cubicBezTo>
                  <a:lnTo>
                    <a:pt x="2217" y="12121"/>
                  </a:lnTo>
                  <a:cubicBezTo>
                    <a:pt x="2252" y="12079"/>
                    <a:pt x="2290" y="12048"/>
                    <a:pt x="2332" y="12016"/>
                  </a:cubicBezTo>
                  <a:cubicBezTo>
                    <a:pt x="2455" y="11929"/>
                    <a:pt x="2591" y="11869"/>
                    <a:pt x="2738" y="11841"/>
                  </a:cubicBezTo>
                  <a:cubicBezTo>
                    <a:pt x="2756" y="11838"/>
                    <a:pt x="2770" y="11838"/>
                    <a:pt x="2784" y="11838"/>
                  </a:cubicBezTo>
                  <a:lnTo>
                    <a:pt x="2787" y="11838"/>
                  </a:lnTo>
                  <a:cubicBezTo>
                    <a:pt x="2794" y="11836"/>
                    <a:pt x="2801" y="11835"/>
                    <a:pt x="2808" y="11835"/>
                  </a:cubicBezTo>
                  <a:cubicBezTo>
                    <a:pt x="2815" y="11835"/>
                    <a:pt x="2822" y="11836"/>
                    <a:pt x="2829" y="11838"/>
                  </a:cubicBezTo>
                  <a:cubicBezTo>
                    <a:pt x="2983" y="11845"/>
                    <a:pt x="3239" y="12013"/>
                    <a:pt x="3393" y="12170"/>
                  </a:cubicBezTo>
                  <a:cubicBezTo>
                    <a:pt x="3424" y="12202"/>
                    <a:pt x="3452" y="12237"/>
                    <a:pt x="3480" y="12275"/>
                  </a:cubicBezTo>
                  <a:cubicBezTo>
                    <a:pt x="3484" y="12282"/>
                    <a:pt x="3491" y="12293"/>
                    <a:pt x="3494" y="12300"/>
                  </a:cubicBezTo>
                  <a:cubicBezTo>
                    <a:pt x="3522" y="12342"/>
                    <a:pt x="3533" y="12394"/>
                    <a:pt x="3519" y="12447"/>
                  </a:cubicBezTo>
                  <a:cubicBezTo>
                    <a:pt x="3470" y="12583"/>
                    <a:pt x="3116" y="13098"/>
                    <a:pt x="2927" y="13144"/>
                  </a:cubicBezTo>
                  <a:lnTo>
                    <a:pt x="2892" y="13151"/>
                  </a:lnTo>
                  <a:lnTo>
                    <a:pt x="2885" y="13151"/>
                  </a:lnTo>
                  <a:lnTo>
                    <a:pt x="2847" y="13154"/>
                  </a:lnTo>
                  <a:lnTo>
                    <a:pt x="2840" y="13154"/>
                  </a:lnTo>
                  <a:lnTo>
                    <a:pt x="2794" y="13158"/>
                  </a:lnTo>
                  <a:lnTo>
                    <a:pt x="2745" y="13161"/>
                  </a:lnTo>
                  <a:lnTo>
                    <a:pt x="2738" y="13161"/>
                  </a:lnTo>
                  <a:lnTo>
                    <a:pt x="2735" y="13182"/>
                  </a:lnTo>
                  <a:cubicBezTo>
                    <a:pt x="2724" y="13221"/>
                    <a:pt x="2717" y="13256"/>
                    <a:pt x="2714" y="13294"/>
                  </a:cubicBezTo>
                  <a:cubicBezTo>
                    <a:pt x="2714" y="13336"/>
                    <a:pt x="2784" y="13424"/>
                    <a:pt x="2843" y="13501"/>
                  </a:cubicBezTo>
                  <a:cubicBezTo>
                    <a:pt x="2903" y="13574"/>
                    <a:pt x="2959" y="13655"/>
                    <a:pt x="3008" y="13739"/>
                  </a:cubicBezTo>
                  <a:cubicBezTo>
                    <a:pt x="3067" y="13830"/>
                    <a:pt x="3046" y="13949"/>
                    <a:pt x="2959" y="14019"/>
                  </a:cubicBezTo>
                  <a:cubicBezTo>
                    <a:pt x="2906" y="14060"/>
                    <a:pt x="2841" y="14081"/>
                    <a:pt x="2775" y="14081"/>
                  </a:cubicBezTo>
                  <a:cubicBezTo>
                    <a:pt x="2708" y="14081"/>
                    <a:pt x="2640" y="14058"/>
                    <a:pt x="2584" y="14012"/>
                  </a:cubicBezTo>
                  <a:cubicBezTo>
                    <a:pt x="2563" y="13994"/>
                    <a:pt x="2553" y="13994"/>
                    <a:pt x="2549" y="13994"/>
                  </a:cubicBezTo>
                  <a:cubicBezTo>
                    <a:pt x="2549" y="13994"/>
                    <a:pt x="2539" y="14005"/>
                    <a:pt x="2532" y="14029"/>
                  </a:cubicBezTo>
                  <a:cubicBezTo>
                    <a:pt x="2518" y="14075"/>
                    <a:pt x="2525" y="14120"/>
                    <a:pt x="2549" y="14162"/>
                  </a:cubicBezTo>
                  <a:cubicBezTo>
                    <a:pt x="2595" y="14218"/>
                    <a:pt x="2609" y="14302"/>
                    <a:pt x="2626" y="14383"/>
                  </a:cubicBezTo>
                  <a:cubicBezTo>
                    <a:pt x="2640" y="14467"/>
                    <a:pt x="2658" y="14565"/>
                    <a:pt x="2703" y="14568"/>
                  </a:cubicBezTo>
                  <a:cubicBezTo>
                    <a:pt x="2794" y="14582"/>
                    <a:pt x="2871" y="14663"/>
                    <a:pt x="2945" y="14743"/>
                  </a:cubicBezTo>
                  <a:cubicBezTo>
                    <a:pt x="3018" y="14824"/>
                    <a:pt x="3081" y="14894"/>
                    <a:pt x="3144" y="14894"/>
                  </a:cubicBezTo>
                  <a:cubicBezTo>
                    <a:pt x="3218" y="14897"/>
                    <a:pt x="3284" y="14925"/>
                    <a:pt x="3337" y="14971"/>
                  </a:cubicBezTo>
                  <a:lnTo>
                    <a:pt x="3344" y="14978"/>
                  </a:lnTo>
                  <a:cubicBezTo>
                    <a:pt x="3358" y="14992"/>
                    <a:pt x="3375" y="15002"/>
                    <a:pt x="3386" y="15020"/>
                  </a:cubicBezTo>
                  <a:lnTo>
                    <a:pt x="3396" y="15030"/>
                  </a:lnTo>
                  <a:lnTo>
                    <a:pt x="3410" y="15044"/>
                  </a:lnTo>
                  <a:cubicBezTo>
                    <a:pt x="3452" y="15090"/>
                    <a:pt x="3487" y="15139"/>
                    <a:pt x="3519" y="15195"/>
                  </a:cubicBezTo>
                  <a:lnTo>
                    <a:pt x="3550" y="15216"/>
                  </a:lnTo>
                  <a:lnTo>
                    <a:pt x="3554" y="15216"/>
                  </a:lnTo>
                  <a:lnTo>
                    <a:pt x="3585" y="15241"/>
                  </a:lnTo>
                  <a:lnTo>
                    <a:pt x="3592" y="15244"/>
                  </a:lnTo>
                  <a:lnTo>
                    <a:pt x="3624" y="15272"/>
                  </a:lnTo>
                  <a:lnTo>
                    <a:pt x="3631" y="15276"/>
                  </a:lnTo>
                  <a:cubicBezTo>
                    <a:pt x="3641" y="15283"/>
                    <a:pt x="3652" y="15293"/>
                    <a:pt x="3662" y="15304"/>
                  </a:cubicBezTo>
                  <a:cubicBezTo>
                    <a:pt x="3673" y="15311"/>
                    <a:pt x="3683" y="15321"/>
                    <a:pt x="3694" y="15332"/>
                  </a:cubicBezTo>
                  <a:lnTo>
                    <a:pt x="3697" y="15335"/>
                  </a:lnTo>
                  <a:cubicBezTo>
                    <a:pt x="3708" y="15346"/>
                    <a:pt x="3715" y="15356"/>
                    <a:pt x="3722" y="15367"/>
                  </a:cubicBezTo>
                  <a:lnTo>
                    <a:pt x="3725" y="15370"/>
                  </a:lnTo>
                  <a:cubicBezTo>
                    <a:pt x="3736" y="15381"/>
                    <a:pt x="3743" y="15391"/>
                    <a:pt x="3746" y="15402"/>
                  </a:cubicBezTo>
                  <a:lnTo>
                    <a:pt x="3750" y="15405"/>
                  </a:lnTo>
                  <a:cubicBezTo>
                    <a:pt x="3757" y="15416"/>
                    <a:pt x="3760" y="15423"/>
                    <a:pt x="3764" y="15433"/>
                  </a:cubicBezTo>
                  <a:lnTo>
                    <a:pt x="3799" y="15430"/>
                  </a:lnTo>
                  <a:lnTo>
                    <a:pt x="3834" y="15426"/>
                  </a:lnTo>
                  <a:lnTo>
                    <a:pt x="3837" y="15426"/>
                  </a:lnTo>
                  <a:lnTo>
                    <a:pt x="3865" y="15423"/>
                  </a:lnTo>
                  <a:lnTo>
                    <a:pt x="3897" y="15419"/>
                  </a:lnTo>
                  <a:lnTo>
                    <a:pt x="3918" y="15412"/>
                  </a:lnTo>
                  <a:lnTo>
                    <a:pt x="3921" y="15412"/>
                  </a:lnTo>
                  <a:lnTo>
                    <a:pt x="3939" y="15405"/>
                  </a:lnTo>
                  <a:lnTo>
                    <a:pt x="3942" y="15405"/>
                  </a:lnTo>
                  <a:cubicBezTo>
                    <a:pt x="3949" y="15405"/>
                    <a:pt x="3953" y="15402"/>
                    <a:pt x="3956" y="15398"/>
                  </a:cubicBezTo>
                  <a:cubicBezTo>
                    <a:pt x="3960" y="15398"/>
                    <a:pt x="3960" y="15395"/>
                    <a:pt x="3963" y="15391"/>
                  </a:cubicBezTo>
                  <a:cubicBezTo>
                    <a:pt x="3981" y="15342"/>
                    <a:pt x="4023" y="15304"/>
                    <a:pt x="4072" y="15297"/>
                  </a:cubicBezTo>
                  <a:cubicBezTo>
                    <a:pt x="4095" y="15290"/>
                    <a:pt x="4120" y="15287"/>
                    <a:pt x="4148" y="15287"/>
                  </a:cubicBezTo>
                  <a:cubicBezTo>
                    <a:pt x="4258" y="15287"/>
                    <a:pt x="4401" y="15338"/>
                    <a:pt x="4510" y="15447"/>
                  </a:cubicBezTo>
                  <a:cubicBezTo>
                    <a:pt x="4604" y="15538"/>
                    <a:pt x="4867" y="15720"/>
                    <a:pt x="5119" y="15895"/>
                  </a:cubicBezTo>
                  <a:cubicBezTo>
                    <a:pt x="5318" y="16032"/>
                    <a:pt x="5511" y="16165"/>
                    <a:pt x="5623" y="16256"/>
                  </a:cubicBezTo>
                  <a:cubicBezTo>
                    <a:pt x="5867" y="16456"/>
                    <a:pt x="6427" y="16666"/>
                    <a:pt x="6622" y="16666"/>
                  </a:cubicBezTo>
                  <a:cubicBezTo>
                    <a:pt x="6625" y="16666"/>
                    <a:pt x="6628" y="16665"/>
                    <a:pt x="6631" y="16665"/>
                  </a:cubicBezTo>
                  <a:cubicBezTo>
                    <a:pt x="6736" y="16665"/>
                    <a:pt x="6841" y="16686"/>
                    <a:pt x="6943" y="16725"/>
                  </a:cubicBezTo>
                  <a:cubicBezTo>
                    <a:pt x="7072" y="16774"/>
                    <a:pt x="7209" y="16798"/>
                    <a:pt x="7349" y="16798"/>
                  </a:cubicBezTo>
                  <a:lnTo>
                    <a:pt x="7450" y="16798"/>
                  </a:lnTo>
                  <a:cubicBezTo>
                    <a:pt x="7471" y="16784"/>
                    <a:pt x="7492" y="16774"/>
                    <a:pt x="7513" y="16763"/>
                  </a:cubicBezTo>
                  <a:cubicBezTo>
                    <a:pt x="7541" y="16749"/>
                    <a:pt x="7569" y="16728"/>
                    <a:pt x="7590" y="16704"/>
                  </a:cubicBezTo>
                  <a:cubicBezTo>
                    <a:pt x="7594" y="16700"/>
                    <a:pt x="7597" y="16697"/>
                    <a:pt x="7601" y="16693"/>
                  </a:cubicBezTo>
                  <a:cubicBezTo>
                    <a:pt x="7611" y="16676"/>
                    <a:pt x="7622" y="16662"/>
                    <a:pt x="7639" y="16651"/>
                  </a:cubicBezTo>
                  <a:cubicBezTo>
                    <a:pt x="7657" y="16637"/>
                    <a:pt x="7678" y="16627"/>
                    <a:pt x="7702" y="16627"/>
                  </a:cubicBezTo>
                  <a:cubicBezTo>
                    <a:pt x="7707" y="16626"/>
                    <a:pt x="7711" y="16626"/>
                    <a:pt x="7716" y="16626"/>
                  </a:cubicBezTo>
                  <a:cubicBezTo>
                    <a:pt x="7730" y="16626"/>
                    <a:pt x="7745" y="16630"/>
                    <a:pt x="7758" y="16637"/>
                  </a:cubicBezTo>
                  <a:cubicBezTo>
                    <a:pt x="7860" y="16679"/>
                    <a:pt x="7930" y="16879"/>
                    <a:pt x="7891" y="17026"/>
                  </a:cubicBezTo>
                  <a:cubicBezTo>
                    <a:pt x="7888" y="17033"/>
                    <a:pt x="7888" y="17043"/>
                    <a:pt x="7884" y="17054"/>
                  </a:cubicBezTo>
                  <a:lnTo>
                    <a:pt x="7884" y="17061"/>
                  </a:lnTo>
                  <a:lnTo>
                    <a:pt x="7884" y="17071"/>
                  </a:lnTo>
                  <a:lnTo>
                    <a:pt x="7888" y="17064"/>
                  </a:lnTo>
                  <a:cubicBezTo>
                    <a:pt x="7898" y="17043"/>
                    <a:pt x="7912" y="17019"/>
                    <a:pt x="7919" y="16994"/>
                  </a:cubicBezTo>
                  <a:cubicBezTo>
                    <a:pt x="7972" y="16847"/>
                    <a:pt x="8091" y="16728"/>
                    <a:pt x="8238" y="16676"/>
                  </a:cubicBezTo>
                  <a:cubicBezTo>
                    <a:pt x="8270" y="16665"/>
                    <a:pt x="8301" y="16648"/>
                    <a:pt x="8329" y="16627"/>
                  </a:cubicBezTo>
                  <a:cubicBezTo>
                    <a:pt x="8340" y="16620"/>
                    <a:pt x="8347" y="16613"/>
                    <a:pt x="8357" y="16606"/>
                  </a:cubicBezTo>
                  <a:cubicBezTo>
                    <a:pt x="8375" y="16595"/>
                    <a:pt x="8396" y="16588"/>
                    <a:pt x="8413" y="16581"/>
                  </a:cubicBezTo>
                  <a:cubicBezTo>
                    <a:pt x="8434" y="16574"/>
                    <a:pt x="8452" y="16571"/>
                    <a:pt x="8473" y="16567"/>
                  </a:cubicBezTo>
                  <a:lnTo>
                    <a:pt x="8501" y="16567"/>
                  </a:lnTo>
                  <a:cubicBezTo>
                    <a:pt x="8602" y="16567"/>
                    <a:pt x="8714" y="16623"/>
                    <a:pt x="8851" y="16693"/>
                  </a:cubicBezTo>
                  <a:cubicBezTo>
                    <a:pt x="8865" y="16704"/>
                    <a:pt x="8879" y="16707"/>
                    <a:pt x="8896" y="16714"/>
                  </a:cubicBezTo>
                  <a:cubicBezTo>
                    <a:pt x="8917" y="16718"/>
                    <a:pt x="8938" y="16721"/>
                    <a:pt x="8959" y="16721"/>
                  </a:cubicBezTo>
                  <a:cubicBezTo>
                    <a:pt x="8984" y="16718"/>
                    <a:pt x="9005" y="16714"/>
                    <a:pt x="9029" y="16711"/>
                  </a:cubicBezTo>
                  <a:lnTo>
                    <a:pt x="9064" y="16707"/>
                  </a:lnTo>
                  <a:lnTo>
                    <a:pt x="9201" y="16707"/>
                  </a:lnTo>
                  <a:lnTo>
                    <a:pt x="9215" y="16711"/>
                  </a:lnTo>
                  <a:lnTo>
                    <a:pt x="9229" y="16714"/>
                  </a:lnTo>
                  <a:lnTo>
                    <a:pt x="9243" y="16718"/>
                  </a:lnTo>
                  <a:lnTo>
                    <a:pt x="9257" y="16725"/>
                  </a:lnTo>
                  <a:lnTo>
                    <a:pt x="9271" y="16728"/>
                  </a:lnTo>
                  <a:lnTo>
                    <a:pt x="9285" y="16735"/>
                  </a:lnTo>
                  <a:lnTo>
                    <a:pt x="9302" y="16742"/>
                  </a:lnTo>
                  <a:lnTo>
                    <a:pt x="9316" y="16749"/>
                  </a:lnTo>
                  <a:lnTo>
                    <a:pt x="9334" y="16760"/>
                  </a:lnTo>
                  <a:lnTo>
                    <a:pt x="9351" y="16767"/>
                  </a:lnTo>
                  <a:lnTo>
                    <a:pt x="9369" y="16781"/>
                  </a:lnTo>
                  <a:lnTo>
                    <a:pt x="9383" y="16788"/>
                  </a:lnTo>
                  <a:lnTo>
                    <a:pt x="9404" y="16802"/>
                  </a:lnTo>
                  <a:lnTo>
                    <a:pt x="9421" y="16816"/>
                  </a:lnTo>
                  <a:lnTo>
                    <a:pt x="9442" y="16830"/>
                  </a:lnTo>
                  <a:lnTo>
                    <a:pt x="9460" y="16847"/>
                  </a:lnTo>
                  <a:lnTo>
                    <a:pt x="9463" y="16847"/>
                  </a:lnTo>
                  <a:lnTo>
                    <a:pt x="9502" y="16833"/>
                  </a:lnTo>
                  <a:lnTo>
                    <a:pt x="9509" y="16830"/>
                  </a:lnTo>
                  <a:lnTo>
                    <a:pt x="9533" y="16823"/>
                  </a:lnTo>
                  <a:cubicBezTo>
                    <a:pt x="9565" y="16805"/>
                    <a:pt x="9603" y="16798"/>
                    <a:pt x="9642" y="16795"/>
                  </a:cubicBezTo>
                  <a:cubicBezTo>
                    <a:pt x="9687" y="16760"/>
                    <a:pt x="9726" y="16721"/>
                    <a:pt x="9761" y="16679"/>
                  </a:cubicBezTo>
                  <a:cubicBezTo>
                    <a:pt x="9789" y="16648"/>
                    <a:pt x="9820" y="16609"/>
                    <a:pt x="9855" y="16578"/>
                  </a:cubicBezTo>
                  <a:cubicBezTo>
                    <a:pt x="9883" y="16546"/>
                    <a:pt x="9908" y="16508"/>
                    <a:pt x="9925" y="16469"/>
                  </a:cubicBezTo>
                  <a:cubicBezTo>
                    <a:pt x="9953" y="16414"/>
                    <a:pt x="9989" y="16339"/>
                    <a:pt x="10086" y="16339"/>
                  </a:cubicBezTo>
                  <a:cubicBezTo>
                    <a:pt x="10099" y="16339"/>
                    <a:pt x="10113" y="16340"/>
                    <a:pt x="10128" y="16343"/>
                  </a:cubicBezTo>
                  <a:cubicBezTo>
                    <a:pt x="10132" y="16344"/>
                    <a:pt x="10135" y="16344"/>
                    <a:pt x="10139" y="16344"/>
                  </a:cubicBezTo>
                  <a:cubicBezTo>
                    <a:pt x="10173" y="16344"/>
                    <a:pt x="10205" y="16313"/>
                    <a:pt x="10272" y="16256"/>
                  </a:cubicBezTo>
                  <a:cubicBezTo>
                    <a:pt x="10360" y="16172"/>
                    <a:pt x="10458" y="16102"/>
                    <a:pt x="10563" y="16046"/>
                  </a:cubicBezTo>
                  <a:cubicBezTo>
                    <a:pt x="10646" y="16000"/>
                    <a:pt x="10726" y="15985"/>
                    <a:pt x="10801" y="15985"/>
                  </a:cubicBezTo>
                  <a:cubicBezTo>
                    <a:pt x="10886" y="15985"/>
                    <a:pt x="10963" y="16004"/>
                    <a:pt x="11028" y="16021"/>
                  </a:cubicBezTo>
                  <a:cubicBezTo>
                    <a:pt x="11083" y="16034"/>
                    <a:pt x="11124" y="16045"/>
                    <a:pt x="11155" y="16045"/>
                  </a:cubicBezTo>
                  <a:cubicBezTo>
                    <a:pt x="11173" y="16045"/>
                    <a:pt x="11188" y="16041"/>
                    <a:pt x="11200" y="16032"/>
                  </a:cubicBezTo>
                  <a:cubicBezTo>
                    <a:pt x="11275" y="15968"/>
                    <a:pt x="11374" y="15911"/>
                    <a:pt x="11457" y="15911"/>
                  </a:cubicBezTo>
                  <a:cubicBezTo>
                    <a:pt x="11479" y="15911"/>
                    <a:pt x="11499" y="15915"/>
                    <a:pt x="11518" y="15923"/>
                  </a:cubicBezTo>
                  <a:cubicBezTo>
                    <a:pt x="11564" y="15944"/>
                    <a:pt x="11588" y="15990"/>
                    <a:pt x="11588" y="16039"/>
                  </a:cubicBezTo>
                  <a:cubicBezTo>
                    <a:pt x="11588" y="16074"/>
                    <a:pt x="11634" y="16137"/>
                    <a:pt x="11679" y="16189"/>
                  </a:cubicBezTo>
                  <a:cubicBezTo>
                    <a:pt x="11728" y="16249"/>
                    <a:pt x="11770" y="16312"/>
                    <a:pt x="11798" y="16385"/>
                  </a:cubicBezTo>
                  <a:cubicBezTo>
                    <a:pt x="11802" y="16389"/>
                    <a:pt x="11802" y="16392"/>
                    <a:pt x="11805" y="16396"/>
                  </a:cubicBezTo>
                  <a:cubicBezTo>
                    <a:pt x="11805" y="16399"/>
                    <a:pt x="11809" y="16403"/>
                    <a:pt x="11812" y="16406"/>
                  </a:cubicBezTo>
                  <a:lnTo>
                    <a:pt x="11823" y="16413"/>
                  </a:lnTo>
                  <a:cubicBezTo>
                    <a:pt x="11865" y="16448"/>
                    <a:pt x="11914" y="16473"/>
                    <a:pt x="11966" y="16487"/>
                  </a:cubicBezTo>
                  <a:lnTo>
                    <a:pt x="11970" y="16487"/>
                  </a:lnTo>
                  <a:lnTo>
                    <a:pt x="11984" y="16490"/>
                  </a:lnTo>
                  <a:cubicBezTo>
                    <a:pt x="12001" y="16494"/>
                    <a:pt x="12019" y="16497"/>
                    <a:pt x="12036" y="16501"/>
                  </a:cubicBezTo>
                  <a:lnTo>
                    <a:pt x="12043" y="16501"/>
                  </a:lnTo>
                  <a:lnTo>
                    <a:pt x="12057" y="16490"/>
                  </a:lnTo>
                  <a:lnTo>
                    <a:pt x="12064" y="16487"/>
                  </a:lnTo>
                  <a:lnTo>
                    <a:pt x="12078" y="16480"/>
                  </a:lnTo>
                  <a:lnTo>
                    <a:pt x="12082" y="16480"/>
                  </a:lnTo>
                  <a:lnTo>
                    <a:pt x="12092" y="16473"/>
                  </a:lnTo>
                  <a:lnTo>
                    <a:pt x="12099" y="16466"/>
                  </a:lnTo>
                  <a:cubicBezTo>
                    <a:pt x="12150" y="16434"/>
                    <a:pt x="12209" y="16417"/>
                    <a:pt x="12268" y="16417"/>
                  </a:cubicBezTo>
                  <a:cubicBezTo>
                    <a:pt x="12319" y="16417"/>
                    <a:pt x="12369" y="16429"/>
                    <a:pt x="12415" y="16455"/>
                  </a:cubicBezTo>
                  <a:cubicBezTo>
                    <a:pt x="12502" y="16494"/>
                    <a:pt x="12562" y="16581"/>
                    <a:pt x="12569" y="16679"/>
                  </a:cubicBezTo>
                  <a:cubicBezTo>
                    <a:pt x="12569" y="16875"/>
                    <a:pt x="12600" y="16914"/>
                    <a:pt x="12625" y="16914"/>
                  </a:cubicBezTo>
                  <a:cubicBezTo>
                    <a:pt x="12768" y="16914"/>
                    <a:pt x="12908" y="16942"/>
                    <a:pt x="12908" y="17247"/>
                  </a:cubicBezTo>
                  <a:cubicBezTo>
                    <a:pt x="12908" y="17306"/>
                    <a:pt x="12912" y="17366"/>
                    <a:pt x="12919" y="17429"/>
                  </a:cubicBezTo>
                  <a:cubicBezTo>
                    <a:pt x="12933" y="17621"/>
                    <a:pt x="12950" y="17835"/>
                    <a:pt x="12821" y="18017"/>
                  </a:cubicBezTo>
                  <a:cubicBezTo>
                    <a:pt x="12800" y="18045"/>
                    <a:pt x="12779" y="18073"/>
                    <a:pt x="12754" y="18094"/>
                  </a:cubicBezTo>
                  <a:cubicBezTo>
                    <a:pt x="12740" y="18111"/>
                    <a:pt x="12723" y="18129"/>
                    <a:pt x="12709" y="18143"/>
                  </a:cubicBezTo>
                  <a:cubicBezTo>
                    <a:pt x="12474" y="18395"/>
                    <a:pt x="12295" y="18724"/>
                    <a:pt x="12320" y="18787"/>
                  </a:cubicBezTo>
                  <a:cubicBezTo>
                    <a:pt x="12341" y="18850"/>
                    <a:pt x="12345" y="18916"/>
                    <a:pt x="12334" y="18979"/>
                  </a:cubicBezTo>
                  <a:cubicBezTo>
                    <a:pt x="12334" y="18993"/>
                    <a:pt x="12331" y="19007"/>
                    <a:pt x="12331" y="19021"/>
                  </a:cubicBezTo>
                  <a:cubicBezTo>
                    <a:pt x="12388" y="18992"/>
                    <a:pt x="12465" y="18979"/>
                    <a:pt x="12544" y="18979"/>
                  </a:cubicBezTo>
                  <a:cubicBezTo>
                    <a:pt x="12689" y="18979"/>
                    <a:pt x="12841" y="19022"/>
                    <a:pt x="12898" y="19081"/>
                  </a:cubicBezTo>
                  <a:cubicBezTo>
                    <a:pt x="12933" y="19116"/>
                    <a:pt x="12940" y="19172"/>
                    <a:pt x="12912" y="19214"/>
                  </a:cubicBezTo>
                  <a:cubicBezTo>
                    <a:pt x="12894" y="19242"/>
                    <a:pt x="12894" y="19375"/>
                    <a:pt x="12947" y="19480"/>
                  </a:cubicBezTo>
                  <a:cubicBezTo>
                    <a:pt x="12975" y="19529"/>
                    <a:pt x="13003" y="19561"/>
                    <a:pt x="13031" y="19561"/>
                  </a:cubicBezTo>
                  <a:cubicBezTo>
                    <a:pt x="13146" y="19571"/>
                    <a:pt x="13230" y="19613"/>
                    <a:pt x="13276" y="19680"/>
                  </a:cubicBezTo>
                  <a:cubicBezTo>
                    <a:pt x="13314" y="19743"/>
                    <a:pt x="13321" y="19823"/>
                    <a:pt x="13293" y="19890"/>
                  </a:cubicBezTo>
                  <a:lnTo>
                    <a:pt x="13283" y="19925"/>
                  </a:lnTo>
                  <a:cubicBezTo>
                    <a:pt x="13262" y="19988"/>
                    <a:pt x="13213" y="20128"/>
                    <a:pt x="13227" y="20166"/>
                  </a:cubicBezTo>
                  <a:lnTo>
                    <a:pt x="13234" y="20166"/>
                  </a:lnTo>
                  <a:cubicBezTo>
                    <a:pt x="13349" y="20166"/>
                    <a:pt x="13496" y="20166"/>
                    <a:pt x="13566" y="20250"/>
                  </a:cubicBezTo>
                  <a:cubicBezTo>
                    <a:pt x="13598" y="20289"/>
                    <a:pt x="13612" y="20341"/>
                    <a:pt x="13601" y="20390"/>
                  </a:cubicBezTo>
                  <a:cubicBezTo>
                    <a:pt x="13591" y="20432"/>
                    <a:pt x="13605" y="20474"/>
                    <a:pt x="13636" y="20502"/>
                  </a:cubicBezTo>
                  <a:cubicBezTo>
                    <a:pt x="13659" y="20519"/>
                    <a:pt x="13688" y="20528"/>
                    <a:pt x="13723" y="20528"/>
                  </a:cubicBezTo>
                  <a:cubicBezTo>
                    <a:pt x="13760" y="20528"/>
                    <a:pt x="13803" y="20519"/>
                    <a:pt x="13850" y="20499"/>
                  </a:cubicBezTo>
                  <a:cubicBezTo>
                    <a:pt x="13881" y="20488"/>
                    <a:pt x="13909" y="20474"/>
                    <a:pt x="13934" y="20464"/>
                  </a:cubicBezTo>
                  <a:lnTo>
                    <a:pt x="13962" y="20453"/>
                  </a:lnTo>
                  <a:lnTo>
                    <a:pt x="13965" y="20453"/>
                  </a:lnTo>
                  <a:cubicBezTo>
                    <a:pt x="14006" y="20435"/>
                    <a:pt x="14047" y="20420"/>
                    <a:pt x="14084" y="20420"/>
                  </a:cubicBezTo>
                  <a:cubicBezTo>
                    <a:pt x="14110" y="20420"/>
                    <a:pt x="14134" y="20427"/>
                    <a:pt x="14154" y="20446"/>
                  </a:cubicBezTo>
                  <a:cubicBezTo>
                    <a:pt x="14214" y="20460"/>
                    <a:pt x="14252" y="20523"/>
                    <a:pt x="14280" y="20572"/>
                  </a:cubicBezTo>
                  <a:cubicBezTo>
                    <a:pt x="14312" y="20632"/>
                    <a:pt x="14343" y="20688"/>
                    <a:pt x="14410" y="20705"/>
                  </a:cubicBezTo>
                  <a:lnTo>
                    <a:pt x="14421" y="20705"/>
                  </a:lnTo>
                  <a:cubicBezTo>
                    <a:pt x="14456" y="20670"/>
                    <a:pt x="14410" y="20425"/>
                    <a:pt x="14368" y="20380"/>
                  </a:cubicBezTo>
                  <a:cubicBezTo>
                    <a:pt x="14284" y="20296"/>
                    <a:pt x="14343" y="20075"/>
                    <a:pt x="14410" y="20012"/>
                  </a:cubicBezTo>
                  <a:cubicBezTo>
                    <a:pt x="14424" y="19995"/>
                    <a:pt x="14449" y="19984"/>
                    <a:pt x="14470" y="19981"/>
                  </a:cubicBezTo>
                  <a:cubicBezTo>
                    <a:pt x="14474" y="19980"/>
                    <a:pt x="14477" y="19980"/>
                    <a:pt x="14481" y="19980"/>
                  </a:cubicBezTo>
                  <a:cubicBezTo>
                    <a:pt x="14508" y="19980"/>
                    <a:pt x="14532" y="19990"/>
                    <a:pt x="14550" y="20009"/>
                  </a:cubicBezTo>
                  <a:lnTo>
                    <a:pt x="14554" y="20009"/>
                  </a:lnTo>
                  <a:cubicBezTo>
                    <a:pt x="14561" y="20012"/>
                    <a:pt x="14571" y="20012"/>
                    <a:pt x="14582" y="20012"/>
                  </a:cubicBezTo>
                  <a:lnTo>
                    <a:pt x="14585" y="20012"/>
                  </a:lnTo>
                  <a:cubicBezTo>
                    <a:pt x="14592" y="20012"/>
                    <a:pt x="14599" y="20012"/>
                    <a:pt x="14606" y="20009"/>
                  </a:cubicBezTo>
                  <a:cubicBezTo>
                    <a:pt x="14617" y="20009"/>
                    <a:pt x="14627" y="20005"/>
                    <a:pt x="14634" y="20002"/>
                  </a:cubicBezTo>
                  <a:lnTo>
                    <a:pt x="14662" y="19991"/>
                  </a:lnTo>
                  <a:lnTo>
                    <a:pt x="14683" y="19984"/>
                  </a:lnTo>
                  <a:lnTo>
                    <a:pt x="14690" y="19981"/>
                  </a:lnTo>
                  <a:cubicBezTo>
                    <a:pt x="14701" y="19974"/>
                    <a:pt x="14711" y="19967"/>
                    <a:pt x="14722" y="19963"/>
                  </a:cubicBezTo>
                  <a:lnTo>
                    <a:pt x="14725" y="19963"/>
                  </a:lnTo>
                  <a:cubicBezTo>
                    <a:pt x="14736" y="19956"/>
                    <a:pt x="14746" y="19949"/>
                    <a:pt x="14753" y="19942"/>
                  </a:cubicBezTo>
                  <a:lnTo>
                    <a:pt x="14757" y="19939"/>
                  </a:lnTo>
                  <a:cubicBezTo>
                    <a:pt x="14764" y="19932"/>
                    <a:pt x="14771" y="19925"/>
                    <a:pt x="14778" y="19921"/>
                  </a:cubicBezTo>
                  <a:cubicBezTo>
                    <a:pt x="14792" y="19907"/>
                    <a:pt x="14802" y="19897"/>
                    <a:pt x="14816" y="19883"/>
                  </a:cubicBezTo>
                  <a:cubicBezTo>
                    <a:pt x="14855" y="19836"/>
                    <a:pt x="14902" y="19820"/>
                    <a:pt x="14949" y="19820"/>
                  </a:cubicBezTo>
                  <a:cubicBezTo>
                    <a:pt x="14986" y="19820"/>
                    <a:pt x="15024" y="19830"/>
                    <a:pt x="15058" y="19841"/>
                  </a:cubicBezTo>
                  <a:lnTo>
                    <a:pt x="15068" y="19841"/>
                  </a:lnTo>
                  <a:lnTo>
                    <a:pt x="15093" y="19851"/>
                  </a:lnTo>
                  <a:cubicBezTo>
                    <a:pt x="15138" y="19865"/>
                    <a:pt x="15166" y="19871"/>
                    <a:pt x="15184" y="19871"/>
                  </a:cubicBezTo>
                  <a:cubicBezTo>
                    <a:pt x="15203" y="19871"/>
                    <a:pt x="15211" y="19864"/>
                    <a:pt x="15219" y="19851"/>
                  </a:cubicBezTo>
                  <a:cubicBezTo>
                    <a:pt x="15243" y="19799"/>
                    <a:pt x="15296" y="19767"/>
                    <a:pt x="15355" y="19767"/>
                  </a:cubicBezTo>
                  <a:cubicBezTo>
                    <a:pt x="15404" y="19774"/>
                    <a:pt x="15450" y="19785"/>
                    <a:pt x="15495" y="19806"/>
                  </a:cubicBezTo>
                  <a:cubicBezTo>
                    <a:pt x="15548" y="19824"/>
                    <a:pt x="15597" y="19844"/>
                    <a:pt x="15644" y="19844"/>
                  </a:cubicBezTo>
                  <a:cubicBezTo>
                    <a:pt x="15670" y="19844"/>
                    <a:pt x="15695" y="19838"/>
                    <a:pt x="15719" y="19823"/>
                  </a:cubicBezTo>
                  <a:cubicBezTo>
                    <a:pt x="15767" y="19796"/>
                    <a:pt x="15822" y="19783"/>
                    <a:pt x="15877" y="19783"/>
                  </a:cubicBezTo>
                  <a:cubicBezTo>
                    <a:pt x="15915" y="19783"/>
                    <a:pt x="15953" y="19789"/>
                    <a:pt x="15989" y="19802"/>
                  </a:cubicBezTo>
                  <a:cubicBezTo>
                    <a:pt x="16010" y="19808"/>
                    <a:pt x="16022" y="19811"/>
                    <a:pt x="16031" y="19811"/>
                  </a:cubicBezTo>
                  <a:cubicBezTo>
                    <a:pt x="16044" y="19811"/>
                    <a:pt x="16048" y="19804"/>
                    <a:pt x="16059" y="19785"/>
                  </a:cubicBezTo>
                  <a:cubicBezTo>
                    <a:pt x="16139" y="19645"/>
                    <a:pt x="16360" y="19480"/>
                    <a:pt x="16490" y="19459"/>
                  </a:cubicBezTo>
                  <a:lnTo>
                    <a:pt x="16525" y="19459"/>
                  </a:lnTo>
                  <a:cubicBezTo>
                    <a:pt x="16549" y="19463"/>
                    <a:pt x="16570" y="19470"/>
                    <a:pt x="16588" y="19484"/>
                  </a:cubicBezTo>
                  <a:lnTo>
                    <a:pt x="16595" y="19491"/>
                  </a:lnTo>
                  <a:cubicBezTo>
                    <a:pt x="16609" y="19505"/>
                    <a:pt x="16619" y="19519"/>
                    <a:pt x="16633" y="19533"/>
                  </a:cubicBezTo>
                  <a:cubicBezTo>
                    <a:pt x="16682" y="19599"/>
                    <a:pt x="16749" y="19676"/>
                    <a:pt x="17011" y="19708"/>
                  </a:cubicBezTo>
                  <a:cubicBezTo>
                    <a:pt x="17039" y="19711"/>
                    <a:pt x="17067" y="19718"/>
                    <a:pt x="17099" y="19725"/>
                  </a:cubicBezTo>
                  <a:cubicBezTo>
                    <a:pt x="17158" y="19736"/>
                    <a:pt x="17214" y="19771"/>
                    <a:pt x="17253" y="19823"/>
                  </a:cubicBezTo>
                  <a:cubicBezTo>
                    <a:pt x="17277" y="19872"/>
                    <a:pt x="17281" y="19932"/>
                    <a:pt x="17256" y="19984"/>
                  </a:cubicBezTo>
                  <a:cubicBezTo>
                    <a:pt x="17253" y="19998"/>
                    <a:pt x="17246" y="20016"/>
                    <a:pt x="17239" y="20030"/>
                  </a:cubicBezTo>
                  <a:cubicBezTo>
                    <a:pt x="17228" y="20051"/>
                    <a:pt x="17221" y="20075"/>
                    <a:pt x="17218" y="20100"/>
                  </a:cubicBezTo>
                  <a:cubicBezTo>
                    <a:pt x="17232" y="20170"/>
                    <a:pt x="17568" y="20425"/>
                    <a:pt x="17701" y="20443"/>
                  </a:cubicBezTo>
                  <a:cubicBezTo>
                    <a:pt x="17708" y="20446"/>
                    <a:pt x="17718" y="20446"/>
                    <a:pt x="17725" y="20450"/>
                  </a:cubicBezTo>
                  <a:lnTo>
                    <a:pt x="17729" y="20450"/>
                  </a:lnTo>
                  <a:cubicBezTo>
                    <a:pt x="17739" y="20453"/>
                    <a:pt x="17746" y="20460"/>
                    <a:pt x="17757" y="20464"/>
                  </a:cubicBezTo>
                  <a:lnTo>
                    <a:pt x="17760" y="20467"/>
                  </a:lnTo>
                  <a:cubicBezTo>
                    <a:pt x="17781" y="20481"/>
                    <a:pt x="17799" y="20499"/>
                    <a:pt x="17820" y="20520"/>
                  </a:cubicBezTo>
                  <a:lnTo>
                    <a:pt x="17823" y="20520"/>
                  </a:lnTo>
                  <a:cubicBezTo>
                    <a:pt x="17854" y="20515"/>
                    <a:pt x="17885" y="20511"/>
                    <a:pt x="17917" y="20511"/>
                  </a:cubicBezTo>
                  <a:cubicBezTo>
                    <a:pt x="17929" y="20511"/>
                    <a:pt x="17941" y="20512"/>
                    <a:pt x="17953" y="20513"/>
                  </a:cubicBezTo>
                  <a:cubicBezTo>
                    <a:pt x="18040" y="20513"/>
                    <a:pt x="18065" y="20509"/>
                    <a:pt x="18075" y="20488"/>
                  </a:cubicBezTo>
                  <a:cubicBezTo>
                    <a:pt x="18093" y="20411"/>
                    <a:pt x="18159" y="20359"/>
                    <a:pt x="18236" y="20348"/>
                  </a:cubicBezTo>
                  <a:cubicBezTo>
                    <a:pt x="18240" y="20348"/>
                    <a:pt x="18243" y="20348"/>
                    <a:pt x="18246" y="20348"/>
                  </a:cubicBezTo>
                  <a:cubicBezTo>
                    <a:pt x="18348" y="20348"/>
                    <a:pt x="18441" y="20400"/>
                    <a:pt x="18492" y="20488"/>
                  </a:cubicBezTo>
                  <a:cubicBezTo>
                    <a:pt x="18516" y="20534"/>
                    <a:pt x="18541" y="20555"/>
                    <a:pt x="18559" y="20558"/>
                  </a:cubicBezTo>
                  <a:cubicBezTo>
                    <a:pt x="18561" y="20559"/>
                    <a:pt x="18563" y="20559"/>
                    <a:pt x="18566" y="20559"/>
                  </a:cubicBezTo>
                  <a:cubicBezTo>
                    <a:pt x="18588" y="20559"/>
                    <a:pt x="18627" y="20543"/>
                    <a:pt x="18706" y="20474"/>
                  </a:cubicBezTo>
                  <a:cubicBezTo>
                    <a:pt x="18741" y="20439"/>
                    <a:pt x="18786" y="20418"/>
                    <a:pt x="18835" y="20418"/>
                  </a:cubicBezTo>
                  <a:cubicBezTo>
                    <a:pt x="18849" y="20418"/>
                    <a:pt x="18863" y="20422"/>
                    <a:pt x="18877" y="20425"/>
                  </a:cubicBezTo>
                  <a:cubicBezTo>
                    <a:pt x="18944" y="20453"/>
                    <a:pt x="18989" y="20513"/>
                    <a:pt x="18996" y="20586"/>
                  </a:cubicBezTo>
                  <a:cubicBezTo>
                    <a:pt x="19017" y="20663"/>
                    <a:pt x="18993" y="20744"/>
                    <a:pt x="18937" y="20800"/>
                  </a:cubicBezTo>
                  <a:cubicBezTo>
                    <a:pt x="18919" y="20817"/>
                    <a:pt x="18912" y="20842"/>
                    <a:pt x="18916" y="20866"/>
                  </a:cubicBezTo>
                  <a:cubicBezTo>
                    <a:pt x="18919" y="20985"/>
                    <a:pt x="18972" y="21097"/>
                    <a:pt x="19063" y="21178"/>
                  </a:cubicBezTo>
                  <a:cubicBezTo>
                    <a:pt x="19070" y="21188"/>
                    <a:pt x="19080" y="21199"/>
                    <a:pt x="19094" y="21206"/>
                  </a:cubicBezTo>
                  <a:cubicBezTo>
                    <a:pt x="19112" y="21139"/>
                    <a:pt x="19115" y="21073"/>
                    <a:pt x="19098" y="21006"/>
                  </a:cubicBezTo>
                  <a:cubicBezTo>
                    <a:pt x="19056" y="20828"/>
                    <a:pt x="19283" y="20677"/>
                    <a:pt x="19910" y="20471"/>
                  </a:cubicBezTo>
                  <a:cubicBezTo>
                    <a:pt x="20403" y="20306"/>
                    <a:pt x="20887" y="19967"/>
                    <a:pt x="20932" y="19893"/>
                  </a:cubicBezTo>
                  <a:cubicBezTo>
                    <a:pt x="20936" y="19872"/>
                    <a:pt x="20950" y="19855"/>
                    <a:pt x="20967" y="19841"/>
                  </a:cubicBezTo>
                  <a:cubicBezTo>
                    <a:pt x="20984" y="19830"/>
                    <a:pt x="21003" y="19825"/>
                    <a:pt x="21025" y="19825"/>
                  </a:cubicBezTo>
                  <a:cubicBezTo>
                    <a:pt x="21060" y="19825"/>
                    <a:pt x="21103" y="19837"/>
                    <a:pt x="21160" y="19855"/>
                  </a:cubicBezTo>
                  <a:cubicBezTo>
                    <a:pt x="21225" y="19875"/>
                    <a:pt x="21313" y="19901"/>
                    <a:pt x="21387" y="19901"/>
                  </a:cubicBezTo>
                  <a:cubicBezTo>
                    <a:pt x="21428" y="19901"/>
                    <a:pt x="21465" y="19893"/>
                    <a:pt x="21492" y="19872"/>
                  </a:cubicBezTo>
                  <a:cubicBezTo>
                    <a:pt x="21643" y="19757"/>
                    <a:pt x="22045" y="19725"/>
                    <a:pt x="22423" y="19708"/>
                  </a:cubicBezTo>
                  <a:lnTo>
                    <a:pt x="22472" y="19704"/>
                  </a:lnTo>
                  <a:cubicBezTo>
                    <a:pt x="22535" y="19704"/>
                    <a:pt x="22556" y="19680"/>
                    <a:pt x="22605" y="19610"/>
                  </a:cubicBezTo>
                  <a:cubicBezTo>
                    <a:pt x="22647" y="19543"/>
                    <a:pt x="22700" y="19487"/>
                    <a:pt x="22760" y="19438"/>
                  </a:cubicBezTo>
                  <a:cubicBezTo>
                    <a:pt x="22802" y="19403"/>
                    <a:pt x="22844" y="19361"/>
                    <a:pt x="22875" y="19319"/>
                  </a:cubicBezTo>
                  <a:cubicBezTo>
                    <a:pt x="22931" y="19242"/>
                    <a:pt x="23012" y="19186"/>
                    <a:pt x="23106" y="19168"/>
                  </a:cubicBezTo>
                  <a:cubicBezTo>
                    <a:pt x="23271" y="19119"/>
                    <a:pt x="23372" y="18965"/>
                    <a:pt x="23372" y="18899"/>
                  </a:cubicBezTo>
                  <a:cubicBezTo>
                    <a:pt x="23372" y="18804"/>
                    <a:pt x="23481" y="18766"/>
                    <a:pt x="23596" y="18724"/>
                  </a:cubicBezTo>
                  <a:cubicBezTo>
                    <a:pt x="23642" y="18706"/>
                    <a:pt x="23726" y="18675"/>
                    <a:pt x="23747" y="18654"/>
                  </a:cubicBezTo>
                  <a:cubicBezTo>
                    <a:pt x="23754" y="18573"/>
                    <a:pt x="23834" y="18528"/>
                    <a:pt x="23908" y="18489"/>
                  </a:cubicBezTo>
                  <a:cubicBezTo>
                    <a:pt x="23957" y="18461"/>
                    <a:pt x="24020" y="18426"/>
                    <a:pt x="24020" y="18398"/>
                  </a:cubicBezTo>
                  <a:cubicBezTo>
                    <a:pt x="24020" y="18279"/>
                    <a:pt x="24114" y="18237"/>
                    <a:pt x="24174" y="18213"/>
                  </a:cubicBezTo>
                  <a:cubicBezTo>
                    <a:pt x="24209" y="18202"/>
                    <a:pt x="24240" y="18181"/>
                    <a:pt x="24268" y="18153"/>
                  </a:cubicBezTo>
                  <a:cubicBezTo>
                    <a:pt x="24286" y="18132"/>
                    <a:pt x="24279" y="18055"/>
                    <a:pt x="24272" y="18003"/>
                  </a:cubicBezTo>
                  <a:cubicBezTo>
                    <a:pt x="24261" y="17894"/>
                    <a:pt x="24251" y="17751"/>
                    <a:pt x="24370" y="17712"/>
                  </a:cubicBezTo>
                  <a:cubicBezTo>
                    <a:pt x="24356" y="17681"/>
                    <a:pt x="24338" y="17653"/>
                    <a:pt x="24317" y="17628"/>
                  </a:cubicBezTo>
                  <a:cubicBezTo>
                    <a:pt x="24293" y="17597"/>
                    <a:pt x="24272" y="17562"/>
                    <a:pt x="24258" y="17527"/>
                  </a:cubicBezTo>
                  <a:cubicBezTo>
                    <a:pt x="24251" y="17502"/>
                    <a:pt x="24251" y="17478"/>
                    <a:pt x="24265" y="17457"/>
                  </a:cubicBezTo>
                  <a:cubicBezTo>
                    <a:pt x="24293" y="17401"/>
                    <a:pt x="24363" y="17380"/>
                    <a:pt x="24461" y="17352"/>
                  </a:cubicBezTo>
                  <a:cubicBezTo>
                    <a:pt x="24531" y="17334"/>
                    <a:pt x="24601" y="17310"/>
                    <a:pt x="24664" y="17275"/>
                  </a:cubicBezTo>
                  <a:cubicBezTo>
                    <a:pt x="24783" y="17198"/>
                    <a:pt x="24864" y="17078"/>
                    <a:pt x="24885" y="16938"/>
                  </a:cubicBezTo>
                  <a:cubicBezTo>
                    <a:pt x="24916" y="16739"/>
                    <a:pt x="25189" y="16592"/>
                    <a:pt x="25284" y="16557"/>
                  </a:cubicBezTo>
                  <a:cubicBezTo>
                    <a:pt x="25340" y="16532"/>
                    <a:pt x="25385" y="16364"/>
                    <a:pt x="25354" y="16186"/>
                  </a:cubicBezTo>
                  <a:cubicBezTo>
                    <a:pt x="25333" y="16105"/>
                    <a:pt x="25368" y="16021"/>
                    <a:pt x="25438" y="15979"/>
                  </a:cubicBezTo>
                  <a:cubicBezTo>
                    <a:pt x="25413" y="15944"/>
                    <a:pt x="25406" y="15902"/>
                    <a:pt x="25413" y="15864"/>
                  </a:cubicBezTo>
                  <a:cubicBezTo>
                    <a:pt x="25431" y="15762"/>
                    <a:pt x="25529" y="15657"/>
                    <a:pt x="25644" y="15601"/>
                  </a:cubicBezTo>
                  <a:cubicBezTo>
                    <a:pt x="25639" y="15601"/>
                    <a:pt x="25634" y="15600"/>
                    <a:pt x="25630" y="15600"/>
                  </a:cubicBezTo>
                  <a:cubicBezTo>
                    <a:pt x="25605" y="15600"/>
                    <a:pt x="25580" y="15607"/>
                    <a:pt x="25557" y="15619"/>
                  </a:cubicBezTo>
                  <a:cubicBezTo>
                    <a:pt x="25531" y="15638"/>
                    <a:pt x="25506" y="15646"/>
                    <a:pt x="25482" y="15646"/>
                  </a:cubicBezTo>
                  <a:cubicBezTo>
                    <a:pt x="25416" y="15646"/>
                    <a:pt x="25356" y="15587"/>
                    <a:pt x="25315" y="15549"/>
                  </a:cubicBezTo>
                  <a:cubicBezTo>
                    <a:pt x="25298" y="15528"/>
                    <a:pt x="25277" y="15510"/>
                    <a:pt x="25256" y="15493"/>
                  </a:cubicBezTo>
                  <a:cubicBezTo>
                    <a:pt x="25222" y="15536"/>
                    <a:pt x="25171" y="15558"/>
                    <a:pt x="25115" y="15558"/>
                  </a:cubicBezTo>
                  <a:cubicBezTo>
                    <a:pt x="25085" y="15558"/>
                    <a:pt x="25053" y="15552"/>
                    <a:pt x="25021" y="15538"/>
                  </a:cubicBezTo>
                  <a:cubicBezTo>
                    <a:pt x="24948" y="15510"/>
                    <a:pt x="24881" y="15451"/>
                    <a:pt x="24885" y="15377"/>
                  </a:cubicBezTo>
                  <a:cubicBezTo>
                    <a:pt x="24885" y="15353"/>
                    <a:pt x="24902" y="15297"/>
                    <a:pt x="24997" y="15276"/>
                  </a:cubicBezTo>
                  <a:cubicBezTo>
                    <a:pt x="25088" y="15255"/>
                    <a:pt x="25224" y="15174"/>
                    <a:pt x="25343" y="15108"/>
                  </a:cubicBezTo>
                  <a:cubicBezTo>
                    <a:pt x="25406" y="15069"/>
                    <a:pt x="25469" y="15034"/>
                    <a:pt x="25539" y="15002"/>
                  </a:cubicBezTo>
                  <a:cubicBezTo>
                    <a:pt x="25498" y="14940"/>
                    <a:pt x="25347" y="14820"/>
                    <a:pt x="25259" y="14820"/>
                  </a:cubicBezTo>
                  <a:cubicBezTo>
                    <a:pt x="25258" y="14820"/>
                    <a:pt x="25257" y="14820"/>
                    <a:pt x="25256" y="14820"/>
                  </a:cubicBezTo>
                  <a:cubicBezTo>
                    <a:pt x="25252" y="14821"/>
                    <a:pt x="25248" y="14821"/>
                    <a:pt x="25245" y="14821"/>
                  </a:cubicBezTo>
                  <a:cubicBezTo>
                    <a:pt x="25141" y="14821"/>
                    <a:pt x="25056" y="14726"/>
                    <a:pt x="24965" y="14624"/>
                  </a:cubicBezTo>
                  <a:cubicBezTo>
                    <a:pt x="24899" y="14554"/>
                    <a:pt x="24818" y="14467"/>
                    <a:pt x="24765" y="14467"/>
                  </a:cubicBezTo>
                  <a:cubicBezTo>
                    <a:pt x="24741" y="14467"/>
                    <a:pt x="24678" y="14467"/>
                    <a:pt x="24657" y="14414"/>
                  </a:cubicBezTo>
                  <a:cubicBezTo>
                    <a:pt x="24646" y="14383"/>
                    <a:pt x="24657" y="14351"/>
                    <a:pt x="24681" y="14334"/>
                  </a:cubicBezTo>
                  <a:cubicBezTo>
                    <a:pt x="24712" y="14305"/>
                    <a:pt x="24798" y="14280"/>
                    <a:pt x="24896" y="14280"/>
                  </a:cubicBezTo>
                  <a:cubicBezTo>
                    <a:pt x="24965" y="14280"/>
                    <a:pt x="25041" y="14293"/>
                    <a:pt x="25105" y="14327"/>
                  </a:cubicBezTo>
                  <a:cubicBezTo>
                    <a:pt x="25290" y="14422"/>
                    <a:pt x="25403" y="14448"/>
                    <a:pt x="25463" y="14448"/>
                  </a:cubicBezTo>
                  <a:cubicBezTo>
                    <a:pt x="25480" y="14448"/>
                    <a:pt x="25492" y="14445"/>
                    <a:pt x="25501" y="14442"/>
                  </a:cubicBezTo>
                  <a:cubicBezTo>
                    <a:pt x="25480" y="14390"/>
                    <a:pt x="25354" y="14246"/>
                    <a:pt x="25060" y="14015"/>
                  </a:cubicBezTo>
                  <a:cubicBezTo>
                    <a:pt x="24948" y="13928"/>
                    <a:pt x="24958" y="13823"/>
                    <a:pt x="24965" y="13753"/>
                  </a:cubicBezTo>
                  <a:cubicBezTo>
                    <a:pt x="24969" y="13718"/>
                    <a:pt x="24972" y="13693"/>
                    <a:pt x="24962" y="13686"/>
                  </a:cubicBezTo>
                  <a:cubicBezTo>
                    <a:pt x="24850" y="13606"/>
                    <a:pt x="24650" y="13158"/>
                    <a:pt x="24590" y="12993"/>
                  </a:cubicBezTo>
                  <a:cubicBezTo>
                    <a:pt x="24562" y="12912"/>
                    <a:pt x="24450" y="12860"/>
                    <a:pt x="24345" y="12818"/>
                  </a:cubicBezTo>
                  <a:cubicBezTo>
                    <a:pt x="24247" y="12772"/>
                    <a:pt x="24160" y="12737"/>
                    <a:pt x="24114" y="12671"/>
                  </a:cubicBezTo>
                  <a:cubicBezTo>
                    <a:pt x="24069" y="12587"/>
                    <a:pt x="24058" y="12489"/>
                    <a:pt x="24093" y="12401"/>
                  </a:cubicBezTo>
                  <a:cubicBezTo>
                    <a:pt x="24139" y="12247"/>
                    <a:pt x="24254" y="12125"/>
                    <a:pt x="24401" y="12062"/>
                  </a:cubicBezTo>
                  <a:cubicBezTo>
                    <a:pt x="24482" y="12034"/>
                    <a:pt x="24538" y="11967"/>
                    <a:pt x="24552" y="11883"/>
                  </a:cubicBezTo>
                  <a:cubicBezTo>
                    <a:pt x="24564" y="11846"/>
                    <a:pt x="24585" y="11764"/>
                    <a:pt x="24667" y="11764"/>
                  </a:cubicBezTo>
                  <a:cubicBezTo>
                    <a:pt x="24676" y="11764"/>
                    <a:pt x="24687" y="11765"/>
                    <a:pt x="24699" y="11768"/>
                  </a:cubicBezTo>
                  <a:cubicBezTo>
                    <a:pt x="24711" y="11770"/>
                    <a:pt x="24724" y="11772"/>
                    <a:pt x="24737" y="11772"/>
                  </a:cubicBezTo>
                  <a:cubicBezTo>
                    <a:pt x="24794" y="11772"/>
                    <a:pt x="24858" y="11738"/>
                    <a:pt x="24927" y="11593"/>
                  </a:cubicBezTo>
                  <a:cubicBezTo>
                    <a:pt x="24993" y="11449"/>
                    <a:pt x="25105" y="11442"/>
                    <a:pt x="25175" y="11435"/>
                  </a:cubicBezTo>
                  <a:cubicBezTo>
                    <a:pt x="25224" y="11432"/>
                    <a:pt x="25249" y="11428"/>
                    <a:pt x="25270" y="11407"/>
                  </a:cubicBezTo>
                  <a:cubicBezTo>
                    <a:pt x="25329" y="11341"/>
                    <a:pt x="25459" y="11320"/>
                    <a:pt x="25609" y="11292"/>
                  </a:cubicBezTo>
                  <a:cubicBezTo>
                    <a:pt x="25721" y="11274"/>
                    <a:pt x="25847" y="11250"/>
                    <a:pt x="25903" y="11211"/>
                  </a:cubicBezTo>
                  <a:cubicBezTo>
                    <a:pt x="25921" y="11201"/>
                    <a:pt x="25910" y="11169"/>
                    <a:pt x="25903" y="11148"/>
                  </a:cubicBezTo>
                  <a:cubicBezTo>
                    <a:pt x="25862" y="11065"/>
                    <a:pt x="25752" y="10977"/>
                    <a:pt x="25669" y="10977"/>
                  </a:cubicBezTo>
                  <a:cubicBezTo>
                    <a:pt x="25660" y="10977"/>
                    <a:pt x="25652" y="10978"/>
                    <a:pt x="25644" y="10980"/>
                  </a:cubicBezTo>
                  <a:cubicBezTo>
                    <a:pt x="25600" y="10991"/>
                    <a:pt x="25556" y="10996"/>
                    <a:pt x="25512" y="10996"/>
                  </a:cubicBezTo>
                  <a:cubicBezTo>
                    <a:pt x="25323" y="10996"/>
                    <a:pt x="25144" y="10900"/>
                    <a:pt x="25039" y="10735"/>
                  </a:cubicBezTo>
                  <a:cubicBezTo>
                    <a:pt x="25032" y="10724"/>
                    <a:pt x="25025" y="10724"/>
                    <a:pt x="25025" y="10724"/>
                  </a:cubicBezTo>
                  <a:cubicBezTo>
                    <a:pt x="25023" y="10724"/>
                    <a:pt x="25022" y="10724"/>
                    <a:pt x="25020" y="10724"/>
                  </a:cubicBezTo>
                  <a:cubicBezTo>
                    <a:pt x="24962" y="10724"/>
                    <a:pt x="24833" y="10856"/>
                    <a:pt x="24737" y="10952"/>
                  </a:cubicBezTo>
                  <a:cubicBezTo>
                    <a:pt x="24622" y="11068"/>
                    <a:pt x="24506" y="11183"/>
                    <a:pt x="24391" y="11236"/>
                  </a:cubicBezTo>
                  <a:cubicBezTo>
                    <a:pt x="24349" y="11257"/>
                    <a:pt x="24304" y="11268"/>
                    <a:pt x="24259" y="11268"/>
                  </a:cubicBezTo>
                  <a:cubicBezTo>
                    <a:pt x="24187" y="11268"/>
                    <a:pt x="24117" y="11240"/>
                    <a:pt x="24065" y="11187"/>
                  </a:cubicBezTo>
                  <a:cubicBezTo>
                    <a:pt x="23943" y="11061"/>
                    <a:pt x="23904" y="10878"/>
                    <a:pt x="23964" y="10717"/>
                  </a:cubicBezTo>
                  <a:cubicBezTo>
                    <a:pt x="23971" y="10700"/>
                    <a:pt x="23981" y="10668"/>
                    <a:pt x="23971" y="10654"/>
                  </a:cubicBezTo>
                  <a:cubicBezTo>
                    <a:pt x="23945" y="10616"/>
                    <a:pt x="23829" y="10606"/>
                    <a:pt x="23700" y="10606"/>
                  </a:cubicBezTo>
                  <a:cubicBezTo>
                    <a:pt x="23620" y="10606"/>
                    <a:pt x="23534" y="10610"/>
                    <a:pt x="23463" y="10612"/>
                  </a:cubicBezTo>
                  <a:cubicBezTo>
                    <a:pt x="23458" y="10613"/>
                    <a:pt x="23453" y="10613"/>
                    <a:pt x="23448" y="10613"/>
                  </a:cubicBezTo>
                  <a:cubicBezTo>
                    <a:pt x="23292" y="10613"/>
                    <a:pt x="23190" y="10509"/>
                    <a:pt x="23173" y="10332"/>
                  </a:cubicBezTo>
                  <a:cubicBezTo>
                    <a:pt x="23152" y="10112"/>
                    <a:pt x="23267" y="9828"/>
                    <a:pt x="23442" y="9804"/>
                  </a:cubicBezTo>
                  <a:cubicBezTo>
                    <a:pt x="23465" y="9802"/>
                    <a:pt x="23489" y="9800"/>
                    <a:pt x="23512" y="9800"/>
                  </a:cubicBezTo>
                  <a:cubicBezTo>
                    <a:pt x="23566" y="9800"/>
                    <a:pt x="23620" y="9807"/>
                    <a:pt x="23673" y="9821"/>
                  </a:cubicBezTo>
                  <a:cubicBezTo>
                    <a:pt x="23733" y="9832"/>
                    <a:pt x="23788" y="9841"/>
                    <a:pt x="23837" y="9841"/>
                  </a:cubicBezTo>
                  <a:cubicBezTo>
                    <a:pt x="23937" y="9841"/>
                    <a:pt x="24014" y="9801"/>
                    <a:pt x="24065" y="9646"/>
                  </a:cubicBezTo>
                  <a:cubicBezTo>
                    <a:pt x="24153" y="9394"/>
                    <a:pt x="24275" y="9377"/>
                    <a:pt x="24391" y="9359"/>
                  </a:cubicBezTo>
                  <a:cubicBezTo>
                    <a:pt x="24489" y="9345"/>
                    <a:pt x="24587" y="9328"/>
                    <a:pt x="24716" y="9177"/>
                  </a:cubicBezTo>
                  <a:cubicBezTo>
                    <a:pt x="24983" y="8869"/>
                    <a:pt x="25243" y="8711"/>
                    <a:pt x="25466" y="8711"/>
                  </a:cubicBezTo>
                  <a:cubicBezTo>
                    <a:pt x="25565" y="8711"/>
                    <a:pt x="25657" y="8742"/>
                    <a:pt x="25739" y="8806"/>
                  </a:cubicBezTo>
                  <a:cubicBezTo>
                    <a:pt x="25795" y="8845"/>
                    <a:pt x="25830" y="8908"/>
                    <a:pt x="25837" y="8978"/>
                  </a:cubicBezTo>
                  <a:cubicBezTo>
                    <a:pt x="25844" y="9128"/>
                    <a:pt x="25700" y="9275"/>
                    <a:pt x="25560" y="9419"/>
                  </a:cubicBezTo>
                  <a:cubicBezTo>
                    <a:pt x="25487" y="9496"/>
                    <a:pt x="25410" y="9573"/>
                    <a:pt x="25385" y="9629"/>
                  </a:cubicBezTo>
                  <a:cubicBezTo>
                    <a:pt x="25361" y="9681"/>
                    <a:pt x="25357" y="9741"/>
                    <a:pt x="25375" y="9800"/>
                  </a:cubicBezTo>
                  <a:cubicBezTo>
                    <a:pt x="25403" y="9898"/>
                    <a:pt x="25371" y="10003"/>
                    <a:pt x="25291" y="10070"/>
                  </a:cubicBezTo>
                  <a:cubicBezTo>
                    <a:pt x="25284" y="10073"/>
                    <a:pt x="25277" y="10080"/>
                    <a:pt x="25273" y="10087"/>
                  </a:cubicBezTo>
                  <a:cubicBezTo>
                    <a:pt x="25326" y="10084"/>
                    <a:pt x="25438" y="10056"/>
                    <a:pt x="25588" y="9958"/>
                  </a:cubicBezTo>
                  <a:cubicBezTo>
                    <a:pt x="25921" y="9744"/>
                    <a:pt x="26302" y="9510"/>
                    <a:pt x="26610" y="9387"/>
                  </a:cubicBezTo>
                  <a:cubicBezTo>
                    <a:pt x="26680" y="9359"/>
                    <a:pt x="26755" y="9345"/>
                    <a:pt x="26830" y="9345"/>
                  </a:cubicBezTo>
                  <a:cubicBezTo>
                    <a:pt x="26839" y="9345"/>
                    <a:pt x="26847" y="9345"/>
                    <a:pt x="26856" y="9345"/>
                  </a:cubicBezTo>
                  <a:lnTo>
                    <a:pt x="26856" y="9342"/>
                  </a:lnTo>
                  <a:lnTo>
                    <a:pt x="26863" y="9324"/>
                  </a:lnTo>
                  <a:cubicBezTo>
                    <a:pt x="26866" y="9314"/>
                    <a:pt x="26873" y="9303"/>
                    <a:pt x="26877" y="9296"/>
                  </a:cubicBezTo>
                  <a:lnTo>
                    <a:pt x="26884" y="9279"/>
                  </a:lnTo>
                  <a:lnTo>
                    <a:pt x="26898" y="9254"/>
                  </a:lnTo>
                  <a:lnTo>
                    <a:pt x="26905" y="9237"/>
                  </a:lnTo>
                  <a:lnTo>
                    <a:pt x="26919" y="9216"/>
                  </a:lnTo>
                  <a:lnTo>
                    <a:pt x="26929" y="9202"/>
                  </a:lnTo>
                  <a:lnTo>
                    <a:pt x="26943" y="9184"/>
                  </a:lnTo>
                  <a:lnTo>
                    <a:pt x="26950" y="9174"/>
                  </a:lnTo>
                  <a:lnTo>
                    <a:pt x="26964" y="9160"/>
                  </a:lnTo>
                  <a:lnTo>
                    <a:pt x="26975" y="9149"/>
                  </a:lnTo>
                  <a:cubicBezTo>
                    <a:pt x="26978" y="9146"/>
                    <a:pt x="26985" y="9142"/>
                    <a:pt x="26989" y="9135"/>
                  </a:cubicBezTo>
                  <a:lnTo>
                    <a:pt x="26999" y="9132"/>
                  </a:lnTo>
                  <a:cubicBezTo>
                    <a:pt x="27006" y="9125"/>
                    <a:pt x="27013" y="9121"/>
                    <a:pt x="27024" y="9114"/>
                  </a:cubicBezTo>
                  <a:cubicBezTo>
                    <a:pt x="27062" y="9097"/>
                    <a:pt x="27118" y="9072"/>
                    <a:pt x="27181" y="9037"/>
                  </a:cubicBezTo>
                  <a:cubicBezTo>
                    <a:pt x="27430" y="8918"/>
                    <a:pt x="27944" y="8673"/>
                    <a:pt x="28021" y="8571"/>
                  </a:cubicBezTo>
                  <a:cubicBezTo>
                    <a:pt x="28046" y="8536"/>
                    <a:pt x="28074" y="8494"/>
                    <a:pt x="28102" y="8449"/>
                  </a:cubicBezTo>
                  <a:cubicBezTo>
                    <a:pt x="28193" y="8305"/>
                    <a:pt x="28284" y="8158"/>
                    <a:pt x="28427" y="8158"/>
                  </a:cubicBezTo>
                  <a:cubicBezTo>
                    <a:pt x="28494" y="8158"/>
                    <a:pt x="28557" y="8186"/>
                    <a:pt x="28602" y="8232"/>
                  </a:cubicBezTo>
                  <a:cubicBezTo>
                    <a:pt x="28648" y="8274"/>
                    <a:pt x="28707" y="8299"/>
                    <a:pt x="28766" y="8299"/>
                  </a:cubicBezTo>
                  <a:cubicBezTo>
                    <a:pt x="28770" y="8299"/>
                    <a:pt x="28773" y="8299"/>
                    <a:pt x="28777" y="8298"/>
                  </a:cubicBezTo>
                  <a:cubicBezTo>
                    <a:pt x="28830" y="8298"/>
                    <a:pt x="28882" y="8302"/>
                    <a:pt x="28935" y="8305"/>
                  </a:cubicBezTo>
                  <a:cubicBezTo>
                    <a:pt x="28964" y="8309"/>
                    <a:pt x="28992" y="8311"/>
                    <a:pt x="29022" y="8311"/>
                  </a:cubicBezTo>
                  <a:cubicBezTo>
                    <a:pt x="29043" y="8311"/>
                    <a:pt x="29064" y="8310"/>
                    <a:pt x="29086" y="8309"/>
                  </a:cubicBezTo>
                  <a:cubicBezTo>
                    <a:pt x="29082" y="8305"/>
                    <a:pt x="29079" y="8298"/>
                    <a:pt x="29075" y="8291"/>
                  </a:cubicBezTo>
                  <a:cubicBezTo>
                    <a:pt x="29065" y="8270"/>
                    <a:pt x="29054" y="8253"/>
                    <a:pt x="29044" y="8235"/>
                  </a:cubicBezTo>
                  <a:cubicBezTo>
                    <a:pt x="29026" y="8204"/>
                    <a:pt x="29019" y="8169"/>
                    <a:pt x="29019" y="8134"/>
                  </a:cubicBezTo>
                  <a:cubicBezTo>
                    <a:pt x="29019" y="8120"/>
                    <a:pt x="29023" y="8106"/>
                    <a:pt x="29030" y="8092"/>
                  </a:cubicBezTo>
                  <a:cubicBezTo>
                    <a:pt x="29054" y="8039"/>
                    <a:pt x="29110" y="8018"/>
                    <a:pt x="29198" y="8004"/>
                  </a:cubicBezTo>
                  <a:cubicBezTo>
                    <a:pt x="29226" y="7997"/>
                    <a:pt x="29261" y="7994"/>
                    <a:pt x="29299" y="7987"/>
                  </a:cubicBezTo>
                  <a:lnTo>
                    <a:pt x="29334" y="7983"/>
                  </a:lnTo>
                  <a:cubicBezTo>
                    <a:pt x="29436" y="7969"/>
                    <a:pt x="29474" y="7913"/>
                    <a:pt x="29516" y="7847"/>
                  </a:cubicBezTo>
                  <a:cubicBezTo>
                    <a:pt x="29558" y="7780"/>
                    <a:pt x="29614" y="7700"/>
                    <a:pt x="29730" y="7700"/>
                  </a:cubicBezTo>
                  <a:cubicBezTo>
                    <a:pt x="29772" y="7700"/>
                    <a:pt x="29800" y="7612"/>
                    <a:pt x="29828" y="7535"/>
                  </a:cubicBezTo>
                  <a:cubicBezTo>
                    <a:pt x="29866" y="7420"/>
                    <a:pt x="29912" y="7280"/>
                    <a:pt x="30045" y="7280"/>
                  </a:cubicBezTo>
                  <a:cubicBezTo>
                    <a:pt x="30146" y="7280"/>
                    <a:pt x="30216" y="7336"/>
                    <a:pt x="30279" y="7388"/>
                  </a:cubicBezTo>
                  <a:cubicBezTo>
                    <a:pt x="30300" y="7409"/>
                    <a:pt x="30328" y="7427"/>
                    <a:pt x="30356" y="7444"/>
                  </a:cubicBezTo>
                  <a:cubicBezTo>
                    <a:pt x="30378" y="7458"/>
                    <a:pt x="30405" y="7467"/>
                    <a:pt x="30432" y="7467"/>
                  </a:cubicBezTo>
                  <a:cubicBezTo>
                    <a:pt x="30439" y="7467"/>
                    <a:pt x="30447" y="7467"/>
                    <a:pt x="30454" y="7465"/>
                  </a:cubicBezTo>
                  <a:cubicBezTo>
                    <a:pt x="30461" y="7465"/>
                    <a:pt x="30468" y="7462"/>
                    <a:pt x="30475" y="7458"/>
                  </a:cubicBezTo>
                  <a:lnTo>
                    <a:pt x="30482" y="7458"/>
                  </a:lnTo>
                  <a:cubicBezTo>
                    <a:pt x="30493" y="7455"/>
                    <a:pt x="30507" y="7451"/>
                    <a:pt x="30521" y="7451"/>
                  </a:cubicBezTo>
                  <a:lnTo>
                    <a:pt x="30563" y="7451"/>
                  </a:lnTo>
                  <a:lnTo>
                    <a:pt x="30580" y="7455"/>
                  </a:lnTo>
                  <a:cubicBezTo>
                    <a:pt x="30591" y="7455"/>
                    <a:pt x="30601" y="7458"/>
                    <a:pt x="30612" y="7462"/>
                  </a:cubicBezTo>
                  <a:lnTo>
                    <a:pt x="30629" y="7465"/>
                  </a:lnTo>
                  <a:lnTo>
                    <a:pt x="30640" y="7469"/>
                  </a:lnTo>
                  <a:cubicBezTo>
                    <a:pt x="30664" y="7451"/>
                    <a:pt x="30692" y="7430"/>
                    <a:pt x="30717" y="7413"/>
                  </a:cubicBezTo>
                  <a:cubicBezTo>
                    <a:pt x="30710" y="7332"/>
                    <a:pt x="30710" y="7259"/>
                    <a:pt x="30710" y="7192"/>
                  </a:cubicBezTo>
                  <a:cubicBezTo>
                    <a:pt x="30710" y="7087"/>
                    <a:pt x="30710" y="6996"/>
                    <a:pt x="30685" y="6947"/>
                  </a:cubicBezTo>
                  <a:cubicBezTo>
                    <a:pt x="30643" y="6839"/>
                    <a:pt x="30633" y="6726"/>
                    <a:pt x="30650" y="6614"/>
                  </a:cubicBezTo>
                  <a:cubicBezTo>
                    <a:pt x="30654" y="6586"/>
                    <a:pt x="30657" y="6565"/>
                    <a:pt x="30657" y="6544"/>
                  </a:cubicBezTo>
                  <a:cubicBezTo>
                    <a:pt x="30657" y="6523"/>
                    <a:pt x="30654" y="6506"/>
                    <a:pt x="30650" y="6485"/>
                  </a:cubicBezTo>
                  <a:cubicBezTo>
                    <a:pt x="30626" y="6397"/>
                    <a:pt x="30598" y="6180"/>
                    <a:pt x="30678" y="6072"/>
                  </a:cubicBezTo>
                  <a:cubicBezTo>
                    <a:pt x="30706" y="6037"/>
                    <a:pt x="30748" y="6016"/>
                    <a:pt x="30794" y="6016"/>
                  </a:cubicBezTo>
                  <a:cubicBezTo>
                    <a:pt x="30822" y="6016"/>
                    <a:pt x="30878" y="5963"/>
                    <a:pt x="30920" y="5925"/>
                  </a:cubicBezTo>
                  <a:cubicBezTo>
                    <a:pt x="30990" y="5860"/>
                    <a:pt x="31080" y="5778"/>
                    <a:pt x="31178" y="5778"/>
                  </a:cubicBezTo>
                  <a:cubicBezTo>
                    <a:pt x="31202" y="5778"/>
                    <a:pt x="31227" y="5783"/>
                    <a:pt x="31253" y="5795"/>
                  </a:cubicBezTo>
                  <a:cubicBezTo>
                    <a:pt x="31263" y="5802"/>
                    <a:pt x="31274" y="5809"/>
                    <a:pt x="31284" y="5816"/>
                  </a:cubicBezTo>
                  <a:cubicBezTo>
                    <a:pt x="31364" y="5871"/>
                    <a:pt x="31483" y="5901"/>
                    <a:pt x="31569" y="5901"/>
                  </a:cubicBezTo>
                  <a:cubicBezTo>
                    <a:pt x="31603" y="5901"/>
                    <a:pt x="31633" y="5896"/>
                    <a:pt x="31652" y="5886"/>
                  </a:cubicBezTo>
                  <a:cubicBezTo>
                    <a:pt x="31666" y="5879"/>
                    <a:pt x="31666" y="5876"/>
                    <a:pt x="31666" y="5869"/>
                  </a:cubicBezTo>
                  <a:cubicBezTo>
                    <a:pt x="31666" y="5767"/>
                    <a:pt x="31739" y="5711"/>
                    <a:pt x="31802" y="5662"/>
                  </a:cubicBezTo>
                  <a:cubicBezTo>
                    <a:pt x="31823" y="5648"/>
                    <a:pt x="31844" y="5631"/>
                    <a:pt x="31865" y="5613"/>
                  </a:cubicBezTo>
                  <a:cubicBezTo>
                    <a:pt x="31897" y="5585"/>
                    <a:pt x="31918" y="5547"/>
                    <a:pt x="31928" y="5501"/>
                  </a:cubicBezTo>
                  <a:cubicBezTo>
                    <a:pt x="31932" y="5473"/>
                    <a:pt x="31939" y="5442"/>
                    <a:pt x="31953" y="5414"/>
                  </a:cubicBezTo>
                  <a:cubicBezTo>
                    <a:pt x="31995" y="5344"/>
                    <a:pt x="32047" y="5284"/>
                    <a:pt x="32114" y="5235"/>
                  </a:cubicBezTo>
                  <a:cubicBezTo>
                    <a:pt x="32180" y="5183"/>
                    <a:pt x="32233" y="5137"/>
                    <a:pt x="32250" y="5074"/>
                  </a:cubicBezTo>
                  <a:cubicBezTo>
                    <a:pt x="32257" y="5050"/>
                    <a:pt x="32264" y="5018"/>
                    <a:pt x="32275" y="4983"/>
                  </a:cubicBezTo>
                  <a:cubicBezTo>
                    <a:pt x="32324" y="4784"/>
                    <a:pt x="32376" y="4598"/>
                    <a:pt x="32450" y="4468"/>
                  </a:cubicBezTo>
                  <a:cubicBezTo>
                    <a:pt x="32478" y="4416"/>
                    <a:pt x="32520" y="4370"/>
                    <a:pt x="32569" y="4339"/>
                  </a:cubicBezTo>
                  <a:cubicBezTo>
                    <a:pt x="32611" y="4314"/>
                    <a:pt x="32611" y="4314"/>
                    <a:pt x="32583" y="4248"/>
                  </a:cubicBezTo>
                  <a:cubicBezTo>
                    <a:pt x="32576" y="4230"/>
                    <a:pt x="32569" y="4213"/>
                    <a:pt x="32558" y="4192"/>
                  </a:cubicBezTo>
                  <a:cubicBezTo>
                    <a:pt x="32530" y="4111"/>
                    <a:pt x="32516" y="4024"/>
                    <a:pt x="32523" y="3940"/>
                  </a:cubicBezTo>
                  <a:cubicBezTo>
                    <a:pt x="32527" y="3905"/>
                    <a:pt x="32520" y="3870"/>
                    <a:pt x="32499" y="3842"/>
                  </a:cubicBezTo>
                  <a:cubicBezTo>
                    <a:pt x="32495" y="3835"/>
                    <a:pt x="32488" y="3831"/>
                    <a:pt x="32481" y="3828"/>
                  </a:cubicBezTo>
                  <a:cubicBezTo>
                    <a:pt x="32463" y="3818"/>
                    <a:pt x="32439" y="3813"/>
                    <a:pt x="32412" y="3813"/>
                  </a:cubicBezTo>
                  <a:cubicBezTo>
                    <a:pt x="32337" y="3813"/>
                    <a:pt x="32240" y="3848"/>
                    <a:pt x="32191" y="3884"/>
                  </a:cubicBezTo>
                  <a:cubicBezTo>
                    <a:pt x="32131" y="3922"/>
                    <a:pt x="32047" y="3933"/>
                    <a:pt x="31960" y="3940"/>
                  </a:cubicBezTo>
                  <a:cubicBezTo>
                    <a:pt x="31844" y="3954"/>
                    <a:pt x="31722" y="3964"/>
                    <a:pt x="31676" y="4052"/>
                  </a:cubicBezTo>
                  <a:cubicBezTo>
                    <a:pt x="31612" y="4182"/>
                    <a:pt x="31520" y="4207"/>
                    <a:pt x="31424" y="4207"/>
                  </a:cubicBezTo>
                  <a:cubicBezTo>
                    <a:pt x="31394" y="4207"/>
                    <a:pt x="31363" y="4205"/>
                    <a:pt x="31333" y="4202"/>
                  </a:cubicBezTo>
                  <a:lnTo>
                    <a:pt x="31288" y="4199"/>
                  </a:lnTo>
                  <a:cubicBezTo>
                    <a:pt x="31267" y="4197"/>
                    <a:pt x="31247" y="4197"/>
                    <a:pt x="31227" y="4197"/>
                  </a:cubicBezTo>
                  <a:cubicBezTo>
                    <a:pt x="31199" y="4197"/>
                    <a:pt x="31171" y="4198"/>
                    <a:pt x="31144" y="4202"/>
                  </a:cubicBezTo>
                  <a:lnTo>
                    <a:pt x="31109" y="4206"/>
                  </a:lnTo>
                  <a:cubicBezTo>
                    <a:pt x="31089" y="4208"/>
                    <a:pt x="31069" y="4208"/>
                    <a:pt x="31047" y="4208"/>
                  </a:cubicBezTo>
                  <a:cubicBezTo>
                    <a:pt x="30887" y="4208"/>
                    <a:pt x="30693" y="4162"/>
                    <a:pt x="30594" y="4069"/>
                  </a:cubicBezTo>
                  <a:cubicBezTo>
                    <a:pt x="30552" y="4031"/>
                    <a:pt x="30528" y="3975"/>
                    <a:pt x="30535" y="3919"/>
                  </a:cubicBezTo>
                  <a:cubicBezTo>
                    <a:pt x="30535" y="3856"/>
                    <a:pt x="30517" y="3793"/>
                    <a:pt x="30486" y="3740"/>
                  </a:cubicBezTo>
                  <a:cubicBezTo>
                    <a:pt x="30479" y="3719"/>
                    <a:pt x="30468" y="3695"/>
                    <a:pt x="30461" y="3674"/>
                  </a:cubicBezTo>
                  <a:cubicBezTo>
                    <a:pt x="30430" y="3604"/>
                    <a:pt x="30416" y="3527"/>
                    <a:pt x="30423" y="3453"/>
                  </a:cubicBezTo>
                  <a:cubicBezTo>
                    <a:pt x="30426" y="3415"/>
                    <a:pt x="30426" y="3408"/>
                    <a:pt x="30318" y="3380"/>
                  </a:cubicBezTo>
                  <a:cubicBezTo>
                    <a:pt x="30220" y="3359"/>
                    <a:pt x="30129" y="3313"/>
                    <a:pt x="30055" y="3247"/>
                  </a:cubicBezTo>
                  <a:cubicBezTo>
                    <a:pt x="29913" y="3107"/>
                    <a:pt x="29660" y="3018"/>
                    <a:pt x="29586" y="3018"/>
                  </a:cubicBezTo>
                  <a:cubicBezTo>
                    <a:pt x="29582" y="3018"/>
                    <a:pt x="29579" y="3019"/>
                    <a:pt x="29576" y="3019"/>
                  </a:cubicBezTo>
                  <a:cubicBezTo>
                    <a:pt x="29563" y="3025"/>
                    <a:pt x="29550" y="3027"/>
                    <a:pt x="29537" y="3027"/>
                  </a:cubicBezTo>
                  <a:cubicBezTo>
                    <a:pt x="29491" y="3027"/>
                    <a:pt x="29441" y="2998"/>
                    <a:pt x="29376" y="2963"/>
                  </a:cubicBezTo>
                  <a:cubicBezTo>
                    <a:pt x="29285" y="2911"/>
                    <a:pt x="29159" y="2837"/>
                    <a:pt x="29012" y="2830"/>
                  </a:cubicBezTo>
                  <a:cubicBezTo>
                    <a:pt x="28998" y="2830"/>
                    <a:pt x="28984" y="2830"/>
                    <a:pt x="28970" y="2827"/>
                  </a:cubicBezTo>
                  <a:cubicBezTo>
                    <a:pt x="28886" y="2823"/>
                    <a:pt x="28812" y="2785"/>
                    <a:pt x="28760" y="2718"/>
                  </a:cubicBezTo>
                  <a:cubicBezTo>
                    <a:pt x="28732" y="2680"/>
                    <a:pt x="28718" y="2631"/>
                    <a:pt x="28721" y="2578"/>
                  </a:cubicBezTo>
                  <a:cubicBezTo>
                    <a:pt x="28721" y="2532"/>
                    <a:pt x="28728" y="2483"/>
                    <a:pt x="28742" y="2438"/>
                  </a:cubicBezTo>
                  <a:cubicBezTo>
                    <a:pt x="28742" y="2417"/>
                    <a:pt x="28739" y="2392"/>
                    <a:pt x="28728" y="2371"/>
                  </a:cubicBezTo>
                  <a:cubicBezTo>
                    <a:pt x="28693" y="2291"/>
                    <a:pt x="28655" y="2214"/>
                    <a:pt x="28613" y="2137"/>
                  </a:cubicBezTo>
                  <a:cubicBezTo>
                    <a:pt x="28567" y="2053"/>
                    <a:pt x="28529" y="1969"/>
                    <a:pt x="28490" y="1885"/>
                  </a:cubicBezTo>
                  <a:cubicBezTo>
                    <a:pt x="28483" y="1860"/>
                    <a:pt x="28473" y="1836"/>
                    <a:pt x="28469" y="1811"/>
                  </a:cubicBezTo>
                  <a:cubicBezTo>
                    <a:pt x="28448" y="1748"/>
                    <a:pt x="28417" y="1696"/>
                    <a:pt x="28371" y="1650"/>
                  </a:cubicBezTo>
                  <a:cubicBezTo>
                    <a:pt x="28291" y="1559"/>
                    <a:pt x="28231" y="1451"/>
                    <a:pt x="28189" y="1339"/>
                  </a:cubicBezTo>
                  <a:cubicBezTo>
                    <a:pt x="28172" y="1279"/>
                    <a:pt x="28154" y="1220"/>
                    <a:pt x="28144" y="1160"/>
                  </a:cubicBezTo>
                  <a:cubicBezTo>
                    <a:pt x="28140" y="1146"/>
                    <a:pt x="28137" y="1136"/>
                    <a:pt x="28137" y="1122"/>
                  </a:cubicBezTo>
                  <a:cubicBezTo>
                    <a:pt x="28130" y="1090"/>
                    <a:pt x="28119" y="1062"/>
                    <a:pt x="28109" y="1031"/>
                  </a:cubicBezTo>
                  <a:cubicBezTo>
                    <a:pt x="28105" y="1020"/>
                    <a:pt x="28102" y="1013"/>
                    <a:pt x="28098" y="1006"/>
                  </a:cubicBezTo>
                  <a:cubicBezTo>
                    <a:pt x="28070" y="943"/>
                    <a:pt x="28028" y="887"/>
                    <a:pt x="27972" y="849"/>
                  </a:cubicBezTo>
                  <a:cubicBezTo>
                    <a:pt x="27958" y="838"/>
                    <a:pt x="27944" y="828"/>
                    <a:pt x="27930" y="817"/>
                  </a:cubicBezTo>
                  <a:cubicBezTo>
                    <a:pt x="27881" y="768"/>
                    <a:pt x="27864" y="695"/>
                    <a:pt x="27888" y="632"/>
                  </a:cubicBezTo>
                  <a:cubicBezTo>
                    <a:pt x="27906" y="555"/>
                    <a:pt x="27822" y="491"/>
                    <a:pt x="27703" y="411"/>
                  </a:cubicBezTo>
                  <a:cubicBezTo>
                    <a:pt x="27640" y="376"/>
                    <a:pt x="27587" y="334"/>
                    <a:pt x="27542" y="281"/>
                  </a:cubicBezTo>
                  <a:cubicBezTo>
                    <a:pt x="27517" y="246"/>
                    <a:pt x="27405" y="229"/>
                    <a:pt x="27307" y="215"/>
                  </a:cubicBezTo>
                  <a:cubicBezTo>
                    <a:pt x="27178" y="197"/>
                    <a:pt x="27031" y="176"/>
                    <a:pt x="26901" y="106"/>
                  </a:cubicBezTo>
                  <a:cubicBezTo>
                    <a:pt x="26816" y="63"/>
                    <a:pt x="26722" y="41"/>
                    <a:pt x="26628" y="41"/>
                  </a:cubicBezTo>
                  <a:cubicBezTo>
                    <a:pt x="26609" y="41"/>
                    <a:pt x="26591" y="42"/>
                    <a:pt x="26572" y="43"/>
                  </a:cubicBezTo>
                  <a:cubicBezTo>
                    <a:pt x="26558" y="44"/>
                    <a:pt x="26543" y="44"/>
                    <a:pt x="26529" y="44"/>
                  </a:cubicBezTo>
                  <a:cubicBezTo>
                    <a:pt x="26452" y="44"/>
                    <a:pt x="26375" y="36"/>
                    <a:pt x="26299" y="15"/>
                  </a:cubicBezTo>
                  <a:cubicBezTo>
                    <a:pt x="26288" y="12"/>
                    <a:pt x="26278" y="8"/>
                    <a:pt x="26267" y="8"/>
                  </a:cubicBezTo>
                  <a:cubicBezTo>
                    <a:pt x="26243" y="5"/>
                    <a:pt x="26218" y="1"/>
                    <a:pt x="26194" y="1"/>
                  </a:cubicBezTo>
                  <a:cubicBezTo>
                    <a:pt x="26181" y="1"/>
                    <a:pt x="26168" y="1"/>
                    <a:pt x="2615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4" name="Google Shape;7111;p64">
              <a:extLst>
                <a:ext uri="{FF2B5EF4-FFF2-40B4-BE49-F238E27FC236}">
                  <a16:creationId xmlns:a16="http://schemas.microsoft.com/office/drawing/2014/main" id="{D0F1E44D-68EF-DD3F-8E32-952249A5BB74}"/>
                </a:ext>
              </a:extLst>
            </p:cNvPr>
            <p:cNvSpPr/>
            <p:nvPr/>
          </p:nvSpPr>
          <p:spPr>
            <a:xfrm>
              <a:off x="2846836" y="1894023"/>
              <a:ext cx="15804" cy="11649"/>
            </a:xfrm>
            <a:custGeom>
              <a:avLst/>
              <a:gdLst/>
              <a:ahLst/>
              <a:cxnLst/>
              <a:rect l="l" t="t" r="r" b="b"/>
              <a:pathLst>
                <a:path w="1164" h="858" extrusionOk="0">
                  <a:moveTo>
                    <a:pt x="974" y="1"/>
                  </a:moveTo>
                  <a:cubicBezTo>
                    <a:pt x="894" y="1"/>
                    <a:pt x="792" y="4"/>
                    <a:pt x="729" y="8"/>
                  </a:cubicBezTo>
                  <a:cubicBezTo>
                    <a:pt x="659" y="11"/>
                    <a:pt x="593" y="18"/>
                    <a:pt x="537" y="18"/>
                  </a:cubicBezTo>
                  <a:cubicBezTo>
                    <a:pt x="425" y="18"/>
                    <a:pt x="190" y="130"/>
                    <a:pt x="78" y="302"/>
                  </a:cubicBezTo>
                  <a:cubicBezTo>
                    <a:pt x="8" y="410"/>
                    <a:pt x="1" y="550"/>
                    <a:pt x="60" y="666"/>
                  </a:cubicBezTo>
                  <a:cubicBezTo>
                    <a:pt x="136" y="821"/>
                    <a:pt x="276" y="858"/>
                    <a:pt x="393" y="858"/>
                  </a:cubicBezTo>
                  <a:cubicBezTo>
                    <a:pt x="435" y="858"/>
                    <a:pt x="473" y="853"/>
                    <a:pt x="505" y="848"/>
                  </a:cubicBezTo>
                  <a:cubicBezTo>
                    <a:pt x="715" y="809"/>
                    <a:pt x="855" y="690"/>
                    <a:pt x="859" y="641"/>
                  </a:cubicBezTo>
                  <a:cubicBezTo>
                    <a:pt x="869" y="533"/>
                    <a:pt x="946" y="410"/>
                    <a:pt x="1023" y="291"/>
                  </a:cubicBezTo>
                  <a:cubicBezTo>
                    <a:pt x="1083" y="200"/>
                    <a:pt x="1163" y="74"/>
                    <a:pt x="1153" y="22"/>
                  </a:cubicBezTo>
                  <a:cubicBezTo>
                    <a:pt x="1128" y="4"/>
                    <a:pt x="1058" y="1"/>
                    <a:pt x="97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5" name="Google Shape;7112;p64">
              <a:extLst>
                <a:ext uri="{FF2B5EF4-FFF2-40B4-BE49-F238E27FC236}">
                  <a16:creationId xmlns:a16="http://schemas.microsoft.com/office/drawing/2014/main" id="{8AE2147D-1F54-1DED-3283-5B48E2C312F5}"/>
                </a:ext>
              </a:extLst>
            </p:cNvPr>
            <p:cNvSpPr/>
            <p:nvPr/>
          </p:nvSpPr>
          <p:spPr>
            <a:xfrm>
              <a:off x="2648062" y="1810752"/>
              <a:ext cx="244" cy="434"/>
            </a:xfrm>
            <a:custGeom>
              <a:avLst/>
              <a:gdLst/>
              <a:ahLst/>
              <a:cxnLst/>
              <a:rect l="l" t="t" r="r" b="b"/>
              <a:pathLst>
                <a:path w="18" h="32" extrusionOk="0">
                  <a:moveTo>
                    <a:pt x="0" y="0"/>
                  </a:moveTo>
                  <a:cubicBezTo>
                    <a:pt x="7" y="11"/>
                    <a:pt x="14" y="21"/>
                    <a:pt x="18" y="32"/>
                  </a:cubicBezTo>
                  <a:cubicBezTo>
                    <a:pt x="14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6" name="Google Shape;7113;p64">
              <a:extLst>
                <a:ext uri="{FF2B5EF4-FFF2-40B4-BE49-F238E27FC236}">
                  <a16:creationId xmlns:a16="http://schemas.microsoft.com/office/drawing/2014/main" id="{D6183D4E-8426-6C91-69C0-C6FD868A9555}"/>
                </a:ext>
              </a:extLst>
            </p:cNvPr>
            <p:cNvSpPr/>
            <p:nvPr/>
          </p:nvSpPr>
          <p:spPr>
            <a:xfrm>
              <a:off x="2732242" y="1823623"/>
              <a:ext cx="2770" cy="2064"/>
            </a:xfrm>
            <a:custGeom>
              <a:avLst/>
              <a:gdLst/>
              <a:ahLst/>
              <a:cxnLst/>
              <a:rect l="l" t="t" r="r" b="b"/>
              <a:pathLst>
                <a:path w="204" h="152" extrusionOk="0">
                  <a:moveTo>
                    <a:pt x="203" y="22"/>
                  </a:moveTo>
                  <a:cubicBezTo>
                    <a:pt x="74" y="1"/>
                    <a:pt x="32" y="88"/>
                    <a:pt x="0" y="151"/>
                  </a:cubicBezTo>
                  <a:cubicBezTo>
                    <a:pt x="32" y="88"/>
                    <a:pt x="74" y="1"/>
                    <a:pt x="203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7" name="Google Shape;7114;p64">
              <a:extLst>
                <a:ext uri="{FF2B5EF4-FFF2-40B4-BE49-F238E27FC236}">
                  <a16:creationId xmlns:a16="http://schemas.microsoft.com/office/drawing/2014/main" id="{892C2439-7665-EB4A-8A82-A1858566A26A}"/>
                </a:ext>
              </a:extLst>
            </p:cNvPr>
            <p:cNvSpPr/>
            <p:nvPr/>
          </p:nvSpPr>
          <p:spPr>
            <a:xfrm>
              <a:off x="2647627" y="1810277"/>
              <a:ext cx="353" cy="434"/>
            </a:xfrm>
            <a:custGeom>
              <a:avLst/>
              <a:gdLst/>
              <a:ahLst/>
              <a:cxnLst/>
              <a:rect l="l" t="t" r="r" b="b"/>
              <a:pathLst>
                <a:path w="26" h="32" extrusionOk="0">
                  <a:moveTo>
                    <a:pt x="1" y="0"/>
                  </a:moveTo>
                  <a:cubicBezTo>
                    <a:pt x="11" y="11"/>
                    <a:pt x="18" y="21"/>
                    <a:pt x="25" y="32"/>
                  </a:cubicBezTo>
                  <a:cubicBezTo>
                    <a:pt x="18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8" name="Google Shape;7115;p64">
              <a:extLst>
                <a:ext uri="{FF2B5EF4-FFF2-40B4-BE49-F238E27FC236}">
                  <a16:creationId xmlns:a16="http://schemas.microsoft.com/office/drawing/2014/main" id="{888A2028-1473-3AC0-263D-1AD05A065E07}"/>
                </a:ext>
              </a:extLst>
            </p:cNvPr>
            <p:cNvSpPr/>
            <p:nvPr/>
          </p:nvSpPr>
          <p:spPr>
            <a:xfrm>
              <a:off x="2648347" y="1811227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0" y="0"/>
                  </a:moveTo>
                  <a:cubicBezTo>
                    <a:pt x="7" y="11"/>
                    <a:pt x="11" y="21"/>
                    <a:pt x="14" y="32"/>
                  </a:cubicBezTo>
                  <a:cubicBezTo>
                    <a:pt x="11" y="21"/>
                    <a:pt x="7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9" name="Google Shape;7116;p64">
              <a:extLst>
                <a:ext uri="{FF2B5EF4-FFF2-40B4-BE49-F238E27FC236}">
                  <a16:creationId xmlns:a16="http://schemas.microsoft.com/office/drawing/2014/main" id="{328DD9E9-878D-DF49-A93C-85A3E6B7EB3B}"/>
                </a:ext>
              </a:extLst>
            </p:cNvPr>
            <p:cNvSpPr/>
            <p:nvPr/>
          </p:nvSpPr>
          <p:spPr>
            <a:xfrm>
              <a:off x="2698638" y="1829665"/>
              <a:ext cx="815" cy="489"/>
            </a:xfrm>
            <a:custGeom>
              <a:avLst/>
              <a:gdLst/>
              <a:ahLst/>
              <a:cxnLst/>
              <a:rect l="l" t="t" r="r" b="b"/>
              <a:pathLst>
                <a:path w="60" h="36" extrusionOk="0">
                  <a:moveTo>
                    <a:pt x="60" y="0"/>
                  </a:moveTo>
                  <a:lnTo>
                    <a:pt x="60" y="0"/>
                  </a:lnTo>
                  <a:cubicBezTo>
                    <a:pt x="39" y="7"/>
                    <a:pt x="18" y="21"/>
                    <a:pt x="0" y="35"/>
                  </a:cubicBezTo>
                  <a:cubicBezTo>
                    <a:pt x="18" y="21"/>
                    <a:pt x="39" y="11"/>
                    <a:pt x="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0" name="Google Shape;7117;p64">
              <a:extLst>
                <a:ext uri="{FF2B5EF4-FFF2-40B4-BE49-F238E27FC236}">
                  <a16:creationId xmlns:a16="http://schemas.microsoft.com/office/drawing/2014/main" id="{AF81D99C-4DDE-29F2-EF57-8995C905190F}"/>
                </a:ext>
              </a:extLst>
            </p:cNvPr>
            <p:cNvSpPr/>
            <p:nvPr/>
          </p:nvSpPr>
          <p:spPr>
            <a:xfrm>
              <a:off x="2704530" y="1833752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7"/>
                  </a:move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1" name="Google Shape;7118;p64">
              <a:extLst>
                <a:ext uri="{FF2B5EF4-FFF2-40B4-BE49-F238E27FC236}">
                  <a16:creationId xmlns:a16="http://schemas.microsoft.com/office/drawing/2014/main" id="{E1C4C06B-7413-F9B2-5B99-CEED05D251AA}"/>
                </a:ext>
              </a:extLst>
            </p:cNvPr>
            <p:cNvSpPr/>
            <p:nvPr/>
          </p:nvSpPr>
          <p:spPr>
            <a:xfrm>
              <a:off x="2645210" y="1808322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0" y="1"/>
                  </a:moveTo>
                  <a:lnTo>
                    <a:pt x="32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2" name="Google Shape;7119;p64">
              <a:extLst>
                <a:ext uri="{FF2B5EF4-FFF2-40B4-BE49-F238E27FC236}">
                  <a16:creationId xmlns:a16="http://schemas.microsoft.com/office/drawing/2014/main" id="{BBA3595C-2E7D-421E-E166-418A27CD2F79}"/>
                </a:ext>
              </a:extLst>
            </p:cNvPr>
            <p:cNvSpPr/>
            <p:nvPr/>
          </p:nvSpPr>
          <p:spPr>
            <a:xfrm>
              <a:off x="2646201" y="1809041"/>
              <a:ext cx="448" cy="339"/>
            </a:xfrm>
            <a:custGeom>
              <a:avLst/>
              <a:gdLst/>
              <a:ahLst/>
              <a:cxnLst/>
              <a:rect l="l" t="t" r="r" b="b"/>
              <a:pathLst>
                <a:path w="33" h="25" extrusionOk="0">
                  <a:moveTo>
                    <a:pt x="1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3" name="Google Shape;7120;p64">
              <a:extLst>
                <a:ext uri="{FF2B5EF4-FFF2-40B4-BE49-F238E27FC236}">
                  <a16:creationId xmlns:a16="http://schemas.microsoft.com/office/drawing/2014/main" id="{86149441-1774-2523-D692-070FB7AD9C47}"/>
                </a:ext>
              </a:extLst>
            </p:cNvPr>
            <p:cNvSpPr/>
            <p:nvPr/>
          </p:nvSpPr>
          <p:spPr>
            <a:xfrm>
              <a:off x="2645685" y="1808661"/>
              <a:ext cx="434" cy="339"/>
            </a:xfrm>
            <a:custGeom>
              <a:avLst/>
              <a:gdLst/>
              <a:ahLst/>
              <a:cxnLst/>
              <a:rect l="l" t="t" r="r" b="b"/>
              <a:pathLst>
                <a:path w="32" h="25" extrusionOk="0">
                  <a:moveTo>
                    <a:pt x="0" y="0"/>
                  </a:moveTo>
                  <a:lnTo>
                    <a:pt x="3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4" name="Google Shape;7121;p64">
              <a:extLst>
                <a:ext uri="{FF2B5EF4-FFF2-40B4-BE49-F238E27FC236}">
                  <a16:creationId xmlns:a16="http://schemas.microsoft.com/office/drawing/2014/main" id="{F4BD93AA-2F5B-5174-EDAD-083B06438670}"/>
                </a:ext>
              </a:extLst>
            </p:cNvPr>
            <p:cNvSpPr/>
            <p:nvPr/>
          </p:nvSpPr>
          <p:spPr>
            <a:xfrm>
              <a:off x="2757863" y="1824818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1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5" name="Google Shape;7122;p64">
              <a:extLst>
                <a:ext uri="{FF2B5EF4-FFF2-40B4-BE49-F238E27FC236}">
                  <a16:creationId xmlns:a16="http://schemas.microsoft.com/office/drawing/2014/main" id="{2F539B73-8FD2-66E8-C759-9EF271E95E07}"/>
                </a:ext>
              </a:extLst>
            </p:cNvPr>
            <p:cNvSpPr/>
            <p:nvPr/>
          </p:nvSpPr>
          <p:spPr>
            <a:xfrm>
              <a:off x="2622101" y="1766489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8" y="1"/>
                  </a:lnTo>
                  <a:lnTo>
                    <a:pt x="1" y="18"/>
                  </a:ln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6" name="Google Shape;7123;p64">
              <a:extLst>
                <a:ext uri="{FF2B5EF4-FFF2-40B4-BE49-F238E27FC236}">
                  <a16:creationId xmlns:a16="http://schemas.microsoft.com/office/drawing/2014/main" id="{12ECC463-9FA7-EC00-B2FC-CDBA9CB70C63}"/>
                </a:ext>
              </a:extLst>
            </p:cNvPr>
            <p:cNvSpPr/>
            <p:nvPr/>
          </p:nvSpPr>
          <p:spPr>
            <a:xfrm>
              <a:off x="2646731" y="1809421"/>
              <a:ext cx="434" cy="394"/>
            </a:xfrm>
            <a:custGeom>
              <a:avLst/>
              <a:gdLst/>
              <a:ahLst/>
              <a:cxnLst/>
              <a:rect l="l" t="t" r="r" b="b"/>
              <a:pathLst>
                <a:path w="32" h="29" extrusionOk="0">
                  <a:moveTo>
                    <a:pt x="0" y="0"/>
                  </a:moveTo>
                  <a:cubicBezTo>
                    <a:pt x="11" y="11"/>
                    <a:pt x="21" y="21"/>
                    <a:pt x="32" y="28"/>
                  </a:cubicBezTo>
                  <a:cubicBezTo>
                    <a:pt x="21" y="21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7" name="Google Shape;7124;p64">
              <a:extLst>
                <a:ext uri="{FF2B5EF4-FFF2-40B4-BE49-F238E27FC236}">
                  <a16:creationId xmlns:a16="http://schemas.microsoft.com/office/drawing/2014/main" id="{03C64495-C4EF-E1D3-C53C-51C6604FBD89}"/>
                </a:ext>
              </a:extLst>
            </p:cNvPr>
            <p:cNvSpPr/>
            <p:nvPr/>
          </p:nvSpPr>
          <p:spPr>
            <a:xfrm>
              <a:off x="2647152" y="1809801"/>
              <a:ext cx="448" cy="394"/>
            </a:xfrm>
            <a:custGeom>
              <a:avLst/>
              <a:gdLst/>
              <a:ahLst/>
              <a:cxnLst/>
              <a:rect l="l" t="t" r="r" b="b"/>
              <a:pathLst>
                <a:path w="33" h="29" extrusionOk="0">
                  <a:moveTo>
                    <a:pt x="1" y="0"/>
                  </a:moveTo>
                  <a:cubicBezTo>
                    <a:pt x="11" y="11"/>
                    <a:pt x="22" y="21"/>
                    <a:pt x="32" y="28"/>
                  </a:cubicBezTo>
                  <a:cubicBezTo>
                    <a:pt x="22" y="21"/>
                    <a:pt x="1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8" name="Google Shape;7125;p64">
              <a:extLst>
                <a:ext uri="{FF2B5EF4-FFF2-40B4-BE49-F238E27FC236}">
                  <a16:creationId xmlns:a16="http://schemas.microsoft.com/office/drawing/2014/main" id="{F12E90C0-D95D-94B1-F9B6-F82E45C59FD3}"/>
                </a:ext>
              </a:extLst>
            </p:cNvPr>
            <p:cNvSpPr/>
            <p:nvPr/>
          </p:nvSpPr>
          <p:spPr>
            <a:xfrm>
              <a:off x="2642685" y="180532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9" name="Google Shape;7126;p64">
              <a:extLst>
                <a:ext uri="{FF2B5EF4-FFF2-40B4-BE49-F238E27FC236}">
                  <a16:creationId xmlns:a16="http://schemas.microsoft.com/office/drawing/2014/main" id="{45166736-EB2D-AAF0-2DFA-9D2726BC0E57}"/>
                </a:ext>
              </a:extLst>
            </p:cNvPr>
            <p:cNvSpPr/>
            <p:nvPr/>
          </p:nvSpPr>
          <p:spPr>
            <a:xfrm>
              <a:off x="2643730" y="1806271"/>
              <a:ext cx="1494" cy="2064"/>
            </a:xfrm>
            <a:custGeom>
              <a:avLst/>
              <a:gdLst/>
              <a:ahLst/>
              <a:cxnLst/>
              <a:rect l="l" t="t" r="r" b="b"/>
              <a:pathLst>
                <a:path w="110" h="152" extrusionOk="0">
                  <a:moveTo>
                    <a:pt x="1" y="1"/>
                  </a:moveTo>
                  <a:cubicBezTo>
                    <a:pt x="43" y="50"/>
                    <a:pt x="78" y="99"/>
                    <a:pt x="109" y="152"/>
                  </a:cubicBezTo>
                  <a:cubicBezTo>
                    <a:pt x="78" y="99"/>
                    <a:pt x="43" y="5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0" name="Google Shape;7127;p64">
              <a:extLst>
                <a:ext uri="{FF2B5EF4-FFF2-40B4-BE49-F238E27FC236}">
                  <a16:creationId xmlns:a16="http://schemas.microsoft.com/office/drawing/2014/main" id="{6D06881F-727A-A502-EA9A-EE5E32DCC596}"/>
                </a:ext>
              </a:extLst>
            </p:cNvPr>
            <p:cNvSpPr/>
            <p:nvPr/>
          </p:nvSpPr>
          <p:spPr>
            <a:xfrm>
              <a:off x="2634280" y="1782606"/>
              <a:ext cx="1765" cy="2770"/>
            </a:xfrm>
            <a:custGeom>
              <a:avLst/>
              <a:gdLst/>
              <a:ahLst/>
              <a:cxnLst/>
              <a:rect l="l" t="t" r="r" b="b"/>
              <a:pathLst>
                <a:path w="130" h="204" extrusionOk="0">
                  <a:moveTo>
                    <a:pt x="0" y="1"/>
                  </a:moveTo>
                  <a:cubicBezTo>
                    <a:pt x="0" y="39"/>
                    <a:pt x="70" y="127"/>
                    <a:pt x="130" y="204"/>
                  </a:cubicBezTo>
                  <a:cubicBezTo>
                    <a:pt x="70" y="127"/>
                    <a:pt x="0" y="39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1" name="Google Shape;7128;p64">
              <a:extLst>
                <a:ext uri="{FF2B5EF4-FFF2-40B4-BE49-F238E27FC236}">
                  <a16:creationId xmlns:a16="http://schemas.microsoft.com/office/drawing/2014/main" id="{12CEEA2C-04E1-6576-C703-E65273EAA368}"/>
                </a:ext>
              </a:extLst>
            </p:cNvPr>
            <p:cNvSpPr/>
            <p:nvPr/>
          </p:nvSpPr>
          <p:spPr>
            <a:xfrm>
              <a:off x="2643404" y="1805945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0"/>
                  </a:moveTo>
                  <a:lnTo>
                    <a:pt x="1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2" name="Google Shape;7129;p64">
              <a:extLst>
                <a:ext uri="{FF2B5EF4-FFF2-40B4-BE49-F238E27FC236}">
                  <a16:creationId xmlns:a16="http://schemas.microsoft.com/office/drawing/2014/main" id="{5CDB1C87-DB1F-AE10-D24F-6D98EB47E855}"/>
                </a:ext>
              </a:extLst>
            </p:cNvPr>
            <p:cNvSpPr/>
            <p:nvPr/>
          </p:nvSpPr>
          <p:spPr>
            <a:xfrm>
              <a:off x="2725915" y="1830616"/>
              <a:ext cx="543" cy="204"/>
            </a:xfrm>
            <a:custGeom>
              <a:avLst/>
              <a:gdLst/>
              <a:ahLst/>
              <a:cxnLst/>
              <a:rect l="l" t="t" r="r" b="b"/>
              <a:pathLst>
                <a:path w="40" h="15" extrusionOk="0">
                  <a:moveTo>
                    <a:pt x="39" y="0"/>
                  </a:moveTo>
                  <a:lnTo>
                    <a:pt x="1" y="14"/>
                  </a:ln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3" name="Google Shape;7130;p64">
              <a:extLst>
                <a:ext uri="{FF2B5EF4-FFF2-40B4-BE49-F238E27FC236}">
                  <a16:creationId xmlns:a16="http://schemas.microsoft.com/office/drawing/2014/main" id="{FDBD00DD-95A0-6122-80A3-1C4B37006C7A}"/>
                </a:ext>
              </a:extLst>
            </p:cNvPr>
            <p:cNvSpPr/>
            <p:nvPr/>
          </p:nvSpPr>
          <p:spPr>
            <a:xfrm>
              <a:off x="2701204" y="1827805"/>
              <a:ext cx="815" cy="353"/>
            </a:xfrm>
            <a:custGeom>
              <a:avLst/>
              <a:gdLst/>
              <a:ahLst/>
              <a:cxnLst/>
              <a:rect l="l" t="t" r="r" b="b"/>
              <a:pathLst>
                <a:path w="60" h="26" extrusionOk="0">
                  <a:moveTo>
                    <a:pt x="0" y="25"/>
                  </a:moveTo>
                  <a:cubicBezTo>
                    <a:pt x="18" y="11"/>
                    <a:pt x="39" y="1"/>
                    <a:pt x="60" y="1"/>
                  </a:cubicBezTo>
                  <a:cubicBezTo>
                    <a:pt x="39" y="1"/>
                    <a:pt x="18" y="11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4" name="Google Shape;7131;p64">
              <a:extLst>
                <a:ext uri="{FF2B5EF4-FFF2-40B4-BE49-F238E27FC236}">
                  <a16:creationId xmlns:a16="http://schemas.microsoft.com/office/drawing/2014/main" id="{558CFE3F-7106-40B8-685D-1766EB64C0FA}"/>
                </a:ext>
              </a:extLst>
            </p:cNvPr>
            <p:cNvSpPr/>
            <p:nvPr/>
          </p:nvSpPr>
          <p:spPr>
            <a:xfrm>
              <a:off x="2757673" y="182453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0"/>
                  </a:moveTo>
                  <a:cubicBezTo>
                    <a:pt x="0" y="4"/>
                    <a:pt x="4" y="7"/>
                    <a:pt x="7" y="11"/>
                  </a:cubicBezTo>
                  <a:cubicBezTo>
                    <a:pt x="4" y="7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5" name="Google Shape;7132;p64">
              <a:extLst>
                <a:ext uri="{FF2B5EF4-FFF2-40B4-BE49-F238E27FC236}">
                  <a16:creationId xmlns:a16="http://schemas.microsoft.com/office/drawing/2014/main" id="{33923C81-9BF9-B625-E95F-A9BEF546A34C}"/>
                </a:ext>
              </a:extLst>
            </p:cNvPr>
            <p:cNvSpPr/>
            <p:nvPr/>
          </p:nvSpPr>
          <p:spPr>
            <a:xfrm>
              <a:off x="2758012" y="1824954"/>
              <a:ext cx="1955" cy="1018"/>
            </a:xfrm>
            <a:custGeom>
              <a:avLst/>
              <a:gdLst/>
              <a:ahLst/>
              <a:cxnLst/>
              <a:rect l="l" t="t" r="r" b="b"/>
              <a:pathLst>
                <a:path w="144" h="75" extrusionOk="0">
                  <a:moveTo>
                    <a:pt x="0" y="1"/>
                  </a:moveTo>
                  <a:lnTo>
                    <a:pt x="0" y="1"/>
                  </a:lnTo>
                  <a:cubicBezTo>
                    <a:pt x="42" y="36"/>
                    <a:pt x="91" y="60"/>
                    <a:pt x="143" y="74"/>
                  </a:cubicBezTo>
                  <a:cubicBezTo>
                    <a:pt x="91" y="57"/>
                    <a:pt x="42" y="36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6" name="Google Shape;7133;p64">
              <a:extLst>
                <a:ext uri="{FF2B5EF4-FFF2-40B4-BE49-F238E27FC236}">
                  <a16:creationId xmlns:a16="http://schemas.microsoft.com/office/drawing/2014/main" id="{C6D0C3A8-1C90-81C8-D362-619B5ECBF172}"/>
                </a:ext>
              </a:extLst>
            </p:cNvPr>
            <p:cNvSpPr/>
            <p:nvPr/>
          </p:nvSpPr>
          <p:spPr>
            <a:xfrm>
              <a:off x="2626338" y="1766353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64" y="49"/>
                  </a:moveTo>
                  <a:cubicBezTo>
                    <a:pt x="43" y="32"/>
                    <a:pt x="22" y="14"/>
                    <a:pt x="1" y="0"/>
                  </a:cubicBezTo>
                  <a:cubicBezTo>
                    <a:pt x="22" y="14"/>
                    <a:pt x="43" y="32"/>
                    <a:pt x="64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7" name="Google Shape;7134;p64">
              <a:extLst>
                <a:ext uri="{FF2B5EF4-FFF2-40B4-BE49-F238E27FC236}">
                  <a16:creationId xmlns:a16="http://schemas.microsoft.com/office/drawing/2014/main" id="{3953B222-EBE0-BD81-453E-FC38318CD767}"/>
                </a:ext>
              </a:extLst>
            </p:cNvPr>
            <p:cNvSpPr/>
            <p:nvPr/>
          </p:nvSpPr>
          <p:spPr>
            <a:xfrm>
              <a:off x="2757768" y="1824669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0" y="1"/>
                  </a:moveTo>
                  <a:cubicBezTo>
                    <a:pt x="0" y="4"/>
                    <a:pt x="4" y="8"/>
                    <a:pt x="7" y="11"/>
                  </a:cubicBezTo>
                  <a:cubicBezTo>
                    <a:pt x="4" y="8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8" name="Google Shape;7135;p64">
              <a:extLst>
                <a:ext uri="{FF2B5EF4-FFF2-40B4-BE49-F238E27FC236}">
                  <a16:creationId xmlns:a16="http://schemas.microsoft.com/office/drawing/2014/main" id="{B2E666F4-2B7F-3DF5-7874-BC7BF8504A72}"/>
                </a:ext>
              </a:extLst>
            </p:cNvPr>
            <p:cNvSpPr/>
            <p:nvPr/>
          </p:nvSpPr>
          <p:spPr>
            <a:xfrm>
              <a:off x="2760049" y="1825959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0" y="0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9" name="Google Shape;7136;p64">
              <a:extLst>
                <a:ext uri="{FF2B5EF4-FFF2-40B4-BE49-F238E27FC236}">
                  <a16:creationId xmlns:a16="http://schemas.microsoft.com/office/drawing/2014/main" id="{04FD056B-4C1C-DBFB-2229-EE44101777F5}"/>
                </a:ext>
              </a:extLst>
            </p:cNvPr>
            <p:cNvSpPr/>
            <p:nvPr/>
          </p:nvSpPr>
          <p:spPr>
            <a:xfrm>
              <a:off x="2704571" y="1833223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1"/>
                  </a:moveTo>
                  <a:cubicBezTo>
                    <a:pt x="1" y="11"/>
                    <a:pt x="1" y="18"/>
                    <a:pt x="1" y="29"/>
                  </a:cubicBezTo>
                  <a:cubicBezTo>
                    <a:pt x="1" y="18"/>
                    <a:pt x="1" y="11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0" name="Google Shape;7137;p64">
              <a:extLst>
                <a:ext uri="{FF2B5EF4-FFF2-40B4-BE49-F238E27FC236}">
                  <a16:creationId xmlns:a16="http://schemas.microsoft.com/office/drawing/2014/main" id="{E540E475-FDC7-0CDF-26D0-9B82CCEB8F8D}"/>
                </a:ext>
              </a:extLst>
            </p:cNvPr>
            <p:cNvSpPr/>
            <p:nvPr/>
          </p:nvSpPr>
          <p:spPr>
            <a:xfrm>
              <a:off x="2634280" y="1780800"/>
              <a:ext cx="339" cy="1819"/>
            </a:xfrm>
            <a:custGeom>
              <a:avLst/>
              <a:gdLst/>
              <a:ahLst/>
              <a:cxnLst/>
              <a:rect l="l" t="t" r="r" b="b"/>
              <a:pathLst>
                <a:path w="25" h="134" extrusionOk="0">
                  <a:moveTo>
                    <a:pt x="25" y="1"/>
                  </a:moveTo>
                  <a:lnTo>
                    <a:pt x="18" y="22"/>
                  </a:lnTo>
                  <a:cubicBezTo>
                    <a:pt x="11" y="57"/>
                    <a:pt x="4" y="95"/>
                    <a:pt x="0" y="134"/>
                  </a:cubicBezTo>
                  <a:cubicBezTo>
                    <a:pt x="4" y="95"/>
                    <a:pt x="11" y="60"/>
                    <a:pt x="18" y="25"/>
                  </a:cubicBez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1" name="Google Shape;7138;p64">
              <a:extLst>
                <a:ext uri="{FF2B5EF4-FFF2-40B4-BE49-F238E27FC236}">
                  <a16:creationId xmlns:a16="http://schemas.microsoft.com/office/drawing/2014/main" id="{CD879239-B0E3-4423-A267-77A4599161A7}"/>
                </a:ext>
              </a:extLst>
            </p:cNvPr>
            <p:cNvSpPr/>
            <p:nvPr/>
          </p:nvSpPr>
          <p:spPr>
            <a:xfrm>
              <a:off x="2726580" y="1830426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2" name="Google Shape;7139;p64">
              <a:extLst>
                <a:ext uri="{FF2B5EF4-FFF2-40B4-BE49-F238E27FC236}">
                  <a16:creationId xmlns:a16="http://schemas.microsoft.com/office/drawing/2014/main" id="{3F6BA1B9-5F30-E410-9C2D-C7BCC38F9A34}"/>
                </a:ext>
              </a:extLst>
            </p:cNvPr>
            <p:cNvSpPr/>
            <p:nvPr/>
          </p:nvSpPr>
          <p:spPr>
            <a:xfrm>
              <a:off x="2917955" y="1668962"/>
              <a:ext cx="1575" cy="530"/>
            </a:xfrm>
            <a:custGeom>
              <a:avLst/>
              <a:gdLst/>
              <a:ahLst/>
              <a:cxnLst/>
              <a:rect l="l" t="t" r="r" b="b"/>
              <a:pathLst>
                <a:path w="116" h="39" extrusionOk="0">
                  <a:moveTo>
                    <a:pt x="0" y="39"/>
                  </a:moveTo>
                  <a:cubicBezTo>
                    <a:pt x="39" y="25"/>
                    <a:pt x="77" y="11"/>
                    <a:pt x="116" y="0"/>
                  </a:cubicBezTo>
                  <a:cubicBezTo>
                    <a:pt x="77" y="11"/>
                    <a:pt x="39" y="25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3" name="Google Shape;7140;p64">
              <a:extLst>
                <a:ext uri="{FF2B5EF4-FFF2-40B4-BE49-F238E27FC236}">
                  <a16:creationId xmlns:a16="http://schemas.microsoft.com/office/drawing/2014/main" id="{8F338F99-67C3-CBE7-E40F-44A1002F522A}"/>
                </a:ext>
              </a:extLst>
            </p:cNvPr>
            <p:cNvSpPr/>
            <p:nvPr/>
          </p:nvSpPr>
          <p:spPr>
            <a:xfrm>
              <a:off x="2754577" y="170422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4" name="Google Shape;7141;p64">
              <a:extLst>
                <a:ext uri="{FF2B5EF4-FFF2-40B4-BE49-F238E27FC236}">
                  <a16:creationId xmlns:a16="http://schemas.microsoft.com/office/drawing/2014/main" id="{004AD0F8-8140-74D0-A4B5-6EC5E2C90A62}"/>
                </a:ext>
              </a:extLst>
            </p:cNvPr>
            <p:cNvSpPr/>
            <p:nvPr/>
          </p:nvSpPr>
          <p:spPr>
            <a:xfrm>
              <a:off x="2822125" y="171378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5" name="Google Shape;7142;p64">
              <a:extLst>
                <a:ext uri="{FF2B5EF4-FFF2-40B4-BE49-F238E27FC236}">
                  <a16:creationId xmlns:a16="http://schemas.microsoft.com/office/drawing/2014/main" id="{0E8843FB-5D57-7E9B-C887-05993E536337}"/>
                </a:ext>
              </a:extLst>
            </p:cNvPr>
            <p:cNvSpPr/>
            <p:nvPr/>
          </p:nvSpPr>
          <p:spPr>
            <a:xfrm>
              <a:off x="2821324" y="1714297"/>
              <a:ext cx="95" cy="68"/>
            </a:xfrm>
            <a:custGeom>
              <a:avLst/>
              <a:gdLst/>
              <a:ahLst/>
              <a:cxnLst/>
              <a:rect l="l" t="t" r="r" b="b"/>
              <a:pathLst>
                <a:path w="7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6" name="Google Shape;7143;p64">
              <a:extLst>
                <a:ext uri="{FF2B5EF4-FFF2-40B4-BE49-F238E27FC236}">
                  <a16:creationId xmlns:a16="http://schemas.microsoft.com/office/drawing/2014/main" id="{FB4C070F-62DE-1A8A-003A-4194BAD8CC60}"/>
                </a:ext>
              </a:extLst>
            </p:cNvPr>
            <p:cNvSpPr/>
            <p:nvPr/>
          </p:nvSpPr>
          <p:spPr>
            <a:xfrm>
              <a:off x="2845370" y="1708079"/>
              <a:ext cx="1670" cy="299"/>
            </a:xfrm>
            <a:custGeom>
              <a:avLst/>
              <a:gdLst/>
              <a:ahLst/>
              <a:cxnLst/>
              <a:rect l="l" t="t" r="r" b="b"/>
              <a:pathLst>
                <a:path w="123" h="22" extrusionOk="0">
                  <a:moveTo>
                    <a:pt x="0" y="0"/>
                  </a:moveTo>
                  <a:lnTo>
                    <a:pt x="0" y="0"/>
                  </a:lnTo>
                  <a:cubicBezTo>
                    <a:pt x="46" y="11"/>
                    <a:pt x="88" y="18"/>
                    <a:pt x="123" y="21"/>
                  </a:cubicBezTo>
                  <a:cubicBezTo>
                    <a:pt x="88" y="18"/>
                    <a:pt x="46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7" name="Google Shape;7144;p64">
              <a:extLst>
                <a:ext uri="{FF2B5EF4-FFF2-40B4-BE49-F238E27FC236}">
                  <a16:creationId xmlns:a16="http://schemas.microsoft.com/office/drawing/2014/main" id="{87933389-2E67-CF18-6005-1A7A1F360C37}"/>
                </a:ext>
              </a:extLst>
            </p:cNvPr>
            <p:cNvSpPr/>
            <p:nvPr/>
          </p:nvSpPr>
          <p:spPr>
            <a:xfrm>
              <a:off x="2819124" y="171534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8" name="Google Shape;7145;p64">
              <a:extLst>
                <a:ext uri="{FF2B5EF4-FFF2-40B4-BE49-F238E27FC236}">
                  <a16:creationId xmlns:a16="http://schemas.microsoft.com/office/drawing/2014/main" id="{BC3598F5-BCC3-B6A6-7F05-92A7887293AB}"/>
                </a:ext>
              </a:extLst>
            </p:cNvPr>
            <p:cNvSpPr/>
            <p:nvPr/>
          </p:nvSpPr>
          <p:spPr>
            <a:xfrm>
              <a:off x="2822980" y="17132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7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9" name="Google Shape;7146;p64">
              <a:extLst>
                <a:ext uri="{FF2B5EF4-FFF2-40B4-BE49-F238E27FC236}">
                  <a16:creationId xmlns:a16="http://schemas.microsoft.com/office/drawing/2014/main" id="{9AFFE6E5-90E6-AFB4-74C3-5B93AF28F59D}"/>
                </a:ext>
              </a:extLst>
            </p:cNvPr>
            <p:cNvSpPr/>
            <p:nvPr/>
          </p:nvSpPr>
          <p:spPr>
            <a:xfrm>
              <a:off x="2924459" y="1658548"/>
              <a:ext cx="869" cy="720"/>
            </a:xfrm>
            <a:custGeom>
              <a:avLst/>
              <a:gdLst/>
              <a:ahLst/>
              <a:cxnLst/>
              <a:rect l="l" t="t" r="r" b="b"/>
              <a:pathLst>
                <a:path w="64" h="53" extrusionOk="0">
                  <a:moveTo>
                    <a:pt x="64" y="53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0" name="Google Shape;7147;p64">
              <a:extLst>
                <a:ext uri="{FF2B5EF4-FFF2-40B4-BE49-F238E27FC236}">
                  <a16:creationId xmlns:a16="http://schemas.microsoft.com/office/drawing/2014/main" id="{452AE49E-8539-24C2-47DD-D311B1602552}"/>
                </a:ext>
              </a:extLst>
            </p:cNvPr>
            <p:cNvSpPr/>
            <p:nvPr/>
          </p:nvSpPr>
          <p:spPr>
            <a:xfrm>
              <a:off x="2759424" y="1705363"/>
              <a:ext cx="5390" cy="204"/>
            </a:xfrm>
            <a:custGeom>
              <a:avLst/>
              <a:gdLst/>
              <a:ahLst/>
              <a:cxnLst/>
              <a:rect l="l" t="t" r="r" b="b"/>
              <a:pathLst>
                <a:path w="397" h="15" extrusionOk="0">
                  <a:moveTo>
                    <a:pt x="397" y="11"/>
                  </a:moveTo>
                  <a:cubicBezTo>
                    <a:pt x="288" y="1"/>
                    <a:pt x="179" y="1"/>
                    <a:pt x="74" y="11"/>
                  </a:cubicBezTo>
                  <a:lnTo>
                    <a:pt x="1" y="15"/>
                  </a:lnTo>
                  <a:lnTo>
                    <a:pt x="74" y="11"/>
                  </a:lnTo>
                  <a:cubicBezTo>
                    <a:pt x="179" y="1"/>
                    <a:pt x="288" y="1"/>
                    <a:pt x="397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1" name="Google Shape;7148;p64">
              <a:extLst>
                <a:ext uri="{FF2B5EF4-FFF2-40B4-BE49-F238E27FC236}">
                  <a16:creationId xmlns:a16="http://schemas.microsoft.com/office/drawing/2014/main" id="{7F2C3568-AFBB-0C2B-5554-A4D798C43356}"/>
                </a:ext>
              </a:extLst>
            </p:cNvPr>
            <p:cNvSpPr/>
            <p:nvPr/>
          </p:nvSpPr>
          <p:spPr>
            <a:xfrm>
              <a:off x="2818459" y="171553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2" name="Google Shape;7149;p64">
              <a:extLst>
                <a:ext uri="{FF2B5EF4-FFF2-40B4-BE49-F238E27FC236}">
                  <a16:creationId xmlns:a16="http://schemas.microsoft.com/office/drawing/2014/main" id="{02DBE556-B179-FEF1-6174-62571D2DF5FA}"/>
                </a:ext>
              </a:extLst>
            </p:cNvPr>
            <p:cNvSpPr/>
            <p:nvPr/>
          </p:nvSpPr>
          <p:spPr>
            <a:xfrm>
              <a:off x="2820550" y="171477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3" name="Google Shape;7150;p64">
              <a:extLst>
                <a:ext uri="{FF2B5EF4-FFF2-40B4-BE49-F238E27FC236}">
                  <a16:creationId xmlns:a16="http://schemas.microsoft.com/office/drawing/2014/main" id="{2EC12C84-57DF-93D3-2FB1-F349A898AE04}"/>
                </a:ext>
              </a:extLst>
            </p:cNvPr>
            <p:cNvSpPr/>
            <p:nvPr/>
          </p:nvSpPr>
          <p:spPr>
            <a:xfrm>
              <a:off x="2697063" y="1644102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1" y="0"/>
                  </a:moveTo>
                  <a:cubicBezTo>
                    <a:pt x="1" y="4"/>
                    <a:pt x="4" y="11"/>
                    <a:pt x="4" y="18"/>
                  </a:cubicBezTo>
                  <a:cubicBezTo>
                    <a:pt x="4" y="11"/>
                    <a:pt x="4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4" name="Google Shape;7151;p64">
              <a:extLst>
                <a:ext uri="{FF2B5EF4-FFF2-40B4-BE49-F238E27FC236}">
                  <a16:creationId xmlns:a16="http://schemas.microsoft.com/office/drawing/2014/main" id="{A47B7D1B-304A-A74E-8D44-65D666F4D0A0}"/>
                </a:ext>
              </a:extLst>
            </p:cNvPr>
            <p:cNvSpPr/>
            <p:nvPr/>
          </p:nvSpPr>
          <p:spPr>
            <a:xfrm>
              <a:off x="2810815" y="1712641"/>
              <a:ext cx="1385" cy="109"/>
            </a:xfrm>
            <a:custGeom>
              <a:avLst/>
              <a:gdLst/>
              <a:ahLst/>
              <a:cxnLst/>
              <a:rect l="l" t="t" r="r" b="b"/>
              <a:pathLst>
                <a:path w="102" h="8" extrusionOk="0">
                  <a:moveTo>
                    <a:pt x="102" y="0"/>
                  </a:moveTo>
                  <a:lnTo>
                    <a:pt x="81" y="0"/>
                  </a:lnTo>
                  <a:cubicBezTo>
                    <a:pt x="53" y="4"/>
                    <a:pt x="25" y="7"/>
                    <a:pt x="0" y="7"/>
                  </a:cubicBezTo>
                  <a:cubicBezTo>
                    <a:pt x="25" y="7"/>
                    <a:pt x="53" y="4"/>
                    <a:pt x="81" y="0"/>
                  </a:cubicBezTo>
                  <a:cubicBezTo>
                    <a:pt x="88" y="0"/>
                    <a:pt x="95" y="0"/>
                    <a:pt x="10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5" name="Google Shape;7152;p64">
              <a:extLst>
                <a:ext uri="{FF2B5EF4-FFF2-40B4-BE49-F238E27FC236}">
                  <a16:creationId xmlns:a16="http://schemas.microsoft.com/office/drawing/2014/main" id="{8298DB86-50C8-8535-2FEA-578171226A5A}"/>
                </a:ext>
              </a:extLst>
            </p:cNvPr>
            <p:cNvSpPr/>
            <p:nvPr/>
          </p:nvSpPr>
          <p:spPr>
            <a:xfrm>
              <a:off x="2817943" y="17155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6" name="Google Shape;7153;p64">
              <a:extLst>
                <a:ext uri="{FF2B5EF4-FFF2-40B4-BE49-F238E27FC236}">
                  <a16:creationId xmlns:a16="http://schemas.microsoft.com/office/drawing/2014/main" id="{873DEADD-140C-628D-E9B4-BDC482B096E3}"/>
                </a:ext>
              </a:extLst>
            </p:cNvPr>
            <p:cNvSpPr/>
            <p:nvPr/>
          </p:nvSpPr>
          <p:spPr>
            <a:xfrm>
              <a:off x="2901594" y="1637965"/>
              <a:ext cx="5540" cy="10943"/>
            </a:xfrm>
            <a:custGeom>
              <a:avLst/>
              <a:gdLst/>
              <a:ahLst/>
              <a:cxnLst/>
              <a:rect l="l" t="t" r="r" b="b"/>
              <a:pathLst>
                <a:path w="408" h="806" extrusionOk="0">
                  <a:moveTo>
                    <a:pt x="407" y="1"/>
                  </a:moveTo>
                  <a:lnTo>
                    <a:pt x="1" y="80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7" name="Google Shape;7154;p64">
              <a:extLst>
                <a:ext uri="{FF2B5EF4-FFF2-40B4-BE49-F238E27FC236}">
                  <a16:creationId xmlns:a16="http://schemas.microsoft.com/office/drawing/2014/main" id="{8E7C604C-6C15-BB75-BC74-9E9E6DD8BFB9}"/>
                </a:ext>
              </a:extLst>
            </p:cNvPr>
            <p:cNvSpPr/>
            <p:nvPr/>
          </p:nvSpPr>
          <p:spPr>
            <a:xfrm>
              <a:off x="2921988" y="1656213"/>
              <a:ext cx="774" cy="774"/>
            </a:xfrm>
            <a:custGeom>
              <a:avLst/>
              <a:gdLst/>
              <a:ahLst/>
              <a:cxnLst/>
              <a:rect l="l" t="t" r="r" b="b"/>
              <a:pathLst>
                <a:path w="57" h="57" extrusionOk="0">
                  <a:moveTo>
                    <a:pt x="1" y="1"/>
                  </a:moveTo>
                  <a:cubicBezTo>
                    <a:pt x="15" y="18"/>
                    <a:pt x="36" y="36"/>
                    <a:pt x="57" y="57"/>
                  </a:cubicBezTo>
                  <a:cubicBezTo>
                    <a:pt x="36" y="36"/>
                    <a:pt x="18" y="1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8" name="Google Shape;7155;p64">
              <a:extLst>
                <a:ext uri="{FF2B5EF4-FFF2-40B4-BE49-F238E27FC236}">
                  <a16:creationId xmlns:a16="http://schemas.microsoft.com/office/drawing/2014/main" id="{4EA1554C-5714-488B-82E1-3111A0CCF8D8}"/>
                </a:ext>
              </a:extLst>
            </p:cNvPr>
            <p:cNvSpPr/>
            <p:nvPr/>
          </p:nvSpPr>
          <p:spPr>
            <a:xfrm>
              <a:off x="2803687" y="1710645"/>
              <a:ext cx="679" cy="394"/>
            </a:xfrm>
            <a:custGeom>
              <a:avLst/>
              <a:gdLst/>
              <a:ahLst/>
              <a:cxnLst/>
              <a:rect l="l" t="t" r="r" b="b"/>
              <a:pathLst>
                <a:path w="50" h="29" extrusionOk="0">
                  <a:moveTo>
                    <a:pt x="0" y="0"/>
                  </a:moveTo>
                  <a:lnTo>
                    <a:pt x="49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9" name="Google Shape;7156;p64">
              <a:extLst>
                <a:ext uri="{FF2B5EF4-FFF2-40B4-BE49-F238E27FC236}">
                  <a16:creationId xmlns:a16="http://schemas.microsoft.com/office/drawing/2014/main" id="{2F5E5D7A-9615-782D-134D-1A095EE273BE}"/>
                </a:ext>
              </a:extLst>
            </p:cNvPr>
            <p:cNvSpPr/>
            <p:nvPr/>
          </p:nvSpPr>
          <p:spPr>
            <a:xfrm>
              <a:off x="2598395" y="173037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0"/>
                  </a:moveTo>
                  <a:lnTo>
                    <a:pt x="4" y="0"/>
                  </a:lnTo>
                  <a:cubicBezTo>
                    <a:pt x="4" y="7"/>
                    <a:pt x="0" y="11"/>
                    <a:pt x="0" y="18"/>
                  </a:cubicBezTo>
                  <a:cubicBezTo>
                    <a:pt x="4" y="11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0" name="Google Shape;7157;p64">
              <a:extLst>
                <a:ext uri="{FF2B5EF4-FFF2-40B4-BE49-F238E27FC236}">
                  <a16:creationId xmlns:a16="http://schemas.microsoft.com/office/drawing/2014/main" id="{7774942F-3AF1-7E38-B03D-E1D399D970AC}"/>
                </a:ext>
              </a:extLst>
            </p:cNvPr>
            <p:cNvSpPr/>
            <p:nvPr/>
          </p:nvSpPr>
          <p:spPr>
            <a:xfrm>
              <a:off x="2598531" y="1729463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lnTo>
                    <a:pt x="1" y="8"/>
                  </a:lnTo>
                  <a:cubicBezTo>
                    <a:pt x="1" y="8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1" name="Google Shape;7158;p64">
              <a:extLst>
                <a:ext uri="{FF2B5EF4-FFF2-40B4-BE49-F238E27FC236}">
                  <a16:creationId xmlns:a16="http://schemas.microsoft.com/office/drawing/2014/main" id="{3FCBA7EE-23C9-A985-FE7E-F89E1E9C3760}"/>
                </a:ext>
              </a:extLst>
            </p:cNvPr>
            <p:cNvSpPr/>
            <p:nvPr/>
          </p:nvSpPr>
          <p:spPr>
            <a:xfrm>
              <a:off x="2609176" y="1723815"/>
              <a:ext cx="1113" cy="679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81" y="49"/>
                  </a:moveTo>
                  <a:cubicBezTo>
                    <a:pt x="57" y="32"/>
                    <a:pt x="29" y="14"/>
                    <a:pt x="1" y="0"/>
                  </a:cubicBezTo>
                  <a:cubicBezTo>
                    <a:pt x="29" y="14"/>
                    <a:pt x="57" y="32"/>
                    <a:pt x="81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2" name="Google Shape;7159;p64">
              <a:extLst>
                <a:ext uri="{FF2B5EF4-FFF2-40B4-BE49-F238E27FC236}">
                  <a16:creationId xmlns:a16="http://schemas.microsoft.com/office/drawing/2014/main" id="{4453EA2B-5950-A520-0B67-CC7E2C318584}"/>
                </a:ext>
              </a:extLst>
            </p:cNvPr>
            <p:cNvSpPr/>
            <p:nvPr/>
          </p:nvSpPr>
          <p:spPr>
            <a:xfrm>
              <a:off x="2597825" y="173203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7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3" name="Google Shape;7160;p64">
              <a:extLst>
                <a:ext uri="{FF2B5EF4-FFF2-40B4-BE49-F238E27FC236}">
                  <a16:creationId xmlns:a16="http://schemas.microsoft.com/office/drawing/2014/main" id="{14FA2D17-B4BD-9867-6858-B445BEC0B478}"/>
                </a:ext>
              </a:extLst>
            </p:cNvPr>
            <p:cNvSpPr/>
            <p:nvPr/>
          </p:nvSpPr>
          <p:spPr>
            <a:xfrm>
              <a:off x="2643975" y="17104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4" name="Google Shape;7161;p64">
              <a:extLst>
                <a:ext uri="{FF2B5EF4-FFF2-40B4-BE49-F238E27FC236}">
                  <a16:creationId xmlns:a16="http://schemas.microsoft.com/office/drawing/2014/main" id="{4F831D21-32C8-BCA2-15EB-6AC26CF74DC5}"/>
                </a:ext>
              </a:extLst>
            </p:cNvPr>
            <p:cNvSpPr/>
            <p:nvPr/>
          </p:nvSpPr>
          <p:spPr>
            <a:xfrm>
              <a:off x="2598490" y="172989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ubicBezTo>
                    <a:pt x="0" y="11"/>
                    <a:pt x="0" y="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5" name="Google Shape;7162;p64">
              <a:extLst>
                <a:ext uri="{FF2B5EF4-FFF2-40B4-BE49-F238E27FC236}">
                  <a16:creationId xmlns:a16="http://schemas.microsoft.com/office/drawing/2014/main" id="{7F1BF2A0-D48C-7936-F590-14423BB9D849}"/>
                </a:ext>
              </a:extLst>
            </p:cNvPr>
            <p:cNvSpPr/>
            <p:nvPr/>
          </p:nvSpPr>
          <p:spPr>
            <a:xfrm>
              <a:off x="2598056" y="1731459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lnTo>
                    <a:pt x="8" y="1"/>
                  </a:lnTo>
                  <a:cubicBezTo>
                    <a:pt x="4" y="8"/>
                    <a:pt x="4" y="15"/>
                    <a:pt x="1" y="22"/>
                  </a:cubicBezTo>
                  <a:cubicBezTo>
                    <a:pt x="4" y="15"/>
                    <a:pt x="8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6" name="Google Shape;7163;p64">
              <a:extLst>
                <a:ext uri="{FF2B5EF4-FFF2-40B4-BE49-F238E27FC236}">
                  <a16:creationId xmlns:a16="http://schemas.microsoft.com/office/drawing/2014/main" id="{1D651C10-D41F-2EA4-2583-41528CDAC4AD}"/>
                </a:ext>
              </a:extLst>
            </p:cNvPr>
            <p:cNvSpPr/>
            <p:nvPr/>
          </p:nvSpPr>
          <p:spPr>
            <a:xfrm>
              <a:off x="2598246" y="1730943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8" y="0"/>
                  </a:lnTo>
                  <a:cubicBezTo>
                    <a:pt x="4" y="4"/>
                    <a:pt x="4" y="11"/>
                    <a:pt x="1" y="18"/>
                  </a:cubicBezTo>
                  <a:cubicBezTo>
                    <a:pt x="4" y="11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7" name="Google Shape;7164;p64">
              <a:extLst>
                <a:ext uri="{FF2B5EF4-FFF2-40B4-BE49-F238E27FC236}">
                  <a16:creationId xmlns:a16="http://schemas.microsoft.com/office/drawing/2014/main" id="{563F1360-E71B-EAB9-0BF1-454FD357105F}"/>
                </a:ext>
              </a:extLst>
            </p:cNvPr>
            <p:cNvSpPr/>
            <p:nvPr/>
          </p:nvSpPr>
          <p:spPr>
            <a:xfrm>
              <a:off x="2597485" y="1732600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1" y="1"/>
                  </a:moveTo>
                  <a:cubicBezTo>
                    <a:pt x="8" y="8"/>
                    <a:pt x="4" y="15"/>
                    <a:pt x="1" y="18"/>
                  </a:cubicBezTo>
                  <a:cubicBezTo>
                    <a:pt x="4" y="15"/>
                    <a:pt x="8" y="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8" name="Google Shape;7165;p64">
              <a:extLst>
                <a:ext uri="{FF2B5EF4-FFF2-40B4-BE49-F238E27FC236}">
                  <a16:creationId xmlns:a16="http://schemas.microsoft.com/office/drawing/2014/main" id="{85AD8B61-52AC-C250-FC6D-D5B6BA9E512A}"/>
                </a:ext>
              </a:extLst>
            </p:cNvPr>
            <p:cNvSpPr/>
            <p:nvPr/>
          </p:nvSpPr>
          <p:spPr>
            <a:xfrm>
              <a:off x="2645156" y="1707604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32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9" name="Google Shape;7166;p64">
              <a:extLst>
                <a:ext uri="{FF2B5EF4-FFF2-40B4-BE49-F238E27FC236}">
                  <a16:creationId xmlns:a16="http://schemas.microsoft.com/office/drawing/2014/main" id="{95CD03B8-195F-ADD3-5692-F60523176F5D}"/>
                </a:ext>
              </a:extLst>
            </p:cNvPr>
            <p:cNvSpPr/>
            <p:nvPr/>
          </p:nvSpPr>
          <p:spPr>
            <a:xfrm>
              <a:off x="2625441" y="1716633"/>
              <a:ext cx="6612" cy="4141"/>
            </a:xfrm>
            <a:custGeom>
              <a:avLst/>
              <a:gdLst/>
              <a:ahLst/>
              <a:cxnLst/>
              <a:rect l="l" t="t" r="r" b="b"/>
              <a:pathLst>
                <a:path w="487" h="305" extrusionOk="0">
                  <a:moveTo>
                    <a:pt x="0" y="280"/>
                  </a:moveTo>
                  <a:cubicBezTo>
                    <a:pt x="298" y="305"/>
                    <a:pt x="420" y="133"/>
                    <a:pt x="487" y="0"/>
                  </a:cubicBezTo>
                  <a:cubicBezTo>
                    <a:pt x="420" y="133"/>
                    <a:pt x="298" y="305"/>
                    <a:pt x="0" y="28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0" name="Google Shape;7167;p64">
              <a:extLst>
                <a:ext uri="{FF2B5EF4-FFF2-40B4-BE49-F238E27FC236}">
                  <a16:creationId xmlns:a16="http://schemas.microsoft.com/office/drawing/2014/main" id="{1706E6C5-B269-1550-B51D-775782CADDE6}"/>
                </a:ext>
              </a:extLst>
            </p:cNvPr>
            <p:cNvSpPr/>
            <p:nvPr/>
          </p:nvSpPr>
          <p:spPr>
            <a:xfrm>
              <a:off x="2627437" y="17666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1" name="Google Shape;7168;p64">
              <a:extLst>
                <a:ext uri="{FF2B5EF4-FFF2-40B4-BE49-F238E27FC236}">
                  <a16:creationId xmlns:a16="http://schemas.microsoft.com/office/drawing/2014/main" id="{015D5050-24BC-1588-3805-818531CAC5CD}"/>
                </a:ext>
              </a:extLst>
            </p:cNvPr>
            <p:cNvSpPr/>
            <p:nvPr/>
          </p:nvSpPr>
          <p:spPr>
            <a:xfrm>
              <a:off x="2629094" y="17652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2" name="Google Shape;7169;p64">
              <a:extLst>
                <a:ext uri="{FF2B5EF4-FFF2-40B4-BE49-F238E27FC236}">
                  <a16:creationId xmlns:a16="http://schemas.microsoft.com/office/drawing/2014/main" id="{FBB7E09E-D550-B511-8DC0-92E44739DA07}"/>
                </a:ext>
              </a:extLst>
            </p:cNvPr>
            <p:cNvSpPr/>
            <p:nvPr/>
          </p:nvSpPr>
          <p:spPr>
            <a:xfrm>
              <a:off x="2635896" y="1762742"/>
              <a:ext cx="7658" cy="4576"/>
            </a:xfrm>
            <a:custGeom>
              <a:avLst/>
              <a:gdLst/>
              <a:ahLst/>
              <a:cxnLst/>
              <a:rect l="l" t="t" r="r" b="b"/>
              <a:pathLst>
                <a:path w="564" h="337" extrusionOk="0">
                  <a:moveTo>
                    <a:pt x="0" y="0"/>
                  </a:moveTo>
                  <a:lnTo>
                    <a:pt x="0" y="0"/>
                  </a:lnTo>
                  <a:cubicBezTo>
                    <a:pt x="158" y="11"/>
                    <a:pt x="410" y="175"/>
                    <a:pt x="564" y="336"/>
                  </a:cubicBezTo>
                  <a:cubicBezTo>
                    <a:pt x="410" y="175"/>
                    <a:pt x="158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3" name="Google Shape;7170;p64">
              <a:extLst>
                <a:ext uri="{FF2B5EF4-FFF2-40B4-BE49-F238E27FC236}">
                  <a16:creationId xmlns:a16="http://schemas.microsoft.com/office/drawing/2014/main" id="{894FF54B-8550-3D87-DC32-5D231C95413D}"/>
                </a:ext>
              </a:extLst>
            </p:cNvPr>
            <p:cNvSpPr/>
            <p:nvPr/>
          </p:nvSpPr>
          <p:spPr>
            <a:xfrm>
              <a:off x="2634701" y="1762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4" name="Google Shape;7171;p64">
              <a:extLst>
                <a:ext uri="{FF2B5EF4-FFF2-40B4-BE49-F238E27FC236}">
                  <a16:creationId xmlns:a16="http://schemas.microsoft.com/office/drawing/2014/main" id="{2D20AA13-A03F-0815-1D1A-A69B55342714}"/>
                </a:ext>
              </a:extLst>
            </p:cNvPr>
            <p:cNvSpPr/>
            <p:nvPr/>
          </p:nvSpPr>
          <p:spPr>
            <a:xfrm>
              <a:off x="2634701" y="1780759"/>
              <a:ext cx="679" cy="54"/>
            </a:xfrm>
            <a:custGeom>
              <a:avLst/>
              <a:gdLst/>
              <a:ahLst/>
              <a:cxnLst/>
              <a:rect l="l" t="t" r="r" b="b"/>
              <a:pathLst>
                <a:path w="50" h="4" extrusionOk="0">
                  <a:moveTo>
                    <a:pt x="50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5" name="Google Shape;7172;p64">
              <a:extLst>
                <a:ext uri="{FF2B5EF4-FFF2-40B4-BE49-F238E27FC236}">
                  <a16:creationId xmlns:a16="http://schemas.microsoft.com/office/drawing/2014/main" id="{0A2A55BC-A149-7CF5-0B64-7E0A32AC908B}"/>
                </a:ext>
              </a:extLst>
            </p:cNvPr>
            <p:cNvSpPr/>
            <p:nvPr/>
          </p:nvSpPr>
          <p:spPr>
            <a:xfrm>
              <a:off x="2644925" y="1769055"/>
              <a:ext cx="530" cy="1969"/>
            </a:xfrm>
            <a:custGeom>
              <a:avLst/>
              <a:gdLst/>
              <a:ahLst/>
              <a:cxnLst/>
              <a:rect l="l" t="t" r="r" b="b"/>
              <a:pathLst>
                <a:path w="39" h="145" extrusionOk="0">
                  <a:moveTo>
                    <a:pt x="25" y="144"/>
                  </a:moveTo>
                  <a:cubicBezTo>
                    <a:pt x="39" y="95"/>
                    <a:pt x="28" y="43"/>
                    <a:pt x="0" y="1"/>
                  </a:cubicBezTo>
                  <a:cubicBezTo>
                    <a:pt x="28" y="43"/>
                    <a:pt x="39" y="95"/>
                    <a:pt x="25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6" name="Google Shape;7173;p64">
              <a:extLst>
                <a:ext uri="{FF2B5EF4-FFF2-40B4-BE49-F238E27FC236}">
                  <a16:creationId xmlns:a16="http://schemas.microsoft.com/office/drawing/2014/main" id="{AEBFD99D-C080-9DF9-A1B3-31D0F835DD4B}"/>
                </a:ext>
              </a:extLst>
            </p:cNvPr>
            <p:cNvSpPr/>
            <p:nvPr/>
          </p:nvSpPr>
          <p:spPr>
            <a:xfrm>
              <a:off x="2635421" y="1780705"/>
              <a:ext cx="625" cy="68"/>
            </a:xfrm>
            <a:custGeom>
              <a:avLst/>
              <a:gdLst/>
              <a:ahLst/>
              <a:cxnLst/>
              <a:rect l="l" t="t" r="r" b="b"/>
              <a:pathLst>
                <a:path w="46" h="5" extrusionOk="0">
                  <a:moveTo>
                    <a:pt x="46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7" name="Google Shape;7174;p64">
              <a:extLst>
                <a:ext uri="{FF2B5EF4-FFF2-40B4-BE49-F238E27FC236}">
                  <a16:creationId xmlns:a16="http://schemas.microsoft.com/office/drawing/2014/main" id="{7E216E9D-5B19-A8C3-6A82-108305A2EAB0}"/>
                </a:ext>
              </a:extLst>
            </p:cNvPr>
            <p:cNvSpPr/>
            <p:nvPr/>
          </p:nvSpPr>
          <p:spPr>
            <a:xfrm>
              <a:off x="2636127" y="1780610"/>
              <a:ext cx="543" cy="68"/>
            </a:xfrm>
            <a:custGeom>
              <a:avLst/>
              <a:gdLst/>
              <a:ahLst/>
              <a:cxnLst/>
              <a:rect l="l" t="t" r="r" b="b"/>
              <a:pathLst>
                <a:path w="40" h="5" extrusionOk="0">
                  <a:moveTo>
                    <a:pt x="39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8" name="Google Shape;7175;p64">
              <a:extLst>
                <a:ext uri="{FF2B5EF4-FFF2-40B4-BE49-F238E27FC236}">
                  <a16:creationId xmlns:a16="http://schemas.microsoft.com/office/drawing/2014/main" id="{9F5AB1E7-1D56-5F3B-46CB-7E5F83139308}"/>
                </a:ext>
              </a:extLst>
            </p:cNvPr>
            <p:cNvSpPr/>
            <p:nvPr/>
          </p:nvSpPr>
          <p:spPr>
            <a:xfrm>
              <a:off x="2635272" y="17627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9" name="Google Shape;7176;p64">
              <a:extLst>
                <a:ext uri="{FF2B5EF4-FFF2-40B4-BE49-F238E27FC236}">
                  <a16:creationId xmlns:a16="http://schemas.microsoft.com/office/drawing/2014/main" id="{28A91930-C839-37CC-5772-01B5E6EEDA53}"/>
                </a:ext>
              </a:extLst>
            </p:cNvPr>
            <p:cNvSpPr/>
            <p:nvPr/>
          </p:nvSpPr>
          <p:spPr>
            <a:xfrm>
              <a:off x="2636751" y="1780474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0" name="Google Shape;7177;p64">
              <a:extLst>
                <a:ext uri="{FF2B5EF4-FFF2-40B4-BE49-F238E27FC236}">
                  <a16:creationId xmlns:a16="http://schemas.microsoft.com/office/drawing/2014/main" id="{5F48B642-ECD8-EBAF-673F-87DBEF6FE919}"/>
                </a:ext>
              </a:extLst>
            </p:cNvPr>
            <p:cNvSpPr/>
            <p:nvPr/>
          </p:nvSpPr>
          <p:spPr>
            <a:xfrm>
              <a:off x="2963060" y="1726992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1" name="Google Shape;7178;p64">
              <a:extLst>
                <a:ext uri="{FF2B5EF4-FFF2-40B4-BE49-F238E27FC236}">
                  <a16:creationId xmlns:a16="http://schemas.microsoft.com/office/drawing/2014/main" id="{92E6F7F0-8001-C6CA-9E7F-803FCE947D20}"/>
                </a:ext>
              </a:extLst>
            </p:cNvPr>
            <p:cNvSpPr/>
            <p:nvPr/>
          </p:nvSpPr>
          <p:spPr>
            <a:xfrm>
              <a:off x="2962449" y="1728038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2" name="Google Shape;7179;p64">
              <a:extLst>
                <a:ext uri="{FF2B5EF4-FFF2-40B4-BE49-F238E27FC236}">
                  <a16:creationId xmlns:a16="http://schemas.microsoft.com/office/drawing/2014/main" id="{D5169C68-8642-C1DE-8E95-B957F8D8DAE0}"/>
                </a:ext>
              </a:extLst>
            </p:cNvPr>
            <p:cNvSpPr/>
            <p:nvPr/>
          </p:nvSpPr>
          <p:spPr>
            <a:xfrm>
              <a:off x="3013201" y="170327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3" name="Google Shape;7180;p64">
              <a:extLst>
                <a:ext uri="{FF2B5EF4-FFF2-40B4-BE49-F238E27FC236}">
                  <a16:creationId xmlns:a16="http://schemas.microsoft.com/office/drawing/2014/main" id="{C0229060-8D61-6F89-279C-8E762385745A}"/>
                </a:ext>
              </a:extLst>
            </p:cNvPr>
            <p:cNvSpPr/>
            <p:nvPr/>
          </p:nvSpPr>
          <p:spPr>
            <a:xfrm>
              <a:off x="2963684" y="17262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0" y="11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4" name="Google Shape;7181;p64">
              <a:extLst>
                <a:ext uri="{FF2B5EF4-FFF2-40B4-BE49-F238E27FC236}">
                  <a16:creationId xmlns:a16="http://schemas.microsoft.com/office/drawing/2014/main" id="{62D4DCF4-4B94-72C3-AB4A-137B592E10A2}"/>
                </a:ext>
              </a:extLst>
            </p:cNvPr>
            <p:cNvSpPr/>
            <p:nvPr/>
          </p:nvSpPr>
          <p:spPr>
            <a:xfrm>
              <a:off x="2962204" y="172866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8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5" name="Google Shape;7182;p64">
              <a:extLst>
                <a:ext uri="{FF2B5EF4-FFF2-40B4-BE49-F238E27FC236}">
                  <a16:creationId xmlns:a16="http://schemas.microsoft.com/office/drawing/2014/main" id="{0C8AF36B-9700-168A-055E-C600823BD355}"/>
                </a:ext>
              </a:extLst>
            </p:cNvPr>
            <p:cNvSpPr/>
            <p:nvPr/>
          </p:nvSpPr>
          <p:spPr>
            <a:xfrm>
              <a:off x="2962774" y="1727468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8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6" name="Google Shape;7183;p64">
              <a:extLst>
                <a:ext uri="{FF2B5EF4-FFF2-40B4-BE49-F238E27FC236}">
                  <a16:creationId xmlns:a16="http://schemas.microsoft.com/office/drawing/2014/main" id="{7F7F2D93-8072-67EC-7EB4-7AC099144FC5}"/>
                </a:ext>
              </a:extLst>
            </p:cNvPr>
            <p:cNvSpPr/>
            <p:nvPr/>
          </p:nvSpPr>
          <p:spPr>
            <a:xfrm>
              <a:off x="3012536" y="1703177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7" name="Google Shape;7184;p64">
              <a:extLst>
                <a:ext uri="{FF2B5EF4-FFF2-40B4-BE49-F238E27FC236}">
                  <a16:creationId xmlns:a16="http://schemas.microsoft.com/office/drawing/2014/main" id="{D6AF403E-5279-23FC-C081-F58AA37BF5BC}"/>
                </a:ext>
              </a:extLst>
            </p:cNvPr>
            <p:cNvSpPr/>
            <p:nvPr/>
          </p:nvSpPr>
          <p:spPr>
            <a:xfrm>
              <a:off x="2963345" y="1726612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8" name="Google Shape;7185;p64">
              <a:extLst>
                <a:ext uri="{FF2B5EF4-FFF2-40B4-BE49-F238E27FC236}">
                  <a16:creationId xmlns:a16="http://schemas.microsoft.com/office/drawing/2014/main" id="{32532EA1-9966-CE09-4368-C8C52F8D4469}"/>
                </a:ext>
              </a:extLst>
            </p:cNvPr>
            <p:cNvSpPr/>
            <p:nvPr/>
          </p:nvSpPr>
          <p:spPr>
            <a:xfrm>
              <a:off x="2964010" y="1726042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9" name="Google Shape;7186;p64">
              <a:extLst>
                <a:ext uri="{FF2B5EF4-FFF2-40B4-BE49-F238E27FC236}">
                  <a16:creationId xmlns:a16="http://schemas.microsoft.com/office/drawing/2014/main" id="{FBF248A2-8E0F-D9CF-DB66-8A416CE9D126}"/>
                </a:ext>
              </a:extLst>
            </p:cNvPr>
            <p:cNvSpPr/>
            <p:nvPr/>
          </p:nvSpPr>
          <p:spPr>
            <a:xfrm>
              <a:off x="3009685" y="1703082"/>
              <a:ext cx="1344" cy="394"/>
            </a:xfrm>
            <a:custGeom>
              <a:avLst/>
              <a:gdLst/>
              <a:ahLst/>
              <a:cxnLst/>
              <a:rect l="l" t="t" r="r" b="b"/>
              <a:pathLst>
                <a:path w="99" h="29" extrusionOk="0">
                  <a:moveTo>
                    <a:pt x="1" y="1"/>
                  </a:moveTo>
                  <a:cubicBezTo>
                    <a:pt x="32" y="22"/>
                    <a:pt x="67" y="29"/>
                    <a:pt x="99" y="22"/>
                  </a:cubicBezTo>
                  <a:cubicBezTo>
                    <a:pt x="67" y="29"/>
                    <a:pt x="32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0" name="Google Shape;7187;p64">
              <a:extLst>
                <a:ext uri="{FF2B5EF4-FFF2-40B4-BE49-F238E27FC236}">
                  <a16:creationId xmlns:a16="http://schemas.microsoft.com/office/drawing/2014/main" id="{330C1478-765E-45C2-3642-17FBB83883CA}"/>
                </a:ext>
              </a:extLst>
            </p:cNvPr>
            <p:cNvSpPr/>
            <p:nvPr/>
          </p:nvSpPr>
          <p:spPr>
            <a:xfrm>
              <a:off x="3011966" y="170317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1" name="Google Shape;7188;p64">
              <a:extLst>
                <a:ext uri="{FF2B5EF4-FFF2-40B4-BE49-F238E27FC236}">
                  <a16:creationId xmlns:a16="http://schemas.microsoft.com/office/drawing/2014/main" id="{6563E226-3C6A-C621-C8E7-C9526FFDC4B7}"/>
                </a:ext>
              </a:extLst>
            </p:cNvPr>
            <p:cNvSpPr/>
            <p:nvPr/>
          </p:nvSpPr>
          <p:spPr>
            <a:xfrm>
              <a:off x="2991532" y="1712492"/>
              <a:ext cx="353" cy="1398"/>
            </a:xfrm>
            <a:custGeom>
              <a:avLst/>
              <a:gdLst/>
              <a:ahLst/>
              <a:cxnLst/>
              <a:rect l="l" t="t" r="r" b="b"/>
              <a:pathLst>
                <a:path w="26" h="103" extrusionOk="0">
                  <a:moveTo>
                    <a:pt x="25" y="102"/>
                  </a:moveTo>
                  <a:cubicBezTo>
                    <a:pt x="11" y="71"/>
                    <a:pt x="1" y="36"/>
                    <a:pt x="1" y="1"/>
                  </a:cubicBezTo>
                  <a:cubicBezTo>
                    <a:pt x="1" y="36"/>
                    <a:pt x="11" y="71"/>
                    <a:pt x="25" y="10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2" name="Google Shape;7189;p64">
              <a:extLst>
                <a:ext uri="{FF2B5EF4-FFF2-40B4-BE49-F238E27FC236}">
                  <a16:creationId xmlns:a16="http://schemas.microsoft.com/office/drawing/2014/main" id="{8D219C14-E314-7932-D198-8919CA701087}"/>
                </a:ext>
              </a:extLst>
            </p:cNvPr>
            <p:cNvSpPr/>
            <p:nvPr/>
          </p:nvSpPr>
          <p:spPr>
            <a:xfrm>
              <a:off x="3011070" y="1703327"/>
              <a:ext cx="339" cy="54"/>
            </a:xfrm>
            <a:custGeom>
              <a:avLst/>
              <a:gdLst/>
              <a:ahLst/>
              <a:cxnLst/>
              <a:rect l="l" t="t" r="r" b="b"/>
              <a:pathLst>
                <a:path w="25" h="4" extrusionOk="0">
                  <a:moveTo>
                    <a:pt x="25" y="0"/>
                  </a:moveTo>
                  <a:cubicBezTo>
                    <a:pt x="14" y="0"/>
                    <a:pt x="7" y="4"/>
                    <a:pt x="0" y="4"/>
                  </a:cubicBezTo>
                  <a:cubicBezTo>
                    <a:pt x="7" y="4"/>
                    <a:pt x="14" y="0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3" name="Google Shape;7190;p64">
              <a:extLst>
                <a:ext uri="{FF2B5EF4-FFF2-40B4-BE49-F238E27FC236}">
                  <a16:creationId xmlns:a16="http://schemas.microsoft.com/office/drawing/2014/main" id="{C1B7D107-C836-A901-2B8B-9BC44384453E}"/>
                </a:ext>
              </a:extLst>
            </p:cNvPr>
            <p:cNvSpPr/>
            <p:nvPr/>
          </p:nvSpPr>
          <p:spPr>
            <a:xfrm>
              <a:off x="2650343" y="1811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4" name="Google Shape;7191;p64">
              <a:extLst>
                <a:ext uri="{FF2B5EF4-FFF2-40B4-BE49-F238E27FC236}">
                  <a16:creationId xmlns:a16="http://schemas.microsoft.com/office/drawing/2014/main" id="{217446CF-9DAA-B755-B80B-259A96163D11}"/>
                </a:ext>
              </a:extLst>
            </p:cNvPr>
            <p:cNvSpPr/>
            <p:nvPr/>
          </p:nvSpPr>
          <p:spPr>
            <a:xfrm>
              <a:off x="2650723" y="1811322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5" name="Google Shape;7192;p64">
              <a:extLst>
                <a:ext uri="{FF2B5EF4-FFF2-40B4-BE49-F238E27FC236}">
                  <a16:creationId xmlns:a16="http://schemas.microsoft.com/office/drawing/2014/main" id="{D0F56BB4-BF49-E5EE-75D6-8ABF674E6CCF}"/>
                </a:ext>
              </a:extLst>
            </p:cNvPr>
            <p:cNvSpPr/>
            <p:nvPr/>
          </p:nvSpPr>
          <p:spPr>
            <a:xfrm>
              <a:off x="2698067" y="1830086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6" name="Google Shape;7193;p64">
              <a:extLst>
                <a:ext uri="{FF2B5EF4-FFF2-40B4-BE49-F238E27FC236}">
                  <a16:creationId xmlns:a16="http://schemas.microsoft.com/office/drawing/2014/main" id="{3430C263-F46A-2F29-3825-0262B8E0D2B8}"/>
                </a:ext>
              </a:extLst>
            </p:cNvPr>
            <p:cNvSpPr/>
            <p:nvPr/>
          </p:nvSpPr>
          <p:spPr>
            <a:xfrm>
              <a:off x="2651008" y="18112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7" name="Google Shape;7194;p64">
              <a:extLst>
                <a:ext uri="{FF2B5EF4-FFF2-40B4-BE49-F238E27FC236}">
                  <a16:creationId xmlns:a16="http://schemas.microsoft.com/office/drawing/2014/main" id="{9AFCB72C-4F8D-5102-EA72-B70649BCB98F}"/>
                </a:ext>
              </a:extLst>
            </p:cNvPr>
            <p:cNvSpPr/>
            <p:nvPr/>
          </p:nvSpPr>
          <p:spPr>
            <a:xfrm>
              <a:off x="2651198" y="181113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8" name="Google Shape;7195;p64">
              <a:extLst>
                <a:ext uri="{FF2B5EF4-FFF2-40B4-BE49-F238E27FC236}">
                  <a16:creationId xmlns:a16="http://schemas.microsoft.com/office/drawing/2014/main" id="{406E1D13-106F-188E-82E7-2BBADEA3693E}"/>
                </a:ext>
              </a:extLst>
            </p:cNvPr>
            <p:cNvSpPr/>
            <p:nvPr/>
          </p:nvSpPr>
          <p:spPr>
            <a:xfrm>
              <a:off x="2649012" y="18116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9" name="Google Shape;7196;p64">
              <a:extLst>
                <a:ext uri="{FF2B5EF4-FFF2-40B4-BE49-F238E27FC236}">
                  <a16:creationId xmlns:a16="http://schemas.microsoft.com/office/drawing/2014/main" id="{1AFFAC11-AF6E-4DD2-DF99-E6A1F9425800}"/>
                </a:ext>
              </a:extLst>
            </p:cNvPr>
            <p:cNvSpPr/>
            <p:nvPr/>
          </p:nvSpPr>
          <p:spPr>
            <a:xfrm>
              <a:off x="2649487" y="181155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0" name="Google Shape;7197;p64">
              <a:extLst>
                <a:ext uri="{FF2B5EF4-FFF2-40B4-BE49-F238E27FC236}">
                  <a16:creationId xmlns:a16="http://schemas.microsoft.com/office/drawing/2014/main" id="{B2033D3A-1BAB-DA18-16B4-90EEED3ED1D8}"/>
                </a:ext>
              </a:extLst>
            </p:cNvPr>
            <p:cNvSpPr/>
            <p:nvPr/>
          </p:nvSpPr>
          <p:spPr>
            <a:xfrm>
              <a:off x="2649962" y="181145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1" name="Google Shape;7198;p64">
              <a:extLst>
                <a:ext uri="{FF2B5EF4-FFF2-40B4-BE49-F238E27FC236}">
                  <a16:creationId xmlns:a16="http://schemas.microsoft.com/office/drawing/2014/main" id="{0017DB43-4267-F5E4-6B7B-F55CEA80D561}"/>
                </a:ext>
              </a:extLst>
            </p:cNvPr>
            <p:cNvSpPr/>
            <p:nvPr/>
          </p:nvSpPr>
          <p:spPr>
            <a:xfrm>
              <a:off x="2787041" y="1879305"/>
              <a:ext cx="2634" cy="421"/>
            </a:xfrm>
            <a:custGeom>
              <a:avLst/>
              <a:gdLst/>
              <a:ahLst/>
              <a:cxnLst/>
              <a:rect l="l" t="t" r="r" b="b"/>
              <a:pathLst>
                <a:path w="194" h="31" extrusionOk="0">
                  <a:moveTo>
                    <a:pt x="119" y="1"/>
                  </a:moveTo>
                  <a:cubicBezTo>
                    <a:pt x="82" y="1"/>
                    <a:pt x="41" y="15"/>
                    <a:pt x="1" y="31"/>
                  </a:cubicBezTo>
                  <a:cubicBezTo>
                    <a:pt x="43" y="15"/>
                    <a:pt x="84" y="1"/>
                    <a:pt x="120" y="1"/>
                  </a:cubicBezTo>
                  <a:lnTo>
                    <a:pt x="120" y="1"/>
                  </a:lnTo>
                  <a:cubicBezTo>
                    <a:pt x="147" y="1"/>
                    <a:pt x="172" y="8"/>
                    <a:pt x="193" y="27"/>
                  </a:cubicBezTo>
                  <a:cubicBezTo>
                    <a:pt x="173" y="8"/>
                    <a:pt x="148" y="1"/>
                    <a:pt x="122" y="1"/>
                  </a:cubicBezTo>
                  <a:cubicBezTo>
                    <a:pt x="121" y="1"/>
                    <a:pt x="121" y="1"/>
                    <a:pt x="120" y="1"/>
                  </a:cubicBezTo>
                  <a:lnTo>
                    <a:pt x="120" y="1"/>
                  </a:lnTo>
                  <a:cubicBezTo>
                    <a:pt x="120" y="1"/>
                    <a:pt x="119" y="1"/>
                    <a:pt x="11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2" name="Google Shape;7199;p64">
              <a:extLst>
                <a:ext uri="{FF2B5EF4-FFF2-40B4-BE49-F238E27FC236}">
                  <a16:creationId xmlns:a16="http://schemas.microsoft.com/office/drawing/2014/main" id="{1D789ACA-CB7F-036F-E52E-EF474B278376}"/>
                </a:ext>
              </a:extLst>
            </p:cNvPr>
            <p:cNvSpPr/>
            <p:nvPr/>
          </p:nvSpPr>
          <p:spPr>
            <a:xfrm>
              <a:off x="2774414" y="1867642"/>
              <a:ext cx="3326" cy="1629"/>
            </a:xfrm>
            <a:custGeom>
              <a:avLst/>
              <a:gdLst/>
              <a:ahLst/>
              <a:cxnLst/>
              <a:rect l="l" t="t" r="r" b="b"/>
              <a:pathLst>
                <a:path w="245" h="120" extrusionOk="0">
                  <a:moveTo>
                    <a:pt x="0" y="1"/>
                  </a:moveTo>
                  <a:lnTo>
                    <a:pt x="0" y="1"/>
                  </a:lnTo>
                  <a:cubicBezTo>
                    <a:pt x="115" y="11"/>
                    <a:pt x="199" y="53"/>
                    <a:pt x="245" y="120"/>
                  </a:cubicBezTo>
                  <a:cubicBezTo>
                    <a:pt x="203" y="53"/>
                    <a:pt x="115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3" name="Google Shape;7200;p64">
              <a:extLst>
                <a:ext uri="{FF2B5EF4-FFF2-40B4-BE49-F238E27FC236}">
                  <a16:creationId xmlns:a16="http://schemas.microsoft.com/office/drawing/2014/main" id="{699EBA04-84DB-9F3E-4DB2-0A1CA3F5882A}"/>
                </a:ext>
              </a:extLst>
            </p:cNvPr>
            <p:cNvSpPr/>
            <p:nvPr/>
          </p:nvSpPr>
          <p:spPr>
            <a:xfrm>
              <a:off x="2764774" y="1848443"/>
              <a:ext cx="5322" cy="8757"/>
            </a:xfrm>
            <a:custGeom>
              <a:avLst/>
              <a:gdLst/>
              <a:ahLst/>
              <a:cxnLst/>
              <a:rect l="l" t="t" r="r" b="b"/>
              <a:pathLst>
                <a:path w="392" h="645" extrusionOk="0">
                  <a:moveTo>
                    <a:pt x="391" y="0"/>
                  </a:moveTo>
                  <a:lnTo>
                    <a:pt x="391" y="0"/>
                  </a:lnTo>
                  <a:cubicBezTo>
                    <a:pt x="171" y="233"/>
                    <a:pt x="0" y="538"/>
                    <a:pt x="0" y="629"/>
                  </a:cubicBezTo>
                  <a:lnTo>
                    <a:pt x="0" y="629"/>
                  </a:lnTo>
                  <a:cubicBezTo>
                    <a:pt x="0" y="538"/>
                    <a:pt x="171" y="237"/>
                    <a:pt x="391" y="0"/>
                  </a:cubicBezTo>
                  <a:close/>
                  <a:moveTo>
                    <a:pt x="0" y="629"/>
                  </a:moveTo>
                  <a:cubicBezTo>
                    <a:pt x="0" y="635"/>
                    <a:pt x="1" y="640"/>
                    <a:pt x="3" y="644"/>
                  </a:cubicBezTo>
                  <a:cubicBezTo>
                    <a:pt x="1" y="640"/>
                    <a:pt x="0" y="635"/>
                    <a:pt x="0" y="6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4" name="Google Shape;7201;p64">
              <a:extLst>
                <a:ext uri="{FF2B5EF4-FFF2-40B4-BE49-F238E27FC236}">
                  <a16:creationId xmlns:a16="http://schemas.microsoft.com/office/drawing/2014/main" id="{F7D4AEA4-4676-78C3-6CE5-5DAD8ACD0B2C}"/>
                </a:ext>
              </a:extLst>
            </p:cNvPr>
            <p:cNvSpPr/>
            <p:nvPr/>
          </p:nvSpPr>
          <p:spPr>
            <a:xfrm>
              <a:off x="2771603" y="1838694"/>
              <a:ext cx="1765" cy="8051"/>
            </a:xfrm>
            <a:custGeom>
              <a:avLst/>
              <a:gdLst/>
              <a:ahLst/>
              <a:cxnLst/>
              <a:rect l="l" t="t" r="r" b="b"/>
              <a:pathLst>
                <a:path w="130" h="593" extrusionOk="0">
                  <a:moveTo>
                    <a:pt x="0" y="592"/>
                  </a:moveTo>
                  <a:cubicBezTo>
                    <a:pt x="130" y="407"/>
                    <a:pt x="112" y="193"/>
                    <a:pt x="95" y="1"/>
                  </a:cubicBezTo>
                  <a:cubicBezTo>
                    <a:pt x="112" y="193"/>
                    <a:pt x="130" y="407"/>
                    <a:pt x="0" y="59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5" name="Google Shape;7202;p64">
              <a:extLst>
                <a:ext uri="{FF2B5EF4-FFF2-40B4-BE49-F238E27FC236}">
                  <a16:creationId xmlns:a16="http://schemas.microsoft.com/office/drawing/2014/main" id="{B103A38D-FDF6-BF99-C42D-B8D5F120FBAF}"/>
                </a:ext>
              </a:extLst>
            </p:cNvPr>
            <p:cNvSpPr/>
            <p:nvPr/>
          </p:nvSpPr>
          <p:spPr>
            <a:xfrm>
              <a:off x="2786661" y="1879766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11"/>
                  </a:moveTo>
                  <a:lnTo>
                    <a:pt x="29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6" name="Google Shape;7203;p64">
              <a:extLst>
                <a:ext uri="{FF2B5EF4-FFF2-40B4-BE49-F238E27FC236}">
                  <a16:creationId xmlns:a16="http://schemas.microsoft.com/office/drawing/2014/main" id="{D3D8DCDA-E3AF-9737-AADB-8BB08000DE2E}"/>
                </a:ext>
              </a:extLst>
            </p:cNvPr>
            <p:cNvSpPr/>
            <p:nvPr/>
          </p:nvSpPr>
          <p:spPr>
            <a:xfrm>
              <a:off x="2761230" y="182599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7" name="Google Shape;7204;p64">
              <a:extLst>
                <a:ext uri="{FF2B5EF4-FFF2-40B4-BE49-F238E27FC236}">
                  <a16:creationId xmlns:a16="http://schemas.microsoft.com/office/drawing/2014/main" id="{AF21F2CA-1C61-787A-62CD-F9339DA0D8E2}"/>
                </a:ext>
              </a:extLst>
            </p:cNvPr>
            <p:cNvSpPr/>
            <p:nvPr/>
          </p:nvSpPr>
          <p:spPr>
            <a:xfrm>
              <a:off x="2761474" y="1825864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8" name="Google Shape;7205;p64">
              <a:extLst>
                <a:ext uri="{FF2B5EF4-FFF2-40B4-BE49-F238E27FC236}">
                  <a16:creationId xmlns:a16="http://schemas.microsoft.com/office/drawing/2014/main" id="{DAFB396A-01E4-5D02-1F9B-4F8C057E2FD8}"/>
                </a:ext>
              </a:extLst>
            </p:cNvPr>
            <p:cNvSpPr/>
            <p:nvPr/>
          </p:nvSpPr>
          <p:spPr>
            <a:xfrm>
              <a:off x="2761705" y="182576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9" name="Google Shape;7206;p64">
              <a:extLst>
                <a:ext uri="{FF2B5EF4-FFF2-40B4-BE49-F238E27FC236}">
                  <a16:creationId xmlns:a16="http://schemas.microsoft.com/office/drawing/2014/main" id="{C08BCB05-6820-A972-94B6-ABA81A88EC19}"/>
                </a:ext>
              </a:extLst>
            </p:cNvPr>
            <p:cNvSpPr/>
            <p:nvPr/>
          </p:nvSpPr>
          <p:spPr>
            <a:xfrm>
              <a:off x="2760945" y="1826149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0" name="Google Shape;7207;p64">
              <a:extLst>
                <a:ext uri="{FF2B5EF4-FFF2-40B4-BE49-F238E27FC236}">
                  <a16:creationId xmlns:a16="http://schemas.microsoft.com/office/drawing/2014/main" id="{B76D2402-6CAA-37C1-7761-32FB6EAF18FD}"/>
                </a:ext>
              </a:extLst>
            </p:cNvPr>
            <p:cNvSpPr/>
            <p:nvPr/>
          </p:nvSpPr>
          <p:spPr>
            <a:xfrm>
              <a:off x="2704530" y="1833793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1" name="Google Shape;7208;p64">
              <a:extLst>
                <a:ext uri="{FF2B5EF4-FFF2-40B4-BE49-F238E27FC236}">
                  <a16:creationId xmlns:a16="http://schemas.microsoft.com/office/drawing/2014/main" id="{5F92A18F-16BC-829A-4466-BCAAA738946F}"/>
                </a:ext>
              </a:extLst>
            </p:cNvPr>
            <p:cNvSpPr/>
            <p:nvPr/>
          </p:nvSpPr>
          <p:spPr>
            <a:xfrm>
              <a:off x="2712894" y="1827004"/>
              <a:ext cx="4766" cy="1724"/>
            </a:xfrm>
            <a:custGeom>
              <a:avLst/>
              <a:gdLst/>
              <a:ahLst/>
              <a:cxnLst/>
              <a:rect l="l" t="t" r="r" b="b"/>
              <a:pathLst>
                <a:path w="351" h="127" extrusionOk="0">
                  <a:moveTo>
                    <a:pt x="1" y="0"/>
                  </a:moveTo>
                  <a:cubicBezTo>
                    <a:pt x="102" y="4"/>
                    <a:pt x="214" y="56"/>
                    <a:pt x="351" y="126"/>
                  </a:cubicBezTo>
                  <a:cubicBezTo>
                    <a:pt x="214" y="56"/>
                    <a:pt x="102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2" name="Google Shape;7209;p64">
              <a:extLst>
                <a:ext uri="{FF2B5EF4-FFF2-40B4-BE49-F238E27FC236}">
                  <a16:creationId xmlns:a16="http://schemas.microsoft.com/office/drawing/2014/main" id="{71A4C966-5876-206E-1EE9-69509E94AD04}"/>
                </a:ext>
              </a:extLst>
            </p:cNvPr>
            <p:cNvSpPr/>
            <p:nvPr/>
          </p:nvSpPr>
          <p:spPr>
            <a:xfrm>
              <a:off x="2719126" y="1828946"/>
              <a:ext cx="964" cy="163"/>
            </a:xfrm>
            <a:custGeom>
              <a:avLst/>
              <a:gdLst/>
              <a:ahLst/>
              <a:cxnLst/>
              <a:rect l="l" t="t" r="r" b="b"/>
              <a:pathLst>
                <a:path w="71" h="12" extrusionOk="0">
                  <a:moveTo>
                    <a:pt x="70" y="1"/>
                  </a:moveTo>
                  <a:cubicBezTo>
                    <a:pt x="46" y="4"/>
                    <a:pt x="25" y="8"/>
                    <a:pt x="0" y="11"/>
                  </a:cubicBezTo>
                  <a:cubicBezTo>
                    <a:pt x="25" y="8"/>
                    <a:pt x="46" y="4"/>
                    <a:pt x="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3" name="Google Shape;7210;p64">
              <a:extLst>
                <a:ext uri="{FF2B5EF4-FFF2-40B4-BE49-F238E27FC236}">
                  <a16:creationId xmlns:a16="http://schemas.microsoft.com/office/drawing/2014/main" id="{918FE309-3588-D1EC-899A-89AE89444845}"/>
                </a:ext>
              </a:extLst>
            </p:cNvPr>
            <p:cNvSpPr/>
            <p:nvPr/>
          </p:nvSpPr>
          <p:spPr>
            <a:xfrm>
              <a:off x="2724204" y="1829570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0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4" name="Google Shape;7211;p64">
              <a:extLst>
                <a:ext uri="{FF2B5EF4-FFF2-40B4-BE49-F238E27FC236}">
                  <a16:creationId xmlns:a16="http://schemas.microsoft.com/office/drawing/2014/main" id="{B10D8083-7A86-759D-96EB-B304E211B996}"/>
                </a:ext>
              </a:extLst>
            </p:cNvPr>
            <p:cNvSpPr/>
            <p:nvPr/>
          </p:nvSpPr>
          <p:spPr>
            <a:xfrm>
              <a:off x="2722208" y="182885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5" name="Google Shape;7212;p64">
              <a:extLst>
                <a:ext uri="{FF2B5EF4-FFF2-40B4-BE49-F238E27FC236}">
                  <a16:creationId xmlns:a16="http://schemas.microsoft.com/office/drawing/2014/main" id="{F03E14AC-85A0-3CBF-A27E-AAA2135328BA}"/>
                </a:ext>
              </a:extLst>
            </p:cNvPr>
            <p:cNvSpPr/>
            <p:nvPr/>
          </p:nvSpPr>
          <p:spPr>
            <a:xfrm>
              <a:off x="2724679" y="1829855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" y="0"/>
                  </a:move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6" name="Google Shape;7213;p64">
              <a:extLst>
                <a:ext uri="{FF2B5EF4-FFF2-40B4-BE49-F238E27FC236}">
                  <a16:creationId xmlns:a16="http://schemas.microsoft.com/office/drawing/2014/main" id="{796F93BF-11D9-ADB9-6274-F72E8619E471}"/>
                </a:ext>
              </a:extLst>
            </p:cNvPr>
            <p:cNvSpPr/>
            <p:nvPr/>
          </p:nvSpPr>
          <p:spPr>
            <a:xfrm>
              <a:off x="2720593" y="182890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7" name="Google Shape;7214;p64">
              <a:extLst>
                <a:ext uri="{FF2B5EF4-FFF2-40B4-BE49-F238E27FC236}">
                  <a16:creationId xmlns:a16="http://schemas.microsoft.com/office/drawing/2014/main" id="{01C758E6-6E51-6D90-0C9E-8BB603069E6B}"/>
                </a:ext>
              </a:extLst>
            </p:cNvPr>
            <p:cNvSpPr/>
            <p:nvPr/>
          </p:nvSpPr>
          <p:spPr>
            <a:xfrm>
              <a:off x="2720077" y="1828905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0" y="4"/>
                  </a:moveTo>
                  <a:lnTo>
                    <a:pt x="3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8" name="Google Shape;7215;p64">
              <a:extLst>
                <a:ext uri="{FF2B5EF4-FFF2-40B4-BE49-F238E27FC236}">
                  <a16:creationId xmlns:a16="http://schemas.microsoft.com/office/drawing/2014/main" id="{6A58F858-07E7-9405-FC05-54930102F119}"/>
                </a:ext>
              </a:extLst>
            </p:cNvPr>
            <p:cNvSpPr/>
            <p:nvPr/>
          </p:nvSpPr>
          <p:spPr>
            <a:xfrm>
              <a:off x="2722588" y="1828946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9" name="Google Shape;7216;p64">
              <a:extLst>
                <a:ext uri="{FF2B5EF4-FFF2-40B4-BE49-F238E27FC236}">
                  <a16:creationId xmlns:a16="http://schemas.microsoft.com/office/drawing/2014/main" id="{19189773-940A-521E-595F-89F9C5ED3E34}"/>
                </a:ext>
              </a:extLst>
            </p:cNvPr>
            <p:cNvSpPr/>
            <p:nvPr/>
          </p:nvSpPr>
          <p:spPr>
            <a:xfrm>
              <a:off x="2723349" y="1829190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" y="0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0" name="Google Shape;7217;p64">
              <a:extLst>
                <a:ext uri="{FF2B5EF4-FFF2-40B4-BE49-F238E27FC236}">
                  <a16:creationId xmlns:a16="http://schemas.microsoft.com/office/drawing/2014/main" id="{37DD2AD5-33F3-A679-A44D-0EE1ACCB1719}"/>
                </a:ext>
              </a:extLst>
            </p:cNvPr>
            <p:cNvSpPr/>
            <p:nvPr/>
          </p:nvSpPr>
          <p:spPr>
            <a:xfrm>
              <a:off x="2722969" y="182904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1" name="Google Shape;7218;p64">
              <a:extLst>
                <a:ext uri="{FF2B5EF4-FFF2-40B4-BE49-F238E27FC236}">
                  <a16:creationId xmlns:a16="http://schemas.microsoft.com/office/drawing/2014/main" id="{1C2B6D92-ACEE-A13D-995B-5A4A054AE108}"/>
                </a:ext>
              </a:extLst>
            </p:cNvPr>
            <p:cNvSpPr/>
            <p:nvPr/>
          </p:nvSpPr>
          <p:spPr>
            <a:xfrm>
              <a:off x="2723783" y="18293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0"/>
                  </a:moveTo>
                  <a:lnTo>
                    <a:pt x="1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2" name="Google Shape;7219;p64">
              <a:extLst>
                <a:ext uri="{FF2B5EF4-FFF2-40B4-BE49-F238E27FC236}">
                  <a16:creationId xmlns:a16="http://schemas.microsoft.com/office/drawing/2014/main" id="{43BA16C8-B55D-1C82-6757-AADE7DF92F08}"/>
                </a:ext>
              </a:extLst>
            </p:cNvPr>
            <p:cNvSpPr/>
            <p:nvPr/>
          </p:nvSpPr>
          <p:spPr>
            <a:xfrm>
              <a:off x="2720878" y="1828851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1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3" name="Google Shape;7220;p64">
              <a:extLst>
                <a:ext uri="{FF2B5EF4-FFF2-40B4-BE49-F238E27FC236}">
                  <a16:creationId xmlns:a16="http://schemas.microsoft.com/office/drawing/2014/main" id="{013630C7-8550-34AC-6EA4-30D3B1667A16}"/>
                </a:ext>
              </a:extLst>
            </p:cNvPr>
            <p:cNvSpPr/>
            <p:nvPr/>
          </p:nvSpPr>
          <p:spPr>
            <a:xfrm>
              <a:off x="2721217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4" name="Google Shape;7221;p64">
              <a:extLst>
                <a:ext uri="{FF2B5EF4-FFF2-40B4-BE49-F238E27FC236}">
                  <a16:creationId xmlns:a16="http://schemas.microsoft.com/office/drawing/2014/main" id="{5A95EE9A-AB05-6C3D-9A05-252F4C4AC01A}"/>
                </a:ext>
              </a:extLst>
            </p:cNvPr>
            <p:cNvSpPr/>
            <p:nvPr/>
          </p:nvSpPr>
          <p:spPr>
            <a:xfrm>
              <a:off x="2721882" y="1828810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5" name="Google Shape;7222;p64">
              <a:extLst>
                <a:ext uri="{FF2B5EF4-FFF2-40B4-BE49-F238E27FC236}">
                  <a16:creationId xmlns:a16="http://schemas.microsoft.com/office/drawing/2014/main" id="{A703D14D-8CE8-F88E-B5F8-04A89ADC0176}"/>
                </a:ext>
              </a:extLst>
            </p:cNvPr>
            <p:cNvSpPr/>
            <p:nvPr/>
          </p:nvSpPr>
          <p:spPr>
            <a:xfrm>
              <a:off x="2725155" y="1830181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" y="1"/>
                  </a:moveTo>
                  <a:lnTo>
                    <a:pt x="1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6" name="Google Shape;7223;p64">
              <a:extLst>
                <a:ext uri="{FF2B5EF4-FFF2-40B4-BE49-F238E27FC236}">
                  <a16:creationId xmlns:a16="http://schemas.microsoft.com/office/drawing/2014/main" id="{25CBF454-0B27-BCEC-C87E-2433C14E0E91}"/>
                </a:ext>
              </a:extLst>
            </p:cNvPr>
            <p:cNvSpPr/>
            <p:nvPr/>
          </p:nvSpPr>
          <p:spPr>
            <a:xfrm>
              <a:off x="2721543" y="182881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7" name="Google Shape;7224;p64">
              <a:extLst>
                <a:ext uri="{FF2B5EF4-FFF2-40B4-BE49-F238E27FC236}">
                  <a16:creationId xmlns:a16="http://schemas.microsoft.com/office/drawing/2014/main" id="{BB7EAC25-AF11-C105-120F-034839607619}"/>
                </a:ext>
              </a:extLst>
            </p:cNvPr>
            <p:cNvSpPr/>
            <p:nvPr/>
          </p:nvSpPr>
          <p:spPr>
            <a:xfrm>
              <a:off x="2725630" y="183061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lnTo>
                    <a:pt x="1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8" name="Google Shape;7225;p64">
              <a:extLst>
                <a:ext uri="{FF2B5EF4-FFF2-40B4-BE49-F238E27FC236}">
                  <a16:creationId xmlns:a16="http://schemas.microsoft.com/office/drawing/2014/main" id="{A94B0BFA-A8CB-64BF-29D4-DFE1003412FB}"/>
                </a:ext>
              </a:extLst>
            </p:cNvPr>
            <p:cNvSpPr/>
            <p:nvPr/>
          </p:nvSpPr>
          <p:spPr>
            <a:xfrm>
              <a:off x="2704530" y="183388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9" name="Google Shape;7226;p64">
              <a:extLst>
                <a:ext uri="{FF2B5EF4-FFF2-40B4-BE49-F238E27FC236}">
                  <a16:creationId xmlns:a16="http://schemas.microsoft.com/office/drawing/2014/main" id="{067B4CD2-66FC-EE88-8A01-4D9A43B4E6D1}"/>
                </a:ext>
              </a:extLst>
            </p:cNvPr>
            <p:cNvSpPr/>
            <p:nvPr/>
          </p:nvSpPr>
          <p:spPr>
            <a:xfrm>
              <a:off x="2801976" y="18714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0" name="Google Shape;7227;p64">
              <a:extLst>
                <a:ext uri="{FF2B5EF4-FFF2-40B4-BE49-F238E27FC236}">
                  <a16:creationId xmlns:a16="http://schemas.microsoft.com/office/drawing/2014/main" id="{99FBC1D5-8137-EF01-2BDA-63942EF195B0}"/>
                </a:ext>
              </a:extLst>
            </p:cNvPr>
            <p:cNvSpPr/>
            <p:nvPr/>
          </p:nvSpPr>
          <p:spPr>
            <a:xfrm>
              <a:off x="2821894" y="1866270"/>
              <a:ext cx="815" cy="339"/>
            </a:xfrm>
            <a:custGeom>
              <a:avLst/>
              <a:gdLst/>
              <a:ahLst/>
              <a:cxnLst/>
              <a:rect l="l" t="t" r="r" b="b"/>
              <a:pathLst>
                <a:path w="60" h="25" extrusionOk="0">
                  <a:moveTo>
                    <a:pt x="60" y="25"/>
                  </a:moveTo>
                  <a:cubicBezTo>
                    <a:pt x="42" y="11"/>
                    <a:pt x="21" y="0"/>
                    <a:pt x="0" y="0"/>
                  </a:cubicBezTo>
                  <a:cubicBezTo>
                    <a:pt x="21" y="0"/>
                    <a:pt x="42" y="11"/>
                    <a:pt x="6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1" name="Google Shape;7228;p64">
              <a:extLst>
                <a:ext uri="{FF2B5EF4-FFF2-40B4-BE49-F238E27FC236}">
                  <a16:creationId xmlns:a16="http://schemas.microsoft.com/office/drawing/2014/main" id="{092498DA-FB47-2387-6633-AAD5CB994A0F}"/>
                </a:ext>
              </a:extLst>
            </p:cNvPr>
            <p:cNvSpPr/>
            <p:nvPr/>
          </p:nvSpPr>
          <p:spPr>
            <a:xfrm>
              <a:off x="2797414" y="1872774"/>
              <a:ext cx="434" cy="299"/>
            </a:xfrm>
            <a:custGeom>
              <a:avLst/>
              <a:gdLst/>
              <a:ahLst/>
              <a:cxnLst/>
              <a:rect l="l" t="t" r="r" b="b"/>
              <a:pathLst>
                <a:path w="32" h="22" extrusionOk="0">
                  <a:moveTo>
                    <a:pt x="32" y="1"/>
                  </a:moveTo>
                  <a:cubicBezTo>
                    <a:pt x="21" y="8"/>
                    <a:pt x="11" y="15"/>
                    <a:pt x="0" y="22"/>
                  </a:cubicBezTo>
                  <a:cubicBezTo>
                    <a:pt x="11" y="18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2" name="Google Shape;7229;p64">
              <a:extLst>
                <a:ext uri="{FF2B5EF4-FFF2-40B4-BE49-F238E27FC236}">
                  <a16:creationId xmlns:a16="http://schemas.microsoft.com/office/drawing/2014/main" id="{C0C5D929-A774-57FC-B63D-10F7FD170DCA}"/>
                </a:ext>
              </a:extLst>
            </p:cNvPr>
            <p:cNvSpPr/>
            <p:nvPr/>
          </p:nvSpPr>
          <p:spPr>
            <a:xfrm>
              <a:off x="2804108" y="1870452"/>
              <a:ext cx="1874" cy="1100"/>
            </a:xfrm>
            <a:custGeom>
              <a:avLst/>
              <a:gdLst/>
              <a:ahLst/>
              <a:cxnLst/>
              <a:rect l="l" t="t" r="r" b="b"/>
              <a:pathLst>
                <a:path w="138" h="81" extrusionOk="0">
                  <a:moveTo>
                    <a:pt x="1" y="81"/>
                  </a:moveTo>
                  <a:cubicBezTo>
                    <a:pt x="29" y="32"/>
                    <a:pt x="81" y="0"/>
                    <a:pt x="137" y="0"/>
                  </a:cubicBezTo>
                  <a:cubicBezTo>
                    <a:pt x="81" y="0"/>
                    <a:pt x="29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3" name="Google Shape;7230;p64">
              <a:extLst>
                <a:ext uri="{FF2B5EF4-FFF2-40B4-BE49-F238E27FC236}">
                  <a16:creationId xmlns:a16="http://schemas.microsoft.com/office/drawing/2014/main" id="{1AD5DF9B-F206-7739-0879-B851A2B20B02}"/>
                </a:ext>
              </a:extLst>
            </p:cNvPr>
            <p:cNvSpPr/>
            <p:nvPr/>
          </p:nvSpPr>
          <p:spPr>
            <a:xfrm>
              <a:off x="2837902" y="1879617"/>
              <a:ext cx="353" cy="109"/>
            </a:xfrm>
            <a:custGeom>
              <a:avLst/>
              <a:gdLst/>
              <a:ahLst/>
              <a:cxnLst/>
              <a:rect l="l" t="t" r="r" b="b"/>
              <a:pathLst>
                <a:path w="26" h="8" extrusionOk="0">
                  <a:moveTo>
                    <a:pt x="1" y="1"/>
                  </a:moveTo>
                  <a:cubicBezTo>
                    <a:pt x="8" y="4"/>
                    <a:pt x="18" y="4"/>
                    <a:pt x="25" y="8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4" name="Google Shape;7231;p64">
              <a:extLst>
                <a:ext uri="{FF2B5EF4-FFF2-40B4-BE49-F238E27FC236}">
                  <a16:creationId xmlns:a16="http://schemas.microsoft.com/office/drawing/2014/main" id="{9086EF12-843C-36C2-7F63-2124BDE48A7A}"/>
                </a:ext>
              </a:extLst>
            </p:cNvPr>
            <p:cNvSpPr/>
            <p:nvPr/>
          </p:nvSpPr>
          <p:spPr>
            <a:xfrm>
              <a:off x="2822750" y="186659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5" name="Google Shape;7232;p64">
              <a:extLst>
                <a:ext uri="{FF2B5EF4-FFF2-40B4-BE49-F238E27FC236}">
                  <a16:creationId xmlns:a16="http://schemas.microsoft.com/office/drawing/2014/main" id="{52DE0AAD-E7C0-D070-D556-28A45113C643}"/>
                </a:ext>
              </a:extLst>
            </p:cNvPr>
            <p:cNvSpPr/>
            <p:nvPr/>
          </p:nvSpPr>
          <p:spPr>
            <a:xfrm>
              <a:off x="2838282" y="1879712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15"/>
                  </a:moveTo>
                  <a:cubicBezTo>
                    <a:pt x="18" y="8"/>
                    <a:pt x="8" y="4"/>
                    <a:pt x="1" y="1"/>
                  </a:cubicBezTo>
                  <a:cubicBezTo>
                    <a:pt x="8" y="4"/>
                    <a:pt x="18" y="8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6" name="Google Shape;7233;p64">
              <a:extLst>
                <a:ext uri="{FF2B5EF4-FFF2-40B4-BE49-F238E27FC236}">
                  <a16:creationId xmlns:a16="http://schemas.microsoft.com/office/drawing/2014/main" id="{34BF0576-EB7F-63F9-4806-6564DA00BC93}"/>
                </a:ext>
              </a:extLst>
            </p:cNvPr>
            <p:cNvSpPr/>
            <p:nvPr/>
          </p:nvSpPr>
          <p:spPr>
            <a:xfrm>
              <a:off x="2796939" y="1873113"/>
              <a:ext cx="434" cy="244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0"/>
                  </a:moveTo>
                  <a:lnTo>
                    <a:pt x="7" y="14"/>
                  </a:lnTo>
                  <a:lnTo>
                    <a:pt x="0" y="18"/>
                  </a:lnTo>
                  <a:cubicBezTo>
                    <a:pt x="11" y="14"/>
                    <a:pt x="21" y="7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7" name="Google Shape;7234;p64">
              <a:extLst>
                <a:ext uri="{FF2B5EF4-FFF2-40B4-BE49-F238E27FC236}">
                  <a16:creationId xmlns:a16="http://schemas.microsoft.com/office/drawing/2014/main" id="{E20B931A-CEBA-7EA6-2C01-46C2C6F572ED}"/>
                </a:ext>
              </a:extLst>
            </p:cNvPr>
            <p:cNvSpPr/>
            <p:nvPr/>
          </p:nvSpPr>
          <p:spPr>
            <a:xfrm>
              <a:off x="2797889" y="1872543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4" y="4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8" name="Google Shape;7235;p64">
              <a:extLst>
                <a:ext uri="{FF2B5EF4-FFF2-40B4-BE49-F238E27FC236}">
                  <a16:creationId xmlns:a16="http://schemas.microsoft.com/office/drawing/2014/main" id="{4C5E222A-0EEC-7D5A-8851-85241CEB16D0}"/>
                </a:ext>
              </a:extLst>
            </p:cNvPr>
            <p:cNvSpPr/>
            <p:nvPr/>
          </p:nvSpPr>
          <p:spPr>
            <a:xfrm>
              <a:off x="2838662" y="1879956"/>
              <a:ext cx="828" cy="720"/>
            </a:xfrm>
            <a:custGeom>
              <a:avLst/>
              <a:gdLst/>
              <a:ahLst/>
              <a:cxnLst/>
              <a:rect l="l" t="t" r="r" b="b"/>
              <a:pathLst>
                <a:path w="61" h="53" extrusionOk="0">
                  <a:moveTo>
                    <a:pt x="1" y="0"/>
                  </a:moveTo>
                  <a:cubicBezTo>
                    <a:pt x="22" y="14"/>
                    <a:pt x="43" y="32"/>
                    <a:pt x="60" y="53"/>
                  </a:cubicBezTo>
                  <a:cubicBezTo>
                    <a:pt x="43" y="32"/>
                    <a:pt x="22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9" name="Google Shape;7236;p64">
              <a:extLst>
                <a:ext uri="{FF2B5EF4-FFF2-40B4-BE49-F238E27FC236}">
                  <a16:creationId xmlns:a16="http://schemas.microsoft.com/office/drawing/2014/main" id="{6B33829A-B513-8795-77C1-D324BB42A1FD}"/>
                </a:ext>
              </a:extLst>
            </p:cNvPr>
            <p:cNvSpPr/>
            <p:nvPr/>
          </p:nvSpPr>
          <p:spPr>
            <a:xfrm>
              <a:off x="2796178" y="18736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0" name="Google Shape;7237;p64">
              <a:extLst>
                <a:ext uri="{FF2B5EF4-FFF2-40B4-BE49-F238E27FC236}">
                  <a16:creationId xmlns:a16="http://schemas.microsoft.com/office/drawing/2014/main" id="{64D38F14-24B8-6EC0-2682-46756F5A3DA5}"/>
                </a:ext>
              </a:extLst>
            </p:cNvPr>
            <p:cNvSpPr/>
            <p:nvPr/>
          </p:nvSpPr>
          <p:spPr>
            <a:xfrm>
              <a:off x="2795798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1" name="Google Shape;7238;p64">
              <a:extLst>
                <a:ext uri="{FF2B5EF4-FFF2-40B4-BE49-F238E27FC236}">
                  <a16:creationId xmlns:a16="http://schemas.microsoft.com/office/drawing/2014/main" id="{00E54836-9E21-906C-F472-8A70144574C2}"/>
                </a:ext>
              </a:extLst>
            </p:cNvPr>
            <p:cNvSpPr/>
            <p:nvPr/>
          </p:nvSpPr>
          <p:spPr>
            <a:xfrm>
              <a:off x="2795459" y="187377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2" name="Google Shape;7239;p64">
              <a:extLst>
                <a:ext uri="{FF2B5EF4-FFF2-40B4-BE49-F238E27FC236}">
                  <a16:creationId xmlns:a16="http://schemas.microsoft.com/office/drawing/2014/main" id="{5B5DA160-B89E-8344-E8D7-1A380D1D5FD2}"/>
                </a:ext>
              </a:extLst>
            </p:cNvPr>
            <p:cNvSpPr/>
            <p:nvPr/>
          </p:nvSpPr>
          <p:spPr>
            <a:xfrm>
              <a:off x="2789661" y="1879671"/>
              <a:ext cx="3476" cy="3476"/>
            </a:xfrm>
            <a:custGeom>
              <a:avLst/>
              <a:gdLst/>
              <a:ahLst/>
              <a:cxnLst/>
              <a:rect l="l" t="t" r="r" b="b"/>
              <a:pathLst>
                <a:path w="256" h="256" extrusionOk="0">
                  <a:moveTo>
                    <a:pt x="0" y="0"/>
                  </a:moveTo>
                  <a:cubicBezTo>
                    <a:pt x="21" y="5"/>
                    <a:pt x="40" y="16"/>
                    <a:pt x="56" y="31"/>
                  </a:cubicBezTo>
                  <a:lnTo>
                    <a:pt x="56" y="31"/>
                  </a:lnTo>
                  <a:cubicBezTo>
                    <a:pt x="41" y="17"/>
                    <a:pt x="24" y="6"/>
                    <a:pt x="4" y="0"/>
                  </a:cubicBezTo>
                  <a:close/>
                  <a:moveTo>
                    <a:pt x="56" y="31"/>
                  </a:moveTo>
                  <a:cubicBezTo>
                    <a:pt x="84" y="57"/>
                    <a:pt x="104" y="94"/>
                    <a:pt x="123" y="126"/>
                  </a:cubicBezTo>
                  <a:cubicBezTo>
                    <a:pt x="107" y="95"/>
                    <a:pt x="85" y="57"/>
                    <a:pt x="56" y="31"/>
                  </a:cubicBezTo>
                  <a:close/>
                  <a:moveTo>
                    <a:pt x="123" y="126"/>
                  </a:moveTo>
                  <a:cubicBezTo>
                    <a:pt x="158" y="186"/>
                    <a:pt x="189" y="242"/>
                    <a:pt x="256" y="256"/>
                  </a:cubicBezTo>
                  <a:cubicBezTo>
                    <a:pt x="193" y="242"/>
                    <a:pt x="161" y="186"/>
                    <a:pt x="123" y="12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3" name="Google Shape;7240;p64">
              <a:extLst>
                <a:ext uri="{FF2B5EF4-FFF2-40B4-BE49-F238E27FC236}">
                  <a16:creationId xmlns:a16="http://schemas.microsoft.com/office/drawing/2014/main" id="{95006E44-475F-C5FD-833B-E5734B2DB847}"/>
                </a:ext>
              </a:extLst>
            </p:cNvPr>
            <p:cNvSpPr/>
            <p:nvPr/>
          </p:nvSpPr>
          <p:spPr>
            <a:xfrm>
              <a:off x="2796559" y="1873399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4" name="Google Shape;7241;p64">
              <a:extLst>
                <a:ext uri="{FF2B5EF4-FFF2-40B4-BE49-F238E27FC236}">
                  <a16:creationId xmlns:a16="http://schemas.microsoft.com/office/drawing/2014/main" id="{EBEAF5A8-B11F-4B8F-EC86-D9F0A5517741}"/>
                </a:ext>
              </a:extLst>
            </p:cNvPr>
            <p:cNvSpPr/>
            <p:nvPr/>
          </p:nvSpPr>
          <p:spPr>
            <a:xfrm>
              <a:off x="2794984" y="187372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5" name="Google Shape;7242;p64">
              <a:extLst>
                <a:ext uri="{FF2B5EF4-FFF2-40B4-BE49-F238E27FC236}">
                  <a16:creationId xmlns:a16="http://schemas.microsoft.com/office/drawing/2014/main" id="{E1310EE5-2254-5350-6CDE-80602FCCC84B}"/>
                </a:ext>
              </a:extLst>
            </p:cNvPr>
            <p:cNvSpPr/>
            <p:nvPr/>
          </p:nvSpPr>
          <p:spPr>
            <a:xfrm>
              <a:off x="2789661" y="187967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6" name="Google Shape;7243;p64">
              <a:extLst>
                <a:ext uri="{FF2B5EF4-FFF2-40B4-BE49-F238E27FC236}">
                  <a16:creationId xmlns:a16="http://schemas.microsoft.com/office/drawing/2014/main" id="{28E1E288-300F-CA51-9761-C17829ABE7E0}"/>
                </a:ext>
              </a:extLst>
            </p:cNvPr>
            <p:cNvSpPr/>
            <p:nvPr/>
          </p:nvSpPr>
          <p:spPr>
            <a:xfrm>
              <a:off x="2796980" y="187330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7" name="Google Shape;7244;p64">
              <a:extLst>
                <a:ext uri="{FF2B5EF4-FFF2-40B4-BE49-F238E27FC236}">
                  <a16:creationId xmlns:a16="http://schemas.microsoft.com/office/drawing/2014/main" id="{4FA26F57-0CDE-2222-C5DC-541E40ECBFFA}"/>
                </a:ext>
              </a:extLst>
            </p:cNvPr>
            <p:cNvSpPr/>
            <p:nvPr/>
          </p:nvSpPr>
          <p:spPr>
            <a:xfrm>
              <a:off x="2959964" y="1971102"/>
              <a:ext cx="4345" cy="3082"/>
            </a:xfrm>
            <a:custGeom>
              <a:avLst/>
              <a:gdLst/>
              <a:ahLst/>
              <a:cxnLst/>
              <a:rect l="l" t="t" r="r" b="b"/>
              <a:pathLst>
                <a:path w="320" h="227" extrusionOk="0">
                  <a:moveTo>
                    <a:pt x="254" y="0"/>
                  </a:moveTo>
                  <a:cubicBezTo>
                    <a:pt x="228" y="0"/>
                    <a:pt x="200" y="11"/>
                    <a:pt x="176" y="23"/>
                  </a:cubicBezTo>
                  <a:cubicBezTo>
                    <a:pt x="71" y="79"/>
                    <a:pt x="1" y="191"/>
                    <a:pt x="11" y="215"/>
                  </a:cubicBezTo>
                  <a:cubicBezTo>
                    <a:pt x="15" y="222"/>
                    <a:pt x="22" y="226"/>
                    <a:pt x="36" y="226"/>
                  </a:cubicBezTo>
                  <a:cubicBezTo>
                    <a:pt x="39" y="226"/>
                    <a:pt x="43" y="226"/>
                    <a:pt x="46" y="226"/>
                  </a:cubicBezTo>
                  <a:cubicBezTo>
                    <a:pt x="134" y="226"/>
                    <a:pt x="268" y="143"/>
                    <a:pt x="302" y="72"/>
                  </a:cubicBezTo>
                  <a:cubicBezTo>
                    <a:pt x="320" y="44"/>
                    <a:pt x="309" y="30"/>
                    <a:pt x="302" y="23"/>
                  </a:cubicBezTo>
                  <a:cubicBezTo>
                    <a:pt x="290" y="6"/>
                    <a:pt x="273" y="0"/>
                    <a:pt x="25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8" name="Google Shape;7245;p64">
              <a:extLst>
                <a:ext uri="{FF2B5EF4-FFF2-40B4-BE49-F238E27FC236}">
                  <a16:creationId xmlns:a16="http://schemas.microsoft.com/office/drawing/2014/main" id="{D1F3105A-0CD7-6857-4E70-B3C68C79AD0A}"/>
                </a:ext>
              </a:extLst>
            </p:cNvPr>
            <p:cNvSpPr/>
            <p:nvPr/>
          </p:nvSpPr>
          <p:spPr>
            <a:xfrm>
              <a:off x="2945287" y="1972446"/>
              <a:ext cx="34378" cy="30916"/>
            </a:xfrm>
            <a:custGeom>
              <a:avLst/>
              <a:gdLst/>
              <a:ahLst/>
              <a:cxnLst/>
              <a:rect l="l" t="t" r="r" b="b"/>
              <a:pathLst>
                <a:path w="2532" h="2277" extrusionOk="0">
                  <a:moveTo>
                    <a:pt x="2130" y="1"/>
                  </a:moveTo>
                  <a:cubicBezTo>
                    <a:pt x="2090" y="1"/>
                    <a:pt x="2051" y="15"/>
                    <a:pt x="2020" y="43"/>
                  </a:cubicBezTo>
                  <a:cubicBezTo>
                    <a:pt x="2010" y="57"/>
                    <a:pt x="1999" y="81"/>
                    <a:pt x="2024" y="123"/>
                  </a:cubicBezTo>
                  <a:cubicBezTo>
                    <a:pt x="2052" y="169"/>
                    <a:pt x="2083" y="232"/>
                    <a:pt x="2055" y="288"/>
                  </a:cubicBezTo>
                  <a:cubicBezTo>
                    <a:pt x="2027" y="348"/>
                    <a:pt x="1954" y="362"/>
                    <a:pt x="1884" y="369"/>
                  </a:cubicBezTo>
                  <a:cubicBezTo>
                    <a:pt x="1772" y="383"/>
                    <a:pt x="1733" y="400"/>
                    <a:pt x="1726" y="456"/>
                  </a:cubicBezTo>
                  <a:cubicBezTo>
                    <a:pt x="1702" y="638"/>
                    <a:pt x="1555" y="649"/>
                    <a:pt x="1474" y="652"/>
                  </a:cubicBezTo>
                  <a:cubicBezTo>
                    <a:pt x="1450" y="652"/>
                    <a:pt x="1425" y="659"/>
                    <a:pt x="1404" y="666"/>
                  </a:cubicBezTo>
                  <a:cubicBezTo>
                    <a:pt x="1404" y="673"/>
                    <a:pt x="1404" y="677"/>
                    <a:pt x="1404" y="684"/>
                  </a:cubicBezTo>
                  <a:cubicBezTo>
                    <a:pt x="1415" y="740"/>
                    <a:pt x="1390" y="792"/>
                    <a:pt x="1345" y="820"/>
                  </a:cubicBezTo>
                  <a:cubicBezTo>
                    <a:pt x="1323" y="832"/>
                    <a:pt x="1298" y="838"/>
                    <a:pt x="1270" y="838"/>
                  </a:cubicBezTo>
                  <a:cubicBezTo>
                    <a:pt x="1135" y="838"/>
                    <a:pt x="935" y="715"/>
                    <a:pt x="816" y="631"/>
                  </a:cubicBezTo>
                  <a:cubicBezTo>
                    <a:pt x="809" y="627"/>
                    <a:pt x="801" y="625"/>
                    <a:pt x="793" y="625"/>
                  </a:cubicBezTo>
                  <a:cubicBezTo>
                    <a:pt x="740" y="625"/>
                    <a:pt x="656" y="703"/>
                    <a:pt x="574" y="782"/>
                  </a:cubicBezTo>
                  <a:cubicBezTo>
                    <a:pt x="476" y="873"/>
                    <a:pt x="361" y="981"/>
                    <a:pt x="238" y="1013"/>
                  </a:cubicBezTo>
                  <a:cubicBezTo>
                    <a:pt x="158" y="1034"/>
                    <a:pt x="77" y="1135"/>
                    <a:pt x="32" y="1268"/>
                  </a:cubicBezTo>
                  <a:cubicBezTo>
                    <a:pt x="7" y="1324"/>
                    <a:pt x="0" y="1387"/>
                    <a:pt x="11" y="1450"/>
                  </a:cubicBezTo>
                  <a:cubicBezTo>
                    <a:pt x="81" y="1443"/>
                    <a:pt x="140" y="1391"/>
                    <a:pt x="200" y="1335"/>
                  </a:cubicBezTo>
                  <a:cubicBezTo>
                    <a:pt x="275" y="1266"/>
                    <a:pt x="360" y="1190"/>
                    <a:pt x="481" y="1190"/>
                  </a:cubicBezTo>
                  <a:cubicBezTo>
                    <a:pt x="489" y="1190"/>
                    <a:pt x="496" y="1191"/>
                    <a:pt x="504" y="1191"/>
                  </a:cubicBezTo>
                  <a:cubicBezTo>
                    <a:pt x="511" y="1192"/>
                    <a:pt x="517" y="1193"/>
                    <a:pt x="523" y="1193"/>
                  </a:cubicBezTo>
                  <a:cubicBezTo>
                    <a:pt x="562" y="1193"/>
                    <a:pt x="579" y="1173"/>
                    <a:pt x="609" y="1142"/>
                  </a:cubicBezTo>
                  <a:cubicBezTo>
                    <a:pt x="658" y="1076"/>
                    <a:pt x="742" y="1037"/>
                    <a:pt x="826" y="1037"/>
                  </a:cubicBezTo>
                  <a:cubicBezTo>
                    <a:pt x="854" y="1037"/>
                    <a:pt x="886" y="1041"/>
                    <a:pt x="914" y="1048"/>
                  </a:cubicBezTo>
                  <a:cubicBezTo>
                    <a:pt x="1089" y="1076"/>
                    <a:pt x="1117" y="1289"/>
                    <a:pt x="1152" y="1513"/>
                  </a:cubicBezTo>
                  <a:cubicBezTo>
                    <a:pt x="1187" y="1776"/>
                    <a:pt x="1225" y="1961"/>
                    <a:pt x="1366" y="1986"/>
                  </a:cubicBezTo>
                  <a:cubicBezTo>
                    <a:pt x="1523" y="2007"/>
                    <a:pt x="1670" y="2084"/>
                    <a:pt x="1782" y="2196"/>
                  </a:cubicBezTo>
                  <a:cubicBezTo>
                    <a:pt x="1842" y="2248"/>
                    <a:pt x="1870" y="2276"/>
                    <a:pt x="1922" y="2276"/>
                  </a:cubicBezTo>
                  <a:cubicBezTo>
                    <a:pt x="1947" y="2231"/>
                    <a:pt x="1905" y="2042"/>
                    <a:pt x="1884" y="1940"/>
                  </a:cubicBezTo>
                  <a:cubicBezTo>
                    <a:pt x="1856" y="1842"/>
                    <a:pt x="1842" y="1741"/>
                    <a:pt x="1838" y="1639"/>
                  </a:cubicBezTo>
                  <a:cubicBezTo>
                    <a:pt x="1852" y="1499"/>
                    <a:pt x="1992" y="1489"/>
                    <a:pt x="2108" y="1478"/>
                  </a:cubicBezTo>
                  <a:cubicBezTo>
                    <a:pt x="2220" y="1468"/>
                    <a:pt x="2353" y="1457"/>
                    <a:pt x="2437" y="1359"/>
                  </a:cubicBezTo>
                  <a:cubicBezTo>
                    <a:pt x="2531" y="1247"/>
                    <a:pt x="2461" y="981"/>
                    <a:pt x="2391" y="722"/>
                  </a:cubicBezTo>
                  <a:cubicBezTo>
                    <a:pt x="2342" y="540"/>
                    <a:pt x="2293" y="351"/>
                    <a:pt x="2293" y="190"/>
                  </a:cubicBezTo>
                  <a:cubicBezTo>
                    <a:pt x="2293" y="99"/>
                    <a:pt x="2255" y="36"/>
                    <a:pt x="2188" y="11"/>
                  </a:cubicBezTo>
                  <a:cubicBezTo>
                    <a:pt x="2170" y="4"/>
                    <a:pt x="2150" y="1"/>
                    <a:pt x="213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9" name="Google Shape;7246;p64">
              <a:extLst>
                <a:ext uri="{FF2B5EF4-FFF2-40B4-BE49-F238E27FC236}">
                  <a16:creationId xmlns:a16="http://schemas.microsoft.com/office/drawing/2014/main" id="{ABACCB2D-F18A-4708-54E7-DC0A0A3CB237}"/>
                </a:ext>
              </a:extLst>
            </p:cNvPr>
            <p:cNvSpPr/>
            <p:nvPr/>
          </p:nvSpPr>
          <p:spPr>
            <a:xfrm>
              <a:off x="2934927" y="1945305"/>
              <a:ext cx="6191" cy="6463"/>
            </a:xfrm>
            <a:custGeom>
              <a:avLst/>
              <a:gdLst/>
              <a:ahLst/>
              <a:cxnLst/>
              <a:rect l="l" t="t" r="r" b="b"/>
              <a:pathLst>
                <a:path w="456" h="476" extrusionOk="0">
                  <a:moveTo>
                    <a:pt x="0" y="1"/>
                  </a:moveTo>
                  <a:cubicBezTo>
                    <a:pt x="32" y="144"/>
                    <a:pt x="102" y="372"/>
                    <a:pt x="231" y="449"/>
                  </a:cubicBezTo>
                  <a:cubicBezTo>
                    <a:pt x="263" y="467"/>
                    <a:pt x="299" y="476"/>
                    <a:pt x="335" y="476"/>
                  </a:cubicBezTo>
                  <a:cubicBezTo>
                    <a:pt x="363" y="476"/>
                    <a:pt x="391" y="470"/>
                    <a:pt x="417" y="460"/>
                  </a:cubicBezTo>
                  <a:cubicBezTo>
                    <a:pt x="455" y="449"/>
                    <a:pt x="455" y="435"/>
                    <a:pt x="452" y="425"/>
                  </a:cubicBezTo>
                  <a:cubicBezTo>
                    <a:pt x="438" y="306"/>
                    <a:pt x="144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0" name="Google Shape;7247;p64">
              <a:extLst>
                <a:ext uri="{FF2B5EF4-FFF2-40B4-BE49-F238E27FC236}">
                  <a16:creationId xmlns:a16="http://schemas.microsoft.com/office/drawing/2014/main" id="{1AFCC214-2218-5218-CB33-898E902209B8}"/>
                </a:ext>
              </a:extLst>
            </p:cNvPr>
            <p:cNvSpPr/>
            <p:nvPr/>
          </p:nvSpPr>
          <p:spPr>
            <a:xfrm>
              <a:off x="2944567" y="1938516"/>
              <a:ext cx="27875" cy="31432"/>
            </a:xfrm>
            <a:custGeom>
              <a:avLst/>
              <a:gdLst/>
              <a:ahLst/>
              <a:cxnLst/>
              <a:rect l="l" t="t" r="r" b="b"/>
              <a:pathLst>
                <a:path w="2053" h="2315" extrusionOk="0">
                  <a:moveTo>
                    <a:pt x="391" y="1"/>
                  </a:moveTo>
                  <a:cubicBezTo>
                    <a:pt x="295" y="1"/>
                    <a:pt x="201" y="20"/>
                    <a:pt x="127" y="63"/>
                  </a:cubicBezTo>
                  <a:cubicBezTo>
                    <a:pt x="88" y="88"/>
                    <a:pt x="46" y="102"/>
                    <a:pt x="1" y="105"/>
                  </a:cubicBezTo>
                  <a:cubicBezTo>
                    <a:pt x="15" y="123"/>
                    <a:pt x="32" y="140"/>
                    <a:pt x="43" y="158"/>
                  </a:cubicBezTo>
                  <a:cubicBezTo>
                    <a:pt x="86" y="204"/>
                    <a:pt x="113" y="236"/>
                    <a:pt x="181" y="236"/>
                  </a:cubicBezTo>
                  <a:cubicBezTo>
                    <a:pt x="196" y="236"/>
                    <a:pt x="213" y="234"/>
                    <a:pt x="232" y="231"/>
                  </a:cubicBezTo>
                  <a:cubicBezTo>
                    <a:pt x="253" y="228"/>
                    <a:pt x="274" y="227"/>
                    <a:pt x="296" y="227"/>
                  </a:cubicBezTo>
                  <a:cubicBezTo>
                    <a:pt x="534" y="227"/>
                    <a:pt x="785" y="412"/>
                    <a:pt x="897" y="557"/>
                  </a:cubicBezTo>
                  <a:cubicBezTo>
                    <a:pt x="974" y="655"/>
                    <a:pt x="995" y="743"/>
                    <a:pt x="967" y="809"/>
                  </a:cubicBezTo>
                  <a:cubicBezTo>
                    <a:pt x="921" y="907"/>
                    <a:pt x="967" y="1180"/>
                    <a:pt x="1019" y="1222"/>
                  </a:cubicBezTo>
                  <a:lnTo>
                    <a:pt x="1023" y="1215"/>
                  </a:lnTo>
                  <a:cubicBezTo>
                    <a:pt x="1068" y="1177"/>
                    <a:pt x="1124" y="1156"/>
                    <a:pt x="1184" y="1156"/>
                  </a:cubicBezTo>
                  <a:cubicBezTo>
                    <a:pt x="1240" y="1156"/>
                    <a:pt x="1293" y="1173"/>
                    <a:pt x="1335" y="1212"/>
                  </a:cubicBezTo>
                  <a:cubicBezTo>
                    <a:pt x="1408" y="1278"/>
                    <a:pt x="1443" y="1408"/>
                    <a:pt x="1349" y="1544"/>
                  </a:cubicBezTo>
                  <a:cubicBezTo>
                    <a:pt x="1296" y="1621"/>
                    <a:pt x="1342" y="1702"/>
                    <a:pt x="1457" y="1852"/>
                  </a:cubicBezTo>
                  <a:cubicBezTo>
                    <a:pt x="1527" y="1947"/>
                    <a:pt x="1611" y="2055"/>
                    <a:pt x="1632" y="2178"/>
                  </a:cubicBezTo>
                  <a:cubicBezTo>
                    <a:pt x="1638" y="2266"/>
                    <a:pt x="1709" y="2315"/>
                    <a:pt x="1780" y="2315"/>
                  </a:cubicBezTo>
                  <a:cubicBezTo>
                    <a:pt x="1836" y="2315"/>
                    <a:pt x="1893" y="2285"/>
                    <a:pt x="1919" y="2220"/>
                  </a:cubicBezTo>
                  <a:cubicBezTo>
                    <a:pt x="1961" y="2111"/>
                    <a:pt x="1874" y="2016"/>
                    <a:pt x="1779" y="2016"/>
                  </a:cubicBezTo>
                  <a:cubicBezTo>
                    <a:pt x="1746" y="2016"/>
                    <a:pt x="1711" y="2028"/>
                    <a:pt x="1681" y="2055"/>
                  </a:cubicBezTo>
                  <a:cubicBezTo>
                    <a:pt x="1650" y="1866"/>
                    <a:pt x="1706" y="1821"/>
                    <a:pt x="1839" y="1737"/>
                  </a:cubicBezTo>
                  <a:cubicBezTo>
                    <a:pt x="1870" y="1719"/>
                    <a:pt x="1909" y="1695"/>
                    <a:pt x="1951" y="1667"/>
                  </a:cubicBezTo>
                  <a:cubicBezTo>
                    <a:pt x="2052" y="1597"/>
                    <a:pt x="2010" y="1499"/>
                    <a:pt x="1884" y="1275"/>
                  </a:cubicBezTo>
                  <a:cubicBezTo>
                    <a:pt x="1849" y="1215"/>
                    <a:pt x="1814" y="1152"/>
                    <a:pt x="1783" y="1086"/>
                  </a:cubicBezTo>
                  <a:cubicBezTo>
                    <a:pt x="1730" y="977"/>
                    <a:pt x="1601" y="939"/>
                    <a:pt x="1475" y="900"/>
                  </a:cubicBezTo>
                  <a:cubicBezTo>
                    <a:pt x="1328" y="855"/>
                    <a:pt x="1159" y="802"/>
                    <a:pt x="1159" y="620"/>
                  </a:cubicBezTo>
                  <a:cubicBezTo>
                    <a:pt x="1159" y="501"/>
                    <a:pt x="1061" y="427"/>
                    <a:pt x="963" y="354"/>
                  </a:cubicBezTo>
                  <a:cubicBezTo>
                    <a:pt x="879" y="291"/>
                    <a:pt x="799" y="231"/>
                    <a:pt x="788" y="144"/>
                  </a:cubicBezTo>
                  <a:cubicBezTo>
                    <a:pt x="788" y="133"/>
                    <a:pt x="767" y="102"/>
                    <a:pt x="701" y="70"/>
                  </a:cubicBezTo>
                  <a:cubicBezTo>
                    <a:pt x="616" y="27"/>
                    <a:pt x="502" y="1"/>
                    <a:pt x="39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1" name="Google Shape;7248;p64">
              <a:extLst>
                <a:ext uri="{FF2B5EF4-FFF2-40B4-BE49-F238E27FC236}">
                  <a16:creationId xmlns:a16="http://schemas.microsoft.com/office/drawing/2014/main" id="{A9A63B06-C7AB-12B6-7A7E-8DFDAC14D506}"/>
                </a:ext>
              </a:extLst>
            </p:cNvPr>
            <p:cNvSpPr/>
            <p:nvPr/>
          </p:nvSpPr>
          <p:spPr>
            <a:xfrm>
              <a:off x="2944187" y="1956588"/>
              <a:ext cx="15030" cy="20258"/>
            </a:xfrm>
            <a:custGeom>
              <a:avLst/>
              <a:gdLst/>
              <a:ahLst/>
              <a:cxnLst/>
              <a:rect l="l" t="t" r="r" b="b"/>
              <a:pathLst>
                <a:path w="1107" h="1492" extrusionOk="0">
                  <a:moveTo>
                    <a:pt x="147" y="1"/>
                  </a:moveTo>
                  <a:cubicBezTo>
                    <a:pt x="139" y="1"/>
                    <a:pt x="131" y="2"/>
                    <a:pt x="123" y="3"/>
                  </a:cubicBezTo>
                  <a:cubicBezTo>
                    <a:pt x="39" y="17"/>
                    <a:pt x="1" y="231"/>
                    <a:pt x="43" y="434"/>
                  </a:cubicBezTo>
                  <a:cubicBezTo>
                    <a:pt x="66" y="563"/>
                    <a:pt x="110" y="616"/>
                    <a:pt x="129" y="616"/>
                  </a:cubicBezTo>
                  <a:cubicBezTo>
                    <a:pt x="129" y="616"/>
                    <a:pt x="130" y="616"/>
                    <a:pt x="130" y="616"/>
                  </a:cubicBezTo>
                  <a:cubicBezTo>
                    <a:pt x="144" y="612"/>
                    <a:pt x="165" y="609"/>
                    <a:pt x="190" y="609"/>
                  </a:cubicBezTo>
                  <a:cubicBezTo>
                    <a:pt x="309" y="595"/>
                    <a:pt x="361" y="577"/>
                    <a:pt x="368" y="511"/>
                  </a:cubicBezTo>
                  <a:cubicBezTo>
                    <a:pt x="375" y="444"/>
                    <a:pt x="407" y="423"/>
                    <a:pt x="435" y="420"/>
                  </a:cubicBezTo>
                  <a:lnTo>
                    <a:pt x="452" y="420"/>
                  </a:lnTo>
                  <a:cubicBezTo>
                    <a:pt x="484" y="420"/>
                    <a:pt x="515" y="441"/>
                    <a:pt x="540" y="490"/>
                  </a:cubicBezTo>
                  <a:cubicBezTo>
                    <a:pt x="589" y="584"/>
                    <a:pt x="662" y="871"/>
                    <a:pt x="529" y="1001"/>
                  </a:cubicBezTo>
                  <a:cubicBezTo>
                    <a:pt x="456" y="1074"/>
                    <a:pt x="424" y="1239"/>
                    <a:pt x="463" y="1365"/>
                  </a:cubicBezTo>
                  <a:cubicBezTo>
                    <a:pt x="473" y="1425"/>
                    <a:pt x="519" y="1474"/>
                    <a:pt x="578" y="1491"/>
                  </a:cubicBezTo>
                  <a:cubicBezTo>
                    <a:pt x="580" y="1492"/>
                    <a:pt x="583" y="1492"/>
                    <a:pt x="586" y="1492"/>
                  </a:cubicBezTo>
                  <a:cubicBezTo>
                    <a:pt x="614" y="1492"/>
                    <a:pt x="674" y="1458"/>
                    <a:pt x="753" y="1372"/>
                  </a:cubicBezTo>
                  <a:cubicBezTo>
                    <a:pt x="953" y="1144"/>
                    <a:pt x="1107" y="773"/>
                    <a:pt x="1086" y="707"/>
                  </a:cubicBezTo>
                  <a:cubicBezTo>
                    <a:pt x="1082" y="703"/>
                    <a:pt x="1082" y="700"/>
                    <a:pt x="1079" y="696"/>
                  </a:cubicBezTo>
                  <a:cubicBezTo>
                    <a:pt x="1058" y="700"/>
                    <a:pt x="1040" y="703"/>
                    <a:pt x="1019" y="714"/>
                  </a:cubicBezTo>
                  <a:cubicBezTo>
                    <a:pt x="1000" y="720"/>
                    <a:pt x="974" y="729"/>
                    <a:pt x="948" y="729"/>
                  </a:cubicBezTo>
                  <a:cubicBezTo>
                    <a:pt x="928" y="729"/>
                    <a:pt x="908" y="724"/>
                    <a:pt x="890" y="707"/>
                  </a:cubicBezTo>
                  <a:cubicBezTo>
                    <a:pt x="844" y="672"/>
                    <a:pt x="862" y="602"/>
                    <a:pt x="869" y="570"/>
                  </a:cubicBezTo>
                  <a:cubicBezTo>
                    <a:pt x="876" y="549"/>
                    <a:pt x="855" y="479"/>
                    <a:pt x="743" y="360"/>
                  </a:cubicBezTo>
                  <a:cubicBezTo>
                    <a:pt x="559" y="167"/>
                    <a:pt x="277" y="1"/>
                    <a:pt x="14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2" name="Google Shape;7249;p64">
              <a:extLst>
                <a:ext uri="{FF2B5EF4-FFF2-40B4-BE49-F238E27FC236}">
                  <a16:creationId xmlns:a16="http://schemas.microsoft.com/office/drawing/2014/main" id="{3285A1A4-D617-B7AE-5CE7-13D9800E0D99}"/>
                </a:ext>
              </a:extLst>
            </p:cNvPr>
            <p:cNvSpPr/>
            <p:nvPr/>
          </p:nvSpPr>
          <p:spPr>
            <a:xfrm>
              <a:off x="2930066" y="1906039"/>
              <a:ext cx="18126" cy="34270"/>
            </a:xfrm>
            <a:custGeom>
              <a:avLst/>
              <a:gdLst/>
              <a:ahLst/>
              <a:cxnLst/>
              <a:rect l="l" t="t" r="r" b="b"/>
              <a:pathLst>
                <a:path w="1335" h="2524" extrusionOk="0">
                  <a:moveTo>
                    <a:pt x="501" y="0"/>
                  </a:moveTo>
                  <a:cubicBezTo>
                    <a:pt x="451" y="0"/>
                    <a:pt x="408" y="8"/>
                    <a:pt x="376" y="29"/>
                  </a:cubicBezTo>
                  <a:cubicBezTo>
                    <a:pt x="277" y="89"/>
                    <a:pt x="302" y="544"/>
                    <a:pt x="313" y="789"/>
                  </a:cubicBezTo>
                  <a:cubicBezTo>
                    <a:pt x="330" y="1136"/>
                    <a:pt x="330" y="1251"/>
                    <a:pt x="270" y="1300"/>
                  </a:cubicBezTo>
                  <a:cubicBezTo>
                    <a:pt x="242" y="1323"/>
                    <a:pt x="214" y="1332"/>
                    <a:pt x="186" y="1332"/>
                  </a:cubicBezTo>
                  <a:cubicBezTo>
                    <a:pt x="123" y="1332"/>
                    <a:pt x="66" y="1284"/>
                    <a:pt x="29" y="1255"/>
                  </a:cubicBezTo>
                  <a:lnTo>
                    <a:pt x="22" y="1248"/>
                  </a:lnTo>
                  <a:lnTo>
                    <a:pt x="22" y="1248"/>
                  </a:lnTo>
                  <a:cubicBezTo>
                    <a:pt x="1" y="1419"/>
                    <a:pt x="60" y="1811"/>
                    <a:pt x="120" y="1864"/>
                  </a:cubicBezTo>
                  <a:cubicBezTo>
                    <a:pt x="190" y="1864"/>
                    <a:pt x="253" y="1899"/>
                    <a:pt x="295" y="1955"/>
                  </a:cubicBezTo>
                  <a:cubicBezTo>
                    <a:pt x="365" y="2053"/>
                    <a:pt x="376" y="2203"/>
                    <a:pt x="323" y="2368"/>
                  </a:cubicBezTo>
                  <a:cubicBezTo>
                    <a:pt x="299" y="2445"/>
                    <a:pt x="327" y="2473"/>
                    <a:pt x="337" y="2480"/>
                  </a:cubicBezTo>
                  <a:cubicBezTo>
                    <a:pt x="366" y="2509"/>
                    <a:pt x="423" y="2523"/>
                    <a:pt x="495" y="2523"/>
                  </a:cubicBezTo>
                  <a:cubicBezTo>
                    <a:pt x="580" y="2523"/>
                    <a:pt x="685" y="2504"/>
                    <a:pt x="789" y="2466"/>
                  </a:cubicBezTo>
                  <a:cubicBezTo>
                    <a:pt x="830" y="2448"/>
                    <a:pt x="875" y="2437"/>
                    <a:pt x="921" y="2437"/>
                  </a:cubicBezTo>
                  <a:cubicBezTo>
                    <a:pt x="938" y="2437"/>
                    <a:pt x="954" y="2439"/>
                    <a:pt x="971" y="2441"/>
                  </a:cubicBezTo>
                  <a:cubicBezTo>
                    <a:pt x="943" y="2382"/>
                    <a:pt x="929" y="2315"/>
                    <a:pt x="929" y="2249"/>
                  </a:cubicBezTo>
                  <a:cubicBezTo>
                    <a:pt x="922" y="2140"/>
                    <a:pt x="911" y="2018"/>
                    <a:pt x="841" y="1941"/>
                  </a:cubicBezTo>
                  <a:cubicBezTo>
                    <a:pt x="631" y="1713"/>
                    <a:pt x="901" y="1419"/>
                    <a:pt x="1118" y="1181"/>
                  </a:cubicBezTo>
                  <a:cubicBezTo>
                    <a:pt x="1149" y="1146"/>
                    <a:pt x="1184" y="1111"/>
                    <a:pt x="1212" y="1076"/>
                  </a:cubicBezTo>
                  <a:cubicBezTo>
                    <a:pt x="1335" y="936"/>
                    <a:pt x="1272" y="719"/>
                    <a:pt x="1216" y="526"/>
                  </a:cubicBezTo>
                  <a:cubicBezTo>
                    <a:pt x="1181" y="407"/>
                    <a:pt x="1153" y="302"/>
                    <a:pt x="1163" y="218"/>
                  </a:cubicBezTo>
                  <a:cubicBezTo>
                    <a:pt x="1174" y="176"/>
                    <a:pt x="1177" y="131"/>
                    <a:pt x="1177" y="85"/>
                  </a:cubicBezTo>
                  <a:lnTo>
                    <a:pt x="1177" y="85"/>
                  </a:lnTo>
                  <a:lnTo>
                    <a:pt x="1167" y="92"/>
                  </a:lnTo>
                  <a:cubicBezTo>
                    <a:pt x="1142" y="106"/>
                    <a:pt x="1113" y="112"/>
                    <a:pt x="1080" y="112"/>
                  </a:cubicBezTo>
                  <a:cubicBezTo>
                    <a:pt x="1015" y="112"/>
                    <a:pt x="934" y="90"/>
                    <a:pt x="834" y="64"/>
                  </a:cubicBezTo>
                  <a:cubicBezTo>
                    <a:pt x="726" y="34"/>
                    <a:pt x="601" y="0"/>
                    <a:pt x="50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3" name="Google Shape;7250;p64">
              <a:extLst>
                <a:ext uri="{FF2B5EF4-FFF2-40B4-BE49-F238E27FC236}">
                  <a16:creationId xmlns:a16="http://schemas.microsoft.com/office/drawing/2014/main" id="{D1B68513-4084-0A7D-4074-70F72E6DE964}"/>
                </a:ext>
              </a:extLst>
            </p:cNvPr>
            <p:cNvSpPr/>
            <p:nvPr/>
          </p:nvSpPr>
          <p:spPr>
            <a:xfrm>
              <a:off x="2911587" y="1962426"/>
              <a:ext cx="15410" cy="19171"/>
            </a:xfrm>
            <a:custGeom>
              <a:avLst/>
              <a:gdLst/>
              <a:ahLst/>
              <a:cxnLst/>
              <a:rect l="l" t="t" r="r" b="b"/>
              <a:pathLst>
                <a:path w="1135" h="1412" extrusionOk="0">
                  <a:moveTo>
                    <a:pt x="1019" y="0"/>
                  </a:moveTo>
                  <a:lnTo>
                    <a:pt x="1019" y="0"/>
                  </a:lnTo>
                  <a:cubicBezTo>
                    <a:pt x="980" y="63"/>
                    <a:pt x="945" y="126"/>
                    <a:pt x="917" y="193"/>
                  </a:cubicBezTo>
                  <a:cubicBezTo>
                    <a:pt x="854" y="333"/>
                    <a:pt x="777" y="469"/>
                    <a:pt x="686" y="595"/>
                  </a:cubicBezTo>
                  <a:cubicBezTo>
                    <a:pt x="609" y="693"/>
                    <a:pt x="508" y="805"/>
                    <a:pt x="396" y="924"/>
                  </a:cubicBezTo>
                  <a:cubicBezTo>
                    <a:pt x="259" y="1075"/>
                    <a:pt x="35" y="1313"/>
                    <a:pt x="0" y="1411"/>
                  </a:cubicBezTo>
                  <a:cubicBezTo>
                    <a:pt x="91" y="1359"/>
                    <a:pt x="294" y="1124"/>
                    <a:pt x="431" y="963"/>
                  </a:cubicBezTo>
                  <a:cubicBezTo>
                    <a:pt x="595" y="774"/>
                    <a:pt x="763" y="574"/>
                    <a:pt x="886" y="487"/>
                  </a:cubicBezTo>
                  <a:cubicBezTo>
                    <a:pt x="1134" y="308"/>
                    <a:pt x="1099" y="172"/>
                    <a:pt x="101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4" name="Google Shape;7251;p64">
              <a:extLst>
                <a:ext uri="{FF2B5EF4-FFF2-40B4-BE49-F238E27FC236}">
                  <a16:creationId xmlns:a16="http://schemas.microsoft.com/office/drawing/2014/main" id="{2B318F71-352B-A0CA-BF79-99C37CEF2C74}"/>
                </a:ext>
              </a:extLst>
            </p:cNvPr>
            <p:cNvSpPr/>
            <p:nvPr/>
          </p:nvSpPr>
          <p:spPr>
            <a:xfrm>
              <a:off x="3088163" y="2067136"/>
              <a:ext cx="69218" cy="57636"/>
            </a:xfrm>
            <a:custGeom>
              <a:avLst/>
              <a:gdLst/>
              <a:ahLst/>
              <a:cxnLst/>
              <a:rect l="l" t="t" r="r" b="b"/>
              <a:pathLst>
                <a:path w="5098" h="4245" extrusionOk="0">
                  <a:moveTo>
                    <a:pt x="1" y="1"/>
                  </a:moveTo>
                  <a:lnTo>
                    <a:pt x="1" y="3326"/>
                  </a:lnTo>
                  <a:cubicBezTo>
                    <a:pt x="155" y="3424"/>
                    <a:pt x="333" y="3484"/>
                    <a:pt x="519" y="3491"/>
                  </a:cubicBezTo>
                  <a:cubicBezTo>
                    <a:pt x="538" y="3492"/>
                    <a:pt x="556" y="3492"/>
                    <a:pt x="574" y="3492"/>
                  </a:cubicBezTo>
                  <a:cubicBezTo>
                    <a:pt x="975" y="3492"/>
                    <a:pt x="1021" y="3343"/>
                    <a:pt x="1054" y="3242"/>
                  </a:cubicBezTo>
                  <a:cubicBezTo>
                    <a:pt x="1068" y="3190"/>
                    <a:pt x="1093" y="3113"/>
                    <a:pt x="1181" y="3113"/>
                  </a:cubicBezTo>
                  <a:cubicBezTo>
                    <a:pt x="1226" y="3113"/>
                    <a:pt x="1268" y="3032"/>
                    <a:pt x="1317" y="2948"/>
                  </a:cubicBezTo>
                  <a:cubicBezTo>
                    <a:pt x="1356" y="2871"/>
                    <a:pt x="1401" y="2798"/>
                    <a:pt x="1454" y="2731"/>
                  </a:cubicBezTo>
                  <a:cubicBezTo>
                    <a:pt x="1510" y="2663"/>
                    <a:pt x="1615" y="2633"/>
                    <a:pt x="1745" y="2633"/>
                  </a:cubicBezTo>
                  <a:cubicBezTo>
                    <a:pt x="2031" y="2633"/>
                    <a:pt x="2435" y="2780"/>
                    <a:pt x="2693" y="2980"/>
                  </a:cubicBezTo>
                  <a:cubicBezTo>
                    <a:pt x="2833" y="3088"/>
                    <a:pt x="2973" y="3263"/>
                    <a:pt x="3120" y="3449"/>
                  </a:cubicBezTo>
                  <a:cubicBezTo>
                    <a:pt x="3344" y="3729"/>
                    <a:pt x="3593" y="4041"/>
                    <a:pt x="3800" y="4041"/>
                  </a:cubicBezTo>
                  <a:cubicBezTo>
                    <a:pt x="3813" y="4041"/>
                    <a:pt x="3825" y="4040"/>
                    <a:pt x="3838" y="4037"/>
                  </a:cubicBezTo>
                  <a:cubicBezTo>
                    <a:pt x="3887" y="4027"/>
                    <a:pt x="3936" y="4020"/>
                    <a:pt x="3985" y="4020"/>
                  </a:cubicBezTo>
                  <a:cubicBezTo>
                    <a:pt x="4167" y="4020"/>
                    <a:pt x="4345" y="4083"/>
                    <a:pt x="4520" y="4139"/>
                  </a:cubicBezTo>
                  <a:cubicBezTo>
                    <a:pt x="4685" y="4195"/>
                    <a:pt x="4831" y="4244"/>
                    <a:pt x="4970" y="4244"/>
                  </a:cubicBezTo>
                  <a:cubicBezTo>
                    <a:pt x="4979" y="4244"/>
                    <a:pt x="4988" y="4244"/>
                    <a:pt x="4996" y="4244"/>
                  </a:cubicBezTo>
                  <a:cubicBezTo>
                    <a:pt x="5077" y="4240"/>
                    <a:pt x="5094" y="4223"/>
                    <a:pt x="5094" y="4223"/>
                  </a:cubicBezTo>
                  <a:cubicBezTo>
                    <a:pt x="5098" y="4188"/>
                    <a:pt x="4972" y="4065"/>
                    <a:pt x="4891" y="4030"/>
                  </a:cubicBezTo>
                  <a:cubicBezTo>
                    <a:pt x="4832" y="4006"/>
                    <a:pt x="4440" y="3789"/>
                    <a:pt x="4464" y="3592"/>
                  </a:cubicBezTo>
                  <a:cubicBezTo>
                    <a:pt x="4450" y="3571"/>
                    <a:pt x="4356" y="3547"/>
                    <a:pt x="4289" y="3529"/>
                  </a:cubicBezTo>
                  <a:cubicBezTo>
                    <a:pt x="4167" y="3501"/>
                    <a:pt x="4051" y="3459"/>
                    <a:pt x="3943" y="3396"/>
                  </a:cubicBezTo>
                  <a:cubicBezTo>
                    <a:pt x="3813" y="3312"/>
                    <a:pt x="3771" y="3151"/>
                    <a:pt x="3729" y="2997"/>
                  </a:cubicBezTo>
                  <a:cubicBezTo>
                    <a:pt x="3694" y="2854"/>
                    <a:pt x="3659" y="2721"/>
                    <a:pt x="3561" y="2675"/>
                  </a:cubicBezTo>
                  <a:cubicBezTo>
                    <a:pt x="3386" y="2591"/>
                    <a:pt x="3211" y="2374"/>
                    <a:pt x="3250" y="2220"/>
                  </a:cubicBezTo>
                  <a:cubicBezTo>
                    <a:pt x="3260" y="2180"/>
                    <a:pt x="3299" y="2094"/>
                    <a:pt x="3446" y="2094"/>
                  </a:cubicBezTo>
                  <a:cubicBezTo>
                    <a:pt x="3451" y="2094"/>
                    <a:pt x="3457" y="2094"/>
                    <a:pt x="3463" y="2094"/>
                  </a:cubicBezTo>
                  <a:cubicBezTo>
                    <a:pt x="3477" y="2095"/>
                    <a:pt x="3490" y="2095"/>
                    <a:pt x="3503" y="2095"/>
                  </a:cubicBezTo>
                  <a:cubicBezTo>
                    <a:pt x="3595" y="2095"/>
                    <a:pt x="3639" y="2074"/>
                    <a:pt x="3649" y="2052"/>
                  </a:cubicBezTo>
                  <a:cubicBezTo>
                    <a:pt x="3656" y="2028"/>
                    <a:pt x="3645" y="1961"/>
                    <a:pt x="3530" y="1853"/>
                  </a:cubicBezTo>
                  <a:cubicBezTo>
                    <a:pt x="3449" y="1779"/>
                    <a:pt x="3260" y="1716"/>
                    <a:pt x="3081" y="1653"/>
                  </a:cubicBezTo>
                  <a:cubicBezTo>
                    <a:pt x="2770" y="1548"/>
                    <a:pt x="2448" y="1439"/>
                    <a:pt x="2423" y="1215"/>
                  </a:cubicBezTo>
                  <a:cubicBezTo>
                    <a:pt x="2399" y="981"/>
                    <a:pt x="1044" y="253"/>
                    <a:pt x="323" y="92"/>
                  </a:cubicBezTo>
                  <a:cubicBezTo>
                    <a:pt x="235" y="74"/>
                    <a:pt x="130" y="4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5" name="Google Shape;7252;p64">
              <a:extLst>
                <a:ext uri="{FF2B5EF4-FFF2-40B4-BE49-F238E27FC236}">
                  <a16:creationId xmlns:a16="http://schemas.microsoft.com/office/drawing/2014/main" id="{7A57B6F5-35C7-EC27-516C-BD0FF93F20BD}"/>
                </a:ext>
              </a:extLst>
            </p:cNvPr>
            <p:cNvSpPr/>
            <p:nvPr/>
          </p:nvSpPr>
          <p:spPr>
            <a:xfrm>
              <a:off x="2639603" y="1973302"/>
              <a:ext cx="14229" cy="26680"/>
            </a:xfrm>
            <a:custGeom>
              <a:avLst/>
              <a:gdLst/>
              <a:ahLst/>
              <a:cxnLst/>
              <a:rect l="l" t="t" r="r" b="b"/>
              <a:pathLst>
                <a:path w="1048" h="1965" extrusionOk="0">
                  <a:moveTo>
                    <a:pt x="214" y="1"/>
                  </a:moveTo>
                  <a:cubicBezTo>
                    <a:pt x="172" y="11"/>
                    <a:pt x="154" y="123"/>
                    <a:pt x="137" y="218"/>
                  </a:cubicBezTo>
                  <a:cubicBezTo>
                    <a:pt x="126" y="306"/>
                    <a:pt x="105" y="390"/>
                    <a:pt x="77" y="474"/>
                  </a:cubicBezTo>
                  <a:cubicBezTo>
                    <a:pt x="0" y="670"/>
                    <a:pt x="14" y="869"/>
                    <a:pt x="49" y="1170"/>
                  </a:cubicBezTo>
                  <a:cubicBezTo>
                    <a:pt x="53" y="1223"/>
                    <a:pt x="56" y="1279"/>
                    <a:pt x="60" y="1331"/>
                  </a:cubicBezTo>
                  <a:cubicBezTo>
                    <a:pt x="77" y="1583"/>
                    <a:pt x="91" y="1800"/>
                    <a:pt x="294" y="1930"/>
                  </a:cubicBezTo>
                  <a:cubicBezTo>
                    <a:pt x="332" y="1955"/>
                    <a:pt x="372" y="1965"/>
                    <a:pt x="412" y="1965"/>
                  </a:cubicBezTo>
                  <a:cubicBezTo>
                    <a:pt x="472" y="1965"/>
                    <a:pt x="532" y="1943"/>
                    <a:pt x="578" y="1919"/>
                  </a:cubicBezTo>
                  <a:cubicBezTo>
                    <a:pt x="819" y="1793"/>
                    <a:pt x="1023" y="1475"/>
                    <a:pt x="1033" y="1209"/>
                  </a:cubicBezTo>
                  <a:cubicBezTo>
                    <a:pt x="1047" y="810"/>
                    <a:pt x="350" y="46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6" name="Google Shape;7253;p64">
              <a:extLst>
                <a:ext uri="{FF2B5EF4-FFF2-40B4-BE49-F238E27FC236}">
                  <a16:creationId xmlns:a16="http://schemas.microsoft.com/office/drawing/2014/main" id="{9123E7A9-99D3-3450-D26D-FAC63C6F6990}"/>
                </a:ext>
              </a:extLst>
            </p:cNvPr>
            <p:cNvSpPr/>
            <p:nvPr/>
          </p:nvSpPr>
          <p:spPr>
            <a:xfrm>
              <a:off x="2363531" y="2134820"/>
              <a:ext cx="53061" cy="102877"/>
            </a:xfrm>
            <a:custGeom>
              <a:avLst/>
              <a:gdLst/>
              <a:ahLst/>
              <a:cxnLst/>
              <a:rect l="l" t="t" r="r" b="b"/>
              <a:pathLst>
                <a:path w="3908" h="7577" extrusionOk="0">
                  <a:moveTo>
                    <a:pt x="3295" y="1"/>
                  </a:moveTo>
                  <a:lnTo>
                    <a:pt x="3281" y="32"/>
                  </a:lnTo>
                  <a:cubicBezTo>
                    <a:pt x="3267" y="88"/>
                    <a:pt x="3239" y="137"/>
                    <a:pt x="3207" y="179"/>
                  </a:cubicBezTo>
                  <a:cubicBezTo>
                    <a:pt x="3165" y="221"/>
                    <a:pt x="3127" y="386"/>
                    <a:pt x="3144" y="515"/>
                  </a:cubicBezTo>
                  <a:cubicBezTo>
                    <a:pt x="3148" y="585"/>
                    <a:pt x="3120" y="655"/>
                    <a:pt x="3067" y="704"/>
                  </a:cubicBezTo>
                  <a:cubicBezTo>
                    <a:pt x="2986" y="786"/>
                    <a:pt x="2876" y="831"/>
                    <a:pt x="2758" y="831"/>
                  </a:cubicBezTo>
                  <a:cubicBezTo>
                    <a:pt x="2754" y="831"/>
                    <a:pt x="2749" y="831"/>
                    <a:pt x="2745" y="831"/>
                  </a:cubicBezTo>
                  <a:cubicBezTo>
                    <a:pt x="2734" y="829"/>
                    <a:pt x="2724" y="828"/>
                    <a:pt x="2713" y="828"/>
                  </a:cubicBezTo>
                  <a:cubicBezTo>
                    <a:pt x="2654" y="828"/>
                    <a:pt x="2597" y="852"/>
                    <a:pt x="2553" y="894"/>
                  </a:cubicBezTo>
                  <a:cubicBezTo>
                    <a:pt x="2531" y="922"/>
                    <a:pt x="2528" y="957"/>
                    <a:pt x="2542" y="985"/>
                  </a:cubicBezTo>
                  <a:cubicBezTo>
                    <a:pt x="2588" y="1107"/>
                    <a:pt x="2546" y="1167"/>
                    <a:pt x="2521" y="1205"/>
                  </a:cubicBezTo>
                  <a:cubicBezTo>
                    <a:pt x="2503" y="1230"/>
                    <a:pt x="2500" y="1230"/>
                    <a:pt x="2521" y="1268"/>
                  </a:cubicBezTo>
                  <a:cubicBezTo>
                    <a:pt x="2553" y="1328"/>
                    <a:pt x="2549" y="1398"/>
                    <a:pt x="2514" y="1457"/>
                  </a:cubicBezTo>
                  <a:cubicBezTo>
                    <a:pt x="2447" y="1583"/>
                    <a:pt x="2248" y="1692"/>
                    <a:pt x="2062" y="1706"/>
                  </a:cubicBezTo>
                  <a:cubicBezTo>
                    <a:pt x="1978" y="1709"/>
                    <a:pt x="1866" y="1797"/>
                    <a:pt x="1754" y="1881"/>
                  </a:cubicBezTo>
                  <a:cubicBezTo>
                    <a:pt x="1617" y="1983"/>
                    <a:pt x="1474" y="2094"/>
                    <a:pt x="1330" y="2094"/>
                  </a:cubicBezTo>
                  <a:cubicBezTo>
                    <a:pt x="1316" y="2094"/>
                    <a:pt x="1302" y="2093"/>
                    <a:pt x="1289" y="2091"/>
                  </a:cubicBezTo>
                  <a:cubicBezTo>
                    <a:pt x="1274" y="2089"/>
                    <a:pt x="1259" y="2088"/>
                    <a:pt x="1245" y="2088"/>
                  </a:cubicBezTo>
                  <a:cubicBezTo>
                    <a:pt x="1149" y="2088"/>
                    <a:pt x="1049" y="2124"/>
                    <a:pt x="949" y="2157"/>
                  </a:cubicBezTo>
                  <a:cubicBezTo>
                    <a:pt x="857" y="2189"/>
                    <a:pt x="755" y="2226"/>
                    <a:pt x="655" y="2226"/>
                  </a:cubicBezTo>
                  <a:cubicBezTo>
                    <a:pt x="634" y="2226"/>
                    <a:pt x="613" y="2224"/>
                    <a:pt x="592" y="2220"/>
                  </a:cubicBezTo>
                  <a:lnTo>
                    <a:pt x="582" y="2220"/>
                  </a:lnTo>
                  <a:cubicBezTo>
                    <a:pt x="578" y="2220"/>
                    <a:pt x="575" y="2220"/>
                    <a:pt x="575" y="2224"/>
                  </a:cubicBezTo>
                  <a:cubicBezTo>
                    <a:pt x="547" y="2245"/>
                    <a:pt x="540" y="2364"/>
                    <a:pt x="533" y="2448"/>
                  </a:cubicBezTo>
                  <a:cubicBezTo>
                    <a:pt x="526" y="2595"/>
                    <a:pt x="512" y="2773"/>
                    <a:pt x="434" y="2917"/>
                  </a:cubicBezTo>
                  <a:cubicBezTo>
                    <a:pt x="273" y="3201"/>
                    <a:pt x="378" y="3547"/>
                    <a:pt x="501" y="3845"/>
                  </a:cubicBezTo>
                  <a:cubicBezTo>
                    <a:pt x="645" y="4195"/>
                    <a:pt x="778" y="4524"/>
                    <a:pt x="361" y="5028"/>
                  </a:cubicBezTo>
                  <a:cubicBezTo>
                    <a:pt x="0" y="5466"/>
                    <a:pt x="21" y="5956"/>
                    <a:pt x="161" y="6267"/>
                  </a:cubicBezTo>
                  <a:cubicBezTo>
                    <a:pt x="217" y="6414"/>
                    <a:pt x="263" y="6568"/>
                    <a:pt x="291" y="6726"/>
                  </a:cubicBezTo>
                  <a:cubicBezTo>
                    <a:pt x="343" y="6950"/>
                    <a:pt x="389" y="7164"/>
                    <a:pt x="505" y="7286"/>
                  </a:cubicBezTo>
                  <a:cubicBezTo>
                    <a:pt x="645" y="7437"/>
                    <a:pt x="967" y="7573"/>
                    <a:pt x="1194" y="7577"/>
                  </a:cubicBezTo>
                  <a:cubicBezTo>
                    <a:pt x="1282" y="7577"/>
                    <a:pt x="1345" y="7563"/>
                    <a:pt x="1380" y="7528"/>
                  </a:cubicBezTo>
                  <a:cubicBezTo>
                    <a:pt x="1481" y="7426"/>
                    <a:pt x="1586" y="7426"/>
                    <a:pt x="1681" y="7423"/>
                  </a:cubicBezTo>
                  <a:cubicBezTo>
                    <a:pt x="1772" y="7423"/>
                    <a:pt x="1856" y="7423"/>
                    <a:pt x="1943" y="7321"/>
                  </a:cubicBezTo>
                  <a:cubicBezTo>
                    <a:pt x="2069" y="7174"/>
                    <a:pt x="2269" y="6516"/>
                    <a:pt x="2461" y="5875"/>
                  </a:cubicBezTo>
                  <a:cubicBezTo>
                    <a:pt x="2549" y="5592"/>
                    <a:pt x="2637" y="5298"/>
                    <a:pt x="2721" y="5046"/>
                  </a:cubicBezTo>
                  <a:cubicBezTo>
                    <a:pt x="2927" y="4433"/>
                    <a:pt x="3351" y="3162"/>
                    <a:pt x="3319" y="2942"/>
                  </a:cubicBezTo>
                  <a:cubicBezTo>
                    <a:pt x="3302" y="2823"/>
                    <a:pt x="3344" y="2721"/>
                    <a:pt x="3382" y="2633"/>
                  </a:cubicBezTo>
                  <a:cubicBezTo>
                    <a:pt x="3428" y="2535"/>
                    <a:pt x="3463" y="2448"/>
                    <a:pt x="3421" y="2339"/>
                  </a:cubicBezTo>
                  <a:cubicBezTo>
                    <a:pt x="3344" y="2154"/>
                    <a:pt x="3382" y="1916"/>
                    <a:pt x="3498" y="1860"/>
                  </a:cubicBezTo>
                  <a:cubicBezTo>
                    <a:pt x="3507" y="1854"/>
                    <a:pt x="3527" y="1846"/>
                    <a:pt x="3551" y="1846"/>
                  </a:cubicBezTo>
                  <a:cubicBezTo>
                    <a:pt x="3589" y="1846"/>
                    <a:pt x="3639" y="1865"/>
                    <a:pt x="3683" y="1944"/>
                  </a:cubicBezTo>
                  <a:cubicBezTo>
                    <a:pt x="3727" y="2017"/>
                    <a:pt x="3773" y="2049"/>
                    <a:pt x="3801" y="2049"/>
                  </a:cubicBezTo>
                  <a:cubicBezTo>
                    <a:pt x="3803" y="2049"/>
                    <a:pt x="3804" y="2049"/>
                    <a:pt x="3806" y="2049"/>
                  </a:cubicBezTo>
                  <a:cubicBezTo>
                    <a:pt x="3830" y="2045"/>
                    <a:pt x="3865" y="2003"/>
                    <a:pt x="3883" y="1898"/>
                  </a:cubicBezTo>
                  <a:cubicBezTo>
                    <a:pt x="3907" y="1779"/>
                    <a:pt x="3851" y="1604"/>
                    <a:pt x="3795" y="1422"/>
                  </a:cubicBezTo>
                  <a:cubicBezTo>
                    <a:pt x="3743" y="1240"/>
                    <a:pt x="3683" y="1062"/>
                    <a:pt x="3676" y="880"/>
                  </a:cubicBezTo>
                  <a:cubicBezTo>
                    <a:pt x="3666" y="655"/>
                    <a:pt x="3529" y="428"/>
                    <a:pt x="3421" y="249"/>
                  </a:cubicBezTo>
                  <a:cubicBezTo>
                    <a:pt x="3372" y="172"/>
                    <a:pt x="3326" y="88"/>
                    <a:pt x="329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7" name="Google Shape;7254;p64">
              <a:extLst>
                <a:ext uri="{FF2B5EF4-FFF2-40B4-BE49-F238E27FC236}">
                  <a16:creationId xmlns:a16="http://schemas.microsoft.com/office/drawing/2014/main" id="{7CF5D848-F6BD-7E9D-43A3-5DF7314263DD}"/>
                </a:ext>
              </a:extLst>
            </p:cNvPr>
            <p:cNvSpPr/>
            <p:nvPr/>
          </p:nvSpPr>
          <p:spPr>
            <a:xfrm>
              <a:off x="2441765" y="1949718"/>
              <a:ext cx="5621" cy="1466"/>
            </a:xfrm>
            <a:custGeom>
              <a:avLst/>
              <a:gdLst/>
              <a:ahLst/>
              <a:cxnLst/>
              <a:rect l="l" t="t" r="r" b="b"/>
              <a:pathLst>
                <a:path w="414" h="108" extrusionOk="0">
                  <a:moveTo>
                    <a:pt x="249" y="0"/>
                  </a:moveTo>
                  <a:cubicBezTo>
                    <a:pt x="143" y="0"/>
                    <a:pt x="34" y="12"/>
                    <a:pt x="1" y="37"/>
                  </a:cubicBezTo>
                  <a:cubicBezTo>
                    <a:pt x="4" y="44"/>
                    <a:pt x="8" y="47"/>
                    <a:pt x="11" y="51"/>
                  </a:cubicBezTo>
                  <a:cubicBezTo>
                    <a:pt x="50" y="87"/>
                    <a:pt x="100" y="107"/>
                    <a:pt x="152" y="107"/>
                  </a:cubicBezTo>
                  <a:cubicBezTo>
                    <a:pt x="166" y="107"/>
                    <a:pt x="180" y="106"/>
                    <a:pt x="193" y="103"/>
                  </a:cubicBezTo>
                  <a:cubicBezTo>
                    <a:pt x="274" y="89"/>
                    <a:pt x="347" y="58"/>
                    <a:pt x="414" y="12"/>
                  </a:cubicBezTo>
                  <a:cubicBezTo>
                    <a:pt x="370" y="4"/>
                    <a:pt x="310" y="0"/>
                    <a:pt x="2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8" name="Google Shape;7255;p64">
              <a:extLst>
                <a:ext uri="{FF2B5EF4-FFF2-40B4-BE49-F238E27FC236}">
                  <a16:creationId xmlns:a16="http://schemas.microsoft.com/office/drawing/2014/main" id="{780EE867-A4E6-15B1-9A08-CF3FBA8305ED}"/>
                </a:ext>
              </a:extLst>
            </p:cNvPr>
            <p:cNvSpPr/>
            <p:nvPr/>
          </p:nvSpPr>
          <p:spPr>
            <a:xfrm>
              <a:off x="2361345" y="1900730"/>
              <a:ext cx="77012" cy="46109"/>
            </a:xfrm>
            <a:custGeom>
              <a:avLst/>
              <a:gdLst/>
              <a:ahLst/>
              <a:cxnLst/>
              <a:rect l="l" t="t" r="r" b="b"/>
              <a:pathLst>
                <a:path w="5672" h="3396" extrusionOk="0">
                  <a:moveTo>
                    <a:pt x="5059" y="0"/>
                  </a:moveTo>
                  <a:cubicBezTo>
                    <a:pt x="4825" y="74"/>
                    <a:pt x="4670" y="116"/>
                    <a:pt x="4597" y="137"/>
                  </a:cubicBezTo>
                  <a:lnTo>
                    <a:pt x="4576" y="144"/>
                  </a:lnTo>
                  <a:lnTo>
                    <a:pt x="4569" y="144"/>
                  </a:lnTo>
                  <a:cubicBezTo>
                    <a:pt x="4429" y="168"/>
                    <a:pt x="4285" y="182"/>
                    <a:pt x="4142" y="182"/>
                  </a:cubicBezTo>
                  <a:lnTo>
                    <a:pt x="3900" y="182"/>
                  </a:lnTo>
                  <a:cubicBezTo>
                    <a:pt x="3739" y="182"/>
                    <a:pt x="3540" y="186"/>
                    <a:pt x="3505" y="203"/>
                  </a:cubicBezTo>
                  <a:cubicBezTo>
                    <a:pt x="3414" y="249"/>
                    <a:pt x="2777" y="707"/>
                    <a:pt x="2692" y="903"/>
                  </a:cubicBezTo>
                  <a:cubicBezTo>
                    <a:pt x="2636" y="1033"/>
                    <a:pt x="2559" y="1113"/>
                    <a:pt x="2468" y="1138"/>
                  </a:cubicBezTo>
                  <a:cubicBezTo>
                    <a:pt x="2452" y="1142"/>
                    <a:pt x="2433" y="1145"/>
                    <a:pt x="2411" y="1145"/>
                  </a:cubicBezTo>
                  <a:cubicBezTo>
                    <a:pt x="2358" y="1145"/>
                    <a:pt x="2291" y="1128"/>
                    <a:pt x="2216" y="1068"/>
                  </a:cubicBezTo>
                  <a:cubicBezTo>
                    <a:pt x="2146" y="1015"/>
                    <a:pt x="1898" y="1001"/>
                    <a:pt x="1737" y="991"/>
                  </a:cubicBezTo>
                  <a:cubicBezTo>
                    <a:pt x="1548" y="980"/>
                    <a:pt x="1485" y="973"/>
                    <a:pt x="1450" y="942"/>
                  </a:cubicBezTo>
                  <a:cubicBezTo>
                    <a:pt x="1418" y="931"/>
                    <a:pt x="1387" y="921"/>
                    <a:pt x="1355" y="917"/>
                  </a:cubicBezTo>
                  <a:cubicBezTo>
                    <a:pt x="1236" y="896"/>
                    <a:pt x="1117" y="886"/>
                    <a:pt x="998" y="886"/>
                  </a:cubicBezTo>
                  <a:cubicBezTo>
                    <a:pt x="956" y="886"/>
                    <a:pt x="911" y="886"/>
                    <a:pt x="869" y="889"/>
                  </a:cubicBezTo>
                  <a:lnTo>
                    <a:pt x="830" y="896"/>
                  </a:lnTo>
                  <a:cubicBezTo>
                    <a:pt x="808" y="899"/>
                    <a:pt x="787" y="901"/>
                    <a:pt x="766" y="901"/>
                  </a:cubicBezTo>
                  <a:cubicBezTo>
                    <a:pt x="757" y="901"/>
                    <a:pt x="748" y="901"/>
                    <a:pt x="739" y="900"/>
                  </a:cubicBezTo>
                  <a:cubicBezTo>
                    <a:pt x="666" y="896"/>
                    <a:pt x="595" y="879"/>
                    <a:pt x="529" y="851"/>
                  </a:cubicBezTo>
                  <a:lnTo>
                    <a:pt x="522" y="851"/>
                  </a:lnTo>
                  <a:cubicBezTo>
                    <a:pt x="497" y="837"/>
                    <a:pt x="469" y="830"/>
                    <a:pt x="441" y="830"/>
                  </a:cubicBezTo>
                  <a:lnTo>
                    <a:pt x="434" y="830"/>
                  </a:lnTo>
                  <a:cubicBezTo>
                    <a:pt x="378" y="854"/>
                    <a:pt x="326" y="893"/>
                    <a:pt x="287" y="945"/>
                  </a:cubicBezTo>
                  <a:cubicBezTo>
                    <a:pt x="266" y="963"/>
                    <a:pt x="249" y="987"/>
                    <a:pt x="231" y="1008"/>
                  </a:cubicBezTo>
                  <a:cubicBezTo>
                    <a:pt x="231" y="1047"/>
                    <a:pt x="238" y="1082"/>
                    <a:pt x="249" y="1117"/>
                  </a:cubicBezTo>
                  <a:cubicBezTo>
                    <a:pt x="266" y="1183"/>
                    <a:pt x="280" y="1250"/>
                    <a:pt x="256" y="1295"/>
                  </a:cubicBezTo>
                  <a:lnTo>
                    <a:pt x="252" y="1302"/>
                  </a:lnTo>
                  <a:lnTo>
                    <a:pt x="252" y="1306"/>
                  </a:lnTo>
                  <a:lnTo>
                    <a:pt x="249" y="1309"/>
                  </a:lnTo>
                  <a:lnTo>
                    <a:pt x="245" y="1313"/>
                  </a:lnTo>
                  <a:lnTo>
                    <a:pt x="242" y="1316"/>
                  </a:lnTo>
                  <a:lnTo>
                    <a:pt x="238" y="1320"/>
                  </a:lnTo>
                  <a:lnTo>
                    <a:pt x="235" y="1323"/>
                  </a:lnTo>
                  <a:lnTo>
                    <a:pt x="231" y="1327"/>
                  </a:lnTo>
                  <a:lnTo>
                    <a:pt x="224" y="1330"/>
                  </a:lnTo>
                  <a:lnTo>
                    <a:pt x="217" y="1334"/>
                  </a:lnTo>
                  <a:lnTo>
                    <a:pt x="214" y="1337"/>
                  </a:lnTo>
                  <a:lnTo>
                    <a:pt x="207" y="1344"/>
                  </a:lnTo>
                  <a:lnTo>
                    <a:pt x="196" y="1348"/>
                  </a:lnTo>
                  <a:lnTo>
                    <a:pt x="189" y="1351"/>
                  </a:lnTo>
                  <a:lnTo>
                    <a:pt x="179" y="1358"/>
                  </a:lnTo>
                  <a:lnTo>
                    <a:pt x="172" y="1362"/>
                  </a:lnTo>
                  <a:lnTo>
                    <a:pt x="158" y="1369"/>
                  </a:lnTo>
                  <a:lnTo>
                    <a:pt x="151" y="1373"/>
                  </a:lnTo>
                  <a:lnTo>
                    <a:pt x="77" y="1411"/>
                  </a:lnTo>
                  <a:lnTo>
                    <a:pt x="70" y="1415"/>
                  </a:lnTo>
                  <a:lnTo>
                    <a:pt x="42" y="1429"/>
                  </a:lnTo>
                  <a:lnTo>
                    <a:pt x="35" y="1432"/>
                  </a:lnTo>
                  <a:cubicBezTo>
                    <a:pt x="81" y="1565"/>
                    <a:pt x="91" y="1674"/>
                    <a:pt x="60" y="1758"/>
                  </a:cubicBezTo>
                  <a:cubicBezTo>
                    <a:pt x="0" y="1929"/>
                    <a:pt x="60" y="2349"/>
                    <a:pt x="214" y="2573"/>
                  </a:cubicBezTo>
                  <a:cubicBezTo>
                    <a:pt x="326" y="2734"/>
                    <a:pt x="343" y="2962"/>
                    <a:pt x="361" y="3147"/>
                  </a:cubicBezTo>
                  <a:cubicBezTo>
                    <a:pt x="368" y="3231"/>
                    <a:pt x="375" y="3343"/>
                    <a:pt x="396" y="3364"/>
                  </a:cubicBezTo>
                  <a:cubicBezTo>
                    <a:pt x="419" y="3383"/>
                    <a:pt x="508" y="3396"/>
                    <a:pt x="625" y="3396"/>
                  </a:cubicBezTo>
                  <a:cubicBezTo>
                    <a:pt x="833" y="3396"/>
                    <a:pt x="1131" y="3356"/>
                    <a:pt x="1306" y="3242"/>
                  </a:cubicBezTo>
                  <a:cubicBezTo>
                    <a:pt x="1597" y="3049"/>
                    <a:pt x="1803" y="3011"/>
                    <a:pt x="2045" y="3011"/>
                  </a:cubicBezTo>
                  <a:cubicBezTo>
                    <a:pt x="2241" y="3011"/>
                    <a:pt x="2528" y="2836"/>
                    <a:pt x="2591" y="2748"/>
                  </a:cubicBezTo>
                  <a:cubicBezTo>
                    <a:pt x="2666" y="2648"/>
                    <a:pt x="2896" y="2627"/>
                    <a:pt x="3054" y="2627"/>
                  </a:cubicBezTo>
                  <a:cubicBezTo>
                    <a:pt x="3116" y="2627"/>
                    <a:pt x="3167" y="2630"/>
                    <a:pt x="3193" y="2633"/>
                  </a:cubicBezTo>
                  <a:cubicBezTo>
                    <a:pt x="3198" y="2634"/>
                    <a:pt x="3203" y="2634"/>
                    <a:pt x="3209" y="2634"/>
                  </a:cubicBezTo>
                  <a:cubicBezTo>
                    <a:pt x="3300" y="2634"/>
                    <a:pt x="3410" y="2521"/>
                    <a:pt x="3526" y="2402"/>
                  </a:cubicBezTo>
                  <a:lnTo>
                    <a:pt x="3568" y="2363"/>
                  </a:lnTo>
                  <a:cubicBezTo>
                    <a:pt x="3680" y="2248"/>
                    <a:pt x="3932" y="2185"/>
                    <a:pt x="4250" y="2104"/>
                  </a:cubicBezTo>
                  <a:cubicBezTo>
                    <a:pt x="4401" y="2062"/>
                    <a:pt x="4576" y="2020"/>
                    <a:pt x="4751" y="1964"/>
                  </a:cubicBezTo>
                  <a:cubicBezTo>
                    <a:pt x="5087" y="1859"/>
                    <a:pt x="5126" y="1730"/>
                    <a:pt x="5164" y="1604"/>
                  </a:cubicBezTo>
                  <a:cubicBezTo>
                    <a:pt x="5178" y="1544"/>
                    <a:pt x="5206" y="1485"/>
                    <a:pt x="5245" y="1436"/>
                  </a:cubicBezTo>
                  <a:cubicBezTo>
                    <a:pt x="5322" y="1344"/>
                    <a:pt x="5413" y="1323"/>
                    <a:pt x="5521" y="1306"/>
                  </a:cubicBezTo>
                  <a:cubicBezTo>
                    <a:pt x="5570" y="1295"/>
                    <a:pt x="5623" y="1281"/>
                    <a:pt x="5672" y="1267"/>
                  </a:cubicBezTo>
                  <a:lnTo>
                    <a:pt x="5668" y="1260"/>
                  </a:lnTo>
                  <a:lnTo>
                    <a:pt x="5640" y="1204"/>
                  </a:lnTo>
                  <a:lnTo>
                    <a:pt x="5630" y="1176"/>
                  </a:lnTo>
                  <a:lnTo>
                    <a:pt x="5598" y="1120"/>
                  </a:lnTo>
                  <a:lnTo>
                    <a:pt x="5588" y="1092"/>
                  </a:lnTo>
                  <a:lnTo>
                    <a:pt x="5560" y="1040"/>
                  </a:lnTo>
                  <a:lnTo>
                    <a:pt x="5542" y="1001"/>
                  </a:lnTo>
                  <a:lnTo>
                    <a:pt x="5514" y="945"/>
                  </a:lnTo>
                  <a:lnTo>
                    <a:pt x="5507" y="928"/>
                  </a:lnTo>
                  <a:cubicBezTo>
                    <a:pt x="5346" y="595"/>
                    <a:pt x="5182" y="259"/>
                    <a:pt x="505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9" name="Google Shape;7256;p64">
              <a:extLst>
                <a:ext uri="{FF2B5EF4-FFF2-40B4-BE49-F238E27FC236}">
                  <a16:creationId xmlns:a16="http://schemas.microsoft.com/office/drawing/2014/main" id="{6DE21B2A-6B92-ABFB-151A-4B4266AC30B6}"/>
                </a:ext>
              </a:extLst>
            </p:cNvPr>
            <p:cNvSpPr/>
            <p:nvPr/>
          </p:nvSpPr>
          <p:spPr>
            <a:xfrm>
              <a:off x="2379743" y="1913221"/>
              <a:ext cx="5146" cy="1018"/>
            </a:xfrm>
            <a:custGeom>
              <a:avLst/>
              <a:gdLst/>
              <a:ahLst/>
              <a:cxnLst/>
              <a:rect l="l" t="t" r="r" b="b"/>
              <a:pathLst>
                <a:path w="379" h="75" extrusionOk="0">
                  <a:moveTo>
                    <a:pt x="378" y="74"/>
                  </a:moveTo>
                  <a:cubicBezTo>
                    <a:pt x="193" y="60"/>
                    <a:pt x="130" y="57"/>
                    <a:pt x="95" y="25"/>
                  </a:cubicBezTo>
                  <a:cubicBezTo>
                    <a:pt x="63" y="11"/>
                    <a:pt x="32" y="4"/>
                    <a:pt x="0" y="1"/>
                  </a:cubicBezTo>
                  <a:cubicBezTo>
                    <a:pt x="32" y="4"/>
                    <a:pt x="63" y="11"/>
                    <a:pt x="95" y="25"/>
                  </a:cubicBezTo>
                  <a:cubicBezTo>
                    <a:pt x="130" y="57"/>
                    <a:pt x="193" y="60"/>
                    <a:pt x="378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0" name="Google Shape;7257;p64">
              <a:extLst>
                <a:ext uri="{FF2B5EF4-FFF2-40B4-BE49-F238E27FC236}">
                  <a16:creationId xmlns:a16="http://schemas.microsoft.com/office/drawing/2014/main" id="{78DCE699-000F-08D1-EE58-276D4EBE2890}"/>
                </a:ext>
              </a:extLst>
            </p:cNvPr>
            <p:cNvSpPr/>
            <p:nvPr/>
          </p:nvSpPr>
          <p:spPr>
            <a:xfrm>
              <a:off x="2364237" y="191882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4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1" name="Google Shape;7258;p64">
              <a:extLst>
                <a:ext uri="{FF2B5EF4-FFF2-40B4-BE49-F238E27FC236}">
                  <a16:creationId xmlns:a16="http://schemas.microsoft.com/office/drawing/2014/main" id="{71FA70FC-4A15-C3DE-36F2-A1F1173071AA}"/>
                </a:ext>
              </a:extLst>
            </p:cNvPr>
            <p:cNvSpPr/>
            <p:nvPr/>
          </p:nvSpPr>
          <p:spPr>
            <a:xfrm>
              <a:off x="2364713" y="19185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2" name="Google Shape;7259;p64">
              <a:extLst>
                <a:ext uri="{FF2B5EF4-FFF2-40B4-BE49-F238E27FC236}">
                  <a16:creationId xmlns:a16="http://schemas.microsoft.com/office/drawing/2014/main" id="{192E2B6F-F158-CE34-0C02-6940A7C25538}"/>
                </a:ext>
              </a:extLst>
            </p:cNvPr>
            <p:cNvSpPr/>
            <p:nvPr/>
          </p:nvSpPr>
          <p:spPr>
            <a:xfrm>
              <a:off x="2364102" y="191897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3" name="Google Shape;7260;p64">
              <a:extLst>
                <a:ext uri="{FF2B5EF4-FFF2-40B4-BE49-F238E27FC236}">
                  <a16:creationId xmlns:a16="http://schemas.microsoft.com/office/drawing/2014/main" id="{7E14F154-8188-013B-FDAD-FEFCFB9BCE00}"/>
                </a:ext>
              </a:extLst>
            </p:cNvPr>
            <p:cNvSpPr/>
            <p:nvPr/>
          </p:nvSpPr>
          <p:spPr>
            <a:xfrm>
              <a:off x="2364672" y="19185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4" name="Google Shape;7261;p64">
              <a:extLst>
                <a:ext uri="{FF2B5EF4-FFF2-40B4-BE49-F238E27FC236}">
                  <a16:creationId xmlns:a16="http://schemas.microsoft.com/office/drawing/2014/main" id="{FDCD7AAA-D711-5251-4197-90A103CD5AF6}"/>
                </a:ext>
              </a:extLst>
            </p:cNvPr>
            <p:cNvSpPr/>
            <p:nvPr/>
          </p:nvSpPr>
          <p:spPr>
            <a:xfrm>
              <a:off x="2364523" y="19186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5" name="Google Shape;7262;p64">
              <a:extLst>
                <a:ext uri="{FF2B5EF4-FFF2-40B4-BE49-F238E27FC236}">
                  <a16:creationId xmlns:a16="http://schemas.microsoft.com/office/drawing/2014/main" id="{0AB0FAEF-0045-1E55-7E51-7A2F9B6468F4}"/>
                </a:ext>
              </a:extLst>
            </p:cNvPr>
            <p:cNvSpPr/>
            <p:nvPr/>
          </p:nvSpPr>
          <p:spPr>
            <a:xfrm>
              <a:off x="2364387" y="1918734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6" name="Google Shape;7263;p64">
              <a:extLst>
                <a:ext uri="{FF2B5EF4-FFF2-40B4-BE49-F238E27FC236}">
                  <a16:creationId xmlns:a16="http://schemas.microsoft.com/office/drawing/2014/main" id="{22169D76-B9E2-7673-D452-2F2C5823370F}"/>
                </a:ext>
              </a:extLst>
            </p:cNvPr>
            <p:cNvSpPr/>
            <p:nvPr/>
          </p:nvSpPr>
          <p:spPr>
            <a:xfrm>
              <a:off x="2363857" y="19190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7" name="Google Shape;7264;p64">
              <a:extLst>
                <a:ext uri="{FF2B5EF4-FFF2-40B4-BE49-F238E27FC236}">
                  <a16:creationId xmlns:a16="http://schemas.microsoft.com/office/drawing/2014/main" id="{95B406F1-DB05-FDEC-C199-DB1373240A62}"/>
                </a:ext>
              </a:extLst>
            </p:cNvPr>
            <p:cNvSpPr/>
            <p:nvPr/>
          </p:nvSpPr>
          <p:spPr>
            <a:xfrm>
              <a:off x="2363341" y="191935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8" name="Google Shape;7265;p64">
              <a:extLst>
                <a:ext uri="{FF2B5EF4-FFF2-40B4-BE49-F238E27FC236}">
                  <a16:creationId xmlns:a16="http://schemas.microsoft.com/office/drawing/2014/main" id="{F818FB23-E3C4-DF71-4D2C-368EB74C6825}"/>
                </a:ext>
              </a:extLst>
            </p:cNvPr>
            <p:cNvSpPr/>
            <p:nvPr/>
          </p:nvSpPr>
          <p:spPr>
            <a:xfrm>
              <a:off x="2362242" y="1919508"/>
              <a:ext cx="1018" cy="530"/>
            </a:xfrm>
            <a:custGeom>
              <a:avLst/>
              <a:gdLst/>
              <a:ahLst/>
              <a:cxnLst/>
              <a:rect l="l" t="t" r="r" b="b"/>
              <a:pathLst>
                <a:path w="75" h="39" extrusionOk="0">
                  <a:moveTo>
                    <a:pt x="74" y="0"/>
                  </a:moveTo>
                  <a:cubicBezTo>
                    <a:pt x="65" y="5"/>
                    <a:pt x="56" y="10"/>
                    <a:pt x="45" y="15"/>
                  </a:cubicBezTo>
                  <a:lnTo>
                    <a:pt x="45" y="15"/>
                  </a:lnTo>
                  <a:lnTo>
                    <a:pt x="74" y="0"/>
                  </a:lnTo>
                  <a:close/>
                  <a:moveTo>
                    <a:pt x="45" y="15"/>
                  </a:moveTo>
                  <a:lnTo>
                    <a:pt x="1" y="39"/>
                  </a:lnTo>
                  <a:cubicBezTo>
                    <a:pt x="17" y="31"/>
                    <a:pt x="32" y="23"/>
                    <a:pt x="4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9" name="Google Shape;7266;p64">
              <a:extLst>
                <a:ext uri="{FF2B5EF4-FFF2-40B4-BE49-F238E27FC236}">
                  <a16:creationId xmlns:a16="http://schemas.microsoft.com/office/drawing/2014/main" id="{5A94CB4D-516B-4AEA-0128-503F3EF0DB94}"/>
                </a:ext>
              </a:extLst>
            </p:cNvPr>
            <p:cNvSpPr/>
            <p:nvPr/>
          </p:nvSpPr>
          <p:spPr>
            <a:xfrm>
              <a:off x="2363626" y="1919209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0" y="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0" name="Google Shape;7267;p64">
              <a:extLst>
                <a:ext uri="{FF2B5EF4-FFF2-40B4-BE49-F238E27FC236}">
                  <a16:creationId xmlns:a16="http://schemas.microsoft.com/office/drawing/2014/main" id="{E31F8554-789E-6783-ABCA-E24D0684ECEF}"/>
                </a:ext>
              </a:extLst>
            </p:cNvPr>
            <p:cNvSpPr/>
            <p:nvPr/>
          </p:nvSpPr>
          <p:spPr>
            <a:xfrm>
              <a:off x="2361766" y="1920024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1" y="15"/>
                  </a:move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1" name="Google Shape;7268;p64">
              <a:extLst>
                <a:ext uri="{FF2B5EF4-FFF2-40B4-BE49-F238E27FC236}">
                  <a16:creationId xmlns:a16="http://schemas.microsoft.com/office/drawing/2014/main" id="{A9856122-3C9E-00F2-AB06-65475B47D0DF}"/>
                </a:ext>
              </a:extLst>
            </p:cNvPr>
            <p:cNvSpPr/>
            <p:nvPr/>
          </p:nvSpPr>
          <p:spPr>
            <a:xfrm>
              <a:off x="2423463" y="1902672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2" name="Google Shape;7269;p64">
              <a:extLst>
                <a:ext uri="{FF2B5EF4-FFF2-40B4-BE49-F238E27FC236}">
                  <a16:creationId xmlns:a16="http://schemas.microsoft.com/office/drawing/2014/main" id="{8F79647F-E00C-0DA3-0529-7BB932F7BD4F}"/>
                </a:ext>
              </a:extLst>
            </p:cNvPr>
            <p:cNvSpPr/>
            <p:nvPr/>
          </p:nvSpPr>
          <p:spPr>
            <a:xfrm>
              <a:off x="2367333" y="1912040"/>
              <a:ext cx="1100" cy="244"/>
            </a:xfrm>
            <a:custGeom>
              <a:avLst/>
              <a:gdLst/>
              <a:ahLst/>
              <a:cxnLst/>
              <a:rect l="l" t="t" r="r" b="b"/>
              <a:pathLst>
                <a:path w="81" h="18" extrusionOk="0">
                  <a:moveTo>
                    <a:pt x="81" y="18"/>
                  </a:moveTo>
                  <a:cubicBezTo>
                    <a:pt x="56" y="7"/>
                    <a:pt x="28" y="0"/>
                    <a:pt x="0" y="0"/>
                  </a:cubicBezTo>
                  <a:cubicBezTo>
                    <a:pt x="28" y="0"/>
                    <a:pt x="56" y="7"/>
                    <a:pt x="8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3" name="Google Shape;7270;p64">
              <a:extLst>
                <a:ext uri="{FF2B5EF4-FFF2-40B4-BE49-F238E27FC236}">
                  <a16:creationId xmlns:a16="http://schemas.microsoft.com/office/drawing/2014/main" id="{0F811FB3-DDA5-89BD-8C3E-8C6F6382B8E9}"/>
                </a:ext>
              </a:extLst>
            </p:cNvPr>
            <p:cNvSpPr/>
            <p:nvPr/>
          </p:nvSpPr>
          <p:spPr>
            <a:xfrm>
              <a:off x="2364618" y="19185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4" name="Google Shape;7271;p64">
              <a:extLst>
                <a:ext uri="{FF2B5EF4-FFF2-40B4-BE49-F238E27FC236}">
                  <a16:creationId xmlns:a16="http://schemas.microsoft.com/office/drawing/2014/main" id="{3085AF68-6B10-0A07-6560-C62029588AEF}"/>
                </a:ext>
              </a:extLst>
            </p:cNvPr>
            <p:cNvSpPr/>
            <p:nvPr/>
          </p:nvSpPr>
          <p:spPr>
            <a:xfrm>
              <a:off x="2364767" y="19184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5" name="Google Shape;7272;p64">
              <a:extLst>
                <a:ext uri="{FF2B5EF4-FFF2-40B4-BE49-F238E27FC236}">
                  <a16:creationId xmlns:a16="http://schemas.microsoft.com/office/drawing/2014/main" id="{47FD8644-88C0-8992-8ABA-211F2E41E620}"/>
                </a:ext>
              </a:extLst>
            </p:cNvPr>
            <p:cNvSpPr/>
            <p:nvPr/>
          </p:nvSpPr>
          <p:spPr>
            <a:xfrm>
              <a:off x="2414298" y="1903201"/>
              <a:ext cx="3286" cy="54"/>
            </a:xfrm>
            <a:custGeom>
              <a:avLst/>
              <a:gdLst/>
              <a:ahLst/>
              <a:cxnLst/>
              <a:rect l="l" t="t" r="r" b="b"/>
              <a:pathLst>
                <a:path w="242" h="4" extrusionOk="0">
                  <a:moveTo>
                    <a:pt x="0" y="4"/>
                  </a:moveTo>
                  <a:cubicBezTo>
                    <a:pt x="81" y="4"/>
                    <a:pt x="161" y="4"/>
                    <a:pt x="242" y="0"/>
                  </a:cubicBezTo>
                  <a:cubicBezTo>
                    <a:pt x="161" y="4"/>
                    <a:pt x="81" y="4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6" name="Google Shape;7273;p64">
              <a:extLst>
                <a:ext uri="{FF2B5EF4-FFF2-40B4-BE49-F238E27FC236}">
                  <a16:creationId xmlns:a16="http://schemas.microsoft.com/office/drawing/2014/main" id="{78F22247-4D19-B8D8-2297-F9B2A466FE6E}"/>
                </a:ext>
              </a:extLst>
            </p:cNvPr>
            <p:cNvSpPr/>
            <p:nvPr/>
          </p:nvSpPr>
          <p:spPr>
            <a:xfrm>
              <a:off x="2373131" y="1912746"/>
              <a:ext cx="1779" cy="109"/>
            </a:xfrm>
            <a:custGeom>
              <a:avLst/>
              <a:gdLst/>
              <a:ahLst/>
              <a:cxnLst/>
              <a:rect l="l" t="t" r="r" b="b"/>
              <a:pathLst>
                <a:path w="131" h="8" extrusionOk="0">
                  <a:moveTo>
                    <a:pt x="1" y="8"/>
                  </a:moveTo>
                  <a:cubicBezTo>
                    <a:pt x="43" y="4"/>
                    <a:pt x="88" y="1"/>
                    <a:pt x="130" y="4"/>
                  </a:cubicBezTo>
                  <a:cubicBezTo>
                    <a:pt x="88" y="1"/>
                    <a:pt x="43" y="4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7" name="Google Shape;7274;p64">
              <a:extLst>
                <a:ext uri="{FF2B5EF4-FFF2-40B4-BE49-F238E27FC236}">
                  <a16:creationId xmlns:a16="http://schemas.microsoft.com/office/drawing/2014/main" id="{82EF76C8-B8E4-0690-BB74-3165A4F84190}"/>
                </a:ext>
              </a:extLst>
            </p:cNvPr>
            <p:cNvSpPr/>
            <p:nvPr/>
          </p:nvSpPr>
          <p:spPr>
            <a:xfrm>
              <a:off x="2437773" y="191717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8" name="Google Shape;7275;p64">
              <a:extLst>
                <a:ext uri="{FF2B5EF4-FFF2-40B4-BE49-F238E27FC236}">
                  <a16:creationId xmlns:a16="http://schemas.microsoft.com/office/drawing/2014/main" id="{EAFA6A3D-D60C-29C5-8D74-9DC5047A602F}"/>
                </a:ext>
              </a:extLst>
            </p:cNvPr>
            <p:cNvSpPr/>
            <p:nvPr/>
          </p:nvSpPr>
          <p:spPr>
            <a:xfrm>
              <a:off x="2437203" y="1916032"/>
              <a:ext cx="448" cy="774"/>
            </a:xfrm>
            <a:custGeom>
              <a:avLst/>
              <a:gdLst/>
              <a:ahLst/>
              <a:cxnLst/>
              <a:rect l="l" t="t" r="r" b="b"/>
              <a:pathLst>
                <a:path w="33" h="57" extrusionOk="0">
                  <a:moveTo>
                    <a:pt x="1" y="0"/>
                  </a:moveTo>
                  <a:lnTo>
                    <a:pt x="32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9" name="Google Shape;7276;p64">
              <a:extLst>
                <a:ext uri="{FF2B5EF4-FFF2-40B4-BE49-F238E27FC236}">
                  <a16:creationId xmlns:a16="http://schemas.microsoft.com/office/drawing/2014/main" id="{1B17B82F-2808-4248-BD2B-18F61CA66904}"/>
                </a:ext>
              </a:extLst>
            </p:cNvPr>
            <p:cNvSpPr/>
            <p:nvPr/>
          </p:nvSpPr>
          <p:spPr>
            <a:xfrm>
              <a:off x="2436062" y="1913656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0"/>
                  </a:moveTo>
                  <a:lnTo>
                    <a:pt x="29" y="5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0" name="Google Shape;7277;p64">
              <a:extLst>
                <a:ext uri="{FF2B5EF4-FFF2-40B4-BE49-F238E27FC236}">
                  <a16:creationId xmlns:a16="http://schemas.microsoft.com/office/drawing/2014/main" id="{DC22B5B0-8C34-E602-D78F-FB1604FF73FB}"/>
                </a:ext>
              </a:extLst>
            </p:cNvPr>
            <p:cNvSpPr/>
            <p:nvPr/>
          </p:nvSpPr>
          <p:spPr>
            <a:xfrm>
              <a:off x="2436687" y="1914932"/>
              <a:ext cx="394" cy="733"/>
            </a:xfrm>
            <a:custGeom>
              <a:avLst/>
              <a:gdLst/>
              <a:ahLst/>
              <a:cxnLst/>
              <a:rect l="l" t="t" r="r" b="b"/>
              <a:pathLst>
                <a:path w="29" h="54" extrusionOk="0">
                  <a:moveTo>
                    <a:pt x="0" y="1"/>
                  </a:moveTo>
                  <a:lnTo>
                    <a:pt x="28" y="5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1" name="Google Shape;7278;p64">
              <a:extLst>
                <a:ext uri="{FF2B5EF4-FFF2-40B4-BE49-F238E27FC236}">
                  <a16:creationId xmlns:a16="http://schemas.microsoft.com/office/drawing/2014/main" id="{1904C702-9F0D-4F61-9522-070311D1C87A}"/>
                </a:ext>
              </a:extLst>
            </p:cNvPr>
            <p:cNvSpPr/>
            <p:nvPr/>
          </p:nvSpPr>
          <p:spPr>
            <a:xfrm>
              <a:off x="2429885" y="1900825"/>
              <a:ext cx="6096" cy="12600"/>
            </a:xfrm>
            <a:custGeom>
              <a:avLst/>
              <a:gdLst/>
              <a:ahLst/>
              <a:cxnLst/>
              <a:rect l="l" t="t" r="r" b="b"/>
              <a:pathLst>
                <a:path w="449" h="928" extrusionOk="0">
                  <a:moveTo>
                    <a:pt x="1" y="0"/>
                  </a:moveTo>
                  <a:lnTo>
                    <a:pt x="1" y="0"/>
                  </a:lnTo>
                  <a:cubicBezTo>
                    <a:pt x="123" y="259"/>
                    <a:pt x="288" y="595"/>
                    <a:pt x="449" y="928"/>
                  </a:cubicBezTo>
                  <a:cubicBezTo>
                    <a:pt x="288" y="595"/>
                    <a:pt x="123" y="25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2" name="Google Shape;7279;p64">
              <a:extLst>
                <a:ext uri="{FF2B5EF4-FFF2-40B4-BE49-F238E27FC236}">
                  <a16:creationId xmlns:a16="http://schemas.microsoft.com/office/drawing/2014/main" id="{0FD39365-00B2-F64F-C5E1-C4AF15AE9A28}"/>
                </a:ext>
              </a:extLst>
            </p:cNvPr>
            <p:cNvSpPr/>
            <p:nvPr/>
          </p:nvSpPr>
          <p:spPr>
            <a:xfrm>
              <a:off x="3053662" y="2325828"/>
              <a:ext cx="6762" cy="1426"/>
            </a:xfrm>
            <a:custGeom>
              <a:avLst/>
              <a:gdLst/>
              <a:ahLst/>
              <a:cxnLst/>
              <a:rect l="l" t="t" r="r" b="b"/>
              <a:pathLst>
                <a:path w="498" h="105" extrusionOk="0">
                  <a:moveTo>
                    <a:pt x="425" y="0"/>
                  </a:moveTo>
                  <a:cubicBezTo>
                    <a:pt x="299" y="0"/>
                    <a:pt x="91" y="34"/>
                    <a:pt x="0" y="76"/>
                  </a:cubicBezTo>
                  <a:cubicBezTo>
                    <a:pt x="60" y="94"/>
                    <a:pt x="123" y="104"/>
                    <a:pt x="185" y="104"/>
                  </a:cubicBezTo>
                  <a:cubicBezTo>
                    <a:pt x="232" y="104"/>
                    <a:pt x="279" y="99"/>
                    <a:pt x="326" y="87"/>
                  </a:cubicBezTo>
                  <a:cubicBezTo>
                    <a:pt x="389" y="80"/>
                    <a:pt x="448" y="52"/>
                    <a:pt x="497" y="6"/>
                  </a:cubicBezTo>
                  <a:cubicBezTo>
                    <a:pt x="479" y="2"/>
                    <a:pt x="454" y="0"/>
                    <a:pt x="4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3" name="Google Shape;7280;p64">
              <a:extLst>
                <a:ext uri="{FF2B5EF4-FFF2-40B4-BE49-F238E27FC236}">
                  <a16:creationId xmlns:a16="http://schemas.microsoft.com/office/drawing/2014/main" id="{E2A4D414-D069-B772-227F-476EFA466F78}"/>
                </a:ext>
              </a:extLst>
            </p:cNvPr>
            <p:cNvSpPr/>
            <p:nvPr/>
          </p:nvSpPr>
          <p:spPr>
            <a:xfrm>
              <a:off x="2878838" y="2126931"/>
              <a:ext cx="301597" cy="226799"/>
            </a:xfrm>
            <a:custGeom>
              <a:avLst/>
              <a:gdLst/>
              <a:ahLst/>
              <a:cxnLst/>
              <a:rect l="l" t="t" r="r" b="b"/>
              <a:pathLst>
                <a:path w="22213" h="16704" extrusionOk="0">
                  <a:moveTo>
                    <a:pt x="16170" y="1"/>
                  </a:moveTo>
                  <a:cubicBezTo>
                    <a:pt x="16125" y="22"/>
                    <a:pt x="16086" y="57"/>
                    <a:pt x="16055" y="95"/>
                  </a:cubicBezTo>
                  <a:cubicBezTo>
                    <a:pt x="15974" y="183"/>
                    <a:pt x="15918" y="288"/>
                    <a:pt x="15922" y="340"/>
                  </a:cubicBezTo>
                  <a:cubicBezTo>
                    <a:pt x="15936" y="501"/>
                    <a:pt x="15901" y="715"/>
                    <a:pt x="15768" y="834"/>
                  </a:cubicBezTo>
                  <a:cubicBezTo>
                    <a:pt x="15743" y="855"/>
                    <a:pt x="15757" y="963"/>
                    <a:pt x="15764" y="1040"/>
                  </a:cubicBezTo>
                  <a:cubicBezTo>
                    <a:pt x="15782" y="1180"/>
                    <a:pt x="15799" y="1345"/>
                    <a:pt x="15694" y="1440"/>
                  </a:cubicBezTo>
                  <a:cubicBezTo>
                    <a:pt x="15628" y="1499"/>
                    <a:pt x="15645" y="1744"/>
                    <a:pt x="15663" y="1944"/>
                  </a:cubicBezTo>
                  <a:cubicBezTo>
                    <a:pt x="15677" y="2084"/>
                    <a:pt x="15677" y="2227"/>
                    <a:pt x="15670" y="2367"/>
                  </a:cubicBezTo>
                  <a:cubicBezTo>
                    <a:pt x="15659" y="2437"/>
                    <a:pt x="15656" y="2507"/>
                    <a:pt x="15649" y="2577"/>
                  </a:cubicBezTo>
                  <a:cubicBezTo>
                    <a:pt x="15631" y="2815"/>
                    <a:pt x="15610" y="3060"/>
                    <a:pt x="15488" y="3235"/>
                  </a:cubicBezTo>
                  <a:cubicBezTo>
                    <a:pt x="15442" y="3302"/>
                    <a:pt x="15407" y="3375"/>
                    <a:pt x="15376" y="3449"/>
                  </a:cubicBezTo>
                  <a:cubicBezTo>
                    <a:pt x="15302" y="3621"/>
                    <a:pt x="15218" y="3817"/>
                    <a:pt x="14994" y="3901"/>
                  </a:cubicBezTo>
                  <a:cubicBezTo>
                    <a:pt x="14935" y="3923"/>
                    <a:pt x="14872" y="3933"/>
                    <a:pt x="14809" y="3933"/>
                  </a:cubicBezTo>
                  <a:cubicBezTo>
                    <a:pt x="14649" y="3933"/>
                    <a:pt x="14487" y="3869"/>
                    <a:pt x="14381" y="3789"/>
                  </a:cubicBezTo>
                  <a:cubicBezTo>
                    <a:pt x="14283" y="3715"/>
                    <a:pt x="14234" y="3635"/>
                    <a:pt x="14241" y="3554"/>
                  </a:cubicBezTo>
                  <a:cubicBezTo>
                    <a:pt x="14238" y="3533"/>
                    <a:pt x="14227" y="3512"/>
                    <a:pt x="14210" y="3498"/>
                  </a:cubicBezTo>
                  <a:cubicBezTo>
                    <a:pt x="14142" y="3433"/>
                    <a:pt x="13993" y="3393"/>
                    <a:pt x="13883" y="3393"/>
                  </a:cubicBezTo>
                  <a:cubicBezTo>
                    <a:pt x="13863" y="3393"/>
                    <a:pt x="13845" y="3394"/>
                    <a:pt x="13828" y="3397"/>
                  </a:cubicBezTo>
                  <a:cubicBezTo>
                    <a:pt x="13818" y="3398"/>
                    <a:pt x="13808" y="3398"/>
                    <a:pt x="13799" y="3398"/>
                  </a:cubicBezTo>
                  <a:cubicBezTo>
                    <a:pt x="13678" y="3398"/>
                    <a:pt x="13589" y="3300"/>
                    <a:pt x="13489" y="3190"/>
                  </a:cubicBezTo>
                  <a:cubicBezTo>
                    <a:pt x="13415" y="3106"/>
                    <a:pt x="13335" y="3025"/>
                    <a:pt x="13247" y="2955"/>
                  </a:cubicBezTo>
                  <a:cubicBezTo>
                    <a:pt x="13166" y="2895"/>
                    <a:pt x="13094" y="2881"/>
                    <a:pt x="13026" y="2881"/>
                  </a:cubicBezTo>
                  <a:cubicBezTo>
                    <a:pt x="13000" y="2881"/>
                    <a:pt x="12975" y="2883"/>
                    <a:pt x="12950" y="2885"/>
                  </a:cubicBezTo>
                  <a:cubicBezTo>
                    <a:pt x="12928" y="2888"/>
                    <a:pt x="12904" y="2890"/>
                    <a:pt x="12880" y="2890"/>
                  </a:cubicBezTo>
                  <a:cubicBezTo>
                    <a:pt x="12798" y="2890"/>
                    <a:pt x="12712" y="2864"/>
                    <a:pt x="12666" y="2731"/>
                  </a:cubicBezTo>
                  <a:cubicBezTo>
                    <a:pt x="12596" y="2535"/>
                    <a:pt x="12537" y="2493"/>
                    <a:pt x="12383" y="2392"/>
                  </a:cubicBezTo>
                  <a:lnTo>
                    <a:pt x="12326" y="2353"/>
                  </a:lnTo>
                  <a:cubicBezTo>
                    <a:pt x="12239" y="2294"/>
                    <a:pt x="12179" y="2245"/>
                    <a:pt x="12179" y="2178"/>
                  </a:cubicBezTo>
                  <a:cubicBezTo>
                    <a:pt x="12179" y="2108"/>
                    <a:pt x="12232" y="2077"/>
                    <a:pt x="12312" y="2024"/>
                  </a:cubicBezTo>
                  <a:cubicBezTo>
                    <a:pt x="12330" y="2010"/>
                    <a:pt x="12351" y="1996"/>
                    <a:pt x="12376" y="1979"/>
                  </a:cubicBezTo>
                  <a:cubicBezTo>
                    <a:pt x="12460" y="1916"/>
                    <a:pt x="12540" y="1818"/>
                    <a:pt x="12407" y="1604"/>
                  </a:cubicBezTo>
                  <a:cubicBezTo>
                    <a:pt x="12379" y="1562"/>
                    <a:pt x="12369" y="1510"/>
                    <a:pt x="12383" y="1461"/>
                  </a:cubicBezTo>
                  <a:cubicBezTo>
                    <a:pt x="12404" y="1398"/>
                    <a:pt x="12477" y="1373"/>
                    <a:pt x="12565" y="1345"/>
                  </a:cubicBezTo>
                  <a:cubicBezTo>
                    <a:pt x="12638" y="1324"/>
                    <a:pt x="12712" y="1296"/>
                    <a:pt x="12782" y="1257"/>
                  </a:cubicBezTo>
                  <a:cubicBezTo>
                    <a:pt x="12876" y="1208"/>
                    <a:pt x="12869" y="1170"/>
                    <a:pt x="12862" y="1103"/>
                  </a:cubicBezTo>
                  <a:cubicBezTo>
                    <a:pt x="12852" y="1037"/>
                    <a:pt x="12841" y="942"/>
                    <a:pt x="12971" y="890"/>
                  </a:cubicBezTo>
                  <a:cubicBezTo>
                    <a:pt x="13006" y="879"/>
                    <a:pt x="13027" y="862"/>
                    <a:pt x="13023" y="848"/>
                  </a:cubicBezTo>
                  <a:cubicBezTo>
                    <a:pt x="13020" y="820"/>
                    <a:pt x="12964" y="767"/>
                    <a:pt x="12862" y="746"/>
                  </a:cubicBezTo>
                  <a:cubicBezTo>
                    <a:pt x="12852" y="744"/>
                    <a:pt x="12843" y="743"/>
                    <a:pt x="12835" y="743"/>
                  </a:cubicBezTo>
                  <a:cubicBezTo>
                    <a:pt x="12805" y="743"/>
                    <a:pt x="12795" y="763"/>
                    <a:pt x="12778" y="830"/>
                  </a:cubicBezTo>
                  <a:cubicBezTo>
                    <a:pt x="12764" y="879"/>
                    <a:pt x="12750" y="942"/>
                    <a:pt x="12691" y="963"/>
                  </a:cubicBezTo>
                  <a:cubicBezTo>
                    <a:pt x="12680" y="967"/>
                    <a:pt x="12669" y="969"/>
                    <a:pt x="12659" y="969"/>
                  </a:cubicBezTo>
                  <a:cubicBezTo>
                    <a:pt x="12584" y="969"/>
                    <a:pt x="12538" y="870"/>
                    <a:pt x="12495" y="771"/>
                  </a:cubicBezTo>
                  <a:cubicBezTo>
                    <a:pt x="12484" y="746"/>
                    <a:pt x="12470" y="715"/>
                    <a:pt x="12456" y="690"/>
                  </a:cubicBezTo>
                  <a:lnTo>
                    <a:pt x="12421" y="725"/>
                  </a:lnTo>
                  <a:cubicBezTo>
                    <a:pt x="12346" y="794"/>
                    <a:pt x="12242" y="888"/>
                    <a:pt x="12141" y="888"/>
                  </a:cubicBezTo>
                  <a:cubicBezTo>
                    <a:pt x="12134" y="888"/>
                    <a:pt x="12127" y="887"/>
                    <a:pt x="12120" y="886"/>
                  </a:cubicBezTo>
                  <a:cubicBezTo>
                    <a:pt x="12071" y="883"/>
                    <a:pt x="12029" y="858"/>
                    <a:pt x="12001" y="820"/>
                  </a:cubicBezTo>
                  <a:cubicBezTo>
                    <a:pt x="11910" y="701"/>
                    <a:pt x="11336" y="564"/>
                    <a:pt x="10975" y="515"/>
                  </a:cubicBezTo>
                  <a:cubicBezTo>
                    <a:pt x="10814" y="494"/>
                    <a:pt x="10716" y="386"/>
                    <a:pt x="10636" y="298"/>
                  </a:cubicBezTo>
                  <a:cubicBezTo>
                    <a:pt x="10576" y="232"/>
                    <a:pt x="10541" y="197"/>
                    <a:pt x="10513" y="197"/>
                  </a:cubicBezTo>
                  <a:cubicBezTo>
                    <a:pt x="10508" y="197"/>
                    <a:pt x="10504" y="198"/>
                    <a:pt x="10499" y="200"/>
                  </a:cubicBezTo>
                  <a:lnTo>
                    <a:pt x="10485" y="204"/>
                  </a:lnTo>
                  <a:cubicBezTo>
                    <a:pt x="10520" y="249"/>
                    <a:pt x="10559" y="291"/>
                    <a:pt x="10601" y="330"/>
                  </a:cubicBezTo>
                  <a:cubicBezTo>
                    <a:pt x="10639" y="368"/>
                    <a:pt x="10685" y="410"/>
                    <a:pt x="10730" y="456"/>
                  </a:cubicBezTo>
                  <a:cubicBezTo>
                    <a:pt x="10779" y="501"/>
                    <a:pt x="10790" y="575"/>
                    <a:pt x="10751" y="631"/>
                  </a:cubicBezTo>
                  <a:cubicBezTo>
                    <a:pt x="10664" y="771"/>
                    <a:pt x="10290" y="843"/>
                    <a:pt x="10029" y="843"/>
                  </a:cubicBezTo>
                  <a:cubicBezTo>
                    <a:pt x="9944" y="843"/>
                    <a:pt x="9871" y="835"/>
                    <a:pt x="9823" y="820"/>
                  </a:cubicBezTo>
                  <a:lnTo>
                    <a:pt x="9820" y="820"/>
                  </a:lnTo>
                  <a:cubicBezTo>
                    <a:pt x="9834" y="862"/>
                    <a:pt x="9830" y="907"/>
                    <a:pt x="9806" y="942"/>
                  </a:cubicBezTo>
                  <a:cubicBezTo>
                    <a:pt x="9777" y="969"/>
                    <a:pt x="9740" y="983"/>
                    <a:pt x="9705" y="983"/>
                  </a:cubicBezTo>
                  <a:cubicBezTo>
                    <a:pt x="9698" y="983"/>
                    <a:pt x="9690" y="982"/>
                    <a:pt x="9683" y="981"/>
                  </a:cubicBezTo>
                  <a:cubicBezTo>
                    <a:pt x="9682" y="981"/>
                    <a:pt x="9680" y="981"/>
                    <a:pt x="9679" y="981"/>
                  </a:cubicBezTo>
                  <a:cubicBezTo>
                    <a:pt x="9608" y="981"/>
                    <a:pt x="9566" y="1064"/>
                    <a:pt x="9501" y="1201"/>
                  </a:cubicBezTo>
                  <a:cubicBezTo>
                    <a:pt x="9463" y="1292"/>
                    <a:pt x="9410" y="1380"/>
                    <a:pt x="9347" y="1457"/>
                  </a:cubicBezTo>
                  <a:cubicBezTo>
                    <a:pt x="9298" y="1510"/>
                    <a:pt x="9267" y="1573"/>
                    <a:pt x="9260" y="1643"/>
                  </a:cubicBezTo>
                  <a:cubicBezTo>
                    <a:pt x="9249" y="1734"/>
                    <a:pt x="9193" y="1821"/>
                    <a:pt x="9113" y="1870"/>
                  </a:cubicBezTo>
                  <a:cubicBezTo>
                    <a:pt x="9032" y="1923"/>
                    <a:pt x="9018" y="1958"/>
                    <a:pt x="9015" y="1982"/>
                  </a:cubicBezTo>
                  <a:cubicBezTo>
                    <a:pt x="9008" y="2038"/>
                    <a:pt x="9053" y="2122"/>
                    <a:pt x="9151" y="2231"/>
                  </a:cubicBezTo>
                  <a:cubicBezTo>
                    <a:pt x="9284" y="2381"/>
                    <a:pt x="9232" y="2462"/>
                    <a:pt x="9200" y="2490"/>
                  </a:cubicBezTo>
                  <a:cubicBezTo>
                    <a:pt x="9172" y="2516"/>
                    <a:pt x="9132" y="2528"/>
                    <a:pt x="9087" y="2528"/>
                  </a:cubicBezTo>
                  <a:cubicBezTo>
                    <a:pt x="8991" y="2528"/>
                    <a:pt x="8869" y="2474"/>
                    <a:pt x="8777" y="2381"/>
                  </a:cubicBezTo>
                  <a:cubicBezTo>
                    <a:pt x="8692" y="2296"/>
                    <a:pt x="8623" y="2269"/>
                    <a:pt x="8585" y="2269"/>
                  </a:cubicBezTo>
                  <a:cubicBezTo>
                    <a:pt x="8576" y="2269"/>
                    <a:pt x="8568" y="2270"/>
                    <a:pt x="8563" y="2273"/>
                  </a:cubicBezTo>
                  <a:cubicBezTo>
                    <a:pt x="8546" y="2280"/>
                    <a:pt x="8535" y="2311"/>
                    <a:pt x="8539" y="2357"/>
                  </a:cubicBezTo>
                  <a:cubicBezTo>
                    <a:pt x="8542" y="2465"/>
                    <a:pt x="8497" y="2507"/>
                    <a:pt x="8469" y="2525"/>
                  </a:cubicBezTo>
                  <a:cubicBezTo>
                    <a:pt x="8448" y="2534"/>
                    <a:pt x="8427" y="2538"/>
                    <a:pt x="8405" y="2538"/>
                  </a:cubicBezTo>
                  <a:cubicBezTo>
                    <a:pt x="8375" y="2538"/>
                    <a:pt x="8346" y="2529"/>
                    <a:pt x="8322" y="2511"/>
                  </a:cubicBezTo>
                  <a:cubicBezTo>
                    <a:pt x="8262" y="2469"/>
                    <a:pt x="8202" y="2371"/>
                    <a:pt x="8224" y="2227"/>
                  </a:cubicBezTo>
                  <a:cubicBezTo>
                    <a:pt x="8234" y="2164"/>
                    <a:pt x="8224" y="2154"/>
                    <a:pt x="8118" y="2133"/>
                  </a:cubicBezTo>
                  <a:cubicBezTo>
                    <a:pt x="8048" y="2115"/>
                    <a:pt x="7957" y="2098"/>
                    <a:pt x="7926" y="2007"/>
                  </a:cubicBezTo>
                  <a:cubicBezTo>
                    <a:pt x="7881" y="1890"/>
                    <a:pt x="7658" y="1709"/>
                    <a:pt x="7537" y="1709"/>
                  </a:cubicBezTo>
                  <a:cubicBezTo>
                    <a:pt x="7535" y="1709"/>
                    <a:pt x="7533" y="1709"/>
                    <a:pt x="7530" y="1709"/>
                  </a:cubicBezTo>
                  <a:cubicBezTo>
                    <a:pt x="7481" y="1713"/>
                    <a:pt x="7457" y="1737"/>
                    <a:pt x="7418" y="1783"/>
                  </a:cubicBezTo>
                  <a:cubicBezTo>
                    <a:pt x="7373" y="1849"/>
                    <a:pt x="7296" y="1891"/>
                    <a:pt x="7212" y="1891"/>
                  </a:cubicBezTo>
                  <a:cubicBezTo>
                    <a:pt x="7207" y="1891"/>
                    <a:pt x="7203" y="1890"/>
                    <a:pt x="7199" y="1890"/>
                  </a:cubicBezTo>
                  <a:cubicBezTo>
                    <a:pt x="7169" y="1890"/>
                    <a:pt x="7142" y="1901"/>
                    <a:pt x="7117" y="1919"/>
                  </a:cubicBezTo>
                  <a:cubicBezTo>
                    <a:pt x="7100" y="1940"/>
                    <a:pt x="7096" y="1993"/>
                    <a:pt x="7107" y="2073"/>
                  </a:cubicBezTo>
                  <a:cubicBezTo>
                    <a:pt x="7117" y="2115"/>
                    <a:pt x="7103" y="2161"/>
                    <a:pt x="7072" y="2192"/>
                  </a:cubicBezTo>
                  <a:cubicBezTo>
                    <a:pt x="7048" y="2213"/>
                    <a:pt x="7019" y="2221"/>
                    <a:pt x="6987" y="2221"/>
                  </a:cubicBezTo>
                  <a:cubicBezTo>
                    <a:pt x="6943" y="2221"/>
                    <a:pt x="6892" y="2206"/>
                    <a:pt x="6837" y="2192"/>
                  </a:cubicBezTo>
                  <a:cubicBezTo>
                    <a:pt x="6767" y="2168"/>
                    <a:pt x="6697" y="2157"/>
                    <a:pt x="6624" y="2157"/>
                  </a:cubicBezTo>
                  <a:cubicBezTo>
                    <a:pt x="6617" y="2157"/>
                    <a:pt x="6606" y="2161"/>
                    <a:pt x="6599" y="2168"/>
                  </a:cubicBezTo>
                  <a:cubicBezTo>
                    <a:pt x="6596" y="2189"/>
                    <a:pt x="6599" y="2210"/>
                    <a:pt x="6606" y="2231"/>
                  </a:cubicBezTo>
                  <a:cubicBezTo>
                    <a:pt x="6620" y="2273"/>
                    <a:pt x="6620" y="2322"/>
                    <a:pt x="6596" y="2364"/>
                  </a:cubicBezTo>
                  <a:cubicBezTo>
                    <a:pt x="6582" y="2385"/>
                    <a:pt x="6554" y="2399"/>
                    <a:pt x="6529" y="2402"/>
                  </a:cubicBezTo>
                  <a:cubicBezTo>
                    <a:pt x="6515" y="2402"/>
                    <a:pt x="6498" y="2427"/>
                    <a:pt x="6484" y="2451"/>
                  </a:cubicBezTo>
                  <a:cubicBezTo>
                    <a:pt x="6449" y="2504"/>
                    <a:pt x="6393" y="2584"/>
                    <a:pt x="6267" y="2584"/>
                  </a:cubicBezTo>
                  <a:cubicBezTo>
                    <a:pt x="6256" y="2584"/>
                    <a:pt x="6249" y="2588"/>
                    <a:pt x="6246" y="2595"/>
                  </a:cubicBezTo>
                  <a:cubicBezTo>
                    <a:pt x="6200" y="2644"/>
                    <a:pt x="6190" y="2822"/>
                    <a:pt x="6221" y="3043"/>
                  </a:cubicBezTo>
                  <a:cubicBezTo>
                    <a:pt x="6232" y="3088"/>
                    <a:pt x="6218" y="3134"/>
                    <a:pt x="6183" y="3165"/>
                  </a:cubicBezTo>
                  <a:cubicBezTo>
                    <a:pt x="6165" y="3178"/>
                    <a:pt x="6145" y="3183"/>
                    <a:pt x="6124" y="3183"/>
                  </a:cubicBezTo>
                  <a:cubicBezTo>
                    <a:pt x="6080" y="3183"/>
                    <a:pt x="6031" y="3160"/>
                    <a:pt x="5976" y="3134"/>
                  </a:cubicBezTo>
                  <a:cubicBezTo>
                    <a:pt x="5919" y="3110"/>
                    <a:pt x="5845" y="3075"/>
                    <a:pt x="5797" y="3075"/>
                  </a:cubicBezTo>
                  <a:cubicBezTo>
                    <a:pt x="5790" y="3075"/>
                    <a:pt x="5783" y="3076"/>
                    <a:pt x="5776" y="3078"/>
                  </a:cubicBezTo>
                  <a:cubicBezTo>
                    <a:pt x="5769" y="3081"/>
                    <a:pt x="5766" y="3081"/>
                    <a:pt x="5762" y="3085"/>
                  </a:cubicBezTo>
                  <a:cubicBezTo>
                    <a:pt x="5773" y="3123"/>
                    <a:pt x="5790" y="3158"/>
                    <a:pt x="5811" y="3190"/>
                  </a:cubicBezTo>
                  <a:cubicBezTo>
                    <a:pt x="5850" y="3260"/>
                    <a:pt x="5881" y="3337"/>
                    <a:pt x="5906" y="3414"/>
                  </a:cubicBezTo>
                  <a:cubicBezTo>
                    <a:pt x="5951" y="3610"/>
                    <a:pt x="5853" y="3666"/>
                    <a:pt x="5780" y="3708"/>
                  </a:cubicBezTo>
                  <a:cubicBezTo>
                    <a:pt x="5759" y="3722"/>
                    <a:pt x="5738" y="3736"/>
                    <a:pt x="5717" y="3754"/>
                  </a:cubicBezTo>
                  <a:cubicBezTo>
                    <a:pt x="5696" y="3775"/>
                    <a:pt x="5668" y="3787"/>
                    <a:pt x="5639" y="3787"/>
                  </a:cubicBezTo>
                  <a:cubicBezTo>
                    <a:pt x="5626" y="3787"/>
                    <a:pt x="5612" y="3784"/>
                    <a:pt x="5598" y="3778"/>
                  </a:cubicBezTo>
                  <a:cubicBezTo>
                    <a:pt x="5479" y="3729"/>
                    <a:pt x="5388" y="3449"/>
                    <a:pt x="5388" y="3295"/>
                  </a:cubicBezTo>
                  <a:lnTo>
                    <a:pt x="5388" y="3291"/>
                  </a:lnTo>
                  <a:cubicBezTo>
                    <a:pt x="5353" y="3305"/>
                    <a:pt x="5269" y="3358"/>
                    <a:pt x="5076" y="3561"/>
                  </a:cubicBezTo>
                  <a:cubicBezTo>
                    <a:pt x="4968" y="3673"/>
                    <a:pt x="5017" y="3831"/>
                    <a:pt x="5055" y="3960"/>
                  </a:cubicBezTo>
                  <a:cubicBezTo>
                    <a:pt x="5090" y="4065"/>
                    <a:pt x="5118" y="4163"/>
                    <a:pt x="5038" y="4212"/>
                  </a:cubicBezTo>
                  <a:cubicBezTo>
                    <a:pt x="4957" y="4261"/>
                    <a:pt x="4520" y="4671"/>
                    <a:pt x="4264" y="4975"/>
                  </a:cubicBezTo>
                  <a:cubicBezTo>
                    <a:pt x="4096" y="5178"/>
                    <a:pt x="3819" y="5189"/>
                    <a:pt x="3599" y="5196"/>
                  </a:cubicBezTo>
                  <a:cubicBezTo>
                    <a:pt x="3466" y="5199"/>
                    <a:pt x="3340" y="5203"/>
                    <a:pt x="3287" y="5248"/>
                  </a:cubicBezTo>
                  <a:cubicBezTo>
                    <a:pt x="3186" y="5336"/>
                    <a:pt x="3077" y="5346"/>
                    <a:pt x="2983" y="5353"/>
                  </a:cubicBezTo>
                  <a:cubicBezTo>
                    <a:pt x="2899" y="5360"/>
                    <a:pt x="2829" y="5367"/>
                    <a:pt x="2762" y="5420"/>
                  </a:cubicBezTo>
                  <a:lnTo>
                    <a:pt x="2745" y="5434"/>
                  </a:lnTo>
                  <a:cubicBezTo>
                    <a:pt x="2545" y="5590"/>
                    <a:pt x="2378" y="5715"/>
                    <a:pt x="2262" y="5715"/>
                  </a:cubicBezTo>
                  <a:cubicBezTo>
                    <a:pt x="2246" y="5715"/>
                    <a:pt x="2230" y="5712"/>
                    <a:pt x="2216" y="5707"/>
                  </a:cubicBezTo>
                  <a:cubicBezTo>
                    <a:pt x="2174" y="5693"/>
                    <a:pt x="2146" y="5655"/>
                    <a:pt x="2136" y="5613"/>
                  </a:cubicBezTo>
                  <a:cubicBezTo>
                    <a:pt x="2136" y="5609"/>
                    <a:pt x="2136" y="5602"/>
                    <a:pt x="2111" y="5599"/>
                  </a:cubicBezTo>
                  <a:cubicBezTo>
                    <a:pt x="2096" y="5594"/>
                    <a:pt x="2079" y="5592"/>
                    <a:pt x="2059" y="5592"/>
                  </a:cubicBezTo>
                  <a:cubicBezTo>
                    <a:pt x="1929" y="5592"/>
                    <a:pt x="1706" y="5680"/>
                    <a:pt x="1593" y="5802"/>
                  </a:cubicBezTo>
                  <a:cubicBezTo>
                    <a:pt x="1390" y="6022"/>
                    <a:pt x="1085" y="6187"/>
                    <a:pt x="872" y="6197"/>
                  </a:cubicBezTo>
                  <a:cubicBezTo>
                    <a:pt x="788" y="6204"/>
                    <a:pt x="749" y="6288"/>
                    <a:pt x="707" y="6411"/>
                  </a:cubicBezTo>
                  <a:cubicBezTo>
                    <a:pt x="683" y="6484"/>
                    <a:pt x="662" y="6547"/>
                    <a:pt x="620" y="6582"/>
                  </a:cubicBezTo>
                  <a:cubicBezTo>
                    <a:pt x="602" y="6600"/>
                    <a:pt x="579" y="6609"/>
                    <a:pt x="556" y="6609"/>
                  </a:cubicBezTo>
                  <a:cubicBezTo>
                    <a:pt x="543" y="6609"/>
                    <a:pt x="530" y="6606"/>
                    <a:pt x="518" y="6600"/>
                  </a:cubicBezTo>
                  <a:cubicBezTo>
                    <a:pt x="459" y="6572"/>
                    <a:pt x="445" y="6495"/>
                    <a:pt x="445" y="6323"/>
                  </a:cubicBezTo>
                  <a:cubicBezTo>
                    <a:pt x="382" y="6414"/>
                    <a:pt x="333" y="6512"/>
                    <a:pt x="298" y="6614"/>
                  </a:cubicBezTo>
                  <a:cubicBezTo>
                    <a:pt x="270" y="6705"/>
                    <a:pt x="298" y="6768"/>
                    <a:pt x="333" y="6845"/>
                  </a:cubicBezTo>
                  <a:cubicBezTo>
                    <a:pt x="378" y="6946"/>
                    <a:pt x="434" y="7072"/>
                    <a:pt x="315" y="7251"/>
                  </a:cubicBezTo>
                  <a:cubicBezTo>
                    <a:pt x="116" y="7545"/>
                    <a:pt x="0" y="7759"/>
                    <a:pt x="217" y="8046"/>
                  </a:cubicBezTo>
                  <a:cubicBezTo>
                    <a:pt x="483" y="8406"/>
                    <a:pt x="641" y="8637"/>
                    <a:pt x="536" y="8844"/>
                  </a:cubicBezTo>
                  <a:cubicBezTo>
                    <a:pt x="522" y="8882"/>
                    <a:pt x="483" y="8910"/>
                    <a:pt x="441" y="8914"/>
                  </a:cubicBezTo>
                  <a:cubicBezTo>
                    <a:pt x="420" y="8914"/>
                    <a:pt x="403" y="8910"/>
                    <a:pt x="385" y="8900"/>
                  </a:cubicBezTo>
                  <a:cubicBezTo>
                    <a:pt x="382" y="8921"/>
                    <a:pt x="375" y="8942"/>
                    <a:pt x="364" y="8959"/>
                  </a:cubicBezTo>
                  <a:cubicBezTo>
                    <a:pt x="347" y="8984"/>
                    <a:pt x="319" y="9001"/>
                    <a:pt x="287" y="9001"/>
                  </a:cubicBezTo>
                  <a:lnTo>
                    <a:pt x="284" y="9001"/>
                  </a:lnTo>
                  <a:cubicBezTo>
                    <a:pt x="210" y="9001"/>
                    <a:pt x="147" y="8928"/>
                    <a:pt x="53" y="8809"/>
                  </a:cubicBezTo>
                  <a:lnTo>
                    <a:pt x="42" y="8795"/>
                  </a:lnTo>
                  <a:lnTo>
                    <a:pt x="42" y="8795"/>
                  </a:lnTo>
                  <a:cubicBezTo>
                    <a:pt x="88" y="8879"/>
                    <a:pt x="144" y="8984"/>
                    <a:pt x="196" y="9075"/>
                  </a:cubicBezTo>
                  <a:cubicBezTo>
                    <a:pt x="354" y="9362"/>
                    <a:pt x="536" y="9684"/>
                    <a:pt x="546" y="9863"/>
                  </a:cubicBezTo>
                  <a:cubicBezTo>
                    <a:pt x="550" y="9978"/>
                    <a:pt x="637" y="10101"/>
                    <a:pt x="732" y="10234"/>
                  </a:cubicBezTo>
                  <a:cubicBezTo>
                    <a:pt x="868" y="10419"/>
                    <a:pt x="1019" y="10633"/>
                    <a:pt x="1005" y="10902"/>
                  </a:cubicBezTo>
                  <a:cubicBezTo>
                    <a:pt x="980" y="11350"/>
                    <a:pt x="1474" y="12103"/>
                    <a:pt x="1481" y="12110"/>
                  </a:cubicBezTo>
                  <a:cubicBezTo>
                    <a:pt x="1530" y="12187"/>
                    <a:pt x="1495" y="12285"/>
                    <a:pt x="1449" y="12415"/>
                  </a:cubicBezTo>
                  <a:cubicBezTo>
                    <a:pt x="1404" y="12541"/>
                    <a:pt x="1344" y="12702"/>
                    <a:pt x="1369" y="12863"/>
                  </a:cubicBezTo>
                  <a:cubicBezTo>
                    <a:pt x="1393" y="13038"/>
                    <a:pt x="1369" y="13174"/>
                    <a:pt x="1288" y="13269"/>
                  </a:cubicBezTo>
                  <a:cubicBezTo>
                    <a:pt x="1217" y="13344"/>
                    <a:pt x="1117" y="13389"/>
                    <a:pt x="1011" y="13389"/>
                  </a:cubicBezTo>
                  <a:cubicBezTo>
                    <a:pt x="1003" y="13389"/>
                    <a:pt x="995" y="13388"/>
                    <a:pt x="987" y="13388"/>
                  </a:cubicBezTo>
                  <a:cubicBezTo>
                    <a:pt x="952" y="13388"/>
                    <a:pt x="949" y="13402"/>
                    <a:pt x="949" y="13419"/>
                  </a:cubicBezTo>
                  <a:cubicBezTo>
                    <a:pt x="959" y="13521"/>
                    <a:pt x="1036" y="13605"/>
                    <a:pt x="1141" y="13622"/>
                  </a:cubicBezTo>
                  <a:cubicBezTo>
                    <a:pt x="1299" y="13636"/>
                    <a:pt x="1344" y="13717"/>
                    <a:pt x="1393" y="13791"/>
                  </a:cubicBezTo>
                  <a:cubicBezTo>
                    <a:pt x="1435" y="13868"/>
                    <a:pt x="1495" y="13934"/>
                    <a:pt x="1572" y="13983"/>
                  </a:cubicBezTo>
                  <a:cubicBezTo>
                    <a:pt x="1705" y="14072"/>
                    <a:pt x="1961" y="14092"/>
                    <a:pt x="2187" y="14092"/>
                  </a:cubicBezTo>
                  <a:cubicBezTo>
                    <a:pt x="2289" y="14092"/>
                    <a:pt x="2385" y="14088"/>
                    <a:pt x="2461" y="14085"/>
                  </a:cubicBezTo>
                  <a:cubicBezTo>
                    <a:pt x="2517" y="14085"/>
                    <a:pt x="2566" y="14081"/>
                    <a:pt x="2601" y="14081"/>
                  </a:cubicBezTo>
                  <a:cubicBezTo>
                    <a:pt x="2668" y="14081"/>
                    <a:pt x="2713" y="14036"/>
                    <a:pt x="2783" y="13959"/>
                  </a:cubicBezTo>
                  <a:cubicBezTo>
                    <a:pt x="2867" y="13871"/>
                    <a:pt x="2969" y="13763"/>
                    <a:pt x="3144" y="13756"/>
                  </a:cubicBezTo>
                  <a:cubicBezTo>
                    <a:pt x="3319" y="13748"/>
                    <a:pt x="3347" y="13713"/>
                    <a:pt x="3406" y="13619"/>
                  </a:cubicBezTo>
                  <a:cubicBezTo>
                    <a:pt x="3427" y="13591"/>
                    <a:pt x="3452" y="13552"/>
                    <a:pt x="3483" y="13514"/>
                  </a:cubicBezTo>
                  <a:cubicBezTo>
                    <a:pt x="3570" y="13403"/>
                    <a:pt x="3788" y="13368"/>
                    <a:pt x="4124" y="13368"/>
                  </a:cubicBezTo>
                  <a:cubicBezTo>
                    <a:pt x="4317" y="13368"/>
                    <a:pt x="4551" y="13380"/>
                    <a:pt x="4821" y="13395"/>
                  </a:cubicBezTo>
                  <a:lnTo>
                    <a:pt x="4943" y="13402"/>
                  </a:lnTo>
                  <a:cubicBezTo>
                    <a:pt x="4995" y="13405"/>
                    <a:pt x="5045" y="13407"/>
                    <a:pt x="5094" y="13407"/>
                  </a:cubicBezTo>
                  <a:cubicBezTo>
                    <a:pt x="5536" y="13407"/>
                    <a:pt x="5804" y="13276"/>
                    <a:pt x="5899" y="13020"/>
                  </a:cubicBezTo>
                  <a:cubicBezTo>
                    <a:pt x="5958" y="12859"/>
                    <a:pt x="6148" y="12793"/>
                    <a:pt x="6337" y="12730"/>
                  </a:cubicBezTo>
                  <a:cubicBezTo>
                    <a:pt x="6456" y="12688"/>
                    <a:pt x="6578" y="12646"/>
                    <a:pt x="6641" y="12583"/>
                  </a:cubicBezTo>
                  <a:cubicBezTo>
                    <a:pt x="6799" y="12438"/>
                    <a:pt x="6942" y="12398"/>
                    <a:pt x="7212" y="12398"/>
                  </a:cubicBezTo>
                  <a:cubicBezTo>
                    <a:pt x="7296" y="12398"/>
                    <a:pt x="7391" y="12402"/>
                    <a:pt x="7502" y="12408"/>
                  </a:cubicBezTo>
                  <a:cubicBezTo>
                    <a:pt x="7522" y="12409"/>
                    <a:pt x="7541" y="12409"/>
                    <a:pt x="7560" y="12409"/>
                  </a:cubicBezTo>
                  <a:cubicBezTo>
                    <a:pt x="7902" y="12409"/>
                    <a:pt x="8224" y="12265"/>
                    <a:pt x="8490" y="12149"/>
                  </a:cubicBezTo>
                  <a:cubicBezTo>
                    <a:pt x="8560" y="12117"/>
                    <a:pt x="8626" y="12086"/>
                    <a:pt x="8689" y="12061"/>
                  </a:cubicBezTo>
                  <a:cubicBezTo>
                    <a:pt x="8871" y="11988"/>
                    <a:pt x="9134" y="11974"/>
                    <a:pt x="9386" y="11960"/>
                  </a:cubicBezTo>
                  <a:cubicBezTo>
                    <a:pt x="9540" y="11956"/>
                    <a:pt x="9697" y="11942"/>
                    <a:pt x="9848" y="11911"/>
                  </a:cubicBezTo>
                  <a:cubicBezTo>
                    <a:pt x="9875" y="11904"/>
                    <a:pt x="9901" y="11901"/>
                    <a:pt x="9925" y="11901"/>
                  </a:cubicBezTo>
                  <a:cubicBezTo>
                    <a:pt x="10064" y="11901"/>
                    <a:pt x="10152" y="11995"/>
                    <a:pt x="10233" y="12079"/>
                  </a:cubicBezTo>
                  <a:cubicBezTo>
                    <a:pt x="10312" y="12164"/>
                    <a:pt x="10380" y="12239"/>
                    <a:pt x="10489" y="12239"/>
                  </a:cubicBezTo>
                  <a:cubicBezTo>
                    <a:pt x="10500" y="12239"/>
                    <a:pt x="10512" y="12238"/>
                    <a:pt x="10524" y="12236"/>
                  </a:cubicBezTo>
                  <a:cubicBezTo>
                    <a:pt x="10559" y="12233"/>
                    <a:pt x="10593" y="12231"/>
                    <a:pt x="10628" y="12231"/>
                  </a:cubicBezTo>
                  <a:cubicBezTo>
                    <a:pt x="10749" y="12231"/>
                    <a:pt x="10869" y="12251"/>
                    <a:pt x="10986" y="12289"/>
                  </a:cubicBezTo>
                  <a:cubicBezTo>
                    <a:pt x="11045" y="12310"/>
                    <a:pt x="11108" y="12324"/>
                    <a:pt x="11171" y="12324"/>
                  </a:cubicBezTo>
                  <a:cubicBezTo>
                    <a:pt x="11181" y="12322"/>
                    <a:pt x="11192" y="12322"/>
                    <a:pt x="11202" y="12322"/>
                  </a:cubicBezTo>
                  <a:cubicBezTo>
                    <a:pt x="11272" y="12322"/>
                    <a:pt x="11342" y="12353"/>
                    <a:pt x="11388" y="12411"/>
                  </a:cubicBezTo>
                  <a:cubicBezTo>
                    <a:pt x="11420" y="12446"/>
                    <a:pt x="11458" y="12471"/>
                    <a:pt x="11504" y="12481"/>
                  </a:cubicBezTo>
                  <a:cubicBezTo>
                    <a:pt x="11577" y="12488"/>
                    <a:pt x="11637" y="12537"/>
                    <a:pt x="11668" y="12600"/>
                  </a:cubicBezTo>
                  <a:cubicBezTo>
                    <a:pt x="11700" y="12684"/>
                    <a:pt x="11672" y="12793"/>
                    <a:pt x="11581" y="12922"/>
                  </a:cubicBezTo>
                  <a:cubicBezTo>
                    <a:pt x="11577" y="12926"/>
                    <a:pt x="11577" y="12933"/>
                    <a:pt x="11574" y="12936"/>
                  </a:cubicBezTo>
                  <a:cubicBezTo>
                    <a:pt x="11609" y="12964"/>
                    <a:pt x="11644" y="12985"/>
                    <a:pt x="11682" y="13003"/>
                  </a:cubicBezTo>
                  <a:cubicBezTo>
                    <a:pt x="11833" y="13073"/>
                    <a:pt x="11966" y="13178"/>
                    <a:pt x="12067" y="13311"/>
                  </a:cubicBezTo>
                  <a:cubicBezTo>
                    <a:pt x="12214" y="13510"/>
                    <a:pt x="12197" y="13622"/>
                    <a:pt x="12179" y="13724"/>
                  </a:cubicBezTo>
                  <a:cubicBezTo>
                    <a:pt x="12162" y="13791"/>
                    <a:pt x="12172" y="13864"/>
                    <a:pt x="12204" y="13927"/>
                  </a:cubicBezTo>
                  <a:cubicBezTo>
                    <a:pt x="12256" y="14029"/>
                    <a:pt x="12284" y="14036"/>
                    <a:pt x="12288" y="14036"/>
                  </a:cubicBezTo>
                  <a:cubicBezTo>
                    <a:pt x="12340" y="14036"/>
                    <a:pt x="12484" y="13836"/>
                    <a:pt x="12540" y="13759"/>
                  </a:cubicBezTo>
                  <a:cubicBezTo>
                    <a:pt x="12628" y="13626"/>
                    <a:pt x="12771" y="13535"/>
                    <a:pt x="12929" y="13507"/>
                  </a:cubicBezTo>
                  <a:cubicBezTo>
                    <a:pt x="13027" y="13486"/>
                    <a:pt x="13058" y="13475"/>
                    <a:pt x="13072" y="13377"/>
                  </a:cubicBezTo>
                  <a:cubicBezTo>
                    <a:pt x="13100" y="13160"/>
                    <a:pt x="13247" y="12884"/>
                    <a:pt x="13429" y="12817"/>
                  </a:cubicBezTo>
                  <a:cubicBezTo>
                    <a:pt x="13455" y="12806"/>
                    <a:pt x="13482" y="12800"/>
                    <a:pt x="13509" y="12800"/>
                  </a:cubicBezTo>
                  <a:cubicBezTo>
                    <a:pt x="13557" y="12800"/>
                    <a:pt x="13605" y="12817"/>
                    <a:pt x="13643" y="12849"/>
                  </a:cubicBezTo>
                  <a:cubicBezTo>
                    <a:pt x="13776" y="12961"/>
                    <a:pt x="13709" y="13066"/>
                    <a:pt x="13639" y="13174"/>
                  </a:cubicBezTo>
                  <a:cubicBezTo>
                    <a:pt x="13538" y="13332"/>
                    <a:pt x="13468" y="13507"/>
                    <a:pt x="13433" y="13689"/>
                  </a:cubicBezTo>
                  <a:cubicBezTo>
                    <a:pt x="13366" y="14036"/>
                    <a:pt x="13261" y="14106"/>
                    <a:pt x="13114" y="14109"/>
                  </a:cubicBezTo>
                  <a:lnTo>
                    <a:pt x="13093" y="14109"/>
                  </a:lnTo>
                  <a:lnTo>
                    <a:pt x="13093" y="14116"/>
                  </a:lnTo>
                  <a:cubicBezTo>
                    <a:pt x="13099" y="14138"/>
                    <a:pt x="13181" y="14178"/>
                    <a:pt x="13282" y="14178"/>
                  </a:cubicBezTo>
                  <a:cubicBezTo>
                    <a:pt x="13296" y="14178"/>
                    <a:pt x="13310" y="14177"/>
                    <a:pt x="13324" y="14176"/>
                  </a:cubicBezTo>
                  <a:cubicBezTo>
                    <a:pt x="13394" y="14169"/>
                    <a:pt x="13475" y="14141"/>
                    <a:pt x="13475" y="14053"/>
                  </a:cubicBezTo>
                  <a:cubicBezTo>
                    <a:pt x="13475" y="13843"/>
                    <a:pt x="13520" y="13724"/>
                    <a:pt x="13611" y="13692"/>
                  </a:cubicBezTo>
                  <a:cubicBezTo>
                    <a:pt x="13627" y="13687"/>
                    <a:pt x="13642" y="13684"/>
                    <a:pt x="13658" y="13684"/>
                  </a:cubicBezTo>
                  <a:cubicBezTo>
                    <a:pt x="13766" y="13684"/>
                    <a:pt x="13861" y="13811"/>
                    <a:pt x="13895" y="13854"/>
                  </a:cubicBezTo>
                  <a:cubicBezTo>
                    <a:pt x="14052" y="14057"/>
                    <a:pt x="13951" y="14242"/>
                    <a:pt x="13881" y="14365"/>
                  </a:cubicBezTo>
                  <a:cubicBezTo>
                    <a:pt x="13860" y="14400"/>
                    <a:pt x="13825" y="14463"/>
                    <a:pt x="13832" y="14477"/>
                  </a:cubicBezTo>
                  <a:cubicBezTo>
                    <a:pt x="13836" y="14479"/>
                    <a:pt x="13842" y="14480"/>
                    <a:pt x="13850" y="14480"/>
                  </a:cubicBezTo>
                  <a:cubicBezTo>
                    <a:pt x="13885" y="14480"/>
                    <a:pt x="13948" y="14460"/>
                    <a:pt x="13982" y="14449"/>
                  </a:cubicBezTo>
                  <a:cubicBezTo>
                    <a:pt x="14045" y="14424"/>
                    <a:pt x="14112" y="14410"/>
                    <a:pt x="14178" y="14410"/>
                  </a:cubicBezTo>
                  <a:cubicBezTo>
                    <a:pt x="14315" y="14424"/>
                    <a:pt x="14438" y="14564"/>
                    <a:pt x="14497" y="14645"/>
                  </a:cubicBezTo>
                  <a:cubicBezTo>
                    <a:pt x="14623" y="14809"/>
                    <a:pt x="14732" y="15058"/>
                    <a:pt x="14697" y="15240"/>
                  </a:cubicBezTo>
                  <a:lnTo>
                    <a:pt x="14690" y="15282"/>
                  </a:lnTo>
                  <a:cubicBezTo>
                    <a:pt x="14644" y="15516"/>
                    <a:pt x="14606" y="15702"/>
                    <a:pt x="14952" y="15874"/>
                  </a:cubicBezTo>
                  <a:cubicBezTo>
                    <a:pt x="15057" y="15923"/>
                    <a:pt x="15155" y="15986"/>
                    <a:pt x="15250" y="16056"/>
                  </a:cubicBezTo>
                  <a:cubicBezTo>
                    <a:pt x="15313" y="16105"/>
                    <a:pt x="15320" y="16108"/>
                    <a:pt x="15481" y="16108"/>
                  </a:cubicBezTo>
                  <a:cubicBezTo>
                    <a:pt x="15792" y="16108"/>
                    <a:pt x="16443" y="16353"/>
                    <a:pt x="16626" y="16514"/>
                  </a:cubicBezTo>
                  <a:cubicBezTo>
                    <a:pt x="16649" y="16534"/>
                    <a:pt x="16679" y="16541"/>
                    <a:pt x="16710" y="16541"/>
                  </a:cubicBezTo>
                  <a:cubicBezTo>
                    <a:pt x="16745" y="16541"/>
                    <a:pt x="16780" y="16532"/>
                    <a:pt x="16804" y="16525"/>
                  </a:cubicBezTo>
                  <a:cubicBezTo>
                    <a:pt x="16962" y="16479"/>
                    <a:pt x="17161" y="16318"/>
                    <a:pt x="17210" y="16143"/>
                  </a:cubicBezTo>
                  <a:cubicBezTo>
                    <a:pt x="17259" y="15982"/>
                    <a:pt x="17368" y="15968"/>
                    <a:pt x="17410" y="15968"/>
                  </a:cubicBezTo>
                  <a:cubicBezTo>
                    <a:pt x="17504" y="15975"/>
                    <a:pt x="17588" y="16038"/>
                    <a:pt x="17616" y="16133"/>
                  </a:cubicBezTo>
                  <a:cubicBezTo>
                    <a:pt x="17620" y="16147"/>
                    <a:pt x="17620" y="16164"/>
                    <a:pt x="17620" y="16182"/>
                  </a:cubicBezTo>
                  <a:cubicBezTo>
                    <a:pt x="17634" y="16168"/>
                    <a:pt x="17655" y="16157"/>
                    <a:pt x="17672" y="16157"/>
                  </a:cubicBezTo>
                  <a:lnTo>
                    <a:pt x="17686" y="16157"/>
                  </a:lnTo>
                  <a:cubicBezTo>
                    <a:pt x="17739" y="16157"/>
                    <a:pt x="17781" y="16199"/>
                    <a:pt x="17809" y="16287"/>
                  </a:cubicBezTo>
                  <a:cubicBezTo>
                    <a:pt x="17837" y="16364"/>
                    <a:pt x="17900" y="16399"/>
                    <a:pt x="17973" y="16441"/>
                  </a:cubicBezTo>
                  <a:cubicBezTo>
                    <a:pt x="18054" y="16476"/>
                    <a:pt x="18120" y="16532"/>
                    <a:pt x="18169" y="16602"/>
                  </a:cubicBezTo>
                  <a:cubicBezTo>
                    <a:pt x="18187" y="16637"/>
                    <a:pt x="18208" y="16672"/>
                    <a:pt x="18232" y="16703"/>
                  </a:cubicBezTo>
                  <a:cubicBezTo>
                    <a:pt x="18253" y="16563"/>
                    <a:pt x="18348" y="16465"/>
                    <a:pt x="18512" y="16406"/>
                  </a:cubicBezTo>
                  <a:cubicBezTo>
                    <a:pt x="18653" y="16353"/>
                    <a:pt x="18754" y="16266"/>
                    <a:pt x="18884" y="16154"/>
                  </a:cubicBezTo>
                  <a:cubicBezTo>
                    <a:pt x="18926" y="16115"/>
                    <a:pt x="18968" y="16080"/>
                    <a:pt x="19017" y="16038"/>
                  </a:cubicBezTo>
                  <a:cubicBezTo>
                    <a:pt x="19234" y="15860"/>
                    <a:pt x="20018" y="15825"/>
                    <a:pt x="20172" y="15821"/>
                  </a:cubicBezTo>
                  <a:cubicBezTo>
                    <a:pt x="20210" y="15730"/>
                    <a:pt x="20252" y="15338"/>
                    <a:pt x="20277" y="15100"/>
                  </a:cubicBezTo>
                  <a:cubicBezTo>
                    <a:pt x="20291" y="14981"/>
                    <a:pt x="20301" y="14865"/>
                    <a:pt x="20312" y="14774"/>
                  </a:cubicBezTo>
                  <a:cubicBezTo>
                    <a:pt x="20340" y="14571"/>
                    <a:pt x="20434" y="14452"/>
                    <a:pt x="20529" y="14337"/>
                  </a:cubicBezTo>
                  <a:cubicBezTo>
                    <a:pt x="20620" y="14218"/>
                    <a:pt x="20704" y="14120"/>
                    <a:pt x="20725" y="13934"/>
                  </a:cubicBezTo>
                  <a:cubicBezTo>
                    <a:pt x="20774" y="13549"/>
                    <a:pt x="21198" y="12754"/>
                    <a:pt x="21352" y="12705"/>
                  </a:cubicBezTo>
                  <a:cubicBezTo>
                    <a:pt x="21415" y="12684"/>
                    <a:pt x="21625" y="12597"/>
                    <a:pt x="21635" y="12387"/>
                  </a:cubicBezTo>
                  <a:cubicBezTo>
                    <a:pt x="21642" y="12264"/>
                    <a:pt x="21709" y="12149"/>
                    <a:pt x="21779" y="12023"/>
                  </a:cubicBezTo>
                  <a:cubicBezTo>
                    <a:pt x="21849" y="11897"/>
                    <a:pt x="21926" y="11760"/>
                    <a:pt x="21926" y="11627"/>
                  </a:cubicBezTo>
                  <a:cubicBezTo>
                    <a:pt x="21926" y="11462"/>
                    <a:pt x="21978" y="11287"/>
                    <a:pt x="22017" y="11147"/>
                  </a:cubicBezTo>
                  <a:cubicBezTo>
                    <a:pt x="22038" y="11084"/>
                    <a:pt x="22055" y="11021"/>
                    <a:pt x="22062" y="10955"/>
                  </a:cubicBezTo>
                  <a:lnTo>
                    <a:pt x="22055" y="10937"/>
                  </a:lnTo>
                  <a:cubicBezTo>
                    <a:pt x="22024" y="10832"/>
                    <a:pt x="21943" y="10556"/>
                    <a:pt x="22139" y="10349"/>
                  </a:cubicBezTo>
                  <a:cubicBezTo>
                    <a:pt x="22213" y="10269"/>
                    <a:pt x="22192" y="10188"/>
                    <a:pt x="22153" y="10073"/>
                  </a:cubicBezTo>
                  <a:cubicBezTo>
                    <a:pt x="22129" y="9985"/>
                    <a:pt x="22097" y="9891"/>
                    <a:pt x="22174" y="9831"/>
                  </a:cubicBezTo>
                  <a:cubicBezTo>
                    <a:pt x="22185" y="9800"/>
                    <a:pt x="22185" y="9765"/>
                    <a:pt x="22174" y="9730"/>
                  </a:cubicBezTo>
                  <a:cubicBezTo>
                    <a:pt x="22160" y="9663"/>
                    <a:pt x="22136" y="9604"/>
                    <a:pt x="22097" y="9547"/>
                  </a:cubicBezTo>
                  <a:cubicBezTo>
                    <a:pt x="22088" y="9552"/>
                    <a:pt x="22077" y="9554"/>
                    <a:pt x="22068" y="9554"/>
                  </a:cubicBezTo>
                  <a:cubicBezTo>
                    <a:pt x="22052" y="9554"/>
                    <a:pt x="22038" y="9549"/>
                    <a:pt x="22027" y="9540"/>
                  </a:cubicBezTo>
                  <a:cubicBezTo>
                    <a:pt x="21898" y="9456"/>
                    <a:pt x="21957" y="8735"/>
                    <a:pt x="21992" y="8560"/>
                  </a:cubicBezTo>
                  <a:cubicBezTo>
                    <a:pt x="21999" y="8525"/>
                    <a:pt x="22003" y="8497"/>
                    <a:pt x="22010" y="8473"/>
                  </a:cubicBezTo>
                  <a:lnTo>
                    <a:pt x="22010" y="8473"/>
                  </a:lnTo>
                  <a:lnTo>
                    <a:pt x="21968" y="8511"/>
                  </a:lnTo>
                  <a:cubicBezTo>
                    <a:pt x="21937" y="8545"/>
                    <a:pt x="21894" y="8563"/>
                    <a:pt x="21849" y="8563"/>
                  </a:cubicBezTo>
                  <a:cubicBezTo>
                    <a:pt x="21839" y="8563"/>
                    <a:pt x="21828" y="8562"/>
                    <a:pt x="21817" y="8560"/>
                  </a:cubicBezTo>
                  <a:cubicBezTo>
                    <a:pt x="21635" y="8515"/>
                    <a:pt x="21513" y="8105"/>
                    <a:pt x="21495" y="8060"/>
                  </a:cubicBezTo>
                  <a:cubicBezTo>
                    <a:pt x="21459" y="7940"/>
                    <a:pt x="21313" y="7690"/>
                    <a:pt x="21172" y="7690"/>
                  </a:cubicBezTo>
                  <a:cubicBezTo>
                    <a:pt x="21164" y="7690"/>
                    <a:pt x="21157" y="7690"/>
                    <a:pt x="21149" y="7692"/>
                  </a:cubicBezTo>
                  <a:cubicBezTo>
                    <a:pt x="21134" y="7697"/>
                    <a:pt x="21118" y="7699"/>
                    <a:pt x="21102" y="7699"/>
                  </a:cubicBezTo>
                  <a:cubicBezTo>
                    <a:pt x="21073" y="7699"/>
                    <a:pt x="21044" y="7692"/>
                    <a:pt x="21019" y="7678"/>
                  </a:cubicBezTo>
                  <a:cubicBezTo>
                    <a:pt x="20960" y="7643"/>
                    <a:pt x="20946" y="7573"/>
                    <a:pt x="20932" y="7517"/>
                  </a:cubicBezTo>
                  <a:cubicBezTo>
                    <a:pt x="20915" y="7452"/>
                    <a:pt x="20910" y="7437"/>
                    <a:pt x="20895" y="7437"/>
                  </a:cubicBezTo>
                  <a:cubicBezTo>
                    <a:pt x="20890" y="7437"/>
                    <a:pt x="20885" y="7438"/>
                    <a:pt x="20879" y="7440"/>
                  </a:cubicBezTo>
                  <a:cubicBezTo>
                    <a:pt x="20865" y="7443"/>
                    <a:pt x="20851" y="7445"/>
                    <a:pt x="20836" y="7445"/>
                  </a:cubicBezTo>
                  <a:cubicBezTo>
                    <a:pt x="20787" y="7445"/>
                    <a:pt x="20739" y="7426"/>
                    <a:pt x="20704" y="7391"/>
                  </a:cubicBezTo>
                  <a:cubicBezTo>
                    <a:pt x="20564" y="7258"/>
                    <a:pt x="20588" y="6932"/>
                    <a:pt x="20606" y="6796"/>
                  </a:cubicBezTo>
                  <a:cubicBezTo>
                    <a:pt x="20609" y="6771"/>
                    <a:pt x="20609" y="6743"/>
                    <a:pt x="20609" y="6715"/>
                  </a:cubicBezTo>
                  <a:lnTo>
                    <a:pt x="20609" y="6715"/>
                  </a:lnTo>
                  <a:lnTo>
                    <a:pt x="20592" y="6719"/>
                  </a:lnTo>
                  <a:cubicBezTo>
                    <a:pt x="20576" y="6723"/>
                    <a:pt x="20554" y="6727"/>
                    <a:pt x="20530" y="6727"/>
                  </a:cubicBezTo>
                  <a:cubicBezTo>
                    <a:pt x="20487" y="6727"/>
                    <a:pt x="20438" y="6713"/>
                    <a:pt x="20399" y="6659"/>
                  </a:cubicBezTo>
                  <a:cubicBezTo>
                    <a:pt x="20386" y="6640"/>
                    <a:pt x="20375" y="6630"/>
                    <a:pt x="20356" y="6630"/>
                  </a:cubicBezTo>
                  <a:cubicBezTo>
                    <a:pt x="20337" y="6630"/>
                    <a:pt x="20308" y="6641"/>
                    <a:pt x="20256" y="6666"/>
                  </a:cubicBezTo>
                  <a:cubicBezTo>
                    <a:pt x="20224" y="6684"/>
                    <a:pt x="20193" y="6698"/>
                    <a:pt x="20158" y="6712"/>
                  </a:cubicBezTo>
                  <a:cubicBezTo>
                    <a:pt x="20143" y="6717"/>
                    <a:pt x="20127" y="6720"/>
                    <a:pt x="20111" y="6720"/>
                  </a:cubicBezTo>
                  <a:cubicBezTo>
                    <a:pt x="20076" y="6720"/>
                    <a:pt x="20041" y="6707"/>
                    <a:pt x="20014" y="6680"/>
                  </a:cubicBezTo>
                  <a:cubicBezTo>
                    <a:pt x="19923" y="6593"/>
                    <a:pt x="19906" y="6365"/>
                    <a:pt x="19941" y="6253"/>
                  </a:cubicBezTo>
                  <a:cubicBezTo>
                    <a:pt x="19972" y="6152"/>
                    <a:pt x="19906" y="6033"/>
                    <a:pt x="19759" y="5924"/>
                  </a:cubicBezTo>
                  <a:cubicBezTo>
                    <a:pt x="19549" y="5770"/>
                    <a:pt x="19538" y="5630"/>
                    <a:pt x="19549" y="5473"/>
                  </a:cubicBezTo>
                  <a:cubicBezTo>
                    <a:pt x="19496" y="5339"/>
                    <a:pt x="18589" y="4849"/>
                    <a:pt x="18341" y="4797"/>
                  </a:cubicBezTo>
                  <a:cubicBezTo>
                    <a:pt x="18141" y="4755"/>
                    <a:pt x="18166" y="4594"/>
                    <a:pt x="18176" y="4506"/>
                  </a:cubicBezTo>
                  <a:cubicBezTo>
                    <a:pt x="18183" y="4468"/>
                    <a:pt x="18190" y="4419"/>
                    <a:pt x="18176" y="4405"/>
                  </a:cubicBezTo>
                  <a:cubicBezTo>
                    <a:pt x="18036" y="4282"/>
                    <a:pt x="18022" y="3866"/>
                    <a:pt x="18022" y="3691"/>
                  </a:cubicBezTo>
                  <a:cubicBezTo>
                    <a:pt x="18022" y="3579"/>
                    <a:pt x="17945" y="3505"/>
                    <a:pt x="17865" y="3425"/>
                  </a:cubicBezTo>
                  <a:cubicBezTo>
                    <a:pt x="17781" y="3344"/>
                    <a:pt x="17690" y="3249"/>
                    <a:pt x="17693" y="3116"/>
                  </a:cubicBezTo>
                  <a:cubicBezTo>
                    <a:pt x="17693" y="3022"/>
                    <a:pt x="17683" y="2924"/>
                    <a:pt x="17658" y="2833"/>
                  </a:cubicBezTo>
                  <a:cubicBezTo>
                    <a:pt x="17627" y="2707"/>
                    <a:pt x="17613" y="2577"/>
                    <a:pt x="17623" y="2448"/>
                  </a:cubicBezTo>
                  <a:cubicBezTo>
                    <a:pt x="17630" y="2353"/>
                    <a:pt x="17553" y="2294"/>
                    <a:pt x="17434" y="2220"/>
                  </a:cubicBezTo>
                  <a:cubicBezTo>
                    <a:pt x="17347" y="2164"/>
                    <a:pt x="17266" y="2112"/>
                    <a:pt x="17259" y="2024"/>
                  </a:cubicBezTo>
                  <a:cubicBezTo>
                    <a:pt x="17210" y="2028"/>
                    <a:pt x="17158" y="2038"/>
                    <a:pt x="17112" y="2052"/>
                  </a:cubicBezTo>
                  <a:cubicBezTo>
                    <a:pt x="17046" y="2073"/>
                    <a:pt x="16976" y="2087"/>
                    <a:pt x="16909" y="2098"/>
                  </a:cubicBezTo>
                  <a:cubicBezTo>
                    <a:pt x="16898" y="2099"/>
                    <a:pt x="16888" y="2100"/>
                    <a:pt x="16877" y="2100"/>
                  </a:cubicBezTo>
                  <a:cubicBezTo>
                    <a:pt x="16826" y="2100"/>
                    <a:pt x="16779" y="2080"/>
                    <a:pt x="16741" y="2045"/>
                  </a:cubicBezTo>
                  <a:cubicBezTo>
                    <a:pt x="16636" y="1944"/>
                    <a:pt x="16647" y="1720"/>
                    <a:pt x="16664" y="1482"/>
                  </a:cubicBezTo>
                  <a:cubicBezTo>
                    <a:pt x="16689" y="1219"/>
                    <a:pt x="16584" y="781"/>
                    <a:pt x="16436" y="666"/>
                  </a:cubicBezTo>
                  <a:cubicBezTo>
                    <a:pt x="16317" y="571"/>
                    <a:pt x="16272" y="372"/>
                    <a:pt x="16230" y="197"/>
                  </a:cubicBezTo>
                  <a:cubicBezTo>
                    <a:pt x="16216" y="130"/>
                    <a:pt x="16198" y="64"/>
                    <a:pt x="1617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4" name="Google Shape;7281;p64">
              <a:extLst>
                <a:ext uri="{FF2B5EF4-FFF2-40B4-BE49-F238E27FC236}">
                  <a16:creationId xmlns:a16="http://schemas.microsoft.com/office/drawing/2014/main" id="{CC383706-3CA5-805F-D323-FB0D42BDAB69}"/>
                </a:ext>
              </a:extLst>
            </p:cNvPr>
            <p:cNvSpPr/>
            <p:nvPr/>
          </p:nvSpPr>
          <p:spPr>
            <a:xfrm>
              <a:off x="3006548" y="2132321"/>
              <a:ext cx="7861" cy="1765"/>
            </a:xfrm>
            <a:custGeom>
              <a:avLst/>
              <a:gdLst/>
              <a:ahLst/>
              <a:cxnLst/>
              <a:rect l="l" t="t" r="r" b="b"/>
              <a:pathLst>
                <a:path w="579" h="130" extrusionOk="0">
                  <a:moveTo>
                    <a:pt x="463" y="0"/>
                  </a:moveTo>
                  <a:cubicBezTo>
                    <a:pt x="399" y="0"/>
                    <a:pt x="335" y="9"/>
                    <a:pt x="274" y="24"/>
                  </a:cubicBezTo>
                  <a:cubicBezTo>
                    <a:pt x="179" y="34"/>
                    <a:pt x="85" y="66"/>
                    <a:pt x="1" y="115"/>
                  </a:cubicBezTo>
                  <a:cubicBezTo>
                    <a:pt x="23" y="124"/>
                    <a:pt x="64" y="129"/>
                    <a:pt x="117" y="129"/>
                  </a:cubicBezTo>
                  <a:cubicBezTo>
                    <a:pt x="190" y="129"/>
                    <a:pt x="286" y="119"/>
                    <a:pt x="389" y="90"/>
                  </a:cubicBezTo>
                  <a:cubicBezTo>
                    <a:pt x="456" y="76"/>
                    <a:pt x="522" y="48"/>
                    <a:pt x="578" y="10"/>
                  </a:cubicBezTo>
                  <a:cubicBezTo>
                    <a:pt x="540" y="3"/>
                    <a:pt x="501" y="0"/>
                    <a:pt x="4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5" name="Google Shape;7282;p64">
              <a:extLst>
                <a:ext uri="{FF2B5EF4-FFF2-40B4-BE49-F238E27FC236}">
                  <a16:creationId xmlns:a16="http://schemas.microsoft.com/office/drawing/2014/main" id="{9B4D10CC-6FEC-6D3F-5C38-AAA486720149}"/>
                </a:ext>
              </a:extLst>
            </p:cNvPr>
            <p:cNvSpPr/>
            <p:nvPr/>
          </p:nvSpPr>
          <p:spPr>
            <a:xfrm>
              <a:off x="3116594" y="2348014"/>
              <a:ext cx="679" cy="1344"/>
            </a:xfrm>
            <a:custGeom>
              <a:avLst/>
              <a:gdLst/>
              <a:ahLst/>
              <a:cxnLst/>
              <a:rect l="l" t="t" r="r" b="b"/>
              <a:pathLst>
                <a:path w="50" h="99" extrusionOk="0">
                  <a:moveTo>
                    <a:pt x="49" y="0"/>
                  </a:moveTo>
                  <a:lnTo>
                    <a:pt x="49" y="0"/>
                  </a:lnTo>
                  <a:cubicBezTo>
                    <a:pt x="42" y="4"/>
                    <a:pt x="35" y="7"/>
                    <a:pt x="28" y="14"/>
                  </a:cubicBezTo>
                  <a:cubicBezTo>
                    <a:pt x="0" y="28"/>
                    <a:pt x="4" y="42"/>
                    <a:pt x="4" y="53"/>
                  </a:cubicBezTo>
                  <a:cubicBezTo>
                    <a:pt x="7" y="70"/>
                    <a:pt x="18" y="84"/>
                    <a:pt x="32" y="98"/>
                  </a:cubicBezTo>
                  <a:cubicBezTo>
                    <a:pt x="35" y="63"/>
                    <a:pt x="39" y="32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6" name="Google Shape;7283;p64">
              <a:extLst>
                <a:ext uri="{FF2B5EF4-FFF2-40B4-BE49-F238E27FC236}">
                  <a16:creationId xmlns:a16="http://schemas.microsoft.com/office/drawing/2014/main" id="{A5BBF5DF-A85F-6DC9-F0A7-C9021BAD63FD}"/>
                </a:ext>
              </a:extLst>
            </p:cNvPr>
            <p:cNvSpPr/>
            <p:nvPr/>
          </p:nvSpPr>
          <p:spPr>
            <a:xfrm>
              <a:off x="3114883" y="2370254"/>
              <a:ext cx="25675" cy="24575"/>
            </a:xfrm>
            <a:custGeom>
              <a:avLst/>
              <a:gdLst/>
              <a:ahLst/>
              <a:cxnLst/>
              <a:rect l="l" t="t" r="r" b="b"/>
              <a:pathLst>
                <a:path w="1891" h="1810" extrusionOk="0">
                  <a:moveTo>
                    <a:pt x="0" y="1"/>
                  </a:moveTo>
                  <a:lnTo>
                    <a:pt x="0" y="1"/>
                  </a:lnTo>
                  <a:cubicBezTo>
                    <a:pt x="32" y="95"/>
                    <a:pt x="70" y="190"/>
                    <a:pt x="112" y="281"/>
                  </a:cubicBezTo>
                  <a:cubicBezTo>
                    <a:pt x="238" y="575"/>
                    <a:pt x="382" y="907"/>
                    <a:pt x="259" y="1061"/>
                  </a:cubicBezTo>
                  <a:cubicBezTo>
                    <a:pt x="235" y="1093"/>
                    <a:pt x="249" y="1145"/>
                    <a:pt x="263" y="1184"/>
                  </a:cubicBezTo>
                  <a:cubicBezTo>
                    <a:pt x="361" y="1432"/>
                    <a:pt x="791" y="1782"/>
                    <a:pt x="945" y="1807"/>
                  </a:cubicBezTo>
                  <a:cubicBezTo>
                    <a:pt x="957" y="1808"/>
                    <a:pt x="967" y="1809"/>
                    <a:pt x="976" y="1809"/>
                  </a:cubicBezTo>
                  <a:cubicBezTo>
                    <a:pt x="1026" y="1809"/>
                    <a:pt x="1037" y="1783"/>
                    <a:pt x="1061" y="1726"/>
                  </a:cubicBezTo>
                  <a:cubicBezTo>
                    <a:pt x="1085" y="1672"/>
                    <a:pt x="1124" y="1586"/>
                    <a:pt x="1231" y="1586"/>
                  </a:cubicBezTo>
                  <a:cubicBezTo>
                    <a:pt x="1235" y="1586"/>
                    <a:pt x="1239" y="1586"/>
                    <a:pt x="1243" y="1586"/>
                  </a:cubicBezTo>
                  <a:cubicBezTo>
                    <a:pt x="1247" y="1588"/>
                    <a:pt x="1252" y="1589"/>
                    <a:pt x="1256" y="1589"/>
                  </a:cubicBezTo>
                  <a:cubicBezTo>
                    <a:pt x="1262" y="1589"/>
                    <a:pt x="1268" y="1587"/>
                    <a:pt x="1275" y="1583"/>
                  </a:cubicBezTo>
                  <a:cubicBezTo>
                    <a:pt x="1285" y="1551"/>
                    <a:pt x="1289" y="1516"/>
                    <a:pt x="1285" y="1481"/>
                  </a:cubicBezTo>
                  <a:cubicBezTo>
                    <a:pt x="1285" y="1439"/>
                    <a:pt x="1289" y="1401"/>
                    <a:pt x="1296" y="1362"/>
                  </a:cubicBezTo>
                  <a:cubicBezTo>
                    <a:pt x="1299" y="1327"/>
                    <a:pt x="1320" y="1296"/>
                    <a:pt x="1352" y="1282"/>
                  </a:cubicBezTo>
                  <a:cubicBezTo>
                    <a:pt x="1363" y="1277"/>
                    <a:pt x="1375" y="1275"/>
                    <a:pt x="1387" y="1275"/>
                  </a:cubicBezTo>
                  <a:cubicBezTo>
                    <a:pt x="1426" y="1275"/>
                    <a:pt x="1465" y="1299"/>
                    <a:pt x="1506" y="1324"/>
                  </a:cubicBezTo>
                  <a:cubicBezTo>
                    <a:pt x="1546" y="1352"/>
                    <a:pt x="1590" y="1381"/>
                    <a:pt x="1622" y="1381"/>
                  </a:cubicBezTo>
                  <a:cubicBezTo>
                    <a:pt x="1630" y="1381"/>
                    <a:pt x="1636" y="1380"/>
                    <a:pt x="1642" y="1376"/>
                  </a:cubicBezTo>
                  <a:cubicBezTo>
                    <a:pt x="1674" y="1359"/>
                    <a:pt x="1667" y="1215"/>
                    <a:pt x="1667" y="1149"/>
                  </a:cubicBezTo>
                  <a:cubicBezTo>
                    <a:pt x="1667" y="1012"/>
                    <a:pt x="1660" y="883"/>
                    <a:pt x="1730" y="816"/>
                  </a:cubicBezTo>
                  <a:cubicBezTo>
                    <a:pt x="1754" y="788"/>
                    <a:pt x="1793" y="771"/>
                    <a:pt x="1831" y="771"/>
                  </a:cubicBezTo>
                  <a:cubicBezTo>
                    <a:pt x="1835" y="771"/>
                    <a:pt x="1835" y="771"/>
                    <a:pt x="1838" y="767"/>
                  </a:cubicBezTo>
                  <a:cubicBezTo>
                    <a:pt x="1891" y="701"/>
                    <a:pt x="1849" y="372"/>
                    <a:pt x="1744" y="18"/>
                  </a:cubicBezTo>
                  <a:cubicBezTo>
                    <a:pt x="1744" y="15"/>
                    <a:pt x="1744" y="15"/>
                    <a:pt x="1737" y="11"/>
                  </a:cubicBezTo>
                  <a:cubicBezTo>
                    <a:pt x="1730" y="8"/>
                    <a:pt x="1720" y="6"/>
                    <a:pt x="1709" y="6"/>
                  </a:cubicBezTo>
                  <a:cubicBezTo>
                    <a:pt x="1635" y="6"/>
                    <a:pt x="1473" y="71"/>
                    <a:pt x="1352" y="120"/>
                  </a:cubicBezTo>
                  <a:cubicBezTo>
                    <a:pt x="1194" y="183"/>
                    <a:pt x="1033" y="249"/>
                    <a:pt x="893" y="263"/>
                  </a:cubicBezTo>
                  <a:cubicBezTo>
                    <a:pt x="873" y="265"/>
                    <a:pt x="853" y="266"/>
                    <a:pt x="832" y="266"/>
                  </a:cubicBezTo>
                  <a:cubicBezTo>
                    <a:pt x="634" y="266"/>
                    <a:pt x="404" y="167"/>
                    <a:pt x="214" y="85"/>
                  </a:cubicBezTo>
                  <a:cubicBezTo>
                    <a:pt x="144" y="53"/>
                    <a:pt x="74" y="2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7" name="Google Shape;7284;p64">
              <a:extLst>
                <a:ext uri="{FF2B5EF4-FFF2-40B4-BE49-F238E27FC236}">
                  <a16:creationId xmlns:a16="http://schemas.microsoft.com/office/drawing/2014/main" id="{9644E72C-DCD1-C74A-9BCD-A0F8865B0F1C}"/>
                </a:ext>
              </a:extLst>
            </p:cNvPr>
            <p:cNvSpPr/>
            <p:nvPr/>
          </p:nvSpPr>
          <p:spPr>
            <a:xfrm>
              <a:off x="3286190" y="2425120"/>
              <a:ext cx="2770" cy="2322"/>
            </a:xfrm>
            <a:custGeom>
              <a:avLst/>
              <a:gdLst/>
              <a:ahLst/>
              <a:cxnLst/>
              <a:rect l="l" t="t" r="r" b="b"/>
              <a:pathLst>
                <a:path w="204" h="171" extrusionOk="0">
                  <a:moveTo>
                    <a:pt x="118" y="1"/>
                  </a:moveTo>
                  <a:cubicBezTo>
                    <a:pt x="110" y="1"/>
                    <a:pt x="102" y="4"/>
                    <a:pt x="95" y="6"/>
                  </a:cubicBezTo>
                  <a:cubicBezTo>
                    <a:pt x="42" y="27"/>
                    <a:pt x="7" y="80"/>
                    <a:pt x="0" y="136"/>
                  </a:cubicBezTo>
                  <a:cubicBezTo>
                    <a:pt x="0" y="150"/>
                    <a:pt x="7" y="161"/>
                    <a:pt x="28" y="168"/>
                  </a:cubicBezTo>
                  <a:cubicBezTo>
                    <a:pt x="34" y="169"/>
                    <a:pt x="42" y="170"/>
                    <a:pt x="51" y="170"/>
                  </a:cubicBezTo>
                  <a:cubicBezTo>
                    <a:pt x="96" y="170"/>
                    <a:pt x="170" y="150"/>
                    <a:pt x="193" y="115"/>
                  </a:cubicBezTo>
                  <a:cubicBezTo>
                    <a:pt x="203" y="94"/>
                    <a:pt x="196" y="66"/>
                    <a:pt x="165" y="31"/>
                  </a:cubicBezTo>
                  <a:cubicBezTo>
                    <a:pt x="148" y="8"/>
                    <a:pt x="132" y="1"/>
                    <a:pt x="1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8" name="Google Shape;7285;p64">
              <a:extLst>
                <a:ext uri="{FF2B5EF4-FFF2-40B4-BE49-F238E27FC236}">
                  <a16:creationId xmlns:a16="http://schemas.microsoft.com/office/drawing/2014/main" id="{A49E1404-8781-08F3-FF28-D3BB3CF7E32C}"/>
                </a:ext>
              </a:extLst>
            </p:cNvPr>
            <p:cNvSpPr/>
            <p:nvPr/>
          </p:nvSpPr>
          <p:spPr>
            <a:xfrm>
              <a:off x="3278682" y="2370688"/>
              <a:ext cx="55858" cy="52287"/>
            </a:xfrm>
            <a:custGeom>
              <a:avLst/>
              <a:gdLst/>
              <a:ahLst/>
              <a:cxnLst/>
              <a:rect l="l" t="t" r="r" b="b"/>
              <a:pathLst>
                <a:path w="4114" h="3851" extrusionOk="0">
                  <a:moveTo>
                    <a:pt x="3200" y="0"/>
                  </a:moveTo>
                  <a:cubicBezTo>
                    <a:pt x="3179" y="0"/>
                    <a:pt x="3154" y="11"/>
                    <a:pt x="3140" y="28"/>
                  </a:cubicBezTo>
                  <a:cubicBezTo>
                    <a:pt x="3046" y="98"/>
                    <a:pt x="3042" y="144"/>
                    <a:pt x="3032" y="203"/>
                  </a:cubicBezTo>
                  <a:cubicBezTo>
                    <a:pt x="3025" y="277"/>
                    <a:pt x="3011" y="371"/>
                    <a:pt x="2860" y="497"/>
                  </a:cubicBezTo>
                  <a:cubicBezTo>
                    <a:pt x="2766" y="574"/>
                    <a:pt x="2696" y="676"/>
                    <a:pt x="2661" y="791"/>
                  </a:cubicBezTo>
                  <a:cubicBezTo>
                    <a:pt x="2598" y="949"/>
                    <a:pt x="2521" y="1103"/>
                    <a:pt x="2426" y="1246"/>
                  </a:cubicBezTo>
                  <a:cubicBezTo>
                    <a:pt x="2241" y="1533"/>
                    <a:pt x="1821" y="1740"/>
                    <a:pt x="1453" y="1918"/>
                  </a:cubicBezTo>
                  <a:cubicBezTo>
                    <a:pt x="1208" y="2038"/>
                    <a:pt x="980" y="2150"/>
                    <a:pt x="924" y="2241"/>
                  </a:cubicBezTo>
                  <a:cubicBezTo>
                    <a:pt x="840" y="2374"/>
                    <a:pt x="686" y="2482"/>
                    <a:pt x="532" y="2591"/>
                  </a:cubicBezTo>
                  <a:cubicBezTo>
                    <a:pt x="399" y="2689"/>
                    <a:pt x="245" y="2797"/>
                    <a:pt x="242" y="2867"/>
                  </a:cubicBezTo>
                  <a:cubicBezTo>
                    <a:pt x="235" y="2958"/>
                    <a:pt x="182" y="3032"/>
                    <a:pt x="130" y="3102"/>
                  </a:cubicBezTo>
                  <a:cubicBezTo>
                    <a:pt x="42" y="3224"/>
                    <a:pt x="0" y="3298"/>
                    <a:pt x="84" y="3420"/>
                  </a:cubicBezTo>
                  <a:cubicBezTo>
                    <a:pt x="144" y="3508"/>
                    <a:pt x="210" y="3511"/>
                    <a:pt x="298" y="3522"/>
                  </a:cubicBezTo>
                  <a:cubicBezTo>
                    <a:pt x="389" y="3529"/>
                    <a:pt x="483" y="3539"/>
                    <a:pt x="574" y="3630"/>
                  </a:cubicBezTo>
                  <a:cubicBezTo>
                    <a:pt x="620" y="3676"/>
                    <a:pt x="685" y="3701"/>
                    <a:pt x="750" y="3701"/>
                  </a:cubicBezTo>
                  <a:cubicBezTo>
                    <a:pt x="755" y="3701"/>
                    <a:pt x="759" y="3701"/>
                    <a:pt x="763" y="3700"/>
                  </a:cubicBezTo>
                  <a:cubicBezTo>
                    <a:pt x="833" y="3700"/>
                    <a:pt x="921" y="3707"/>
                    <a:pt x="973" y="3802"/>
                  </a:cubicBezTo>
                  <a:cubicBezTo>
                    <a:pt x="977" y="3809"/>
                    <a:pt x="1001" y="3830"/>
                    <a:pt x="1071" y="3844"/>
                  </a:cubicBezTo>
                  <a:cubicBezTo>
                    <a:pt x="1096" y="3848"/>
                    <a:pt x="1125" y="3850"/>
                    <a:pt x="1157" y="3850"/>
                  </a:cubicBezTo>
                  <a:cubicBezTo>
                    <a:pt x="1341" y="3850"/>
                    <a:pt x="1633" y="3776"/>
                    <a:pt x="1877" y="3553"/>
                  </a:cubicBezTo>
                  <a:cubicBezTo>
                    <a:pt x="2104" y="3350"/>
                    <a:pt x="2125" y="3214"/>
                    <a:pt x="2139" y="3116"/>
                  </a:cubicBezTo>
                  <a:cubicBezTo>
                    <a:pt x="2153" y="3046"/>
                    <a:pt x="2164" y="2972"/>
                    <a:pt x="2251" y="2916"/>
                  </a:cubicBezTo>
                  <a:cubicBezTo>
                    <a:pt x="2339" y="2864"/>
                    <a:pt x="2374" y="2734"/>
                    <a:pt x="2416" y="2605"/>
                  </a:cubicBezTo>
                  <a:cubicBezTo>
                    <a:pt x="2440" y="2524"/>
                    <a:pt x="2468" y="2447"/>
                    <a:pt x="2503" y="2374"/>
                  </a:cubicBezTo>
                  <a:lnTo>
                    <a:pt x="2521" y="2339"/>
                  </a:lnTo>
                  <a:cubicBezTo>
                    <a:pt x="2615" y="2164"/>
                    <a:pt x="2720" y="1960"/>
                    <a:pt x="3168" y="1960"/>
                  </a:cubicBezTo>
                  <a:cubicBezTo>
                    <a:pt x="3184" y="1961"/>
                    <a:pt x="3200" y="1962"/>
                    <a:pt x="3216" y="1962"/>
                  </a:cubicBezTo>
                  <a:cubicBezTo>
                    <a:pt x="3264" y="1962"/>
                    <a:pt x="3314" y="1958"/>
                    <a:pt x="3361" y="1950"/>
                  </a:cubicBezTo>
                  <a:cubicBezTo>
                    <a:pt x="3357" y="1939"/>
                    <a:pt x="3350" y="1929"/>
                    <a:pt x="3347" y="1918"/>
                  </a:cubicBezTo>
                  <a:cubicBezTo>
                    <a:pt x="3315" y="1866"/>
                    <a:pt x="3294" y="1806"/>
                    <a:pt x="3284" y="1743"/>
                  </a:cubicBezTo>
                  <a:cubicBezTo>
                    <a:pt x="3270" y="1607"/>
                    <a:pt x="3378" y="1530"/>
                    <a:pt x="3473" y="1460"/>
                  </a:cubicBezTo>
                  <a:cubicBezTo>
                    <a:pt x="3567" y="1393"/>
                    <a:pt x="3648" y="1334"/>
                    <a:pt x="3648" y="1229"/>
                  </a:cubicBezTo>
                  <a:cubicBezTo>
                    <a:pt x="3648" y="1075"/>
                    <a:pt x="3778" y="942"/>
                    <a:pt x="3904" y="816"/>
                  </a:cubicBezTo>
                  <a:cubicBezTo>
                    <a:pt x="4009" y="714"/>
                    <a:pt x="4114" y="609"/>
                    <a:pt x="4079" y="543"/>
                  </a:cubicBezTo>
                  <a:cubicBezTo>
                    <a:pt x="4033" y="452"/>
                    <a:pt x="4026" y="343"/>
                    <a:pt x="4061" y="245"/>
                  </a:cubicBezTo>
                  <a:cubicBezTo>
                    <a:pt x="4079" y="168"/>
                    <a:pt x="4082" y="147"/>
                    <a:pt x="4030" y="112"/>
                  </a:cubicBezTo>
                  <a:cubicBezTo>
                    <a:pt x="4001" y="91"/>
                    <a:pt x="3978" y="80"/>
                    <a:pt x="3955" y="80"/>
                  </a:cubicBezTo>
                  <a:cubicBezTo>
                    <a:pt x="3917" y="80"/>
                    <a:pt x="3879" y="107"/>
                    <a:pt x="3816" y="154"/>
                  </a:cubicBezTo>
                  <a:cubicBezTo>
                    <a:pt x="3767" y="193"/>
                    <a:pt x="3715" y="224"/>
                    <a:pt x="3658" y="252"/>
                  </a:cubicBezTo>
                  <a:cubicBezTo>
                    <a:pt x="3634" y="264"/>
                    <a:pt x="3610" y="269"/>
                    <a:pt x="3588" y="269"/>
                  </a:cubicBezTo>
                  <a:cubicBezTo>
                    <a:pt x="3498" y="269"/>
                    <a:pt x="3423" y="186"/>
                    <a:pt x="3361" y="119"/>
                  </a:cubicBezTo>
                  <a:cubicBezTo>
                    <a:pt x="3284" y="39"/>
                    <a:pt x="3242" y="0"/>
                    <a:pt x="320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9" name="Google Shape;7286;p64">
              <a:extLst>
                <a:ext uri="{FF2B5EF4-FFF2-40B4-BE49-F238E27FC236}">
                  <a16:creationId xmlns:a16="http://schemas.microsoft.com/office/drawing/2014/main" id="{3D6AB215-7CEB-48E6-4244-8F5DBDA26534}"/>
                </a:ext>
              </a:extLst>
            </p:cNvPr>
            <p:cNvSpPr/>
            <p:nvPr/>
          </p:nvSpPr>
          <p:spPr>
            <a:xfrm>
              <a:off x="3327113" y="2318822"/>
              <a:ext cx="40271" cy="57243"/>
            </a:xfrm>
            <a:custGeom>
              <a:avLst/>
              <a:gdLst/>
              <a:ahLst/>
              <a:cxnLst/>
              <a:rect l="l" t="t" r="r" b="b"/>
              <a:pathLst>
                <a:path w="2966" h="4216" extrusionOk="0">
                  <a:moveTo>
                    <a:pt x="56" y="1"/>
                  </a:moveTo>
                  <a:cubicBezTo>
                    <a:pt x="46" y="1"/>
                    <a:pt x="39" y="1"/>
                    <a:pt x="28" y="4"/>
                  </a:cubicBezTo>
                  <a:cubicBezTo>
                    <a:pt x="0" y="46"/>
                    <a:pt x="116" y="288"/>
                    <a:pt x="274" y="473"/>
                  </a:cubicBezTo>
                  <a:cubicBezTo>
                    <a:pt x="330" y="533"/>
                    <a:pt x="386" y="585"/>
                    <a:pt x="449" y="631"/>
                  </a:cubicBezTo>
                  <a:cubicBezTo>
                    <a:pt x="571" y="729"/>
                    <a:pt x="676" y="809"/>
                    <a:pt x="666" y="911"/>
                  </a:cubicBezTo>
                  <a:cubicBezTo>
                    <a:pt x="659" y="988"/>
                    <a:pt x="827" y="1240"/>
                    <a:pt x="949" y="1278"/>
                  </a:cubicBezTo>
                  <a:cubicBezTo>
                    <a:pt x="1089" y="1327"/>
                    <a:pt x="1044" y="1509"/>
                    <a:pt x="984" y="1723"/>
                  </a:cubicBezTo>
                  <a:cubicBezTo>
                    <a:pt x="942" y="1863"/>
                    <a:pt x="918" y="2007"/>
                    <a:pt x="907" y="2154"/>
                  </a:cubicBezTo>
                  <a:cubicBezTo>
                    <a:pt x="907" y="2406"/>
                    <a:pt x="778" y="2479"/>
                    <a:pt x="645" y="2549"/>
                  </a:cubicBezTo>
                  <a:cubicBezTo>
                    <a:pt x="571" y="2584"/>
                    <a:pt x="501" y="2633"/>
                    <a:pt x="445" y="2696"/>
                  </a:cubicBezTo>
                  <a:cubicBezTo>
                    <a:pt x="431" y="2707"/>
                    <a:pt x="428" y="2724"/>
                    <a:pt x="428" y="2738"/>
                  </a:cubicBezTo>
                  <a:cubicBezTo>
                    <a:pt x="445" y="2826"/>
                    <a:pt x="659" y="2948"/>
                    <a:pt x="830" y="3046"/>
                  </a:cubicBezTo>
                  <a:cubicBezTo>
                    <a:pt x="946" y="3106"/>
                    <a:pt x="1058" y="3179"/>
                    <a:pt x="1163" y="3256"/>
                  </a:cubicBezTo>
                  <a:cubicBezTo>
                    <a:pt x="1373" y="3428"/>
                    <a:pt x="1219" y="3725"/>
                    <a:pt x="1110" y="3943"/>
                  </a:cubicBezTo>
                  <a:cubicBezTo>
                    <a:pt x="1072" y="4016"/>
                    <a:pt x="1023" y="4118"/>
                    <a:pt x="1023" y="4149"/>
                  </a:cubicBezTo>
                  <a:cubicBezTo>
                    <a:pt x="1040" y="4172"/>
                    <a:pt x="1121" y="4216"/>
                    <a:pt x="1257" y="4216"/>
                  </a:cubicBezTo>
                  <a:cubicBezTo>
                    <a:pt x="1310" y="4216"/>
                    <a:pt x="1372" y="4209"/>
                    <a:pt x="1443" y="4191"/>
                  </a:cubicBezTo>
                  <a:cubicBezTo>
                    <a:pt x="1579" y="4153"/>
                    <a:pt x="1691" y="3929"/>
                    <a:pt x="1789" y="3729"/>
                  </a:cubicBezTo>
                  <a:cubicBezTo>
                    <a:pt x="1863" y="3578"/>
                    <a:pt x="1936" y="3431"/>
                    <a:pt x="2024" y="3354"/>
                  </a:cubicBezTo>
                  <a:cubicBezTo>
                    <a:pt x="2111" y="3277"/>
                    <a:pt x="2118" y="3165"/>
                    <a:pt x="2125" y="3050"/>
                  </a:cubicBezTo>
                  <a:cubicBezTo>
                    <a:pt x="2129" y="2962"/>
                    <a:pt x="2132" y="2868"/>
                    <a:pt x="2185" y="2794"/>
                  </a:cubicBezTo>
                  <a:cubicBezTo>
                    <a:pt x="2294" y="2647"/>
                    <a:pt x="2441" y="2647"/>
                    <a:pt x="2570" y="2647"/>
                  </a:cubicBezTo>
                  <a:lnTo>
                    <a:pt x="2598" y="2647"/>
                  </a:lnTo>
                  <a:cubicBezTo>
                    <a:pt x="2616" y="2616"/>
                    <a:pt x="2630" y="2584"/>
                    <a:pt x="2633" y="2549"/>
                  </a:cubicBezTo>
                  <a:cubicBezTo>
                    <a:pt x="2654" y="2458"/>
                    <a:pt x="2689" y="2322"/>
                    <a:pt x="2829" y="2322"/>
                  </a:cubicBezTo>
                  <a:cubicBezTo>
                    <a:pt x="2864" y="2322"/>
                    <a:pt x="2875" y="2315"/>
                    <a:pt x="2889" y="2171"/>
                  </a:cubicBezTo>
                  <a:cubicBezTo>
                    <a:pt x="2896" y="2070"/>
                    <a:pt x="2917" y="1972"/>
                    <a:pt x="2952" y="1877"/>
                  </a:cubicBezTo>
                  <a:cubicBezTo>
                    <a:pt x="2966" y="1835"/>
                    <a:pt x="2955" y="1828"/>
                    <a:pt x="2945" y="1821"/>
                  </a:cubicBezTo>
                  <a:cubicBezTo>
                    <a:pt x="2928" y="1813"/>
                    <a:pt x="2904" y="1809"/>
                    <a:pt x="2876" y="1809"/>
                  </a:cubicBezTo>
                  <a:cubicBezTo>
                    <a:pt x="2763" y="1809"/>
                    <a:pt x="2586" y="1873"/>
                    <a:pt x="2535" y="1958"/>
                  </a:cubicBezTo>
                  <a:cubicBezTo>
                    <a:pt x="2488" y="2034"/>
                    <a:pt x="2427" y="2059"/>
                    <a:pt x="2362" y="2059"/>
                  </a:cubicBezTo>
                  <a:cubicBezTo>
                    <a:pt x="2291" y="2059"/>
                    <a:pt x="2216" y="2029"/>
                    <a:pt x="2153" y="2003"/>
                  </a:cubicBezTo>
                  <a:cubicBezTo>
                    <a:pt x="2087" y="1968"/>
                    <a:pt x="2017" y="1951"/>
                    <a:pt x="1943" y="1944"/>
                  </a:cubicBezTo>
                  <a:cubicBezTo>
                    <a:pt x="1937" y="1944"/>
                    <a:pt x="1932" y="1944"/>
                    <a:pt x="1926" y="1944"/>
                  </a:cubicBezTo>
                  <a:cubicBezTo>
                    <a:pt x="1713" y="1944"/>
                    <a:pt x="1541" y="1763"/>
                    <a:pt x="1551" y="1548"/>
                  </a:cubicBezTo>
                  <a:cubicBezTo>
                    <a:pt x="1551" y="1425"/>
                    <a:pt x="1527" y="1271"/>
                    <a:pt x="1457" y="1205"/>
                  </a:cubicBezTo>
                  <a:cubicBezTo>
                    <a:pt x="1438" y="1187"/>
                    <a:pt x="1415" y="1176"/>
                    <a:pt x="1388" y="1176"/>
                  </a:cubicBezTo>
                  <a:cubicBezTo>
                    <a:pt x="1384" y="1176"/>
                    <a:pt x="1380" y="1176"/>
                    <a:pt x="1376" y="1177"/>
                  </a:cubicBezTo>
                  <a:lnTo>
                    <a:pt x="1369" y="1177"/>
                  </a:lnTo>
                  <a:cubicBezTo>
                    <a:pt x="1376" y="1191"/>
                    <a:pt x="1387" y="1212"/>
                    <a:pt x="1394" y="1226"/>
                  </a:cubicBezTo>
                  <a:cubicBezTo>
                    <a:pt x="1425" y="1289"/>
                    <a:pt x="1471" y="1380"/>
                    <a:pt x="1415" y="1453"/>
                  </a:cubicBezTo>
                  <a:cubicBezTo>
                    <a:pt x="1394" y="1485"/>
                    <a:pt x="1362" y="1502"/>
                    <a:pt x="1327" y="1506"/>
                  </a:cubicBezTo>
                  <a:lnTo>
                    <a:pt x="1324" y="1506"/>
                  </a:lnTo>
                  <a:cubicBezTo>
                    <a:pt x="1268" y="1506"/>
                    <a:pt x="1233" y="1460"/>
                    <a:pt x="1201" y="1425"/>
                  </a:cubicBezTo>
                  <a:cubicBezTo>
                    <a:pt x="1187" y="1408"/>
                    <a:pt x="1159" y="1369"/>
                    <a:pt x="1145" y="1369"/>
                  </a:cubicBezTo>
                  <a:cubicBezTo>
                    <a:pt x="1016" y="1369"/>
                    <a:pt x="872" y="1215"/>
                    <a:pt x="872" y="928"/>
                  </a:cubicBezTo>
                  <a:cubicBezTo>
                    <a:pt x="876" y="858"/>
                    <a:pt x="844" y="792"/>
                    <a:pt x="792" y="743"/>
                  </a:cubicBezTo>
                  <a:cubicBezTo>
                    <a:pt x="711" y="662"/>
                    <a:pt x="666" y="550"/>
                    <a:pt x="669" y="431"/>
                  </a:cubicBezTo>
                  <a:cubicBezTo>
                    <a:pt x="669" y="197"/>
                    <a:pt x="263" y="1"/>
                    <a:pt x="5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0" name="Google Shape;7287;p64">
              <a:extLst>
                <a:ext uri="{FF2B5EF4-FFF2-40B4-BE49-F238E27FC236}">
                  <a16:creationId xmlns:a16="http://schemas.microsoft.com/office/drawing/2014/main" id="{E4286E1E-05C1-1CCC-0BEC-43BF45A6FA31}"/>
                </a:ext>
              </a:extLst>
            </p:cNvPr>
            <p:cNvSpPr/>
            <p:nvPr/>
          </p:nvSpPr>
          <p:spPr>
            <a:xfrm>
              <a:off x="2437868" y="1704617"/>
              <a:ext cx="103542" cy="63855"/>
            </a:xfrm>
            <a:custGeom>
              <a:avLst/>
              <a:gdLst/>
              <a:ahLst/>
              <a:cxnLst/>
              <a:rect l="l" t="t" r="r" b="b"/>
              <a:pathLst>
                <a:path w="7626" h="4703" extrusionOk="0">
                  <a:moveTo>
                    <a:pt x="3221" y="0"/>
                  </a:moveTo>
                  <a:cubicBezTo>
                    <a:pt x="3213" y="0"/>
                    <a:pt x="3206" y="1"/>
                    <a:pt x="3200" y="3"/>
                  </a:cubicBezTo>
                  <a:cubicBezTo>
                    <a:pt x="3141" y="94"/>
                    <a:pt x="3025" y="136"/>
                    <a:pt x="2952" y="143"/>
                  </a:cubicBezTo>
                  <a:lnTo>
                    <a:pt x="2945" y="164"/>
                  </a:lnTo>
                  <a:cubicBezTo>
                    <a:pt x="2922" y="227"/>
                    <a:pt x="2880" y="355"/>
                    <a:pt x="2744" y="355"/>
                  </a:cubicBezTo>
                  <a:cubicBezTo>
                    <a:pt x="2735" y="355"/>
                    <a:pt x="2727" y="354"/>
                    <a:pt x="2717" y="353"/>
                  </a:cubicBezTo>
                  <a:cubicBezTo>
                    <a:pt x="2715" y="353"/>
                    <a:pt x="2712" y="353"/>
                    <a:pt x="2710" y="353"/>
                  </a:cubicBezTo>
                  <a:cubicBezTo>
                    <a:pt x="2647" y="353"/>
                    <a:pt x="2557" y="394"/>
                    <a:pt x="2486" y="458"/>
                  </a:cubicBezTo>
                  <a:cubicBezTo>
                    <a:pt x="2444" y="490"/>
                    <a:pt x="2416" y="532"/>
                    <a:pt x="2402" y="581"/>
                  </a:cubicBezTo>
                  <a:lnTo>
                    <a:pt x="2402" y="602"/>
                  </a:lnTo>
                  <a:cubicBezTo>
                    <a:pt x="2402" y="679"/>
                    <a:pt x="2402" y="784"/>
                    <a:pt x="2332" y="850"/>
                  </a:cubicBezTo>
                  <a:cubicBezTo>
                    <a:pt x="2289" y="888"/>
                    <a:pt x="2231" y="909"/>
                    <a:pt x="2172" y="909"/>
                  </a:cubicBezTo>
                  <a:cubicBezTo>
                    <a:pt x="2160" y="909"/>
                    <a:pt x="2148" y="908"/>
                    <a:pt x="2136" y="906"/>
                  </a:cubicBezTo>
                  <a:lnTo>
                    <a:pt x="2080" y="899"/>
                  </a:lnTo>
                  <a:lnTo>
                    <a:pt x="2063" y="896"/>
                  </a:lnTo>
                  <a:lnTo>
                    <a:pt x="2024" y="892"/>
                  </a:lnTo>
                  <a:lnTo>
                    <a:pt x="2003" y="889"/>
                  </a:lnTo>
                  <a:lnTo>
                    <a:pt x="1972" y="882"/>
                  </a:lnTo>
                  <a:lnTo>
                    <a:pt x="1951" y="878"/>
                  </a:lnTo>
                  <a:lnTo>
                    <a:pt x="1919" y="871"/>
                  </a:lnTo>
                  <a:lnTo>
                    <a:pt x="1902" y="868"/>
                  </a:lnTo>
                  <a:lnTo>
                    <a:pt x="1870" y="861"/>
                  </a:lnTo>
                  <a:lnTo>
                    <a:pt x="1853" y="854"/>
                  </a:lnTo>
                  <a:lnTo>
                    <a:pt x="1825" y="847"/>
                  </a:lnTo>
                  <a:lnTo>
                    <a:pt x="1807" y="840"/>
                  </a:lnTo>
                  <a:lnTo>
                    <a:pt x="1783" y="829"/>
                  </a:lnTo>
                  <a:lnTo>
                    <a:pt x="1765" y="826"/>
                  </a:lnTo>
                  <a:lnTo>
                    <a:pt x="1762" y="826"/>
                  </a:lnTo>
                  <a:cubicBezTo>
                    <a:pt x="1717" y="851"/>
                    <a:pt x="1665" y="867"/>
                    <a:pt x="1612" y="867"/>
                  </a:cubicBezTo>
                  <a:cubicBezTo>
                    <a:pt x="1599" y="867"/>
                    <a:pt x="1586" y="866"/>
                    <a:pt x="1573" y="864"/>
                  </a:cubicBezTo>
                  <a:cubicBezTo>
                    <a:pt x="1513" y="857"/>
                    <a:pt x="1457" y="833"/>
                    <a:pt x="1412" y="794"/>
                  </a:cubicBezTo>
                  <a:cubicBezTo>
                    <a:pt x="1401" y="787"/>
                    <a:pt x="1394" y="777"/>
                    <a:pt x="1384" y="766"/>
                  </a:cubicBezTo>
                  <a:cubicBezTo>
                    <a:pt x="1373" y="759"/>
                    <a:pt x="1366" y="749"/>
                    <a:pt x="1356" y="738"/>
                  </a:cubicBezTo>
                  <a:lnTo>
                    <a:pt x="1352" y="735"/>
                  </a:lnTo>
                  <a:cubicBezTo>
                    <a:pt x="1345" y="724"/>
                    <a:pt x="1335" y="714"/>
                    <a:pt x="1324" y="700"/>
                  </a:cubicBezTo>
                  <a:cubicBezTo>
                    <a:pt x="1124" y="434"/>
                    <a:pt x="844" y="206"/>
                    <a:pt x="708" y="206"/>
                  </a:cubicBezTo>
                  <a:lnTo>
                    <a:pt x="522" y="206"/>
                  </a:lnTo>
                  <a:lnTo>
                    <a:pt x="494" y="210"/>
                  </a:lnTo>
                  <a:lnTo>
                    <a:pt x="477" y="210"/>
                  </a:lnTo>
                  <a:lnTo>
                    <a:pt x="449" y="213"/>
                  </a:lnTo>
                  <a:lnTo>
                    <a:pt x="435" y="213"/>
                  </a:lnTo>
                  <a:lnTo>
                    <a:pt x="400" y="220"/>
                  </a:lnTo>
                  <a:lnTo>
                    <a:pt x="393" y="220"/>
                  </a:lnTo>
                  <a:lnTo>
                    <a:pt x="368" y="224"/>
                  </a:lnTo>
                  <a:lnTo>
                    <a:pt x="354" y="227"/>
                  </a:lnTo>
                  <a:lnTo>
                    <a:pt x="337" y="231"/>
                  </a:lnTo>
                  <a:lnTo>
                    <a:pt x="326" y="234"/>
                  </a:lnTo>
                  <a:lnTo>
                    <a:pt x="312" y="238"/>
                  </a:lnTo>
                  <a:lnTo>
                    <a:pt x="302" y="241"/>
                  </a:lnTo>
                  <a:lnTo>
                    <a:pt x="288" y="248"/>
                  </a:lnTo>
                  <a:lnTo>
                    <a:pt x="281" y="252"/>
                  </a:lnTo>
                  <a:lnTo>
                    <a:pt x="263" y="259"/>
                  </a:lnTo>
                  <a:lnTo>
                    <a:pt x="246" y="269"/>
                  </a:lnTo>
                  <a:lnTo>
                    <a:pt x="242" y="269"/>
                  </a:lnTo>
                  <a:lnTo>
                    <a:pt x="232" y="276"/>
                  </a:lnTo>
                  <a:lnTo>
                    <a:pt x="228" y="280"/>
                  </a:lnTo>
                  <a:lnTo>
                    <a:pt x="225" y="283"/>
                  </a:lnTo>
                  <a:cubicBezTo>
                    <a:pt x="266" y="270"/>
                    <a:pt x="312" y="263"/>
                    <a:pt x="357" y="263"/>
                  </a:cubicBezTo>
                  <a:cubicBezTo>
                    <a:pt x="372" y="263"/>
                    <a:pt x="388" y="264"/>
                    <a:pt x="403" y="266"/>
                  </a:cubicBezTo>
                  <a:cubicBezTo>
                    <a:pt x="676" y="287"/>
                    <a:pt x="722" y="490"/>
                    <a:pt x="750" y="626"/>
                  </a:cubicBezTo>
                  <a:cubicBezTo>
                    <a:pt x="774" y="731"/>
                    <a:pt x="788" y="763"/>
                    <a:pt x="823" y="766"/>
                  </a:cubicBezTo>
                  <a:cubicBezTo>
                    <a:pt x="974" y="777"/>
                    <a:pt x="1138" y="917"/>
                    <a:pt x="1194" y="1032"/>
                  </a:cubicBezTo>
                  <a:cubicBezTo>
                    <a:pt x="1223" y="1074"/>
                    <a:pt x="1223" y="1130"/>
                    <a:pt x="1194" y="1172"/>
                  </a:cubicBezTo>
                  <a:cubicBezTo>
                    <a:pt x="1171" y="1205"/>
                    <a:pt x="1131" y="1223"/>
                    <a:pt x="1090" y="1223"/>
                  </a:cubicBezTo>
                  <a:cubicBezTo>
                    <a:pt x="1083" y="1223"/>
                    <a:pt x="1076" y="1222"/>
                    <a:pt x="1068" y="1221"/>
                  </a:cubicBezTo>
                  <a:cubicBezTo>
                    <a:pt x="1062" y="1221"/>
                    <a:pt x="1055" y="1220"/>
                    <a:pt x="1048" y="1220"/>
                  </a:cubicBezTo>
                  <a:cubicBezTo>
                    <a:pt x="985" y="1220"/>
                    <a:pt x="921" y="1249"/>
                    <a:pt x="851" y="1277"/>
                  </a:cubicBezTo>
                  <a:cubicBezTo>
                    <a:pt x="777" y="1311"/>
                    <a:pt x="693" y="1346"/>
                    <a:pt x="604" y="1346"/>
                  </a:cubicBezTo>
                  <a:cubicBezTo>
                    <a:pt x="572" y="1346"/>
                    <a:pt x="539" y="1341"/>
                    <a:pt x="505" y="1330"/>
                  </a:cubicBezTo>
                  <a:cubicBezTo>
                    <a:pt x="463" y="1316"/>
                    <a:pt x="421" y="1299"/>
                    <a:pt x="382" y="1285"/>
                  </a:cubicBezTo>
                  <a:cubicBezTo>
                    <a:pt x="304" y="1251"/>
                    <a:pt x="220" y="1218"/>
                    <a:pt x="164" y="1218"/>
                  </a:cubicBezTo>
                  <a:cubicBezTo>
                    <a:pt x="149" y="1218"/>
                    <a:pt x="137" y="1220"/>
                    <a:pt x="127" y="1225"/>
                  </a:cubicBezTo>
                  <a:cubicBezTo>
                    <a:pt x="120" y="1228"/>
                    <a:pt x="99" y="1235"/>
                    <a:pt x="85" y="1285"/>
                  </a:cubicBezTo>
                  <a:lnTo>
                    <a:pt x="78" y="1316"/>
                  </a:lnTo>
                  <a:cubicBezTo>
                    <a:pt x="46" y="1428"/>
                    <a:pt x="1" y="1586"/>
                    <a:pt x="39" y="1635"/>
                  </a:cubicBezTo>
                  <a:cubicBezTo>
                    <a:pt x="53" y="1651"/>
                    <a:pt x="82" y="1657"/>
                    <a:pt x="109" y="1657"/>
                  </a:cubicBezTo>
                  <a:cubicBezTo>
                    <a:pt x="116" y="1657"/>
                    <a:pt x="123" y="1656"/>
                    <a:pt x="130" y="1656"/>
                  </a:cubicBezTo>
                  <a:cubicBezTo>
                    <a:pt x="142" y="1655"/>
                    <a:pt x="153" y="1655"/>
                    <a:pt x="163" y="1655"/>
                  </a:cubicBezTo>
                  <a:cubicBezTo>
                    <a:pt x="271" y="1655"/>
                    <a:pt x="340" y="1686"/>
                    <a:pt x="368" y="1750"/>
                  </a:cubicBezTo>
                  <a:cubicBezTo>
                    <a:pt x="414" y="1852"/>
                    <a:pt x="330" y="1978"/>
                    <a:pt x="256" y="2065"/>
                  </a:cubicBezTo>
                  <a:cubicBezTo>
                    <a:pt x="285" y="2062"/>
                    <a:pt x="317" y="2060"/>
                    <a:pt x="349" y="2060"/>
                  </a:cubicBezTo>
                  <a:cubicBezTo>
                    <a:pt x="435" y="2060"/>
                    <a:pt x="522" y="2080"/>
                    <a:pt x="540" y="2177"/>
                  </a:cubicBezTo>
                  <a:cubicBezTo>
                    <a:pt x="550" y="2219"/>
                    <a:pt x="568" y="2258"/>
                    <a:pt x="596" y="2289"/>
                  </a:cubicBezTo>
                  <a:cubicBezTo>
                    <a:pt x="645" y="2363"/>
                    <a:pt x="701" y="2450"/>
                    <a:pt x="652" y="2643"/>
                  </a:cubicBezTo>
                  <a:cubicBezTo>
                    <a:pt x="620" y="2765"/>
                    <a:pt x="634" y="3003"/>
                    <a:pt x="648" y="3213"/>
                  </a:cubicBezTo>
                  <a:cubicBezTo>
                    <a:pt x="648" y="3241"/>
                    <a:pt x="652" y="3266"/>
                    <a:pt x="652" y="3290"/>
                  </a:cubicBezTo>
                  <a:lnTo>
                    <a:pt x="848" y="3290"/>
                  </a:lnTo>
                  <a:lnTo>
                    <a:pt x="862" y="3287"/>
                  </a:lnTo>
                  <a:lnTo>
                    <a:pt x="876" y="3283"/>
                  </a:lnTo>
                  <a:lnTo>
                    <a:pt x="890" y="3283"/>
                  </a:lnTo>
                  <a:lnTo>
                    <a:pt x="904" y="3280"/>
                  </a:lnTo>
                  <a:lnTo>
                    <a:pt x="914" y="3276"/>
                  </a:lnTo>
                  <a:lnTo>
                    <a:pt x="925" y="3273"/>
                  </a:lnTo>
                  <a:lnTo>
                    <a:pt x="932" y="3273"/>
                  </a:lnTo>
                  <a:lnTo>
                    <a:pt x="942" y="3269"/>
                  </a:lnTo>
                  <a:lnTo>
                    <a:pt x="949" y="3266"/>
                  </a:lnTo>
                  <a:lnTo>
                    <a:pt x="956" y="3262"/>
                  </a:lnTo>
                  <a:lnTo>
                    <a:pt x="960" y="3262"/>
                  </a:lnTo>
                  <a:lnTo>
                    <a:pt x="967" y="3259"/>
                  </a:lnTo>
                  <a:lnTo>
                    <a:pt x="981" y="3259"/>
                  </a:lnTo>
                  <a:cubicBezTo>
                    <a:pt x="1058" y="3150"/>
                    <a:pt x="1338" y="2891"/>
                    <a:pt x="1520" y="2891"/>
                  </a:cubicBezTo>
                  <a:cubicBezTo>
                    <a:pt x="1562" y="2895"/>
                    <a:pt x="1604" y="2898"/>
                    <a:pt x="1646" y="2902"/>
                  </a:cubicBezTo>
                  <a:cubicBezTo>
                    <a:pt x="1686" y="2907"/>
                    <a:pt x="1720" y="2911"/>
                    <a:pt x="1749" y="2911"/>
                  </a:cubicBezTo>
                  <a:cubicBezTo>
                    <a:pt x="1797" y="2911"/>
                    <a:pt x="1831" y="2901"/>
                    <a:pt x="1853" y="2870"/>
                  </a:cubicBezTo>
                  <a:cubicBezTo>
                    <a:pt x="1860" y="2863"/>
                    <a:pt x="1867" y="2856"/>
                    <a:pt x="1874" y="2849"/>
                  </a:cubicBezTo>
                  <a:cubicBezTo>
                    <a:pt x="1923" y="2804"/>
                    <a:pt x="2010" y="2776"/>
                    <a:pt x="2140" y="2772"/>
                  </a:cubicBezTo>
                  <a:cubicBezTo>
                    <a:pt x="2148" y="2772"/>
                    <a:pt x="2157" y="2772"/>
                    <a:pt x="2166" y="2772"/>
                  </a:cubicBezTo>
                  <a:cubicBezTo>
                    <a:pt x="2307" y="2772"/>
                    <a:pt x="2519" y="2799"/>
                    <a:pt x="2588" y="2884"/>
                  </a:cubicBezTo>
                  <a:cubicBezTo>
                    <a:pt x="2654" y="2965"/>
                    <a:pt x="2892" y="3038"/>
                    <a:pt x="2941" y="3038"/>
                  </a:cubicBezTo>
                  <a:cubicBezTo>
                    <a:pt x="2987" y="3042"/>
                    <a:pt x="3029" y="3066"/>
                    <a:pt x="3057" y="3105"/>
                  </a:cubicBezTo>
                  <a:cubicBezTo>
                    <a:pt x="3089" y="3140"/>
                    <a:pt x="3117" y="3169"/>
                    <a:pt x="3175" y="3169"/>
                  </a:cubicBezTo>
                  <a:cubicBezTo>
                    <a:pt x="3181" y="3169"/>
                    <a:pt x="3187" y="3169"/>
                    <a:pt x="3193" y="3168"/>
                  </a:cubicBezTo>
                  <a:cubicBezTo>
                    <a:pt x="3212" y="3166"/>
                    <a:pt x="3232" y="3165"/>
                    <a:pt x="3254" y="3165"/>
                  </a:cubicBezTo>
                  <a:cubicBezTo>
                    <a:pt x="3396" y="3165"/>
                    <a:pt x="3602" y="3205"/>
                    <a:pt x="3687" y="3283"/>
                  </a:cubicBezTo>
                  <a:cubicBezTo>
                    <a:pt x="3715" y="3304"/>
                    <a:pt x="3733" y="3336"/>
                    <a:pt x="3736" y="3371"/>
                  </a:cubicBezTo>
                  <a:lnTo>
                    <a:pt x="3736" y="3382"/>
                  </a:lnTo>
                  <a:cubicBezTo>
                    <a:pt x="3736" y="3438"/>
                    <a:pt x="3817" y="3508"/>
                    <a:pt x="3911" y="3508"/>
                  </a:cubicBezTo>
                  <a:cubicBezTo>
                    <a:pt x="4002" y="3508"/>
                    <a:pt x="4076" y="3599"/>
                    <a:pt x="4142" y="3690"/>
                  </a:cubicBezTo>
                  <a:cubicBezTo>
                    <a:pt x="4181" y="3735"/>
                    <a:pt x="4240" y="3816"/>
                    <a:pt x="4272" y="3816"/>
                  </a:cubicBezTo>
                  <a:cubicBezTo>
                    <a:pt x="4321" y="3812"/>
                    <a:pt x="4370" y="3809"/>
                    <a:pt x="4415" y="3809"/>
                  </a:cubicBezTo>
                  <a:cubicBezTo>
                    <a:pt x="4503" y="3809"/>
                    <a:pt x="4611" y="3816"/>
                    <a:pt x="4674" y="3851"/>
                  </a:cubicBezTo>
                  <a:cubicBezTo>
                    <a:pt x="4681" y="3854"/>
                    <a:pt x="4688" y="3861"/>
                    <a:pt x="4695" y="3865"/>
                  </a:cubicBezTo>
                  <a:cubicBezTo>
                    <a:pt x="4720" y="3886"/>
                    <a:pt x="4734" y="3914"/>
                    <a:pt x="4734" y="3945"/>
                  </a:cubicBezTo>
                  <a:lnTo>
                    <a:pt x="4734" y="3963"/>
                  </a:lnTo>
                  <a:lnTo>
                    <a:pt x="4734" y="3970"/>
                  </a:lnTo>
                  <a:lnTo>
                    <a:pt x="4734" y="3984"/>
                  </a:lnTo>
                  <a:lnTo>
                    <a:pt x="4734" y="3994"/>
                  </a:lnTo>
                  <a:lnTo>
                    <a:pt x="4734" y="4012"/>
                  </a:lnTo>
                  <a:lnTo>
                    <a:pt x="4734" y="4026"/>
                  </a:lnTo>
                  <a:lnTo>
                    <a:pt x="4734" y="4043"/>
                  </a:lnTo>
                  <a:lnTo>
                    <a:pt x="4734" y="4057"/>
                  </a:lnTo>
                  <a:lnTo>
                    <a:pt x="4734" y="4082"/>
                  </a:lnTo>
                  <a:lnTo>
                    <a:pt x="4734" y="4096"/>
                  </a:lnTo>
                  <a:lnTo>
                    <a:pt x="4734" y="4120"/>
                  </a:lnTo>
                  <a:lnTo>
                    <a:pt x="4734" y="4138"/>
                  </a:lnTo>
                  <a:lnTo>
                    <a:pt x="4737" y="4162"/>
                  </a:lnTo>
                  <a:lnTo>
                    <a:pt x="4737" y="4180"/>
                  </a:lnTo>
                  <a:cubicBezTo>
                    <a:pt x="4737" y="4190"/>
                    <a:pt x="4737" y="4201"/>
                    <a:pt x="4741" y="4211"/>
                  </a:cubicBezTo>
                  <a:lnTo>
                    <a:pt x="4741" y="4225"/>
                  </a:lnTo>
                  <a:cubicBezTo>
                    <a:pt x="4741" y="4236"/>
                    <a:pt x="4744" y="4250"/>
                    <a:pt x="4744" y="4264"/>
                  </a:cubicBezTo>
                  <a:lnTo>
                    <a:pt x="4744" y="4271"/>
                  </a:lnTo>
                  <a:cubicBezTo>
                    <a:pt x="4748" y="4285"/>
                    <a:pt x="4748" y="4302"/>
                    <a:pt x="4751" y="4320"/>
                  </a:cubicBezTo>
                  <a:lnTo>
                    <a:pt x="4751" y="4327"/>
                  </a:lnTo>
                  <a:lnTo>
                    <a:pt x="4758" y="4365"/>
                  </a:lnTo>
                  <a:lnTo>
                    <a:pt x="4758" y="4379"/>
                  </a:lnTo>
                  <a:cubicBezTo>
                    <a:pt x="4758" y="4390"/>
                    <a:pt x="4765" y="4400"/>
                    <a:pt x="4765" y="4411"/>
                  </a:cubicBezTo>
                  <a:lnTo>
                    <a:pt x="4769" y="4428"/>
                  </a:lnTo>
                  <a:lnTo>
                    <a:pt x="4776" y="4460"/>
                  </a:lnTo>
                  <a:lnTo>
                    <a:pt x="4779" y="4477"/>
                  </a:lnTo>
                  <a:lnTo>
                    <a:pt x="4783" y="4502"/>
                  </a:lnTo>
                  <a:lnTo>
                    <a:pt x="4790" y="4519"/>
                  </a:lnTo>
                  <a:lnTo>
                    <a:pt x="4793" y="4533"/>
                  </a:lnTo>
                  <a:cubicBezTo>
                    <a:pt x="4814" y="4525"/>
                    <a:pt x="4837" y="4521"/>
                    <a:pt x="4861" y="4521"/>
                  </a:cubicBezTo>
                  <a:cubicBezTo>
                    <a:pt x="4869" y="4521"/>
                    <a:pt x="4877" y="4522"/>
                    <a:pt x="4884" y="4523"/>
                  </a:cubicBezTo>
                  <a:cubicBezTo>
                    <a:pt x="4891" y="4526"/>
                    <a:pt x="4898" y="4526"/>
                    <a:pt x="4905" y="4530"/>
                  </a:cubicBezTo>
                  <a:lnTo>
                    <a:pt x="4909" y="4530"/>
                  </a:lnTo>
                  <a:cubicBezTo>
                    <a:pt x="4916" y="4533"/>
                    <a:pt x="4923" y="4537"/>
                    <a:pt x="4930" y="4540"/>
                  </a:cubicBezTo>
                  <a:lnTo>
                    <a:pt x="4933" y="4540"/>
                  </a:lnTo>
                  <a:cubicBezTo>
                    <a:pt x="4954" y="4544"/>
                    <a:pt x="4975" y="4544"/>
                    <a:pt x="4996" y="4544"/>
                  </a:cubicBezTo>
                  <a:lnTo>
                    <a:pt x="5178" y="4544"/>
                  </a:lnTo>
                  <a:lnTo>
                    <a:pt x="5192" y="4547"/>
                  </a:lnTo>
                  <a:lnTo>
                    <a:pt x="5199" y="4547"/>
                  </a:lnTo>
                  <a:lnTo>
                    <a:pt x="5220" y="4551"/>
                  </a:lnTo>
                  <a:lnTo>
                    <a:pt x="5234" y="4558"/>
                  </a:lnTo>
                  <a:lnTo>
                    <a:pt x="5241" y="4561"/>
                  </a:lnTo>
                  <a:lnTo>
                    <a:pt x="5255" y="4565"/>
                  </a:lnTo>
                  <a:lnTo>
                    <a:pt x="5262" y="4568"/>
                  </a:lnTo>
                  <a:lnTo>
                    <a:pt x="5273" y="4575"/>
                  </a:lnTo>
                  <a:lnTo>
                    <a:pt x="5280" y="4582"/>
                  </a:lnTo>
                  <a:lnTo>
                    <a:pt x="5290" y="4589"/>
                  </a:lnTo>
                  <a:lnTo>
                    <a:pt x="5297" y="4596"/>
                  </a:lnTo>
                  <a:lnTo>
                    <a:pt x="5308" y="4603"/>
                  </a:lnTo>
                  <a:lnTo>
                    <a:pt x="5315" y="4610"/>
                  </a:lnTo>
                  <a:lnTo>
                    <a:pt x="5322" y="4624"/>
                  </a:lnTo>
                  <a:lnTo>
                    <a:pt x="5329" y="4631"/>
                  </a:lnTo>
                  <a:cubicBezTo>
                    <a:pt x="5332" y="4635"/>
                    <a:pt x="5332" y="4638"/>
                    <a:pt x="5336" y="4645"/>
                  </a:cubicBezTo>
                  <a:lnTo>
                    <a:pt x="5339" y="4652"/>
                  </a:lnTo>
                  <a:cubicBezTo>
                    <a:pt x="5343" y="4659"/>
                    <a:pt x="5346" y="4666"/>
                    <a:pt x="5350" y="4677"/>
                  </a:cubicBezTo>
                  <a:cubicBezTo>
                    <a:pt x="5353" y="4690"/>
                    <a:pt x="5386" y="4703"/>
                    <a:pt x="5438" y="4703"/>
                  </a:cubicBezTo>
                  <a:cubicBezTo>
                    <a:pt x="5456" y="4703"/>
                    <a:pt x="5476" y="4701"/>
                    <a:pt x="5497" y="4698"/>
                  </a:cubicBezTo>
                  <a:cubicBezTo>
                    <a:pt x="5578" y="4684"/>
                    <a:pt x="5704" y="4624"/>
                    <a:pt x="5693" y="4526"/>
                  </a:cubicBezTo>
                  <a:cubicBezTo>
                    <a:pt x="5679" y="4348"/>
                    <a:pt x="5907" y="4281"/>
                    <a:pt x="6127" y="4215"/>
                  </a:cubicBezTo>
                  <a:cubicBezTo>
                    <a:pt x="6274" y="4169"/>
                    <a:pt x="6453" y="4117"/>
                    <a:pt x="6474" y="4050"/>
                  </a:cubicBezTo>
                  <a:cubicBezTo>
                    <a:pt x="6481" y="4026"/>
                    <a:pt x="6488" y="3998"/>
                    <a:pt x="6498" y="3970"/>
                  </a:cubicBezTo>
                  <a:cubicBezTo>
                    <a:pt x="6554" y="3767"/>
                    <a:pt x="6621" y="3539"/>
                    <a:pt x="6750" y="3473"/>
                  </a:cubicBezTo>
                  <a:cubicBezTo>
                    <a:pt x="6774" y="3461"/>
                    <a:pt x="6800" y="3454"/>
                    <a:pt x="6826" y="3454"/>
                  </a:cubicBezTo>
                  <a:cubicBezTo>
                    <a:pt x="6846" y="3454"/>
                    <a:pt x="6865" y="3458"/>
                    <a:pt x="6883" y="3466"/>
                  </a:cubicBezTo>
                  <a:cubicBezTo>
                    <a:pt x="6890" y="3468"/>
                    <a:pt x="6897" y="3469"/>
                    <a:pt x="6903" y="3469"/>
                  </a:cubicBezTo>
                  <a:cubicBezTo>
                    <a:pt x="6946" y="3469"/>
                    <a:pt x="6991" y="3423"/>
                    <a:pt x="7051" y="3353"/>
                  </a:cubicBezTo>
                  <a:cubicBezTo>
                    <a:pt x="7116" y="3279"/>
                    <a:pt x="7187" y="3201"/>
                    <a:pt x="7281" y="3201"/>
                  </a:cubicBezTo>
                  <a:cubicBezTo>
                    <a:pt x="7288" y="3201"/>
                    <a:pt x="7296" y="3202"/>
                    <a:pt x="7303" y="3203"/>
                  </a:cubicBezTo>
                  <a:cubicBezTo>
                    <a:pt x="7359" y="3213"/>
                    <a:pt x="7415" y="3231"/>
                    <a:pt x="7468" y="3259"/>
                  </a:cubicBezTo>
                  <a:cubicBezTo>
                    <a:pt x="7517" y="3283"/>
                    <a:pt x="7573" y="3301"/>
                    <a:pt x="7626" y="3304"/>
                  </a:cubicBezTo>
                  <a:lnTo>
                    <a:pt x="7598" y="3049"/>
                  </a:lnTo>
                  <a:cubicBezTo>
                    <a:pt x="7463" y="2985"/>
                    <a:pt x="7268" y="2908"/>
                    <a:pt x="7190" y="2908"/>
                  </a:cubicBezTo>
                  <a:cubicBezTo>
                    <a:pt x="7187" y="2908"/>
                    <a:pt x="7184" y="2909"/>
                    <a:pt x="7181" y="2909"/>
                  </a:cubicBezTo>
                  <a:cubicBezTo>
                    <a:pt x="7174" y="2910"/>
                    <a:pt x="7167" y="2910"/>
                    <a:pt x="7161" y="2910"/>
                  </a:cubicBezTo>
                  <a:cubicBezTo>
                    <a:pt x="7072" y="2910"/>
                    <a:pt x="6980" y="2828"/>
                    <a:pt x="6876" y="2737"/>
                  </a:cubicBezTo>
                  <a:cubicBezTo>
                    <a:pt x="6785" y="2660"/>
                    <a:pt x="6684" y="2569"/>
                    <a:pt x="6586" y="2534"/>
                  </a:cubicBezTo>
                  <a:cubicBezTo>
                    <a:pt x="6463" y="2489"/>
                    <a:pt x="6050" y="2331"/>
                    <a:pt x="5921" y="2135"/>
                  </a:cubicBezTo>
                  <a:cubicBezTo>
                    <a:pt x="5882" y="2076"/>
                    <a:pt x="5756" y="2006"/>
                    <a:pt x="5648" y="1943"/>
                  </a:cubicBezTo>
                  <a:cubicBezTo>
                    <a:pt x="5494" y="1855"/>
                    <a:pt x="5396" y="1796"/>
                    <a:pt x="5364" y="1722"/>
                  </a:cubicBezTo>
                  <a:lnTo>
                    <a:pt x="5360" y="1708"/>
                  </a:lnTo>
                  <a:cubicBezTo>
                    <a:pt x="5301" y="1558"/>
                    <a:pt x="5224" y="1418"/>
                    <a:pt x="5133" y="1285"/>
                  </a:cubicBezTo>
                  <a:cubicBezTo>
                    <a:pt x="5084" y="1221"/>
                    <a:pt x="5049" y="1151"/>
                    <a:pt x="5024" y="1074"/>
                  </a:cubicBezTo>
                  <a:cubicBezTo>
                    <a:pt x="4993" y="1001"/>
                    <a:pt x="4975" y="955"/>
                    <a:pt x="4947" y="952"/>
                  </a:cubicBezTo>
                  <a:cubicBezTo>
                    <a:pt x="4923" y="948"/>
                    <a:pt x="4846" y="948"/>
                    <a:pt x="4765" y="945"/>
                  </a:cubicBezTo>
                  <a:cubicBezTo>
                    <a:pt x="4244" y="931"/>
                    <a:pt x="4083" y="906"/>
                    <a:pt x="4083" y="791"/>
                  </a:cubicBezTo>
                  <a:cubicBezTo>
                    <a:pt x="4083" y="616"/>
                    <a:pt x="4009" y="290"/>
                    <a:pt x="3939" y="273"/>
                  </a:cubicBezTo>
                  <a:lnTo>
                    <a:pt x="3880" y="259"/>
                  </a:lnTo>
                  <a:cubicBezTo>
                    <a:pt x="3736" y="231"/>
                    <a:pt x="3572" y="192"/>
                    <a:pt x="3488" y="108"/>
                  </a:cubicBezTo>
                  <a:cubicBezTo>
                    <a:pt x="3429" y="53"/>
                    <a:pt x="3284" y="0"/>
                    <a:pt x="32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1" name="Google Shape;7288;p64">
              <a:extLst>
                <a:ext uri="{FF2B5EF4-FFF2-40B4-BE49-F238E27FC236}">
                  <a16:creationId xmlns:a16="http://schemas.microsoft.com/office/drawing/2014/main" id="{1B49084C-BD8D-8BD5-5BDD-DF003CD5F013}"/>
                </a:ext>
              </a:extLst>
            </p:cNvPr>
            <p:cNvSpPr/>
            <p:nvPr/>
          </p:nvSpPr>
          <p:spPr>
            <a:xfrm>
              <a:off x="2461928" y="1715967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2" name="Google Shape;7289;p64">
              <a:extLst>
                <a:ext uri="{FF2B5EF4-FFF2-40B4-BE49-F238E27FC236}">
                  <a16:creationId xmlns:a16="http://schemas.microsoft.com/office/drawing/2014/main" id="{54359D15-F00C-C6C3-0BF6-04A1251E21EA}"/>
                </a:ext>
              </a:extLst>
            </p:cNvPr>
            <p:cNvSpPr/>
            <p:nvPr/>
          </p:nvSpPr>
          <p:spPr>
            <a:xfrm>
              <a:off x="2465159" y="1716823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3" name="Google Shape;7290;p64">
              <a:extLst>
                <a:ext uri="{FF2B5EF4-FFF2-40B4-BE49-F238E27FC236}">
                  <a16:creationId xmlns:a16="http://schemas.microsoft.com/office/drawing/2014/main" id="{8D507F99-C932-D75B-EE6C-BF032E1E4F0D}"/>
                </a:ext>
              </a:extLst>
            </p:cNvPr>
            <p:cNvSpPr/>
            <p:nvPr/>
          </p:nvSpPr>
          <p:spPr>
            <a:xfrm>
              <a:off x="2462498" y="1716157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18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4" name="Google Shape;7291;p64">
              <a:extLst>
                <a:ext uri="{FF2B5EF4-FFF2-40B4-BE49-F238E27FC236}">
                  <a16:creationId xmlns:a16="http://schemas.microsoft.com/office/drawing/2014/main" id="{1D839269-DDD4-3651-0ADF-004DC88981F4}"/>
                </a:ext>
              </a:extLst>
            </p:cNvPr>
            <p:cNvSpPr/>
            <p:nvPr/>
          </p:nvSpPr>
          <p:spPr>
            <a:xfrm>
              <a:off x="2463733" y="171653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5" name="Google Shape;7292;p64">
              <a:extLst>
                <a:ext uri="{FF2B5EF4-FFF2-40B4-BE49-F238E27FC236}">
                  <a16:creationId xmlns:a16="http://schemas.microsoft.com/office/drawing/2014/main" id="{257CF326-D4EB-3AD0-7A8E-D3A35D723185}"/>
                </a:ext>
              </a:extLst>
            </p:cNvPr>
            <p:cNvSpPr/>
            <p:nvPr/>
          </p:nvSpPr>
          <p:spPr>
            <a:xfrm>
              <a:off x="2463109" y="1716388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6" name="Google Shape;7293;p64">
              <a:extLst>
                <a:ext uri="{FF2B5EF4-FFF2-40B4-BE49-F238E27FC236}">
                  <a16:creationId xmlns:a16="http://schemas.microsoft.com/office/drawing/2014/main" id="{764F73AE-5ECE-8635-2453-AF0B53AD1594}"/>
                </a:ext>
              </a:extLst>
            </p:cNvPr>
            <p:cNvSpPr/>
            <p:nvPr/>
          </p:nvSpPr>
          <p:spPr>
            <a:xfrm>
              <a:off x="2464399" y="1716728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7" name="Google Shape;7294;p64">
              <a:extLst>
                <a:ext uri="{FF2B5EF4-FFF2-40B4-BE49-F238E27FC236}">
                  <a16:creationId xmlns:a16="http://schemas.microsoft.com/office/drawing/2014/main" id="{B34B60F4-F07D-7445-EE88-BC2D3907458A}"/>
                </a:ext>
              </a:extLst>
            </p:cNvPr>
            <p:cNvSpPr/>
            <p:nvPr/>
          </p:nvSpPr>
          <p:spPr>
            <a:xfrm>
              <a:off x="2541071" y="1746150"/>
              <a:ext cx="394" cy="3530"/>
            </a:xfrm>
            <a:custGeom>
              <a:avLst/>
              <a:gdLst/>
              <a:ahLst/>
              <a:cxnLst/>
              <a:rect l="l" t="t" r="r" b="b"/>
              <a:pathLst>
                <a:path w="29" h="260" extrusionOk="0">
                  <a:moveTo>
                    <a:pt x="0" y="0"/>
                  </a:moveTo>
                  <a:lnTo>
                    <a:pt x="28" y="259"/>
                  </a:lnTo>
                  <a:lnTo>
                    <a:pt x="28" y="25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8" name="Google Shape;7295;p64">
              <a:extLst>
                <a:ext uri="{FF2B5EF4-FFF2-40B4-BE49-F238E27FC236}">
                  <a16:creationId xmlns:a16="http://schemas.microsoft.com/office/drawing/2014/main" id="{3CF8536F-6584-8D7D-C318-ADF3693C60A2}"/>
                </a:ext>
              </a:extLst>
            </p:cNvPr>
            <p:cNvSpPr/>
            <p:nvPr/>
          </p:nvSpPr>
          <p:spPr>
            <a:xfrm>
              <a:off x="2465919" y="171695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9" name="Google Shape;7296;p64">
              <a:extLst>
                <a:ext uri="{FF2B5EF4-FFF2-40B4-BE49-F238E27FC236}">
                  <a16:creationId xmlns:a16="http://schemas.microsoft.com/office/drawing/2014/main" id="{29BC5933-1EF4-EB6E-075D-52520255D91D}"/>
                </a:ext>
              </a:extLst>
            </p:cNvPr>
            <p:cNvSpPr/>
            <p:nvPr/>
          </p:nvSpPr>
          <p:spPr>
            <a:xfrm>
              <a:off x="2373470" y="1729138"/>
              <a:ext cx="143134" cy="121505"/>
            </a:xfrm>
            <a:custGeom>
              <a:avLst/>
              <a:gdLst/>
              <a:ahLst/>
              <a:cxnLst/>
              <a:rect l="l" t="t" r="r" b="b"/>
              <a:pathLst>
                <a:path w="10542" h="8949" extrusionOk="0">
                  <a:moveTo>
                    <a:pt x="161" y="0"/>
                  </a:moveTo>
                  <a:cubicBezTo>
                    <a:pt x="147" y="0"/>
                    <a:pt x="137" y="7"/>
                    <a:pt x="137" y="98"/>
                  </a:cubicBezTo>
                  <a:cubicBezTo>
                    <a:pt x="137" y="151"/>
                    <a:pt x="133" y="259"/>
                    <a:pt x="46" y="280"/>
                  </a:cubicBezTo>
                  <a:lnTo>
                    <a:pt x="21" y="280"/>
                  </a:lnTo>
                  <a:cubicBezTo>
                    <a:pt x="0" y="336"/>
                    <a:pt x="49" y="557"/>
                    <a:pt x="95" y="641"/>
                  </a:cubicBezTo>
                  <a:cubicBezTo>
                    <a:pt x="119" y="693"/>
                    <a:pt x="109" y="784"/>
                    <a:pt x="91" y="945"/>
                  </a:cubicBezTo>
                  <a:cubicBezTo>
                    <a:pt x="84" y="994"/>
                    <a:pt x="74" y="1061"/>
                    <a:pt x="70" y="1117"/>
                  </a:cubicBezTo>
                  <a:lnTo>
                    <a:pt x="70" y="1120"/>
                  </a:lnTo>
                  <a:lnTo>
                    <a:pt x="70" y="1131"/>
                  </a:lnTo>
                  <a:lnTo>
                    <a:pt x="70" y="1152"/>
                  </a:lnTo>
                  <a:cubicBezTo>
                    <a:pt x="70" y="1166"/>
                    <a:pt x="70" y="1183"/>
                    <a:pt x="70" y="1197"/>
                  </a:cubicBezTo>
                  <a:cubicBezTo>
                    <a:pt x="130" y="1225"/>
                    <a:pt x="193" y="1309"/>
                    <a:pt x="238" y="1383"/>
                  </a:cubicBezTo>
                  <a:cubicBezTo>
                    <a:pt x="252" y="1407"/>
                    <a:pt x="266" y="1428"/>
                    <a:pt x="277" y="1449"/>
                  </a:cubicBezTo>
                  <a:cubicBezTo>
                    <a:pt x="287" y="1470"/>
                    <a:pt x="298" y="1488"/>
                    <a:pt x="305" y="1505"/>
                  </a:cubicBezTo>
                  <a:cubicBezTo>
                    <a:pt x="315" y="1523"/>
                    <a:pt x="322" y="1537"/>
                    <a:pt x="326" y="1547"/>
                  </a:cubicBezTo>
                  <a:cubicBezTo>
                    <a:pt x="333" y="1562"/>
                    <a:pt x="336" y="1576"/>
                    <a:pt x="340" y="1586"/>
                  </a:cubicBezTo>
                  <a:lnTo>
                    <a:pt x="340" y="1590"/>
                  </a:lnTo>
                  <a:cubicBezTo>
                    <a:pt x="347" y="1600"/>
                    <a:pt x="347" y="1611"/>
                    <a:pt x="350" y="1618"/>
                  </a:cubicBezTo>
                  <a:lnTo>
                    <a:pt x="350" y="1621"/>
                  </a:lnTo>
                  <a:cubicBezTo>
                    <a:pt x="354" y="1632"/>
                    <a:pt x="354" y="1639"/>
                    <a:pt x="354" y="1646"/>
                  </a:cubicBezTo>
                  <a:lnTo>
                    <a:pt x="354" y="1649"/>
                  </a:lnTo>
                  <a:cubicBezTo>
                    <a:pt x="354" y="1653"/>
                    <a:pt x="354" y="1660"/>
                    <a:pt x="354" y="1667"/>
                  </a:cubicBezTo>
                  <a:cubicBezTo>
                    <a:pt x="354" y="1670"/>
                    <a:pt x="354" y="1674"/>
                    <a:pt x="354" y="1681"/>
                  </a:cubicBezTo>
                  <a:cubicBezTo>
                    <a:pt x="354" y="1684"/>
                    <a:pt x="354" y="1684"/>
                    <a:pt x="354" y="1688"/>
                  </a:cubicBezTo>
                  <a:cubicBezTo>
                    <a:pt x="368" y="1719"/>
                    <a:pt x="385" y="1747"/>
                    <a:pt x="403" y="1775"/>
                  </a:cubicBezTo>
                  <a:lnTo>
                    <a:pt x="417" y="1800"/>
                  </a:lnTo>
                  <a:cubicBezTo>
                    <a:pt x="480" y="1894"/>
                    <a:pt x="550" y="2006"/>
                    <a:pt x="550" y="2104"/>
                  </a:cubicBezTo>
                  <a:cubicBezTo>
                    <a:pt x="550" y="2223"/>
                    <a:pt x="718" y="2363"/>
                    <a:pt x="784" y="2363"/>
                  </a:cubicBezTo>
                  <a:cubicBezTo>
                    <a:pt x="872" y="2363"/>
                    <a:pt x="984" y="2398"/>
                    <a:pt x="1040" y="2475"/>
                  </a:cubicBezTo>
                  <a:cubicBezTo>
                    <a:pt x="1075" y="2524"/>
                    <a:pt x="1085" y="2587"/>
                    <a:pt x="1064" y="2643"/>
                  </a:cubicBezTo>
                  <a:cubicBezTo>
                    <a:pt x="1054" y="2692"/>
                    <a:pt x="1054" y="2738"/>
                    <a:pt x="1064" y="2787"/>
                  </a:cubicBezTo>
                  <a:cubicBezTo>
                    <a:pt x="1071" y="2857"/>
                    <a:pt x="1078" y="2927"/>
                    <a:pt x="1036" y="2972"/>
                  </a:cubicBezTo>
                  <a:cubicBezTo>
                    <a:pt x="1012" y="3000"/>
                    <a:pt x="973" y="3014"/>
                    <a:pt x="938" y="3014"/>
                  </a:cubicBezTo>
                  <a:cubicBezTo>
                    <a:pt x="917" y="3025"/>
                    <a:pt x="893" y="3126"/>
                    <a:pt x="879" y="3179"/>
                  </a:cubicBezTo>
                  <a:cubicBezTo>
                    <a:pt x="854" y="3287"/>
                    <a:pt x="830" y="3392"/>
                    <a:pt x="756" y="3434"/>
                  </a:cubicBezTo>
                  <a:cubicBezTo>
                    <a:pt x="753" y="3438"/>
                    <a:pt x="739" y="3462"/>
                    <a:pt x="739" y="3525"/>
                  </a:cubicBezTo>
                  <a:cubicBezTo>
                    <a:pt x="739" y="3659"/>
                    <a:pt x="791" y="3799"/>
                    <a:pt x="819" y="3820"/>
                  </a:cubicBezTo>
                  <a:cubicBezTo>
                    <a:pt x="1085" y="3949"/>
                    <a:pt x="1124" y="4093"/>
                    <a:pt x="1110" y="4187"/>
                  </a:cubicBezTo>
                  <a:cubicBezTo>
                    <a:pt x="1113" y="4201"/>
                    <a:pt x="1117" y="4212"/>
                    <a:pt x="1124" y="4222"/>
                  </a:cubicBezTo>
                  <a:cubicBezTo>
                    <a:pt x="1180" y="4285"/>
                    <a:pt x="1243" y="4338"/>
                    <a:pt x="1316" y="4376"/>
                  </a:cubicBezTo>
                  <a:cubicBezTo>
                    <a:pt x="1407" y="4429"/>
                    <a:pt x="1502" y="4474"/>
                    <a:pt x="1600" y="4506"/>
                  </a:cubicBezTo>
                  <a:cubicBezTo>
                    <a:pt x="1621" y="4513"/>
                    <a:pt x="1638" y="4520"/>
                    <a:pt x="1659" y="4523"/>
                  </a:cubicBezTo>
                  <a:cubicBezTo>
                    <a:pt x="1792" y="4541"/>
                    <a:pt x="1845" y="4660"/>
                    <a:pt x="1891" y="4754"/>
                  </a:cubicBezTo>
                  <a:cubicBezTo>
                    <a:pt x="1908" y="4793"/>
                    <a:pt x="1929" y="4831"/>
                    <a:pt x="1957" y="4866"/>
                  </a:cubicBezTo>
                  <a:cubicBezTo>
                    <a:pt x="2038" y="4947"/>
                    <a:pt x="1996" y="5055"/>
                    <a:pt x="1961" y="5143"/>
                  </a:cubicBezTo>
                  <a:cubicBezTo>
                    <a:pt x="1943" y="5181"/>
                    <a:pt x="1933" y="5223"/>
                    <a:pt x="1933" y="5265"/>
                  </a:cubicBezTo>
                  <a:cubicBezTo>
                    <a:pt x="1947" y="5300"/>
                    <a:pt x="1968" y="5332"/>
                    <a:pt x="1999" y="5360"/>
                  </a:cubicBezTo>
                  <a:cubicBezTo>
                    <a:pt x="2059" y="5426"/>
                    <a:pt x="2143" y="5521"/>
                    <a:pt x="2125" y="5654"/>
                  </a:cubicBezTo>
                  <a:cubicBezTo>
                    <a:pt x="2125" y="5657"/>
                    <a:pt x="2125" y="5664"/>
                    <a:pt x="2125" y="5668"/>
                  </a:cubicBezTo>
                  <a:lnTo>
                    <a:pt x="2125" y="5675"/>
                  </a:lnTo>
                  <a:cubicBezTo>
                    <a:pt x="2125" y="5678"/>
                    <a:pt x="2129" y="5682"/>
                    <a:pt x="2129" y="5685"/>
                  </a:cubicBezTo>
                  <a:lnTo>
                    <a:pt x="2132" y="5692"/>
                  </a:lnTo>
                  <a:cubicBezTo>
                    <a:pt x="2132" y="5696"/>
                    <a:pt x="2136" y="5699"/>
                    <a:pt x="2136" y="5703"/>
                  </a:cubicBezTo>
                  <a:lnTo>
                    <a:pt x="2143" y="5710"/>
                  </a:lnTo>
                  <a:lnTo>
                    <a:pt x="2146" y="5724"/>
                  </a:lnTo>
                  <a:lnTo>
                    <a:pt x="2153" y="5731"/>
                  </a:lnTo>
                  <a:lnTo>
                    <a:pt x="2160" y="5745"/>
                  </a:lnTo>
                  <a:lnTo>
                    <a:pt x="2167" y="5756"/>
                  </a:lnTo>
                  <a:lnTo>
                    <a:pt x="2178" y="5766"/>
                  </a:lnTo>
                  <a:lnTo>
                    <a:pt x="2188" y="5780"/>
                  </a:lnTo>
                  <a:lnTo>
                    <a:pt x="2195" y="5791"/>
                  </a:lnTo>
                  <a:lnTo>
                    <a:pt x="2206" y="5805"/>
                  </a:lnTo>
                  <a:lnTo>
                    <a:pt x="2213" y="5815"/>
                  </a:lnTo>
                  <a:lnTo>
                    <a:pt x="2227" y="5833"/>
                  </a:lnTo>
                  <a:lnTo>
                    <a:pt x="2234" y="5840"/>
                  </a:lnTo>
                  <a:lnTo>
                    <a:pt x="2251" y="5857"/>
                  </a:lnTo>
                  <a:lnTo>
                    <a:pt x="2258" y="5864"/>
                  </a:lnTo>
                  <a:lnTo>
                    <a:pt x="2276" y="5885"/>
                  </a:lnTo>
                  <a:lnTo>
                    <a:pt x="2279" y="5889"/>
                  </a:lnTo>
                  <a:lnTo>
                    <a:pt x="2300" y="5913"/>
                  </a:lnTo>
                  <a:cubicBezTo>
                    <a:pt x="2332" y="5945"/>
                    <a:pt x="2360" y="5976"/>
                    <a:pt x="2388" y="6001"/>
                  </a:cubicBezTo>
                  <a:cubicBezTo>
                    <a:pt x="2423" y="5994"/>
                    <a:pt x="2461" y="5987"/>
                    <a:pt x="2500" y="5987"/>
                  </a:cubicBezTo>
                  <a:cubicBezTo>
                    <a:pt x="2531" y="5987"/>
                    <a:pt x="2563" y="5969"/>
                    <a:pt x="2584" y="5941"/>
                  </a:cubicBezTo>
                  <a:cubicBezTo>
                    <a:pt x="2603" y="5922"/>
                    <a:pt x="2637" y="5889"/>
                    <a:pt x="2686" y="5889"/>
                  </a:cubicBezTo>
                  <a:cubicBezTo>
                    <a:pt x="2716" y="5889"/>
                    <a:pt x="2752" y="5901"/>
                    <a:pt x="2794" y="5938"/>
                  </a:cubicBezTo>
                  <a:cubicBezTo>
                    <a:pt x="2814" y="5954"/>
                    <a:pt x="2837" y="5961"/>
                    <a:pt x="2865" y="5961"/>
                  </a:cubicBezTo>
                  <a:cubicBezTo>
                    <a:pt x="2900" y="5961"/>
                    <a:pt x="2944" y="5950"/>
                    <a:pt x="2997" y="5934"/>
                  </a:cubicBezTo>
                  <a:cubicBezTo>
                    <a:pt x="3039" y="5917"/>
                    <a:pt x="3084" y="5910"/>
                    <a:pt x="3130" y="5903"/>
                  </a:cubicBezTo>
                  <a:cubicBezTo>
                    <a:pt x="3133" y="5902"/>
                    <a:pt x="3136" y="5902"/>
                    <a:pt x="3139" y="5902"/>
                  </a:cubicBezTo>
                  <a:cubicBezTo>
                    <a:pt x="3191" y="5902"/>
                    <a:pt x="3337" y="5952"/>
                    <a:pt x="3749" y="6799"/>
                  </a:cubicBezTo>
                  <a:cubicBezTo>
                    <a:pt x="3788" y="6876"/>
                    <a:pt x="3816" y="6939"/>
                    <a:pt x="3837" y="6991"/>
                  </a:cubicBezTo>
                  <a:cubicBezTo>
                    <a:pt x="3897" y="7135"/>
                    <a:pt x="3925" y="7194"/>
                    <a:pt x="4044" y="7271"/>
                  </a:cubicBezTo>
                  <a:cubicBezTo>
                    <a:pt x="4103" y="7310"/>
                    <a:pt x="4173" y="7334"/>
                    <a:pt x="4243" y="7348"/>
                  </a:cubicBezTo>
                  <a:cubicBezTo>
                    <a:pt x="4422" y="7387"/>
                    <a:pt x="4590" y="7478"/>
                    <a:pt x="4716" y="7611"/>
                  </a:cubicBezTo>
                  <a:cubicBezTo>
                    <a:pt x="4964" y="7870"/>
                    <a:pt x="5636" y="8056"/>
                    <a:pt x="5916" y="8070"/>
                  </a:cubicBezTo>
                  <a:cubicBezTo>
                    <a:pt x="5923" y="8070"/>
                    <a:pt x="5929" y="8070"/>
                    <a:pt x="5935" y="8070"/>
                  </a:cubicBezTo>
                  <a:cubicBezTo>
                    <a:pt x="6040" y="8070"/>
                    <a:pt x="6143" y="8014"/>
                    <a:pt x="6246" y="7958"/>
                  </a:cubicBezTo>
                  <a:cubicBezTo>
                    <a:pt x="6375" y="7891"/>
                    <a:pt x="6515" y="7818"/>
                    <a:pt x="6690" y="7818"/>
                  </a:cubicBezTo>
                  <a:cubicBezTo>
                    <a:pt x="6729" y="7818"/>
                    <a:pt x="6767" y="7821"/>
                    <a:pt x="6809" y="7828"/>
                  </a:cubicBezTo>
                  <a:cubicBezTo>
                    <a:pt x="7093" y="7884"/>
                    <a:pt x="7145" y="8136"/>
                    <a:pt x="7191" y="8339"/>
                  </a:cubicBezTo>
                  <a:cubicBezTo>
                    <a:pt x="7208" y="8434"/>
                    <a:pt x="7229" y="8525"/>
                    <a:pt x="7268" y="8570"/>
                  </a:cubicBezTo>
                  <a:cubicBezTo>
                    <a:pt x="7341" y="8661"/>
                    <a:pt x="8122" y="8763"/>
                    <a:pt x="8539" y="8815"/>
                  </a:cubicBezTo>
                  <a:cubicBezTo>
                    <a:pt x="8826" y="8850"/>
                    <a:pt x="9050" y="8878"/>
                    <a:pt x="9141" y="8906"/>
                  </a:cubicBezTo>
                  <a:cubicBezTo>
                    <a:pt x="9302" y="8934"/>
                    <a:pt x="9463" y="8948"/>
                    <a:pt x="9624" y="8948"/>
                  </a:cubicBezTo>
                  <a:lnTo>
                    <a:pt x="9620" y="8920"/>
                  </a:lnTo>
                  <a:lnTo>
                    <a:pt x="9617" y="8885"/>
                  </a:lnTo>
                  <a:cubicBezTo>
                    <a:pt x="9610" y="8801"/>
                    <a:pt x="9624" y="8717"/>
                    <a:pt x="9652" y="8640"/>
                  </a:cubicBezTo>
                  <a:lnTo>
                    <a:pt x="9652" y="8633"/>
                  </a:lnTo>
                  <a:lnTo>
                    <a:pt x="9655" y="8630"/>
                  </a:lnTo>
                  <a:cubicBezTo>
                    <a:pt x="9718" y="8483"/>
                    <a:pt x="9823" y="8360"/>
                    <a:pt x="9963" y="8280"/>
                  </a:cubicBezTo>
                  <a:cubicBezTo>
                    <a:pt x="9974" y="8273"/>
                    <a:pt x="9988" y="8266"/>
                    <a:pt x="9998" y="8262"/>
                  </a:cubicBezTo>
                  <a:cubicBezTo>
                    <a:pt x="10160" y="8178"/>
                    <a:pt x="10338" y="8126"/>
                    <a:pt x="10517" y="8101"/>
                  </a:cubicBezTo>
                  <a:cubicBezTo>
                    <a:pt x="10527" y="8101"/>
                    <a:pt x="10531" y="8101"/>
                    <a:pt x="10531" y="8087"/>
                  </a:cubicBezTo>
                  <a:cubicBezTo>
                    <a:pt x="10541" y="8007"/>
                    <a:pt x="10450" y="7860"/>
                    <a:pt x="10387" y="7825"/>
                  </a:cubicBezTo>
                  <a:cubicBezTo>
                    <a:pt x="10384" y="7821"/>
                    <a:pt x="10380" y="7818"/>
                    <a:pt x="10377" y="7818"/>
                  </a:cubicBezTo>
                  <a:cubicBezTo>
                    <a:pt x="10282" y="7786"/>
                    <a:pt x="10268" y="7670"/>
                    <a:pt x="10258" y="7551"/>
                  </a:cubicBezTo>
                  <a:cubicBezTo>
                    <a:pt x="10244" y="7415"/>
                    <a:pt x="10226" y="7261"/>
                    <a:pt x="10110" y="7212"/>
                  </a:cubicBezTo>
                  <a:cubicBezTo>
                    <a:pt x="9809" y="7086"/>
                    <a:pt x="9585" y="6893"/>
                    <a:pt x="9515" y="6697"/>
                  </a:cubicBezTo>
                  <a:cubicBezTo>
                    <a:pt x="9470" y="6659"/>
                    <a:pt x="9389" y="6582"/>
                    <a:pt x="9316" y="6512"/>
                  </a:cubicBezTo>
                  <a:cubicBezTo>
                    <a:pt x="9284" y="6480"/>
                    <a:pt x="9253" y="6452"/>
                    <a:pt x="9228" y="6424"/>
                  </a:cubicBezTo>
                  <a:lnTo>
                    <a:pt x="9130" y="6337"/>
                  </a:lnTo>
                  <a:lnTo>
                    <a:pt x="9151" y="6337"/>
                  </a:lnTo>
                  <a:lnTo>
                    <a:pt x="9144" y="6319"/>
                  </a:lnTo>
                  <a:lnTo>
                    <a:pt x="9137" y="6309"/>
                  </a:lnTo>
                  <a:cubicBezTo>
                    <a:pt x="9134" y="6302"/>
                    <a:pt x="9130" y="6295"/>
                    <a:pt x="9130" y="6288"/>
                  </a:cubicBezTo>
                  <a:lnTo>
                    <a:pt x="9127" y="6277"/>
                  </a:lnTo>
                  <a:cubicBezTo>
                    <a:pt x="9123" y="6267"/>
                    <a:pt x="9123" y="6260"/>
                    <a:pt x="9123" y="6253"/>
                  </a:cubicBezTo>
                  <a:lnTo>
                    <a:pt x="9123" y="6246"/>
                  </a:lnTo>
                  <a:cubicBezTo>
                    <a:pt x="9120" y="6235"/>
                    <a:pt x="9120" y="6225"/>
                    <a:pt x="9123" y="6214"/>
                  </a:cubicBezTo>
                  <a:cubicBezTo>
                    <a:pt x="9130" y="6158"/>
                    <a:pt x="9190" y="6095"/>
                    <a:pt x="9298" y="5990"/>
                  </a:cubicBezTo>
                  <a:lnTo>
                    <a:pt x="9351" y="5941"/>
                  </a:lnTo>
                  <a:cubicBezTo>
                    <a:pt x="9491" y="5805"/>
                    <a:pt x="9729" y="5577"/>
                    <a:pt x="9690" y="5468"/>
                  </a:cubicBezTo>
                  <a:cubicBezTo>
                    <a:pt x="9652" y="5360"/>
                    <a:pt x="9491" y="5321"/>
                    <a:pt x="9365" y="5293"/>
                  </a:cubicBezTo>
                  <a:cubicBezTo>
                    <a:pt x="9263" y="5272"/>
                    <a:pt x="9183" y="5255"/>
                    <a:pt x="9155" y="5195"/>
                  </a:cubicBezTo>
                  <a:cubicBezTo>
                    <a:pt x="9130" y="5146"/>
                    <a:pt x="9130" y="5080"/>
                    <a:pt x="9130" y="4985"/>
                  </a:cubicBezTo>
                  <a:cubicBezTo>
                    <a:pt x="9130" y="4859"/>
                    <a:pt x="9130" y="4698"/>
                    <a:pt x="9067" y="4565"/>
                  </a:cubicBezTo>
                  <a:cubicBezTo>
                    <a:pt x="8997" y="4418"/>
                    <a:pt x="9032" y="4278"/>
                    <a:pt x="9060" y="4166"/>
                  </a:cubicBezTo>
                  <a:cubicBezTo>
                    <a:pt x="9078" y="4093"/>
                    <a:pt x="9095" y="4026"/>
                    <a:pt x="9071" y="3991"/>
                  </a:cubicBezTo>
                  <a:cubicBezTo>
                    <a:pt x="8983" y="3858"/>
                    <a:pt x="9057" y="3666"/>
                    <a:pt x="9106" y="3532"/>
                  </a:cubicBezTo>
                  <a:cubicBezTo>
                    <a:pt x="9116" y="3504"/>
                    <a:pt x="9123" y="3480"/>
                    <a:pt x="9127" y="3462"/>
                  </a:cubicBezTo>
                  <a:cubicBezTo>
                    <a:pt x="9144" y="3413"/>
                    <a:pt x="9176" y="3368"/>
                    <a:pt x="9211" y="3333"/>
                  </a:cubicBezTo>
                  <a:cubicBezTo>
                    <a:pt x="9277" y="3256"/>
                    <a:pt x="9354" y="3168"/>
                    <a:pt x="9344" y="3053"/>
                  </a:cubicBezTo>
                  <a:cubicBezTo>
                    <a:pt x="9340" y="3032"/>
                    <a:pt x="9340" y="3007"/>
                    <a:pt x="9344" y="2986"/>
                  </a:cubicBezTo>
                  <a:cubicBezTo>
                    <a:pt x="9344" y="2976"/>
                    <a:pt x="9344" y="2969"/>
                    <a:pt x="9347" y="2958"/>
                  </a:cubicBezTo>
                  <a:cubicBezTo>
                    <a:pt x="9347" y="2951"/>
                    <a:pt x="9351" y="2941"/>
                    <a:pt x="9351" y="2930"/>
                  </a:cubicBezTo>
                  <a:cubicBezTo>
                    <a:pt x="9354" y="2920"/>
                    <a:pt x="9351" y="2923"/>
                    <a:pt x="9354" y="2920"/>
                  </a:cubicBezTo>
                  <a:cubicBezTo>
                    <a:pt x="9358" y="2906"/>
                    <a:pt x="9361" y="2895"/>
                    <a:pt x="9368" y="2881"/>
                  </a:cubicBezTo>
                  <a:cubicBezTo>
                    <a:pt x="9386" y="2839"/>
                    <a:pt x="9414" y="2801"/>
                    <a:pt x="9452" y="2769"/>
                  </a:cubicBezTo>
                  <a:cubicBezTo>
                    <a:pt x="9449" y="2762"/>
                    <a:pt x="9449" y="2752"/>
                    <a:pt x="9445" y="2741"/>
                  </a:cubicBezTo>
                  <a:lnTo>
                    <a:pt x="9442" y="2727"/>
                  </a:lnTo>
                  <a:cubicBezTo>
                    <a:pt x="9438" y="2713"/>
                    <a:pt x="9435" y="2699"/>
                    <a:pt x="9431" y="2682"/>
                  </a:cubicBezTo>
                  <a:lnTo>
                    <a:pt x="9428" y="2668"/>
                  </a:lnTo>
                  <a:cubicBezTo>
                    <a:pt x="9424" y="2657"/>
                    <a:pt x="9421" y="2647"/>
                    <a:pt x="9421" y="2633"/>
                  </a:cubicBezTo>
                  <a:lnTo>
                    <a:pt x="9417" y="2615"/>
                  </a:lnTo>
                  <a:lnTo>
                    <a:pt x="9410" y="2587"/>
                  </a:lnTo>
                  <a:lnTo>
                    <a:pt x="9407" y="2563"/>
                  </a:lnTo>
                  <a:lnTo>
                    <a:pt x="9403" y="2538"/>
                  </a:lnTo>
                  <a:lnTo>
                    <a:pt x="9400" y="2514"/>
                  </a:lnTo>
                  <a:lnTo>
                    <a:pt x="9396" y="2489"/>
                  </a:lnTo>
                  <a:lnTo>
                    <a:pt x="9393" y="2465"/>
                  </a:lnTo>
                  <a:lnTo>
                    <a:pt x="9389" y="2440"/>
                  </a:lnTo>
                  <a:lnTo>
                    <a:pt x="9386" y="2416"/>
                  </a:lnTo>
                  <a:lnTo>
                    <a:pt x="9386" y="2395"/>
                  </a:lnTo>
                  <a:lnTo>
                    <a:pt x="9382" y="2370"/>
                  </a:lnTo>
                  <a:lnTo>
                    <a:pt x="9382" y="2349"/>
                  </a:lnTo>
                  <a:lnTo>
                    <a:pt x="9382" y="2328"/>
                  </a:lnTo>
                  <a:lnTo>
                    <a:pt x="9382" y="2307"/>
                  </a:lnTo>
                  <a:lnTo>
                    <a:pt x="9382" y="2286"/>
                  </a:lnTo>
                  <a:lnTo>
                    <a:pt x="9382" y="2269"/>
                  </a:lnTo>
                  <a:lnTo>
                    <a:pt x="9382" y="2248"/>
                  </a:lnTo>
                  <a:lnTo>
                    <a:pt x="9382" y="2234"/>
                  </a:lnTo>
                  <a:lnTo>
                    <a:pt x="9382" y="2216"/>
                  </a:lnTo>
                  <a:lnTo>
                    <a:pt x="9382" y="2202"/>
                  </a:lnTo>
                  <a:lnTo>
                    <a:pt x="9382" y="2188"/>
                  </a:lnTo>
                  <a:lnTo>
                    <a:pt x="9382" y="2178"/>
                  </a:lnTo>
                  <a:lnTo>
                    <a:pt x="9382" y="2167"/>
                  </a:lnTo>
                  <a:lnTo>
                    <a:pt x="9382" y="2146"/>
                  </a:lnTo>
                  <a:cubicBezTo>
                    <a:pt x="9355" y="2133"/>
                    <a:pt x="9287" y="2125"/>
                    <a:pt x="9207" y="2125"/>
                  </a:cubicBezTo>
                  <a:cubicBezTo>
                    <a:pt x="9162" y="2125"/>
                    <a:pt x="9114" y="2127"/>
                    <a:pt x="9067" y="2132"/>
                  </a:cubicBezTo>
                  <a:cubicBezTo>
                    <a:pt x="9060" y="2133"/>
                    <a:pt x="9054" y="2133"/>
                    <a:pt x="9047" y="2133"/>
                  </a:cubicBezTo>
                  <a:cubicBezTo>
                    <a:pt x="8953" y="2133"/>
                    <a:pt x="8884" y="2042"/>
                    <a:pt x="8819" y="1954"/>
                  </a:cubicBezTo>
                  <a:cubicBezTo>
                    <a:pt x="8777" y="1905"/>
                    <a:pt x="8717" y="1824"/>
                    <a:pt x="8686" y="1824"/>
                  </a:cubicBezTo>
                  <a:cubicBezTo>
                    <a:pt x="8528" y="1824"/>
                    <a:pt x="8381" y="1705"/>
                    <a:pt x="8381" y="1572"/>
                  </a:cubicBezTo>
                  <a:cubicBezTo>
                    <a:pt x="8353" y="1534"/>
                    <a:pt x="8175" y="1482"/>
                    <a:pt x="8030" y="1482"/>
                  </a:cubicBezTo>
                  <a:cubicBezTo>
                    <a:pt x="8013" y="1482"/>
                    <a:pt x="7997" y="1483"/>
                    <a:pt x="7982" y="1484"/>
                  </a:cubicBezTo>
                  <a:cubicBezTo>
                    <a:pt x="7972" y="1486"/>
                    <a:pt x="7961" y="1486"/>
                    <a:pt x="7951" y="1486"/>
                  </a:cubicBezTo>
                  <a:cubicBezTo>
                    <a:pt x="7868" y="1486"/>
                    <a:pt x="7790" y="1448"/>
                    <a:pt x="7737" y="1383"/>
                  </a:cubicBezTo>
                  <a:cubicBezTo>
                    <a:pt x="7730" y="1372"/>
                    <a:pt x="7719" y="1365"/>
                    <a:pt x="7712" y="1358"/>
                  </a:cubicBezTo>
                  <a:cubicBezTo>
                    <a:pt x="7625" y="1355"/>
                    <a:pt x="7355" y="1271"/>
                    <a:pt x="7264" y="1155"/>
                  </a:cubicBezTo>
                  <a:cubicBezTo>
                    <a:pt x="7242" y="1129"/>
                    <a:pt x="7111" y="1092"/>
                    <a:pt x="6956" y="1092"/>
                  </a:cubicBezTo>
                  <a:cubicBezTo>
                    <a:pt x="6943" y="1092"/>
                    <a:pt x="6931" y="1092"/>
                    <a:pt x="6918" y="1092"/>
                  </a:cubicBezTo>
                  <a:cubicBezTo>
                    <a:pt x="6806" y="1096"/>
                    <a:pt x="6746" y="1120"/>
                    <a:pt x="6736" y="1134"/>
                  </a:cubicBezTo>
                  <a:cubicBezTo>
                    <a:pt x="6682" y="1212"/>
                    <a:pt x="6604" y="1231"/>
                    <a:pt x="6524" y="1231"/>
                  </a:cubicBezTo>
                  <a:cubicBezTo>
                    <a:pt x="6484" y="1231"/>
                    <a:pt x="6445" y="1227"/>
                    <a:pt x="6407" y="1222"/>
                  </a:cubicBezTo>
                  <a:cubicBezTo>
                    <a:pt x="6368" y="1215"/>
                    <a:pt x="6333" y="1211"/>
                    <a:pt x="6295" y="1211"/>
                  </a:cubicBezTo>
                  <a:cubicBezTo>
                    <a:pt x="6186" y="1211"/>
                    <a:pt x="5948" y="1407"/>
                    <a:pt x="5864" y="1523"/>
                  </a:cubicBezTo>
                  <a:lnTo>
                    <a:pt x="5853" y="1533"/>
                  </a:lnTo>
                  <a:lnTo>
                    <a:pt x="5853" y="1537"/>
                  </a:lnTo>
                  <a:lnTo>
                    <a:pt x="5846" y="1544"/>
                  </a:lnTo>
                  <a:lnTo>
                    <a:pt x="5843" y="1547"/>
                  </a:lnTo>
                  <a:lnTo>
                    <a:pt x="5836" y="1551"/>
                  </a:lnTo>
                  <a:lnTo>
                    <a:pt x="5829" y="1555"/>
                  </a:lnTo>
                  <a:lnTo>
                    <a:pt x="5822" y="1562"/>
                  </a:lnTo>
                  <a:lnTo>
                    <a:pt x="5818" y="1565"/>
                  </a:lnTo>
                  <a:lnTo>
                    <a:pt x="5808" y="1572"/>
                  </a:lnTo>
                  <a:lnTo>
                    <a:pt x="5801" y="1576"/>
                  </a:lnTo>
                  <a:lnTo>
                    <a:pt x="5790" y="1579"/>
                  </a:lnTo>
                  <a:lnTo>
                    <a:pt x="5780" y="1583"/>
                  </a:lnTo>
                  <a:lnTo>
                    <a:pt x="5769" y="1590"/>
                  </a:lnTo>
                  <a:lnTo>
                    <a:pt x="5759" y="1593"/>
                  </a:lnTo>
                  <a:lnTo>
                    <a:pt x="5745" y="1597"/>
                  </a:lnTo>
                  <a:lnTo>
                    <a:pt x="5731" y="1600"/>
                  </a:lnTo>
                  <a:lnTo>
                    <a:pt x="5717" y="1604"/>
                  </a:lnTo>
                  <a:lnTo>
                    <a:pt x="5703" y="1607"/>
                  </a:lnTo>
                  <a:lnTo>
                    <a:pt x="5685" y="1611"/>
                  </a:lnTo>
                  <a:lnTo>
                    <a:pt x="5668" y="1614"/>
                  </a:lnTo>
                  <a:lnTo>
                    <a:pt x="5647" y="1618"/>
                  </a:lnTo>
                  <a:lnTo>
                    <a:pt x="5629" y="1621"/>
                  </a:lnTo>
                  <a:lnTo>
                    <a:pt x="5605" y="1625"/>
                  </a:lnTo>
                  <a:lnTo>
                    <a:pt x="5587" y="1625"/>
                  </a:lnTo>
                  <a:lnTo>
                    <a:pt x="5559" y="1628"/>
                  </a:lnTo>
                  <a:lnTo>
                    <a:pt x="5486" y="1628"/>
                  </a:lnTo>
                  <a:lnTo>
                    <a:pt x="5430" y="1632"/>
                  </a:lnTo>
                  <a:lnTo>
                    <a:pt x="5426" y="1632"/>
                  </a:lnTo>
                  <a:cubicBezTo>
                    <a:pt x="5430" y="1782"/>
                    <a:pt x="5423" y="1849"/>
                    <a:pt x="5395" y="1891"/>
                  </a:cubicBezTo>
                  <a:cubicBezTo>
                    <a:pt x="5276" y="2066"/>
                    <a:pt x="4534" y="2164"/>
                    <a:pt x="4163" y="2178"/>
                  </a:cubicBezTo>
                  <a:cubicBezTo>
                    <a:pt x="4155" y="2178"/>
                    <a:pt x="4147" y="2178"/>
                    <a:pt x="4140" y="2178"/>
                  </a:cubicBezTo>
                  <a:cubicBezTo>
                    <a:pt x="3891" y="2178"/>
                    <a:pt x="3749" y="2012"/>
                    <a:pt x="3623" y="1866"/>
                  </a:cubicBezTo>
                  <a:cubicBezTo>
                    <a:pt x="3497" y="1716"/>
                    <a:pt x="3378" y="1579"/>
                    <a:pt x="3158" y="1579"/>
                  </a:cubicBezTo>
                  <a:cubicBezTo>
                    <a:pt x="2762" y="1579"/>
                    <a:pt x="2475" y="1243"/>
                    <a:pt x="2433" y="914"/>
                  </a:cubicBezTo>
                  <a:lnTo>
                    <a:pt x="2419" y="907"/>
                  </a:lnTo>
                  <a:lnTo>
                    <a:pt x="2409" y="903"/>
                  </a:lnTo>
                  <a:lnTo>
                    <a:pt x="2388" y="893"/>
                  </a:lnTo>
                  <a:lnTo>
                    <a:pt x="2377" y="889"/>
                  </a:lnTo>
                  <a:lnTo>
                    <a:pt x="2353" y="875"/>
                  </a:lnTo>
                  <a:lnTo>
                    <a:pt x="2346" y="875"/>
                  </a:lnTo>
                  <a:cubicBezTo>
                    <a:pt x="2325" y="865"/>
                    <a:pt x="2304" y="854"/>
                    <a:pt x="2283" y="840"/>
                  </a:cubicBezTo>
                  <a:lnTo>
                    <a:pt x="2276" y="837"/>
                  </a:lnTo>
                  <a:lnTo>
                    <a:pt x="2251" y="823"/>
                  </a:lnTo>
                  <a:lnTo>
                    <a:pt x="2241" y="816"/>
                  </a:lnTo>
                  <a:lnTo>
                    <a:pt x="2220" y="805"/>
                  </a:lnTo>
                  <a:lnTo>
                    <a:pt x="2209" y="798"/>
                  </a:lnTo>
                  <a:lnTo>
                    <a:pt x="2192" y="784"/>
                  </a:lnTo>
                  <a:lnTo>
                    <a:pt x="2181" y="777"/>
                  </a:lnTo>
                  <a:lnTo>
                    <a:pt x="2164" y="767"/>
                  </a:lnTo>
                  <a:lnTo>
                    <a:pt x="2153" y="756"/>
                  </a:lnTo>
                  <a:lnTo>
                    <a:pt x="2136" y="746"/>
                  </a:lnTo>
                  <a:lnTo>
                    <a:pt x="2129" y="739"/>
                  </a:lnTo>
                  <a:lnTo>
                    <a:pt x="2115" y="725"/>
                  </a:lnTo>
                  <a:lnTo>
                    <a:pt x="2104" y="718"/>
                  </a:lnTo>
                  <a:lnTo>
                    <a:pt x="2090" y="704"/>
                  </a:lnTo>
                  <a:lnTo>
                    <a:pt x="2083" y="697"/>
                  </a:lnTo>
                  <a:lnTo>
                    <a:pt x="2073" y="683"/>
                  </a:lnTo>
                  <a:lnTo>
                    <a:pt x="2066" y="676"/>
                  </a:lnTo>
                  <a:cubicBezTo>
                    <a:pt x="2062" y="672"/>
                    <a:pt x="2059" y="665"/>
                    <a:pt x="2059" y="662"/>
                  </a:cubicBezTo>
                  <a:lnTo>
                    <a:pt x="2052" y="655"/>
                  </a:lnTo>
                  <a:cubicBezTo>
                    <a:pt x="2048" y="651"/>
                    <a:pt x="2045" y="644"/>
                    <a:pt x="2045" y="637"/>
                  </a:cubicBezTo>
                  <a:cubicBezTo>
                    <a:pt x="2031" y="609"/>
                    <a:pt x="2031" y="581"/>
                    <a:pt x="2045" y="553"/>
                  </a:cubicBezTo>
                  <a:cubicBezTo>
                    <a:pt x="2076" y="483"/>
                    <a:pt x="2125" y="189"/>
                    <a:pt x="2073" y="133"/>
                  </a:cubicBezTo>
                  <a:cubicBezTo>
                    <a:pt x="2071" y="132"/>
                    <a:pt x="2068" y="132"/>
                    <a:pt x="2064" y="132"/>
                  </a:cubicBezTo>
                  <a:cubicBezTo>
                    <a:pt x="2054" y="132"/>
                    <a:pt x="2037" y="136"/>
                    <a:pt x="2024" y="144"/>
                  </a:cubicBezTo>
                  <a:cubicBezTo>
                    <a:pt x="1943" y="189"/>
                    <a:pt x="1870" y="238"/>
                    <a:pt x="1799" y="291"/>
                  </a:cubicBezTo>
                  <a:cubicBezTo>
                    <a:pt x="1684" y="378"/>
                    <a:pt x="1558" y="455"/>
                    <a:pt x="1432" y="522"/>
                  </a:cubicBezTo>
                  <a:lnTo>
                    <a:pt x="1407" y="532"/>
                  </a:lnTo>
                  <a:cubicBezTo>
                    <a:pt x="1379" y="546"/>
                    <a:pt x="1351" y="560"/>
                    <a:pt x="1320" y="571"/>
                  </a:cubicBezTo>
                  <a:lnTo>
                    <a:pt x="1309" y="574"/>
                  </a:lnTo>
                  <a:cubicBezTo>
                    <a:pt x="1225" y="606"/>
                    <a:pt x="1134" y="627"/>
                    <a:pt x="1043" y="630"/>
                  </a:cubicBezTo>
                  <a:lnTo>
                    <a:pt x="1033" y="630"/>
                  </a:lnTo>
                  <a:cubicBezTo>
                    <a:pt x="1019" y="632"/>
                    <a:pt x="1004" y="633"/>
                    <a:pt x="989" y="633"/>
                  </a:cubicBezTo>
                  <a:cubicBezTo>
                    <a:pt x="973" y="633"/>
                    <a:pt x="958" y="632"/>
                    <a:pt x="942" y="630"/>
                  </a:cubicBezTo>
                  <a:lnTo>
                    <a:pt x="910" y="630"/>
                  </a:lnTo>
                  <a:lnTo>
                    <a:pt x="882" y="627"/>
                  </a:lnTo>
                  <a:lnTo>
                    <a:pt x="795" y="613"/>
                  </a:lnTo>
                  <a:cubicBezTo>
                    <a:pt x="637" y="588"/>
                    <a:pt x="567" y="557"/>
                    <a:pt x="557" y="487"/>
                  </a:cubicBezTo>
                  <a:cubicBezTo>
                    <a:pt x="553" y="473"/>
                    <a:pt x="553" y="462"/>
                    <a:pt x="557" y="448"/>
                  </a:cubicBezTo>
                  <a:cubicBezTo>
                    <a:pt x="557" y="445"/>
                    <a:pt x="557" y="441"/>
                    <a:pt x="557" y="438"/>
                  </a:cubicBezTo>
                  <a:cubicBezTo>
                    <a:pt x="539" y="424"/>
                    <a:pt x="518" y="413"/>
                    <a:pt x="497" y="406"/>
                  </a:cubicBezTo>
                  <a:cubicBezTo>
                    <a:pt x="410" y="368"/>
                    <a:pt x="343" y="291"/>
                    <a:pt x="319" y="196"/>
                  </a:cubicBezTo>
                  <a:lnTo>
                    <a:pt x="315" y="189"/>
                  </a:lnTo>
                  <a:cubicBezTo>
                    <a:pt x="312" y="172"/>
                    <a:pt x="305" y="154"/>
                    <a:pt x="301" y="137"/>
                  </a:cubicBezTo>
                  <a:cubicBezTo>
                    <a:pt x="298" y="123"/>
                    <a:pt x="291" y="98"/>
                    <a:pt x="284" y="77"/>
                  </a:cubicBezTo>
                  <a:lnTo>
                    <a:pt x="284" y="74"/>
                  </a:lnTo>
                  <a:cubicBezTo>
                    <a:pt x="284" y="70"/>
                    <a:pt x="280" y="67"/>
                    <a:pt x="280" y="63"/>
                  </a:cubicBezTo>
                  <a:lnTo>
                    <a:pt x="277" y="56"/>
                  </a:lnTo>
                  <a:cubicBezTo>
                    <a:pt x="273" y="53"/>
                    <a:pt x="273" y="49"/>
                    <a:pt x="270" y="46"/>
                  </a:cubicBezTo>
                  <a:lnTo>
                    <a:pt x="270" y="42"/>
                  </a:lnTo>
                  <a:cubicBezTo>
                    <a:pt x="266" y="35"/>
                    <a:pt x="263" y="32"/>
                    <a:pt x="256" y="28"/>
                  </a:cubicBezTo>
                  <a:cubicBezTo>
                    <a:pt x="252" y="25"/>
                    <a:pt x="249" y="21"/>
                    <a:pt x="245" y="18"/>
                  </a:cubicBezTo>
                  <a:lnTo>
                    <a:pt x="238" y="14"/>
                  </a:lnTo>
                  <a:lnTo>
                    <a:pt x="228" y="11"/>
                  </a:lnTo>
                  <a:lnTo>
                    <a:pt x="217" y="7"/>
                  </a:lnTo>
                  <a:cubicBezTo>
                    <a:pt x="210" y="4"/>
                    <a:pt x="203" y="4"/>
                    <a:pt x="1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0" name="Google Shape;7297;p64">
              <a:extLst>
                <a:ext uri="{FF2B5EF4-FFF2-40B4-BE49-F238E27FC236}">
                  <a16:creationId xmlns:a16="http://schemas.microsoft.com/office/drawing/2014/main" id="{C06D6290-7EB4-5D76-B930-F81BCB1276CB}"/>
                </a:ext>
              </a:extLst>
            </p:cNvPr>
            <p:cNvSpPr/>
            <p:nvPr/>
          </p:nvSpPr>
          <p:spPr>
            <a:xfrm>
              <a:off x="2377313" y="1749667"/>
              <a:ext cx="299" cy="584"/>
            </a:xfrm>
            <a:custGeom>
              <a:avLst/>
              <a:gdLst/>
              <a:ahLst/>
              <a:cxnLst/>
              <a:rect l="l" t="t" r="r" b="b"/>
              <a:pathLst>
                <a:path w="22" h="43" extrusionOk="0">
                  <a:moveTo>
                    <a:pt x="1" y="0"/>
                  </a:moveTo>
                  <a:cubicBezTo>
                    <a:pt x="11" y="14"/>
                    <a:pt x="18" y="32"/>
                    <a:pt x="22" y="43"/>
                  </a:cubicBezTo>
                  <a:cubicBezTo>
                    <a:pt x="18" y="32"/>
                    <a:pt x="11" y="1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1" name="Google Shape;7298;p64">
              <a:extLst>
                <a:ext uri="{FF2B5EF4-FFF2-40B4-BE49-F238E27FC236}">
                  <a16:creationId xmlns:a16="http://schemas.microsoft.com/office/drawing/2014/main" id="{D7D02773-F44D-3D09-5BC0-BC524C32A0BD}"/>
                </a:ext>
              </a:extLst>
            </p:cNvPr>
            <p:cNvSpPr/>
            <p:nvPr/>
          </p:nvSpPr>
          <p:spPr>
            <a:xfrm>
              <a:off x="2378073" y="1751907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cubicBezTo>
                    <a:pt x="1" y="4"/>
                    <a:pt x="1" y="11"/>
                    <a:pt x="1" y="14"/>
                  </a:cubicBezTo>
                  <a:cubicBezTo>
                    <a:pt x="1" y="11"/>
                    <a:pt x="1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2" name="Google Shape;7299;p64">
              <a:extLst>
                <a:ext uri="{FF2B5EF4-FFF2-40B4-BE49-F238E27FC236}">
                  <a16:creationId xmlns:a16="http://schemas.microsoft.com/office/drawing/2014/main" id="{58BC1672-CAF8-9138-001E-BAF2EF12DA43}"/>
                </a:ext>
              </a:extLst>
            </p:cNvPr>
            <p:cNvSpPr/>
            <p:nvPr/>
          </p:nvSpPr>
          <p:spPr>
            <a:xfrm>
              <a:off x="2377978" y="1751282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1" y="1"/>
                  </a:moveTo>
                  <a:cubicBezTo>
                    <a:pt x="1" y="8"/>
                    <a:pt x="4" y="18"/>
                    <a:pt x="4" y="25"/>
                  </a:cubicBezTo>
                  <a:cubicBezTo>
                    <a:pt x="4" y="18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3" name="Google Shape;7300;p64">
              <a:extLst>
                <a:ext uri="{FF2B5EF4-FFF2-40B4-BE49-F238E27FC236}">
                  <a16:creationId xmlns:a16="http://schemas.microsoft.com/office/drawing/2014/main" id="{37CFD736-6A5F-434C-C180-990DF42A75E7}"/>
                </a:ext>
              </a:extLst>
            </p:cNvPr>
            <p:cNvSpPr/>
            <p:nvPr/>
          </p:nvSpPr>
          <p:spPr>
            <a:xfrm>
              <a:off x="2373755" y="1729233"/>
              <a:ext cx="1629" cy="3761"/>
            </a:xfrm>
            <a:custGeom>
              <a:avLst/>
              <a:gdLst/>
              <a:ahLst/>
              <a:cxnLst/>
              <a:rect l="l" t="t" r="r" b="b"/>
              <a:pathLst>
                <a:path w="120" h="277" extrusionOk="0">
                  <a:moveTo>
                    <a:pt x="105" y="0"/>
                  </a:moveTo>
                  <a:cubicBezTo>
                    <a:pt x="104" y="3"/>
                    <a:pt x="103" y="5"/>
                    <a:pt x="102" y="8"/>
                  </a:cubicBezTo>
                  <a:lnTo>
                    <a:pt x="102" y="8"/>
                  </a:lnTo>
                  <a:cubicBezTo>
                    <a:pt x="106" y="1"/>
                    <a:pt x="112" y="0"/>
                    <a:pt x="119" y="0"/>
                  </a:cubicBezTo>
                  <a:close/>
                  <a:moveTo>
                    <a:pt x="102" y="8"/>
                  </a:moveTo>
                  <a:lnTo>
                    <a:pt x="102" y="8"/>
                  </a:lnTo>
                  <a:cubicBezTo>
                    <a:pt x="99" y="13"/>
                    <a:pt x="96" y="20"/>
                    <a:pt x="94" y="32"/>
                  </a:cubicBezTo>
                  <a:lnTo>
                    <a:pt x="94" y="32"/>
                  </a:lnTo>
                  <a:cubicBezTo>
                    <a:pt x="96" y="24"/>
                    <a:pt x="99" y="16"/>
                    <a:pt x="102" y="8"/>
                  </a:cubicBezTo>
                  <a:close/>
                  <a:moveTo>
                    <a:pt x="94" y="32"/>
                  </a:moveTo>
                  <a:cubicBezTo>
                    <a:pt x="90" y="53"/>
                    <a:pt x="89" y="74"/>
                    <a:pt x="91" y="95"/>
                  </a:cubicBezTo>
                  <a:cubicBezTo>
                    <a:pt x="91" y="66"/>
                    <a:pt x="92" y="46"/>
                    <a:pt x="94" y="32"/>
                  </a:cubicBezTo>
                  <a:close/>
                  <a:moveTo>
                    <a:pt x="91" y="95"/>
                  </a:moveTo>
                  <a:lnTo>
                    <a:pt x="91" y="95"/>
                  </a:lnTo>
                  <a:cubicBezTo>
                    <a:pt x="91" y="151"/>
                    <a:pt x="87" y="259"/>
                    <a:pt x="0" y="277"/>
                  </a:cubicBezTo>
                  <a:cubicBezTo>
                    <a:pt x="91" y="259"/>
                    <a:pt x="91" y="151"/>
                    <a:pt x="91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4" name="Google Shape;7301;p64">
              <a:extLst>
                <a:ext uri="{FF2B5EF4-FFF2-40B4-BE49-F238E27FC236}">
                  <a16:creationId xmlns:a16="http://schemas.microsoft.com/office/drawing/2014/main" id="{7790EB94-8FFC-5B4C-6F07-33B811D5926C}"/>
                </a:ext>
              </a:extLst>
            </p:cNvPr>
            <p:cNvSpPr/>
            <p:nvPr/>
          </p:nvSpPr>
          <p:spPr>
            <a:xfrm>
              <a:off x="2378032" y="1751622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0"/>
                  </a:moveTo>
                  <a:cubicBezTo>
                    <a:pt x="0" y="7"/>
                    <a:pt x="0" y="14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5" name="Google Shape;7302;p64">
              <a:extLst>
                <a:ext uri="{FF2B5EF4-FFF2-40B4-BE49-F238E27FC236}">
                  <a16:creationId xmlns:a16="http://schemas.microsoft.com/office/drawing/2014/main" id="{519C4BA8-7BAA-4AB9-6260-563DCCCC5EB2}"/>
                </a:ext>
              </a:extLst>
            </p:cNvPr>
            <p:cNvSpPr/>
            <p:nvPr/>
          </p:nvSpPr>
          <p:spPr>
            <a:xfrm>
              <a:off x="2374135" y="174438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6" name="Google Shape;7303;p64">
              <a:extLst>
                <a:ext uri="{FF2B5EF4-FFF2-40B4-BE49-F238E27FC236}">
                  <a16:creationId xmlns:a16="http://schemas.microsoft.com/office/drawing/2014/main" id="{49FCAEFC-4305-F111-FC4A-6FF5AB513CD6}"/>
                </a:ext>
              </a:extLst>
            </p:cNvPr>
            <p:cNvSpPr/>
            <p:nvPr/>
          </p:nvSpPr>
          <p:spPr>
            <a:xfrm>
              <a:off x="2377842" y="1750862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0" y="0"/>
                  </a:moveTo>
                  <a:cubicBezTo>
                    <a:pt x="4" y="11"/>
                    <a:pt x="7" y="21"/>
                    <a:pt x="11" y="28"/>
                  </a:cubicBezTo>
                  <a:cubicBezTo>
                    <a:pt x="7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7" name="Google Shape;7304;p64">
              <a:extLst>
                <a:ext uri="{FF2B5EF4-FFF2-40B4-BE49-F238E27FC236}">
                  <a16:creationId xmlns:a16="http://schemas.microsoft.com/office/drawing/2014/main" id="{60952A8F-D384-F537-3D59-A4293E5B183C}"/>
                </a:ext>
              </a:extLst>
            </p:cNvPr>
            <p:cNvSpPr/>
            <p:nvPr/>
          </p:nvSpPr>
          <p:spPr>
            <a:xfrm>
              <a:off x="2373470" y="1733034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cubicBezTo>
                    <a:pt x="11" y="0"/>
                    <a:pt x="7" y="0"/>
                    <a:pt x="0" y="0"/>
                  </a:cubicBezTo>
                  <a:cubicBezTo>
                    <a:pt x="7" y="0"/>
                    <a:pt x="11" y="0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8" name="Google Shape;7305;p64">
              <a:extLst>
                <a:ext uri="{FF2B5EF4-FFF2-40B4-BE49-F238E27FC236}">
                  <a16:creationId xmlns:a16="http://schemas.microsoft.com/office/drawing/2014/main" id="{BF04A035-DEBB-B7C5-BF55-8DAC3A4870BC}"/>
                </a:ext>
              </a:extLst>
            </p:cNvPr>
            <p:cNvSpPr/>
            <p:nvPr/>
          </p:nvSpPr>
          <p:spPr>
            <a:xfrm>
              <a:off x="2374135" y="1745485"/>
              <a:ext cx="2295" cy="2485"/>
            </a:xfrm>
            <a:custGeom>
              <a:avLst/>
              <a:gdLst/>
              <a:ahLst/>
              <a:cxnLst/>
              <a:rect l="l" t="t" r="r" b="b"/>
              <a:pathLst>
                <a:path w="169" h="183" extrusionOk="0">
                  <a:moveTo>
                    <a:pt x="168" y="182"/>
                  </a:moveTo>
                  <a:cubicBezTo>
                    <a:pt x="123" y="109"/>
                    <a:pt x="60" y="28"/>
                    <a:pt x="0" y="0"/>
                  </a:cubicBezTo>
                  <a:lnTo>
                    <a:pt x="0" y="0"/>
                  </a:lnTo>
                  <a:cubicBezTo>
                    <a:pt x="60" y="28"/>
                    <a:pt x="123" y="109"/>
                    <a:pt x="168" y="1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9" name="Google Shape;7306;p64">
              <a:extLst>
                <a:ext uri="{FF2B5EF4-FFF2-40B4-BE49-F238E27FC236}">
                  <a16:creationId xmlns:a16="http://schemas.microsoft.com/office/drawing/2014/main" id="{B25BAB4A-F534-C4C9-262E-264239525807}"/>
                </a:ext>
              </a:extLst>
            </p:cNvPr>
            <p:cNvSpPr/>
            <p:nvPr/>
          </p:nvSpPr>
          <p:spPr>
            <a:xfrm>
              <a:off x="2377652" y="1750291"/>
              <a:ext cx="204" cy="530"/>
            </a:xfrm>
            <a:custGeom>
              <a:avLst/>
              <a:gdLst/>
              <a:ahLst/>
              <a:cxnLst/>
              <a:rect l="l" t="t" r="r" b="b"/>
              <a:pathLst>
                <a:path w="15" h="39" extrusionOk="0">
                  <a:moveTo>
                    <a:pt x="0" y="0"/>
                  </a:moveTo>
                  <a:cubicBezTo>
                    <a:pt x="4" y="14"/>
                    <a:pt x="11" y="28"/>
                    <a:pt x="14" y="39"/>
                  </a:cubicBezTo>
                  <a:cubicBezTo>
                    <a:pt x="11" y="28"/>
                    <a:pt x="4" y="14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0" name="Google Shape;7307;p64">
              <a:extLst>
                <a:ext uri="{FF2B5EF4-FFF2-40B4-BE49-F238E27FC236}">
                  <a16:creationId xmlns:a16="http://schemas.microsoft.com/office/drawing/2014/main" id="{BDEEEA67-315A-2A5B-F490-C2CB60501F6E}"/>
                </a:ext>
              </a:extLst>
            </p:cNvPr>
            <p:cNvSpPr/>
            <p:nvPr/>
          </p:nvSpPr>
          <p:spPr>
            <a:xfrm>
              <a:off x="2376932" y="1748852"/>
              <a:ext cx="394" cy="774"/>
            </a:xfrm>
            <a:custGeom>
              <a:avLst/>
              <a:gdLst/>
              <a:ahLst/>
              <a:cxnLst/>
              <a:rect l="l" t="t" r="r" b="b"/>
              <a:pathLst>
                <a:path w="29" h="57" extrusionOk="0">
                  <a:moveTo>
                    <a:pt x="1" y="1"/>
                  </a:moveTo>
                  <a:cubicBezTo>
                    <a:pt x="11" y="22"/>
                    <a:pt x="22" y="39"/>
                    <a:pt x="29" y="57"/>
                  </a:cubicBezTo>
                  <a:cubicBezTo>
                    <a:pt x="22" y="39"/>
                    <a:pt x="11" y="2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1" name="Google Shape;7308;p64">
              <a:extLst>
                <a:ext uri="{FF2B5EF4-FFF2-40B4-BE49-F238E27FC236}">
                  <a16:creationId xmlns:a16="http://schemas.microsoft.com/office/drawing/2014/main" id="{07E2B020-4FFA-DC20-185D-7B917858AB16}"/>
                </a:ext>
              </a:extLst>
            </p:cNvPr>
            <p:cNvSpPr/>
            <p:nvPr/>
          </p:nvSpPr>
          <p:spPr>
            <a:xfrm>
              <a:off x="2374135" y="1742063"/>
              <a:ext cx="244" cy="2335"/>
            </a:xfrm>
            <a:custGeom>
              <a:avLst/>
              <a:gdLst/>
              <a:ahLst/>
              <a:cxnLst/>
              <a:rect l="l" t="t" r="r" b="b"/>
              <a:pathLst>
                <a:path w="18" h="172" extrusionOk="0">
                  <a:moveTo>
                    <a:pt x="18" y="0"/>
                  </a:moveTo>
                  <a:cubicBezTo>
                    <a:pt x="14" y="46"/>
                    <a:pt x="4" y="116"/>
                    <a:pt x="0" y="172"/>
                  </a:cubicBezTo>
                  <a:cubicBezTo>
                    <a:pt x="4" y="116"/>
                    <a:pt x="14" y="49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2" name="Google Shape;7309;p64">
              <a:extLst>
                <a:ext uri="{FF2B5EF4-FFF2-40B4-BE49-F238E27FC236}">
                  <a16:creationId xmlns:a16="http://schemas.microsoft.com/office/drawing/2014/main" id="{054B51D8-A171-AE03-3BDB-B5C0CD0904C1}"/>
                </a:ext>
              </a:extLst>
            </p:cNvPr>
            <p:cNvSpPr/>
            <p:nvPr/>
          </p:nvSpPr>
          <p:spPr>
            <a:xfrm>
              <a:off x="2378073" y="1752138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1"/>
                  </a:moveTo>
                  <a:cubicBezTo>
                    <a:pt x="1" y="1"/>
                    <a:pt x="1" y="4"/>
                    <a:pt x="1" y="8"/>
                  </a:cubicBezTo>
                  <a:cubicBezTo>
                    <a:pt x="1" y="4"/>
                    <a:pt x="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3" name="Google Shape;7310;p64">
              <a:extLst>
                <a:ext uri="{FF2B5EF4-FFF2-40B4-BE49-F238E27FC236}">
                  <a16:creationId xmlns:a16="http://schemas.microsoft.com/office/drawing/2014/main" id="{D52922D5-02AF-5AED-18BB-59BC8D9844CA}"/>
                </a:ext>
              </a:extLst>
            </p:cNvPr>
            <p:cNvSpPr/>
            <p:nvPr/>
          </p:nvSpPr>
          <p:spPr>
            <a:xfrm>
              <a:off x="2374135" y="17448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4" name="Google Shape;7311;p64">
              <a:extLst>
                <a:ext uri="{FF2B5EF4-FFF2-40B4-BE49-F238E27FC236}">
                  <a16:creationId xmlns:a16="http://schemas.microsoft.com/office/drawing/2014/main" id="{E9F6A93A-64FD-2952-D994-FDED5BDC7442}"/>
                </a:ext>
              </a:extLst>
            </p:cNvPr>
            <p:cNvSpPr/>
            <p:nvPr/>
          </p:nvSpPr>
          <p:spPr>
            <a:xfrm>
              <a:off x="2402173" y="180666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1" y="0"/>
                  </a:moveTo>
                  <a:lnTo>
                    <a:pt x="1" y="0"/>
                  </a:lnTo>
                  <a:cubicBezTo>
                    <a:pt x="2" y="2"/>
                    <a:pt x="3" y="4"/>
                    <a:pt x="4" y="5"/>
                  </a:cubicBezTo>
                  <a:lnTo>
                    <a:pt x="4" y="5"/>
                  </a:lnTo>
                  <a:cubicBezTo>
                    <a:pt x="3" y="3"/>
                    <a:pt x="2" y="2"/>
                    <a:pt x="1" y="0"/>
                  </a:cubicBezTo>
                  <a:close/>
                  <a:moveTo>
                    <a:pt x="4" y="5"/>
                  </a:moveTo>
                  <a:cubicBezTo>
                    <a:pt x="5" y="7"/>
                    <a:pt x="6" y="10"/>
                    <a:pt x="8" y="14"/>
                  </a:cubicBezTo>
                  <a:cubicBezTo>
                    <a:pt x="8" y="9"/>
                    <a:pt x="6" y="8"/>
                    <a:pt x="4" y="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5" name="Google Shape;7312;p64">
              <a:extLst>
                <a:ext uri="{FF2B5EF4-FFF2-40B4-BE49-F238E27FC236}">
                  <a16:creationId xmlns:a16="http://schemas.microsoft.com/office/drawing/2014/main" id="{C072ACAE-B1E0-0F6F-A1F1-ACF4CA82BC9E}"/>
                </a:ext>
              </a:extLst>
            </p:cNvPr>
            <p:cNvSpPr/>
            <p:nvPr/>
          </p:nvSpPr>
          <p:spPr>
            <a:xfrm>
              <a:off x="2402458" y="180718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6" name="Google Shape;7313;p64">
              <a:extLst>
                <a:ext uri="{FF2B5EF4-FFF2-40B4-BE49-F238E27FC236}">
                  <a16:creationId xmlns:a16="http://schemas.microsoft.com/office/drawing/2014/main" id="{18FCB5DB-D7C5-3AC6-E0B9-95932D94B035}"/>
                </a:ext>
              </a:extLst>
            </p:cNvPr>
            <p:cNvSpPr/>
            <p:nvPr/>
          </p:nvSpPr>
          <p:spPr>
            <a:xfrm>
              <a:off x="2403218" y="1808186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7" name="Google Shape;7314;p64">
              <a:extLst>
                <a:ext uri="{FF2B5EF4-FFF2-40B4-BE49-F238E27FC236}">
                  <a16:creationId xmlns:a16="http://schemas.microsoft.com/office/drawing/2014/main" id="{959CCC39-656F-15D4-0D60-41C0B92F7DEA}"/>
                </a:ext>
              </a:extLst>
            </p:cNvPr>
            <p:cNvSpPr/>
            <p:nvPr/>
          </p:nvSpPr>
          <p:spPr>
            <a:xfrm>
              <a:off x="2403504" y="1808566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8" name="Google Shape;7315;p64">
              <a:extLst>
                <a:ext uri="{FF2B5EF4-FFF2-40B4-BE49-F238E27FC236}">
                  <a16:creationId xmlns:a16="http://schemas.microsoft.com/office/drawing/2014/main" id="{C9F61C07-F1B9-7B39-CCC2-F3D3BA15D75C}"/>
                </a:ext>
              </a:extLst>
            </p:cNvPr>
            <p:cNvSpPr/>
            <p:nvPr/>
          </p:nvSpPr>
          <p:spPr>
            <a:xfrm>
              <a:off x="2402132" y="180642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9" name="Google Shape;7316;p64">
              <a:extLst>
                <a:ext uri="{FF2B5EF4-FFF2-40B4-BE49-F238E27FC236}">
                  <a16:creationId xmlns:a16="http://schemas.microsoft.com/office/drawing/2014/main" id="{033A8220-5E65-E82D-CCD7-541F21629B4C}"/>
                </a:ext>
              </a:extLst>
            </p:cNvPr>
            <p:cNvSpPr/>
            <p:nvPr/>
          </p:nvSpPr>
          <p:spPr>
            <a:xfrm>
              <a:off x="2403789" y="18088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0" name="Google Shape;7317;p64">
              <a:extLst>
                <a:ext uri="{FF2B5EF4-FFF2-40B4-BE49-F238E27FC236}">
                  <a16:creationId xmlns:a16="http://schemas.microsoft.com/office/drawing/2014/main" id="{F76D30B7-1298-6916-57C2-32F295C735EB}"/>
                </a:ext>
              </a:extLst>
            </p:cNvPr>
            <p:cNvSpPr/>
            <p:nvPr/>
          </p:nvSpPr>
          <p:spPr>
            <a:xfrm>
              <a:off x="2402078" y="180613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cubicBezTo>
                    <a:pt x="1" y="11"/>
                    <a:pt x="1" y="4"/>
                    <a:pt x="1" y="0"/>
                  </a:cubicBezTo>
                  <a:cubicBezTo>
                    <a:pt x="1" y="4"/>
                    <a:pt x="1" y="11"/>
                    <a:pt x="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1" name="Google Shape;7318;p64">
              <a:extLst>
                <a:ext uri="{FF2B5EF4-FFF2-40B4-BE49-F238E27FC236}">
                  <a16:creationId xmlns:a16="http://schemas.microsoft.com/office/drawing/2014/main" id="{16754A35-AB54-D129-10BA-8E5699A0F0DB}"/>
                </a:ext>
              </a:extLst>
            </p:cNvPr>
            <p:cNvSpPr/>
            <p:nvPr/>
          </p:nvSpPr>
          <p:spPr>
            <a:xfrm>
              <a:off x="2404508" y="180965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2" name="Google Shape;7319;p64">
              <a:extLst>
                <a:ext uri="{FF2B5EF4-FFF2-40B4-BE49-F238E27FC236}">
                  <a16:creationId xmlns:a16="http://schemas.microsoft.com/office/drawing/2014/main" id="{33818F87-D65E-1A7E-4F8E-D98FDA0A218B}"/>
                </a:ext>
              </a:extLst>
            </p:cNvPr>
            <p:cNvSpPr/>
            <p:nvPr/>
          </p:nvSpPr>
          <p:spPr>
            <a:xfrm>
              <a:off x="2402703" y="180752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7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3" name="Google Shape;7320;p64">
              <a:extLst>
                <a:ext uri="{FF2B5EF4-FFF2-40B4-BE49-F238E27FC236}">
                  <a16:creationId xmlns:a16="http://schemas.microsoft.com/office/drawing/2014/main" id="{A4E79C61-CF6D-3C41-9950-3392C9589279}"/>
                </a:ext>
              </a:extLst>
            </p:cNvPr>
            <p:cNvSpPr/>
            <p:nvPr/>
          </p:nvSpPr>
          <p:spPr>
            <a:xfrm>
              <a:off x="2402933" y="180790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4" name="Google Shape;7321;p64">
              <a:extLst>
                <a:ext uri="{FF2B5EF4-FFF2-40B4-BE49-F238E27FC236}">
                  <a16:creationId xmlns:a16="http://schemas.microsoft.com/office/drawing/2014/main" id="{0C379FC1-ABA1-6637-3D4E-356A4F064629}"/>
                </a:ext>
              </a:extLst>
            </p:cNvPr>
            <p:cNvSpPr/>
            <p:nvPr/>
          </p:nvSpPr>
          <p:spPr>
            <a:xfrm>
              <a:off x="2404128" y="1809272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5" name="Google Shape;7322;p64">
              <a:extLst>
                <a:ext uri="{FF2B5EF4-FFF2-40B4-BE49-F238E27FC236}">
                  <a16:creationId xmlns:a16="http://schemas.microsoft.com/office/drawing/2014/main" id="{4C375667-040D-4152-D12F-576A894C3A4A}"/>
                </a:ext>
              </a:extLst>
            </p:cNvPr>
            <p:cNvSpPr/>
            <p:nvPr/>
          </p:nvSpPr>
          <p:spPr>
            <a:xfrm>
              <a:off x="2378697" y="1753468"/>
              <a:ext cx="204" cy="299"/>
            </a:xfrm>
            <a:custGeom>
              <a:avLst/>
              <a:gdLst/>
              <a:ahLst/>
              <a:cxnLst/>
              <a:rect l="l" t="t" r="r" b="b"/>
              <a:pathLst>
                <a:path w="15" h="22" extrusionOk="0">
                  <a:moveTo>
                    <a:pt x="14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6" name="Google Shape;7323;p64">
              <a:extLst>
                <a:ext uri="{FF2B5EF4-FFF2-40B4-BE49-F238E27FC236}">
                  <a16:creationId xmlns:a16="http://schemas.microsoft.com/office/drawing/2014/main" id="{7C9621B0-9B57-3576-E7FE-AD7C45EEDAE5}"/>
                </a:ext>
              </a:extLst>
            </p:cNvPr>
            <p:cNvSpPr/>
            <p:nvPr/>
          </p:nvSpPr>
          <p:spPr>
            <a:xfrm>
              <a:off x="2388487" y="1786652"/>
              <a:ext cx="6476" cy="3910"/>
            </a:xfrm>
            <a:custGeom>
              <a:avLst/>
              <a:gdLst/>
              <a:ahLst/>
              <a:cxnLst/>
              <a:rect l="l" t="t" r="r" b="b"/>
              <a:pathLst>
                <a:path w="477" h="288" extrusionOk="0">
                  <a:moveTo>
                    <a:pt x="0" y="0"/>
                  </a:moveTo>
                  <a:cubicBezTo>
                    <a:pt x="53" y="67"/>
                    <a:pt x="119" y="119"/>
                    <a:pt x="193" y="158"/>
                  </a:cubicBezTo>
                  <a:cubicBezTo>
                    <a:pt x="280" y="210"/>
                    <a:pt x="375" y="256"/>
                    <a:pt x="476" y="287"/>
                  </a:cubicBezTo>
                  <a:cubicBezTo>
                    <a:pt x="375" y="256"/>
                    <a:pt x="280" y="210"/>
                    <a:pt x="193" y="158"/>
                  </a:cubicBezTo>
                  <a:cubicBezTo>
                    <a:pt x="119" y="119"/>
                    <a:pt x="53" y="6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7" name="Google Shape;7324;p64">
              <a:extLst>
                <a:ext uri="{FF2B5EF4-FFF2-40B4-BE49-F238E27FC236}">
                  <a16:creationId xmlns:a16="http://schemas.microsoft.com/office/drawing/2014/main" id="{09595097-BF0F-2569-3900-847A6119455D}"/>
                </a:ext>
              </a:extLst>
            </p:cNvPr>
            <p:cNvSpPr/>
            <p:nvPr/>
          </p:nvSpPr>
          <p:spPr>
            <a:xfrm>
              <a:off x="2378032" y="17522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8" name="Google Shape;7325;p64">
              <a:extLst>
                <a:ext uri="{FF2B5EF4-FFF2-40B4-BE49-F238E27FC236}">
                  <a16:creationId xmlns:a16="http://schemas.microsoft.com/office/drawing/2014/main" id="{AA20B018-5E83-BC23-42D1-BD90FEADA7AC}"/>
                </a:ext>
              </a:extLst>
            </p:cNvPr>
            <p:cNvSpPr/>
            <p:nvPr/>
          </p:nvSpPr>
          <p:spPr>
            <a:xfrm>
              <a:off x="2402268" y="180689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9" name="Google Shape;7326;p64">
              <a:extLst>
                <a:ext uri="{FF2B5EF4-FFF2-40B4-BE49-F238E27FC236}">
                  <a16:creationId xmlns:a16="http://schemas.microsoft.com/office/drawing/2014/main" id="{237B4B2F-2507-30A4-B84C-7723E70118E1}"/>
                </a:ext>
              </a:extLst>
            </p:cNvPr>
            <p:cNvSpPr/>
            <p:nvPr/>
          </p:nvSpPr>
          <p:spPr>
            <a:xfrm>
              <a:off x="2449043" y="1751187"/>
              <a:ext cx="299" cy="68"/>
            </a:xfrm>
            <a:custGeom>
              <a:avLst/>
              <a:gdLst/>
              <a:ahLst/>
              <a:cxnLst/>
              <a:rect l="l" t="t" r="r" b="b"/>
              <a:pathLst>
                <a:path w="22" h="5" extrusionOk="0">
                  <a:moveTo>
                    <a:pt x="2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0" name="Google Shape;7327;p64">
              <a:extLst>
                <a:ext uri="{FF2B5EF4-FFF2-40B4-BE49-F238E27FC236}">
                  <a16:creationId xmlns:a16="http://schemas.microsoft.com/office/drawing/2014/main" id="{4CEBEE88-CEFB-A7A0-F664-16DB4B89D35A}"/>
                </a:ext>
              </a:extLst>
            </p:cNvPr>
            <p:cNvSpPr/>
            <p:nvPr/>
          </p:nvSpPr>
          <p:spPr>
            <a:xfrm>
              <a:off x="2452559" y="175008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1" name="Google Shape;7328;p64">
              <a:extLst>
                <a:ext uri="{FF2B5EF4-FFF2-40B4-BE49-F238E27FC236}">
                  <a16:creationId xmlns:a16="http://schemas.microsoft.com/office/drawing/2014/main" id="{6E2CE6E3-6E2B-7064-3DBC-EF996F7922C7}"/>
                </a:ext>
              </a:extLst>
            </p:cNvPr>
            <p:cNvSpPr/>
            <p:nvPr/>
          </p:nvSpPr>
          <p:spPr>
            <a:xfrm>
              <a:off x="2448418" y="17512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2" name="Google Shape;7329;p64">
              <a:extLst>
                <a:ext uri="{FF2B5EF4-FFF2-40B4-BE49-F238E27FC236}">
                  <a16:creationId xmlns:a16="http://schemas.microsoft.com/office/drawing/2014/main" id="{9BF38282-353F-97A4-DC56-56B3C4E11A58}"/>
                </a:ext>
              </a:extLst>
            </p:cNvPr>
            <p:cNvSpPr/>
            <p:nvPr/>
          </p:nvSpPr>
          <p:spPr>
            <a:xfrm>
              <a:off x="2451419" y="1750712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3" name="Google Shape;7330;p64">
              <a:extLst>
                <a:ext uri="{FF2B5EF4-FFF2-40B4-BE49-F238E27FC236}">
                  <a16:creationId xmlns:a16="http://schemas.microsoft.com/office/drawing/2014/main" id="{D181B48F-4050-AFC0-C4A2-10725E5812FC}"/>
                </a:ext>
              </a:extLst>
            </p:cNvPr>
            <p:cNvSpPr/>
            <p:nvPr/>
          </p:nvSpPr>
          <p:spPr>
            <a:xfrm>
              <a:off x="2451038" y="175080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4" name="Google Shape;7331;p64">
              <a:extLst>
                <a:ext uri="{FF2B5EF4-FFF2-40B4-BE49-F238E27FC236}">
                  <a16:creationId xmlns:a16="http://schemas.microsoft.com/office/drawing/2014/main" id="{6D2E1195-B39E-BF47-AA0B-DA2E2C56248C}"/>
                </a:ext>
              </a:extLst>
            </p:cNvPr>
            <p:cNvSpPr/>
            <p:nvPr/>
          </p:nvSpPr>
          <p:spPr>
            <a:xfrm>
              <a:off x="2452179" y="175033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5" name="Google Shape;7332;p64">
              <a:extLst>
                <a:ext uri="{FF2B5EF4-FFF2-40B4-BE49-F238E27FC236}">
                  <a16:creationId xmlns:a16="http://schemas.microsoft.com/office/drawing/2014/main" id="{DD4C7BEE-5E5B-5AB9-29D1-AA034CBE2231}"/>
                </a:ext>
              </a:extLst>
            </p:cNvPr>
            <p:cNvSpPr/>
            <p:nvPr/>
          </p:nvSpPr>
          <p:spPr>
            <a:xfrm>
              <a:off x="2447658" y="175128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6" name="Google Shape;7333;p64">
              <a:extLst>
                <a:ext uri="{FF2B5EF4-FFF2-40B4-BE49-F238E27FC236}">
                  <a16:creationId xmlns:a16="http://schemas.microsoft.com/office/drawing/2014/main" id="{4F2BE324-7481-9DFF-2873-466812871B97}"/>
                </a:ext>
              </a:extLst>
            </p:cNvPr>
            <p:cNvSpPr/>
            <p:nvPr/>
          </p:nvSpPr>
          <p:spPr>
            <a:xfrm>
              <a:off x="2446857" y="17513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7" name="Google Shape;7334;p64">
              <a:extLst>
                <a:ext uri="{FF2B5EF4-FFF2-40B4-BE49-F238E27FC236}">
                  <a16:creationId xmlns:a16="http://schemas.microsoft.com/office/drawing/2014/main" id="{C9E2A159-486F-F02A-6F0E-B9113B8FB25B}"/>
                </a:ext>
              </a:extLst>
            </p:cNvPr>
            <p:cNvSpPr/>
            <p:nvPr/>
          </p:nvSpPr>
          <p:spPr>
            <a:xfrm>
              <a:off x="2500610" y="1758560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ubicBezTo>
                    <a:pt x="1" y="4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8" name="Google Shape;7335;p64">
              <a:extLst>
                <a:ext uri="{FF2B5EF4-FFF2-40B4-BE49-F238E27FC236}">
                  <a16:creationId xmlns:a16="http://schemas.microsoft.com/office/drawing/2014/main" id="{D46EFD73-A170-F483-CC88-AAC8F35F71E2}"/>
                </a:ext>
              </a:extLst>
            </p:cNvPr>
            <p:cNvSpPr/>
            <p:nvPr/>
          </p:nvSpPr>
          <p:spPr>
            <a:xfrm>
              <a:off x="2500610" y="17588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9" name="Google Shape;7336;p64">
              <a:extLst>
                <a:ext uri="{FF2B5EF4-FFF2-40B4-BE49-F238E27FC236}">
                  <a16:creationId xmlns:a16="http://schemas.microsoft.com/office/drawing/2014/main" id="{BB1293B2-5AF3-A2F4-5856-DD7CA746EBE7}"/>
                </a:ext>
              </a:extLst>
            </p:cNvPr>
            <p:cNvSpPr/>
            <p:nvPr/>
          </p:nvSpPr>
          <p:spPr>
            <a:xfrm>
              <a:off x="2450658" y="1750902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0" name="Google Shape;7337;p64">
              <a:extLst>
                <a:ext uri="{FF2B5EF4-FFF2-40B4-BE49-F238E27FC236}">
                  <a16:creationId xmlns:a16="http://schemas.microsoft.com/office/drawing/2014/main" id="{CB6FF6C8-7B43-73B1-234A-CE461CA3FE02}"/>
                </a:ext>
              </a:extLst>
            </p:cNvPr>
            <p:cNvSpPr/>
            <p:nvPr/>
          </p:nvSpPr>
          <p:spPr>
            <a:xfrm>
              <a:off x="2451989" y="1750481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1" name="Google Shape;7338;p64">
              <a:extLst>
                <a:ext uri="{FF2B5EF4-FFF2-40B4-BE49-F238E27FC236}">
                  <a16:creationId xmlns:a16="http://schemas.microsoft.com/office/drawing/2014/main" id="{487EEA03-F2E9-9465-DFF1-E3568F531F08}"/>
                </a:ext>
              </a:extLst>
            </p:cNvPr>
            <p:cNvSpPr/>
            <p:nvPr/>
          </p:nvSpPr>
          <p:spPr>
            <a:xfrm>
              <a:off x="2449654" y="1751092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8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2" name="Google Shape;7339;p64">
              <a:extLst>
                <a:ext uri="{FF2B5EF4-FFF2-40B4-BE49-F238E27FC236}">
                  <a16:creationId xmlns:a16="http://schemas.microsoft.com/office/drawing/2014/main" id="{A91C11A1-7671-0080-EB5A-6B51BAC1192C}"/>
                </a:ext>
              </a:extLst>
            </p:cNvPr>
            <p:cNvSpPr/>
            <p:nvPr/>
          </p:nvSpPr>
          <p:spPr>
            <a:xfrm>
              <a:off x="2500664" y="1759266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0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3" name="Google Shape;7340;p64">
              <a:extLst>
                <a:ext uri="{FF2B5EF4-FFF2-40B4-BE49-F238E27FC236}">
                  <a16:creationId xmlns:a16="http://schemas.microsoft.com/office/drawing/2014/main" id="{9A83967A-7808-C5BC-6A6A-0683BF3DD332}"/>
                </a:ext>
              </a:extLst>
            </p:cNvPr>
            <p:cNvSpPr/>
            <p:nvPr/>
          </p:nvSpPr>
          <p:spPr>
            <a:xfrm>
              <a:off x="2500800" y="1760787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4" name="Google Shape;7341;p64">
              <a:extLst>
                <a:ext uri="{FF2B5EF4-FFF2-40B4-BE49-F238E27FC236}">
                  <a16:creationId xmlns:a16="http://schemas.microsoft.com/office/drawing/2014/main" id="{769A27CF-815F-B0D8-E63E-5EE52528C245}"/>
                </a:ext>
              </a:extLst>
            </p:cNvPr>
            <p:cNvSpPr/>
            <p:nvPr/>
          </p:nvSpPr>
          <p:spPr>
            <a:xfrm>
              <a:off x="2500664" y="1759741"/>
              <a:ext cx="54" cy="258"/>
            </a:xfrm>
            <a:custGeom>
              <a:avLst/>
              <a:gdLst/>
              <a:ahLst/>
              <a:cxnLst/>
              <a:rect l="l" t="t" r="r" b="b"/>
              <a:pathLst>
                <a:path w="4" h="19" extrusionOk="0">
                  <a:moveTo>
                    <a:pt x="4" y="1"/>
                  </a:moveTo>
                  <a:cubicBezTo>
                    <a:pt x="0" y="4"/>
                    <a:pt x="4" y="11"/>
                    <a:pt x="4" y="18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5" name="Google Shape;7342;p64">
              <a:extLst>
                <a:ext uri="{FF2B5EF4-FFF2-40B4-BE49-F238E27FC236}">
                  <a16:creationId xmlns:a16="http://schemas.microsoft.com/office/drawing/2014/main" id="{DF0B809B-3C54-166D-FBE5-843CFC120D9E}"/>
                </a:ext>
              </a:extLst>
            </p:cNvPr>
            <p:cNvSpPr/>
            <p:nvPr/>
          </p:nvSpPr>
          <p:spPr>
            <a:xfrm>
              <a:off x="2500759" y="1760216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6" name="Google Shape;7343;p64">
              <a:extLst>
                <a:ext uri="{FF2B5EF4-FFF2-40B4-BE49-F238E27FC236}">
                  <a16:creationId xmlns:a16="http://schemas.microsoft.com/office/drawing/2014/main" id="{E61212CD-9CCB-8746-9692-E102284483C3}"/>
                </a:ext>
              </a:extLst>
            </p:cNvPr>
            <p:cNvSpPr/>
            <p:nvPr/>
          </p:nvSpPr>
          <p:spPr>
            <a:xfrm>
              <a:off x="2451704" y="1750576"/>
              <a:ext cx="149" cy="95"/>
            </a:xfrm>
            <a:custGeom>
              <a:avLst/>
              <a:gdLst/>
              <a:ahLst/>
              <a:cxnLst/>
              <a:rect l="l" t="t" r="r" b="b"/>
              <a:pathLst>
                <a:path w="11" h="7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7" name="Google Shape;7344;p64">
              <a:extLst>
                <a:ext uri="{FF2B5EF4-FFF2-40B4-BE49-F238E27FC236}">
                  <a16:creationId xmlns:a16="http://schemas.microsoft.com/office/drawing/2014/main" id="{CD74DE04-8157-2DFC-4071-9638ABFFDBEB}"/>
                </a:ext>
              </a:extLst>
            </p:cNvPr>
            <p:cNvSpPr/>
            <p:nvPr/>
          </p:nvSpPr>
          <p:spPr>
            <a:xfrm>
              <a:off x="2450183" y="1750997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8" name="Google Shape;7345;p64">
              <a:extLst>
                <a:ext uri="{FF2B5EF4-FFF2-40B4-BE49-F238E27FC236}">
                  <a16:creationId xmlns:a16="http://schemas.microsoft.com/office/drawing/2014/main" id="{ADD4A8CE-8EF0-C310-515E-BFBDA37D7C51}"/>
                </a:ext>
              </a:extLst>
            </p:cNvPr>
            <p:cNvSpPr/>
            <p:nvPr/>
          </p:nvSpPr>
          <p:spPr>
            <a:xfrm>
              <a:off x="2452695" y="1749952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9" name="Google Shape;7346;p64">
              <a:extLst>
                <a:ext uri="{FF2B5EF4-FFF2-40B4-BE49-F238E27FC236}">
                  <a16:creationId xmlns:a16="http://schemas.microsoft.com/office/drawing/2014/main" id="{92DB47C0-4888-754C-4E22-AF2064D68155}"/>
                </a:ext>
              </a:extLst>
            </p:cNvPr>
            <p:cNvSpPr/>
            <p:nvPr/>
          </p:nvSpPr>
          <p:spPr>
            <a:xfrm>
              <a:off x="2501044" y="1763312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0" name="Google Shape;7347;p64">
              <a:extLst>
                <a:ext uri="{FF2B5EF4-FFF2-40B4-BE49-F238E27FC236}">
                  <a16:creationId xmlns:a16="http://schemas.microsoft.com/office/drawing/2014/main" id="{F3F338DA-14F0-827A-FBBF-77F4B1AF211C}"/>
                </a:ext>
              </a:extLst>
            </p:cNvPr>
            <p:cNvSpPr/>
            <p:nvPr/>
          </p:nvSpPr>
          <p:spPr>
            <a:xfrm>
              <a:off x="2501275" y="1764683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1" name="Google Shape;7348;p64">
              <a:extLst>
                <a:ext uri="{FF2B5EF4-FFF2-40B4-BE49-F238E27FC236}">
                  <a16:creationId xmlns:a16="http://schemas.microsoft.com/office/drawing/2014/main" id="{22EA49C0-7F04-949F-851C-F5749EF32A6C}"/>
                </a:ext>
              </a:extLst>
            </p:cNvPr>
            <p:cNvSpPr/>
            <p:nvPr/>
          </p:nvSpPr>
          <p:spPr>
            <a:xfrm>
              <a:off x="2501180" y="1763977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2" name="Google Shape;7349;p64">
              <a:extLst>
                <a:ext uri="{FF2B5EF4-FFF2-40B4-BE49-F238E27FC236}">
                  <a16:creationId xmlns:a16="http://schemas.microsoft.com/office/drawing/2014/main" id="{F685F600-70EA-20A6-A563-92A2182CBCA0}"/>
                </a:ext>
              </a:extLst>
            </p:cNvPr>
            <p:cNvSpPr/>
            <p:nvPr/>
          </p:nvSpPr>
          <p:spPr>
            <a:xfrm>
              <a:off x="2452369" y="1750237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3" name="Google Shape;7350;p64">
              <a:extLst>
                <a:ext uri="{FF2B5EF4-FFF2-40B4-BE49-F238E27FC236}">
                  <a16:creationId xmlns:a16="http://schemas.microsoft.com/office/drawing/2014/main" id="{67A0FE24-7AFA-CF82-9118-D2F0F206E8CB}"/>
                </a:ext>
              </a:extLst>
            </p:cNvPr>
            <p:cNvSpPr/>
            <p:nvPr/>
          </p:nvSpPr>
          <p:spPr>
            <a:xfrm>
              <a:off x="2501425" y="1765403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4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4" name="Google Shape;7351;p64">
              <a:extLst>
                <a:ext uri="{FF2B5EF4-FFF2-40B4-BE49-F238E27FC236}">
                  <a16:creationId xmlns:a16="http://schemas.microsoft.com/office/drawing/2014/main" id="{F36EF950-AB44-FFEF-F663-91A653A22C5C}"/>
                </a:ext>
              </a:extLst>
            </p:cNvPr>
            <p:cNvSpPr/>
            <p:nvPr/>
          </p:nvSpPr>
          <p:spPr>
            <a:xfrm>
              <a:off x="2500800" y="1761357"/>
              <a:ext cx="68" cy="353"/>
            </a:xfrm>
            <a:custGeom>
              <a:avLst/>
              <a:gdLst/>
              <a:ahLst/>
              <a:cxnLst/>
              <a:rect l="l" t="t" r="r" b="b"/>
              <a:pathLst>
                <a:path w="5" h="26" extrusionOk="0">
                  <a:moveTo>
                    <a:pt x="4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5" name="Google Shape;7352;p64">
              <a:extLst>
                <a:ext uri="{FF2B5EF4-FFF2-40B4-BE49-F238E27FC236}">
                  <a16:creationId xmlns:a16="http://schemas.microsoft.com/office/drawing/2014/main" id="{022909F7-088E-A990-E8A9-F62EBF548242}"/>
                </a:ext>
              </a:extLst>
            </p:cNvPr>
            <p:cNvSpPr/>
            <p:nvPr/>
          </p:nvSpPr>
          <p:spPr>
            <a:xfrm>
              <a:off x="2500895" y="1761982"/>
              <a:ext cx="68" cy="339"/>
            </a:xfrm>
            <a:custGeom>
              <a:avLst/>
              <a:gdLst/>
              <a:ahLst/>
              <a:cxnLst/>
              <a:rect l="l" t="t" r="r" b="b"/>
              <a:pathLst>
                <a:path w="5" h="25" extrusionOk="0">
                  <a:moveTo>
                    <a:pt x="4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6" name="Google Shape;7353;p64">
              <a:extLst>
                <a:ext uri="{FF2B5EF4-FFF2-40B4-BE49-F238E27FC236}">
                  <a16:creationId xmlns:a16="http://schemas.microsoft.com/office/drawing/2014/main" id="{0522AE73-07AF-CAE7-50E1-4E73DFA71A4F}"/>
                </a:ext>
              </a:extLst>
            </p:cNvPr>
            <p:cNvSpPr/>
            <p:nvPr/>
          </p:nvSpPr>
          <p:spPr>
            <a:xfrm>
              <a:off x="2500949" y="1762647"/>
              <a:ext cx="54" cy="339"/>
            </a:xfrm>
            <a:custGeom>
              <a:avLst/>
              <a:gdLst/>
              <a:ahLst/>
              <a:cxnLst/>
              <a:rect l="l" t="t" r="r" b="b"/>
              <a:pathLst>
                <a:path w="4" h="25" extrusionOk="0">
                  <a:moveTo>
                    <a:pt x="4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7" name="Google Shape;7354;p64">
              <a:extLst>
                <a:ext uri="{FF2B5EF4-FFF2-40B4-BE49-F238E27FC236}">
                  <a16:creationId xmlns:a16="http://schemas.microsoft.com/office/drawing/2014/main" id="{AC847458-B8A7-D38C-B219-B72F02876225}"/>
                </a:ext>
              </a:extLst>
            </p:cNvPr>
            <p:cNvSpPr/>
            <p:nvPr/>
          </p:nvSpPr>
          <p:spPr>
            <a:xfrm>
              <a:off x="2501615" y="1766258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4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8" name="Google Shape;7355;p64">
              <a:extLst>
                <a:ext uri="{FF2B5EF4-FFF2-40B4-BE49-F238E27FC236}">
                  <a16:creationId xmlns:a16="http://schemas.microsoft.com/office/drawing/2014/main" id="{80A1DADA-3CE7-330F-36E8-782D8E1E70B6}"/>
                </a:ext>
              </a:extLst>
            </p:cNvPr>
            <p:cNvSpPr/>
            <p:nvPr/>
          </p:nvSpPr>
          <p:spPr>
            <a:xfrm>
              <a:off x="2391759" y="1582202"/>
              <a:ext cx="300144" cy="138721"/>
            </a:xfrm>
            <a:custGeom>
              <a:avLst/>
              <a:gdLst/>
              <a:ahLst/>
              <a:cxnLst/>
              <a:rect l="l" t="t" r="r" b="b"/>
              <a:pathLst>
                <a:path w="22106" h="10217" extrusionOk="0">
                  <a:moveTo>
                    <a:pt x="7610" y="6221"/>
                  </a:moveTo>
                  <a:cubicBezTo>
                    <a:pt x="7825" y="6221"/>
                    <a:pt x="8164" y="6301"/>
                    <a:pt x="8266" y="6411"/>
                  </a:cubicBezTo>
                  <a:cubicBezTo>
                    <a:pt x="8319" y="6457"/>
                    <a:pt x="8326" y="6534"/>
                    <a:pt x="8284" y="6586"/>
                  </a:cubicBezTo>
                  <a:cubicBezTo>
                    <a:pt x="8256" y="6621"/>
                    <a:pt x="8210" y="6639"/>
                    <a:pt x="8133" y="6639"/>
                  </a:cubicBezTo>
                  <a:cubicBezTo>
                    <a:pt x="8105" y="6639"/>
                    <a:pt x="8074" y="6635"/>
                    <a:pt x="8042" y="6632"/>
                  </a:cubicBezTo>
                  <a:cubicBezTo>
                    <a:pt x="7857" y="6607"/>
                    <a:pt x="7468" y="6506"/>
                    <a:pt x="7412" y="6366"/>
                  </a:cubicBezTo>
                  <a:cubicBezTo>
                    <a:pt x="7391" y="6324"/>
                    <a:pt x="7409" y="6271"/>
                    <a:pt x="7451" y="6250"/>
                  </a:cubicBezTo>
                  <a:lnTo>
                    <a:pt x="7447" y="6250"/>
                  </a:lnTo>
                  <a:cubicBezTo>
                    <a:pt x="7478" y="6230"/>
                    <a:pt x="7537" y="6221"/>
                    <a:pt x="7610" y="6221"/>
                  </a:cubicBezTo>
                  <a:close/>
                  <a:moveTo>
                    <a:pt x="17938" y="6158"/>
                  </a:moveTo>
                  <a:cubicBezTo>
                    <a:pt x="17962" y="6158"/>
                    <a:pt x="17981" y="6161"/>
                    <a:pt x="17995" y="6166"/>
                  </a:cubicBezTo>
                  <a:cubicBezTo>
                    <a:pt x="18048" y="6177"/>
                    <a:pt x="18079" y="6222"/>
                    <a:pt x="18072" y="6275"/>
                  </a:cubicBezTo>
                  <a:cubicBezTo>
                    <a:pt x="18055" y="6404"/>
                    <a:pt x="17778" y="6551"/>
                    <a:pt x="17411" y="6551"/>
                  </a:cubicBezTo>
                  <a:cubicBezTo>
                    <a:pt x="17306" y="6551"/>
                    <a:pt x="17180" y="6541"/>
                    <a:pt x="17029" y="6527"/>
                  </a:cubicBezTo>
                  <a:cubicBezTo>
                    <a:pt x="16851" y="6511"/>
                    <a:pt x="16649" y="6494"/>
                    <a:pt x="16450" y="6494"/>
                  </a:cubicBezTo>
                  <a:cubicBezTo>
                    <a:pt x="16112" y="6494"/>
                    <a:pt x="15784" y="6544"/>
                    <a:pt x="15601" y="6740"/>
                  </a:cubicBezTo>
                  <a:cubicBezTo>
                    <a:pt x="15373" y="6985"/>
                    <a:pt x="15380" y="7150"/>
                    <a:pt x="15391" y="7258"/>
                  </a:cubicBezTo>
                  <a:cubicBezTo>
                    <a:pt x="15394" y="7328"/>
                    <a:pt x="15401" y="7433"/>
                    <a:pt x="15272" y="7458"/>
                  </a:cubicBezTo>
                  <a:lnTo>
                    <a:pt x="15247" y="7458"/>
                  </a:lnTo>
                  <a:cubicBezTo>
                    <a:pt x="15205" y="7458"/>
                    <a:pt x="15139" y="7437"/>
                    <a:pt x="15083" y="7335"/>
                  </a:cubicBezTo>
                  <a:cubicBezTo>
                    <a:pt x="14974" y="7125"/>
                    <a:pt x="14953" y="6656"/>
                    <a:pt x="15149" y="6457"/>
                  </a:cubicBezTo>
                  <a:cubicBezTo>
                    <a:pt x="15333" y="6275"/>
                    <a:pt x="15770" y="6180"/>
                    <a:pt x="16168" y="6180"/>
                  </a:cubicBezTo>
                  <a:cubicBezTo>
                    <a:pt x="16332" y="6180"/>
                    <a:pt x="16489" y="6196"/>
                    <a:pt x="16619" y="6229"/>
                  </a:cubicBezTo>
                  <a:cubicBezTo>
                    <a:pt x="16712" y="6252"/>
                    <a:pt x="16822" y="6260"/>
                    <a:pt x="16938" y="6260"/>
                  </a:cubicBezTo>
                  <a:cubicBezTo>
                    <a:pt x="17181" y="6260"/>
                    <a:pt x="17450" y="6222"/>
                    <a:pt x="17649" y="6194"/>
                  </a:cubicBezTo>
                  <a:cubicBezTo>
                    <a:pt x="17794" y="6172"/>
                    <a:pt x="17882" y="6158"/>
                    <a:pt x="17938" y="6158"/>
                  </a:cubicBezTo>
                  <a:close/>
                  <a:moveTo>
                    <a:pt x="12780" y="0"/>
                  </a:moveTo>
                  <a:cubicBezTo>
                    <a:pt x="12609" y="0"/>
                    <a:pt x="12323" y="74"/>
                    <a:pt x="12292" y="131"/>
                  </a:cubicBezTo>
                  <a:cubicBezTo>
                    <a:pt x="12271" y="236"/>
                    <a:pt x="12089" y="292"/>
                    <a:pt x="11666" y="390"/>
                  </a:cubicBezTo>
                  <a:cubicBezTo>
                    <a:pt x="11571" y="407"/>
                    <a:pt x="11484" y="428"/>
                    <a:pt x="11452" y="442"/>
                  </a:cubicBezTo>
                  <a:cubicBezTo>
                    <a:pt x="11323" y="495"/>
                    <a:pt x="10815" y="568"/>
                    <a:pt x="10661" y="589"/>
                  </a:cubicBezTo>
                  <a:cubicBezTo>
                    <a:pt x="10647" y="593"/>
                    <a:pt x="10629" y="596"/>
                    <a:pt x="10615" y="600"/>
                  </a:cubicBezTo>
                  <a:cubicBezTo>
                    <a:pt x="10563" y="617"/>
                    <a:pt x="10510" y="638"/>
                    <a:pt x="10461" y="659"/>
                  </a:cubicBezTo>
                  <a:cubicBezTo>
                    <a:pt x="10377" y="701"/>
                    <a:pt x="10286" y="733"/>
                    <a:pt x="10195" y="750"/>
                  </a:cubicBezTo>
                  <a:cubicBezTo>
                    <a:pt x="10164" y="757"/>
                    <a:pt x="10129" y="761"/>
                    <a:pt x="10094" y="761"/>
                  </a:cubicBezTo>
                  <a:cubicBezTo>
                    <a:pt x="9961" y="761"/>
                    <a:pt x="9502" y="771"/>
                    <a:pt x="9310" y="918"/>
                  </a:cubicBezTo>
                  <a:cubicBezTo>
                    <a:pt x="9215" y="989"/>
                    <a:pt x="9097" y="1006"/>
                    <a:pt x="8986" y="1006"/>
                  </a:cubicBezTo>
                  <a:cubicBezTo>
                    <a:pt x="8933" y="1006"/>
                    <a:pt x="8881" y="1002"/>
                    <a:pt x="8834" y="999"/>
                  </a:cubicBezTo>
                  <a:cubicBezTo>
                    <a:pt x="8800" y="994"/>
                    <a:pt x="8767" y="991"/>
                    <a:pt x="8734" y="991"/>
                  </a:cubicBezTo>
                  <a:cubicBezTo>
                    <a:pt x="8701" y="991"/>
                    <a:pt x="8669" y="994"/>
                    <a:pt x="8637" y="999"/>
                  </a:cubicBezTo>
                  <a:cubicBezTo>
                    <a:pt x="8588" y="1013"/>
                    <a:pt x="8543" y="1020"/>
                    <a:pt x="8494" y="1020"/>
                  </a:cubicBezTo>
                  <a:lnTo>
                    <a:pt x="8420" y="1020"/>
                  </a:lnTo>
                  <a:lnTo>
                    <a:pt x="8347" y="1016"/>
                  </a:lnTo>
                  <a:cubicBezTo>
                    <a:pt x="8321" y="1013"/>
                    <a:pt x="8294" y="1011"/>
                    <a:pt x="8268" y="1011"/>
                  </a:cubicBezTo>
                  <a:cubicBezTo>
                    <a:pt x="8242" y="1011"/>
                    <a:pt x="8216" y="1013"/>
                    <a:pt x="8189" y="1016"/>
                  </a:cubicBezTo>
                  <a:cubicBezTo>
                    <a:pt x="8161" y="1051"/>
                    <a:pt x="8172" y="1286"/>
                    <a:pt x="8235" y="1387"/>
                  </a:cubicBezTo>
                  <a:cubicBezTo>
                    <a:pt x="8263" y="1433"/>
                    <a:pt x="8399" y="1482"/>
                    <a:pt x="8490" y="1510"/>
                  </a:cubicBezTo>
                  <a:cubicBezTo>
                    <a:pt x="8525" y="1520"/>
                    <a:pt x="8553" y="1531"/>
                    <a:pt x="8578" y="1541"/>
                  </a:cubicBezTo>
                  <a:cubicBezTo>
                    <a:pt x="8658" y="1569"/>
                    <a:pt x="8711" y="1597"/>
                    <a:pt x="8725" y="1643"/>
                  </a:cubicBezTo>
                  <a:cubicBezTo>
                    <a:pt x="8728" y="1650"/>
                    <a:pt x="8728" y="1657"/>
                    <a:pt x="8728" y="1664"/>
                  </a:cubicBezTo>
                  <a:cubicBezTo>
                    <a:pt x="8732" y="1681"/>
                    <a:pt x="8725" y="1702"/>
                    <a:pt x="8714" y="1716"/>
                  </a:cubicBezTo>
                  <a:cubicBezTo>
                    <a:pt x="8683" y="1762"/>
                    <a:pt x="8613" y="1783"/>
                    <a:pt x="8459" y="1797"/>
                  </a:cubicBezTo>
                  <a:lnTo>
                    <a:pt x="8420" y="1800"/>
                  </a:lnTo>
                  <a:lnTo>
                    <a:pt x="8333" y="1807"/>
                  </a:lnTo>
                  <a:lnTo>
                    <a:pt x="8284" y="1811"/>
                  </a:lnTo>
                  <a:cubicBezTo>
                    <a:pt x="8210" y="1814"/>
                    <a:pt x="8144" y="1821"/>
                    <a:pt x="8091" y="1828"/>
                  </a:cubicBezTo>
                  <a:lnTo>
                    <a:pt x="8077" y="1828"/>
                  </a:lnTo>
                  <a:cubicBezTo>
                    <a:pt x="8053" y="1832"/>
                    <a:pt x="8035" y="1846"/>
                    <a:pt x="8025" y="1863"/>
                  </a:cubicBezTo>
                  <a:cubicBezTo>
                    <a:pt x="7993" y="1916"/>
                    <a:pt x="8007" y="2011"/>
                    <a:pt x="8035" y="2091"/>
                  </a:cubicBezTo>
                  <a:cubicBezTo>
                    <a:pt x="8039" y="2105"/>
                    <a:pt x="8042" y="2116"/>
                    <a:pt x="8046" y="2126"/>
                  </a:cubicBezTo>
                  <a:cubicBezTo>
                    <a:pt x="8063" y="2168"/>
                    <a:pt x="8060" y="2214"/>
                    <a:pt x="8042" y="2252"/>
                  </a:cubicBezTo>
                  <a:cubicBezTo>
                    <a:pt x="7979" y="2385"/>
                    <a:pt x="7748" y="2476"/>
                    <a:pt x="7678" y="2501"/>
                  </a:cubicBezTo>
                  <a:lnTo>
                    <a:pt x="7668" y="2504"/>
                  </a:lnTo>
                  <a:lnTo>
                    <a:pt x="7657" y="2508"/>
                  </a:lnTo>
                  <a:cubicBezTo>
                    <a:pt x="7654" y="2511"/>
                    <a:pt x="7650" y="2515"/>
                    <a:pt x="7650" y="2532"/>
                  </a:cubicBezTo>
                  <a:cubicBezTo>
                    <a:pt x="7668" y="2592"/>
                    <a:pt x="7710" y="2641"/>
                    <a:pt x="7769" y="2665"/>
                  </a:cubicBezTo>
                  <a:lnTo>
                    <a:pt x="7790" y="2665"/>
                  </a:lnTo>
                  <a:cubicBezTo>
                    <a:pt x="7815" y="2669"/>
                    <a:pt x="7836" y="2669"/>
                    <a:pt x="7857" y="2672"/>
                  </a:cubicBezTo>
                  <a:cubicBezTo>
                    <a:pt x="7920" y="2686"/>
                    <a:pt x="7976" y="2711"/>
                    <a:pt x="8032" y="2739"/>
                  </a:cubicBezTo>
                  <a:cubicBezTo>
                    <a:pt x="8070" y="2756"/>
                    <a:pt x="8105" y="2770"/>
                    <a:pt x="8147" y="2781"/>
                  </a:cubicBezTo>
                  <a:cubicBezTo>
                    <a:pt x="8158" y="2784"/>
                    <a:pt x="8168" y="2788"/>
                    <a:pt x="8179" y="2788"/>
                  </a:cubicBezTo>
                  <a:cubicBezTo>
                    <a:pt x="8364" y="2788"/>
                    <a:pt x="8392" y="3071"/>
                    <a:pt x="8392" y="3239"/>
                  </a:cubicBezTo>
                  <a:cubicBezTo>
                    <a:pt x="8392" y="3358"/>
                    <a:pt x="8322" y="3498"/>
                    <a:pt x="7986" y="3498"/>
                  </a:cubicBezTo>
                  <a:cubicBezTo>
                    <a:pt x="7874" y="3495"/>
                    <a:pt x="7769" y="3456"/>
                    <a:pt x="7678" y="3390"/>
                  </a:cubicBezTo>
                  <a:cubicBezTo>
                    <a:pt x="7643" y="3362"/>
                    <a:pt x="7605" y="3341"/>
                    <a:pt x="7563" y="3327"/>
                  </a:cubicBezTo>
                  <a:cubicBezTo>
                    <a:pt x="7549" y="3334"/>
                    <a:pt x="7535" y="3383"/>
                    <a:pt x="7524" y="3411"/>
                  </a:cubicBezTo>
                  <a:cubicBezTo>
                    <a:pt x="7503" y="3481"/>
                    <a:pt x="7479" y="3558"/>
                    <a:pt x="7409" y="3586"/>
                  </a:cubicBezTo>
                  <a:cubicBezTo>
                    <a:pt x="7388" y="3597"/>
                    <a:pt x="7369" y="3601"/>
                    <a:pt x="7351" y="3601"/>
                  </a:cubicBezTo>
                  <a:cubicBezTo>
                    <a:pt x="7288" y="3601"/>
                    <a:pt x="7243" y="3544"/>
                    <a:pt x="7216" y="3505"/>
                  </a:cubicBezTo>
                  <a:cubicBezTo>
                    <a:pt x="7178" y="3456"/>
                    <a:pt x="7153" y="3425"/>
                    <a:pt x="7115" y="3425"/>
                  </a:cubicBezTo>
                  <a:cubicBezTo>
                    <a:pt x="7027" y="3425"/>
                    <a:pt x="6761" y="3425"/>
                    <a:pt x="6687" y="3211"/>
                  </a:cubicBezTo>
                  <a:cubicBezTo>
                    <a:pt x="6663" y="3173"/>
                    <a:pt x="6624" y="3148"/>
                    <a:pt x="6582" y="3145"/>
                  </a:cubicBezTo>
                  <a:cubicBezTo>
                    <a:pt x="6555" y="3138"/>
                    <a:pt x="6524" y="3134"/>
                    <a:pt x="6492" y="3134"/>
                  </a:cubicBezTo>
                  <a:cubicBezTo>
                    <a:pt x="6408" y="3134"/>
                    <a:pt x="6317" y="3158"/>
                    <a:pt x="6264" y="3211"/>
                  </a:cubicBezTo>
                  <a:cubicBezTo>
                    <a:pt x="6187" y="3288"/>
                    <a:pt x="6127" y="3313"/>
                    <a:pt x="6075" y="3313"/>
                  </a:cubicBezTo>
                  <a:cubicBezTo>
                    <a:pt x="6005" y="3313"/>
                    <a:pt x="5949" y="3267"/>
                    <a:pt x="5900" y="3222"/>
                  </a:cubicBezTo>
                  <a:lnTo>
                    <a:pt x="5861" y="3190"/>
                  </a:lnTo>
                  <a:cubicBezTo>
                    <a:pt x="5849" y="3182"/>
                    <a:pt x="5825" y="3176"/>
                    <a:pt x="5788" y="3176"/>
                  </a:cubicBezTo>
                  <a:cubicBezTo>
                    <a:pt x="5760" y="3176"/>
                    <a:pt x="5723" y="3180"/>
                    <a:pt x="5679" y="3190"/>
                  </a:cubicBezTo>
                  <a:cubicBezTo>
                    <a:pt x="5588" y="3211"/>
                    <a:pt x="5508" y="3257"/>
                    <a:pt x="5441" y="3320"/>
                  </a:cubicBezTo>
                  <a:cubicBezTo>
                    <a:pt x="5438" y="3327"/>
                    <a:pt x="5434" y="3330"/>
                    <a:pt x="5431" y="3337"/>
                  </a:cubicBezTo>
                  <a:cubicBezTo>
                    <a:pt x="5399" y="3404"/>
                    <a:pt x="5336" y="3453"/>
                    <a:pt x="5263" y="3474"/>
                  </a:cubicBezTo>
                  <a:cubicBezTo>
                    <a:pt x="5213" y="3488"/>
                    <a:pt x="5163" y="3495"/>
                    <a:pt x="5112" y="3495"/>
                  </a:cubicBezTo>
                  <a:cubicBezTo>
                    <a:pt x="5012" y="3495"/>
                    <a:pt x="4913" y="3468"/>
                    <a:pt x="4825" y="3414"/>
                  </a:cubicBezTo>
                  <a:cubicBezTo>
                    <a:pt x="4697" y="3334"/>
                    <a:pt x="4645" y="3316"/>
                    <a:pt x="4624" y="3316"/>
                  </a:cubicBezTo>
                  <a:cubicBezTo>
                    <a:pt x="4622" y="3316"/>
                    <a:pt x="4620" y="3316"/>
                    <a:pt x="4619" y="3316"/>
                  </a:cubicBezTo>
                  <a:cubicBezTo>
                    <a:pt x="4611" y="3330"/>
                    <a:pt x="4611" y="3344"/>
                    <a:pt x="4611" y="3358"/>
                  </a:cubicBezTo>
                  <a:cubicBezTo>
                    <a:pt x="4611" y="3390"/>
                    <a:pt x="4608" y="3421"/>
                    <a:pt x="4594" y="3449"/>
                  </a:cubicBezTo>
                  <a:cubicBezTo>
                    <a:pt x="4576" y="3484"/>
                    <a:pt x="4545" y="3502"/>
                    <a:pt x="4506" y="3502"/>
                  </a:cubicBezTo>
                  <a:cubicBezTo>
                    <a:pt x="4419" y="3502"/>
                    <a:pt x="4331" y="3379"/>
                    <a:pt x="4331" y="3285"/>
                  </a:cubicBezTo>
                  <a:cubicBezTo>
                    <a:pt x="4317" y="3225"/>
                    <a:pt x="4058" y="3057"/>
                    <a:pt x="3960" y="2991"/>
                  </a:cubicBezTo>
                  <a:lnTo>
                    <a:pt x="3901" y="2952"/>
                  </a:lnTo>
                  <a:cubicBezTo>
                    <a:pt x="3845" y="2914"/>
                    <a:pt x="3712" y="2893"/>
                    <a:pt x="3593" y="2872"/>
                  </a:cubicBezTo>
                  <a:cubicBezTo>
                    <a:pt x="3404" y="2837"/>
                    <a:pt x="3267" y="2812"/>
                    <a:pt x="3243" y="2721"/>
                  </a:cubicBezTo>
                  <a:cubicBezTo>
                    <a:pt x="3207" y="2686"/>
                    <a:pt x="3160" y="2668"/>
                    <a:pt x="3112" y="2668"/>
                  </a:cubicBezTo>
                  <a:cubicBezTo>
                    <a:pt x="3108" y="2668"/>
                    <a:pt x="3104" y="2668"/>
                    <a:pt x="3099" y="2669"/>
                  </a:cubicBezTo>
                  <a:cubicBezTo>
                    <a:pt x="3094" y="2668"/>
                    <a:pt x="3088" y="2667"/>
                    <a:pt x="3083" y="2667"/>
                  </a:cubicBezTo>
                  <a:cubicBezTo>
                    <a:pt x="3039" y="2667"/>
                    <a:pt x="2999" y="2691"/>
                    <a:pt x="2980" y="2732"/>
                  </a:cubicBezTo>
                  <a:cubicBezTo>
                    <a:pt x="2959" y="2784"/>
                    <a:pt x="2917" y="2830"/>
                    <a:pt x="2865" y="2851"/>
                  </a:cubicBezTo>
                  <a:cubicBezTo>
                    <a:pt x="2849" y="2856"/>
                    <a:pt x="2834" y="2858"/>
                    <a:pt x="2819" y="2858"/>
                  </a:cubicBezTo>
                  <a:cubicBezTo>
                    <a:pt x="2758" y="2858"/>
                    <a:pt x="2698" y="2822"/>
                    <a:pt x="2648" y="2791"/>
                  </a:cubicBezTo>
                  <a:cubicBezTo>
                    <a:pt x="2630" y="2781"/>
                    <a:pt x="2616" y="2770"/>
                    <a:pt x="2599" y="2763"/>
                  </a:cubicBezTo>
                  <a:cubicBezTo>
                    <a:pt x="2591" y="2760"/>
                    <a:pt x="2582" y="2758"/>
                    <a:pt x="2572" y="2758"/>
                  </a:cubicBezTo>
                  <a:cubicBezTo>
                    <a:pt x="2493" y="2758"/>
                    <a:pt x="2332" y="2840"/>
                    <a:pt x="2276" y="2868"/>
                  </a:cubicBezTo>
                  <a:lnTo>
                    <a:pt x="2245" y="2886"/>
                  </a:lnTo>
                  <a:cubicBezTo>
                    <a:pt x="2224" y="2893"/>
                    <a:pt x="2189" y="2914"/>
                    <a:pt x="2150" y="2938"/>
                  </a:cubicBezTo>
                  <a:lnTo>
                    <a:pt x="2122" y="2956"/>
                  </a:lnTo>
                  <a:cubicBezTo>
                    <a:pt x="1975" y="3043"/>
                    <a:pt x="1772" y="3159"/>
                    <a:pt x="1632" y="3159"/>
                  </a:cubicBezTo>
                  <a:cubicBezTo>
                    <a:pt x="1601" y="3159"/>
                    <a:pt x="1594" y="3166"/>
                    <a:pt x="1569" y="3225"/>
                  </a:cubicBezTo>
                  <a:cubicBezTo>
                    <a:pt x="1541" y="3327"/>
                    <a:pt x="1461" y="3404"/>
                    <a:pt x="1356" y="3425"/>
                  </a:cubicBezTo>
                  <a:cubicBezTo>
                    <a:pt x="1317" y="3428"/>
                    <a:pt x="1279" y="3449"/>
                    <a:pt x="1251" y="3481"/>
                  </a:cubicBezTo>
                  <a:cubicBezTo>
                    <a:pt x="1230" y="3516"/>
                    <a:pt x="1244" y="3572"/>
                    <a:pt x="1258" y="3621"/>
                  </a:cubicBezTo>
                  <a:lnTo>
                    <a:pt x="1261" y="3635"/>
                  </a:lnTo>
                  <a:cubicBezTo>
                    <a:pt x="1265" y="3656"/>
                    <a:pt x="1272" y="3673"/>
                    <a:pt x="1282" y="3691"/>
                  </a:cubicBezTo>
                  <a:cubicBezTo>
                    <a:pt x="1307" y="3761"/>
                    <a:pt x="1345" y="3852"/>
                    <a:pt x="1307" y="3936"/>
                  </a:cubicBezTo>
                  <a:cubicBezTo>
                    <a:pt x="1279" y="3992"/>
                    <a:pt x="1230" y="4034"/>
                    <a:pt x="1170" y="4051"/>
                  </a:cubicBezTo>
                  <a:cubicBezTo>
                    <a:pt x="1142" y="4062"/>
                    <a:pt x="1116" y="4067"/>
                    <a:pt x="1092" y="4067"/>
                  </a:cubicBezTo>
                  <a:cubicBezTo>
                    <a:pt x="969" y="4067"/>
                    <a:pt x="887" y="3948"/>
                    <a:pt x="817" y="3848"/>
                  </a:cubicBezTo>
                  <a:cubicBezTo>
                    <a:pt x="778" y="3785"/>
                    <a:pt x="729" y="3729"/>
                    <a:pt x="673" y="3680"/>
                  </a:cubicBezTo>
                  <a:cubicBezTo>
                    <a:pt x="651" y="3659"/>
                    <a:pt x="622" y="3648"/>
                    <a:pt x="593" y="3648"/>
                  </a:cubicBezTo>
                  <a:cubicBezTo>
                    <a:pt x="575" y="3648"/>
                    <a:pt x="557" y="3652"/>
                    <a:pt x="540" y="3659"/>
                  </a:cubicBezTo>
                  <a:cubicBezTo>
                    <a:pt x="495" y="3687"/>
                    <a:pt x="463" y="3736"/>
                    <a:pt x="459" y="3792"/>
                  </a:cubicBezTo>
                  <a:cubicBezTo>
                    <a:pt x="459" y="3803"/>
                    <a:pt x="459" y="3810"/>
                    <a:pt x="459" y="3820"/>
                  </a:cubicBezTo>
                  <a:cubicBezTo>
                    <a:pt x="459" y="3950"/>
                    <a:pt x="372" y="4009"/>
                    <a:pt x="302" y="4058"/>
                  </a:cubicBezTo>
                  <a:cubicBezTo>
                    <a:pt x="242" y="4094"/>
                    <a:pt x="197" y="4136"/>
                    <a:pt x="162" y="4192"/>
                  </a:cubicBezTo>
                  <a:cubicBezTo>
                    <a:pt x="137" y="4230"/>
                    <a:pt x="137" y="4244"/>
                    <a:pt x="232" y="4300"/>
                  </a:cubicBezTo>
                  <a:cubicBezTo>
                    <a:pt x="281" y="4328"/>
                    <a:pt x="340" y="4360"/>
                    <a:pt x="340" y="4426"/>
                  </a:cubicBezTo>
                  <a:cubicBezTo>
                    <a:pt x="340" y="4458"/>
                    <a:pt x="330" y="4486"/>
                    <a:pt x="309" y="4510"/>
                  </a:cubicBezTo>
                  <a:cubicBezTo>
                    <a:pt x="256" y="4573"/>
                    <a:pt x="186" y="4619"/>
                    <a:pt x="113" y="4654"/>
                  </a:cubicBezTo>
                  <a:cubicBezTo>
                    <a:pt x="74" y="4689"/>
                    <a:pt x="1" y="4853"/>
                    <a:pt x="15" y="4899"/>
                  </a:cubicBezTo>
                  <a:lnTo>
                    <a:pt x="22" y="4902"/>
                  </a:lnTo>
                  <a:cubicBezTo>
                    <a:pt x="43" y="4913"/>
                    <a:pt x="64" y="4920"/>
                    <a:pt x="88" y="4923"/>
                  </a:cubicBezTo>
                  <a:lnTo>
                    <a:pt x="99" y="4927"/>
                  </a:lnTo>
                  <a:cubicBezTo>
                    <a:pt x="197" y="4955"/>
                    <a:pt x="361" y="4997"/>
                    <a:pt x="340" y="5161"/>
                  </a:cubicBezTo>
                  <a:cubicBezTo>
                    <a:pt x="330" y="5224"/>
                    <a:pt x="323" y="5287"/>
                    <a:pt x="319" y="5347"/>
                  </a:cubicBezTo>
                  <a:cubicBezTo>
                    <a:pt x="319" y="5357"/>
                    <a:pt x="319" y="5364"/>
                    <a:pt x="319" y="5371"/>
                  </a:cubicBezTo>
                  <a:cubicBezTo>
                    <a:pt x="323" y="5375"/>
                    <a:pt x="323" y="5382"/>
                    <a:pt x="326" y="5389"/>
                  </a:cubicBezTo>
                  <a:cubicBezTo>
                    <a:pt x="333" y="5385"/>
                    <a:pt x="340" y="5385"/>
                    <a:pt x="347" y="5382"/>
                  </a:cubicBezTo>
                  <a:cubicBezTo>
                    <a:pt x="424" y="5360"/>
                    <a:pt x="505" y="5348"/>
                    <a:pt x="586" y="5348"/>
                  </a:cubicBezTo>
                  <a:cubicBezTo>
                    <a:pt x="620" y="5348"/>
                    <a:pt x="653" y="5350"/>
                    <a:pt x="687" y="5354"/>
                  </a:cubicBezTo>
                  <a:lnTo>
                    <a:pt x="757" y="5354"/>
                  </a:lnTo>
                  <a:cubicBezTo>
                    <a:pt x="852" y="5354"/>
                    <a:pt x="915" y="5445"/>
                    <a:pt x="992" y="5560"/>
                  </a:cubicBezTo>
                  <a:cubicBezTo>
                    <a:pt x="1041" y="5630"/>
                    <a:pt x="1090" y="5700"/>
                    <a:pt x="1146" y="5767"/>
                  </a:cubicBezTo>
                  <a:cubicBezTo>
                    <a:pt x="1279" y="5914"/>
                    <a:pt x="1352" y="6008"/>
                    <a:pt x="1328" y="6103"/>
                  </a:cubicBezTo>
                  <a:cubicBezTo>
                    <a:pt x="1303" y="6180"/>
                    <a:pt x="1216" y="6205"/>
                    <a:pt x="1188" y="6212"/>
                  </a:cubicBezTo>
                  <a:cubicBezTo>
                    <a:pt x="1174" y="6215"/>
                    <a:pt x="1160" y="6219"/>
                    <a:pt x="1146" y="6226"/>
                  </a:cubicBezTo>
                  <a:cubicBezTo>
                    <a:pt x="1184" y="6264"/>
                    <a:pt x="1230" y="6292"/>
                    <a:pt x="1279" y="6313"/>
                  </a:cubicBezTo>
                  <a:lnTo>
                    <a:pt x="1317" y="6331"/>
                  </a:lnTo>
                  <a:cubicBezTo>
                    <a:pt x="1370" y="6359"/>
                    <a:pt x="1419" y="6387"/>
                    <a:pt x="1468" y="6418"/>
                  </a:cubicBezTo>
                  <a:cubicBezTo>
                    <a:pt x="1485" y="6404"/>
                    <a:pt x="1503" y="6390"/>
                    <a:pt x="1520" y="6376"/>
                  </a:cubicBezTo>
                  <a:cubicBezTo>
                    <a:pt x="1768" y="6155"/>
                    <a:pt x="2173" y="5963"/>
                    <a:pt x="2526" y="5963"/>
                  </a:cubicBezTo>
                  <a:cubicBezTo>
                    <a:pt x="2597" y="5963"/>
                    <a:pt x="2666" y="5970"/>
                    <a:pt x="2732" y="5987"/>
                  </a:cubicBezTo>
                  <a:cubicBezTo>
                    <a:pt x="2832" y="6010"/>
                    <a:pt x="2938" y="6021"/>
                    <a:pt x="3044" y="6021"/>
                  </a:cubicBezTo>
                  <a:cubicBezTo>
                    <a:pt x="3070" y="6021"/>
                    <a:pt x="3097" y="6020"/>
                    <a:pt x="3124" y="6019"/>
                  </a:cubicBezTo>
                  <a:cubicBezTo>
                    <a:pt x="3151" y="6018"/>
                    <a:pt x="3179" y="6018"/>
                    <a:pt x="3206" y="6018"/>
                  </a:cubicBezTo>
                  <a:cubicBezTo>
                    <a:pt x="3363" y="6018"/>
                    <a:pt x="3508" y="6035"/>
                    <a:pt x="3607" y="6173"/>
                  </a:cubicBezTo>
                  <a:cubicBezTo>
                    <a:pt x="3715" y="6331"/>
                    <a:pt x="3694" y="6548"/>
                    <a:pt x="3677" y="6740"/>
                  </a:cubicBezTo>
                  <a:cubicBezTo>
                    <a:pt x="3666" y="6842"/>
                    <a:pt x="3656" y="6947"/>
                    <a:pt x="3677" y="6996"/>
                  </a:cubicBezTo>
                  <a:cubicBezTo>
                    <a:pt x="3698" y="7045"/>
                    <a:pt x="3691" y="7101"/>
                    <a:pt x="3659" y="7143"/>
                  </a:cubicBezTo>
                  <a:cubicBezTo>
                    <a:pt x="3594" y="7226"/>
                    <a:pt x="3431" y="7245"/>
                    <a:pt x="3294" y="7245"/>
                  </a:cubicBezTo>
                  <a:cubicBezTo>
                    <a:pt x="3187" y="7245"/>
                    <a:pt x="3095" y="7233"/>
                    <a:pt x="3075" y="7230"/>
                  </a:cubicBezTo>
                  <a:cubicBezTo>
                    <a:pt x="3048" y="7227"/>
                    <a:pt x="3020" y="7225"/>
                    <a:pt x="2990" y="7225"/>
                  </a:cubicBezTo>
                  <a:cubicBezTo>
                    <a:pt x="2766" y="7225"/>
                    <a:pt x="2477" y="7322"/>
                    <a:pt x="2462" y="7381"/>
                  </a:cubicBezTo>
                  <a:cubicBezTo>
                    <a:pt x="2465" y="7391"/>
                    <a:pt x="2472" y="7405"/>
                    <a:pt x="2479" y="7419"/>
                  </a:cubicBezTo>
                  <a:cubicBezTo>
                    <a:pt x="2560" y="7594"/>
                    <a:pt x="2613" y="7731"/>
                    <a:pt x="2539" y="7801"/>
                  </a:cubicBezTo>
                  <a:cubicBezTo>
                    <a:pt x="2515" y="7822"/>
                    <a:pt x="2488" y="7830"/>
                    <a:pt x="2458" y="7830"/>
                  </a:cubicBezTo>
                  <a:cubicBezTo>
                    <a:pt x="2403" y="7830"/>
                    <a:pt x="2341" y="7802"/>
                    <a:pt x="2287" y="7773"/>
                  </a:cubicBezTo>
                  <a:cubicBezTo>
                    <a:pt x="2238" y="7744"/>
                    <a:pt x="2191" y="7730"/>
                    <a:pt x="2150" y="7730"/>
                  </a:cubicBezTo>
                  <a:cubicBezTo>
                    <a:pt x="2112" y="7730"/>
                    <a:pt x="2080" y="7742"/>
                    <a:pt x="2056" y="7766"/>
                  </a:cubicBezTo>
                  <a:cubicBezTo>
                    <a:pt x="2038" y="7780"/>
                    <a:pt x="2028" y="7804"/>
                    <a:pt x="2031" y="7825"/>
                  </a:cubicBezTo>
                  <a:lnTo>
                    <a:pt x="2045" y="7825"/>
                  </a:lnTo>
                  <a:cubicBezTo>
                    <a:pt x="2259" y="7825"/>
                    <a:pt x="2532" y="8060"/>
                    <a:pt x="2532" y="8246"/>
                  </a:cubicBezTo>
                  <a:cubicBezTo>
                    <a:pt x="2532" y="8470"/>
                    <a:pt x="2567" y="8578"/>
                    <a:pt x="2602" y="8603"/>
                  </a:cubicBezTo>
                  <a:cubicBezTo>
                    <a:pt x="2604" y="8603"/>
                    <a:pt x="2607" y="8606"/>
                    <a:pt x="2613" y="8606"/>
                  </a:cubicBezTo>
                  <a:cubicBezTo>
                    <a:pt x="2616" y="8606"/>
                    <a:pt x="2621" y="8605"/>
                    <a:pt x="2627" y="8603"/>
                  </a:cubicBezTo>
                  <a:cubicBezTo>
                    <a:pt x="2647" y="8596"/>
                    <a:pt x="2665" y="8593"/>
                    <a:pt x="2683" y="8593"/>
                  </a:cubicBezTo>
                  <a:cubicBezTo>
                    <a:pt x="2768" y="8593"/>
                    <a:pt x="2820" y="8663"/>
                    <a:pt x="2861" y="8718"/>
                  </a:cubicBezTo>
                  <a:cubicBezTo>
                    <a:pt x="2912" y="8785"/>
                    <a:pt x="2946" y="8827"/>
                    <a:pt x="3017" y="8827"/>
                  </a:cubicBezTo>
                  <a:cubicBezTo>
                    <a:pt x="3020" y="8827"/>
                    <a:pt x="3023" y="8827"/>
                    <a:pt x="3026" y="8827"/>
                  </a:cubicBezTo>
                  <a:cubicBezTo>
                    <a:pt x="3047" y="8825"/>
                    <a:pt x="3069" y="8824"/>
                    <a:pt x="3089" y="8824"/>
                  </a:cubicBezTo>
                  <a:cubicBezTo>
                    <a:pt x="3249" y="8824"/>
                    <a:pt x="3363" y="8872"/>
                    <a:pt x="3404" y="8953"/>
                  </a:cubicBezTo>
                  <a:cubicBezTo>
                    <a:pt x="3432" y="9005"/>
                    <a:pt x="3442" y="9089"/>
                    <a:pt x="3341" y="9208"/>
                  </a:cubicBezTo>
                  <a:cubicBezTo>
                    <a:pt x="3299" y="9257"/>
                    <a:pt x="3288" y="9345"/>
                    <a:pt x="3309" y="9457"/>
                  </a:cubicBezTo>
                  <a:cubicBezTo>
                    <a:pt x="3327" y="9562"/>
                    <a:pt x="3365" y="9660"/>
                    <a:pt x="3421" y="9747"/>
                  </a:cubicBezTo>
                  <a:cubicBezTo>
                    <a:pt x="3425" y="9723"/>
                    <a:pt x="3425" y="9698"/>
                    <a:pt x="3428" y="9674"/>
                  </a:cubicBezTo>
                  <a:cubicBezTo>
                    <a:pt x="3428" y="9600"/>
                    <a:pt x="3439" y="9527"/>
                    <a:pt x="3467" y="9457"/>
                  </a:cubicBezTo>
                  <a:lnTo>
                    <a:pt x="3467" y="9450"/>
                  </a:lnTo>
                  <a:cubicBezTo>
                    <a:pt x="3467" y="9446"/>
                    <a:pt x="3463" y="9443"/>
                    <a:pt x="3463" y="9439"/>
                  </a:cubicBezTo>
                  <a:cubicBezTo>
                    <a:pt x="3460" y="9432"/>
                    <a:pt x="3460" y="9425"/>
                    <a:pt x="3456" y="9418"/>
                  </a:cubicBezTo>
                  <a:cubicBezTo>
                    <a:pt x="3456" y="9411"/>
                    <a:pt x="3456" y="9408"/>
                    <a:pt x="3456" y="9404"/>
                  </a:cubicBezTo>
                  <a:lnTo>
                    <a:pt x="3456" y="9387"/>
                  </a:lnTo>
                  <a:lnTo>
                    <a:pt x="3456" y="9376"/>
                  </a:lnTo>
                  <a:lnTo>
                    <a:pt x="3456" y="9359"/>
                  </a:lnTo>
                  <a:lnTo>
                    <a:pt x="3456" y="9348"/>
                  </a:lnTo>
                  <a:cubicBezTo>
                    <a:pt x="3456" y="9345"/>
                    <a:pt x="3456" y="9338"/>
                    <a:pt x="3460" y="9331"/>
                  </a:cubicBezTo>
                  <a:cubicBezTo>
                    <a:pt x="3463" y="9327"/>
                    <a:pt x="3460" y="9327"/>
                    <a:pt x="3460" y="9324"/>
                  </a:cubicBezTo>
                  <a:cubicBezTo>
                    <a:pt x="3460" y="9320"/>
                    <a:pt x="3463" y="9313"/>
                    <a:pt x="3463" y="9310"/>
                  </a:cubicBezTo>
                  <a:lnTo>
                    <a:pt x="3467" y="9299"/>
                  </a:lnTo>
                  <a:cubicBezTo>
                    <a:pt x="3467" y="9296"/>
                    <a:pt x="3470" y="9292"/>
                    <a:pt x="3474" y="9289"/>
                  </a:cubicBezTo>
                  <a:lnTo>
                    <a:pt x="3477" y="9282"/>
                  </a:lnTo>
                  <a:cubicBezTo>
                    <a:pt x="3481" y="9275"/>
                    <a:pt x="3484" y="9271"/>
                    <a:pt x="3488" y="9264"/>
                  </a:cubicBezTo>
                  <a:cubicBezTo>
                    <a:pt x="3586" y="9114"/>
                    <a:pt x="3887" y="9096"/>
                    <a:pt x="4104" y="9096"/>
                  </a:cubicBezTo>
                  <a:cubicBezTo>
                    <a:pt x="4307" y="9096"/>
                    <a:pt x="4629" y="9376"/>
                    <a:pt x="4825" y="9642"/>
                  </a:cubicBezTo>
                  <a:cubicBezTo>
                    <a:pt x="4860" y="9702"/>
                    <a:pt x="4920" y="9744"/>
                    <a:pt x="4990" y="9758"/>
                  </a:cubicBezTo>
                  <a:cubicBezTo>
                    <a:pt x="4995" y="9758"/>
                    <a:pt x="4999" y="9759"/>
                    <a:pt x="5004" y="9759"/>
                  </a:cubicBezTo>
                  <a:cubicBezTo>
                    <a:pt x="5037" y="9759"/>
                    <a:pt x="5067" y="9749"/>
                    <a:pt x="5095" y="9733"/>
                  </a:cubicBezTo>
                  <a:lnTo>
                    <a:pt x="5161" y="7297"/>
                  </a:lnTo>
                  <a:lnTo>
                    <a:pt x="6561" y="6926"/>
                  </a:lnTo>
                  <a:cubicBezTo>
                    <a:pt x="6572" y="6898"/>
                    <a:pt x="6586" y="6873"/>
                    <a:pt x="6600" y="6852"/>
                  </a:cubicBezTo>
                  <a:cubicBezTo>
                    <a:pt x="6649" y="6772"/>
                    <a:pt x="6726" y="6719"/>
                    <a:pt x="6817" y="6702"/>
                  </a:cubicBezTo>
                  <a:cubicBezTo>
                    <a:pt x="6833" y="6699"/>
                    <a:pt x="6850" y="6697"/>
                    <a:pt x="6866" y="6697"/>
                  </a:cubicBezTo>
                  <a:cubicBezTo>
                    <a:pt x="6977" y="6697"/>
                    <a:pt x="7079" y="6765"/>
                    <a:pt x="7146" y="6814"/>
                  </a:cubicBezTo>
                  <a:cubicBezTo>
                    <a:pt x="7170" y="6736"/>
                    <a:pt x="7213" y="6578"/>
                    <a:pt x="7368" y="6578"/>
                  </a:cubicBezTo>
                  <a:cubicBezTo>
                    <a:pt x="7374" y="6578"/>
                    <a:pt x="7381" y="6579"/>
                    <a:pt x="7388" y="6579"/>
                  </a:cubicBezTo>
                  <a:cubicBezTo>
                    <a:pt x="7433" y="6583"/>
                    <a:pt x="7475" y="6600"/>
                    <a:pt x="7503" y="6635"/>
                  </a:cubicBezTo>
                  <a:cubicBezTo>
                    <a:pt x="7549" y="6691"/>
                    <a:pt x="7538" y="6772"/>
                    <a:pt x="7528" y="6838"/>
                  </a:cubicBezTo>
                  <a:cubicBezTo>
                    <a:pt x="7524" y="6859"/>
                    <a:pt x="7524" y="6880"/>
                    <a:pt x="7524" y="6901"/>
                  </a:cubicBezTo>
                  <a:cubicBezTo>
                    <a:pt x="7580" y="6908"/>
                    <a:pt x="7636" y="6950"/>
                    <a:pt x="7699" y="7031"/>
                  </a:cubicBezTo>
                  <a:cubicBezTo>
                    <a:pt x="7815" y="7181"/>
                    <a:pt x="7916" y="7437"/>
                    <a:pt x="7878" y="7661"/>
                  </a:cubicBezTo>
                  <a:lnTo>
                    <a:pt x="7881" y="7664"/>
                  </a:lnTo>
                  <a:lnTo>
                    <a:pt x="7902" y="7682"/>
                  </a:lnTo>
                  <a:lnTo>
                    <a:pt x="7923" y="7703"/>
                  </a:lnTo>
                  <a:lnTo>
                    <a:pt x="7944" y="7724"/>
                  </a:lnTo>
                  <a:lnTo>
                    <a:pt x="7969" y="7745"/>
                  </a:lnTo>
                  <a:lnTo>
                    <a:pt x="7993" y="7766"/>
                  </a:lnTo>
                  <a:lnTo>
                    <a:pt x="8018" y="7790"/>
                  </a:lnTo>
                  <a:lnTo>
                    <a:pt x="8042" y="7811"/>
                  </a:lnTo>
                  <a:lnTo>
                    <a:pt x="8067" y="7839"/>
                  </a:lnTo>
                  <a:lnTo>
                    <a:pt x="8091" y="7860"/>
                  </a:lnTo>
                  <a:lnTo>
                    <a:pt x="8116" y="7888"/>
                  </a:lnTo>
                  <a:lnTo>
                    <a:pt x="8140" y="7913"/>
                  </a:lnTo>
                  <a:lnTo>
                    <a:pt x="8165" y="7941"/>
                  </a:lnTo>
                  <a:lnTo>
                    <a:pt x="8189" y="7965"/>
                  </a:lnTo>
                  <a:lnTo>
                    <a:pt x="8214" y="7993"/>
                  </a:lnTo>
                  <a:lnTo>
                    <a:pt x="8238" y="8018"/>
                  </a:lnTo>
                  <a:lnTo>
                    <a:pt x="8263" y="8042"/>
                  </a:lnTo>
                  <a:lnTo>
                    <a:pt x="8287" y="8070"/>
                  </a:lnTo>
                  <a:lnTo>
                    <a:pt x="8308" y="8095"/>
                  </a:lnTo>
                  <a:lnTo>
                    <a:pt x="8329" y="8119"/>
                  </a:lnTo>
                  <a:lnTo>
                    <a:pt x="8350" y="8144"/>
                  </a:lnTo>
                  <a:lnTo>
                    <a:pt x="8371" y="8168"/>
                  </a:lnTo>
                  <a:lnTo>
                    <a:pt x="8392" y="8193"/>
                  </a:lnTo>
                  <a:lnTo>
                    <a:pt x="8410" y="8214"/>
                  </a:lnTo>
                  <a:lnTo>
                    <a:pt x="8424" y="8235"/>
                  </a:lnTo>
                  <a:lnTo>
                    <a:pt x="8441" y="8256"/>
                  </a:lnTo>
                  <a:lnTo>
                    <a:pt x="8455" y="8277"/>
                  </a:lnTo>
                  <a:lnTo>
                    <a:pt x="8469" y="8295"/>
                  </a:lnTo>
                  <a:lnTo>
                    <a:pt x="8480" y="8312"/>
                  </a:lnTo>
                  <a:lnTo>
                    <a:pt x="8490" y="8330"/>
                  </a:lnTo>
                  <a:cubicBezTo>
                    <a:pt x="8494" y="8337"/>
                    <a:pt x="8494" y="8340"/>
                    <a:pt x="8497" y="8347"/>
                  </a:cubicBezTo>
                  <a:cubicBezTo>
                    <a:pt x="8501" y="8351"/>
                    <a:pt x="8501" y="8354"/>
                    <a:pt x="8504" y="8358"/>
                  </a:cubicBezTo>
                  <a:cubicBezTo>
                    <a:pt x="8512" y="8361"/>
                    <a:pt x="8525" y="8362"/>
                    <a:pt x="8541" y="8362"/>
                  </a:cubicBezTo>
                  <a:cubicBezTo>
                    <a:pt x="8616" y="8362"/>
                    <a:pt x="8764" y="8332"/>
                    <a:pt x="8851" y="8312"/>
                  </a:cubicBezTo>
                  <a:lnTo>
                    <a:pt x="8900" y="8302"/>
                  </a:lnTo>
                  <a:lnTo>
                    <a:pt x="8918" y="8298"/>
                  </a:lnTo>
                  <a:lnTo>
                    <a:pt x="8956" y="8291"/>
                  </a:lnTo>
                  <a:lnTo>
                    <a:pt x="8967" y="8288"/>
                  </a:lnTo>
                  <a:lnTo>
                    <a:pt x="9009" y="8281"/>
                  </a:lnTo>
                  <a:lnTo>
                    <a:pt x="9019" y="8281"/>
                  </a:lnTo>
                  <a:lnTo>
                    <a:pt x="9047" y="8277"/>
                  </a:lnTo>
                  <a:lnTo>
                    <a:pt x="9061" y="8277"/>
                  </a:lnTo>
                  <a:lnTo>
                    <a:pt x="9093" y="8274"/>
                  </a:lnTo>
                  <a:lnTo>
                    <a:pt x="9152" y="8274"/>
                  </a:lnTo>
                  <a:cubicBezTo>
                    <a:pt x="9163" y="8277"/>
                    <a:pt x="9170" y="8277"/>
                    <a:pt x="9180" y="8281"/>
                  </a:cubicBezTo>
                  <a:cubicBezTo>
                    <a:pt x="9222" y="8298"/>
                    <a:pt x="9534" y="8319"/>
                    <a:pt x="10258" y="8319"/>
                  </a:cubicBezTo>
                  <a:cubicBezTo>
                    <a:pt x="10363" y="8319"/>
                    <a:pt x="10444" y="8407"/>
                    <a:pt x="10521" y="8494"/>
                  </a:cubicBezTo>
                  <a:cubicBezTo>
                    <a:pt x="10580" y="8561"/>
                    <a:pt x="10640" y="8631"/>
                    <a:pt x="10706" y="8648"/>
                  </a:cubicBezTo>
                  <a:cubicBezTo>
                    <a:pt x="10882" y="8690"/>
                    <a:pt x="10882" y="8897"/>
                    <a:pt x="10882" y="9061"/>
                  </a:cubicBezTo>
                  <a:cubicBezTo>
                    <a:pt x="10878" y="9114"/>
                    <a:pt x="10878" y="9170"/>
                    <a:pt x="10885" y="9222"/>
                  </a:cubicBezTo>
                  <a:cubicBezTo>
                    <a:pt x="10892" y="9303"/>
                    <a:pt x="10962" y="9397"/>
                    <a:pt x="11029" y="9488"/>
                  </a:cubicBezTo>
                  <a:cubicBezTo>
                    <a:pt x="11106" y="9586"/>
                    <a:pt x="11176" y="9681"/>
                    <a:pt x="11186" y="9782"/>
                  </a:cubicBezTo>
                  <a:cubicBezTo>
                    <a:pt x="11193" y="9831"/>
                    <a:pt x="11249" y="9838"/>
                    <a:pt x="11400" y="9838"/>
                  </a:cubicBezTo>
                  <a:cubicBezTo>
                    <a:pt x="11473" y="9838"/>
                    <a:pt x="11543" y="9842"/>
                    <a:pt x="11613" y="9856"/>
                  </a:cubicBezTo>
                  <a:cubicBezTo>
                    <a:pt x="11802" y="9905"/>
                    <a:pt x="12086" y="9975"/>
                    <a:pt x="12114" y="10192"/>
                  </a:cubicBezTo>
                  <a:cubicBezTo>
                    <a:pt x="12114" y="10202"/>
                    <a:pt x="12117" y="10209"/>
                    <a:pt x="12121" y="10216"/>
                  </a:cubicBezTo>
                  <a:cubicBezTo>
                    <a:pt x="12138" y="10216"/>
                    <a:pt x="12152" y="10213"/>
                    <a:pt x="12163" y="10206"/>
                  </a:cubicBezTo>
                  <a:lnTo>
                    <a:pt x="12177" y="10195"/>
                  </a:lnTo>
                  <a:cubicBezTo>
                    <a:pt x="12208" y="10174"/>
                    <a:pt x="12233" y="10139"/>
                    <a:pt x="12243" y="10104"/>
                  </a:cubicBezTo>
                  <a:cubicBezTo>
                    <a:pt x="12271" y="9943"/>
                    <a:pt x="12499" y="9758"/>
                    <a:pt x="12845" y="9621"/>
                  </a:cubicBezTo>
                  <a:cubicBezTo>
                    <a:pt x="12863" y="9614"/>
                    <a:pt x="12884" y="9607"/>
                    <a:pt x="12901" y="9600"/>
                  </a:cubicBezTo>
                  <a:lnTo>
                    <a:pt x="12915" y="9597"/>
                  </a:lnTo>
                  <a:cubicBezTo>
                    <a:pt x="12930" y="9593"/>
                    <a:pt x="12944" y="9586"/>
                    <a:pt x="12958" y="9583"/>
                  </a:cubicBezTo>
                  <a:lnTo>
                    <a:pt x="12965" y="9583"/>
                  </a:lnTo>
                  <a:cubicBezTo>
                    <a:pt x="12982" y="9579"/>
                    <a:pt x="12996" y="9579"/>
                    <a:pt x="13010" y="9576"/>
                  </a:cubicBezTo>
                  <a:lnTo>
                    <a:pt x="13031" y="9572"/>
                  </a:lnTo>
                  <a:lnTo>
                    <a:pt x="13049" y="9572"/>
                  </a:lnTo>
                  <a:cubicBezTo>
                    <a:pt x="13058" y="9571"/>
                    <a:pt x="13067" y="9571"/>
                    <a:pt x="13076" y="9571"/>
                  </a:cubicBezTo>
                  <a:cubicBezTo>
                    <a:pt x="13098" y="9571"/>
                    <a:pt x="13121" y="9573"/>
                    <a:pt x="13143" y="9576"/>
                  </a:cubicBezTo>
                  <a:cubicBezTo>
                    <a:pt x="13161" y="9534"/>
                    <a:pt x="13178" y="9495"/>
                    <a:pt x="13192" y="9464"/>
                  </a:cubicBezTo>
                  <a:lnTo>
                    <a:pt x="13196" y="9457"/>
                  </a:lnTo>
                  <a:lnTo>
                    <a:pt x="13206" y="9432"/>
                  </a:lnTo>
                  <a:lnTo>
                    <a:pt x="13213" y="9425"/>
                  </a:lnTo>
                  <a:lnTo>
                    <a:pt x="13220" y="9408"/>
                  </a:lnTo>
                  <a:lnTo>
                    <a:pt x="13227" y="9397"/>
                  </a:lnTo>
                  <a:lnTo>
                    <a:pt x="13234" y="9383"/>
                  </a:lnTo>
                  <a:lnTo>
                    <a:pt x="13238" y="9376"/>
                  </a:lnTo>
                  <a:lnTo>
                    <a:pt x="13245" y="9366"/>
                  </a:lnTo>
                  <a:lnTo>
                    <a:pt x="13252" y="9359"/>
                  </a:lnTo>
                  <a:lnTo>
                    <a:pt x="13255" y="9348"/>
                  </a:lnTo>
                  <a:lnTo>
                    <a:pt x="13262" y="9345"/>
                  </a:lnTo>
                  <a:lnTo>
                    <a:pt x="13266" y="9334"/>
                  </a:lnTo>
                  <a:lnTo>
                    <a:pt x="13273" y="9331"/>
                  </a:lnTo>
                  <a:lnTo>
                    <a:pt x="13276" y="9324"/>
                  </a:lnTo>
                  <a:lnTo>
                    <a:pt x="13280" y="9320"/>
                  </a:lnTo>
                  <a:lnTo>
                    <a:pt x="13287" y="9313"/>
                  </a:lnTo>
                  <a:lnTo>
                    <a:pt x="13290" y="9313"/>
                  </a:lnTo>
                  <a:lnTo>
                    <a:pt x="13294" y="9306"/>
                  </a:lnTo>
                  <a:lnTo>
                    <a:pt x="13297" y="9306"/>
                  </a:lnTo>
                  <a:lnTo>
                    <a:pt x="13304" y="9303"/>
                  </a:lnTo>
                  <a:lnTo>
                    <a:pt x="13308" y="9303"/>
                  </a:lnTo>
                  <a:lnTo>
                    <a:pt x="13311" y="9299"/>
                  </a:lnTo>
                  <a:lnTo>
                    <a:pt x="13318" y="9296"/>
                  </a:lnTo>
                  <a:cubicBezTo>
                    <a:pt x="13416" y="9250"/>
                    <a:pt x="13605" y="9107"/>
                    <a:pt x="13619" y="8977"/>
                  </a:cubicBezTo>
                  <a:cubicBezTo>
                    <a:pt x="13626" y="8918"/>
                    <a:pt x="13665" y="8869"/>
                    <a:pt x="13717" y="8844"/>
                  </a:cubicBezTo>
                  <a:cubicBezTo>
                    <a:pt x="13778" y="8810"/>
                    <a:pt x="13867" y="8794"/>
                    <a:pt x="13966" y="8794"/>
                  </a:cubicBezTo>
                  <a:cubicBezTo>
                    <a:pt x="14124" y="8794"/>
                    <a:pt x="14309" y="8834"/>
                    <a:pt x="14459" y="8907"/>
                  </a:cubicBezTo>
                  <a:cubicBezTo>
                    <a:pt x="14608" y="8983"/>
                    <a:pt x="14696" y="9003"/>
                    <a:pt x="14747" y="9003"/>
                  </a:cubicBezTo>
                  <a:cubicBezTo>
                    <a:pt x="14774" y="9003"/>
                    <a:pt x="14792" y="8997"/>
                    <a:pt x="14802" y="8991"/>
                  </a:cubicBezTo>
                  <a:cubicBezTo>
                    <a:pt x="14834" y="8974"/>
                    <a:pt x="14848" y="8939"/>
                    <a:pt x="14851" y="8883"/>
                  </a:cubicBezTo>
                  <a:cubicBezTo>
                    <a:pt x="14862" y="8785"/>
                    <a:pt x="14921" y="8697"/>
                    <a:pt x="15013" y="8655"/>
                  </a:cubicBezTo>
                  <a:cubicBezTo>
                    <a:pt x="15106" y="8602"/>
                    <a:pt x="15236" y="8572"/>
                    <a:pt x="15348" y="8572"/>
                  </a:cubicBezTo>
                  <a:cubicBezTo>
                    <a:pt x="15412" y="8572"/>
                    <a:pt x="15471" y="8582"/>
                    <a:pt x="15513" y="8603"/>
                  </a:cubicBezTo>
                  <a:lnTo>
                    <a:pt x="15555" y="8624"/>
                  </a:lnTo>
                  <a:cubicBezTo>
                    <a:pt x="15669" y="8683"/>
                    <a:pt x="15941" y="8822"/>
                    <a:pt x="16109" y="8822"/>
                  </a:cubicBezTo>
                  <a:cubicBezTo>
                    <a:pt x="16138" y="8822"/>
                    <a:pt x="16164" y="8818"/>
                    <a:pt x="16185" y="8809"/>
                  </a:cubicBezTo>
                  <a:cubicBezTo>
                    <a:pt x="16245" y="8785"/>
                    <a:pt x="16364" y="8775"/>
                    <a:pt x="16510" y="8775"/>
                  </a:cubicBezTo>
                  <a:cubicBezTo>
                    <a:pt x="16891" y="8775"/>
                    <a:pt x="17455" y="8842"/>
                    <a:pt x="17635" y="8890"/>
                  </a:cubicBezTo>
                  <a:cubicBezTo>
                    <a:pt x="17671" y="8898"/>
                    <a:pt x="17709" y="8903"/>
                    <a:pt x="17747" y="8903"/>
                  </a:cubicBezTo>
                  <a:cubicBezTo>
                    <a:pt x="17772" y="8903"/>
                    <a:pt x="17797" y="8901"/>
                    <a:pt x="17820" y="8897"/>
                  </a:cubicBezTo>
                  <a:cubicBezTo>
                    <a:pt x="17845" y="8893"/>
                    <a:pt x="17866" y="8893"/>
                    <a:pt x="17890" y="8893"/>
                  </a:cubicBezTo>
                  <a:cubicBezTo>
                    <a:pt x="17985" y="8893"/>
                    <a:pt x="18065" y="8918"/>
                    <a:pt x="18184" y="9054"/>
                  </a:cubicBezTo>
                  <a:cubicBezTo>
                    <a:pt x="18240" y="9117"/>
                    <a:pt x="18279" y="9135"/>
                    <a:pt x="18321" y="9138"/>
                  </a:cubicBezTo>
                  <a:lnTo>
                    <a:pt x="18464" y="9138"/>
                  </a:lnTo>
                  <a:lnTo>
                    <a:pt x="18482" y="9142"/>
                  </a:lnTo>
                  <a:cubicBezTo>
                    <a:pt x="18489" y="9142"/>
                    <a:pt x="18499" y="9149"/>
                    <a:pt x="18506" y="9149"/>
                  </a:cubicBezTo>
                  <a:lnTo>
                    <a:pt x="18517" y="9152"/>
                  </a:lnTo>
                  <a:lnTo>
                    <a:pt x="18517" y="9128"/>
                  </a:lnTo>
                  <a:lnTo>
                    <a:pt x="18517" y="9117"/>
                  </a:lnTo>
                  <a:cubicBezTo>
                    <a:pt x="18517" y="9093"/>
                    <a:pt x="18517" y="9072"/>
                    <a:pt x="18517" y="9047"/>
                  </a:cubicBezTo>
                  <a:cubicBezTo>
                    <a:pt x="18517" y="8928"/>
                    <a:pt x="18615" y="8830"/>
                    <a:pt x="18699" y="8743"/>
                  </a:cubicBezTo>
                  <a:cubicBezTo>
                    <a:pt x="18744" y="8704"/>
                    <a:pt x="18779" y="8662"/>
                    <a:pt x="18811" y="8610"/>
                  </a:cubicBezTo>
                  <a:cubicBezTo>
                    <a:pt x="18828" y="8568"/>
                    <a:pt x="18741" y="8400"/>
                    <a:pt x="18695" y="8309"/>
                  </a:cubicBezTo>
                  <a:cubicBezTo>
                    <a:pt x="18629" y="8179"/>
                    <a:pt x="18587" y="8095"/>
                    <a:pt x="18587" y="8028"/>
                  </a:cubicBezTo>
                  <a:lnTo>
                    <a:pt x="18587" y="7972"/>
                  </a:lnTo>
                  <a:cubicBezTo>
                    <a:pt x="18583" y="7710"/>
                    <a:pt x="18538" y="7633"/>
                    <a:pt x="18503" y="7615"/>
                  </a:cubicBezTo>
                  <a:cubicBezTo>
                    <a:pt x="18457" y="7598"/>
                    <a:pt x="18433" y="7549"/>
                    <a:pt x="18443" y="7500"/>
                  </a:cubicBezTo>
                  <a:cubicBezTo>
                    <a:pt x="18474" y="7386"/>
                    <a:pt x="18757" y="7276"/>
                    <a:pt x="18845" y="7276"/>
                  </a:cubicBezTo>
                  <a:cubicBezTo>
                    <a:pt x="18847" y="7276"/>
                    <a:pt x="18848" y="7276"/>
                    <a:pt x="18849" y="7276"/>
                  </a:cubicBezTo>
                  <a:cubicBezTo>
                    <a:pt x="18853" y="7276"/>
                    <a:pt x="18856" y="7276"/>
                    <a:pt x="18859" y="7276"/>
                  </a:cubicBezTo>
                  <a:cubicBezTo>
                    <a:pt x="18928" y="7276"/>
                    <a:pt x="19018" y="7243"/>
                    <a:pt x="19094" y="7213"/>
                  </a:cubicBezTo>
                  <a:cubicBezTo>
                    <a:pt x="19170" y="7185"/>
                    <a:pt x="19245" y="7156"/>
                    <a:pt x="19308" y="7156"/>
                  </a:cubicBezTo>
                  <a:cubicBezTo>
                    <a:pt x="19347" y="7156"/>
                    <a:pt x="19382" y="7167"/>
                    <a:pt x="19410" y="7195"/>
                  </a:cubicBezTo>
                  <a:cubicBezTo>
                    <a:pt x="19445" y="7230"/>
                    <a:pt x="19525" y="7272"/>
                    <a:pt x="19714" y="7276"/>
                  </a:cubicBezTo>
                  <a:lnTo>
                    <a:pt x="19753" y="7276"/>
                  </a:lnTo>
                  <a:cubicBezTo>
                    <a:pt x="19763" y="7276"/>
                    <a:pt x="19774" y="7276"/>
                    <a:pt x="19781" y="7272"/>
                  </a:cubicBezTo>
                  <a:cubicBezTo>
                    <a:pt x="19788" y="7258"/>
                    <a:pt x="19767" y="7185"/>
                    <a:pt x="19711" y="7132"/>
                  </a:cubicBezTo>
                  <a:cubicBezTo>
                    <a:pt x="19627" y="7062"/>
                    <a:pt x="19690" y="6884"/>
                    <a:pt x="19875" y="6429"/>
                  </a:cubicBezTo>
                  <a:cubicBezTo>
                    <a:pt x="19931" y="6296"/>
                    <a:pt x="19984" y="6159"/>
                    <a:pt x="20026" y="6019"/>
                  </a:cubicBezTo>
                  <a:cubicBezTo>
                    <a:pt x="20036" y="5963"/>
                    <a:pt x="20061" y="5889"/>
                    <a:pt x="20124" y="5861"/>
                  </a:cubicBezTo>
                  <a:cubicBezTo>
                    <a:pt x="20138" y="5854"/>
                    <a:pt x="20155" y="5851"/>
                    <a:pt x="20173" y="5851"/>
                  </a:cubicBezTo>
                  <a:cubicBezTo>
                    <a:pt x="20225" y="5858"/>
                    <a:pt x="20278" y="5875"/>
                    <a:pt x="20323" y="5907"/>
                  </a:cubicBezTo>
                  <a:cubicBezTo>
                    <a:pt x="20355" y="5928"/>
                    <a:pt x="20393" y="5945"/>
                    <a:pt x="20428" y="5959"/>
                  </a:cubicBezTo>
                  <a:cubicBezTo>
                    <a:pt x="20442" y="5963"/>
                    <a:pt x="20453" y="5966"/>
                    <a:pt x="20467" y="5966"/>
                  </a:cubicBezTo>
                  <a:cubicBezTo>
                    <a:pt x="20533" y="5973"/>
                    <a:pt x="20603" y="5977"/>
                    <a:pt x="20670" y="5977"/>
                  </a:cubicBezTo>
                  <a:cubicBezTo>
                    <a:pt x="20792" y="5977"/>
                    <a:pt x="20908" y="5977"/>
                    <a:pt x="20992" y="6019"/>
                  </a:cubicBezTo>
                  <a:cubicBezTo>
                    <a:pt x="21002" y="6024"/>
                    <a:pt x="21017" y="6026"/>
                    <a:pt x="21035" y="6026"/>
                  </a:cubicBezTo>
                  <a:cubicBezTo>
                    <a:pt x="21143" y="6026"/>
                    <a:pt x="21365" y="5941"/>
                    <a:pt x="21423" y="5851"/>
                  </a:cubicBezTo>
                  <a:cubicBezTo>
                    <a:pt x="21437" y="5826"/>
                    <a:pt x="21437" y="5819"/>
                    <a:pt x="21409" y="5763"/>
                  </a:cubicBezTo>
                  <a:cubicBezTo>
                    <a:pt x="21353" y="5669"/>
                    <a:pt x="21325" y="5560"/>
                    <a:pt x="21332" y="5452"/>
                  </a:cubicBezTo>
                  <a:cubicBezTo>
                    <a:pt x="21346" y="5119"/>
                    <a:pt x="21556" y="4972"/>
                    <a:pt x="21755" y="4972"/>
                  </a:cubicBezTo>
                  <a:cubicBezTo>
                    <a:pt x="21913" y="4972"/>
                    <a:pt x="21927" y="4794"/>
                    <a:pt x="21927" y="4738"/>
                  </a:cubicBezTo>
                  <a:cubicBezTo>
                    <a:pt x="21927" y="4650"/>
                    <a:pt x="21976" y="4587"/>
                    <a:pt x="22025" y="4524"/>
                  </a:cubicBezTo>
                  <a:lnTo>
                    <a:pt x="22049" y="4493"/>
                  </a:lnTo>
                  <a:lnTo>
                    <a:pt x="22056" y="4482"/>
                  </a:lnTo>
                  <a:lnTo>
                    <a:pt x="22074" y="4458"/>
                  </a:lnTo>
                  <a:lnTo>
                    <a:pt x="22084" y="4444"/>
                  </a:lnTo>
                  <a:cubicBezTo>
                    <a:pt x="22088" y="4437"/>
                    <a:pt x="22091" y="4426"/>
                    <a:pt x="22098" y="4419"/>
                  </a:cubicBezTo>
                  <a:lnTo>
                    <a:pt x="22105" y="4405"/>
                  </a:lnTo>
                  <a:cubicBezTo>
                    <a:pt x="22105" y="4402"/>
                    <a:pt x="22105" y="4402"/>
                    <a:pt x="22105" y="4398"/>
                  </a:cubicBezTo>
                  <a:cubicBezTo>
                    <a:pt x="22053" y="4339"/>
                    <a:pt x="22018" y="4265"/>
                    <a:pt x="22000" y="4188"/>
                  </a:cubicBezTo>
                  <a:cubicBezTo>
                    <a:pt x="22000" y="4185"/>
                    <a:pt x="22000" y="4181"/>
                    <a:pt x="21997" y="4178"/>
                  </a:cubicBezTo>
                  <a:cubicBezTo>
                    <a:pt x="21965" y="4188"/>
                    <a:pt x="21934" y="4202"/>
                    <a:pt x="21906" y="4220"/>
                  </a:cubicBezTo>
                  <a:cubicBezTo>
                    <a:pt x="21818" y="4272"/>
                    <a:pt x="21594" y="4304"/>
                    <a:pt x="21479" y="4307"/>
                  </a:cubicBezTo>
                  <a:lnTo>
                    <a:pt x="21433" y="4307"/>
                  </a:lnTo>
                  <a:cubicBezTo>
                    <a:pt x="21311" y="4307"/>
                    <a:pt x="21093" y="4160"/>
                    <a:pt x="21093" y="4016"/>
                  </a:cubicBezTo>
                  <a:cubicBezTo>
                    <a:pt x="21093" y="3964"/>
                    <a:pt x="21086" y="3876"/>
                    <a:pt x="21041" y="3876"/>
                  </a:cubicBezTo>
                  <a:cubicBezTo>
                    <a:pt x="20943" y="3876"/>
                    <a:pt x="20757" y="3834"/>
                    <a:pt x="20642" y="3558"/>
                  </a:cubicBezTo>
                  <a:cubicBezTo>
                    <a:pt x="20603" y="3449"/>
                    <a:pt x="20516" y="3369"/>
                    <a:pt x="20407" y="3337"/>
                  </a:cubicBezTo>
                  <a:cubicBezTo>
                    <a:pt x="20376" y="3327"/>
                    <a:pt x="20348" y="3313"/>
                    <a:pt x="20320" y="3299"/>
                  </a:cubicBezTo>
                  <a:cubicBezTo>
                    <a:pt x="20316" y="3295"/>
                    <a:pt x="20313" y="3295"/>
                    <a:pt x="20309" y="3295"/>
                  </a:cubicBezTo>
                  <a:cubicBezTo>
                    <a:pt x="20306" y="3294"/>
                    <a:pt x="20303" y="3293"/>
                    <a:pt x="20301" y="3293"/>
                  </a:cubicBezTo>
                  <a:cubicBezTo>
                    <a:pt x="20298" y="3293"/>
                    <a:pt x="20295" y="3294"/>
                    <a:pt x="20292" y="3295"/>
                  </a:cubicBezTo>
                  <a:cubicBezTo>
                    <a:pt x="20215" y="3295"/>
                    <a:pt x="20043" y="3369"/>
                    <a:pt x="19952" y="3407"/>
                  </a:cubicBezTo>
                  <a:cubicBezTo>
                    <a:pt x="19903" y="3428"/>
                    <a:pt x="19861" y="3449"/>
                    <a:pt x="19826" y="3460"/>
                  </a:cubicBezTo>
                  <a:cubicBezTo>
                    <a:pt x="19792" y="3473"/>
                    <a:pt x="19754" y="3478"/>
                    <a:pt x="19715" y="3478"/>
                  </a:cubicBezTo>
                  <a:cubicBezTo>
                    <a:pt x="19637" y="3478"/>
                    <a:pt x="19550" y="3457"/>
                    <a:pt x="19462" y="3432"/>
                  </a:cubicBezTo>
                  <a:lnTo>
                    <a:pt x="19399" y="3418"/>
                  </a:lnTo>
                  <a:cubicBezTo>
                    <a:pt x="19350" y="3400"/>
                    <a:pt x="19301" y="3390"/>
                    <a:pt x="19259" y="3379"/>
                  </a:cubicBezTo>
                  <a:cubicBezTo>
                    <a:pt x="19203" y="3365"/>
                    <a:pt x="19154" y="3337"/>
                    <a:pt x="19115" y="3295"/>
                  </a:cubicBezTo>
                  <a:cubicBezTo>
                    <a:pt x="19080" y="3264"/>
                    <a:pt x="19049" y="3232"/>
                    <a:pt x="19021" y="3197"/>
                  </a:cubicBezTo>
                  <a:cubicBezTo>
                    <a:pt x="18958" y="3125"/>
                    <a:pt x="18914" y="3074"/>
                    <a:pt x="18875" y="3074"/>
                  </a:cubicBezTo>
                  <a:cubicBezTo>
                    <a:pt x="18872" y="3074"/>
                    <a:pt x="18869" y="3074"/>
                    <a:pt x="18867" y="3075"/>
                  </a:cubicBezTo>
                  <a:lnTo>
                    <a:pt x="18863" y="3075"/>
                  </a:lnTo>
                  <a:cubicBezTo>
                    <a:pt x="18818" y="3085"/>
                    <a:pt x="18779" y="3148"/>
                    <a:pt x="18744" y="3211"/>
                  </a:cubicBezTo>
                  <a:lnTo>
                    <a:pt x="18730" y="3239"/>
                  </a:lnTo>
                  <a:cubicBezTo>
                    <a:pt x="18681" y="3334"/>
                    <a:pt x="18629" y="3428"/>
                    <a:pt x="18531" y="3428"/>
                  </a:cubicBezTo>
                  <a:cubicBezTo>
                    <a:pt x="18426" y="3428"/>
                    <a:pt x="18342" y="3264"/>
                    <a:pt x="18177" y="2924"/>
                  </a:cubicBezTo>
                  <a:lnTo>
                    <a:pt x="18146" y="2861"/>
                  </a:lnTo>
                  <a:cubicBezTo>
                    <a:pt x="18076" y="2707"/>
                    <a:pt x="17995" y="2560"/>
                    <a:pt x="17908" y="2417"/>
                  </a:cubicBezTo>
                  <a:cubicBezTo>
                    <a:pt x="17880" y="2371"/>
                    <a:pt x="17848" y="2329"/>
                    <a:pt x="17817" y="2277"/>
                  </a:cubicBezTo>
                  <a:cubicBezTo>
                    <a:pt x="17582" y="1912"/>
                    <a:pt x="17232" y="1363"/>
                    <a:pt x="16931" y="1254"/>
                  </a:cubicBezTo>
                  <a:cubicBezTo>
                    <a:pt x="16861" y="1230"/>
                    <a:pt x="16791" y="1191"/>
                    <a:pt x="16731" y="1146"/>
                  </a:cubicBezTo>
                  <a:cubicBezTo>
                    <a:pt x="16686" y="1111"/>
                    <a:pt x="16658" y="1062"/>
                    <a:pt x="16644" y="1006"/>
                  </a:cubicBezTo>
                  <a:cubicBezTo>
                    <a:pt x="16626" y="925"/>
                    <a:pt x="16654" y="845"/>
                    <a:pt x="16728" y="761"/>
                  </a:cubicBezTo>
                  <a:cubicBezTo>
                    <a:pt x="16706" y="758"/>
                    <a:pt x="16684" y="757"/>
                    <a:pt x="16663" y="757"/>
                  </a:cubicBezTo>
                  <a:cubicBezTo>
                    <a:pt x="16595" y="757"/>
                    <a:pt x="16530" y="770"/>
                    <a:pt x="16469" y="799"/>
                  </a:cubicBezTo>
                  <a:cubicBezTo>
                    <a:pt x="16423" y="824"/>
                    <a:pt x="16381" y="855"/>
                    <a:pt x="16332" y="887"/>
                  </a:cubicBezTo>
                  <a:cubicBezTo>
                    <a:pt x="16217" y="967"/>
                    <a:pt x="16084" y="1058"/>
                    <a:pt x="15951" y="1086"/>
                  </a:cubicBezTo>
                  <a:cubicBezTo>
                    <a:pt x="15944" y="1086"/>
                    <a:pt x="15937" y="1090"/>
                    <a:pt x="15930" y="1093"/>
                  </a:cubicBezTo>
                  <a:cubicBezTo>
                    <a:pt x="15895" y="1104"/>
                    <a:pt x="15860" y="1121"/>
                    <a:pt x="15828" y="1142"/>
                  </a:cubicBezTo>
                  <a:cubicBezTo>
                    <a:pt x="15804" y="1156"/>
                    <a:pt x="15776" y="1174"/>
                    <a:pt x="15751" y="1191"/>
                  </a:cubicBezTo>
                  <a:cubicBezTo>
                    <a:pt x="15639" y="1263"/>
                    <a:pt x="15518" y="1340"/>
                    <a:pt x="15400" y="1340"/>
                  </a:cubicBezTo>
                  <a:cubicBezTo>
                    <a:pt x="15375" y="1340"/>
                    <a:pt x="15349" y="1336"/>
                    <a:pt x="15324" y="1328"/>
                  </a:cubicBezTo>
                  <a:cubicBezTo>
                    <a:pt x="15313" y="1324"/>
                    <a:pt x="15303" y="1323"/>
                    <a:pt x="15294" y="1323"/>
                  </a:cubicBezTo>
                  <a:cubicBezTo>
                    <a:pt x="15256" y="1323"/>
                    <a:pt x="15224" y="1348"/>
                    <a:pt x="15174" y="1384"/>
                  </a:cubicBezTo>
                  <a:cubicBezTo>
                    <a:pt x="15153" y="1401"/>
                    <a:pt x="15128" y="1419"/>
                    <a:pt x="15104" y="1433"/>
                  </a:cubicBezTo>
                  <a:cubicBezTo>
                    <a:pt x="15076" y="1450"/>
                    <a:pt x="15044" y="1461"/>
                    <a:pt x="15013" y="1461"/>
                  </a:cubicBezTo>
                  <a:cubicBezTo>
                    <a:pt x="14967" y="1461"/>
                    <a:pt x="14921" y="1443"/>
                    <a:pt x="14886" y="1408"/>
                  </a:cubicBezTo>
                  <a:cubicBezTo>
                    <a:pt x="14858" y="1387"/>
                    <a:pt x="14841" y="1356"/>
                    <a:pt x="14834" y="1321"/>
                  </a:cubicBezTo>
                  <a:cubicBezTo>
                    <a:pt x="14830" y="1310"/>
                    <a:pt x="14830" y="1300"/>
                    <a:pt x="14830" y="1289"/>
                  </a:cubicBezTo>
                  <a:cubicBezTo>
                    <a:pt x="14830" y="1272"/>
                    <a:pt x="14834" y="1251"/>
                    <a:pt x="14844" y="1233"/>
                  </a:cubicBezTo>
                  <a:cubicBezTo>
                    <a:pt x="14876" y="1181"/>
                    <a:pt x="14918" y="1135"/>
                    <a:pt x="14970" y="1100"/>
                  </a:cubicBezTo>
                  <a:cubicBezTo>
                    <a:pt x="14984" y="1090"/>
                    <a:pt x="15013" y="1069"/>
                    <a:pt x="15030" y="1051"/>
                  </a:cubicBezTo>
                  <a:cubicBezTo>
                    <a:pt x="15037" y="1044"/>
                    <a:pt x="15044" y="1037"/>
                    <a:pt x="15048" y="1034"/>
                  </a:cubicBezTo>
                  <a:cubicBezTo>
                    <a:pt x="15034" y="1034"/>
                    <a:pt x="15016" y="1041"/>
                    <a:pt x="15006" y="1041"/>
                  </a:cubicBezTo>
                  <a:cubicBezTo>
                    <a:pt x="14969" y="1050"/>
                    <a:pt x="14928" y="1060"/>
                    <a:pt x="14889" y="1060"/>
                  </a:cubicBezTo>
                  <a:cubicBezTo>
                    <a:pt x="14850" y="1060"/>
                    <a:pt x="14813" y="1050"/>
                    <a:pt x="14785" y="1016"/>
                  </a:cubicBezTo>
                  <a:cubicBezTo>
                    <a:pt x="14746" y="978"/>
                    <a:pt x="14697" y="957"/>
                    <a:pt x="14645" y="946"/>
                  </a:cubicBezTo>
                  <a:cubicBezTo>
                    <a:pt x="14645" y="978"/>
                    <a:pt x="14634" y="1006"/>
                    <a:pt x="14613" y="1030"/>
                  </a:cubicBezTo>
                  <a:cubicBezTo>
                    <a:pt x="14589" y="1051"/>
                    <a:pt x="14561" y="1062"/>
                    <a:pt x="14529" y="1062"/>
                  </a:cubicBezTo>
                  <a:cubicBezTo>
                    <a:pt x="14438" y="1062"/>
                    <a:pt x="14365" y="992"/>
                    <a:pt x="14358" y="901"/>
                  </a:cubicBezTo>
                  <a:cubicBezTo>
                    <a:pt x="14354" y="859"/>
                    <a:pt x="14330" y="820"/>
                    <a:pt x="14295" y="799"/>
                  </a:cubicBezTo>
                  <a:cubicBezTo>
                    <a:pt x="14293" y="799"/>
                    <a:pt x="14291" y="798"/>
                    <a:pt x="14289" y="798"/>
                  </a:cubicBezTo>
                  <a:cubicBezTo>
                    <a:pt x="14284" y="798"/>
                    <a:pt x="14277" y="801"/>
                    <a:pt x="14267" y="813"/>
                  </a:cubicBezTo>
                  <a:cubicBezTo>
                    <a:pt x="14185" y="902"/>
                    <a:pt x="14002" y="957"/>
                    <a:pt x="13863" y="957"/>
                  </a:cubicBezTo>
                  <a:cubicBezTo>
                    <a:pt x="13859" y="957"/>
                    <a:pt x="13854" y="957"/>
                    <a:pt x="13850" y="957"/>
                  </a:cubicBezTo>
                  <a:cubicBezTo>
                    <a:pt x="13833" y="957"/>
                    <a:pt x="13812" y="957"/>
                    <a:pt x="13791" y="953"/>
                  </a:cubicBezTo>
                  <a:cubicBezTo>
                    <a:pt x="13745" y="950"/>
                    <a:pt x="13703" y="929"/>
                    <a:pt x="13672" y="894"/>
                  </a:cubicBezTo>
                  <a:cubicBezTo>
                    <a:pt x="13633" y="855"/>
                    <a:pt x="13619" y="799"/>
                    <a:pt x="13644" y="750"/>
                  </a:cubicBezTo>
                  <a:cubicBezTo>
                    <a:pt x="13651" y="729"/>
                    <a:pt x="13665" y="708"/>
                    <a:pt x="13679" y="691"/>
                  </a:cubicBezTo>
                  <a:cubicBezTo>
                    <a:pt x="13696" y="670"/>
                    <a:pt x="13710" y="642"/>
                    <a:pt x="13717" y="614"/>
                  </a:cubicBezTo>
                  <a:cubicBezTo>
                    <a:pt x="13710" y="568"/>
                    <a:pt x="13696" y="523"/>
                    <a:pt x="13675" y="481"/>
                  </a:cubicBezTo>
                  <a:cubicBezTo>
                    <a:pt x="13640" y="404"/>
                    <a:pt x="13602" y="313"/>
                    <a:pt x="13619" y="222"/>
                  </a:cubicBezTo>
                  <a:cubicBezTo>
                    <a:pt x="13619" y="218"/>
                    <a:pt x="13619" y="211"/>
                    <a:pt x="13619" y="204"/>
                  </a:cubicBezTo>
                  <a:cubicBezTo>
                    <a:pt x="13609" y="180"/>
                    <a:pt x="13591" y="155"/>
                    <a:pt x="13570" y="141"/>
                  </a:cubicBezTo>
                  <a:cubicBezTo>
                    <a:pt x="13521" y="103"/>
                    <a:pt x="13462" y="78"/>
                    <a:pt x="13399" y="71"/>
                  </a:cubicBezTo>
                  <a:cubicBezTo>
                    <a:pt x="13385" y="71"/>
                    <a:pt x="13371" y="71"/>
                    <a:pt x="13357" y="78"/>
                  </a:cubicBezTo>
                  <a:cubicBezTo>
                    <a:pt x="13314" y="95"/>
                    <a:pt x="13267" y="103"/>
                    <a:pt x="13219" y="103"/>
                  </a:cubicBezTo>
                  <a:cubicBezTo>
                    <a:pt x="13102" y="103"/>
                    <a:pt x="12977" y="60"/>
                    <a:pt x="12880" y="15"/>
                  </a:cubicBezTo>
                  <a:cubicBezTo>
                    <a:pt x="12858" y="5"/>
                    <a:pt x="12822" y="0"/>
                    <a:pt x="1278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9" name="Google Shape;7356;p64">
              <a:extLst>
                <a:ext uri="{FF2B5EF4-FFF2-40B4-BE49-F238E27FC236}">
                  <a16:creationId xmlns:a16="http://schemas.microsoft.com/office/drawing/2014/main" id="{6746ABE7-F87A-28E0-4F7E-B2EB13A3CA5C}"/>
                </a:ext>
              </a:extLst>
            </p:cNvPr>
            <p:cNvSpPr/>
            <p:nvPr/>
          </p:nvSpPr>
          <p:spPr>
            <a:xfrm>
              <a:off x="2571159" y="1710115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0" name="Google Shape;7357;p64">
              <a:extLst>
                <a:ext uri="{FF2B5EF4-FFF2-40B4-BE49-F238E27FC236}">
                  <a16:creationId xmlns:a16="http://schemas.microsoft.com/office/drawing/2014/main" id="{4F5EAEDE-7795-C13A-5978-719C58C81D81}"/>
                </a:ext>
              </a:extLst>
            </p:cNvPr>
            <p:cNvSpPr/>
            <p:nvPr/>
          </p:nvSpPr>
          <p:spPr>
            <a:xfrm>
              <a:off x="2571960" y="170883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7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1" name="Google Shape;7358;p64">
              <a:extLst>
                <a:ext uri="{FF2B5EF4-FFF2-40B4-BE49-F238E27FC236}">
                  <a16:creationId xmlns:a16="http://schemas.microsoft.com/office/drawing/2014/main" id="{55468250-0FBF-7377-2285-BB70319D9F2F}"/>
                </a:ext>
              </a:extLst>
            </p:cNvPr>
            <p:cNvSpPr/>
            <p:nvPr/>
          </p:nvSpPr>
          <p:spPr>
            <a:xfrm>
              <a:off x="2572340" y="1708500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2" name="Google Shape;7359;p64">
              <a:extLst>
                <a:ext uri="{FF2B5EF4-FFF2-40B4-BE49-F238E27FC236}">
                  <a16:creationId xmlns:a16="http://schemas.microsoft.com/office/drawing/2014/main" id="{83E898C6-46A1-E987-0BE3-D16CF74C18EA}"/>
                </a:ext>
              </a:extLst>
            </p:cNvPr>
            <p:cNvSpPr/>
            <p:nvPr/>
          </p:nvSpPr>
          <p:spPr>
            <a:xfrm>
              <a:off x="2572245" y="170859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3" name="Google Shape;7360;p64">
              <a:extLst>
                <a:ext uri="{FF2B5EF4-FFF2-40B4-BE49-F238E27FC236}">
                  <a16:creationId xmlns:a16="http://schemas.microsoft.com/office/drawing/2014/main" id="{B7DD0E7F-D752-5092-F186-7351AB60C00C}"/>
                </a:ext>
              </a:extLst>
            </p:cNvPr>
            <p:cNvSpPr/>
            <p:nvPr/>
          </p:nvSpPr>
          <p:spPr>
            <a:xfrm>
              <a:off x="2571539" y="170950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4" name="Google Shape;7361;p64">
              <a:extLst>
                <a:ext uri="{FF2B5EF4-FFF2-40B4-BE49-F238E27FC236}">
                  <a16:creationId xmlns:a16="http://schemas.microsoft.com/office/drawing/2014/main" id="{C6DAE189-C3E9-DFE5-28DB-29A1468ADA6D}"/>
                </a:ext>
              </a:extLst>
            </p:cNvPr>
            <p:cNvSpPr/>
            <p:nvPr/>
          </p:nvSpPr>
          <p:spPr>
            <a:xfrm>
              <a:off x="2571729" y="170921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5" name="Google Shape;7362;p64">
              <a:extLst>
                <a:ext uri="{FF2B5EF4-FFF2-40B4-BE49-F238E27FC236}">
                  <a16:creationId xmlns:a16="http://schemas.microsoft.com/office/drawing/2014/main" id="{DCBBEB93-23EB-9823-B0BE-43DCC95872E1}"/>
                </a:ext>
              </a:extLst>
            </p:cNvPr>
            <p:cNvSpPr/>
            <p:nvPr/>
          </p:nvSpPr>
          <p:spPr>
            <a:xfrm>
              <a:off x="2571349" y="170979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6" name="Google Shape;7363;p64">
              <a:extLst>
                <a:ext uri="{FF2B5EF4-FFF2-40B4-BE49-F238E27FC236}">
                  <a16:creationId xmlns:a16="http://schemas.microsoft.com/office/drawing/2014/main" id="{2E654978-1BA9-DFAB-81FA-8EA028415460}"/>
                </a:ext>
              </a:extLst>
            </p:cNvPr>
            <p:cNvSpPr/>
            <p:nvPr/>
          </p:nvSpPr>
          <p:spPr>
            <a:xfrm>
              <a:off x="2572109" y="1708690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7" name="Google Shape;7364;p64">
              <a:extLst>
                <a:ext uri="{FF2B5EF4-FFF2-40B4-BE49-F238E27FC236}">
                  <a16:creationId xmlns:a16="http://schemas.microsoft.com/office/drawing/2014/main" id="{D3F8E4C4-6AD6-D82B-01A8-DE3AB2B679EA}"/>
                </a:ext>
              </a:extLst>
            </p:cNvPr>
            <p:cNvSpPr/>
            <p:nvPr/>
          </p:nvSpPr>
          <p:spPr>
            <a:xfrm>
              <a:off x="2570968" y="171055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8" name="Google Shape;7365;p64">
              <a:extLst>
                <a:ext uri="{FF2B5EF4-FFF2-40B4-BE49-F238E27FC236}">
                  <a16:creationId xmlns:a16="http://schemas.microsoft.com/office/drawing/2014/main" id="{1E8F028C-2F0F-3F10-B6C8-55F20FAD863D}"/>
                </a:ext>
              </a:extLst>
            </p:cNvPr>
            <p:cNvSpPr/>
            <p:nvPr/>
          </p:nvSpPr>
          <p:spPr>
            <a:xfrm>
              <a:off x="2641218" y="170617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9" name="Google Shape;7366;p64">
              <a:extLst>
                <a:ext uri="{FF2B5EF4-FFF2-40B4-BE49-F238E27FC236}">
                  <a16:creationId xmlns:a16="http://schemas.microsoft.com/office/drawing/2014/main" id="{D681C0E7-B7A4-1B4F-8F27-288297BF8FDF}"/>
                </a:ext>
              </a:extLst>
            </p:cNvPr>
            <p:cNvSpPr/>
            <p:nvPr/>
          </p:nvSpPr>
          <p:spPr>
            <a:xfrm>
              <a:off x="2572584" y="170836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0" name="Google Shape;7367;p64">
              <a:extLst>
                <a:ext uri="{FF2B5EF4-FFF2-40B4-BE49-F238E27FC236}">
                  <a16:creationId xmlns:a16="http://schemas.microsoft.com/office/drawing/2014/main" id="{73B65E55-C8BB-C467-2B44-4CCFD22C2B85}"/>
                </a:ext>
              </a:extLst>
            </p:cNvPr>
            <p:cNvSpPr/>
            <p:nvPr/>
          </p:nvSpPr>
          <p:spPr>
            <a:xfrm>
              <a:off x="2641829" y="1706178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" y="0"/>
                  </a:moveTo>
                  <a:lnTo>
                    <a:pt x="1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1" name="Google Shape;7368;p64">
              <a:extLst>
                <a:ext uri="{FF2B5EF4-FFF2-40B4-BE49-F238E27FC236}">
                  <a16:creationId xmlns:a16="http://schemas.microsoft.com/office/drawing/2014/main" id="{3933B818-737C-60B7-F8B5-86009981740D}"/>
                </a:ext>
              </a:extLst>
            </p:cNvPr>
            <p:cNvSpPr/>
            <p:nvPr/>
          </p:nvSpPr>
          <p:spPr>
            <a:xfrm>
              <a:off x="2571824" y="170902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7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2" name="Google Shape;7369;p64">
              <a:extLst>
                <a:ext uri="{FF2B5EF4-FFF2-40B4-BE49-F238E27FC236}">
                  <a16:creationId xmlns:a16="http://schemas.microsoft.com/office/drawing/2014/main" id="{DDF830FC-8198-47DF-5944-076C32C5FF06}"/>
                </a:ext>
              </a:extLst>
            </p:cNvPr>
            <p:cNvSpPr/>
            <p:nvPr/>
          </p:nvSpPr>
          <p:spPr>
            <a:xfrm>
              <a:off x="2642305" y="170621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3" name="Google Shape;7370;p64">
              <a:extLst>
                <a:ext uri="{FF2B5EF4-FFF2-40B4-BE49-F238E27FC236}">
                  <a16:creationId xmlns:a16="http://schemas.microsoft.com/office/drawing/2014/main" id="{9E6938C8-7B91-2A7B-1FBC-38DD3B9714AD}"/>
                </a:ext>
              </a:extLst>
            </p:cNvPr>
            <p:cNvSpPr/>
            <p:nvPr/>
          </p:nvSpPr>
          <p:spPr>
            <a:xfrm>
              <a:off x="2642780" y="1706273"/>
              <a:ext cx="353" cy="149"/>
            </a:xfrm>
            <a:custGeom>
              <a:avLst/>
              <a:gdLst/>
              <a:ahLst/>
              <a:cxnLst/>
              <a:rect l="l" t="t" r="r" b="b"/>
              <a:pathLst>
                <a:path w="26" h="11" extrusionOk="0">
                  <a:moveTo>
                    <a:pt x="1" y="0"/>
                  </a:moveTo>
                  <a:cubicBezTo>
                    <a:pt x="8" y="4"/>
                    <a:pt x="18" y="7"/>
                    <a:pt x="25" y="11"/>
                  </a:cubicBezTo>
                  <a:cubicBezTo>
                    <a:pt x="18" y="7"/>
                    <a:pt x="8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4" name="Google Shape;7371;p64">
              <a:extLst>
                <a:ext uri="{FF2B5EF4-FFF2-40B4-BE49-F238E27FC236}">
                  <a16:creationId xmlns:a16="http://schemas.microsoft.com/office/drawing/2014/main" id="{884C20C0-60A2-33A6-30CB-A948E29165ED}"/>
                </a:ext>
              </a:extLst>
            </p:cNvPr>
            <p:cNvSpPr/>
            <p:nvPr/>
          </p:nvSpPr>
          <p:spPr>
            <a:xfrm>
              <a:off x="2634756" y="1702852"/>
              <a:ext cx="4005" cy="2200"/>
            </a:xfrm>
            <a:custGeom>
              <a:avLst/>
              <a:gdLst/>
              <a:ahLst/>
              <a:cxnLst/>
              <a:rect l="l" t="t" r="r" b="b"/>
              <a:pathLst>
                <a:path w="295" h="162" extrusionOk="0">
                  <a:moveTo>
                    <a:pt x="0" y="0"/>
                  </a:moveTo>
                  <a:cubicBezTo>
                    <a:pt x="91" y="0"/>
                    <a:pt x="175" y="28"/>
                    <a:pt x="294" y="161"/>
                  </a:cubicBezTo>
                  <a:cubicBezTo>
                    <a:pt x="175" y="28"/>
                    <a:pt x="95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5" name="Google Shape;7372;p64">
              <a:extLst>
                <a:ext uri="{FF2B5EF4-FFF2-40B4-BE49-F238E27FC236}">
                  <a16:creationId xmlns:a16="http://schemas.microsoft.com/office/drawing/2014/main" id="{3DA9E209-819C-6466-A650-F4D5B75563C4}"/>
                </a:ext>
              </a:extLst>
            </p:cNvPr>
            <p:cNvSpPr/>
            <p:nvPr/>
          </p:nvSpPr>
          <p:spPr>
            <a:xfrm>
              <a:off x="2572489" y="170845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6" name="Google Shape;7373;p64">
              <a:extLst>
                <a:ext uri="{FF2B5EF4-FFF2-40B4-BE49-F238E27FC236}">
                  <a16:creationId xmlns:a16="http://schemas.microsoft.com/office/drawing/2014/main" id="{624FC3C2-CC2F-A88A-A843-C201867D36E8}"/>
                </a:ext>
              </a:extLst>
            </p:cNvPr>
            <p:cNvSpPr/>
            <p:nvPr/>
          </p:nvSpPr>
          <p:spPr>
            <a:xfrm>
              <a:off x="2506177" y="1694053"/>
              <a:ext cx="244" cy="299"/>
            </a:xfrm>
            <a:custGeom>
              <a:avLst/>
              <a:gdLst/>
              <a:ahLst/>
              <a:cxnLst/>
              <a:rect l="l" t="t" r="r" b="b"/>
              <a:pathLst>
                <a:path w="18" h="22" extrusionOk="0">
                  <a:moveTo>
                    <a:pt x="0" y="1"/>
                  </a:moveTo>
                  <a:lnTo>
                    <a:pt x="18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7" name="Google Shape;7374;p64">
              <a:extLst>
                <a:ext uri="{FF2B5EF4-FFF2-40B4-BE49-F238E27FC236}">
                  <a16:creationId xmlns:a16="http://schemas.microsoft.com/office/drawing/2014/main" id="{33973D92-7A28-ABAF-3D8A-243ABC0F70C8}"/>
                </a:ext>
              </a:extLst>
            </p:cNvPr>
            <p:cNvSpPr/>
            <p:nvPr/>
          </p:nvSpPr>
          <p:spPr>
            <a:xfrm>
              <a:off x="2504602" y="1692152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8" name="Google Shape;7375;p64">
              <a:extLst>
                <a:ext uri="{FF2B5EF4-FFF2-40B4-BE49-F238E27FC236}">
                  <a16:creationId xmlns:a16="http://schemas.microsoft.com/office/drawing/2014/main" id="{2D323FE2-1529-B19D-0293-9B5511235B3B}"/>
                </a:ext>
              </a:extLst>
            </p:cNvPr>
            <p:cNvSpPr/>
            <p:nvPr/>
          </p:nvSpPr>
          <p:spPr>
            <a:xfrm>
              <a:off x="2505172" y="1692818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9" name="Google Shape;7376;p64">
              <a:extLst>
                <a:ext uri="{FF2B5EF4-FFF2-40B4-BE49-F238E27FC236}">
                  <a16:creationId xmlns:a16="http://schemas.microsoft.com/office/drawing/2014/main" id="{2EDBA371-5816-F2B5-6A86-88E0E14F499F}"/>
                </a:ext>
              </a:extLst>
            </p:cNvPr>
            <p:cNvSpPr/>
            <p:nvPr/>
          </p:nvSpPr>
          <p:spPr>
            <a:xfrm>
              <a:off x="2503325" y="1690768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0" name="Google Shape;7377;p64">
              <a:extLst>
                <a:ext uri="{FF2B5EF4-FFF2-40B4-BE49-F238E27FC236}">
                  <a16:creationId xmlns:a16="http://schemas.microsoft.com/office/drawing/2014/main" id="{E377C5CE-840D-3268-7D72-8B630CC27896}"/>
                </a:ext>
              </a:extLst>
            </p:cNvPr>
            <p:cNvSpPr/>
            <p:nvPr/>
          </p:nvSpPr>
          <p:spPr>
            <a:xfrm>
              <a:off x="2568497" y="1712166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0" y="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1" name="Google Shape;7378;p64">
              <a:extLst>
                <a:ext uri="{FF2B5EF4-FFF2-40B4-BE49-F238E27FC236}">
                  <a16:creationId xmlns:a16="http://schemas.microsoft.com/office/drawing/2014/main" id="{2CF29E9E-D50F-38D2-63FA-46301E6087F7}"/>
                </a:ext>
              </a:extLst>
            </p:cNvPr>
            <p:cNvSpPr/>
            <p:nvPr/>
          </p:nvSpPr>
          <p:spPr>
            <a:xfrm>
              <a:off x="2567778" y="1712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2" name="Google Shape;7379;p64">
              <a:extLst>
                <a:ext uri="{FF2B5EF4-FFF2-40B4-BE49-F238E27FC236}">
                  <a16:creationId xmlns:a16="http://schemas.microsoft.com/office/drawing/2014/main" id="{075AB069-8F03-BE1E-30A7-FBBB559F1168}"/>
                </a:ext>
              </a:extLst>
            </p:cNvPr>
            <p:cNvSpPr/>
            <p:nvPr/>
          </p:nvSpPr>
          <p:spPr>
            <a:xfrm>
              <a:off x="2461873" y="1676280"/>
              <a:ext cx="19022" cy="5051"/>
            </a:xfrm>
            <a:custGeom>
              <a:avLst/>
              <a:gdLst/>
              <a:ahLst/>
              <a:cxnLst/>
              <a:rect l="l" t="t" r="r" b="b"/>
              <a:pathLst>
                <a:path w="1401" h="372" extrusionOk="0">
                  <a:moveTo>
                    <a:pt x="1401" y="0"/>
                  </a:moveTo>
                  <a:lnTo>
                    <a:pt x="1" y="37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3" name="Google Shape;7380;p64">
              <a:extLst>
                <a:ext uri="{FF2B5EF4-FFF2-40B4-BE49-F238E27FC236}">
                  <a16:creationId xmlns:a16="http://schemas.microsoft.com/office/drawing/2014/main" id="{C986C9A9-C231-6669-B3F1-6C37B86E9EFC}"/>
                </a:ext>
              </a:extLst>
            </p:cNvPr>
            <p:cNvSpPr/>
            <p:nvPr/>
          </p:nvSpPr>
          <p:spPr>
            <a:xfrm>
              <a:off x="2516061" y="1694583"/>
              <a:ext cx="394" cy="95"/>
            </a:xfrm>
            <a:custGeom>
              <a:avLst/>
              <a:gdLst/>
              <a:ahLst/>
              <a:cxnLst/>
              <a:rect l="l" t="t" r="r" b="b"/>
              <a:pathLst>
                <a:path w="29" h="7" extrusionOk="0">
                  <a:moveTo>
                    <a:pt x="1" y="0"/>
                  </a:moveTo>
                  <a:cubicBezTo>
                    <a:pt x="11" y="0"/>
                    <a:pt x="18" y="4"/>
                    <a:pt x="29" y="7"/>
                  </a:cubicBezTo>
                  <a:cubicBezTo>
                    <a:pt x="18" y="4"/>
                    <a:pt x="1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4" name="Google Shape;7381;p64">
              <a:extLst>
                <a:ext uri="{FF2B5EF4-FFF2-40B4-BE49-F238E27FC236}">
                  <a16:creationId xmlns:a16="http://schemas.microsoft.com/office/drawing/2014/main" id="{E31CB6A7-97B8-DBB6-7FD1-6F4A1DAF018E}"/>
                </a:ext>
              </a:extLst>
            </p:cNvPr>
            <p:cNvSpPr/>
            <p:nvPr/>
          </p:nvSpPr>
          <p:spPr>
            <a:xfrm>
              <a:off x="2515260" y="169452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5" name="Google Shape;7382;p64">
              <a:extLst>
                <a:ext uri="{FF2B5EF4-FFF2-40B4-BE49-F238E27FC236}">
                  <a16:creationId xmlns:a16="http://schemas.microsoft.com/office/drawing/2014/main" id="{E29913F2-A869-8C38-3743-18BFA11AE6EF}"/>
                </a:ext>
              </a:extLst>
            </p:cNvPr>
            <p:cNvSpPr/>
            <p:nvPr/>
          </p:nvSpPr>
          <p:spPr>
            <a:xfrm>
              <a:off x="2514690" y="1694624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6" name="Google Shape;7383;p64">
              <a:extLst>
                <a:ext uri="{FF2B5EF4-FFF2-40B4-BE49-F238E27FC236}">
                  <a16:creationId xmlns:a16="http://schemas.microsoft.com/office/drawing/2014/main" id="{9767F6D2-FD3D-BE8E-F783-0677133F5C2F}"/>
                </a:ext>
              </a:extLst>
            </p:cNvPr>
            <p:cNvSpPr/>
            <p:nvPr/>
          </p:nvSpPr>
          <p:spPr>
            <a:xfrm>
              <a:off x="2514119" y="1694678"/>
              <a:ext cx="149" cy="0"/>
            </a:xfrm>
            <a:custGeom>
              <a:avLst/>
              <a:gdLst/>
              <a:ahLst/>
              <a:cxnLst/>
              <a:rect l="l" t="t" r="r" b="b"/>
              <a:pathLst>
                <a:path w="1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7" name="Google Shape;7384;p64">
              <a:extLst>
                <a:ext uri="{FF2B5EF4-FFF2-40B4-BE49-F238E27FC236}">
                  <a16:creationId xmlns:a16="http://schemas.microsoft.com/office/drawing/2014/main" id="{77AC13DF-1474-E256-038F-366052F88BDF}"/>
                </a:ext>
              </a:extLst>
            </p:cNvPr>
            <p:cNvSpPr/>
            <p:nvPr/>
          </p:nvSpPr>
          <p:spPr>
            <a:xfrm>
              <a:off x="2499374" y="168683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1" y="0"/>
                  </a:moveTo>
                  <a:lnTo>
                    <a:pt x="22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8" name="Google Shape;7385;p64">
              <a:extLst>
                <a:ext uri="{FF2B5EF4-FFF2-40B4-BE49-F238E27FC236}">
                  <a16:creationId xmlns:a16="http://schemas.microsoft.com/office/drawing/2014/main" id="{6B5B002B-86CA-6248-39D1-20AB9DF2DDA1}"/>
                </a:ext>
              </a:extLst>
            </p:cNvPr>
            <p:cNvSpPr/>
            <p:nvPr/>
          </p:nvSpPr>
          <p:spPr>
            <a:xfrm>
              <a:off x="2505742" y="1693483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9" name="Google Shape;7386;p64">
              <a:extLst>
                <a:ext uri="{FF2B5EF4-FFF2-40B4-BE49-F238E27FC236}">
                  <a16:creationId xmlns:a16="http://schemas.microsoft.com/office/drawing/2014/main" id="{66156A7F-66D6-E99D-6F93-095354B5C448}"/>
                </a:ext>
              </a:extLst>
            </p:cNvPr>
            <p:cNvSpPr/>
            <p:nvPr/>
          </p:nvSpPr>
          <p:spPr>
            <a:xfrm>
              <a:off x="2498804" y="1686301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" y="1"/>
                  </a:moveTo>
                  <a:lnTo>
                    <a:pt x="1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0" name="Google Shape;7387;p64">
              <a:extLst>
                <a:ext uri="{FF2B5EF4-FFF2-40B4-BE49-F238E27FC236}">
                  <a16:creationId xmlns:a16="http://schemas.microsoft.com/office/drawing/2014/main" id="{303A6B81-1A67-4CFD-73C1-ABDC57EE1FE1}"/>
                </a:ext>
              </a:extLst>
            </p:cNvPr>
            <p:cNvSpPr/>
            <p:nvPr/>
          </p:nvSpPr>
          <p:spPr>
            <a:xfrm>
              <a:off x="2507168" y="1695574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1" y="1"/>
                  </a:moveTo>
                  <a:cubicBezTo>
                    <a:pt x="1" y="4"/>
                    <a:pt x="4" y="8"/>
                    <a:pt x="8" y="11"/>
                  </a:cubicBezTo>
                  <a:cubicBezTo>
                    <a:pt x="8" y="8"/>
                    <a:pt x="4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1" name="Google Shape;7388;p64">
              <a:extLst>
                <a:ext uri="{FF2B5EF4-FFF2-40B4-BE49-F238E27FC236}">
                  <a16:creationId xmlns:a16="http://schemas.microsoft.com/office/drawing/2014/main" id="{DA317CAB-3A37-0905-FE9B-0F6A0D1AFBC3}"/>
                </a:ext>
              </a:extLst>
            </p:cNvPr>
            <p:cNvSpPr/>
            <p:nvPr/>
          </p:nvSpPr>
          <p:spPr>
            <a:xfrm>
              <a:off x="2501329" y="1688677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2" name="Google Shape;7389;p64">
              <a:extLst>
                <a:ext uri="{FF2B5EF4-FFF2-40B4-BE49-F238E27FC236}">
                  <a16:creationId xmlns:a16="http://schemas.microsoft.com/office/drawing/2014/main" id="{CF3614DA-13CC-E026-8A97-BD66364E0716}"/>
                </a:ext>
              </a:extLst>
            </p:cNvPr>
            <p:cNvSpPr/>
            <p:nvPr/>
          </p:nvSpPr>
          <p:spPr>
            <a:xfrm>
              <a:off x="2557133" y="1719389"/>
              <a:ext cx="910" cy="1249"/>
            </a:xfrm>
            <a:custGeom>
              <a:avLst/>
              <a:gdLst/>
              <a:ahLst/>
              <a:cxnLst/>
              <a:rect l="l" t="t" r="r" b="b"/>
              <a:pathLst>
                <a:path w="67" h="92" extrusionOk="0">
                  <a:moveTo>
                    <a:pt x="67" y="0"/>
                  </a:moveTo>
                  <a:cubicBezTo>
                    <a:pt x="56" y="39"/>
                    <a:pt x="32" y="70"/>
                    <a:pt x="0" y="91"/>
                  </a:cubicBezTo>
                  <a:cubicBezTo>
                    <a:pt x="32" y="70"/>
                    <a:pt x="56" y="39"/>
                    <a:pt x="6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3" name="Google Shape;7390;p64">
              <a:extLst>
                <a:ext uri="{FF2B5EF4-FFF2-40B4-BE49-F238E27FC236}">
                  <a16:creationId xmlns:a16="http://schemas.microsoft.com/office/drawing/2014/main" id="{08025AF5-6D30-41D6-C94A-8B74A7D9FD97}"/>
                </a:ext>
              </a:extLst>
            </p:cNvPr>
            <p:cNvSpPr/>
            <p:nvPr/>
          </p:nvSpPr>
          <p:spPr>
            <a:xfrm>
              <a:off x="2501995" y="1689342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0" y="1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4" name="Google Shape;7391;p64">
              <a:extLst>
                <a:ext uri="{FF2B5EF4-FFF2-40B4-BE49-F238E27FC236}">
                  <a16:creationId xmlns:a16="http://schemas.microsoft.com/office/drawing/2014/main" id="{09118BA1-902D-76C2-227D-E7CB1FD0D05B}"/>
                </a:ext>
              </a:extLst>
            </p:cNvPr>
            <p:cNvSpPr/>
            <p:nvPr/>
          </p:nvSpPr>
          <p:spPr>
            <a:xfrm>
              <a:off x="2500664" y="1688011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5" name="Google Shape;7392;p64">
              <a:extLst>
                <a:ext uri="{FF2B5EF4-FFF2-40B4-BE49-F238E27FC236}">
                  <a16:creationId xmlns:a16="http://schemas.microsoft.com/office/drawing/2014/main" id="{CECB464E-738C-B24D-8853-BEFCD727E364}"/>
                </a:ext>
              </a:extLst>
            </p:cNvPr>
            <p:cNvSpPr/>
            <p:nvPr/>
          </p:nvSpPr>
          <p:spPr>
            <a:xfrm>
              <a:off x="2506937" y="16951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0"/>
                  </a:moveTo>
                  <a:lnTo>
                    <a:pt x="1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6" name="Google Shape;7393;p64">
              <a:extLst>
                <a:ext uri="{FF2B5EF4-FFF2-40B4-BE49-F238E27FC236}">
                  <a16:creationId xmlns:a16="http://schemas.microsoft.com/office/drawing/2014/main" id="{BD31C3BE-9B49-5994-CFED-9A224AECE480}"/>
                </a:ext>
              </a:extLst>
            </p:cNvPr>
            <p:cNvSpPr/>
            <p:nvPr/>
          </p:nvSpPr>
          <p:spPr>
            <a:xfrm>
              <a:off x="2503991" y="1691487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0" y="0"/>
                  </a:moveTo>
                  <a:lnTo>
                    <a:pt x="2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7" name="Google Shape;7394;p64">
              <a:extLst>
                <a:ext uri="{FF2B5EF4-FFF2-40B4-BE49-F238E27FC236}">
                  <a16:creationId xmlns:a16="http://schemas.microsoft.com/office/drawing/2014/main" id="{9D729AF3-77BC-C038-8DCA-8525D7393E14}"/>
                </a:ext>
              </a:extLst>
            </p:cNvPr>
            <p:cNvSpPr/>
            <p:nvPr/>
          </p:nvSpPr>
          <p:spPr>
            <a:xfrm>
              <a:off x="2506598" y="1694624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"/>
                  </a:moveTo>
                  <a:lnTo>
                    <a:pt x="15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8" name="Google Shape;7395;p64">
              <a:extLst>
                <a:ext uri="{FF2B5EF4-FFF2-40B4-BE49-F238E27FC236}">
                  <a16:creationId xmlns:a16="http://schemas.microsoft.com/office/drawing/2014/main" id="{59C858E3-D773-5249-1AD2-5746A81AFC9E}"/>
                </a:ext>
              </a:extLst>
            </p:cNvPr>
            <p:cNvSpPr/>
            <p:nvPr/>
          </p:nvSpPr>
          <p:spPr>
            <a:xfrm>
              <a:off x="2515640" y="169452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1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9" name="Google Shape;7396;p64">
              <a:extLst>
                <a:ext uri="{FF2B5EF4-FFF2-40B4-BE49-F238E27FC236}">
                  <a16:creationId xmlns:a16="http://schemas.microsoft.com/office/drawing/2014/main" id="{3A111E24-CB19-416A-D4F6-11A3928E0377}"/>
                </a:ext>
              </a:extLst>
            </p:cNvPr>
            <p:cNvSpPr/>
            <p:nvPr/>
          </p:nvSpPr>
          <p:spPr>
            <a:xfrm>
              <a:off x="2568973" y="1712111"/>
              <a:ext cx="1344" cy="109"/>
            </a:xfrm>
            <a:custGeom>
              <a:avLst/>
              <a:gdLst/>
              <a:ahLst/>
              <a:cxnLst/>
              <a:rect l="l" t="t" r="r" b="b"/>
              <a:pathLst>
                <a:path w="99" h="8" extrusionOk="0">
                  <a:moveTo>
                    <a:pt x="98" y="8"/>
                  </a:moveTo>
                  <a:lnTo>
                    <a:pt x="98" y="8"/>
                  </a:lnTo>
                  <a:cubicBezTo>
                    <a:pt x="67" y="1"/>
                    <a:pt x="35" y="1"/>
                    <a:pt x="0" y="4"/>
                  </a:cubicBezTo>
                  <a:cubicBezTo>
                    <a:pt x="35" y="1"/>
                    <a:pt x="67" y="1"/>
                    <a:pt x="98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0" name="Google Shape;7397;p64">
              <a:extLst>
                <a:ext uri="{FF2B5EF4-FFF2-40B4-BE49-F238E27FC236}">
                  <a16:creationId xmlns:a16="http://schemas.microsoft.com/office/drawing/2014/main" id="{19755902-B420-11A2-E204-B34B54FF4D8F}"/>
                </a:ext>
              </a:extLst>
            </p:cNvPr>
            <p:cNvSpPr/>
            <p:nvPr/>
          </p:nvSpPr>
          <p:spPr>
            <a:xfrm>
              <a:off x="2512640" y="1694909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1" name="Google Shape;7398;p64">
              <a:extLst>
                <a:ext uri="{FF2B5EF4-FFF2-40B4-BE49-F238E27FC236}">
                  <a16:creationId xmlns:a16="http://schemas.microsoft.com/office/drawing/2014/main" id="{FB70D25B-43EA-E0BD-9B78-D6E8C1316C6C}"/>
                </a:ext>
              </a:extLst>
            </p:cNvPr>
            <p:cNvSpPr/>
            <p:nvPr/>
          </p:nvSpPr>
          <p:spPr>
            <a:xfrm>
              <a:off x="2499999" y="1687400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0"/>
                  </a:moveTo>
                  <a:lnTo>
                    <a:pt x="21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2" name="Google Shape;7399;p64">
              <a:extLst>
                <a:ext uri="{FF2B5EF4-FFF2-40B4-BE49-F238E27FC236}">
                  <a16:creationId xmlns:a16="http://schemas.microsoft.com/office/drawing/2014/main" id="{FC780B4E-BE7E-A21A-8C1C-289EC25344FF}"/>
                </a:ext>
              </a:extLst>
            </p:cNvPr>
            <p:cNvSpPr/>
            <p:nvPr/>
          </p:nvSpPr>
          <p:spPr>
            <a:xfrm>
              <a:off x="2513400" y="1694773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3" name="Google Shape;7400;p64">
              <a:extLst>
                <a:ext uri="{FF2B5EF4-FFF2-40B4-BE49-F238E27FC236}">
                  <a16:creationId xmlns:a16="http://schemas.microsoft.com/office/drawing/2014/main" id="{A3CA7A8F-F59A-3D54-4C69-2A17ACCEF91F}"/>
                </a:ext>
              </a:extLst>
            </p:cNvPr>
            <p:cNvSpPr/>
            <p:nvPr/>
          </p:nvSpPr>
          <p:spPr>
            <a:xfrm>
              <a:off x="2566963" y="1712546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4" name="Google Shape;7401;p64">
              <a:extLst>
                <a:ext uri="{FF2B5EF4-FFF2-40B4-BE49-F238E27FC236}">
                  <a16:creationId xmlns:a16="http://schemas.microsoft.com/office/drawing/2014/main" id="{8CB4AA86-61B6-78BA-BF6B-41E7315F5C26}"/>
                </a:ext>
              </a:extLst>
            </p:cNvPr>
            <p:cNvSpPr/>
            <p:nvPr/>
          </p:nvSpPr>
          <p:spPr>
            <a:xfrm>
              <a:off x="2502660" y="1690062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0" y="0"/>
                  </a:moveTo>
                  <a:lnTo>
                    <a:pt x="25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5" name="Google Shape;7402;p64">
              <a:extLst>
                <a:ext uri="{FF2B5EF4-FFF2-40B4-BE49-F238E27FC236}">
                  <a16:creationId xmlns:a16="http://schemas.microsoft.com/office/drawing/2014/main" id="{1104D5D8-2D3F-FF60-5298-9327DCDCF5EC}"/>
                </a:ext>
              </a:extLst>
            </p:cNvPr>
            <p:cNvSpPr/>
            <p:nvPr/>
          </p:nvSpPr>
          <p:spPr>
            <a:xfrm>
              <a:off x="2690844" y="1643097"/>
              <a:ext cx="339" cy="489"/>
            </a:xfrm>
            <a:custGeom>
              <a:avLst/>
              <a:gdLst/>
              <a:ahLst/>
              <a:cxnLst/>
              <a:rect l="l" t="t" r="r" b="b"/>
              <a:pathLst>
                <a:path w="25" h="36" extrusionOk="0">
                  <a:moveTo>
                    <a:pt x="25" y="1"/>
                  </a:moveTo>
                  <a:lnTo>
                    <a:pt x="0" y="36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6" name="Google Shape;7403;p64">
              <a:extLst>
                <a:ext uri="{FF2B5EF4-FFF2-40B4-BE49-F238E27FC236}">
                  <a16:creationId xmlns:a16="http://schemas.microsoft.com/office/drawing/2014/main" id="{A461B677-6751-C810-AB29-9B212C369748}"/>
                </a:ext>
              </a:extLst>
            </p:cNvPr>
            <p:cNvSpPr/>
            <p:nvPr/>
          </p:nvSpPr>
          <p:spPr>
            <a:xfrm>
              <a:off x="2691319" y="1642622"/>
              <a:ext cx="244" cy="353"/>
            </a:xfrm>
            <a:custGeom>
              <a:avLst/>
              <a:gdLst/>
              <a:ahLst/>
              <a:cxnLst/>
              <a:rect l="l" t="t" r="r" b="b"/>
              <a:pathLst>
                <a:path w="18" h="26" extrusionOk="0">
                  <a:moveTo>
                    <a:pt x="18" y="1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7" name="Google Shape;7404;p64">
              <a:extLst>
                <a:ext uri="{FF2B5EF4-FFF2-40B4-BE49-F238E27FC236}">
                  <a16:creationId xmlns:a16="http://schemas.microsoft.com/office/drawing/2014/main" id="{80EF52E2-BE42-A198-E619-52915E6CCEC8}"/>
                </a:ext>
              </a:extLst>
            </p:cNvPr>
            <p:cNvSpPr/>
            <p:nvPr/>
          </p:nvSpPr>
          <p:spPr>
            <a:xfrm>
              <a:off x="2691645" y="1642147"/>
              <a:ext cx="204" cy="353"/>
            </a:xfrm>
            <a:custGeom>
              <a:avLst/>
              <a:gdLst/>
              <a:ahLst/>
              <a:cxnLst/>
              <a:rect l="l" t="t" r="r" b="b"/>
              <a:pathLst>
                <a:path w="15" h="26" extrusionOk="0">
                  <a:moveTo>
                    <a:pt x="15" y="1"/>
                  </a:moveTo>
                  <a:cubicBezTo>
                    <a:pt x="11" y="8"/>
                    <a:pt x="4" y="15"/>
                    <a:pt x="1" y="25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8" name="Google Shape;7405;p64">
              <a:extLst>
                <a:ext uri="{FF2B5EF4-FFF2-40B4-BE49-F238E27FC236}">
                  <a16:creationId xmlns:a16="http://schemas.microsoft.com/office/drawing/2014/main" id="{EAE97048-05D5-7D24-15B1-07B6A202A87E}"/>
                </a:ext>
              </a:extLst>
            </p:cNvPr>
            <p:cNvSpPr/>
            <p:nvPr/>
          </p:nvSpPr>
          <p:spPr>
            <a:xfrm>
              <a:off x="2655339" y="1679838"/>
              <a:ext cx="4141" cy="1113"/>
            </a:xfrm>
            <a:custGeom>
              <a:avLst/>
              <a:gdLst/>
              <a:ahLst/>
              <a:cxnLst/>
              <a:rect l="l" t="t" r="r" b="b"/>
              <a:pathLst>
                <a:path w="305" h="82" extrusionOk="0">
                  <a:moveTo>
                    <a:pt x="305" y="81"/>
                  </a:moveTo>
                  <a:cubicBezTo>
                    <a:pt x="116" y="78"/>
                    <a:pt x="35" y="36"/>
                    <a:pt x="0" y="1"/>
                  </a:cubicBezTo>
                  <a:cubicBezTo>
                    <a:pt x="35" y="36"/>
                    <a:pt x="116" y="78"/>
                    <a:pt x="305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9" name="Google Shape;7406;p64">
              <a:extLst>
                <a:ext uri="{FF2B5EF4-FFF2-40B4-BE49-F238E27FC236}">
                  <a16:creationId xmlns:a16="http://schemas.microsoft.com/office/drawing/2014/main" id="{D445A900-C7DB-3BC7-07EA-09E4EAEE2173}"/>
                </a:ext>
              </a:extLst>
            </p:cNvPr>
            <p:cNvSpPr/>
            <p:nvPr/>
          </p:nvSpPr>
          <p:spPr>
            <a:xfrm>
              <a:off x="2691930" y="1641861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1"/>
                  </a:moveTo>
                  <a:lnTo>
                    <a:pt x="1" y="8"/>
                  </a:lnTo>
                  <a:cubicBezTo>
                    <a:pt x="4" y="4"/>
                    <a:pt x="4" y="4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0" name="Google Shape;7407;p64">
              <a:extLst>
                <a:ext uri="{FF2B5EF4-FFF2-40B4-BE49-F238E27FC236}">
                  <a16:creationId xmlns:a16="http://schemas.microsoft.com/office/drawing/2014/main" id="{AADB1966-4055-0271-6C45-6F6DD8AF5C8A}"/>
                </a:ext>
              </a:extLst>
            </p:cNvPr>
            <p:cNvSpPr/>
            <p:nvPr/>
          </p:nvSpPr>
          <p:spPr>
            <a:xfrm>
              <a:off x="2643255" y="170593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"/>
                  </a:moveTo>
                  <a:lnTo>
                    <a:pt x="1" y="11"/>
                  </a:lnTo>
                  <a:cubicBezTo>
                    <a:pt x="1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1" name="Google Shape;7408;p64">
              <a:extLst>
                <a:ext uri="{FF2B5EF4-FFF2-40B4-BE49-F238E27FC236}">
                  <a16:creationId xmlns:a16="http://schemas.microsoft.com/office/drawing/2014/main" id="{B93F7D17-BBA4-C5BC-FE5B-727BD6792A1A}"/>
                </a:ext>
              </a:extLst>
            </p:cNvPr>
            <p:cNvSpPr/>
            <p:nvPr/>
          </p:nvSpPr>
          <p:spPr>
            <a:xfrm>
              <a:off x="2438968" y="1708269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2" name="Google Shape;7409;p64">
              <a:extLst>
                <a:ext uri="{FF2B5EF4-FFF2-40B4-BE49-F238E27FC236}">
                  <a16:creationId xmlns:a16="http://schemas.microsoft.com/office/drawing/2014/main" id="{F0407879-FE70-867D-0FB2-725CBA6A29CA}"/>
                </a:ext>
              </a:extLst>
            </p:cNvPr>
            <p:cNvSpPr/>
            <p:nvPr/>
          </p:nvSpPr>
          <p:spPr>
            <a:xfrm>
              <a:off x="2438873" y="170855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3" name="Google Shape;7410;p64">
              <a:extLst>
                <a:ext uri="{FF2B5EF4-FFF2-40B4-BE49-F238E27FC236}">
                  <a16:creationId xmlns:a16="http://schemas.microsoft.com/office/drawing/2014/main" id="{E409CAE9-16E2-F648-F2C6-B5A86BF629D7}"/>
                </a:ext>
              </a:extLst>
            </p:cNvPr>
            <p:cNvSpPr/>
            <p:nvPr/>
          </p:nvSpPr>
          <p:spPr>
            <a:xfrm>
              <a:off x="2438819" y="1710401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1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4" name="Google Shape;7411;p64">
              <a:extLst>
                <a:ext uri="{FF2B5EF4-FFF2-40B4-BE49-F238E27FC236}">
                  <a16:creationId xmlns:a16="http://schemas.microsoft.com/office/drawing/2014/main" id="{90184E54-1EB7-2BEE-6365-BA8B9DAAC1A7}"/>
                </a:ext>
              </a:extLst>
            </p:cNvPr>
            <p:cNvSpPr/>
            <p:nvPr/>
          </p:nvSpPr>
          <p:spPr>
            <a:xfrm>
              <a:off x="2438683" y="170954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5" name="Google Shape;7412;p64">
              <a:extLst>
                <a:ext uri="{FF2B5EF4-FFF2-40B4-BE49-F238E27FC236}">
                  <a16:creationId xmlns:a16="http://schemas.microsoft.com/office/drawing/2014/main" id="{DA7B5FE6-D234-0241-72FC-CEA82ED2CBE0}"/>
                </a:ext>
              </a:extLst>
            </p:cNvPr>
            <p:cNvSpPr/>
            <p:nvPr/>
          </p:nvSpPr>
          <p:spPr>
            <a:xfrm>
              <a:off x="2438778" y="170878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4"/>
                  </a:lnTo>
                  <a:cubicBezTo>
                    <a:pt x="0" y="1"/>
                    <a:pt x="0" y="11"/>
                    <a:pt x="0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6" name="Google Shape;7413;p64">
              <a:extLst>
                <a:ext uri="{FF2B5EF4-FFF2-40B4-BE49-F238E27FC236}">
                  <a16:creationId xmlns:a16="http://schemas.microsoft.com/office/drawing/2014/main" id="{F6851AAB-AD0D-B573-16BD-5E571C3AE4DA}"/>
                </a:ext>
              </a:extLst>
            </p:cNvPr>
            <p:cNvSpPr/>
            <p:nvPr/>
          </p:nvSpPr>
          <p:spPr>
            <a:xfrm>
              <a:off x="2438724" y="170916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7" name="Google Shape;7414;p64">
              <a:extLst>
                <a:ext uri="{FF2B5EF4-FFF2-40B4-BE49-F238E27FC236}">
                  <a16:creationId xmlns:a16="http://schemas.microsoft.com/office/drawing/2014/main" id="{0F0B84EF-0BDC-8777-1A0C-F79F5C44F37A}"/>
                </a:ext>
              </a:extLst>
            </p:cNvPr>
            <p:cNvSpPr/>
            <p:nvPr/>
          </p:nvSpPr>
          <p:spPr>
            <a:xfrm>
              <a:off x="2438724" y="170992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ubicBezTo>
                    <a:pt x="1" y="8"/>
                    <a:pt x="1" y="11"/>
                    <a:pt x="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8" name="Google Shape;7415;p64">
              <a:extLst>
                <a:ext uri="{FF2B5EF4-FFF2-40B4-BE49-F238E27FC236}">
                  <a16:creationId xmlns:a16="http://schemas.microsoft.com/office/drawing/2014/main" id="{5D3BEC80-980C-2653-A54B-B75448174F26}"/>
                </a:ext>
              </a:extLst>
            </p:cNvPr>
            <p:cNvSpPr/>
            <p:nvPr/>
          </p:nvSpPr>
          <p:spPr>
            <a:xfrm>
              <a:off x="3083315" y="1349877"/>
              <a:ext cx="6436" cy="2648"/>
            </a:xfrm>
            <a:custGeom>
              <a:avLst/>
              <a:gdLst/>
              <a:ahLst/>
              <a:cxnLst/>
              <a:rect l="l" t="t" r="r" b="b"/>
              <a:pathLst>
                <a:path w="474" h="195" extrusionOk="0">
                  <a:moveTo>
                    <a:pt x="391" y="0"/>
                  </a:moveTo>
                  <a:cubicBezTo>
                    <a:pt x="242" y="0"/>
                    <a:pt x="32" y="100"/>
                    <a:pt x="1" y="150"/>
                  </a:cubicBezTo>
                  <a:cubicBezTo>
                    <a:pt x="11" y="157"/>
                    <a:pt x="25" y="164"/>
                    <a:pt x="39" y="168"/>
                  </a:cubicBezTo>
                  <a:cubicBezTo>
                    <a:pt x="88" y="185"/>
                    <a:pt x="146" y="194"/>
                    <a:pt x="205" y="194"/>
                  </a:cubicBezTo>
                  <a:cubicBezTo>
                    <a:pt x="282" y="194"/>
                    <a:pt x="359" y="178"/>
                    <a:pt x="410" y="140"/>
                  </a:cubicBezTo>
                  <a:cubicBezTo>
                    <a:pt x="449" y="115"/>
                    <a:pt x="473" y="66"/>
                    <a:pt x="470" y="21"/>
                  </a:cubicBezTo>
                  <a:cubicBezTo>
                    <a:pt x="470" y="17"/>
                    <a:pt x="470" y="7"/>
                    <a:pt x="435" y="3"/>
                  </a:cubicBezTo>
                  <a:cubicBezTo>
                    <a:pt x="421" y="1"/>
                    <a:pt x="406" y="0"/>
                    <a:pt x="3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9" name="Google Shape;7416;p64">
              <a:extLst>
                <a:ext uri="{FF2B5EF4-FFF2-40B4-BE49-F238E27FC236}">
                  <a16:creationId xmlns:a16="http://schemas.microsoft.com/office/drawing/2014/main" id="{13E194F1-34EC-B14F-0915-8C0512671F22}"/>
                </a:ext>
              </a:extLst>
            </p:cNvPr>
            <p:cNvSpPr/>
            <p:nvPr/>
          </p:nvSpPr>
          <p:spPr>
            <a:xfrm>
              <a:off x="2740470" y="1256152"/>
              <a:ext cx="41452" cy="20869"/>
            </a:xfrm>
            <a:custGeom>
              <a:avLst/>
              <a:gdLst/>
              <a:ahLst/>
              <a:cxnLst/>
              <a:rect l="l" t="t" r="r" b="b"/>
              <a:pathLst>
                <a:path w="3053" h="1537" extrusionOk="0">
                  <a:moveTo>
                    <a:pt x="1655" y="0"/>
                  </a:moveTo>
                  <a:cubicBezTo>
                    <a:pt x="1574" y="0"/>
                    <a:pt x="1454" y="9"/>
                    <a:pt x="1281" y="38"/>
                  </a:cubicBezTo>
                  <a:cubicBezTo>
                    <a:pt x="809" y="115"/>
                    <a:pt x="445" y="255"/>
                    <a:pt x="399" y="318"/>
                  </a:cubicBezTo>
                  <a:cubicBezTo>
                    <a:pt x="392" y="426"/>
                    <a:pt x="273" y="517"/>
                    <a:pt x="154" y="605"/>
                  </a:cubicBezTo>
                  <a:cubicBezTo>
                    <a:pt x="102" y="643"/>
                    <a:pt x="11" y="710"/>
                    <a:pt x="0" y="741"/>
                  </a:cubicBezTo>
                  <a:lnTo>
                    <a:pt x="4" y="745"/>
                  </a:lnTo>
                  <a:cubicBezTo>
                    <a:pt x="81" y="811"/>
                    <a:pt x="147" y="815"/>
                    <a:pt x="238" y="825"/>
                  </a:cubicBezTo>
                  <a:cubicBezTo>
                    <a:pt x="287" y="829"/>
                    <a:pt x="333" y="832"/>
                    <a:pt x="378" y="843"/>
                  </a:cubicBezTo>
                  <a:cubicBezTo>
                    <a:pt x="466" y="860"/>
                    <a:pt x="525" y="941"/>
                    <a:pt x="588" y="1025"/>
                  </a:cubicBezTo>
                  <a:cubicBezTo>
                    <a:pt x="673" y="1140"/>
                    <a:pt x="739" y="1220"/>
                    <a:pt x="836" y="1220"/>
                  </a:cubicBezTo>
                  <a:cubicBezTo>
                    <a:pt x="852" y="1220"/>
                    <a:pt x="868" y="1218"/>
                    <a:pt x="886" y="1214"/>
                  </a:cubicBezTo>
                  <a:cubicBezTo>
                    <a:pt x="914" y="1207"/>
                    <a:pt x="945" y="1207"/>
                    <a:pt x="977" y="1207"/>
                  </a:cubicBezTo>
                  <a:cubicBezTo>
                    <a:pt x="1141" y="1207"/>
                    <a:pt x="1379" y="1277"/>
                    <a:pt x="1645" y="1358"/>
                  </a:cubicBezTo>
                  <a:cubicBezTo>
                    <a:pt x="1933" y="1445"/>
                    <a:pt x="2230" y="1536"/>
                    <a:pt x="2451" y="1536"/>
                  </a:cubicBezTo>
                  <a:cubicBezTo>
                    <a:pt x="2720" y="1536"/>
                    <a:pt x="2825" y="1400"/>
                    <a:pt x="2829" y="1309"/>
                  </a:cubicBezTo>
                  <a:cubicBezTo>
                    <a:pt x="2829" y="1284"/>
                    <a:pt x="2825" y="1263"/>
                    <a:pt x="2815" y="1263"/>
                  </a:cubicBezTo>
                  <a:cubicBezTo>
                    <a:pt x="2769" y="1263"/>
                    <a:pt x="2727" y="1235"/>
                    <a:pt x="2710" y="1193"/>
                  </a:cubicBezTo>
                  <a:cubicBezTo>
                    <a:pt x="2664" y="1095"/>
                    <a:pt x="2734" y="944"/>
                    <a:pt x="3011" y="545"/>
                  </a:cubicBezTo>
                  <a:cubicBezTo>
                    <a:pt x="3053" y="500"/>
                    <a:pt x="3053" y="433"/>
                    <a:pt x="3011" y="388"/>
                  </a:cubicBezTo>
                  <a:cubicBezTo>
                    <a:pt x="2916" y="261"/>
                    <a:pt x="2647" y="172"/>
                    <a:pt x="2469" y="172"/>
                  </a:cubicBezTo>
                  <a:cubicBezTo>
                    <a:pt x="2431" y="172"/>
                    <a:pt x="2397" y="176"/>
                    <a:pt x="2370" y="185"/>
                  </a:cubicBezTo>
                  <a:cubicBezTo>
                    <a:pt x="2325" y="202"/>
                    <a:pt x="2325" y="220"/>
                    <a:pt x="2325" y="230"/>
                  </a:cubicBezTo>
                  <a:cubicBezTo>
                    <a:pt x="2325" y="353"/>
                    <a:pt x="2276" y="391"/>
                    <a:pt x="2230" y="402"/>
                  </a:cubicBezTo>
                  <a:cubicBezTo>
                    <a:pt x="2221" y="404"/>
                    <a:pt x="2212" y="405"/>
                    <a:pt x="2202" y="405"/>
                  </a:cubicBezTo>
                  <a:cubicBezTo>
                    <a:pt x="2047" y="405"/>
                    <a:pt x="1842" y="96"/>
                    <a:pt x="1800" y="20"/>
                  </a:cubicBezTo>
                  <a:cubicBezTo>
                    <a:pt x="1787" y="11"/>
                    <a:pt x="1744" y="0"/>
                    <a:pt x="165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0" name="Google Shape;7417;p64">
              <a:extLst>
                <a:ext uri="{FF2B5EF4-FFF2-40B4-BE49-F238E27FC236}">
                  <a16:creationId xmlns:a16="http://schemas.microsoft.com/office/drawing/2014/main" id="{A8D7751F-B6FA-168E-E7B4-67A50192BFF0}"/>
                </a:ext>
              </a:extLst>
            </p:cNvPr>
            <p:cNvSpPr/>
            <p:nvPr/>
          </p:nvSpPr>
          <p:spPr>
            <a:xfrm>
              <a:off x="2779112" y="1267720"/>
              <a:ext cx="44453" cy="23136"/>
            </a:xfrm>
            <a:custGeom>
              <a:avLst/>
              <a:gdLst/>
              <a:ahLst/>
              <a:cxnLst/>
              <a:rect l="l" t="t" r="r" b="b"/>
              <a:pathLst>
                <a:path w="3274" h="1704" extrusionOk="0">
                  <a:moveTo>
                    <a:pt x="1671" y="1"/>
                  </a:moveTo>
                  <a:cubicBezTo>
                    <a:pt x="1656" y="1"/>
                    <a:pt x="1640" y="3"/>
                    <a:pt x="1625" y="8"/>
                  </a:cubicBezTo>
                  <a:cubicBezTo>
                    <a:pt x="1611" y="169"/>
                    <a:pt x="1415" y="176"/>
                    <a:pt x="1257" y="183"/>
                  </a:cubicBezTo>
                  <a:cubicBezTo>
                    <a:pt x="1191" y="187"/>
                    <a:pt x="1061" y="194"/>
                    <a:pt x="1044" y="215"/>
                  </a:cubicBezTo>
                  <a:cubicBezTo>
                    <a:pt x="1044" y="327"/>
                    <a:pt x="984" y="404"/>
                    <a:pt x="931" y="471"/>
                  </a:cubicBezTo>
                  <a:cubicBezTo>
                    <a:pt x="879" y="537"/>
                    <a:pt x="844" y="586"/>
                    <a:pt x="851" y="649"/>
                  </a:cubicBezTo>
                  <a:cubicBezTo>
                    <a:pt x="854" y="684"/>
                    <a:pt x="844" y="719"/>
                    <a:pt x="819" y="747"/>
                  </a:cubicBezTo>
                  <a:cubicBezTo>
                    <a:pt x="781" y="789"/>
                    <a:pt x="718" y="789"/>
                    <a:pt x="655" y="789"/>
                  </a:cubicBezTo>
                  <a:cubicBezTo>
                    <a:pt x="651" y="789"/>
                    <a:pt x="646" y="789"/>
                    <a:pt x="642" y="789"/>
                  </a:cubicBezTo>
                  <a:cubicBezTo>
                    <a:pt x="533" y="789"/>
                    <a:pt x="452" y="792"/>
                    <a:pt x="445" y="964"/>
                  </a:cubicBezTo>
                  <a:cubicBezTo>
                    <a:pt x="438" y="1195"/>
                    <a:pt x="263" y="1370"/>
                    <a:pt x="133" y="1500"/>
                  </a:cubicBezTo>
                  <a:cubicBezTo>
                    <a:pt x="84" y="1552"/>
                    <a:pt x="0" y="1636"/>
                    <a:pt x="4" y="1664"/>
                  </a:cubicBezTo>
                  <a:cubicBezTo>
                    <a:pt x="11" y="1671"/>
                    <a:pt x="18" y="1675"/>
                    <a:pt x="25" y="1678"/>
                  </a:cubicBezTo>
                  <a:cubicBezTo>
                    <a:pt x="56" y="1696"/>
                    <a:pt x="102" y="1703"/>
                    <a:pt x="159" y="1703"/>
                  </a:cubicBezTo>
                  <a:cubicBezTo>
                    <a:pt x="296" y="1703"/>
                    <a:pt x="495" y="1662"/>
                    <a:pt x="690" y="1622"/>
                  </a:cubicBezTo>
                  <a:cubicBezTo>
                    <a:pt x="930" y="1573"/>
                    <a:pt x="1179" y="1524"/>
                    <a:pt x="1391" y="1524"/>
                  </a:cubicBezTo>
                  <a:cubicBezTo>
                    <a:pt x="1405" y="1524"/>
                    <a:pt x="1419" y="1524"/>
                    <a:pt x="1432" y="1524"/>
                  </a:cubicBezTo>
                  <a:cubicBezTo>
                    <a:pt x="1441" y="1525"/>
                    <a:pt x="1450" y="1525"/>
                    <a:pt x="1459" y="1525"/>
                  </a:cubicBezTo>
                  <a:cubicBezTo>
                    <a:pt x="1986" y="1525"/>
                    <a:pt x="3225" y="1132"/>
                    <a:pt x="3260" y="947"/>
                  </a:cubicBezTo>
                  <a:cubicBezTo>
                    <a:pt x="3274" y="863"/>
                    <a:pt x="3179" y="821"/>
                    <a:pt x="2972" y="751"/>
                  </a:cubicBezTo>
                  <a:cubicBezTo>
                    <a:pt x="2829" y="702"/>
                    <a:pt x="2668" y="642"/>
                    <a:pt x="2563" y="534"/>
                  </a:cubicBezTo>
                  <a:cubicBezTo>
                    <a:pt x="2506" y="471"/>
                    <a:pt x="2425" y="453"/>
                    <a:pt x="2354" y="453"/>
                  </a:cubicBezTo>
                  <a:cubicBezTo>
                    <a:pt x="2334" y="453"/>
                    <a:pt x="2315" y="454"/>
                    <a:pt x="2297" y="457"/>
                  </a:cubicBezTo>
                  <a:cubicBezTo>
                    <a:pt x="2111" y="478"/>
                    <a:pt x="1929" y="590"/>
                    <a:pt x="1877" y="684"/>
                  </a:cubicBezTo>
                  <a:cubicBezTo>
                    <a:pt x="1820" y="779"/>
                    <a:pt x="1763" y="797"/>
                    <a:pt x="1729" y="797"/>
                  </a:cubicBezTo>
                  <a:cubicBezTo>
                    <a:pt x="1726" y="797"/>
                    <a:pt x="1722" y="796"/>
                    <a:pt x="1719" y="796"/>
                  </a:cubicBezTo>
                  <a:cubicBezTo>
                    <a:pt x="1681" y="793"/>
                    <a:pt x="1646" y="768"/>
                    <a:pt x="1635" y="730"/>
                  </a:cubicBezTo>
                  <a:cubicBezTo>
                    <a:pt x="1600" y="635"/>
                    <a:pt x="1677" y="474"/>
                    <a:pt x="1838" y="313"/>
                  </a:cubicBezTo>
                  <a:cubicBezTo>
                    <a:pt x="1891" y="260"/>
                    <a:pt x="1912" y="208"/>
                    <a:pt x="1901" y="159"/>
                  </a:cubicBezTo>
                  <a:cubicBezTo>
                    <a:pt x="1880" y="89"/>
                    <a:pt x="1793" y="29"/>
                    <a:pt x="1716" y="8"/>
                  </a:cubicBezTo>
                  <a:cubicBezTo>
                    <a:pt x="1702" y="3"/>
                    <a:pt x="1687" y="1"/>
                    <a:pt x="167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1" name="Google Shape;7418;p64">
              <a:extLst>
                <a:ext uri="{FF2B5EF4-FFF2-40B4-BE49-F238E27FC236}">
                  <a16:creationId xmlns:a16="http://schemas.microsoft.com/office/drawing/2014/main" id="{58EA8321-F5B2-27C6-C338-A95FC9C75C25}"/>
                </a:ext>
              </a:extLst>
            </p:cNvPr>
            <p:cNvSpPr/>
            <p:nvPr/>
          </p:nvSpPr>
          <p:spPr>
            <a:xfrm>
              <a:off x="3087022" y="1356164"/>
              <a:ext cx="21412" cy="7834"/>
            </a:xfrm>
            <a:custGeom>
              <a:avLst/>
              <a:gdLst/>
              <a:ahLst/>
              <a:cxnLst/>
              <a:rect l="l" t="t" r="r" b="b"/>
              <a:pathLst>
                <a:path w="1577" h="577" extrusionOk="0">
                  <a:moveTo>
                    <a:pt x="714" y="0"/>
                  </a:moveTo>
                  <a:cubicBezTo>
                    <a:pt x="345" y="0"/>
                    <a:pt x="36" y="259"/>
                    <a:pt x="1" y="339"/>
                  </a:cubicBezTo>
                  <a:cubicBezTo>
                    <a:pt x="129" y="473"/>
                    <a:pt x="886" y="576"/>
                    <a:pt x="1312" y="576"/>
                  </a:cubicBezTo>
                  <a:cubicBezTo>
                    <a:pt x="1409" y="576"/>
                    <a:pt x="1490" y="571"/>
                    <a:pt x="1541" y="559"/>
                  </a:cubicBezTo>
                  <a:cubicBezTo>
                    <a:pt x="1576" y="552"/>
                    <a:pt x="1576" y="542"/>
                    <a:pt x="1576" y="531"/>
                  </a:cubicBezTo>
                  <a:cubicBezTo>
                    <a:pt x="1573" y="402"/>
                    <a:pt x="1219" y="73"/>
                    <a:pt x="834" y="10"/>
                  </a:cubicBezTo>
                  <a:cubicBezTo>
                    <a:pt x="794" y="3"/>
                    <a:pt x="754" y="0"/>
                    <a:pt x="71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2" name="Google Shape;7419;p64">
              <a:extLst>
                <a:ext uri="{FF2B5EF4-FFF2-40B4-BE49-F238E27FC236}">
                  <a16:creationId xmlns:a16="http://schemas.microsoft.com/office/drawing/2014/main" id="{A6C9F8E7-3C8C-B6BC-B07A-67557FEC5ECE}"/>
                </a:ext>
              </a:extLst>
            </p:cNvPr>
            <p:cNvSpPr/>
            <p:nvPr/>
          </p:nvSpPr>
          <p:spPr>
            <a:xfrm>
              <a:off x="2249874" y="1296871"/>
              <a:ext cx="1208533" cy="418540"/>
            </a:xfrm>
            <a:custGeom>
              <a:avLst/>
              <a:gdLst/>
              <a:ahLst/>
              <a:cxnLst/>
              <a:rect l="l" t="t" r="r" b="b"/>
              <a:pathLst>
                <a:path w="89010" h="30826" extrusionOk="0">
                  <a:moveTo>
                    <a:pt x="44495" y="20619"/>
                  </a:moveTo>
                  <a:cubicBezTo>
                    <a:pt x="44507" y="20619"/>
                    <a:pt x="44519" y="20620"/>
                    <a:pt x="44532" y="20624"/>
                  </a:cubicBezTo>
                  <a:cubicBezTo>
                    <a:pt x="44577" y="20641"/>
                    <a:pt x="44609" y="20683"/>
                    <a:pt x="44612" y="20732"/>
                  </a:cubicBezTo>
                  <a:cubicBezTo>
                    <a:pt x="44686" y="21048"/>
                    <a:pt x="44371" y="22301"/>
                    <a:pt x="43950" y="22675"/>
                  </a:cubicBezTo>
                  <a:cubicBezTo>
                    <a:pt x="43733" y="22871"/>
                    <a:pt x="43425" y="22994"/>
                    <a:pt x="43156" y="23106"/>
                  </a:cubicBezTo>
                  <a:cubicBezTo>
                    <a:pt x="42865" y="23222"/>
                    <a:pt x="42589" y="23334"/>
                    <a:pt x="42589" y="23477"/>
                  </a:cubicBezTo>
                  <a:cubicBezTo>
                    <a:pt x="42589" y="23680"/>
                    <a:pt x="42326" y="23803"/>
                    <a:pt x="42106" y="23869"/>
                  </a:cubicBezTo>
                  <a:cubicBezTo>
                    <a:pt x="41920" y="23925"/>
                    <a:pt x="41727" y="23953"/>
                    <a:pt x="41531" y="23960"/>
                  </a:cubicBezTo>
                  <a:cubicBezTo>
                    <a:pt x="41402" y="23960"/>
                    <a:pt x="41293" y="23939"/>
                    <a:pt x="41255" y="23876"/>
                  </a:cubicBezTo>
                  <a:cubicBezTo>
                    <a:pt x="41237" y="23852"/>
                    <a:pt x="41234" y="23820"/>
                    <a:pt x="41244" y="23792"/>
                  </a:cubicBezTo>
                  <a:cubicBezTo>
                    <a:pt x="41265" y="23722"/>
                    <a:pt x="41360" y="23694"/>
                    <a:pt x="41531" y="23638"/>
                  </a:cubicBezTo>
                  <a:cubicBezTo>
                    <a:pt x="41783" y="23558"/>
                    <a:pt x="42169" y="23432"/>
                    <a:pt x="42295" y="23159"/>
                  </a:cubicBezTo>
                  <a:cubicBezTo>
                    <a:pt x="42407" y="22903"/>
                    <a:pt x="42673" y="22714"/>
                    <a:pt x="42953" y="22511"/>
                  </a:cubicBezTo>
                  <a:cubicBezTo>
                    <a:pt x="43247" y="22304"/>
                    <a:pt x="43551" y="22087"/>
                    <a:pt x="43754" y="21769"/>
                  </a:cubicBezTo>
                  <a:cubicBezTo>
                    <a:pt x="43856" y="21604"/>
                    <a:pt x="43950" y="21415"/>
                    <a:pt x="44045" y="21230"/>
                  </a:cubicBezTo>
                  <a:cubicBezTo>
                    <a:pt x="44226" y="20865"/>
                    <a:pt x="44350" y="20619"/>
                    <a:pt x="44495" y="20619"/>
                  </a:cubicBezTo>
                  <a:close/>
                  <a:moveTo>
                    <a:pt x="41372" y="0"/>
                  </a:moveTo>
                  <a:cubicBezTo>
                    <a:pt x="41295" y="0"/>
                    <a:pt x="41205" y="24"/>
                    <a:pt x="41087" y="56"/>
                  </a:cubicBezTo>
                  <a:cubicBezTo>
                    <a:pt x="40982" y="84"/>
                    <a:pt x="40852" y="123"/>
                    <a:pt x="40684" y="154"/>
                  </a:cubicBezTo>
                  <a:cubicBezTo>
                    <a:pt x="40474" y="193"/>
                    <a:pt x="40383" y="305"/>
                    <a:pt x="40299" y="417"/>
                  </a:cubicBezTo>
                  <a:cubicBezTo>
                    <a:pt x="40240" y="491"/>
                    <a:pt x="40184" y="561"/>
                    <a:pt x="40093" y="603"/>
                  </a:cubicBezTo>
                  <a:cubicBezTo>
                    <a:pt x="39945" y="669"/>
                    <a:pt x="39746" y="879"/>
                    <a:pt x="39721" y="956"/>
                  </a:cubicBezTo>
                  <a:cubicBezTo>
                    <a:pt x="39875" y="995"/>
                    <a:pt x="39868" y="1103"/>
                    <a:pt x="39861" y="1166"/>
                  </a:cubicBezTo>
                  <a:cubicBezTo>
                    <a:pt x="39858" y="1191"/>
                    <a:pt x="39858" y="1215"/>
                    <a:pt x="39861" y="1240"/>
                  </a:cubicBezTo>
                  <a:cubicBezTo>
                    <a:pt x="39875" y="1285"/>
                    <a:pt x="39861" y="1334"/>
                    <a:pt x="39830" y="1369"/>
                  </a:cubicBezTo>
                  <a:cubicBezTo>
                    <a:pt x="39786" y="1415"/>
                    <a:pt x="39712" y="1430"/>
                    <a:pt x="39635" y="1430"/>
                  </a:cubicBezTo>
                  <a:cubicBezTo>
                    <a:pt x="39582" y="1430"/>
                    <a:pt x="39528" y="1423"/>
                    <a:pt x="39480" y="1415"/>
                  </a:cubicBezTo>
                  <a:cubicBezTo>
                    <a:pt x="39421" y="1404"/>
                    <a:pt x="39336" y="1399"/>
                    <a:pt x="39244" y="1399"/>
                  </a:cubicBezTo>
                  <a:cubicBezTo>
                    <a:pt x="39031" y="1399"/>
                    <a:pt x="38779" y="1426"/>
                    <a:pt x="38727" y="1467"/>
                  </a:cubicBezTo>
                  <a:cubicBezTo>
                    <a:pt x="38741" y="1506"/>
                    <a:pt x="38853" y="1555"/>
                    <a:pt x="38906" y="1579"/>
                  </a:cubicBezTo>
                  <a:cubicBezTo>
                    <a:pt x="39004" y="1625"/>
                    <a:pt x="39105" y="1670"/>
                    <a:pt x="39077" y="1758"/>
                  </a:cubicBezTo>
                  <a:cubicBezTo>
                    <a:pt x="39067" y="1789"/>
                    <a:pt x="39042" y="1810"/>
                    <a:pt x="39014" y="1821"/>
                  </a:cubicBezTo>
                  <a:cubicBezTo>
                    <a:pt x="38996" y="1828"/>
                    <a:pt x="38973" y="1832"/>
                    <a:pt x="38947" y="1832"/>
                  </a:cubicBezTo>
                  <a:cubicBezTo>
                    <a:pt x="38829" y="1832"/>
                    <a:pt x="38653" y="1762"/>
                    <a:pt x="38570" y="1716"/>
                  </a:cubicBezTo>
                  <a:cubicBezTo>
                    <a:pt x="38537" y="1697"/>
                    <a:pt x="38487" y="1688"/>
                    <a:pt x="38434" y="1688"/>
                  </a:cubicBezTo>
                  <a:cubicBezTo>
                    <a:pt x="38386" y="1688"/>
                    <a:pt x="38334" y="1696"/>
                    <a:pt x="38290" y="1712"/>
                  </a:cubicBezTo>
                  <a:cubicBezTo>
                    <a:pt x="38248" y="1723"/>
                    <a:pt x="38209" y="1751"/>
                    <a:pt x="38185" y="1789"/>
                  </a:cubicBezTo>
                  <a:cubicBezTo>
                    <a:pt x="38164" y="1842"/>
                    <a:pt x="38118" y="1884"/>
                    <a:pt x="38062" y="1905"/>
                  </a:cubicBezTo>
                  <a:cubicBezTo>
                    <a:pt x="38014" y="1921"/>
                    <a:pt x="37965" y="1929"/>
                    <a:pt x="37916" y="1929"/>
                  </a:cubicBezTo>
                  <a:cubicBezTo>
                    <a:pt x="37857" y="1929"/>
                    <a:pt x="37799" y="1917"/>
                    <a:pt x="37743" y="1894"/>
                  </a:cubicBezTo>
                  <a:cubicBezTo>
                    <a:pt x="37708" y="1894"/>
                    <a:pt x="37673" y="1901"/>
                    <a:pt x="37642" y="1912"/>
                  </a:cubicBezTo>
                  <a:cubicBezTo>
                    <a:pt x="37594" y="1923"/>
                    <a:pt x="37539" y="1936"/>
                    <a:pt x="37484" y="1936"/>
                  </a:cubicBezTo>
                  <a:cubicBezTo>
                    <a:pt x="37453" y="1936"/>
                    <a:pt x="37423" y="1932"/>
                    <a:pt x="37393" y="1922"/>
                  </a:cubicBezTo>
                  <a:cubicBezTo>
                    <a:pt x="37358" y="1912"/>
                    <a:pt x="37334" y="1887"/>
                    <a:pt x="37323" y="1852"/>
                  </a:cubicBezTo>
                  <a:cubicBezTo>
                    <a:pt x="37313" y="1789"/>
                    <a:pt x="37365" y="1740"/>
                    <a:pt x="37428" y="1681"/>
                  </a:cubicBezTo>
                  <a:cubicBezTo>
                    <a:pt x="37460" y="1656"/>
                    <a:pt x="37488" y="1625"/>
                    <a:pt x="37512" y="1593"/>
                  </a:cubicBezTo>
                  <a:cubicBezTo>
                    <a:pt x="37481" y="1586"/>
                    <a:pt x="37448" y="1582"/>
                    <a:pt x="37416" y="1582"/>
                  </a:cubicBezTo>
                  <a:cubicBezTo>
                    <a:pt x="37374" y="1582"/>
                    <a:pt x="37332" y="1588"/>
                    <a:pt x="37292" y="1600"/>
                  </a:cubicBezTo>
                  <a:cubicBezTo>
                    <a:pt x="37187" y="1628"/>
                    <a:pt x="37124" y="1677"/>
                    <a:pt x="37113" y="1709"/>
                  </a:cubicBezTo>
                  <a:cubicBezTo>
                    <a:pt x="37106" y="1747"/>
                    <a:pt x="37078" y="1779"/>
                    <a:pt x="37043" y="1793"/>
                  </a:cubicBezTo>
                  <a:cubicBezTo>
                    <a:pt x="37028" y="1800"/>
                    <a:pt x="37011" y="1802"/>
                    <a:pt x="36994" y="1802"/>
                  </a:cubicBezTo>
                  <a:cubicBezTo>
                    <a:pt x="36940" y="1802"/>
                    <a:pt x="36882" y="1772"/>
                    <a:pt x="36826" y="1740"/>
                  </a:cubicBezTo>
                  <a:cubicBezTo>
                    <a:pt x="36791" y="1719"/>
                    <a:pt x="36756" y="1705"/>
                    <a:pt x="36718" y="1695"/>
                  </a:cubicBezTo>
                  <a:lnTo>
                    <a:pt x="36683" y="1712"/>
                  </a:lnTo>
                  <a:cubicBezTo>
                    <a:pt x="36578" y="1772"/>
                    <a:pt x="36469" y="1824"/>
                    <a:pt x="36357" y="1873"/>
                  </a:cubicBezTo>
                  <a:cubicBezTo>
                    <a:pt x="36313" y="1892"/>
                    <a:pt x="36263" y="1898"/>
                    <a:pt x="36213" y="1898"/>
                  </a:cubicBezTo>
                  <a:cubicBezTo>
                    <a:pt x="36158" y="1898"/>
                    <a:pt x="36103" y="1891"/>
                    <a:pt x="36053" y="1884"/>
                  </a:cubicBezTo>
                  <a:cubicBezTo>
                    <a:pt x="36012" y="1878"/>
                    <a:pt x="35967" y="1872"/>
                    <a:pt x="35931" y="1872"/>
                  </a:cubicBezTo>
                  <a:cubicBezTo>
                    <a:pt x="35901" y="1872"/>
                    <a:pt x="35878" y="1876"/>
                    <a:pt x="35871" y="1887"/>
                  </a:cubicBezTo>
                  <a:cubicBezTo>
                    <a:pt x="35892" y="1915"/>
                    <a:pt x="35993" y="1947"/>
                    <a:pt x="36035" y="1964"/>
                  </a:cubicBezTo>
                  <a:cubicBezTo>
                    <a:pt x="36133" y="1996"/>
                    <a:pt x="36196" y="2017"/>
                    <a:pt x="36207" y="2076"/>
                  </a:cubicBezTo>
                  <a:cubicBezTo>
                    <a:pt x="36210" y="2097"/>
                    <a:pt x="36203" y="2118"/>
                    <a:pt x="36189" y="2132"/>
                  </a:cubicBezTo>
                  <a:cubicBezTo>
                    <a:pt x="36158" y="2174"/>
                    <a:pt x="36088" y="2181"/>
                    <a:pt x="35772" y="2206"/>
                  </a:cubicBezTo>
                  <a:cubicBezTo>
                    <a:pt x="35615" y="2216"/>
                    <a:pt x="35356" y="2234"/>
                    <a:pt x="35293" y="2262"/>
                  </a:cubicBezTo>
                  <a:cubicBezTo>
                    <a:pt x="35244" y="2367"/>
                    <a:pt x="35044" y="2378"/>
                    <a:pt x="34621" y="2385"/>
                  </a:cubicBezTo>
                  <a:lnTo>
                    <a:pt x="34551" y="2385"/>
                  </a:lnTo>
                  <a:cubicBezTo>
                    <a:pt x="34379" y="2392"/>
                    <a:pt x="34348" y="2430"/>
                    <a:pt x="34306" y="2479"/>
                  </a:cubicBezTo>
                  <a:cubicBezTo>
                    <a:pt x="34243" y="2563"/>
                    <a:pt x="34152" y="2616"/>
                    <a:pt x="34050" y="2626"/>
                  </a:cubicBezTo>
                  <a:lnTo>
                    <a:pt x="33959" y="2644"/>
                  </a:lnTo>
                  <a:cubicBezTo>
                    <a:pt x="33738" y="2686"/>
                    <a:pt x="33647" y="2703"/>
                    <a:pt x="33577" y="2808"/>
                  </a:cubicBezTo>
                  <a:cubicBezTo>
                    <a:pt x="33514" y="2903"/>
                    <a:pt x="33409" y="2962"/>
                    <a:pt x="33297" y="2966"/>
                  </a:cubicBezTo>
                  <a:cubicBezTo>
                    <a:pt x="33286" y="2967"/>
                    <a:pt x="33275" y="2968"/>
                    <a:pt x="33265" y="2968"/>
                  </a:cubicBezTo>
                  <a:cubicBezTo>
                    <a:pt x="33183" y="2968"/>
                    <a:pt x="33108" y="2933"/>
                    <a:pt x="33052" y="2871"/>
                  </a:cubicBezTo>
                  <a:cubicBezTo>
                    <a:pt x="33041" y="2863"/>
                    <a:pt x="33027" y="2856"/>
                    <a:pt x="33013" y="2856"/>
                  </a:cubicBezTo>
                  <a:cubicBezTo>
                    <a:pt x="33010" y="2856"/>
                    <a:pt x="33006" y="2857"/>
                    <a:pt x="33003" y="2857"/>
                  </a:cubicBezTo>
                  <a:cubicBezTo>
                    <a:pt x="32993" y="2857"/>
                    <a:pt x="32979" y="2861"/>
                    <a:pt x="32965" y="2864"/>
                  </a:cubicBezTo>
                  <a:cubicBezTo>
                    <a:pt x="32986" y="2875"/>
                    <a:pt x="33000" y="2892"/>
                    <a:pt x="33007" y="2913"/>
                  </a:cubicBezTo>
                  <a:cubicBezTo>
                    <a:pt x="33021" y="2962"/>
                    <a:pt x="33003" y="3011"/>
                    <a:pt x="32965" y="3043"/>
                  </a:cubicBezTo>
                  <a:cubicBezTo>
                    <a:pt x="32931" y="3082"/>
                    <a:pt x="32881" y="3102"/>
                    <a:pt x="32830" y="3102"/>
                  </a:cubicBezTo>
                  <a:cubicBezTo>
                    <a:pt x="32813" y="3102"/>
                    <a:pt x="32796" y="3100"/>
                    <a:pt x="32779" y="3095"/>
                  </a:cubicBezTo>
                  <a:cubicBezTo>
                    <a:pt x="32755" y="3095"/>
                    <a:pt x="32730" y="3102"/>
                    <a:pt x="32706" y="3116"/>
                  </a:cubicBezTo>
                  <a:cubicBezTo>
                    <a:pt x="32755" y="3130"/>
                    <a:pt x="32793" y="3162"/>
                    <a:pt x="32818" y="3207"/>
                  </a:cubicBezTo>
                  <a:cubicBezTo>
                    <a:pt x="32853" y="3270"/>
                    <a:pt x="32846" y="3351"/>
                    <a:pt x="32797" y="3407"/>
                  </a:cubicBezTo>
                  <a:cubicBezTo>
                    <a:pt x="32771" y="3436"/>
                    <a:pt x="32737" y="3453"/>
                    <a:pt x="32699" y="3453"/>
                  </a:cubicBezTo>
                  <a:cubicBezTo>
                    <a:pt x="32695" y="3453"/>
                    <a:pt x="32692" y="3453"/>
                    <a:pt x="32688" y="3452"/>
                  </a:cubicBezTo>
                  <a:lnTo>
                    <a:pt x="32688" y="3452"/>
                  </a:lnTo>
                  <a:cubicBezTo>
                    <a:pt x="32793" y="3487"/>
                    <a:pt x="32870" y="3578"/>
                    <a:pt x="32884" y="3687"/>
                  </a:cubicBezTo>
                  <a:cubicBezTo>
                    <a:pt x="32888" y="3715"/>
                    <a:pt x="32881" y="3746"/>
                    <a:pt x="32856" y="3767"/>
                  </a:cubicBezTo>
                  <a:cubicBezTo>
                    <a:pt x="32834" y="3790"/>
                    <a:pt x="32805" y="3798"/>
                    <a:pt x="32770" y="3798"/>
                  </a:cubicBezTo>
                  <a:cubicBezTo>
                    <a:pt x="32733" y="3798"/>
                    <a:pt x="32688" y="3789"/>
                    <a:pt x="32636" y="3778"/>
                  </a:cubicBezTo>
                  <a:cubicBezTo>
                    <a:pt x="32600" y="3770"/>
                    <a:pt x="32535" y="3759"/>
                    <a:pt x="32494" y="3759"/>
                  </a:cubicBezTo>
                  <a:cubicBezTo>
                    <a:pt x="32479" y="3759"/>
                    <a:pt x="32467" y="3760"/>
                    <a:pt x="32461" y="3764"/>
                  </a:cubicBezTo>
                  <a:cubicBezTo>
                    <a:pt x="32513" y="3785"/>
                    <a:pt x="32569" y="3799"/>
                    <a:pt x="32625" y="3799"/>
                  </a:cubicBezTo>
                  <a:cubicBezTo>
                    <a:pt x="32734" y="3813"/>
                    <a:pt x="32762" y="3848"/>
                    <a:pt x="32779" y="3914"/>
                  </a:cubicBezTo>
                  <a:cubicBezTo>
                    <a:pt x="32786" y="3953"/>
                    <a:pt x="32807" y="3988"/>
                    <a:pt x="32839" y="4009"/>
                  </a:cubicBezTo>
                  <a:cubicBezTo>
                    <a:pt x="32849" y="4019"/>
                    <a:pt x="32860" y="4030"/>
                    <a:pt x="32870" y="4044"/>
                  </a:cubicBezTo>
                  <a:cubicBezTo>
                    <a:pt x="32954" y="4142"/>
                    <a:pt x="32888" y="4222"/>
                    <a:pt x="32856" y="4257"/>
                  </a:cubicBezTo>
                  <a:cubicBezTo>
                    <a:pt x="32839" y="4282"/>
                    <a:pt x="32825" y="4296"/>
                    <a:pt x="32828" y="4306"/>
                  </a:cubicBezTo>
                  <a:cubicBezTo>
                    <a:pt x="32839" y="4366"/>
                    <a:pt x="32814" y="4422"/>
                    <a:pt x="32765" y="4454"/>
                  </a:cubicBezTo>
                  <a:cubicBezTo>
                    <a:pt x="32737" y="4475"/>
                    <a:pt x="32703" y="4486"/>
                    <a:pt x="32669" y="4486"/>
                  </a:cubicBezTo>
                  <a:cubicBezTo>
                    <a:pt x="32648" y="4486"/>
                    <a:pt x="32627" y="4482"/>
                    <a:pt x="32608" y="4475"/>
                  </a:cubicBezTo>
                  <a:cubicBezTo>
                    <a:pt x="32573" y="4454"/>
                    <a:pt x="32548" y="4419"/>
                    <a:pt x="32545" y="4380"/>
                  </a:cubicBezTo>
                  <a:cubicBezTo>
                    <a:pt x="32486" y="4355"/>
                    <a:pt x="32422" y="4343"/>
                    <a:pt x="32359" y="4343"/>
                  </a:cubicBezTo>
                  <a:cubicBezTo>
                    <a:pt x="32344" y="4343"/>
                    <a:pt x="32329" y="4344"/>
                    <a:pt x="32314" y="4345"/>
                  </a:cubicBezTo>
                  <a:cubicBezTo>
                    <a:pt x="32212" y="4345"/>
                    <a:pt x="32156" y="4370"/>
                    <a:pt x="32142" y="4384"/>
                  </a:cubicBezTo>
                  <a:lnTo>
                    <a:pt x="32139" y="4391"/>
                  </a:lnTo>
                  <a:cubicBezTo>
                    <a:pt x="32076" y="4464"/>
                    <a:pt x="32016" y="4534"/>
                    <a:pt x="31932" y="4541"/>
                  </a:cubicBezTo>
                  <a:cubicBezTo>
                    <a:pt x="31880" y="4541"/>
                    <a:pt x="31827" y="4520"/>
                    <a:pt x="31789" y="4478"/>
                  </a:cubicBezTo>
                  <a:cubicBezTo>
                    <a:pt x="31774" y="4465"/>
                    <a:pt x="31744" y="4460"/>
                    <a:pt x="31703" y="4460"/>
                  </a:cubicBezTo>
                  <a:cubicBezTo>
                    <a:pt x="31638" y="4460"/>
                    <a:pt x="31546" y="4473"/>
                    <a:pt x="31452" y="4489"/>
                  </a:cubicBezTo>
                  <a:cubicBezTo>
                    <a:pt x="31312" y="4513"/>
                    <a:pt x="31169" y="4531"/>
                    <a:pt x="31029" y="4538"/>
                  </a:cubicBezTo>
                  <a:lnTo>
                    <a:pt x="31015" y="4538"/>
                  </a:lnTo>
                  <a:cubicBezTo>
                    <a:pt x="30626" y="4555"/>
                    <a:pt x="29825" y="4587"/>
                    <a:pt x="29632" y="4653"/>
                  </a:cubicBezTo>
                  <a:cubicBezTo>
                    <a:pt x="29527" y="4695"/>
                    <a:pt x="29443" y="4786"/>
                    <a:pt x="29415" y="4898"/>
                  </a:cubicBezTo>
                  <a:cubicBezTo>
                    <a:pt x="29397" y="4965"/>
                    <a:pt x="29418" y="5038"/>
                    <a:pt x="29467" y="5087"/>
                  </a:cubicBezTo>
                  <a:cubicBezTo>
                    <a:pt x="29629" y="5248"/>
                    <a:pt x="29565" y="5367"/>
                    <a:pt x="29527" y="5444"/>
                  </a:cubicBezTo>
                  <a:cubicBezTo>
                    <a:pt x="29509" y="5469"/>
                    <a:pt x="29499" y="5493"/>
                    <a:pt x="29495" y="5521"/>
                  </a:cubicBezTo>
                  <a:cubicBezTo>
                    <a:pt x="29516" y="5598"/>
                    <a:pt x="29937" y="5829"/>
                    <a:pt x="30182" y="5854"/>
                  </a:cubicBezTo>
                  <a:cubicBezTo>
                    <a:pt x="30357" y="5875"/>
                    <a:pt x="30504" y="5987"/>
                    <a:pt x="30574" y="6148"/>
                  </a:cubicBezTo>
                  <a:cubicBezTo>
                    <a:pt x="30630" y="6260"/>
                    <a:pt x="30616" y="6393"/>
                    <a:pt x="30542" y="6495"/>
                  </a:cubicBezTo>
                  <a:cubicBezTo>
                    <a:pt x="30490" y="6561"/>
                    <a:pt x="30414" y="6588"/>
                    <a:pt x="30326" y="6588"/>
                  </a:cubicBezTo>
                  <a:cubicBezTo>
                    <a:pt x="30078" y="6588"/>
                    <a:pt x="29729" y="6372"/>
                    <a:pt x="29520" y="6204"/>
                  </a:cubicBezTo>
                  <a:cubicBezTo>
                    <a:pt x="29254" y="5996"/>
                    <a:pt x="28639" y="5894"/>
                    <a:pt x="28370" y="5894"/>
                  </a:cubicBezTo>
                  <a:cubicBezTo>
                    <a:pt x="28348" y="5894"/>
                    <a:pt x="28329" y="5895"/>
                    <a:pt x="28312" y="5896"/>
                  </a:cubicBezTo>
                  <a:cubicBezTo>
                    <a:pt x="28303" y="5897"/>
                    <a:pt x="28293" y="5897"/>
                    <a:pt x="28285" y="5897"/>
                  </a:cubicBezTo>
                  <a:cubicBezTo>
                    <a:pt x="28153" y="5897"/>
                    <a:pt x="28111" y="5826"/>
                    <a:pt x="28081" y="5773"/>
                  </a:cubicBezTo>
                  <a:cubicBezTo>
                    <a:pt x="28048" y="5720"/>
                    <a:pt x="28034" y="5693"/>
                    <a:pt x="27932" y="5693"/>
                  </a:cubicBezTo>
                  <a:cubicBezTo>
                    <a:pt x="27926" y="5693"/>
                    <a:pt x="27920" y="5693"/>
                    <a:pt x="27913" y="5693"/>
                  </a:cubicBezTo>
                  <a:cubicBezTo>
                    <a:pt x="27784" y="5696"/>
                    <a:pt x="27661" y="5749"/>
                    <a:pt x="27570" y="5836"/>
                  </a:cubicBezTo>
                  <a:lnTo>
                    <a:pt x="27637" y="5836"/>
                  </a:lnTo>
                  <a:cubicBezTo>
                    <a:pt x="27650" y="5836"/>
                    <a:pt x="27663" y="5836"/>
                    <a:pt x="27676" y="5836"/>
                  </a:cubicBezTo>
                  <a:cubicBezTo>
                    <a:pt x="27795" y="5836"/>
                    <a:pt x="27863" y="5839"/>
                    <a:pt x="27885" y="5899"/>
                  </a:cubicBezTo>
                  <a:cubicBezTo>
                    <a:pt x="27899" y="5941"/>
                    <a:pt x="27885" y="5987"/>
                    <a:pt x="27850" y="6015"/>
                  </a:cubicBezTo>
                  <a:lnTo>
                    <a:pt x="27885" y="6022"/>
                  </a:lnTo>
                  <a:cubicBezTo>
                    <a:pt x="27966" y="6043"/>
                    <a:pt x="28039" y="6071"/>
                    <a:pt x="28113" y="6102"/>
                  </a:cubicBezTo>
                  <a:cubicBezTo>
                    <a:pt x="28183" y="6130"/>
                    <a:pt x="28221" y="6172"/>
                    <a:pt x="28225" y="6221"/>
                  </a:cubicBezTo>
                  <a:cubicBezTo>
                    <a:pt x="28225" y="6270"/>
                    <a:pt x="28193" y="6316"/>
                    <a:pt x="28148" y="6337"/>
                  </a:cubicBezTo>
                  <a:cubicBezTo>
                    <a:pt x="28096" y="6365"/>
                    <a:pt x="28010" y="6386"/>
                    <a:pt x="27915" y="6386"/>
                  </a:cubicBezTo>
                  <a:cubicBezTo>
                    <a:pt x="27810" y="6386"/>
                    <a:pt x="27693" y="6361"/>
                    <a:pt x="27598" y="6295"/>
                  </a:cubicBezTo>
                  <a:cubicBezTo>
                    <a:pt x="27539" y="6254"/>
                    <a:pt x="27472" y="6234"/>
                    <a:pt x="27403" y="6234"/>
                  </a:cubicBezTo>
                  <a:cubicBezTo>
                    <a:pt x="27377" y="6234"/>
                    <a:pt x="27351" y="6237"/>
                    <a:pt x="27325" y="6242"/>
                  </a:cubicBezTo>
                  <a:cubicBezTo>
                    <a:pt x="27234" y="6263"/>
                    <a:pt x="27153" y="6319"/>
                    <a:pt x="27101" y="6396"/>
                  </a:cubicBezTo>
                  <a:cubicBezTo>
                    <a:pt x="27101" y="6396"/>
                    <a:pt x="27097" y="6414"/>
                    <a:pt x="27115" y="6449"/>
                  </a:cubicBezTo>
                  <a:cubicBezTo>
                    <a:pt x="27181" y="6589"/>
                    <a:pt x="27458" y="6817"/>
                    <a:pt x="27780" y="6866"/>
                  </a:cubicBezTo>
                  <a:cubicBezTo>
                    <a:pt x="28057" y="6904"/>
                    <a:pt x="28127" y="6974"/>
                    <a:pt x="28186" y="7062"/>
                  </a:cubicBezTo>
                  <a:cubicBezTo>
                    <a:pt x="28211" y="7100"/>
                    <a:pt x="28246" y="7128"/>
                    <a:pt x="28288" y="7142"/>
                  </a:cubicBezTo>
                  <a:cubicBezTo>
                    <a:pt x="28393" y="7181"/>
                    <a:pt x="28438" y="7230"/>
                    <a:pt x="28431" y="7296"/>
                  </a:cubicBezTo>
                  <a:cubicBezTo>
                    <a:pt x="28417" y="7394"/>
                    <a:pt x="28270" y="7426"/>
                    <a:pt x="28190" y="7433"/>
                  </a:cubicBezTo>
                  <a:cubicBezTo>
                    <a:pt x="28188" y="7433"/>
                    <a:pt x="28185" y="7433"/>
                    <a:pt x="28183" y="7433"/>
                  </a:cubicBezTo>
                  <a:cubicBezTo>
                    <a:pt x="28069" y="7433"/>
                    <a:pt x="27924" y="7343"/>
                    <a:pt x="27749" y="7233"/>
                  </a:cubicBezTo>
                  <a:cubicBezTo>
                    <a:pt x="27672" y="7188"/>
                    <a:pt x="27595" y="7139"/>
                    <a:pt x="27524" y="7104"/>
                  </a:cubicBezTo>
                  <a:cubicBezTo>
                    <a:pt x="27472" y="7075"/>
                    <a:pt x="27384" y="7067"/>
                    <a:pt x="27286" y="7067"/>
                  </a:cubicBezTo>
                  <a:cubicBezTo>
                    <a:pt x="27216" y="7067"/>
                    <a:pt x="27140" y="7071"/>
                    <a:pt x="27069" y="7076"/>
                  </a:cubicBezTo>
                  <a:cubicBezTo>
                    <a:pt x="26997" y="7079"/>
                    <a:pt x="26928" y="7083"/>
                    <a:pt x="26866" y="7083"/>
                  </a:cubicBezTo>
                  <a:cubicBezTo>
                    <a:pt x="26736" y="7083"/>
                    <a:pt x="26632" y="7068"/>
                    <a:pt x="26576" y="7009"/>
                  </a:cubicBezTo>
                  <a:cubicBezTo>
                    <a:pt x="26488" y="6915"/>
                    <a:pt x="26523" y="6813"/>
                    <a:pt x="26544" y="6747"/>
                  </a:cubicBezTo>
                  <a:cubicBezTo>
                    <a:pt x="26569" y="6680"/>
                    <a:pt x="26565" y="6673"/>
                    <a:pt x="26548" y="6659"/>
                  </a:cubicBezTo>
                  <a:cubicBezTo>
                    <a:pt x="26383" y="6516"/>
                    <a:pt x="26537" y="6232"/>
                    <a:pt x="26667" y="6032"/>
                  </a:cubicBezTo>
                  <a:cubicBezTo>
                    <a:pt x="26719" y="5948"/>
                    <a:pt x="26723" y="5822"/>
                    <a:pt x="26677" y="5696"/>
                  </a:cubicBezTo>
                  <a:cubicBezTo>
                    <a:pt x="26632" y="5570"/>
                    <a:pt x="26548" y="5476"/>
                    <a:pt x="26467" y="5451"/>
                  </a:cubicBezTo>
                  <a:cubicBezTo>
                    <a:pt x="26454" y="5447"/>
                    <a:pt x="26433" y="5440"/>
                    <a:pt x="26414" y="5440"/>
                  </a:cubicBezTo>
                  <a:cubicBezTo>
                    <a:pt x="26403" y="5440"/>
                    <a:pt x="26392" y="5443"/>
                    <a:pt x="26387" y="5451"/>
                  </a:cubicBezTo>
                  <a:cubicBezTo>
                    <a:pt x="26373" y="5490"/>
                    <a:pt x="26373" y="5532"/>
                    <a:pt x="26394" y="5567"/>
                  </a:cubicBezTo>
                  <a:cubicBezTo>
                    <a:pt x="26464" y="5661"/>
                    <a:pt x="26432" y="6001"/>
                    <a:pt x="26254" y="6221"/>
                  </a:cubicBezTo>
                  <a:cubicBezTo>
                    <a:pt x="26159" y="6344"/>
                    <a:pt x="25981" y="6396"/>
                    <a:pt x="25823" y="6442"/>
                  </a:cubicBezTo>
                  <a:cubicBezTo>
                    <a:pt x="25746" y="6463"/>
                    <a:pt x="25634" y="6498"/>
                    <a:pt x="25613" y="6523"/>
                  </a:cubicBezTo>
                  <a:cubicBezTo>
                    <a:pt x="25613" y="6617"/>
                    <a:pt x="25526" y="6684"/>
                    <a:pt x="25456" y="6743"/>
                  </a:cubicBezTo>
                  <a:cubicBezTo>
                    <a:pt x="25427" y="6764"/>
                    <a:pt x="25399" y="6785"/>
                    <a:pt x="25378" y="6813"/>
                  </a:cubicBezTo>
                  <a:cubicBezTo>
                    <a:pt x="25501" y="6922"/>
                    <a:pt x="25946" y="7419"/>
                    <a:pt x="26016" y="7583"/>
                  </a:cubicBezTo>
                  <a:cubicBezTo>
                    <a:pt x="26054" y="7685"/>
                    <a:pt x="25977" y="7821"/>
                    <a:pt x="25876" y="8000"/>
                  </a:cubicBezTo>
                  <a:cubicBezTo>
                    <a:pt x="25778" y="8175"/>
                    <a:pt x="25659" y="8385"/>
                    <a:pt x="25694" y="8515"/>
                  </a:cubicBezTo>
                  <a:cubicBezTo>
                    <a:pt x="25725" y="8634"/>
                    <a:pt x="25725" y="8756"/>
                    <a:pt x="25701" y="8879"/>
                  </a:cubicBezTo>
                  <a:cubicBezTo>
                    <a:pt x="25687" y="8959"/>
                    <a:pt x="25680" y="9001"/>
                    <a:pt x="25708" y="9047"/>
                  </a:cubicBezTo>
                  <a:cubicBezTo>
                    <a:pt x="25728" y="9076"/>
                    <a:pt x="25754" y="9085"/>
                    <a:pt x="25795" y="9085"/>
                  </a:cubicBezTo>
                  <a:cubicBezTo>
                    <a:pt x="25819" y="9085"/>
                    <a:pt x="25847" y="9082"/>
                    <a:pt x="25883" y="9078"/>
                  </a:cubicBezTo>
                  <a:cubicBezTo>
                    <a:pt x="25908" y="9073"/>
                    <a:pt x="25933" y="9071"/>
                    <a:pt x="25958" y="9071"/>
                  </a:cubicBezTo>
                  <a:cubicBezTo>
                    <a:pt x="26006" y="9071"/>
                    <a:pt x="26054" y="9080"/>
                    <a:pt x="26100" y="9096"/>
                  </a:cubicBezTo>
                  <a:cubicBezTo>
                    <a:pt x="26112" y="9101"/>
                    <a:pt x="26126" y="9104"/>
                    <a:pt x="26143" y="9104"/>
                  </a:cubicBezTo>
                  <a:cubicBezTo>
                    <a:pt x="26201" y="9104"/>
                    <a:pt x="26284" y="9076"/>
                    <a:pt x="26373" y="9043"/>
                  </a:cubicBezTo>
                  <a:cubicBezTo>
                    <a:pt x="26481" y="9005"/>
                    <a:pt x="26590" y="8973"/>
                    <a:pt x="26698" y="8952"/>
                  </a:cubicBezTo>
                  <a:cubicBezTo>
                    <a:pt x="26726" y="8947"/>
                    <a:pt x="26756" y="8944"/>
                    <a:pt x="26787" y="8944"/>
                  </a:cubicBezTo>
                  <a:cubicBezTo>
                    <a:pt x="27065" y="8944"/>
                    <a:pt x="27446" y="9141"/>
                    <a:pt x="27686" y="9260"/>
                  </a:cubicBezTo>
                  <a:cubicBezTo>
                    <a:pt x="27728" y="9281"/>
                    <a:pt x="27763" y="9299"/>
                    <a:pt x="27791" y="9313"/>
                  </a:cubicBezTo>
                  <a:cubicBezTo>
                    <a:pt x="27945" y="9386"/>
                    <a:pt x="27959" y="9502"/>
                    <a:pt x="27973" y="9593"/>
                  </a:cubicBezTo>
                  <a:cubicBezTo>
                    <a:pt x="27976" y="9649"/>
                    <a:pt x="27990" y="9705"/>
                    <a:pt x="28022" y="9754"/>
                  </a:cubicBezTo>
                  <a:cubicBezTo>
                    <a:pt x="28109" y="9890"/>
                    <a:pt x="27990" y="9971"/>
                    <a:pt x="27920" y="10016"/>
                  </a:cubicBezTo>
                  <a:cubicBezTo>
                    <a:pt x="27836" y="10072"/>
                    <a:pt x="27784" y="10118"/>
                    <a:pt x="27780" y="10198"/>
                  </a:cubicBezTo>
                  <a:cubicBezTo>
                    <a:pt x="27777" y="10314"/>
                    <a:pt x="28036" y="10408"/>
                    <a:pt x="28190" y="10468"/>
                  </a:cubicBezTo>
                  <a:cubicBezTo>
                    <a:pt x="28323" y="10517"/>
                    <a:pt x="28389" y="10541"/>
                    <a:pt x="28407" y="10598"/>
                  </a:cubicBezTo>
                  <a:cubicBezTo>
                    <a:pt x="28417" y="10629"/>
                    <a:pt x="28410" y="10661"/>
                    <a:pt x="28386" y="10682"/>
                  </a:cubicBezTo>
                  <a:cubicBezTo>
                    <a:pt x="28357" y="10709"/>
                    <a:pt x="28296" y="10719"/>
                    <a:pt x="28220" y="10719"/>
                  </a:cubicBezTo>
                  <a:cubicBezTo>
                    <a:pt x="28043" y="10719"/>
                    <a:pt x="27788" y="10662"/>
                    <a:pt x="27707" y="10633"/>
                  </a:cubicBezTo>
                  <a:cubicBezTo>
                    <a:pt x="27563" y="10580"/>
                    <a:pt x="27507" y="10436"/>
                    <a:pt x="27468" y="10342"/>
                  </a:cubicBezTo>
                  <a:cubicBezTo>
                    <a:pt x="27461" y="10317"/>
                    <a:pt x="27451" y="10293"/>
                    <a:pt x="27437" y="10272"/>
                  </a:cubicBezTo>
                  <a:cubicBezTo>
                    <a:pt x="27367" y="10212"/>
                    <a:pt x="27416" y="10118"/>
                    <a:pt x="27468" y="10020"/>
                  </a:cubicBezTo>
                  <a:cubicBezTo>
                    <a:pt x="27507" y="9957"/>
                    <a:pt x="27535" y="9890"/>
                    <a:pt x="27553" y="9820"/>
                  </a:cubicBezTo>
                  <a:cubicBezTo>
                    <a:pt x="27560" y="9754"/>
                    <a:pt x="27482" y="9694"/>
                    <a:pt x="27412" y="9635"/>
                  </a:cubicBezTo>
                  <a:cubicBezTo>
                    <a:pt x="27367" y="9600"/>
                    <a:pt x="27325" y="9561"/>
                    <a:pt x="27290" y="9516"/>
                  </a:cubicBezTo>
                  <a:cubicBezTo>
                    <a:pt x="27222" y="9422"/>
                    <a:pt x="27128" y="9314"/>
                    <a:pt x="27034" y="9314"/>
                  </a:cubicBezTo>
                  <a:cubicBezTo>
                    <a:pt x="27026" y="9314"/>
                    <a:pt x="27018" y="9315"/>
                    <a:pt x="27010" y="9316"/>
                  </a:cubicBezTo>
                  <a:cubicBezTo>
                    <a:pt x="26975" y="9323"/>
                    <a:pt x="26922" y="9334"/>
                    <a:pt x="26859" y="9341"/>
                  </a:cubicBezTo>
                  <a:cubicBezTo>
                    <a:pt x="26667" y="9372"/>
                    <a:pt x="26310" y="9428"/>
                    <a:pt x="26198" y="9526"/>
                  </a:cubicBezTo>
                  <a:cubicBezTo>
                    <a:pt x="26075" y="9638"/>
                    <a:pt x="26247" y="10034"/>
                    <a:pt x="26324" y="10202"/>
                  </a:cubicBezTo>
                  <a:lnTo>
                    <a:pt x="26327" y="10212"/>
                  </a:lnTo>
                  <a:cubicBezTo>
                    <a:pt x="26397" y="10370"/>
                    <a:pt x="26222" y="10527"/>
                    <a:pt x="26068" y="10668"/>
                  </a:cubicBezTo>
                  <a:cubicBezTo>
                    <a:pt x="25995" y="10731"/>
                    <a:pt x="25876" y="10843"/>
                    <a:pt x="25879" y="10878"/>
                  </a:cubicBezTo>
                  <a:cubicBezTo>
                    <a:pt x="25900" y="11067"/>
                    <a:pt x="25732" y="11151"/>
                    <a:pt x="25519" y="11263"/>
                  </a:cubicBezTo>
                  <a:lnTo>
                    <a:pt x="25431" y="11305"/>
                  </a:lnTo>
                  <a:cubicBezTo>
                    <a:pt x="25396" y="11326"/>
                    <a:pt x="25357" y="11343"/>
                    <a:pt x="25322" y="11364"/>
                  </a:cubicBezTo>
                  <a:cubicBezTo>
                    <a:pt x="25126" y="11462"/>
                    <a:pt x="24962" y="11546"/>
                    <a:pt x="24965" y="11683"/>
                  </a:cubicBezTo>
                  <a:cubicBezTo>
                    <a:pt x="24972" y="11746"/>
                    <a:pt x="24941" y="11805"/>
                    <a:pt x="24888" y="11840"/>
                  </a:cubicBezTo>
                  <a:cubicBezTo>
                    <a:pt x="24855" y="11860"/>
                    <a:pt x="24814" y="11868"/>
                    <a:pt x="24770" y="11868"/>
                  </a:cubicBezTo>
                  <a:cubicBezTo>
                    <a:pt x="24600" y="11868"/>
                    <a:pt x="24385" y="11748"/>
                    <a:pt x="24374" y="11742"/>
                  </a:cubicBezTo>
                  <a:cubicBezTo>
                    <a:pt x="24344" y="11725"/>
                    <a:pt x="24311" y="11718"/>
                    <a:pt x="24275" y="11718"/>
                  </a:cubicBezTo>
                  <a:cubicBezTo>
                    <a:pt x="24217" y="11718"/>
                    <a:pt x="24151" y="11735"/>
                    <a:pt x="24080" y="11753"/>
                  </a:cubicBezTo>
                  <a:cubicBezTo>
                    <a:pt x="23978" y="11781"/>
                    <a:pt x="23877" y="11795"/>
                    <a:pt x="23772" y="11798"/>
                  </a:cubicBezTo>
                  <a:cubicBezTo>
                    <a:pt x="23674" y="11795"/>
                    <a:pt x="23579" y="11756"/>
                    <a:pt x="23506" y="11690"/>
                  </a:cubicBezTo>
                  <a:cubicBezTo>
                    <a:pt x="23469" y="11661"/>
                    <a:pt x="23447" y="11644"/>
                    <a:pt x="23414" y="11644"/>
                  </a:cubicBezTo>
                  <a:cubicBezTo>
                    <a:pt x="23399" y="11644"/>
                    <a:pt x="23383" y="11647"/>
                    <a:pt x="23362" y="11655"/>
                  </a:cubicBezTo>
                  <a:cubicBezTo>
                    <a:pt x="23326" y="11671"/>
                    <a:pt x="23289" y="11679"/>
                    <a:pt x="23252" y="11679"/>
                  </a:cubicBezTo>
                  <a:cubicBezTo>
                    <a:pt x="23184" y="11679"/>
                    <a:pt x="23117" y="11652"/>
                    <a:pt x="23064" y="11602"/>
                  </a:cubicBezTo>
                  <a:cubicBezTo>
                    <a:pt x="22994" y="11532"/>
                    <a:pt x="22973" y="11427"/>
                    <a:pt x="23008" y="11336"/>
                  </a:cubicBezTo>
                  <a:cubicBezTo>
                    <a:pt x="23034" y="11267"/>
                    <a:pt x="23099" y="11223"/>
                    <a:pt x="23171" y="11223"/>
                  </a:cubicBezTo>
                  <a:cubicBezTo>
                    <a:pt x="23179" y="11223"/>
                    <a:pt x="23186" y="11223"/>
                    <a:pt x="23194" y="11224"/>
                  </a:cubicBezTo>
                  <a:cubicBezTo>
                    <a:pt x="23292" y="11235"/>
                    <a:pt x="23411" y="11319"/>
                    <a:pt x="23429" y="11420"/>
                  </a:cubicBezTo>
                  <a:cubicBezTo>
                    <a:pt x="23425" y="11424"/>
                    <a:pt x="23425" y="11424"/>
                    <a:pt x="23429" y="11427"/>
                  </a:cubicBezTo>
                  <a:cubicBezTo>
                    <a:pt x="23439" y="11427"/>
                    <a:pt x="23488" y="11427"/>
                    <a:pt x="23646" y="11343"/>
                  </a:cubicBezTo>
                  <a:cubicBezTo>
                    <a:pt x="23686" y="11321"/>
                    <a:pt x="23719" y="11312"/>
                    <a:pt x="23747" y="11312"/>
                  </a:cubicBezTo>
                  <a:cubicBezTo>
                    <a:pt x="23802" y="11312"/>
                    <a:pt x="23835" y="11348"/>
                    <a:pt x="23863" y="11385"/>
                  </a:cubicBezTo>
                  <a:cubicBezTo>
                    <a:pt x="23887" y="11434"/>
                    <a:pt x="23940" y="11462"/>
                    <a:pt x="23996" y="11462"/>
                  </a:cubicBezTo>
                  <a:cubicBezTo>
                    <a:pt x="24011" y="11463"/>
                    <a:pt x="24024" y="11464"/>
                    <a:pt x="24035" y="11464"/>
                  </a:cubicBezTo>
                  <a:cubicBezTo>
                    <a:pt x="24086" y="11464"/>
                    <a:pt x="24093" y="11451"/>
                    <a:pt x="24104" y="11434"/>
                  </a:cubicBezTo>
                  <a:cubicBezTo>
                    <a:pt x="24126" y="11396"/>
                    <a:pt x="24160" y="11356"/>
                    <a:pt x="24251" y="11356"/>
                  </a:cubicBezTo>
                  <a:cubicBezTo>
                    <a:pt x="24261" y="11356"/>
                    <a:pt x="24271" y="11356"/>
                    <a:pt x="24283" y="11357"/>
                  </a:cubicBezTo>
                  <a:cubicBezTo>
                    <a:pt x="24295" y="11359"/>
                    <a:pt x="24309" y="11360"/>
                    <a:pt x="24323" y="11360"/>
                  </a:cubicBezTo>
                  <a:cubicBezTo>
                    <a:pt x="24338" y="11360"/>
                    <a:pt x="24353" y="11359"/>
                    <a:pt x="24367" y="11357"/>
                  </a:cubicBezTo>
                  <a:cubicBezTo>
                    <a:pt x="24360" y="11347"/>
                    <a:pt x="24356" y="11336"/>
                    <a:pt x="24349" y="11329"/>
                  </a:cubicBezTo>
                  <a:cubicBezTo>
                    <a:pt x="24328" y="11298"/>
                    <a:pt x="24321" y="11259"/>
                    <a:pt x="24335" y="11224"/>
                  </a:cubicBezTo>
                  <a:cubicBezTo>
                    <a:pt x="24360" y="11140"/>
                    <a:pt x="24475" y="11091"/>
                    <a:pt x="24584" y="11046"/>
                  </a:cubicBezTo>
                  <a:lnTo>
                    <a:pt x="24622" y="11032"/>
                  </a:lnTo>
                  <a:cubicBezTo>
                    <a:pt x="24654" y="11018"/>
                    <a:pt x="24664" y="10986"/>
                    <a:pt x="24678" y="10923"/>
                  </a:cubicBezTo>
                  <a:cubicBezTo>
                    <a:pt x="24692" y="10857"/>
                    <a:pt x="24710" y="10783"/>
                    <a:pt x="24787" y="10741"/>
                  </a:cubicBezTo>
                  <a:cubicBezTo>
                    <a:pt x="24808" y="10731"/>
                    <a:pt x="24811" y="10717"/>
                    <a:pt x="24822" y="10682"/>
                  </a:cubicBezTo>
                  <a:cubicBezTo>
                    <a:pt x="24829" y="10612"/>
                    <a:pt x="24885" y="10559"/>
                    <a:pt x="24958" y="10555"/>
                  </a:cubicBezTo>
                  <a:cubicBezTo>
                    <a:pt x="24986" y="10555"/>
                    <a:pt x="25018" y="10520"/>
                    <a:pt x="25049" y="10485"/>
                  </a:cubicBezTo>
                  <a:cubicBezTo>
                    <a:pt x="25095" y="10436"/>
                    <a:pt x="25147" y="10377"/>
                    <a:pt x="25228" y="10377"/>
                  </a:cubicBezTo>
                  <a:cubicBezTo>
                    <a:pt x="25252" y="10377"/>
                    <a:pt x="25270" y="10349"/>
                    <a:pt x="25273" y="10342"/>
                  </a:cubicBezTo>
                  <a:cubicBezTo>
                    <a:pt x="25291" y="10303"/>
                    <a:pt x="25291" y="10261"/>
                    <a:pt x="25273" y="10223"/>
                  </a:cubicBezTo>
                  <a:cubicBezTo>
                    <a:pt x="25221" y="10153"/>
                    <a:pt x="25242" y="10048"/>
                    <a:pt x="25259" y="9992"/>
                  </a:cubicBezTo>
                  <a:cubicBezTo>
                    <a:pt x="25291" y="9904"/>
                    <a:pt x="25357" y="9789"/>
                    <a:pt x="25452" y="9757"/>
                  </a:cubicBezTo>
                  <a:cubicBezTo>
                    <a:pt x="25473" y="9754"/>
                    <a:pt x="25487" y="9743"/>
                    <a:pt x="25491" y="9733"/>
                  </a:cubicBezTo>
                  <a:cubicBezTo>
                    <a:pt x="25491" y="9722"/>
                    <a:pt x="25480" y="9694"/>
                    <a:pt x="25448" y="9673"/>
                  </a:cubicBezTo>
                  <a:lnTo>
                    <a:pt x="25417" y="9649"/>
                  </a:lnTo>
                  <a:cubicBezTo>
                    <a:pt x="25182" y="9477"/>
                    <a:pt x="24969" y="9299"/>
                    <a:pt x="24993" y="9141"/>
                  </a:cubicBezTo>
                  <a:cubicBezTo>
                    <a:pt x="25000" y="9061"/>
                    <a:pt x="24993" y="8977"/>
                    <a:pt x="24979" y="8896"/>
                  </a:cubicBezTo>
                  <a:cubicBezTo>
                    <a:pt x="24965" y="8770"/>
                    <a:pt x="24948" y="8651"/>
                    <a:pt x="24979" y="8567"/>
                  </a:cubicBezTo>
                  <a:cubicBezTo>
                    <a:pt x="25014" y="8479"/>
                    <a:pt x="24990" y="8276"/>
                    <a:pt x="24976" y="8143"/>
                  </a:cubicBezTo>
                  <a:cubicBezTo>
                    <a:pt x="24972" y="8122"/>
                    <a:pt x="24969" y="8101"/>
                    <a:pt x="24969" y="8084"/>
                  </a:cubicBezTo>
                  <a:cubicBezTo>
                    <a:pt x="24958" y="7986"/>
                    <a:pt x="24990" y="7891"/>
                    <a:pt x="25025" y="7779"/>
                  </a:cubicBezTo>
                  <a:cubicBezTo>
                    <a:pt x="25060" y="7685"/>
                    <a:pt x="25088" y="7587"/>
                    <a:pt x="25105" y="7489"/>
                  </a:cubicBezTo>
                  <a:cubicBezTo>
                    <a:pt x="25147" y="7272"/>
                    <a:pt x="24857" y="7009"/>
                    <a:pt x="24699" y="6939"/>
                  </a:cubicBezTo>
                  <a:cubicBezTo>
                    <a:pt x="24640" y="6918"/>
                    <a:pt x="24594" y="6866"/>
                    <a:pt x="24584" y="6803"/>
                  </a:cubicBezTo>
                  <a:cubicBezTo>
                    <a:pt x="24570" y="6705"/>
                    <a:pt x="24650" y="6589"/>
                    <a:pt x="24860" y="6418"/>
                  </a:cubicBezTo>
                  <a:cubicBezTo>
                    <a:pt x="25060" y="6253"/>
                    <a:pt x="25091" y="5693"/>
                    <a:pt x="25074" y="5546"/>
                  </a:cubicBezTo>
                  <a:cubicBezTo>
                    <a:pt x="25051" y="5483"/>
                    <a:pt x="24699" y="5373"/>
                    <a:pt x="24498" y="5373"/>
                  </a:cubicBezTo>
                  <a:cubicBezTo>
                    <a:pt x="24486" y="5373"/>
                    <a:pt x="24475" y="5373"/>
                    <a:pt x="24465" y="5374"/>
                  </a:cubicBezTo>
                  <a:cubicBezTo>
                    <a:pt x="24427" y="5378"/>
                    <a:pt x="24370" y="5379"/>
                    <a:pt x="24301" y="5379"/>
                  </a:cubicBezTo>
                  <a:cubicBezTo>
                    <a:pt x="24020" y="5379"/>
                    <a:pt x="23545" y="5353"/>
                    <a:pt x="23404" y="5325"/>
                  </a:cubicBezTo>
                  <a:cubicBezTo>
                    <a:pt x="23395" y="5323"/>
                    <a:pt x="23387" y="5323"/>
                    <a:pt x="23379" y="5323"/>
                  </a:cubicBezTo>
                  <a:cubicBezTo>
                    <a:pt x="23307" y="5323"/>
                    <a:pt x="23264" y="5394"/>
                    <a:pt x="23197" y="5535"/>
                  </a:cubicBezTo>
                  <a:cubicBezTo>
                    <a:pt x="23187" y="5556"/>
                    <a:pt x="23180" y="5577"/>
                    <a:pt x="23166" y="5598"/>
                  </a:cubicBezTo>
                  <a:cubicBezTo>
                    <a:pt x="23145" y="5640"/>
                    <a:pt x="23120" y="5686"/>
                    <a:pt x="23089" y="5742"/>
                  </a:cubicBezTo>
                  <a:cubicBezTo>
                    <a:pt x="22970" y="5938"/>
                    <a:pt x="22875" y="6144"/>
                    <a:pt x="22809" y="6365"/>
                  </a:cubicBezTo>
                  <a:cubicBezTo>
                    <a:pt x="22707" y="6712"/>
                    <a:pt x="22343" y="6848"/>
                    <a:pt x="22126" y="6932"/>
                  </a:cubicBezTo>
                  <a:cubicBezTo>
                    <a:pt x="22095" y="6943"/>
                    <a:pt x="22067" y="6957"/>
                    <a:pt x="22042" y="6967"/>
                  </a:cubicBezTo>
                  <a:cubicBezTo>
                    <a:pt x="21944" y="7013"/>
                    <a:pt x="21871" y="7100"/>
                    <a:pt x="21839" y="7205"/>
                  </a:cubicBezTo>
                  <a:cubicBezTo>
                    <a:pt x="21822" y="7251"/>
                    <a:pt x="21822" y="7300"/>
                    <a:pt x="21846" y="7345"/>
                  </a:cubicBezTo>
                  <a:cubicBezTo>
                    <a:pt x="21866" y="7375"/>
                    <a:pt x="21888" y="7384"/>
                    <a:pt x="21922" y="7384"/>
                  </a:cubicBezTo>
                  <a:cubicBezTo>
                    <a:pt x="21937" y="7384"/>
                    <a:pt x="21953" y="7382"/>
                    <a:pt x="21972" y="7380"/>
                  </a:cubicBezTo>
                  <a:cubicBezTo>
                    <a:pt x="21990" y="7377"/>
                    <a:pt x="22009" y="7375"/>
                    <a:pt x="22027" y="7375"/>
                  </a:cubicBezTo>
                  <a:cubicBezTo>
                    <a:pt x="22063" y="7375"/>
                    <a:pt x="22098" y="7382"/>
                    <a:pt x="22130" y="7398"/>
                  </a:cubicBezTo>
                  <a:cubicBezTo>
                    <a:pt x="22172" y="7422"/>
                    <a:pt x="22200" y="7471"/>
                    <a:pt x="22200" y="7520"/>
                  </a:cubicBezTo>
                  <a:cubicBezTo>
                    <a:pt x="22210" y="7639"/>
                    <a:pt x="22151" y="7856"/>
                    <a:pt x="22088" y="7930"/>
                  </a:cubicBezTo>
                  <a:cubicBezTo>
                    <a:pt x="22091" y="7937"/>
                    <a:pt x="22095" y="7947"/>
                    <a:pt x="22098" y="7954"/>
                  </a:cubicBezTo>
                  <a:cubicBezTo>
                    <a:pt x="22119" y="8007"/>
                    <a:pt x="22165" y="8122"/>
                    <a:pt x="22035" y="8206"/>
                  </a:cubicBezTo>
                  <a:cubicBezTo>
                    <a:pt x="21948" y="8262"/>
                    <a:pt x="21867" y="8364"/>
                    <a:pt x="21857" y="8434"/>
                  </a:cubicBezTo>
                  <a:cubicBezTo>
                    <a:pt x="21853" y="8448"/>
                    <a:pt x="21857" y="8465"/>
                    <a:pt x="21867" y="8479"/>
                  </a:cubicBezTo>
                  <a:cubicBezTo>
                    <a:pt x="21899" y="8515"/>
                    <a:pt x="22049" y="8560"/>
                    <a:pt x="22161" y="8588"/>
                  </a:cubicBezTo>
                  <a:cubicBezTo>
                    <a:pt x="22277" y="8616"/>
                    <a:pt x="22389" y="8655"/>
                    <a:pt x="22494" y="8707"/>
                  </a:cubicBezTo>
                  <a:cubicBezTo>
                    <a:pt x="22616" y="8774"/>
                    <a:pt x="22641" y="8882"/>
                    <a:pt x="22665" y="8973"/>
                  </a:cubicBezTo>
                  <a:cubicBezTo>
                    <a:pt x="22679" y="9043"/>
                    <a:pt x="22707" y="9110"/>
                    <a:pt x="22749" y="9169"/>
                  </a:cubicBezTo>
                  <a:cubicBezTo>
                    <a:pt x="22788" y="9222"/>
                    <a:pt x="22851" y="9253"/>
                    <a:pt x="22914" y="9257"/>
                  </a:cubicBezTo>
                  <a:cubicBezTo>
                    <a:pt x="22917" y="9257"/>
                    <a:pt x="22920" y="9256"/>
                    <a:pt x="22923" y="9256"/>
                  </a:cubicBezTo>
                  <a:cubicBezTo>
                    <a:pt x="22990" y="9256"/>
                    <a:pt x="23049" y="9291"/>
                    <a:pt x="23085" y="9344"/>
                  </a:cubicBezTo>
                  <a:cubicBezTo>
                    <a:pt x="23117" y="9393"/>
                    <a:pt x="23106" y="9470"/>
                    <a:pt x="23061" y="9572"/>
                  </a:cubicBezTo>
                  <a:cubicBezTo>
                    <a:pt x="22998" y="9705"/>
                    <a:pt x="22819" y="9967"/>
                    <a:pt x="22697" y="9985"/>
                  </a:cubicBezTo>
                  <a:cubicBezTo>
                    <a:pt x="22693" y="9985"/>
                    <a:pt x="22688" y="9986"/>
                    <a:pt x="22684" y="9986"/>
                  </a:cubicBezTo>
                  <a:cubicBezTo>
                    <a:pt x="22597" y="9986"/>
                    <a:pt x="22468" y="9883"/>
                    <a:pt x="22165" y="9603"/>
                  </a:cubicBezTo>
                  <a:cubicBezTo>
                    <a:pt x="22091" y="9537"/>
                    <a:pt x="22025" y="9474"/>
                    <a:pt x="21986" y="9446"/>
                  </a:cubicBezTo>
                  <a:cubicBezTo>
                    <a:pt x="21923" y="9397"/>
                    <a:pt x="21738" y="9327"/>
                    <a:pt x="21559" y="9257"/>
                  </a:cubicBezTo>
                  <a:cubicBezTo>
                    <a:pt x="21398" y="9197"/>
                    <a:pt x="21230" y="9131"/>
                    <a:pt x="21114" y="9071"/>
                  </a:cubicBezTo>
                  <a:cubicBezTo>
                    <a:pt x="21023" y="9026"/>
                    <a:pt x="20925" y="8991"/>
                    <a:pt x="20827" y="8963"/>
                  </a:cubicBezTo>
                  <a:cubicBezTo>
                    <a:pt x="20666" y="8924"/>
                    <a:pt x="20516" y="8858"/>
                    <a:pt x="20379" y="8767"/>
                  </a:cubicBezTo>
                  <a:cubicBezTo>
                    <a:pt x="20126" y="8598"/>
                    <a:pt x="19913" y="8511"/>
                    <a:pt x="19459" y="8511"/>
                  </a:cubicBezTo>
                  <a:cubicBezTo>
                    <a:pt x="19442" y="8511"/>
                    <a:pt x="19424" y="8511"/>
                    <a:pt x="19406" y="8511"/>
                  </a:cubicBezTo>
                  <a:cubicBezTo>
                    <a:pt x="19171" y="8511"/>
                    <a:pt x="18937" y="8490"/>
                    <a:pt x="18706" y="8448"/>
                  </a:cubicBezTo>
                  <a:cubicBezTo>
                    <a:pt x="18623" y="8430"/>
                    <a:pt x="18538" y="8419"/>
                    <a:pt x="18453" y="8419"/>
                  </a:cubicBezTo>
                  <a:cubicBezTo>
                    <a:pt x="18440" y="8419"/>
                    <a:pt x="18428" y="8420"/>
                    <a:pt x="18415" y="8420"/>
                  </a:cubicBezTo>
                  <a:cubicBezTo>
                    <a:pt x="18402" y="8422"/>
                    <a:pt x="18390" y="8423"/>
                    <a:pt x="18379" y="8423"/>
                  </a:cubicBezTo>
                  <a:cubicBezTo>
                    <a:pt x="18283" y="8423"/>
                    <a:pt x="18243" y="8361"/>
                    <a:pt x="18205" y="8304"/>
                  </a:cubicBezTo>
                  <a:cubicBezTo>
                    <a:pt x="18149" y="8220"/>
                    <a:pt x="18072" y="8154"/>
                    <a:pt x="17978" y="8115"/>
                  </a:cubicBezTo>
                  <a:cubicBezTo>
                    <a:pt x="17887" y="8077"/>
                    <a:pt x="17806" y="8035"/>
                    <a:pt x="17736" y="7996"/>
                  </a:cubicBezTo>
                  <a:cubicBezTo>
                    <a:pt x="17605" y="7925"/>
                    <a:pt x="17513" y="7878"/>
                    <a:pt x="17440" y="7878"/>
                  </a:cubicBezTo>
                  <a:cubicBezTo>
                    <a:pt x="17415" y="7878"/>
                    <a:pt x="17393" y="7883"/>
                    <a:pt x="17372" y="7895"/>
                  </a:cubicBezTo>
                  <a:cubicBezTo>
                    <a:pt x="17323" y="7926"/>
                    <a:pt x="17299" y="7986"/>
                    <a:pt x="17313" y="8038"/>
                  </a:cubicBezTo>
                  <a:cubicBezTo>
                    <a:pt x="17330" y="8136"/>
                    <a:pt x="17407" y="8210"/>
                    <a:pt x="17505" y="8224"/>
                  </a:cubicBezTo>
                  <a:cubicBezTo>
                    <a:pt x="17649" y="8248"/>
                    <a:pt x="17698" y="8301"/>
                    <a:pt x="17733" y="8339"/>
                  </a:cubicBezTo>
                  <a:cubicBezTo>
                    <a:pt x="17762" y="8372"/>
                    <a:pt x="17774" y="8387"/>
                    <a:pt x="17845" y="8387"/>
                  </a:cubicBezTo>
                  <a:cubicBezTo>
                    <a:pt x="17859" y="8387"/>
                    <a:pt x="17875" y="8386"/>
                    <a:pt x="17894" y="8385"/>
                  </a:cubicBezTo>
                  <a:cubicBezTo>
                    <a:pt x="17916" y="8384"/>
                    <a:pt x="17936" y="8383"/>
                    <a:pt x="17957" y="8383"/>
                  </a:cubicBezTo>
                  <a:cubicBezTo>
                    <a:pt x="18085" y="8383"/>
                    <a:pt x="18179" y="8412"/>
                    <a:pt x="18237" y="8472"/>
                  </a:cubicBezTo>
                  <a:cubicBezTo>
                    <a:pt x="18296" y="8536"/>
                    <a:pt x="18321" y="8620"/>
                    <a:pt x="18310" y="8704"/>
                  </a:cubicBezTo>
                  <a:cubicBezTo>
                    <a:pt x="18303" y="8861"/>
                    <a:pt x="18450" y="9022"/>
                    <a:pt x="18541" y="9106"/>
                  </a:cubicBezTo>
                  <a:cubicBezTo>
                    <a:pt x="18615" y="9169"/>
                    <a:pt x="18639" y="9271"/>
                    <a:pt x="18604" y="9358"/>
                  </a:cubicBezTo>
                  <a:cubicBezTo>
                    <a:pt x="18566" y="9456"/>
                    <a:pt x="18457" y="9519"/>
                    <a:pt x="18328" y="9519"/>
                  </a:cubicBezTo>
                  <a:cubicBezTo>
                    <a:pt x="18034" y="9519"/>
                    <a:pt x="17999" y="9575"/>
                    <a:pt x="17999" y="9575"/>
                  </a:cubicBezTo>
                  <a:cubicBezTo>
                    <a:pt x="17999" y="9579"/>
                    <a:pt x="17999" y="9586"/>
                    <a:pt x="18009" y="9603"/>
                  </a:cubicBezTo>
                  <a:cubicBezTo>
                    <a:pt x="18076" y="9708"/>
                    <a:pt x="18044" y="9771"/>
                    <a:pt x="18023" y="9799"/>
                  </a:cubicBezTo>
                  <a:cubicBezTo>
                    <a:pt x="17991" y="9839"/>
                    <a:pt x="17936" y="9859"/>
                    <a:pt x="17865" y="9859"/>
                  </a:cubicBezTo>
                  <a:cubicBezTo>
                    <a:pt x="17803" y="9859"/>
                    <a:pt x="17730" y="9844"/>
                    <a:pt x="17649" y="9813"/>
                  </a:cubicBezTo>
                  <a:cubicBezTo>
                    <a:pt x="17558" y="9782"/>
                    <a:pt x="17505" y="9729"/>
                    <a:pt x="17491" y="9663"/>
                  </a:cubicBezTo>
                  <a:cubicBezTo>
                    <a:pt x="17467" y="9561"/>
                    <a:pt x="17544" y="9463"/>
                    <a:pt x="17617" y="9390"/>
                  </a:cubicBezTo>
                  <a:cubicBezTo>
                    <a:pt x="17596" y="9365"/>
                    <a:pt x="17519" y="9313"/>
                    <a:pt x="17320" y="9239"/>
                  </a:cubicBezTo>
                  <a:cubicBezTo>
                    <a:pt x="17316" y="9238"/>
                    <a:pt x="17313" y="9238"/>
                    <a:pt x="17309" y="9238"/>
                  </a:cubicBezTo>
                  <a:cubicBezTo>
                    <a:pt x="17220" y="9238"/>
                    <a:pt x="16928" y="9422"/>
                    <a:pt x="16780" y="9512"/>
                  </a:cubicBezTo>
                  <a:cubicBezTo>
                    <a:pt x="16700" y="9565"/>
                    <a:pt x="16612" y="9614"/>
                    <a:pt x="16525" y="9659"/>
                  </a:cubicBezTo>
                  <a:cubicBezTo>
                    <a:pt x="16488" y="9675"/>
                    <a:pt x="16445" y="9681"/>
                    <a:pt x="16397" y="9681"/>
                  </a:cubicBezTo>
                  <a:cubicBezTo>
                    <a:pt x="16335" y="9681"/>
                    <a:pt x="16264" y="9671"/>
                    <a:pt x="16182" y="9659"/>
                  </a:cubicBezTo>
                  <a:cubicBezTo>
                    <a:pt x="16085" y="9647"/>
                    <a:pt x="15974" y="9633"/>
                    <a:pt x="15857" y="9633"/>
                  </a:cubicBezTo>
                  <a:cubicBezTo>
                    <a:pt x="15772" y="9633"/>
                    <a:pt x="15683" y="9641"/>
                    <a:pt x="15594" y="9663"/>
                  </a:cubicBezTo>
                  <a:cubicBezTo>
                    <a:pt x="15454" y="9694"/>
                    <a:pt x="15331" y="9782"/>
                    <a:pt x="15258" y="9908"/>
                  </a:cubicBezTo>
                  <a:cubicBezTo>
                    <a:pt x="15218" y="9969"/>
                    <a:pt x="15173" y="10038"/>
                    <a:pt x="15092" y="10038"/>
                  </a:cubicBezTo>
                  <a:cubicBezTo>
                    <a:pt x="15080" y="10038"/>
                    <a:pt x="15068" y="10037"/>
                    <a:pt x="15054" y="10034"/>
                  </a:cubicBezTo>
                  <a:cubicBezTo>
                    <a:pt x="15005" y="10030"/>
                    <a:pt x="14956" y="10027"/>
                    <a:pt x="14908" y="10027"/>
                  </a:cubicBezTo>
                  <a:cubicBezTo>
                    <a:pt x="14877" y="10027"/>
                    <a:pt x="14847" y="10028"/>
                    <a:pt x="14816" y="10030"/>
                  </a:cubicBezTo>
                  <a:cubicBezTo>
                    <a:pt x="14769" y="10031"/>
                    <a:pt x="14719" y="10032"/>
                    <a:pt x="14670" y="10032"/>
                  </a:cubicBezTo>
                  <a:cubicBezTo>
                    <a:pt x="14528" y="10032"/>
                    <a:pt x="14387" y="10023"/>
                    <a:pt x="14298" y="9971"/>
                  </a:cubicBezTo>
                  <a:cubicBezTo>
                    <a:pt x="14214" y="9918"/>
                    <a:pt x="14179" y="9862"/>
                    <a:pt x="14197" y="9806"/>
                  </a:cubicBezTo>
                  <a:cubicBezTo>
                    <a:pt x="14224" y="9715"/>
                    <a:pt x="14357" y="9700"/>
                    <a:pt x="14440" y="9700"/>
                  </a:cubicBezTo>
                  <a:cubicBezTo>
                    <a:pt x="14452" y="9700"/>
                    <a:pt x="14464" y="9701"/>
                    <a:pt x="14473" y="9701"/>
                  </a:cubicBezTo>
                  <a:cubicBezTo>
                    <a:pt x="14486" y="9704"/>
                    <a:pt x="14498" y="9705"/>
                    <a:pt x="14511" y="9705"/>
                  </a:cubicBezTo>
                  <a:cubicBezTo>
                    <a:pt x="14533" y="9705"/>
                    <a:pt x="14556" y="9701"/>
                    <a:pt x="14578" y="9694"/>
                  </a:cubicBezTo>
                  <a:cubicBezTo>
                    <a:pt x="14571" y="9677"/>
                    <a:pt x="14561" y="9663"/>
                    <a:pt x="14550" y="9649"/>
                  </a:cubicBezTo>
                  <a:cubicBezTo>
                    <a:pt x="14456" y="9540"/>
                    <a:pt x="14547" y="9407"/>
                    <a:pt x="14606" y="9323"/>
                  </a:cubicBezTo>
                  <a:cubicBezTo>
                    <a:pt x="14613" y="9309"/>
                    <a:pt x="14620" y="9299"/>
                    <a:pt x="14631" y="9285"/>
                  </a:cubicBezTo>
                  <a:lnTo>
                    <a:pt x="14631" y="9285"/>
                  </a:lnTo>
                  <a:cubicBezTo>
                    <a:pt x="14473" y="9309"/>
                    <a:pt x="14095" y="9439"/>
                    <a:pt x="14018" y="9505"/>
                  </a:cubicBezTo>
                  <a:cubicBezTo>
                    <a:pt x="13990" y="9526"/>
                    <a:pt x="13990" y="9561"/>
                    <a:pt x="13990" y="9617"/>
                  </a:cubicBezTo>
                  <a:cubicBezTo>
                    <a:pt x="13994" y="9673"/>
                    <a:pt x="13994" y="9771"/>
                    <a:pt x="13899" y="9820"/>
                  </a:cubicBezTo>
                  <a:cubicBezTo>
                    <a:pt x="13871" y="9834"/>
                    <a:pt x="13847" y="9840"/>
                    <a:pt x="13825" y="9840"/>
                  </a:cubicBezTo>
                  <a:cubicBezTo>
                    <a:pt x="13759" y="9840"/>
                    <a:pt x="13719" y="9788"/>
                    <a:pt x="13693" y="9754"/>
                  </a:cubicBezTo>
                  <a:cubicBezTo>
                    <a:pt x="13672" y="9719"/>
                    <a:pt x="13640" y="9694"/>
                    <a:pt x="13605" y="9677"/>
                  </a:cubicBezTo>
                  <a:cubicBezTo>
                    <a:pt x="13597" y="9674"/>
                    <a:pt x="13584" y="9673"/>
                    <a:pt x="13568" y="9673"/>
                  </a:cubicBezTo>
                  <a:cubicBezTo>
                    <a:pt x="13364" y="9673"/>
                    <a:pt x="12568" y="9865"/>
                    <a:pt x="12422" y="10030"/>
                  </a:cubicBezTo>
                  <a:cubicBezTo>
                    <a:pt x="12317" y="10149"/>
                    <a:pt x="12170" y="10205"/>
                    <a:pt x="12051" y="10251"/>
                  </a:cubicBezTo>
                  <a:cubicBezTo>
                    <a:pt x="12002" y="10265"/>
                    <a:pt x="11956" y="10286"/>
                    <a:pt x="11914" y="10314"/>
                  </a:cubicBezTo>
                  <a:cubicBezTo>
                    <a:pt x="11911" y="10436"/>
                    <a:pt x="11743" y="10461"/>
                    <a:pt x="11550" y="10492"/>
                  </a:cubicBezTo>
                  <a:cubicBezTo>
                    <a:pt x="11456" y="10503"/>
                    <a:pt x="11365" y="10524"/>
                    <a:pt x="11277" y="10555"/>
                  </a:cubicBezTo>
                  <a:cubicBezTo>
                    <a:pt x="11211" y="10587"/>
                    <a:pt x="11214" y="10710"/>
                    <a:pt x="11214" y="10832"/>
                  </a:cubicBezTo>
                  <a:cubicBezTo>
                    <a:pt x="11225" y="10920"/>
                    <a:pt x="11214" y="11007"/>
                    <a:pt x="11190" y="11095"/>
                  </a:cubicBezTo>
                  <a:cubicBezTo>
                    <a:pt x="11135" y="11231"/>
                    <a:pt x="10878" y="11257"/>
                    <a:pt x="10533" y="11257"/>
                  </a:cubicBezTo>
                  <a:cubicBezTo>
                    <a:pt x="10479" y="11257"/>
                    <a:pt x="10424" y="11257"/>
                    <a:pt x="10367" y="11256"/>
                  </a:cubicBezTo>
                  <a:lnTo>
                    <a:pt x="10199" y="11256"/>
                  </a:lnTo>
                  <a:cubicBezTo>
                    <a:pt x="10195" y="11256"/>
                    <a:pt x="10192" y="11256"/>
                    <a:pt x="10188" y="11256"/>
                  </a:cubicBezTo>
                  <a:cubicBezTo>
                    <a:pt x="10051" y="11256"/>
                    <a:pt x="9966" y="11123"/>
                    <a:pt x="9894" y="11007"/>
                  </a:cubicBezTo>
                  <a:cubicBezTo>
                    <a:pt x="9849" y="10934"/>
                    <a:pt x="9796" y="10850"/>
                    <a:pt x="9754" y="10843"/>
                  </a:cubicBezTo>
                  <a:cubicBezTo>
                    <a:pt x="9702" y="10839"/>
                    <a:pt x="9653" y="10808"/>
                    <a:pt x="9628" y="10759"/>
                  </a:cubicBezTo>
                  <a:cubicBezTo>
                    <a:pt x="9586" y="10682"/>
                    <a:pt x="9607" y="10562"/>
                    <a:pt x="9688" y="10401"/>
                  </a:cubicBezTo>
                  <a:cubicBezTo>
                    <a:pt x="9726" y="10324"/>
                    <a:pt x="9800" y="10314"/>
                    <a:pt x="9863" y="10307"/>
                  </a:cubicBezTo>
                  <a:cubicBezTo>
                    <a:pt x="9943" y="10300"/>
                    <a:pt x="10024" y="10275"/>
                    <a:pt x="10090" y="10230"/>
                  </a:cubicBezTo>
                  <a:cubicBezTo>
                    <a:pt x="10156" y="10188"/>
                    <a:pt x="10223" y="10174"/>
                    <a:pt x="10284" y="10174"/>
                  </a:cubicBezTo>
                  <a:cubicBezTo>
                    <a:pt x="10350" y="10174"/>
                    <a:pt x="10411" y="10189"/>
                    <a:pt x="10461" y="10202"/>
                  </a:cubicBezTo>
                  <a:cubicBezTo>
                    <a:pt x="10489" y="10212"/>
                    <a:pt x="10521" y="10216"/>
                    <a:pt x="10549" y="10219"/>
                  </a:cubicBezTo>
                  <a:cubicBezTo>
                    <a:pt x="10514" y="10174"/>
                    <a:pt x="10479" y="10128"/>
                    <a:pt x="10437" y="10090"/>
                  </a:cubicBezTo>
                  <a:cubicBezTo>
                    <a:pt x="10339" y="9985"/>
                    <a:pt x="10227" y="9869"/>
                    <a:pt x="10213" y="9747"/>
                  </a:cubicBezTo>
                  <a:cubicBezTo>
                    <a:pt x="10206" y="9712"/>
                    <a:pt x="10185" y="9684"/>
                    <a:pt x="10153" y="9666"/>
                  </a:cubicBezTo>
                  <a:cubicBezTo>
                    <a:pt x="10070" y="9610"/>
                    <a:pt x="9930" y="9584"/>
                    <a:pt x="9798" y="9584"/>
                  </a:cubicBezTo>
                  <a:cubicBezTo>
                    <a:pt x="9726" y="9584"/>
                    <a:pt x="9656" y="9592"/>
                    <a:pt x="9600" y="9607"/>
                  </a:cubicBezTo>
                  <a:cubicBezTo>
                    <a:pt x="9516" y="9626"/>
                    <a:pt x="9430" y="9636"/>
                    <a:pt x="9344" y="9636"/>
                  </a:cubicBezTo>
                  <a:cubicBezTo>
                    <a:pt x="9182" y="9636"/>
                    <a:pt x="9022" y="9601"/>
                    <a:pt x="8876" y="9530"/>
                  </a:cubicBezTo>
                  <a:lnTo>
                    <a:pt x="8869" y="9526"/>
                  </a:lnTo>
                  <a:lnTo>
                    <a:pt x="8869" y="9526"/>
                  </a:lnTo>
                  <a:cubicBezTo>
                    <a:pt x="8904" y="9575"/>
                    <a:pt x="8956" y="9607"/>
                    <a:pt x="9016" y="9617"/>
                  </a:cubicBezTo>
                  <a:cubicBezTo>
                    <a:pt x="9243" y="9677"/>
                    <a:pt x="9229" y="9841"/>
                    <a:pt x="9222" y="9939"/>
                  </a:cubicBezTo>
                  <a:cubicBezTo>
                    <a:pt x="9215" y="9974"/>
                    <a:pt x="9215" y="10006"/>
                    <a:pt x="9222" y="10041"/>
                  </a:cubicBezTo>
                  <a:cubicBezTo>
                    <a:pt x="9275" y="10195"/>
                    <a:pt x="9152" y="10492"/>
                    <a:pt x="9002" y="10706"/>
                  </a:cubicBezTo>
                  <a:cubicBezTo>
                    <a:pt x="8984" y="10734"/>
                    <a:pt x="8967" y="10762"/>
                    <a:pt x="8953" y="10797"/>
                  </a:cubicBezTo>
                  <a:cubicBezTo>
                    <a:pt x="8979" y="10799"/>
                    <a:pt x="9005" y="10800"/>
                    <a:pt x="9032" y="10800"/>
                  </a:cubicBezTo>
                  <a:cubicBezTo>
                    <a:pt x="9058" y="10800"/>
                    <a:pt x="9086" y="10799"/>
                    <a:pt x="9114" y="10797"/>
                  </a:cubicBezTo>
                  <a:lnTo>
                    <a:pt x="9124" y="10797"/>
                  </a:lnTo>
                  <a:cubicBezTo>
                    <a:pt x="9131" y="10796"/>
                    <a:pt x="9138" y="10796"/>
                    <a:pt x="9146" y="10796"/>
                  </a:cubicBezTo>
                  <a:cubicBezTo>
                    <a:pt x="9201" y="10796"/>
                    <a:pt x="9255" y="10819"/>
                    <a:pt x="9296" y="10857"/>
                  </a:cubicBezTo>
                  <a:cubicBezTo>
                    <a:pt x="9397" y="10955"/>
                    <a:pt x="9397" y="11144"/>
                    <a:pt x="9397" y="11308"/>
                  </a:cubicBezTo>
                  <a:lnTo>
                    <a:pt x="9397" y="11347"/>
                  </a:lnTo>
                  <a:cubicBezTo>
                    <a:pt x="9394" y="11452"/>
                    <a:pt x="9355" y="11553"/>
                    <a:pt x="9289" y="11630"/>
                  </a:cubicBezTo>
                  <a:cubicBezTo>
                    <a:pt x="9254" y="11669"/>
                    <a:pt x="9233" y="11718"/>
                    <a:pt x="9226" y="11767"/>
                  </a:cubicBezTo>
                  <a:cubicBezTo>
                    <a:pt x="9233" y="11809"/>
                    <a:pt x="9212" y="11851"/>
                    <a:pt x="9177" y="11875"/>
                  </a:cubicBezTo>
                  <a:cubicBezTo>
                    <a:pt x="9161" y="11884"/>
                    <a:pt x="9145" y="11888"/>
                    <a:pt x="9130" y="11888"/>
                  </a:cubicBezTo>
                  <a:cubicBezTo>
                    <a:pt x="9089" y="11888"/>
                    <a:pt x="9050" y="11864"/>
                    <a:pt x="9012" y="11844"/>
                  </a:cubicBezTo>
                  <a:cubicBezTo>
                    <a:pt x="8998" y="11833"/>
                    <a:pt x="8981" y="11823"/>
                    <a:pt x="8963" y="11816"/>
                  </a:cubicBezTo>
                  <a:cubicBezTo>
                    <a:pt x="8941" y="11835"/>
                    <a:pt x="8912" y="11846"/>
                    <a:pt x="8883" y="11846"/>
                  </a:cubicBezTo>
                  <a:cubicBezTo>
                    <a:pt x="8876" y="11846"/>
                    <a:pt x="8869" y="11845"/>
                    <a:pt x="8862" y="11844"/>
                  </a:cubicBezTo>
                  <a:cubicBezTo>
                    <a:pt x="8760" y="11819"/>
                    <a:pt x="8711" y="11662"/>
                    <a:pt x="8700" y="11613"/>
                  </a:cubicBezTo>
                  <a:cubicBezTo>
                    <a:pt x="8693" y="11581"/>
                    <a:pt x="8536" y="11581"/>
                    <a:pt x="8459" y="11578"/>
                  </a:cubicBezTo>
                  <a:cubicBezTo>
                    <a:pt x="8444" y="11578"/>
                    <a:pt x="8430" y="11579"/>
                    <a:pt x="8415" y="11579"/>
                  </a:cubicBezTo>
                  <a:cubicBezTo>
                    <a:pt x="8342" y="11579"/>
                    <a:pt x="8269" y="11571"/>
                    <a:pt x="8196" y="11557"/>
                  </a:cubicBezTo>
                  <a:cubicBezTo>
                    <a:pt x="8164" y="11548"/>
                    <a:pt x="8137" y="11544"/>
                    <a:pt x="8113" y="11544"/>
                  </a:cubicBezTo>
                  <a:cubicBezTo>
                    <a:pt x="8030" y="11544"/>
                    <a:pt x="7986" y="11596"/>
                    <a:pt x="7923" y="11697"/>
                  </a:cubicBezTo>
                  <a:cubicBezTo>
                    <a:pt x="7808" y="11875"/>
                    <a:pt x="7486" y="11928"/>
                    <a:pt x="7388" y="11938"/>
                  </a:cubicBezTo>
                  <a:cubicBezTo>
                    <a:pt x="7311" y="11945"/>
                    <a:pt x="7178" y="12064"/>
                    <a:pt x="7073" y="12155"/>
                  </a:cubicBezTo>
                  <a:cubicBezTo>
                    <a:pt x="7017" y="12211"/>
                    <a:pt x="6957" y="12260"/>
                    <a:pt x="6891" y="12306"/>
                  </a:cubicBezTo>
                  <a:cubicBezTo>
                    <a:pt x="6845" y="12334"/>
                    <a:pt x="6814" y="12383"/>
                    <a:pt x="6807" y="12435"/>
                  </a:cubicBezTo>
                  <a:cubicBezTo>
                    <a:pt x="6800" y="12509"/>
                    <a:pt x="6845" y="12596"/>
                    <a:pt x="6933" y="12681"/>
                  </a:cubicBezTo>
                  <a:cubicBezTo>
                    <a:pt x="7125" y="12863"/>
                    <a:pt x="7202" y="13017"/>
                    <a:pt x="7178" y="13167"/>
                  </a:cubicBezTo>
                  <a:cubicBezTo>
                    <a:pt x="7171" y="13216"/>
                    <a:pt x="7132" y="13251"/>
                    <a:pt x="7062" y="13269"/>
                  </a:cubicBezTo>
                  <a:cubicBezTo>
                    <a:pt x="7018" y="13281"/>
                    <a:pt x="6955" y="13287"/>
                    <a:pt x="6883" y="13287"/>
                  </a:cubicBezTo>
                  <a:cubicBezTo>
                    <a:pt x="6704" y="13287"/>
                    <a:pt x="6478" y="13247"/>
                    <a:pt x="6407" y="13157"/>
                  </a:cubicBezTo>
                  <a:cubicBezTo>
                    <a:pt x="6355" y="13090"/>
                    <a:pt x="6130" y="13045"/>
                    <a:pt x="5985" y="13045"/>
                  </a:cubicBezTo>
                  <a:cubicBezTo>
                    <a:pt x="5955" y="13045"/>
                    <a:pt x="5928" y="13047"/>
                    <a:pt x="5907" y="13052"/>
                  </a:cubicBezTo>
                  <a:cubicBezTo>
                    <a:pt x="5898" y="13053"/>
                    <a:pt x="5890" y="13054"/>
                    <a:pt x="5882" y="13054"/>
                  </a:cubicBezTo>
                  <a:cubicBezTo>
                    <a:pt x="5800" y="13054"/>
                    <a:pt x="5706" y="12980"/>
                    <a:pt x="5564" y="12870"/>
                  </a:cubicBezTo>
                  <a:cubicBezTo>
                    <a:pt x="5462" y="12786"/>
                    <a:pt x="5333" y="12684"/>
                    <a:pt x="5270" y="12681"/>
                  </a:cubicBezTo>
                  <a:cubicBezTo>
                    <a:pt x="5267" y="12680"/>
                    <a:pt x="5265" y="12680"/>
                    <a:pt x="5263" y="12680"/>
                  </a:cubicBezTo>
                  <a:cubicBezTo>
                    <a:pt x="5143" y="12680"/>
                    <a:pt x="5052" y="12850"/>
                    <a:pt x="5007" y="12940"/>
                  </a:cubicBezTo>
                  <a:lnTo>
                    <a:pt x="5000" y="12954"/>
                  </a:lnTo>
                  <a:cubicBezTo>
                    <a:pt x="4990" y="12971"/>
                    <a:pt x="4986" y="12975"/>
                    <a:pt x="5039" y="13031"/>
                  </a:cubicBezTo>
                  <a:cubicBezTo>
                    <a:pt x="5091" y="13083"/>
                    <a:pt x="5133" y="13146"/>
                    <a:pt x="5161" y="13209"/>
                  </a:cubicBezTo>
                  <a:cubicBezTo>
                    <a:pt x="5231" y="13356"/>
                    <a:pt x="5536" y="13356"/>
                    <a:pt x="5637" y="13356"/>
                  </a:cubicBezTo>
                  <a:cubicBezTo>
                    <a:pt x="5693" y="13356"/>
                    <a:pt x="5742" y="13384"/>
                    <a:pt x="5774" y="13430"/>
                  </a:cubicBezTo>
                  <a:cubicBezTo>
                    <a:pt x="5840" y="13538"/>
                    <a:pt x="5774" y="13720"/>
                    <a:pt x="5742" y="13783"/>
                  </a:cubicBezTo>
                  <a:cubicBezTo>
                    <a:pt x="5700" y="13871"/>
                    <a:pt x="5564" y="13923"/>
                    <a:pt x="5455" y="13934"/>
                  </a:cubicBezTo>
                  <a:cubicBezTo>
                    <a:pt x="5440" y="13935"/>
                    <a:pt x="5426" y="13936"/>
                    <a:pt x="5412" y="13936"/>
                  </a:cubicBezTo>
                  <a:cubicBezTo>
                    <a:pt x="5325" y="13936"/>
                    <a:pt x="5260" y="13909"/>
                    <a:pt x="5221" y="13860"/>
                  </a:cubicBezTo>
                  <a:cubicBezTo>
                    <a:pt x="5203" y="13836"/>
                    <a:pt x="5105" y="13832"/>
                    <a:pt x="5046" y="13829"/>
                  </a:cubicBezTo>
                  <a:cubicBezTo>
                    <a:pt x="4937" y="13825"/>
                    <a:pt x="4787" y="13822"/>
                    <a:pt x="4780" y="13692"/>
                  </a:cubicBezTo>
                  <a:cubicBezTo>
                    <a:pt x="4766" y="13643"/>
                    <a:pt x="4734" y="13598"/>
                    <a:pt x="4689" y="13566"/>
                  </a:cubicBezTo>
                  <a:cubicBezTo>
                    <a:pt x="4608" y="13503"/>
                    <a:pt x="4509" y="13469"/>
                    <a:pt x="4405" y="13469"/>
                  </a:cubicBezTo>
                  <a:cubicBezTo>
                    <a:pt x="4388" y="13469"/>
                    <a:pt x="4370" y="13470"/>
                    <a:pt x="4352" y="13472"/>
                  </a:cubicBezTo>
                  <a:cubicBezTo>
                    <a:pt x="4324" y="13476"/>
                    <a:pt x="4297" y="13478"/>
                    <a:pt x="4272" y="13478"/>
                  </a:cubicBezTo>
                  <a:cubicBezTo>
                    <a:pt x="4193" y="13478"/>
                    <a:pt x="4127" y="13457"/>
                    <a:pt x="4079" y="13412"/>
                  </a:cubicBezTo>
                  <a:cubicBezTo>
                    <a:pt x="4009" y="13346"/>
                    <a:pt x="3981" y="13241"/>
                    <a:pt x="3992" y="13087"/>
                  </a:cubicBezTo>
                  <a:cubicBezTo>
                    <a:pt x="3995" y="13003"/>
                    <a:pt x="3967" y="12919"/>
                    <a:pt x="3918" y="12852"/>
                  </a:cubicBezTo>
                  <a:cubicBezTo>
                    <a:pt x="3883" y="12807"/>
                    <a:pt x="3866" y="12747"/>
                    <a:pt x="3862" y="12691"/>
                  </a:cubicBezTo>
                  <a:cubicBezTo>
                    <a:pt x="3862" y="12663"/>
                    <a:pt x="3855" y="12635"/>
                    <a:pt x="3845" y="12607"/>
                  </a:cubicBezTo>
                  <a:cubicBezTo>
                    <a:pt x="3820" y="12512"/>
                    <a:pt x="3782" y="12372"/>
                    <a:pt x="3908" y="12285"/>
                  </a:cubicBezTo>
                  <a:cubicBezTo>
                    <a:pt x="3957" y="12253"/>
                    <a:pt x="3950" y="12218"/>
                    <a:pt x="3936" y="12124"/>
                  </a:cubicBezTo>
                  <a:cubicBezTo>
                    <a:pt x="3925" y="12078"/>
                    <a:pt x="3918" y="12033"/>
                    <a:pt x="3918" y="11987"/>
                  </a:cubicBezTo>
                  <a:cubicBezTo>
                    <a:pt x="3915" y="11952"/>
                    <a:pt x="3897" y="11917"/>
                    <a:pt x="3866" y="11893"/>
                  </a:cubicBezTo>
                  <a:cubicBezTo>
                    <a:pt x="3789" y="11809"/>
                    <a:pt x="3680" y="11756"/>
                    <a:pt x="3565" y="11749"/>
                  </a:cubicBezTo>
                  <a:cubicBezTo>
                    <a:pt x="3418" y="11749"/>
                    <a:pt x="3362" y="11662"/>
                    <a:pt x="3323" y="11599"/>
                  </a:cubicBezTo>
                  <a:cubicBezTo>
                    <a:pt x="3288" y="11546"/>
                    <a:pt x="3267" y="11518"/>
                    <a:pt x="3218" y="11508"/>
                  </a:cubicBezTo>
                  <a:cubicBezTo>
                    <a:pt x="3033" y="11462"/>
                    <a:pt x="2665" y="11168"/>
                    <a:pt x="2634" y="11011"/>
                  </a:cubicBezTo>
                  <a:cubicBezTo>
                    <a:pt x="2630" y="10979"/>
                    <a:pt x="2556" y="10948"/>
                    <a:pt x="2518" y="10934"/>
                  </a:cubicBezTo>
                  <a:cubicBezTo>
                    <a:pt x="2469" y="10909"/>
                    <a:pt x="2420" y="10892"/>
                    <a:pt x="2420" y="10836"/>
                  </a:cubicBezTo>
                  <a:cubicBezTo>
                    <a:pt x="2423" y="10801"/>
                    <a:pt x="2444" y="10769"/>
                    <a:pt x="2479" y="10759"/>
                  </a:cubicBezTo>
                  <a:cubicBezTo>
                    <a:pt x="2507" y="10746"/>
                    <a:pt x="2540" y="10740"/>
                    <a:pt x="2576" y="10740"/>
                  </a:cubicBezTo>
                  <a:cubicBezTo>
                    <a:pt x="2702" y="10740"/>
                    <a:pt x="2867" y="10814"/>
                    <a:pt x="2987" y="10934"/>
                  </a:cubicBezTo>
                  <a:cubicBezTo>
                    <a:pt x="3152" y="11098"/>
                    <a:pt x="3393" y="11196"/>
                    <a:pt x="3712" y="11242"/>
                  </a:cubicBezTo>
                  <a:cubicBezTo>
                    <a:pt x="3880" y="11266"/>
                    <a:pt x="4044" y="11315"/>
                    <a:pt x="4198" y="11389"/>
                  </a:cubicBezTo>
                  <a:cubicBezTo>
                    <a:pt x="4345" y="11459"/>
                    <a:pt x="4506" y="11511"/>
                    <a:pt x="4667" y="11539"/>
                  </a:cubicBezTo>
                  <a:lnTo>
                    <a:pt x="4899" y="11581"/>
                  </a:lnTo>
                  <a:cubicBezTo>
                    <a:pt x="5200" y="11634"/>
                    <a:pt x="5455" y="11679"/>
                    <a:pt x="5942" y="11749"/>
                  </a:cubicBezTo>
                  <a:cubicBezTo>
                    <a:pt x="5979" y="11755"/>
                    <a:pt x="6018" y="11757"/>
                    <a:pt x="6057" y="11757"/>
                  </a:cubicBezTo>
                  <a:cubicBezTo>
                    <a:pt x="6608" y="11757"/>
                    <a:pt x="7312" y="11237"/>
                    <a:pt x="7472" y="11074"/>
                  </a:cubicBezTo>
                  <a:cubicBezTo>
                    <a:pt x="7559" y="10986"/>
                    <a:pt x="7500" y="10808"/>
                    <a:pt x="7451" y="10664"/>
                  </a:cubicBezTo>
                  <a:cubicBezTo>
                    <a:pt x="7426" y="10601"/>
                    <a:pt x="7412" y="10538"/>
                    <a:pt x="7405" y="10471"/>
                  </a:cubicBezTo>
                  <a:cubicBezTo>
                    <a:pt x="7405" y="10443"/>
                    <a:pt x="7328" y="10412"/>
                    <a:pt x="7272" y="10387"/>
                  </a:cubicBezTo>
                  <a:cubicBezTo>
                    <a:pt x="7199" y="10356"/>
                    <a:pt x="7122" y="10324"/>
                    <a:pt x="7094" y="10258"/>
                  </a:cubicBezTo>
                  <a:cubicBezTo>
                    <a:pt x="7010" y="10118"/>
                    <a:pt x="6863" y="10027"/>
                    <a:pt x="6698" y="10023"/>
                  </a:cubicBezTo>
                  <a:cubicBezTo>
                    <a:pt x="6547" y="10023"/>
                    <a:pt x="6467" y="9936"/>
                    <a:pt x="6400" y="9862"/>
                  </a:cubicBezTo>
                  <a:cubicBezTo>
                    <a:pt x="6344" y="9806"/>
                    <a:pt x="6309" y="9771"/>
                    <a:pt x="6260" y="9771"/>
                  </a:cubicBezTo>
                  <a:cubicBezTo>
                    <a:pt x="6258" y="9771"/>
                    <a:pt x="6256" y="9771"/>
                    <a:pt x="6253" y="9771"/>
                  </a:cubicBezTo>
                  <a:cubicBezTo>
                    <a:pt x="6238" y="9773"/>
                    <a:pt x="6223" y="9773"/>
                    <a:pt x="6208" y="9773"/>
                  </a:cubicBezTo>
                  <a:cubicBezTo>
                    <a:pt x="6034" y="9773"/>
                    <a:pt x="5885" y="9676"/>
                    <a:pt x="5508" y="9421"/>
                  </a:cubicBezTo>
                  <a:lnTo>
                    <a:pt x="5410" y="9358"/>
                  </a:lnTo>
                  <a:cubicBezTo>
                    <a:pt x="4939" y="9043"/>
                    <a:pt x="4368" y="8858"/>
                    <a:pt x="4221" y="8858"/>
                  </a:cubicBezTo>
                  <a:cubicBezTo>
                    <a:pt x="4210" y="8858"/>
                    <a:pt x="4201" y="8859"/>
                    <a:pt x="4195" y="8861"/>
                  </a:cubicBezTo>
                  <a:cubicBezTo>
                    <a:pt x="4140" y="8888"/>
                    <a:pt x="4077" y="8917"/>
                    <a:pt x="4013" y="8917"/>
                  </a:cubicBezTo>
                  <a:cubicBezTo>
                    <a:pt x="3950" y="8917"/>
                    <a:pt x="3888" y="8890"/>
                    <a:pt x="3831" y="8805"/>
                  </a:cubicBezTo>
                  <a:cubicBezTo>
                    <a:pt x="3810" y="8777"/>
                    <a:pt x="3778" y="8756"/>
                    <a:pt x="3743" y="8753"/>
                  </a:cubicBezTo>
                  <a:cubicBezTo>
                    <a:pt x="3731" y="8751"/>
                    <a:pt x="3719" y="8750"/>
                    <a:pt x="3708" y="8750"/>
                  </a:cubicBezTo>
                  <a:cubicBezTo>
                    <a:pt x="3643" y="8750"/>
                    <a:pt x="3580" y="8774"/>
                    <a:pt x="3530" y="8812"/>
                  </a:cubicBezTo>
                  <a:cubicBezTo>
                    <a:pt x="3487" y="8844"/>
                    <a:pt x="3445" y="8854"/>
                    <a:pt x="3404" y="8854"/>
                  </a:cubicBezTo>
                  <a:cubicBezTo>
                    <a:pt x="3353" y="8854"/>
                    <a:pt x="3305" y="8838"/>
                    <a:pt x="3260" y="8823"/>
                  </a:cubicBezTo>
                  <a:cubicBezTo>
                    <a:pt x="3203" y="8798"/>
                    <a:pt x="3140" y="8785"/>
                    <a:pt x="3077" y="8785"/>
                  </a:cubicBezTo>
                  <a:cubicBezTo>
                    <a:pt x="3051" y="8785"/>
                    <a:pt x="3026" y="8787"/>
                    <a:pt x="3001" y="8791"/>
                  </a:cubicBezTo>
                  <a:cubicBezTo>
                    <a:pt x="2961" y="8801"/>
                    <a:pt x="2923" y="8805"/>
                    <a:pt x="2887" y="8805"/>
                  </a:cubicBezTo>
                  <a:cubicBezTo>
                    <a:pt x="2759" y="8805"/>
                    <a:pt x="2664" y="8748"/>
                    <a:pt x="2623" y="8679"/>
                  </a:cubicBezTo>
                  <a:cubicBezTo>
                    <a:pt x="2588" y="8627"/>
                    <a:pt x="2591" y="8557"/>
                    <a:pt x="2630" y="8508"/>
                  </a:cubicBezTo>
                  <a:cubicBezTo>
                    <a:pt x="2676" y="8455"/>
                    <a:pt x="2763" y="8448"/>
                    <a:pt x="2865" y="8441"/>
                  </a:cubicBezTo>
                  <a:cubicBezTo>
                    <a:pt x="2914" y="8441"/>
                    <a:pt x="2959" y="8434"/>
                    <a:pt x="3005" y="8423"/>
                  </a:cubicBezTo>
                  <a:lnTo>
                    <a:pt x="2980" y="8423"/>
                  </a:lnTo>
                  <a:cubicBezTo>
                    <a:pt x="2879" y="8420"/>
                    <a:pt x="2781" y="8385"/>
                    <a:pt x="2700" y="8329"/>
                  </a:cubicBezTo>
                  <a:cubicBezTo>
                    <a:pt x="2637" y="8285"/>
                    <a:pt x="2580" y="8265"/>
                    <a:pt x="2535" y="8265"/>
                  </a:cubicBezTo>
                  <a:cubicBezTo>
                    <a:pt x="2523" y="8265"/>
                    <a:pt x="2511" y="8266"/>
                    <a:pt x="2500" y="8269"/>
                  </a:cubicBezTo>
                  <a:cubicBezTo>
                    <a:pt x="2455" y="8287"/>
                    <a:pt x="2423" y="8325"/>
                    <a:pt x="2406" y="8371"/>
                  </a:cubicBezTo>
                  <a:cubicBezTo>
                    <a:pt x="2385" y="8427"/>
                    <a:pt x="2336" y="8469"/>
                    <a:pt x="2276" y="8483"/>
                  </a:cubicBezTo>
                  <a:cubicBezTo>
                    <a:pt x="2259" y="8486"/>
                    <a:pt x="2242" y="8487"/>
                    <a:pt x="2225" y="8487"/>
                  </a:cubicBezTo>
                  <a:cubicBezTo>
                    <a:pt x="2148" y="8487"/>
                    <a:pt x="2074" y="8462"/>
                    <a:pt x="2014" y="8413"/>
                  </a:cubicBezTo>
                  <a:lnTo>
                    <a:pt x="2014" y="8416"/>
                  </a:lnTo>
                  <a:cubicBezTo>
                    <a:pt x="2010" y="8427"/>
                    <a:pt x="2003" y="8437"/>
                    <a:pt x="1996" y="8448"/>
                  </a:cubicBezTo>
                  <a:lnTo>
                    <a:pt x="1993" y="8455"/>
                  </a:lnTo>
                  <a:cubicBezTo>
                    <a:pt x="1989" y="8462"/>
                    <a:pt x="1982" y="8472"/>
                    <a:pt x="1975" y="8479"/>
                  </a:cubicBezTo>
                  <a:lnTo>
                    <a:pt x="1968" y="8486"/>
                  </a:lnTo>
                  <a:cubicBezTo>
                    <a:pt x="1965" y="8494"/>
                    <a:pt x="1958" y="8501"/>
                    <a:pt x="1954" y="8508"/>
                  </a:cubicBezTo>
                  <a:lnTo>
                    <a:pt x="1947" y="8515"/>
                  </a:lnTo>
                  <a:cubicBezTo>
                    <a:pt x="1937" y="8522"/>
                    <a:pt x="1930" y="8529"/>
                    <a:pt x="1919" y="8536"/>
                  </a:cubicBezTo>
                  <a:cubicBezTo>
                    <a:pt x="1874" y="8562"/>
                    <a:pt x="1824" y="8575"/>
                    <a:pt x="1773" y="8575"/>
                  </a:cubicBezTo>
                  <a:cubicBezTo>
                    <a:pt x="1744" y="8575"/>
                    <a:pt x="1716" y="8571"/>
                    <a:pt x="1688" y="8564"/>
                  </a:cubicBezTo>
                  <a:cubicBezTo>
                    <a:pt x="1684" y="8563"/>
                    <a:pt x="1679" y="8562"/>
                    <a:pt x="1674" y="8562"/>
                  </a:cubicBezTo>
                  <a:cubicBezTo>
                    <a:pt x="1628" y="8562"/>
                    <a:pt x="1570" y="8607"/>
                    <a:pt x="1513" y="8651"/>
                  </a:cubicBezTo>
                  <a:cubicBezTo>
                    <a:pt x="1436" y="8707"/>
                    <a:pt x="1349" y="8774"/>
                    <a:pt x="1251" y="8774"/>
                  </a:cubicBezTo>
                  <a:cubicBezTo>
                    <a:pt x="1170" y="8784"/>
                    <a:pt x="1097" y="8819"/>
                    <a:pt x="1044" y="8879"/>
                  </a:cubicBezTo>
                  <a:cubicBezTo>
                    <a:pt x="999" y="8921"/>
                    <a:pt x="964" y="8970"/>
                    <a:pt x="943" y="9029"/>
                  </a:cubicBezTo>
                  <a:cubicBezTo>
                    <a:pt x="939" y="9036"/>
                    <a:pt x="939" y="9040"/>
                    <a:pt x="936" y="9047"/>
                  </a:cubicBezTo>
                  <a:cubicBezTo>
                    <a:pt x="922" y="9127"/>
                    <a:pt x="859" y="9183"/>
                    <a:pt x="778" y="9194"/>
                  </a:cubicBezTo>
                  <a:lnTo>
                    <a:pt x="757" y="9201"/>
                  </a:lnTo>
                  <a:lnTo>
                    <a:pt x="729" y="9208"/>
                  </a:lnTo>
                  <a:cubicBezTo>
                    <a:pt x="729" y="9306"/>
                    <a:pt x="726" y="9418"/>
                    <a:pt x="631" y="9530"/>
                  </a:cubicBezTo>
                  <a:cubicBezTo>
                    <a:pt x="607" y="9561"/>
                    <a:pt x="603" y="9565"/>
                    <a:pt x="656" y="9652"/>
                  </a:cubicBezTo>
                  <a:cubicBezTo>
                    <a:pt x="677" y="9680"/>
                    <a:pt x="698" y="9719"/>
                    <a:pt x="722" y="9764"/>
                  </a:cubicBezTo>
                  <a:cubicBezTo>
                    <a:pt x="733" y="9785"/>
                    <a:pt x="743" y="9803"/>
                    <a:pt x="761" y="9817"/>
                  </a:cubicBezTo>
                  <a:cubicBezTo>
                    <a:pt x="806" y="9855"/>
                    <a:pt x="862" y="9880"/>
                    <a:pt x="922" y="9890"/>
                  </a:cubicBezTo>
                  <a:cubicBezTo>
                    <a:pt x="953" y="9897"/>
                    <a:pt x="981" y="9908"/>
                    <a:pt x="1009" y="9918"/>
                  </a:cubicBezTo>
                  <a:cubicBezTo>
                    <a:pt x="1020" y="9922"/>
                    <a:pt x="1027" y="9925"/>
                    <a:pt x="1037" y="9932"/>
                  </a:cubicBezTo>
                  <a:cubicBezTo>
                    <a:pt x="1069" y="9950"/>
                    <a:pt x="1457" y="10237"/>
                    <a:pt x="1457" y="10394"/>
                  </a:cubicBezTo>
                  <a:cubicBezTo>
                    <a:pt x="1457" y="10538"/>
                    <a:pt x="1160" y="10804"/>
                    <a:pt x="1086" y="10853"/>
                  </a:cubicBezTo>
                  <a:cubicBezTo>
                    <a:pt x="1020" y="10899"/>
                    <a:pt x="967" y="10965"/>
                    <a:pt x="939" y="11042"/>
                  </a:cubicBezTo>
                  <a:cubicBezTo>
                    <a:pt x="936" y="11056"/>
                    <a:pt x="936" y="11070"/>
                    <a:pt x="943" y="11084"/>
                  </a:cubicBezTo>
                  <a:lnTo>
                    <a:pt x="964" y="11116"/>
                  </a:lnTo>
                  <a:lnTo>
                    <a:pt x="1006" y="11179"/>
                  </a:lnTo>
                  <a:cubicBezTo>
                    <a:pt x="1118" y="11343"/>
                    <a:pt x="1321" y="11655"/>
                    <a:pt x="1464" y="11914"/>
                  </a:cubicBezTo>
                  <a:cubicBezTo>
                    <a:pt x="1531" y="12036"/>
                    <a:pt x="1552" y="12110"/>
                    <a:pt x="1524" y="12166"/>
                  </a:cubicBezTo>
                  <a:cubicBezTo>
                    <a:pt x="1503" y="12211"/>
                    <a:pt x="1457" y="12239"/>
                    <a:pt x="1408" y="12246"/>
                  </a:cubicBezTo>
                  <a:lnTo>
                    <a:pt x="1391" y="12253"/>
                  </a:lnTo>
                  <a:cubicBezTo>
                    <a:pt x="1349" y="12257"/>
                    <a:pt x="1310" y="12278"/>
                    <a:pt x="1279" y="12309"/>
                  </a:cubicBezTo>
                  <a:cubicBezTo>
                    <a:pt x="1261" y="12334"/>
                    <a:pt x="1251" y="12365"/>
                    <a:pt x="1254" y="12397"/>
                  </a:cubicBezTo>
                  <a:cubicBezTo>
                    <a:pt x="1268" y="12460"/>
                    <a:pt x="1289" y="12519"/>
                    <a:pt x="1324" y="12572"/>
                  </a:cubicBezTo>
                  <a:cubicBezTo>
                    <a:pt x="1342" y="12603"/>
                    <a:pt x="1359" y="12635"/>
                    <a:pt x="1370" y="12670"/>
                  </a:cubicBezTo>
                  <a:cubicBezTo>
                    <a:pt x="1408" y="12779"/>
                    <a:pt x="1310" y="12824"/>
                    <a:pt x="1272" y="12842"/>
                  </a:cubicBezTo>
                  <a:lnTo>
                    <a:pt x="1258" y="12849"/>
                  </a:lnTo>
                  <a:cubicBezTo>
                    <a:pt x="1289" y="12863"/>
                    <a:pt x="1321" y="12880"/>
                    <a:pt x="1356" y="12891"/>
                  </a:cubicBezTo>
                  <a:cubicBezTo>
                    <a:pt x="1433" y="12922"/>
                    <a:pt x="1503" y="12950"/>
                    <a:pt x="1520" y="13013"/>
                  </a:cubicBezTo>
                  <a:cubicBezTo>
                    <a:pt x="1520" y="13020"/>
                    <a:pt x="1520" y="13027"/>
                    <a:pt x="1520" y="13034"/>
                  </a:cubicBezTo>
                  <a:cubicBezTo>
                    <a:pt x="1520" y="13080"/>
                    <a:pt x="1499" y="13122"/>
                    <a:pt x="1464" y="13153"/>
                  </a:cubicBezTo>
                  <a:cubicBezTo>
                    <a:pt x="1443" y="13174"/>
                    <a:pt x="1426" y="13202"/>
                    <a:pt x="1419" y="13234"/>
                  </a:cubicBezTo>
                  <a:cubicBezTo>
                    <a:pt x="1419" y="13237"/>
                    <a:pt x="1419" y="13241"/>
                    <a:pt x="1419" y="13244"/>
                  </a:cubicBezTo>
                  <a:cubicBezTo>
                    <a:pt x="1422" y="13255"/>
                    <a:pt x="1426" y="13262"/>
                    <a:pt x="1429" y="13269"/>
                  </a:cubicBezTo>
                  <a:cubicBezTo>
                    <a:pt x="1461" y="13311"/>
                    <a:pt x="1503" y="13342"/>
                    <a:pt x="1548" y="13363"/>
                  </a:cubicBezTo>
                  <a:cubicBezTo>
                    <a:pt x="1625" y="13409"/>
                    <a:pt x="1716" y="13461"/>
                    <a:pt x="1730" y="13587"/>
                  </a:cubicBezTo>
                  <a:cubicBezTo>
                    <a:pt x="1734" y="13619"/>
                    <a:pt x="1730" y="13650"/>
                    <a:pt x="1716" y="13675"/>
                  </a:cubicBezTo>
                  <a:cubicBezTo>
                    <a:pt x="1678" y="13752"/>
                    <a:pt x="1583" y="13794"/>
                    <a:pt x="1510" y="13829"/>
                  </a:cubicBezTo>
                  <a:cubicBezTo>
                    <a:pt x="1478" y="13839"/>
                    <a:pt x="1450" y="13857"/>
                    <a:pt x="1422" y="13871"/>
                  </a:cubicBezTo>
                  <a:cubicBezTo>
                    <a:pt x="1408" y="13878"/>
                    <a:pt x="1398" y="13885"/>
                    <a:pt x="1391" y="13899"/>
                  </a:cubicBezTo>
                  <a:cubicBezTo>
                    <a:pt x="1391" y="13899"/>
                    <a:pt x="1391" y="13902"/>
                    <a:pt x="1394" y="13906"/>
                  </a:cubicBezTo>
                  <a:cubicBezTo>
                    <a:pt x="1419" y="13944"/>
                    <a:pt x="1548" y="14021"/>
                    <a:pt x="1636" y="14074"/>
                  </a:cubicBezTo>
                  <a:cubicBezTo>
                    <a:pt x="1692" y="14105"/>
                    <a:pt x="1751" y="14144"/>
                    <a:pt x="1811" y="14179"/>
                  </a:cubicBezTo>
                  <a:cubicBezTo>
                    <a:pt x="1909" y="14238"/>
                    <a:pt x="1996" y="14312"/>
                    <a:pt x="2070" y="14396"/>
                  </a:cubicBezTo>
                  <a:cubicBezTo>
                    <a:pt x="2182" y="14522"/>
                    <a:pt x="2234" y="14606"/>
                    <a:pt x="2255" y="14679"/>
                  </a:cubicBezTo>
                  <a:cubicBezTo>
                    <a:pt x="2259" y="14697"/>
                    <a:pt x="2262" y="14718"/>
                    <a:pt x="2262" y="14736"/>
                  </a:cubicBezTo>
                  <a:cubicBezTo>
                    <a:pt x="2262" y="14792"/>
                    <a:pt x="2252" y="14844"/>
                    <a:pt x="2227" y="14897"/>
                  </a:cubicBezTo>
                  <a:cubicBezTo>
                    <a:pt x="2185" y="15016"/>
                    <a:pt x="2063" y="15121"/>
                    <a:pt x="1919" y="15226"/>
                  </a:cubicBezTo>
                  <a:cubicBezTo>
                    <a:pt x="1888" y="15250"/>
                    <a:pt x="1853" y="15275"/>
                    <a:pt x="1818" y="15299"/>
                  </a:cubicBezTo>
                  <a:cubicBezTo>
                    <a:pt x="1727" y="15362"/>
                    <a:pt x="1643" y="15429"/>
                    <a:pt x="1559" y="15502"/>
                  </a:cubicBezTo>
                  <a:cubicBezTo>
                    <a:pt x="1503" y="15548"/>
                    <a:pt x="1454" y="15607"/>
                    <a:pt x="1419" y="15677"/>
                  </a:cubicBezTo>
                  <a:cubicBezTo>
                    <a:pt x="1370" y="15779"/>
                    <a:pt x="1296" y="15866"/>
                    <a:pt x="1205" y="15933"/>
                  </a:cubicBezTo>
                  <a:cubicBezTo>
                    <a:pt x="1107" y="16006"/>
                    <a:pt x="1006" y="16076"/>
                    <a:pt x="901" y="16136"/>
                  </a:cubicBezTo>
                  <a:cubicBezTo>
                    <a:pt x="792" y="16199"/>
                    <a:pt x="691" y="16265"/>
                    <a:pt x="596" y="16342"/>
                  </a:cubicBezTo>
                  <a:cubicBezTo>
                    <a:pt x="586" y="16353"/>
                    <a:pt x="575" y="16363"/>
                    <a:pt x="565" y="16374"/>
                  </a:cubicBezTo>
                  <a:cubicBezTo>
                    <a:pt x="554" y="16384"/>
                    <a:pt x="544" y="16395"/>
                    <a:pt x="533" y="16409"/>
                  </a:cubicBezTo>
                  <a:lnTo>
                    <a:pt x="526" y="16416"/>
                  </a:lnTo>
                  <a:lnTo>
                    <a:pt x="498" y="16444"/>
                  </a:lnTo>
                  <a:lnTo>
                    <a:pt x="494" y="16451"/>
                  </a:lnTo>
                  <a:cubicBezTo>
                    <a:pt x="473" y="16475"/>
                    <a:pt x="452" y="16503"/>
                    <a:pt x="428" y="16535"/>
                  </a:cubicBezTo>
                  <a:lnTo>
                    <a:pt x="456" y="16521"/>
                  </a:lnTo>
                  <a:cubicBezTo>
                    <a:pt x="479" y="16509"/>
                    <a:pt x="501" y="16504"/>
                    <a:pt x="521" y="16504"/>
                  </a:cubicBezTo>
                  <a:cubicBezTo>
                    <a:pt x="620" y="16504"/>
                    <a:pt x="693" y="16622"/>
                    <a:pt x="754" y="16720"/>
                  </a:cubicBezTo>
                  <a:cubicBezTo>
                    <a:pt x="785" y="16780"/>
                    <a:pt x="827" y="16836"/>
                    <a:pt x="873" y="16885"/>
                  </a:cubicBezTo>
                  <a:cubicBezTo>
                    <a:pt x="922" y="16924"/>
                    <a:pt x="1009" y="16924"/>
                    <a:pt x="1093" y="16924"/>
                  </a:cubicBezTo>
                  <a:cubicBezTo>
                    <a:pt x="1195" y="16924"/>
                    <a:pt x="1296" y="16924"/>
                    <a:pt x="1359" y="16997"/>
                  </a:cubicBezTo>
                  <a:cubicBezTo>
                    <a:pt x="1415" y="17057"/>
                    <a:pt x="1401" y="17106"/>
                    <a:pt x="1391" y="17130"/>
                  </a:cubicBezTo>
                  <a:cubicBezTo>
                    <a:pt x="1380" y="17148"/>
                    <a:pt x="1356" y="17194"/>
                    <a:pt x="1220" y="17194"/>
                  </a:cubicBezTo>
                  <a:cubicBezTo>
                    <a:pt x="1174" y="17194"/>
                    <a:pt x="1116" y="17189"/>
                    <a:pt x="1041" y="17176"/>
                  </a:cubicBezTo>
                  <a:cubicBezTo>
                    <a:pt x="1024" y="17173"/>
                    <a:pt x="1009" y="17172"/>
                    <a:pt x="995" y="17172"/>
                  </a:cubicBezTo>
                  <a:cubicBezTo>
                    <a:pt x="933" y="17172"/>
                    <a:pt x="887" y="17195"/>
                    <a:pt x="813" y="17235"/>
                  </a:cubicBezTo>
                  <a:cubicBezTo>
                    <a:pt x="729" y="17281"/>
                    <a:pt x="638" y="17323"/>
                    <a:pt x="547" y="17351"/>
                  </a:cubicBezTo>
                  <a:cubicBezTo>
                    <a:pt x="414" y="17396"/>
                    <a:pt x="389" y="17435"/>
                    <a:pt x="361" y="17477"/>
                  </a:cubicBezTo>
                  <a:cubicBezTo>
                    <a:pt x="354" y="17487"/>
                    <a:pt x="347" y="17498"/>
                    <a:pt x="340" y="17508"/>
                  </a:cubicBezTo>
                  <a:lnTo>
                    <a:pt x="344" y="17519"/>
                  </a:lnTo>
                  <a:lnTo>
                    <a:pt x="347" y="17529"/>
                  </a:lnTo>
                  <a:lnTo>
                    <a:pt x="354" y="17547"/>
                  </a:lnTo>
                  <a:lnTo>
                    <a:pt x="358" y="17557"/>
                  </a:lnTo>
                  <a:cubicBezTo>
                    <a:pt x="358" y="17561"/>
                    <a:pt x="361" y="17568"/>
                    <a:pt x="361" y="17571"/>
                  </a:cubicBezTo>
                  <a:cubicBezTo>
                    <a:pt x="365" y="17575"/>
                    <a:pt x="361" y="17578"/>
                    <a:pt x="365" y="17582"/>
                  </a:cubicBezTo>
                  <a:cubicBezTo>
                    <a:pt x="368" y="17585"/>
                    <a:pt x="365" y="17592"/>
                    <a:pt x="368" y="17596"/>
                  </a:cubicBezTo>
                  <a:cubicBezTo>
                    <a:pt x="372" y="17603"/>
                    <a:pt x="368" y="17603"/>
                    <a:pt x="368" y="17603"/>
                  </a:cubicBezTo>
                  <a:cubicBezTo>
                    <a:pt x="368" y="17610"/>
                    <a:pt x="368" y="17617"/>
                    <a:pt x="368" y="17624"/>
                  </a:cubicBezTo>
                  <a:cubicBezTo>
                    <a:pt x="368" y="17631"/>
                    <a:pt x="368" y="17638"/>
                    <a:pt x="368" y="17645"/>
                  </a:cubicBezTo>
                  <a:lnTo>
                    <a:pt x="368" y="17652"/>
                  </a:lnTo>
                  <a:cubicBezTo>
                    <a:pt x="368" y="17652"/>
                    <a:pt x="368" y="17659"/>
                    <a:pt x="365" y="17666"/>
                  </a:cubicBezTo>
                  <a:lnTo>
                    <a:pt x="361" y="17673"/>
                  </a:lnTo>
                  <a:cubicBezTo>
                    <a:pt x="361" y="17676"/>
                    <a:pt x="361" y="17680"/>
                    <a:pt x="358" y="17683"/>
                  </a:cubicBezTo>
                  <a:lnTo>
                    <a:pt x="354" y="17690"/>
                  </a:lnTo>
                  <a:lnTo>
                    <a:pt x="351" y="17701"/>
                  </a:lnTo>
                  <a:lnTo>
                    <a:pt x="347" y="17708"/>
                  </a:lnTo>
                  <a:lnTo>
                    <a:pt x="340" y="17718"/>
                  </a:lnTo>
                  <a:lnTo>
                    <a:pt x="337" y="17722"/>
                  </a:lnTo>
                  <a:lnTo>
                    <a:pt x="330" y="17732"/>
                  </a:lnTo>
                  <a:lnTo>
                    <a:pt x="326" y="17739"/>
                  </a:lnTo>
                  <a:lnTo>
                    <a:pt x="319" y="17746"/>
                  </a:lnTo>
                  <a:lnTo>
                    <a:pt x="316" y="17753"/>
                  </a:lnTo>
                  <a:lnTo>
                    <a:pt x="305" y="17760"/>
                  </a:lnTo>
                  <a:lnTo>
                    <a:pt x="302" y="17767"/>
                  </a:lnTo>
                  <a:lnTo>
                    <a:pt x="295" y="17774"/>
                  </a:lnTo>
                  <a:lnTo>
                    <a:pt x="291" y="17778"/>
                  </a:lnTo>
                  <a:lnTo>
                    <a:pt x="281" y="17792"/>
                  </a:lnTo>
                  <a:cubicBezTo>
                    <a:pt x="260" y="17809"/>
                    <a:pt x="242" y="17830"/>
                    <a:pt x="225" y="17855"/>
                  </a:cubicBezTo>
                  <a:lnTo>
                    <a:pt x="221" y="17858"/>
                  </a:lnTo>
                  <a:lnTo>
                    <a:pt x="221" y="17862"/>
                  </a:lnTo>
                  <a:cubicBezTo>
                    <a:pt x="218" y="17869"/>
                    <a:pt x="211" y="17876"/>
                    <a:pt x="207" y="17886"/>
                  </a:cubicBezTo>
                  <a:cubicBezTo>
                    <a:pt x="200" y="17907"/>
                    <a:pt x="190" y="17925"/>
                    <a:pt x="176" y="17946"/>
                  </a:cubicBezTo>
                  <a:cubicBezTo>
                    <a:pt x="151" y="17988"/>
                    <a:pt x="120" y="18026"/>
                    <a:pt x="85" y="18061"/>
                  </a:cubicBezTo>
                  <a:cubicBezTo>
                    <a:pt x="50" y="18100"/>
                    <a:pt x="36" y="18117"/>
                    <a:pt x="32" y="18145"/>
                  </a:cubicBezTo>
                  <a:cubicBezTo>
                    <a:pt x="29" y="18194"/>
                    <a:pt x="32" y="18243"/>
                    <a:pt x="46" y="18289"/>
                  </a:cubicBezTo>
                  <a:cubicBezTo>
                    <a:pt x="57" y="18341"/>
                    <a:pt x="64" y="18394"/>
                    <a:pt x="71" y="18446"/>
                  </a:cubicBezTo>
                  <a:cubicBezTo>
                    <a:pt x="78" y="18565"/>
                    <a:pt x="92" y="18583"/>
                    <a:pt x="158" y="18681"/>
                  </a:cubicBezTo>
                  <a:lnTo>
                    <a:pt x="179" y="18705"/>
                  </a:lnTo>
                  <a:cubicBezTo>
                    <a:pt x="200" y="18733"/>
                    <a:pt x="214" y="18768"/>
                    <a:pt x="214" y="18803"/>
                  </a:cubicBezTo>
                  <a:cubicBezTo>
                    <a:pt x="214" y="18814"/>
                    <a:pt x="214" y="18824"/>
                    <a:pt x="211" y="18835"/>
                  </a:cubicBezTo>
                  <a:cubicBezTo>
                    <a:pt x="193" y="18898"/>
                    <a:pt x="137" y="18923"/>
                    <a:pt x="85" y="18944"/>
                  </a:cubicBezTo>
                  <a:cubicBezTo>
                    <a:pt x="64" y="18951"/>
                    <a:pt x="43" y="18961"/>
                    <a:pt x="22" y="18975"/>
                  </a:cubicBezTo>
                  <a:cubicBezTo>
                    <a:pt x="1" y="18993"/>
                    <a:pt x="15" y="19035"/>
                    <a:pt x="22" y="19056"/>
                  </a:cubicBezTo>
                  <a:cubicBezTo>
                    <a:pt x="29" y="19073"/>
                    <a:pt x="39" y="19094"/>
                    <a:pt x="50" y="19112"/>
                  </a:cubicBezTo>
                  <a:lnTo>
                    <a:pt x="53" y="19115"/>
                  </a:lnTo>
                  <a:cubicBezTo>
                    <a:pt x="57" y="19122"/>
                    <a:pt x="64" y="19129"/>
                    <a:pt x="71" y="19136"/>
                  </a:cubicBezTo>
                  <a:lnTo>
                    <a:pt x="74" y="19147"/>
                  </a:lnTo>
                  <a:cubicBezTo>
                    <a:pt x="81" y="19154"/>
                    <a:pt x="88" y="19161"/>
                    <a:pt x="99" y="19171"/>
                  </a:cubicBezTo>
                  <a:cubicBezTo>
                    <a:pt x="200" y="19266"/>
                    <a:pt x="228" y="19416"/>
                    <a:pt x="172" y="19546"/>
                  </a:cubicBezTo>
                  <a:cubicBezTo>
                    <a:pt x="162" y="19570"/>
                    <a:pt x="204" y="19661"/>
                    <a:pt x="330" y="19787"/>
                  </a:cubicBezTo>
                  <a:cubicBezTo>
                    <a:pt x="386" y="19847"/>
                    <a:pt x="407" y="19934"/>
                    <a:pt x="424" y="20022"/>
                  </a:cubicBezTo>
                  <a:cubicBezTo>
                    <a:pt x="431" y="20064"/>
                    <a:pt x="445" y="20102"/>
                    <a:pt x="459" y="20141"/>
                  </a:cubicBezTo>
                  <a:cubicBezTo>
                    <a:pt x="463" y="20148"/>
                    <a:pt x="466" y="20155"/>
                    <a:pt x="470" y="20158"/>
                  </a:cubicBezTo>
                  <a:cubicBezTo>
                    <a:pt x="523" y="20203"/>
                    <a:pt x="573" y="20240"/>
                    <a:pt x="642" y="20240"/>
                  </a:cubicBezTo>
                  <a:cubicBezTo>
                    <a:pt x="660" y="20240"/>
                    <a:pt x="680" y="20238"/>
                    <a:pt x="701" y="20232"/>
                  </a:cubicBezTo>
                  <a:cubicBezTo>
                    <a:pt x="733" y="20223"/>
                    <a:pt x="764" y="20218"/>
                    <a:pt x="794" y="20218"/>
                  </a:cubicBezTo>
                  <a:cubicBezTo>
                    <a:pt x="901" y="20218"/>
                    <a:pt x="989" y="20278"/>
                    <a:pt x="1055" y="20396"/>
                  </a:cubicBezTo>
                  <a:cubicBezTo>
                    <a:pt x="1066" y="20416"/>
                    <a:pt x="1076" y="20427"/>
                    <a:pt x="1098" y="20427"/>
                  </a:cubicBezTo>
                  <a:cubicBezTo>
                    <a:pt x="1124" y="20427"/>
                    <a:pt x="1167" y="20411"/>
                    <a:pt x="1251" y="20375"/>
                  </a:cubicBezTo>
                  <a:lnTo>
                    <a:pt x="1261" y="20368"/>
                  </a:lnTo>
                  <a:cubicBezTo>
                    <a:pt x="1290" y="20355"/>
                    <a:pt x="1324" y="20349"/>
                    <a:pt x="1360" y="20349"/>
                  </a:cubicBezTo>
                  <a:cubicBezTo>
                    <a:pt x="1487" y="20349"/>
                    <a:pt x="1650" y="20422"/>
                    <a:pt x="1800" y="20501"/>
                  </a:cubicBezTo>
                  <a:lnTo>
                    <a:pt x="1828" y="20515"/>
                  </a:lnTo>
                  <a:cubicBezTo>
                    <a:pt x="1916" y="20557"/>
                    <a:pt x="1912" y="20683"/>
                    <a:pt x="1909" y="20813"/>
                  </a:cubicBezTo>
                  <a:lnTo>
                    <a:pt x="1909" y="20946"/>
                  </a:lnTo>
                  <a:cubicBezTo>
                    <a:pt x="1912" y="20992"/>
                    <a:pt x="1909" y="21041"/>
                    <a:pt x="1902" y="21090"/>
                  </a:cubicBezTo>
                  <a:cubicBezTo>
                    <a:pt x="1888" y="21198"/>
                    <a:pt x="1888" y="21251"/>
                    <a:pt x="1940" y="21282"/>
                  </a:cubicBezTo>
                  <a:cubicBezTo>
                    <a:pt x="2000" y="21324"/>
                    <a:pt x="2045" y="21387"/>
                    <a:pt x="2070" y="21454"/>
                  </a:cubicBezTo>
                  <a:lnTo>
                    <a:pt x="2077" y="21478"/>
                  </a:lnTo>
                  <a:cubicBezTo>
                    <a:pt x="2091" y="21510"/>
                    <a:pt x="2105" y="21538"/>
                    <a:pt x="2122" y="21566"/>
                  </a:cubicBezTo>
                  <a:cubicBezTo>
                    <a:pt x="2136" y="21590"/>
                    <a:pt x="2157" y="21608"/>
                    <a:pt x="2185" y="21615"/>
                  </a:cubicBezTo>
                  <a:cubicBezTo>
                    <a:pt x="2255" y="21646"/>
                    <a:pt x="2318" y="21699"/>
                    <a:pt x="2364" y="21765"/>
                  </a:cubicBezTo>
                  <a:cubicBezTo>
                    <a:pt x="2378" y="21783"/>
                    <a:pt x="2392" y="21804"/>
                    <a:pt x="2409" y="21821"/>
                  </a:cubicBezTo>
                  <a:cubicBezTo>
                    <a:pt x="2427" y="21853"/>
                    <a:pt x="2451" y="21881"/>
                    <a:pt x="2476" y="21905"/>
                  </a:cubicBezTo>
                  <a:cubicBezTo>
                    <a:pt x="2479" y="21909"/>
                    <a:pt x="2486" y="21916"/>
                    <a:pt x="2493" y="21916"/>
                  </a:cubicBezTo>
                  <a:cubicBezTo>
                    <a:pt x="2606" y="21944"/>
                    <a:pt x="2812" y="22105"/>
                    <a:pt x="2844" y="22245"/>
                  </a:cubicBezTo>
                  <a:cubicBezTo>
                    <a:pt x="2882" y="22416"/>
                    <a:pt x="2613" y="22535"/>
                    <a:pt x="2525" y="22574"/>
                  </a:cubicBezTo>
                  <a:cubicBezTo>
                    <a:pt x="2518" y="22577"/>
                    <a:pt x="2507" y="22581"/>
                    <a:pt x="2497" y="22584"/>
                  </a:cubicBezTo>
                  <a:cubicBezTo>
                    <a:pt x="2486" y="22584"/>
                    <a:pt x="2476" y="22588"/>
                    <a:pt x="2465" y="22588"/>
                  </a:cubicBezTo>
                  <a:lnTo>
                    <a:pt x="2434" y="22588"/>
                  </a:lnTo>
                  <a:cubicBezTo>
                    <a:pt x="2381" y="22577"/>
                    <a:pt x="2325" y="22560"/>
                    <a:pt x="2276" y="22535"/>
                  </a:cubicBezTo>
                  <a:lnTo>
                    <a:pt x="2245" y="22521"/>
                  </a:lnTo>
                  <a:cubicBezTo>
                    <a:pt x="2220" y="22511"/>
                    <a:pt x="2196" y="22504"/>
                    <a:pt x="2168" y="22497"/>
                  </a:cubicBezTo>
                  <a:lnTo>
                    <a:pt x="2161" y="22497"/>
                  </a:lnTo>
                  <a:cubicBezTo>
                    <a:pt x="2136" y="22525"/>
                    <a:pt x="2164" y="22609"/>
                    <a:pt x="2196" y="22717"/>
                  </a:cubicBezTo>
                  <a:cubicBezTo>
                    <a:pt x="2217" y="22784"/>
                    <a:pt x="2241" y="22861"/>
                    <a:pt x="2262" y="22948"/>
                  </a:cubicBezTo>
                  <a:cubicBezTo>
                    <a:pt x="2273" y="23022"/>
                    <a:pt x="2297" y="23092"/>
                    <a:pt x="2332" y="23155"/>
                  </a:cubicBezTo>
                  <a:cubicBezTo>
                    <a:pt x="2350" y="23180"/>
                    <a:pt x="2367" y="23190"/>
                    <a:pt x="2427" y="23190"/>
                  </a:cubicBezTo>
                  <a:cubicBezTo>
                    <a:pt x="2479" y="23187"/>
                    <a:pt x="2532" y="23162"/>
                    <a:pt x="2567" y="23124"/>
                  </a:cubicBezTo>
                  <a:cubicBezTo>
                    <a:pt x="2591" y="23103"/>
                    <a:pt x="2620" y="23082"/>
                    <a:pt x="2648" y="23064"/>
                  </a:cubicBezTo>
                  <a:cubicBezTo>
                    <a:pt x="2665" y="23054"/>
                    <a:pt x="2683" y="23050"/>
                    <a:pt x="2700" y="23047"/>
                  </a:cubicBezTo>
                  <a:cubicBezTo>
                    <a:pt x="2725" y="23041"/>
                    <a:pt x="2750" y="23039"/>
                    <a:pt x="2775" y="23039"/>
                  </a:cubicBezTo>
                  <a:cubicBezTo>
                    <a:pt x="2801" y="23039"/>
                    <a:pt x="2826" y="23041"/>
                    <a:pt x="2851" y="23047"/>
                  </a:cubicBezTo>
                  <a:lnTo>
                    <a:pt x="2882" y="23047"/>
                  </a:lnTo>
                  <a:cubicBezTo>
                    <a:pt x="2905" y="23052"/>
                    <a:pt x="2928" y="23054"/>
                    <a:pt x="2950" y="23054"/>
                  </a:cubicBezTo>
                  <a:cubicBezTo>
                    <a:pt x="2973" y="23054"/>
                    <a:pt x="2996" y="23052"/>
                    <a:pt x="3019" y="23047"/>
                  </a:cubicBezTo>
                  <a:lnTo>
                    <a:pt x="3040" y="23040"/>
                  </a:lnTo>
                  <a:cubicBezTo>
                    <a:pt x="3106" y="23022"/>
                    <a:pt x="3176" y="23015"/>
                    <a:pt x="3246" y="23015"/>
                  </a:cubicBezTo>
                  <a:cubicBezTo>
                    <a:pt x="3369" y="23015"/>
                    <a:pt x="3498" y="23043"/>
                    <a:pt x="3551" y="23124"/>
                  </a:cubicBezTo>
                  <a:cubicBezTo>
                    <a:pt x="3558" y="23138"/>
                    <a:pt x="3568" y="23152"/>
                    <a:pt x="3575" y="23166"/>
                  </a:cubicBezTo>
                  <a:cubicBezTo>
                    <a:pt x="3621" y="23267"/>
                    <a:pt x="3649" y="23379"/>
                    <a:pt x="3649" y="23491"/>
                  </a:cubicBezTo>
                  <a:cubicBezTo>
                    <a:pt x="3649" y="23530"/>
                    <a:pt x="3642" y="23568"/>
                    <a:pt x="3624" y="23600"/>
                  </a:cubicBezTo>
                  <a:cubicBezTo>
                    <a:pt x="3610" y="23624"/>
                    <a:pt x="3645" y="23677"/>
                    <a:pt x="3680" y="23733"/>
                  </a:cubicBezTo>
                  <a:cubicBezTo>
                    <a:pt x="3705" y="23768"/>
                    <a:pt x="3726" y="23803"/>
                    <a:pt x="3747" y="23841"/>
                  </a:cubicBezTo>
                  <a:cubicBezTo>
                    <a:pt x="3768" y="23887"/>
                    <a:pt x="3876" y="23887"/>
                    <a:pt x="3953" y="23887"/>
                  </a:cubicBezTo>
                  <a:lnTo>
                    <a:pt x="3999" y="23887"/>
                  </a:lnTo>
                  <a:cubicBezTo>
                    <a:pt x="4037" y="23887"/>
                    <a:pt x="4079" y="23894"/>
                    <a:pt x="4114" y="23908"/>
                  </a:cubicBezTo>
                  <a:cubicBezTo>
                    <a:pt x="4191" y="23939"/>
                    <a:pt x="4317" y="24090"/>
                    <a:pt x="4373" y="24233"/>
                  </a:cubicBezTo>
                  <a:cubicBezTo>
                    <a:pt x="4377" y="24247"/>
                    <a:pt x="4380" y="24258"/>
                    <a:pt x="4387" y="24272"/>
                  </a:cubicBezTo>
                  <a:cubicBezTo>
                    <a:pt x="4394" y="24296"/>
                    <a:pt x="4398" y="24321"/>
                    <a:pt x="4401" y="24345"/>
                  </a:cubicBezTo>
                  <a:cubicBezTo>
                    <a:pt x="4401" y="24356"/>
                    <a:pt x="4401" y="24370"/>
                    <a:pt x="4401" y="24380"/>
                  </a:cubicBezTo>
                  <a:cubicBezTo>
                    <a:pt x="4398" y="24391"/>
                    <a:pt x="4398" y="24401"/>
                    <a:pt x="4394" y="24412"/>
                  </a:cubicBezTo>
                  <a:cubicBezTo>
                    <a:pt x="4387" y="24429"/>
                    <a:pt x="4394" y="24433"/>
                    <a:pt x="4394" y="24436"/>
                  </a:cubicBezTo>
                  <a:cubicBezTo>
                    <a:pt x="4414" y="24446"/>
                    <a:pt x="4436" y="24451"/>
                    <a:pt x="4458" y="24451"/>
                  </a:cubicBezTo>
                  <a:cubicBezTo>
                    <a:pt x="4476" y="24451"/>
                    <a:pt x="4494" y="24448"/>
                    <a:pt x="4510" y="24440"/>
                  </a:cubicBezTo>
                  <a:cubicBezTo>
                    <a:pt x="4532" y="24430"/>
                    <a:pt x="4554" y="24426"/>
                    <a:pt x="4575" y="24426"/>
                  </a:cubicBezTo>
                  <a:cubicBezTo>
                    <a:pt x="4647" y="24426"/>
                    <a:pt x="4713" y="24474"/>
                    <a:pt x="4773" y="24520"/>
                  </a:cubicBezTo>
                  <a:cubicBezTo>
                    <a:pt x="4794" y="24534"/>
                    <a:pt x="4815" y="24552"/>
                    <a:pt x="4839" y="24566"/>
                  </a:cubicBezTo>
                  <a:cubicBezTo>
                    <a:pt x="4860" y="24580"/>
                    <a:pt x="4885" y="24590"/>
                    <a:pt x="4909" y="24590"/>
                  </a:cubicBezTo>
                  <a:cubicBezTo>
                    <a:pt x="4958" y="24590"/>
                    <a:pt x="5007" y="24573"/>
                    <a:pt x="5046" y="24541"/>
                  </a:cubicBezTo>
                  <a:cubicBezTo>
                    <a:pt x="5111" y="24501"/>
                    <a:pt x="5205" y="24461"/>
                    <a:pt x="5289" y="24461"/>
                  </a:cubicBezTo>
                  <a:cubicBezTo>
                    <a:pt x="5308" y="24461"/>
                    <a:pt x="5326" y="24463"/>
                    <a:pt x="5343" y="24468"/>
                  </a:cubicBezTo>
                  <a:cubicBezTo>
                    <a:pt x="5354" y="24471"/>
                    <a:pt x="5364" y="24475"/>
                    <a:pt x="5375" y="24478"/>
                  </a:cubicBezTo>
                  <a:cubicBezTo>
                    <a:pt x="5403" y="24492"/>
                    <a:pt x="5427" y="24513"/>
                    <a:pt x="5441" y="24541"/>
                  </a:cubicBezTo>
                  <a:cubicBezTo>
                    <a:pt x="5466" y="24576"/>
                    <a:pt x="5494" y="24608"/>
                    <a:pt x="5522" y="24636"/>
                  </a:cubicBezTo>
                  <a:lnTo>
                    <a:pt x="5557" y="24674"/>
                  </a:lnTo>
                  <a:cubicBezTo>
                    <a:pt x="5606" y="24716"/>
                    <a:pt x="5648" y="24765"/>
                    <a:pt x="5683" y="24821"/>
                  </a:cubicBezTo>
                  <a:cubicBezTo>
                    <a:pt x="5707" y="24825"/>
                    <a:pt x="5746" y="24825"/>
                    <a:pt x="5774" y="24825"/>
                  </a:cubicBezTo>
                  <a:cubicBezTo>
                    <a:pt x="5882" y="24828"/>
                    <a:pt x="6015" y="24832"/>
                    <a:pt x="6106" y="24881"/>
                  </a:cubicBezTo>
                  <a:cubicBezTo>
                    <a:pt x="6166" y="24905"/>
                    <a:pt x="6232" y="24923"/>
                    <a:pt x="6299" y="24926"/>
                  </a:cubicBezTo>
                  <a:lnTo>
                    <a:pt x="6362" y="24937"/>
                  </a:lnTo>
                  <a:cubicBezTo>
                    <a:pt x="6435" y="24947"/>
                    <a:pt x="6505" y="24968"/>
                    <a:pt x="6568" y="25000"/>
                  </a:cubicBezTo>
                  <a:cubicBezTo>
                    <a:pt x="6603" y="25021"/>
                    <a:pt x="6638" y="25035"/>
                    <a:pt x="6673" y="25052"/>
                  </a:cubicBezTo>
                  <a:lnTo>
                    <a:pt x="6708" y="25063"/>
                  </a:lnTo>
                  <a:cubicBezTo>
                    <a:pt x="6733" y="25073"/>
                    <a:pt x="6758" y="25084"/>
                    <a:pt x="6782" y="25095"/>
                  </a:cubicBezTo>
                  <a:cubicBezTo>
                    <a:pt x="6852" y="25126"/>
                    <a:pt x="6908" y="25168"/>
                    <a:pt x="6915" y="25245"/>
                  </a:cubicBezTo>
                  <a:cubicBezTo>
                    <a:pt x="6922" y="25284"/>
                    <a:pt x="6912" y="25322"/>
                    <a:pt x="6891" y="25354"/>
                  </a:cubicBezTo>
                  <a:cubicBezTo>
                    <a:pt x="6866" y="25392"/>
                    <a:pt x="6835" y="25427"/>
                    <a:pt x="6796" y="25459"/>
                  </a:cubicBezTo>
                  <a:lnTo>
                    <a:pt x="6772" y="25480"/>
                  </a:lnTo>
                  <a:lnTo>
                    <a:pt x="6789" y="25494"/>
                  </a:lnTo>
                  <a:cubicBezTo>
                    <a:pt x="6831" y="25525"/>
                    <a:pt x="6894" y="25567"/>
                    <a:pt x="6894" y="25641"/>
                  </a:cubicBezTo>
                  <a:cubicBezTo>
                    <a:pt x="6894" y="25728"/>
                    <a:pt x="6807" y="25760"/>
                    <a:pt x="6750" y="25777"/>
                  </a:cubicBezTo>
                  <a:cubicBezTo>
                    <a:pt x="6733" y="25784"/>
                    <a:pt x="6715" y="25791"/>
                    <a:pt x="6698" y="25798"/>
                  </a:cubicBezTo>
                  <a:cubicBezTo>
                    <a:pt x="6715" y="25823"/>
                    <a:pt x="6729" y="25844"/>
                    <a:pt x="6747" y="25861"/>
                  </a:cubicBezTo>
                  <a:cubicBezTo>
                    <a:pt x="6775" y="25889"/>
                    <a:pt x="6800" y="25921"/>
                    <a:pt x="6817" y="25956"/>
                  </a:cubicBezTo>
                  <a:cubicBezTo>
                    <a:pt x="6838" y="26012"/>
                    <a:pt x="6810" y="26089"/>
                    <a:pt x="6761" y="26204"/>
                  </a:cubicBezTo>
                  <a:cubicBezTo>
                    <a:pt x="6747" y="26239"/>
                    <a:pt x="6733" y="26274"/>
                    <a:pt x="6722" y="26309"/>
                  </a:cubicBezTo>
                  <a:cubicBezTo>
                    <a:pt x="6722" y="26334"/>
                    <a:pt x="6712" y="26355"/>
                    <a:pt x="6694" y="26369"/>
                  </a:cubicBezTo>
                  <a:cubicBezTo>
                    <a:pt x="6672" y="26389"/>
                    <a:pt x="6638" y="26398"/>
                    <a:pt x="6579" y="26398"/>
                  </a:cubicBezTo>
                  <a:cubicBezTo>
                    <a:pt x="6546" y="26398"/>
                    <a:pt x="6505" y="26395"/>
                    <a:pt x="6453" y="26390"/>
                  </a:cubicBezTo>
                  <a:lnTo>
                    <a:pt x="6446" y="26390"/>
                  </a:lnTo>
                  <a:lnTo>
                    <a:pt x="6334" y="26376"/>
                  </a:lnTo>
                  <a:cubicBezTo>
                    <a:pt x="6281" y="26369"/>
                    <a:pt x="6229" y="26362"/>
                    <a:pt x="6208" y="26362"/>
                  </a:cubicBezTo>
                  <a:cubicBezTo>
                    <a:pt x="6187" y="26362"/>
                    <a:pt x="6085" y="26449"/>
                    <a:pt x="6026" y="26498"/>
                  </a:cubicBezTo>
                  <a:cubicBezTo>
                    <a:pt x="5928" y="26582"/>
                    <a:pt x="5861" y="26635"/>
                    <a:pt x="5809" y="26649"/>
                  </a:cubicBezTo>
                  <a:cubicBezTo>
                    <a:pt x="5809" y="26656"/>
                    <a:pt x="5809" y="26659"/>
                    <a:pt x="5809" y="26663"/>
                  </a:cubicBezTo>
                  <a:lnTo>
                    <a:pt x="5809" y="26670"/>
                  </a:lnTo>
                  <a:lnTo>
                    <a:pt x="5809" y="26680"/>
                  </a:lnTo>
                  <a:lnTo>
                    <a:pt x="5809" y="26687"/>
                  </a:lnTo>
                  <a:cubicBezTo>
                    <a:pt x="5809" y="26691"/>
                    <a:pt x="5809" y="26698"/>
                    <a:pt x="5812" y="26705"/>
                  </a:cubicBezTo>
                  <a:lnTo>
                    <a:pt x="5812" y="26712"/>
                  </a:lnTo>
                  <a:lnTo>
                    <a:pt x="5812" y="26726"/>
                  </a:lnTo>
                  <a:lnTo>
                    <a:pt x="5812" y="26733"/>
                  </a:lnTo>
                  <a:lnTo>
                    <a:pt x="5812" y="26747"/>
                  </a:lnTo>
                  <a:lnTo>
                    <a:pt x="5816" y="26761"/>
                  </a:lnTo>
                  <a:lnTo>
                    <a:pt x="5819" y="26771"/>
                  </a:lnTo>
                  <a:cubicBezTo>
                    <a:pt x="5975" y="26744"/>
                    <a:pt x="6087" y="26734"/>
                    <a:pt x="6167" y="26734"/>
                  </a:cubicBezTo>
                  <a:cubicBezTo>
                    <a:pt x="6348" y="26734"/>
                    <a:pt x="6373" y="26785"/>
                    <a:pt x="6383" y="26806"/>
                  </a:cubicBezTo>
                  <a:cubicBezTo>
                    <a:pt x="6397" y="26831"/>
                    <a:pt x="6397" y="26859"/>
                    <a:pt x="6383" y="26883"/>
                  </a:cubicBezTo>
                  <a:cubicBezTo>
                    <a:pt x="6330" y="27023"/>
                    <a:pt x="5858" y="27216"/>
                    <a:pt x="5711" y="27276"/>
                  </a:cubicBezTo>
                  <a:cubicBezTo>
                    <a:pt x="5728" y="27293"/>
                    <a:pt x="5749" y="27311"/>
                    <a:pt x="5767" y="27328"/>
                  </a:cubicBezTo>
                  <a:cubicBezTo>
                    <a:pt x="5851" y="27398"/>
                    <a:pt x="5928" y="27465"/>
                    <a:pt x="5921" y="27545"/>
                  </a:cubicBezTo>
                  <a:cubicBezTo>
                    <a:pt x="5914" y="27622"/>
                    <a:pt x="5837" y="27657"/>
                    <a:pt x="5756" y="27696"/>
                  </a:cubicBezTo>
                  <a:cubicBezTo>
                    <a:pt x="5637" y="27752"/>
                    <a:pt x="5588" y="27783"/>
                    <a:pt x="5595" y="27843"/>
                  </a:cubicBezTo>
                  <a:cubicBezTo>
                    <a:pt x="5613" y="27916"/>
                    <a:pt x="5599" y="27993"/>
                    <a:pt x="5553" y="28053"/>
                  </a:cubicBezTo>
                  <a:cubicBezTo>
                    <a:pt x="5480" y="28140"/>
                    <a:pt x="5343" y="28154"/>
                    <a:pt x="5235" y="28154"/>
                  </a:cubicBezTo>
                  <a:cubicBezTo>
                    <a:pt x="5203" y="28154"/>
                    <a:pt x="5172" y="28158"/>
                    <a:pt x="5140" y="28168"/>
                  </a:cubicBezTo>
                  <a:cubicBezTo>
                    <a:pt x="5175" y="28193"/>
                    <a:pt x="5203" y="28228"/>
                    <a:pt x="5221" y="28263"/>
                  </a:cubicBezTo>
                  <a:cubicBezTo>
                    <a:pt x="5284" y="28389"/>
                    <a:pt x="5399" y="28473"/>
                    <a:pt x="5532" y="28501"/>
                  </a:cubicBezTo>
                  <a:cubicBezTo>
                    <a:pt x="5840" y="28578"/>
                    <a:pt x="6194" y="28833"/>
                    <a:pt x="6582" y="29257"/>
                  </a:cubicBezTo>
                  <a:cubicBezTo>
                    <a:pt x="6614" y="29285"/>
                    <a:pt x="6645" y="29313"/>
                    <a:pt x="6680" y="29334"/>
                  </a:cubicBezTo>
                  <a:lnTo>
                    <a:pt x="6684" y="29331"/>
                  </a:lnTo>
                  <a:lnTo>
                    <a:pt x="6705" y="29320"/>
                  </a:lnTo>
                  <a:lnTo>
                    <a:pt x="6726" y="29310"/>
                  </a:lnTo>
                  <a:lnTo>
                    <a:pt x="6743" y="29299"/>
                  </a:lnTo>
                  <a:lnTo>
                    <a:pt x="6761" y="29292"/>
                  </a:lnTo>
                  <a:lnTo>
                    <a:pt x="6775" y="29285"/>
                  </a:lnTo>
                  <a:lnTo>
                    <a:pt x="6793" y="29278"/>
                  </a:lnTo>
                  <a:lnTo>
                    <a:pt x="6803" y="29271"/>
                  </a:lnTo>
                  <a:lnTo>
                    <a:pt x="6817" y="29268"/>
                  </a:lnTo>
                  <a:lnTo>
                    <a:pt x="6828" y="29264"/>
                  </a:lnTo>
                  <a:lnTo>
                    <a:pt x="6838" y="29261"/>
                  </a:lnTo>
                  <a:lnTo>
                    <a:pt x="6845" y="29257"/>
                  </a:lnTo>
                  <a:lnTo>
                    <a:pt x="6856" y="29254"/>
                  </a:lnTo>
                  <a:lnTo>
                    <a:pt x="6873" y="29254"/>
                  </a:lnTo>
                  <a:cubicBezTo>
                    <a:pt x="6895" y="29250"/>
                    <a:pt x="6918" y="29249"/>
                    <a:pt x="6943" y="29249"/>
                  </a:cubicBezTo>
                  <a:cubicBezTo>
                    <a:pt x="7132" y="29249"/>
                    <a:pt x="7406" y="29339"/>
                    <a:pt x="7577" y="29457"/>
                  </a:cubicBezTo>
                  <a:cubicBezTo>
                    <a:pt x="7618" y="29488"/>
                    <a:pt x="7712" y="29497"/>
                    <a:pt x="7816" y="29497"/>
                  </a:cubicBezTo>
                  <a:cubicBezTo>
                    <a:pt x="7887" y="29497"/>
                    <a:pt x="7963" y="29492"/>
                    <a:pt x="8028" y="29488"/>
                  </a:cubicBezTo>
                  <a:cubicBezTo>
                    <a:pt x="8100" y="29485"/>
                    <a:pt x="8161" y="29482"/>
                    <a:pt x="8213" y="29482"/>
                  </a:cubicBezTo>
                  <a:cubicBezTo>
                    <a:pt x="8331" y="29482"/>
                    <a:pt x="8401" y="29495"/>
                    <a:pt x="8438" y="29544"/>
                  </a:cubicBezTo>
                  <a:cubicBezTo>
                    <a:pt x="8487" y="29607"/>
                    <a:pt x="8546" y="29660"/>
                    <a:pt x="8613" y="29702"/>
                  </a:cubicBezTo>
                  <a:cubicBezTo>
                    <a:pt x="8648" y="29723"/>
                    <a:pt x="8686" y="29733"/>
                    <a:pt x="8725" y="29737"/>
                  </a:cubicBezTo>
                  <a:cubicBezTo>
                    <a:pt x="8805" y="29737"/>
                    <a:pt x="8872" y="29796"/>
                    <a:pt x="8932" y="29852"/>
                  </a:cubicBezTo>
                  <a:cubicBezTo>
                    <a:pt x="8960" y="29877"/>
                    <a:pt x="8988" y="29901"/>
                    <a:pt x="9019" y="29919"/>
                  </a:cubicBezTo>
                  <a:lnTo>
                    <a:pt x="9026" y="29919"/>
                  </a:lnTo>
                  <a:cubicBezTo>
                    <a:pt x="9037" y="29912"/>
                    <a:pt x="9051" y="29905"/>
                    <a:pt x="9061" y="29898"/>
                  </a:cubicBezTo>
                  <a:cubicBezTo>
                    <a:pt x="9156" y="29852"/>
                    <a:pt x="9338" y="29831"/>
                    <a:pt x="9625" y="29831"/>
                  </a:cubicBezTo>
                  <a:cubicBezTo>
                    <a:pt x="9674" y="29831"/>
                    <a:pt x="9723" y="29849"/>
                    <a:pt x="9761" y="29880"/>
                  </a:cubicBezTo>
                  <a:cubicBezTo>
                    <a:pt x="9775" y="29898"/>
                    <a:pt x="9796" y="29905"/>
                    <a:pt x="9817" y="29905"/>
                  </a:cubicBezTo>
                  <a:cubicBezTo>
                    <a:pt x="9922" y="29905"/>
                    <a:pt x="9954" y="30038"/>
                    <a:pt x="9978" y="30150"/>
                  </a:cubicBezTo>
                  <a:cubicBezTo>
                    <a:pt x="9985" y="30167"/>
                    <a:pt x="9992" y="30195"/>
                    <a:pt x="9999" y="30216"/>
                  </a:cubicBezTo>
                  <a:lnTo>
                    <a:pt x="9999" y="30223"/>
                  </a:lnTo>
                  <a:cubicBezTo>
                    <a:pt x="9999" y="30230"/>
                    <a:pt x="10003" y="30234"/>
                    <a:pt x="10003" y="30241"/>
                  </a:cubicBezTo>
                  <a:lnTo>
                    <a:pt x="10003" y="30244"/>
                  </a:lnTo>
                  <a:cubicBezTo>
                    <a:pt x="10024" y="30244"/>
                    <a:pt x="10045" y="30251"/>
                    <a:pt x="10062" y="30258"/>
                  </a:cubicBezTo>
                  <a:cubicBezTo>
                    <a:pt x="10122" y="30286"/>
                    <a:pt x="10178" y="30314"/>
                    <a:pt x="10230" y="30349"/>
                  </a:cubicBezTo>
                  <a:cubicBezTo>
                    <a:pt x="10269" y="30377"/>
                    <a:pt x="10311" y="30402"/>
                    <a:pt x="10353" y="30426"/>
                  </a:cubicBezTo>
                  <a:cubicBezTo>
                    <a:pt x="10395" y="30451"/>
                    <a:pt x="10437" y="30468"/>
                    <a:pt x="10482" y="30482"/>
                  </a:cubicBezTo>
                  <a:cubicBezTo>
                    <a:pt x="10489" y="30482"/>
                    <a:pt x="10496" y="30486"/>
                    <a:pt x="10500" y="30486"/>
                  </a:cubicBezTo>
                  <a:cubicBezTo>
                    <a:pt x="10601" y="30500"/>
                    <a:pt x="10692" y="30584"/>
                    <a:pt x="10769" y="30661"/>
                  </a:cubicBezTo>
                  <a:lnTo>
                    <a:pt x="10801" y="30692"/>
                  </a:lnTo>
                  <a:cubicBezTo>
                    <a:pt x="10832" y="30724"/>
                    <a:pt x="10860" y="30752"/>
                    <a:pt x="10895" y="30780"/>
                  </a:cubicBezTo>
                  <a:cubicBezTo>
                    <a:pt x="10902" y="30776"/>
                    <a:pt x="10913" y="30776"/>
                    <a:pt x="10920" y="30776"/>
                  </a:cubicBezTo>
                  <a:lnTo>
                    <a:pt x="10924" y="30776"/>
                  </a:lnTo>
                  <a:cubicBezTo>
                    <a:pt x="10934" y="30776"/>
                    <a:pt x="10941" y="30776"/>
                    <a:pt x="10948" y="30780"/>
                  </a:cubicBezTo>
                  <a:lnTo>
                    <a:pt x="10952" y="30780"/>
                  </a:lnTo>
                  <a:cubicBezTo>
                    <a:pt x="10959" y="30780"/>
                    <a:pt x="10969" y="30783"/>
                    <a:pt x="10976" y="30787"/>
                  </a:cubicBezTo>
                  <a:lnTo>
                    <a:pt x="10980" y="30787"/>
                  </a:lnTo>
                  <a:lnTo>
                    <a:pt x="11004" y="30794"/>
                  </a:lnTo>
                  <a:lnTo>
                    <a:pt x="11008" y="30794"/>
                  </a:lnTo>
                  <a:lnTo>
                    <a:pt x="11029" y="30804"/>
                  </a:lnTo>
                  <a:cubicBezTo>
                    <a:pt x="11043" y="30808"/>
                    <a:pt x="11057" y="30818"/>
                    <a:pt x="11071" y="30822"/>
                  </a:cubicBezTo>
                  <a:lnTo>
                    <a:pt x="11081" y="30825"/>
                  </a:lnTo>
                  <a:cubicBezTo>
                    <a:pt x="11081" y="30822"/>
                    <a:pt x="11085" y="30818"/>
                    <a:pt x="11085" y="30818"/>
                  </a:cubicBezTo>
                  <a:cubicBezTo>
                    <a:pt x="11116" y="30738"/>
                    <a:pt x="11193" y="30713"/>
                    <a:pt x="11263" y="30692"/>
                  </a:cubicBezTo>
                  <a:lnTo>
                    <a:pt x="11291" y="30682"/>
                  </a:lnTo>
                  <a:lnTo>
                    <a:pt x="11302" y="30678"/>
                  </a:lnTo>
                  <a:lnTo>
                    <a:pt x="11319" y="30671"/>
                  </a:lnTo>
                  <a:lnTo>
                    <a:pt x="11330" y="30668"/>
                  </a:lnTo>
                  <a:lnTo>
                    <a:pt x="11347" y="30661"/>
                  </a:lnTo>
                  <a:lnTo>
                    <a:pt x="11354" y="30654"/>
                  </a:lnTo>
                  <a:lnTo>
                    <a:pt x="11368" y="30647"/>
                  </a:lnTo>
                  <a:lnTo>
                    <a:pt x="11375" y="30643"/>
                  </a:lnTo>
                  <a:lnTo>
                    <a:pt x="11389" y="30633"/>
                  </a:lnTo>
                  <a:lnTo>
                    <a:pt x="11396" y="30629"/>
                  </a:lnTo>
                  <a:cubicBezTo>
                    <a:pt x="11403" y="30622"/>
                    <a:pt x="11407" y="30619"/>
                    <a:pt x="11410" y="30612"/>
                  </a:cubicBezTo>
                  <a:lnTo>
                    <a:pt x="11414" y="30608"/>
                  </a:lnTo>
                  <a:cubicBezTo>
                    <a:pt x="11417" y="30601"/>
                    <a:pt x="11421" y="30598"/>
                    <a:pt x="11424" y="30594"/>
                  </a:cubicBezTo>
                  <a:cubicBezTo>
                    <a:pt x="11025" y="30104"/>
                    <a:pt x="10797" y="29786"/>
                    <a:pt x="10804" y="29625"/>
                  </a:cubicBezTo>
                  <a:cubicBezTo>
                    <a:pt x="10808" y="29569"/>
                    <a:pt x="10815" y="29520"/>
                    <a:pt x="10822" y="29471"/>
                  </a:cubicBezTo>
                  <a:cubicBezTo>
                    <a:pt x="10850" y="29275"/>
                    <a:pt x="10867" y="29148"/>
                    <a:pt x="10619" y="28935"/>
                  </a:cubicBezTo>
                  <a:cubicBezTo>
                    <a:pt x="10517" y="28847"/>
                    <a:pt x="10465" y="28760"/>
                    <a:pt x="10461" y="28665"/>
                  </a:cubicBezTo>
                  <a:cubicBezTo>
                    <a:pt x="10451" y="28511"/>
                    <a:pt x="10580" y="28382"/>
                    <a:pt x="10713" y="28242"/>
                  </a:cubicBezTo>
                  <a:cubicBezTo>
                    <a:pt x="10773" y="28182"/>
                    <a:pt x="10832" y="28119"/>
                    <a:pt x="10885" y="28053"/>
                  </a:cubicBezTo>
                  <a:cubicBezTo>
                    <a:pt x="11032" y="27864"/>
                    <a:pt x="11277" y="27748"/>
                    <a:pt x="11512" y="27636"/>
                  </a:cubicBezTo>
                  <a:cubicBezTo>
                    <a:pt x="11606" y="27591"/>
                    <a:pt x="11701" y="27549"/>
                    <a:pt x="11785" y="27500"/>
                  </a:cubicBezTo>
                  <a:cubicBezTo>
                    <a:pt x="11757" y="27486"/>
                    <a:pt x="11729" y="27468"/>
                    <a:pt x="11701" y="27458"/>
                  </a:cubicBezTo>
                  <a:cubicBezTo>
                    <a:pt x="11680" y="27447"/>
                    <a:pt x="11659" y="27437"/>
                    <a:pt x="11641" y="27426"/>
                  </a:cubicBezTo>
                  <a:cubicBezTo>
                    <a:pt x="11505" y="27360"/>
                    <a:pt x="11442" y="27293"/>
                    <a:pt x="11449" y="27220"/>
                  </a:cubicBezTo>
                  <a:cubicBezTo>
                    <a:pt x="11449" y="27213"/>
                    <a:pt x="11449" y="27206"/>
                    <a:pt x="11452" y="27199"/>
                  </a:cubicBezTo>
                  <a:cubicBezTo>
                    <a:pt x="11466" y="27149"/>
                    <a:pt x="11512" y="27111"/>
                    <a:pt x="11589" y="27090"/>
                  </a:cubicBezTo>
                  <a:cubicBezTo>
                    <a:pt x="11606" y="27086"/>
                    <a:pt x="11620" y="27079"/>
                    <a:pt x="11634" y="27072"/>
                  </a:cubicBezTo>
                  <a:cubicBezTo>
                    <a:pt x="11634" y="27069"/>
                    <a:pt x="11638" y="27069"/>
                    <a:pt x="11638" y="27069"/>
                  </a:cubicBezTo>
                  <a:cubicBezTo>
                    <a:pt x="11641" y="27037"/>
                    <a:pt x="11536" y="26915"/>
                    <a:pt x="11484" y="26859"/>
                  </a:cubicBezTo>
                  <a:cubicBezTo>
                    <a:pt x="11424" y="26789"/>
                    <a:pt x="11372" y="26715"/>
                    <a:pt x="11323" y="26638"/>
                  </a:cubicBezTo>
                  <a:lnTo>
                    <a:pt x="11305" y="26614"/>
                  </a:lnTo>
                  <a:cubicBezTo>
                    <a:pt x="11263" y="26554"/>
                    <a:pt x="11218" y="26491"/>
                    <a:pt x="11193" y="26491"/>
                  </a:cubicBezTo>
                  <a:cubicBezTo>
                    <a:pt x="11172" y="26491"/>
                    <a:pt x="11144" y="26491"/>
                    <a:pt x="11116" y="26488"/>
                  </a:cubicBezTo>
                  <a:cubicBezTo>
                    <a:pt x="11087" y="26485"/>
                    <a:pt x="11059" y="26483"/>
                    <a:pt x="11030" y="26483"/>
                  </a:cubicBezTo>
                  <a:cubicBezTo>
                    <a:pt x="10961" y="26483"/>
                    <a:pt x="10892" y="26493"/>
                    <a:pt x="10825" y="26512"/>
                  </a:cubicBezTo>
                  <a:cubicBezTo>
                    <a:pt x="10807" y="26520"/>
                    <a:pt x="10787" y="26524"/>
                    <a:pt x="10767" y="26524"/>
                  </a:cubicBezTo>
                  <a:cubicBezTo>
                    <a:pt x="10735" y="26524"/>
                    <a:pt x="10704" y="26514"/>
                    <a:pt x="10678" y="26495"/>
                  </a:cubicBezTo>
                  <a:cubicBezTo>
                    <a:pt x="10605" y="26432"/>
                    <a:pt x="10622" y="26302"/>
                    <a:pt x="10643" y="26148"/>
                  </a:cubicBezTo>
                  <a:cubicBezTo>
                    <a:pt x="10650" y="26110"/>
                    <a:pt x="10619" y="26089"/>
                    <a:pt x="10500" y="26057"/>
                  </a:cubicBezTo>
                  <a:cubicBezTo>
                    <a:pt x="10433" y="26040"/>
                    <a:pt x="10370" y="26022"/>
                    <a:pt x="10339" y="25977"/>
                  </a:cubicBezTo>
                  <a:cubicBezTo>
                    <a:pt x="10311" y="25938"/>
                    <a:pt x="10311" y="25882"/>
                    <a:pt x="10328" y="25809"/>
                  </a:cubicBezTo>
                  <a:cubicBezTo>
                    <a:pt x="10353" y="25721"/>
                    <a:pt x="10423" y="25574"/>
                    <a:pt x="10486" y="25543"/>
                  </a:cubicBezTo>
                  <a:cubicBezTo>
                    <a:pt x="10591" y="25490"/>
                    <a:pt x="10626" y="25455"/>
                    <a:pt x="10636" y="25441"/>
                  </a:cubicBezTo>
                  <a:cubicBezTo>
                    <a:pt x="10626" y="25434"/>
                    <a:pt x="10612" y="25424"/>
                    <a:pt x="10601" y="25417"/>
                  </a:cubicBezTo>
                  <a:cubicBezTo>
                    <a:pt x="10549" y="25389"/>
                    <a:pt x="10440" y="25326"/>
                    <a:pt x="10451" y="25217"/>
                  </a:cubicBezTo>
                  <a:cubicBezTo>
                    <a:pt x="10454" y="25186"/>
                    <a:pt x="10465" y="25158"/>
                    <a:pt x="10482" y="25130"/>
                  </a:cubicBezTo>
                  <a:cubicBezTo>
                    <a:pt x="10524" y="25059"/>
                    <a:pt x="10587" y="25000"/>
                    <a:pt x="10661" y="24954"/>
                  </a:cubicBezTo>
                  <a:cubicBezTo>
                    <a:pt x="10731" y="24905"/>
                    <a:pt x="10762" y="24884"/>
                    <a:pt x="10762" y="24825"/>
                  </a:cubicBezTo>
                  <a:cubicBezTo>
                    <a:pt x="10762" y="24797"/>
                    <a:pt x="10766" y="24765"/>
                    <a:pt x="10773" y="24737"/>
                  </a:cubicBezTo>
                  <a:cubicBezTo>
                    <a:pt x="10794" y="24657"/>
                    <a:pt x="10843" y="24587"/>
                    <a:pt x="10917" y="24545"/>
                  </a:cubicBezTo>
                  <a:cubicBezTo>
                    <a:pt x="10924" y="24541"/>
                    <a:pt x="10931" y="24541"/>
                    <a:pt x="10938" y="24538"/>
                  </a:cubicBezTo>
                  <a:cubicBezTo>
                    <a:pt x="10966" y="24527"/>
                    <a:pt x="10995" y="24522"/>
                    <a:pt x="11024" y="24522"/>
                  </a:cubicBezTo>
                  <a:cubicBezTo>
                    <a:pt x="11081" y="24522"/>
                    <a:pt x="11136" y="24542"/>
                    <a:pt x="11183" y="24576"/>
                  </a:cubicBezTo>
                  <a:cubicBezTo>
                    <a:pt x="11200" y="24590"/>
                    <a:pt x="11218" y="24604"/>
                    <a:pt x="11235" y="24622"/>
                  </a:cubicBezTo>
                  <a:cubicBezTo>
                    <a:pt x="11281" y="24671"/>
                    <a:pt x="11323" y="24723"/>
                    <a:pt x="11361" y="24779"/>
                  </a:cubicBezTo>
                  <a:cubicBezTo>
                    <a:pt x="11424" y="24874"/>
                    <a:pt x="11466" y="24930"/>
                    <a:pt x="11512" y="24940"/>
                  </a:cubicBezTo>
                  <a:cubicBezTo>
                    <a:pt x="11515" y="24941"/>
                    <a:pt x="11519" y="24942"/>
                    <a:pt x="11524" y="24942"/>
                  </a:cubicBezTo>
                  <a:cubicBezTo>
                    <a:pt x="11535" y="24942"/>
                    <a:pt x="11547" y="24939"/>
                    <a:pt x="11557" y="24933"/>
                  </a:cubicBezTo>
                  <a:cubicBezTo>
                    <a:pt x="11582" y="24930"/>
                    <a:pt x="11606" y="24912"/>
                    <a:pt x="11620" y="24891"/>
                  </a:cubicBezTo>
                  <a:cubicBezTo>
                    <a:pt x="11634" y="24856"/>
                    <a:pt x="11610" y="24797"/>
                    <a:pt x="11592" y="24748"/>
                  </a:cubicBezTo>
                  <a:cubicBezTo>
                    <a:pt x="11582" y="24723"/>
                    <a:pt x="11571" y="24699"/>
                    <a:pt x="11568" y="24674"/>
                  </a:cubicBezTo>
                  <a:lnTo>
                    <a:pt x="11564" y="24660"/>
                  </a:lnTo>
                  <a:cubicBezTo>
                    <a:pt x="11547" y="24590"/>
                    <a:pt x="11522" y="24499"/>
                    <a:pt x="11571" y="24419"/>
                  </a:cubicBezTo>
                  <a:cubicBezTo>
                    <a:pt x="11617" y="24356"/>
                    <a:pt x="11687" y="24314"/>
                    <a:pt x="11760" y="24303"/>
                  </a:cubicBezTo>
                  <a:cubicBezTo>
                    <a:pt x="11813" y="24293"/>
                    <a:pt x="11858" y="24258"/>
                    <a:pt x="11872" y="24205"/>
                  </a:cubicBezTo>
                  <a:lnTo>
                    <a:pt x="11883" y="24184"/>
                  </a:lnTo>
                  <a:cubicBezTo>
                    <a:pt x="11904" y="24125"/>
                    <a:pt x="11942" y="24034"/>
                    <a:pt x="12068" y="24034"/>
                  </a:cubicBezTo>
                  <a:cubicBezTo>
                    <a:pt x="12180" y="24034"/>
                    <a:pt x="12401" y="23901"/>
                    <a:pt x="12516" y="23831"/>
                  </a:cubicBezTo>
                  <a:cubicBezTo>
                    <a:pt x="12562" y="23806"/>
                    <a:pt x="12593" y="23785"/>
                    <a:pt x="12618" y="23775"/>
                  </a:cubicBezTo>
                  <a:lnTo>
                    <a:pt x="12649" y="23761"/>
                  </a:lnTo>
                  <a:cubicBezTo>
                    <a:pt x="12740" y="23708"/>
                    <a:pt x="12842" y="23666"/>
                    <a:pt x="12947" y="23642"/>
                  </a:cubicBezTo>
                  <a:cubicBezTo>
                    <a:pt x="12965" y="23637"/>
                    <a:pt x="12983" y="23634"/>
                    <a:pt x="13001" y="23634"/>
                  </a:cubicBezTo>
                  <a:cubicBezTo>
                    <a:pt x="13032" y="23634"/>
                    <a:pt x="13062" y="23641"/>
                    <a:pt x="13091" y="23652"/>
                  </a:cubicBezTo>
                  <a:cubicBezTo>
                    <a:pt x="13112" y="23663"/>
                    <a:pt x="13129" y="23673"/>
                    <a:pt x="13150" y="23687"/>
                  </a:cubicBezTo>
                  <a:cubicBezTo>
                    <a:pt x="13178" y="23705"/>
                    <a:pt x="13206" y="23719"/>
                    <a:pt x="13238" y="23729"/>
                  </a:cubicBezTo>
                  <a:cubicBezTo>
                    <a:pt x="13241" y="23731"/>
                    <a:pt x="13245" y="23732"/>
                    <a:pt x="13248" y="23732"/>
                  </a:cubicBezTo>
                  <a:cubicBezTo>
                    <a:pt x="13252" y="23732"/>
                    <a:pt x="13255" y="23731"/>
                    <a:pt x="13259" y="23729"/>
                  </a:cubicBezTo>
                  <a:cubicBezTo>
                    <a:pt x="13269" y="23726"/>
                    <a:pt x="13283" y="23708"/>
                    <a:pt x="13294" y="23684"/>
                  </a:cubicBezTo>
                  <a:cubicBezTo>
                    <a:pt x="13332" y="23594"/>
                    <a:pt x="13420" y="23542"/>
                    <a:pt x="13532" y="23542"/>
                  </a:cubicBezTo>
                  <a:cubicBezTo>
                    <a:pt x="13542" y="23542"/>
                    <a:pt x="13553" y="23543"/>
                    <a:pt x="13563" y="23544"/>
                  </a:cubicBezTo>
                  <a:cubicBezTo>
                    <a:pt x="13588" y="23547"/>
                    <a:pt x="13612" y="23551"/>
                    <a:pt x="13637" y="23558"/>
                  </a:cubicBezTo>
                  <a:cubicBezTo>
                    <a:pt x="13714" y="23579"/>
                    <a:pt x="13784" y="23624"/>
                    <a:pt x="13801" y="23687"/>
                  </a:cubicBezTo>
                  <a:cubicBezTo>
                    <a:pt x="13833" y="23708"/>
                    <a:pt x="13962" y="23733"/>
                    <a:pt x="14050" y="23747"/>
                  </a:cubicBezTo>
                  <a:cubicBezTo>
                    <a:pt x="14148" y="23761"/>
                    <a:pt x="14246" y="23785"/>
                    <a:pt x="14337" y="23813"/>
                  </a:cubicBezTo>
                  <a:cubicBezTo>
                    <a:pt x="14361" y="23824"/>
                    <a:pt x="14386" y="23834"/>
                    <a:pt x="14407" y="23848"/>
                  </a:cubicBezTo>
                  <a:lnTo>
                    <a:pt x="14466" y="23887"/>
                  </a:lnTo>
                  <a:cubicBezTo>
                    <a:pt x="14760" y="24079"/>
                    <a:pt x="14900" y="24188"/>
                    <a:pt x="14900" y="24293"/>
                  </a:cubicBezTo>
                  <a:cubicBezTo>
                    <a:pt x="14900" y="24307"/>
                    <a:pt x="14904" y="24324"/>
                    <a:pt x="14914" y="24335"/>
                  </a:cubicBezTo>
                  <a:cubicBezTo>
                    <a:pt x="14914" y="24282"/>
                    <a:pt x="14939" y="24233"/>
                    <a:pt x="14984" y="24205"/>
                  </a:cubicBezTo>
                  <a:cubicBezTo>
                    <a:pt x="15005" y="24194"/>
                    <a:pt x="15027" y="24188"/>
                    <a:pt x="15051" y="24188"/>
                  </a:cubicBezTo>
                  <a:cubicBezTo>
                    <a:pt x="15121" y="24188"/>
                    <a:pt x="15208" y="24234"/>
                    <a:pt x="15328" y="24307"/>
                  </a:cubicBezTo>
                  <a:cubicBezTo>
                    <a:pt x="15394" y="24348"/>
                    <a:pt x="15469" y="24369"/>
                    <a:pt x="15543" y="24369"/>
                  </a:cubicBezTo>
                  <a:cubicBezTo>
                    <a:pt x="15581" y="24369"/>
                    <a:pt x="15620" y="24363"/>
                    <a:pt x="15657" y="24352"/>
                  </a:cubicBezTo>
                  <a:cubicBezTo>
                    <a:pt x="15692" y="24345"/>
                    <a:pt x="15727" y="24324"/>
                    <a:pt x="15744" y="24293"/>
                  </a:cubicBezTo>
                  <a:cubicBezTo>
                    <a:pt x="15786" y="24188"/>
                    <a:pt x="15947" y="24104"/>
                    <a:pt x="16080" y="24069"/>
                  </a:cubicBezTo>
                  <a:cubicBezTo>
                    <a:pt x="16118" y="24058"/>
                    <a:pt x="16170" y="24048"/>
                    <a:pt x="16224" y="24048"/>
                  </a:cubicBezTo>
                  <a:cubicBezTo>
                    <a:pt x="16279" y="24048"/>
                    <a:pt x="16337" y="24059"/>
                    <a:pt x="16381" y="24093"/>
                  </a:cubicBezTo>
                  <a:lnTo>
                    <a:pt x="16416" y="24125"/>
                  </a:lnTo>
                  <a:cubicBezTo>
                    <a:pt x="16465" y="24165"/>
                    <a:pt x="16491" y="24187"/>
                    <a:pt x="16518" y="24187"/>
                  </a:cubicBezTo>
                  <a:cubicBezTo>
                    <a:pt x="16542" y="24187"/>
                    <a:pt x="16567" y="24167"/>
                    <a:pt x="16609" y="24125"/>
                  </a:cubicBezTo>
                  <a:cubicBezTo>
                    <a:pt x="16693" y="24050"/>
                    <a:pt x="16802" y="24008"/>
                    <a:pt x="16915" y="24008"/>
                  </a:cubicBezTo>
                  <a:cubicBezTo>
                    <a:pt x="16924" y="24008"/>
                    <a:pt x="16933" y="24009"/>
                    <a:pt x="16941" y="24009"/>
                  </a:cubicBezTo>
                  <a:cubicBezTo>
                    <a:pt x="16962" y="24009"/>
                    <a:pt x="16983" y="24013"/>
                    <a:pt x="17004" y="24013"/>
                  </a:cubicBezTo>
                  <a:cubicBezTo>
                    <a:pt x="17022" y="24013"/>
                    <a:pt x="17036" y="24020"/>
                    <a:pt x="17050" y="24023"/>
                  </a:cubicBezTo>
                  <a:cubicBezTo>
                    <a:pt x="17155" y="24048"/>
                    <a:pt x="17225" y="24100"/>
                    <a:pt x="17250" y="24174"/>
                  </a:cubicBezTo>
                  <a:cubicBezTo>
                    <a:pt x="17274" y="24233"/>
                    <a:pt x="17323" y="24275"/>
                    <a:pt x="17386" y="24282"/>
                  </a:cubicBezTo>
                  <a:cubicBezTo>
                    <a:pt x="17432" y="24294"/>
                    <a:pt x="17476" y="24301"/>
                    <a:pt x="17522" y="24301"/>
                  </a:cubicBezTo>
                  <a:cubicBezTo>
                    <a:pt x="17531" y="24301"/>
                    <a:pt x="17541" y="24300"/>
                    <a:pt x="17551" y="24300"/>
                  </a:cubicBezTo>
                  <a:cubicBezTo>
                    <a:pt x="17659" y="24300"/>
                    <a:pt x="17719" y="24380"/>
                    <a:pt x="17757" y="24433"/>
                  </a:cubicBezTo>
                  <a:cubicBezTo>
                    <a:pt x="17768" y="24447"/>
                    <a:pt x="17782" y="24461"/>
                    <a:pt x="17792" y="24475"/>
                  </a:cubicBezTo>
                  <a:cubicBezTo>
                    <a:pt x="17813" y="24447"/>
                    <a:pt x="17827" y="24412"/>
                    <a:pt x="17838" y="24377"/>
                  </a:cubicBezTo>
                  <a:cubicBezTo>
                    <a:pt x="17857" y="24310"/>
                    <a:pt x="17893" y="24202"/>
                    <a:pt x="17995" y="24202"/>
                  </a:cubicBezTo>
                  <a:cubicBezTo>
                    <a:pt x="18005" y="24202"/>
                    <a:pt x="18016" y="24203"/>
                    <a:pt x="18027" y="24205"/>
                  </a:cubicBezTo>
                  <a:cubicBezTo>
                    <a:pt x="18083" y="24223"/>
                    <a:pt x="18139" y="24247"/>
                    <a:pt x="18188" y="24286"/>
                  </a:cubicBezTo>
                  <a:lnTo>
                    <a:pt x="18216" y="24300"/>
                  </a:lnTo>
                  <a:cubicBezTo>
                    <a:pt x="18275" y="24345"/>
                    <a:pt x="18349" y="24370"/>
                    <a:pt x="18426" y="24373"/>
                  </a:cubicBezTo>
                  <a:cubicBezTo>
                    <a:pt x="18699" y="24373"/>
                    <a:pt x="18699" y="24279"/>
                    <a:pt x="18699" y="24247"/>
                  </a:cubicBezTo>
                  <a:cubicBezTo>
                    <a:pt x="18699" y="24037"/>
                    <a:pt x="18653" y="23925"/>
                    <a:pt x="18618" y="23925"/>
                  </a:cubicBezTo>
                  <a:cubicBezTo>
                    <a:pt x="18548" y="23918"/>
                    <a:pt x="18478" y="23897"/>
                    <a:pt x="18415" y="23862"/>
                  </a:cubicBezTo>
                  <a:cubicBezTo>
                    <a:pt x="18359" y="23827"/>
                    <a:pt x="18296" y="23810"/>
                    <a:pt x="18230" y="23803"/>
                  </a:cubicBezTo>
                  <a:cubicBezTo>
                    <a:pt x="18188" y="23803"/>
                    <a:pt x="18149" y="23792"/>
                    <a:pt x="18114" y="23771"/>
                  </a:cubicBezTo>
                  <a:cubicBezTo>
                    <a:pt x="18037" y="23726"/>
                    <a:pt x="17981" y="23649"/>
                    <a:pt x="17960" y="23558"/>
                  </a:cubicBezTo>
                  <a:cubicBezTo>
                    <a:pt x="17960" y="23547"/>
                    <a:pt x="17960" y="23533"/>
                    <a:pt x="17960" y="23523"/>
                  </a:cubicBezTo>
                  <a:cubicBezTo>
                    <a:pt x="17964" y="23502"/>
                    <a:pt x="17967" y="23481"/>
                    <a:pt x="17974" y="23463"/>
                  </a:cubicBezTo>
                  <a:cubicBezTo>
                    <a:pt x="17992" y="23425"/>
                    <a:pt x="18027" y="23397"/>
                    <a:pt x="18065" y="23383"/>
                  </a:cubicBezTo>
                  <a:cubicBezTo>
                    <a:pt x="18160" y="23355"/>
                    <a:pt x="18247" y="23309"/>
                    <a:pt x="18328" y="23246"/>
                  </a:cubicBezTo>
                  <a:cubicBezTo>
                    <a:pt x="18342" y="23236"/>
                    <a:pt x="18352" y="23222"/>
                    <a:pt x="18363" y="23204"/>
                  </a:cubicBezTo>
                  <a:cubicBezTo>
                    <a:pt x="18366" y="23197"/>
                    <a:pt x="18370" y="23190"/>
                    <a:pt x="18366" y="23183"/>
                  </a:cubicBezTo>
                  <a:cubicBezTo>
                    <a:pt x="18338" y="23113"/>
                    <a:pt x="18321" y="23040"/>
                    <a:pt x="18317" y="22966"/>
                  </a:cubicBezTo>
                  <a:cubicBezTo>
                    <a:pt x="18314" y="22910"/>
                    <a:pt x="18324" y="22854"/>
                    <a:pt x="18352" y="22805"/>
                  </a:cubicBezTo>
                  <a:cubicBezTo>
                    <a:pt x="18387" y="22745"/>
                    <a:pt x="18447" y="22710"/>
                    <a:pt x="18517" y="22703"/>
                  </a:cubicBezTo>
                  <a:lnTo>
                    <a:pt x="18566" y="22700"/>
                  </a:lnTo>
                  <a:cubicBezTo>
                    <a:pt x="18611" y="22693"/>
                    <a:pt x="18664" y="22689"/>
                    <a:pt x="18716" y="22686"/>
                  </a:cubicBezTo>
                  <a:cubicBezTo>
                    <a:pt x="18769" y="22682"/>
                    <a:pt x="18839" y="22679"/>
                    <a:pt x="18902" y="22672"/>
                  </a:cubicBezTo>
                  <a:lnTo>
                    <a:pt x="18961" y="22665"/>
                  </a:lnTo>
                  <a:lnTo>
                    <a:pt x="18895" y="22644"/>
                  </a:lnTo>
                  <a:cubicBezTo>
                    <a:pt x="18758" y="22598"/>
                    <a:pt x="18618" y="22553"/>
                    <a:pt x="18566" y="22462"/>
                  </a:cubicBezTo>
                  <a:cubicBezTo>
                    <a:pt x="18489" y="22336"/>
                    <a:pt x="18436" y="21996"/>
                    <a:pt x="18559" y="21916"/>
                  </a:cubicBezTo>
                  <a:cubicBezTo>
                    <a:pt x="18599" y="21894"/>
                    <a:pt x="18641" y="21884"/>
                    <a:pt x="18684" y="21884"/>
                  </a:cubicBezTo>
                  <a:cubicBezTo>
                    <a:pt x="18690" y="21884"/>
                    <a:pt x="18696" y="21884"/>
                    <a:pt x="18702" y="21884"/>
                  </a:cubicBezTo>
                  <a:cubicBezTo>
                    <a:pt x="18730" y="21884"/>
                    <a:pt x="18762" y="21888"/>
                    <a:pt x="18797" y="21891"/>
                  </a:cubicBezTo>
                  <a:cubicBezTo>
                    <a:pt x="18827" y="21895"/>
                    <a:pt x="18857" y="21897"/>
                    <a:pt x="18887" y="21897"/>
                  </a:cubicBezTo>
                  <a:cubicBezTo>
                    <a:pt x="18937" y="21897"/>
                    <a:pt x="18987" y="21892"/>
                    <a:pt x="19035" y="21881"/>
                  </a:cubicBezTo>
                  <a:cubicBezTo>
                    <a:pt x="19084" y="21871"/>
                    <a:pt x="19133" y="21865"/>
                    <a:pt x="19181" y="21865"/>
                  </a:cubicBezTo>
                  <a:cubicBezTo>
                    <a:pt x="19216" y="21865"/>
                    <a:pt x="19250" y="21868"/>
                    <a:pt x="19284" y="21874"/>
                  </a:cubicBezTo>
                  <a:cubicBezTo>
                    <a:pt x="19331" y="21877"/>
                    <a:pt x="19380" y="21881"/>
                    <a:pt x="19428" y="21881"/>
                  </a:cubicBezTo>
                  <a:cubicBezTo>
                    <a:pt x="19518" y="21881"/>
                    <a:pt x="19606" y="21868"/>
                    <a:pt x="19672" y="21818"/>
                  </a:cubicBezTo>
                  <a:cubicBezTo>
                    <a:pt x="19893" y="21653"/>
                    <a:pt x="20351" y="21636"/>
                    <a:pt x="20537" y="21636"/>
                  </a:cubicBezTo>
                  <a:cubicBezTo>
                    <a:pt x="20649" y="21636"/>
                    <a:pt x="20750" y="21594"/>
                    <a:pt x="20848" y="21548"/>
                  </a:cubicBezTo>
                  <a:cubicBezTo>
                    <a:pt x="20925" y="21510"/>
                    <a:pt x="21002" y="21485"/>
                    <a:pt x="21086" y="21468"/>
                  </a:cubicBezTo>
                  <a:cubicBezTo>
                    <a:pt x="21377" y="21426"/>
                    <a:pt x="21752" y="21366"/>
                    <a:pt x="21846" y="21328"/>
                  </a:cubicBezTo>
                  <a:cubicBezTo>
                    <a:pt x="21923" y="21303"/>
                    <a:pt x="22000" y="21282"/>
                    <a:pt x="22077" y="21268"/>
                  </a:cubicBezTo>
                  <a:cubicBezTo>
                    <a:pt x="22112" y="21261"/>
                    <a:pt x="22161" y="21251"/>
                    <a:pt x="22214" y="21237"/>
                  </a:cubicBezTo>
                  <a:lnTo>
                    <a:pt x="22298" y="21216"/>
                  </a:lnTo>
                  <a:cubicBezTo>
                    <a:pt x="22434" y="21181"/>
                    <a:pt x="22578" y="21139"/>
                    <a:pt x="22609" y="21104"/>
                  </a:cubicBezTo>
                  <a:cubicBezTo>
                    <a:pt x="22623" y="21058"/>
                    <a:pt x="22655" y="21020"/>
                    <a:pt x="22700" y="20999"/>
                  </a:cubicBezTo>
                  <a:lnTo>
                    <a:pt x="22721" y="20985"/>
                  </a:lnTo>
                  <a:cubicBezTo>
                    <a:pt x="22841" y="20925"/>
                    <a:pt x="23056" y="20879"/>
                    <a:pt x="23218" y="20879"/>
                  </a:cubicBezTo>
                  <a:cubicBezTo>
                    <a:pt x="23284" y="20879"/>
                    <a:pt x="23341" y="20887"/>
                    <a:pt x="23380" y="20904"/>
                  </a:cubicBezTo>
                  <a:cubicBezTo>
                    <a:pt x="23487" y="20953"/>
                    <a:pt x="23586" y="20978"/>
                    <a:pt x="23663" y="20978"/>
                  </a:cubicBezTo>
                  <a:cubicBezTo>
                    <a:pt x="23697" y="20978"/>
                    <a:pt x="23726" y="20973"/>
                    <a:pt x="23751" y="20964"/>
                  </a:cubicBezTo>
                  <a:cubicBezTo>
                    <a:pt x="23778" y="20952"/>
                    <a:pt x="23807" y="20947"/>
                    <a:pt x="23838" y="20947"/>
                  </a:cubicBezTo>
                  <a:cubicBezTo>
                    <a:pt x="23930" y="20947"/>
                    <a:pt x="24032" y="20992"/>
                    <a:pt x="24097" y="21048"/>
                  </a:cubicBezTo>
                  <a:cubicBezTo>
                    <a:pt x="24171" y="21111"/>
                    <a:pt x="24206" y="21184"/>
                    <a:pt x="24192" y="21254"/>
                  </a:cubicBezTo>
                  <a:cubicBezTo>
                    <a:pt x="24185" y="21307"/>
                    <a:pt x="24213" y="21373"/>
                    <a:pt x="24241" y="21436"/>
                  </a:cubicBezTo>
                  <a:cubicBezTo>
                    <a:pt x="24276" y="21499"/>
                    <a:pt x="24293" y="21566"/>
                    <a:pt x="24290" y="21639"/>
                  </a:cubicBezTo>
                  <a:cubicBezTo>
                    <a:pt x="24283" y="21688"/>
                    <a:pt x="24262" y="21737"/>
                    <a:pt x="24230" y="21776"/>
                  </a:cubicBezTo>
                  <a:cubicBezTo>
                    <a:pt x="24220" y="21786"/>
                    <a:pt x="24213" y="21797"/>
                    <a:pt x="24209" y="21811"/>
                  </a:cubicBezTo>
                  <a:lnTo>
                    <a:pt x="24209" y="21814"/>
                  </a:lnTo>
                  <a:lnTo>
                    <a:pt x="24216" y="21818"/>
                  </a:lnTo>
                  <a:cubicBezTo>
                    <a:pt x="24237" y="21829"/>
                    <a:pt x="24259" y="21836"/>
                    <a:pt x="24284" y="21836"/>
                  </a:cubicBezTo>
                  <a:cubicBezTo>
                    <a:pt x="24290" y="21836"/>
                    <a:pt x="24295" y="21836"/>
                    <a:pt x="24300" y="21835"/>
                  </a:cubicBezTo>
                  <a:cubicBezTo>
                    <a:pt x="24416" y="21835"/>
                    <a:pt x="24563" y="21786"/>
                    <a:pt x="24615" y="21734"/>
                  </a:cubicBezTo>
                  <a:cubicBezTo>
                    <a:pt x="24643" y="21696"/>
                    <a:pt x="24687" y="21674"/>
                    <a:pt x="24733" y="21674"/>
                  </a:cubicBezTo>
                  <a:cubicBezTo>
                    <a:pt x="24751" y="21674"/>
                    <a:pt x="24769" y="21678"/>
                    <a:pt x="24787" y="21685"/>
                  </a:cubicBezTo>
                  <a:cubicBezTo>
                    <a:pt x="24874" y="21727"/>
                    <a:pt x="24930" y="21814"/>
                    <a:pt x="24934" y="21909"/>
                  </a:cubicBezTo>
                  <a:cubicBezTo>
                    <a:pt x="24937" y="21916"/>
                    <a:pt x="24941" y="21923"/>
                    <a:pt x="24944" y="21926"/>
                  </a:cubicBezTo>
                  <a:cubicBezTo>
                    <a:pt x="24948" y="21930"/>
                    <a:pt x="24955" y="21933"/>
                    <a:pt x="24962" y="21937"/>
                  </a:cubicBezTo>
                  <a:cubicBezTo>
                    <a:pt x="24962" y="21891"/>
                    <a:pt x="24993" y="21849"/>
                    <a:pt x="25035" y="21832"/>
                  </a:cubicBezTo>
                  <a:cubicBezTo>
                    <a:pt x="25049" y="21828"/>
                    <a:pt x="25060" y="21828"/>
                    <a:pt x="25074" y="21825"/>
                  </a:cubicBezTo>
                  <a:lnTo>
                    <a:pt x="25091" y="21825"/>
                  </a:lnTo>
                  <a:cubicBezTo>
                    <a:pt x="25105" y="21825"/>
                    <a:pt x="25119" y="21828"/>
                    <a:pt x="25133" y="21828"/>
                  </a:cubicBezTo>
                  <a:cubicBezTo>
                    <a:pt x="25207" y="21846"/>
                    <a:pt x="25277" y="21884"/>
                    <a:pt x="25329" y="21937"/>
                  </a:cubicBezTo>
                  <a:lnTo>
                    <a:pt x="25336" y="21937"/>
                  </a:lnTo>
                  <a:cubicBezTo>
                    <a:pt x="25364" y="21933"/>
                    <a:pt x="25389" y="21930"/>
                    <a:pt x="25417" y="21923"/>
                  </a:cubicBezTo>
                  <a:cubicBezTo>
                    <a:pt x="25452" y="21913"/>
                    <a:pt x="25488" y="21905"/>
                    <a:pt x="25520" y="21905"/>
                  </a:cubicBezTo>
                  <a:cubicBezTo>
                    <a:pt x="25549" y="21905"/>
                    <a:pt x="25576" y="21912"/>
                    <a:pt x="25599" y="21930"/>
                  </a:cubicBezTo>
                  <a:cubicBezTo>
                    <a:pt x="25624" y="21951"/>
                    <a:pt x="25638" y="21982"/>
                    <a:pt x="25638" y="22017"/>
                  </a:cubicBezTo>
                  <a:cubicBezTo>
                    <a:pt x="25638" y="22098"/>
                    <a:pt x="25568" y="22154"/>
                    <a:pt x="25498" y="22210"/>
                  </a:cubicBezTo>
                  <a:cubicBezTo>
                    <a:pt x="25473" y="22227"/>
                    <a:pt x="25452" y="22248"/>
                    <a:pt x="25427" y="22269"/>
                  </a:cubicBezTo>
                  <a:cubicBezTo>
                    <a:pt x="25417" y="22276"/>
                    <a:pt x="25410" y="22287"/>
                    <a:pt x="25406" y="22301"/>
                  </a:cubicBezTo>
                  <a:cubicBezTo>
                    <a:pt x="25410" y="22304"/>
                    <a:pt x="25410" y="22308"/>
                    <a:pt x="25413" y="22311"/>
                  </a:cubicBezTo>
                  <a:lnTo>
                    <a:pt x="25420" y="22318"/>
                  </a:lnTo>
                  <a:cubicBezTo>
                    <a:pt x="25434" y="22330"/>
                    <a:pt x="25443" y="22338"/>
                    <a:pt x="25454" y="22338"/>
                  </a:cubicBezTo>
                  <a:cubicBezTo>
                    <a:pt x="25471" y="22338"/>
                    <a:pt x="25493" y="22323"/>
                    <a:pt x="25540" y="22287"/>
                  </a:cubicBezTo>
                  <a:cubicBezTo>
                    <a:pt x="25589" y="22248"/>
                    <a:pt x="25654" y="22197"/>
                    <a:pt x="25737" y="22197"/>
                  </a:cubicBezTo>
                  <a:cubicBezTo>
                    <a:pt x="25759" y="22197"/>
                    <a:pt x="25784" y="22201"/>
                    <a:pt x="25809" y="22210"/>
                  </a:cubicBezTo>
                  <a:cubicBezTo>
                    <a:pt x="25825" y="22213"/>
                    <a:pt x="25840" y="22215"/>
                    <a:pt x="25854" y="22215"/>
                  </a:cubicBezTo>
                  <a:cubicBezTo>
                    <a:pt x="25869" y="22215"/>
                    <a:pt x="25883" y="22213"/>
                    <a:pt x="25897" y="22210"/>
                  </a:cubicBezTo>
                  <a:lnTo>
                    <a:pt x="25904" y="22210"/>
                  </a:lnTo>
                  <a:lnTo>
                    <a:pt x="25918" y="22203"/>
                  </a:lnTo>
                  <a:cubicBezTo>
                    <a:pt x="25960" y="22189"/>
                    <a:pt x="26002" y="22168"/>
                    <a:pt x="26037" y="22147"/>
                  </a:cubicBezTo>
                  <a:cubicBezTo>
                    <a:pt x="26068" y="22129"/>
                    <a:pt x="26096" y="22108"/>
                    <a:pt x="26124" y="22091"/>
                  </a:cubicBezTo>
                  <a:cubicBezTo>
                    <a:pt x="26201" y="22038"/>
                    <a:pt x="26282" y="21996"/>
                    <a:pt x="26369" y="21968"/>
                  </a:cubicBezTo>
                  <a:cubicBezTo>
                    <a:pt x="26478" y="21944"/>
                    <a:pt x="26597" y="21863"/>
                    <a:pt x="26705" y="21790"/>
                  </a:cubicBezTo>
                  <a:cubicBezTo>
                    <a:pt x="26754" y="21755"/>
                    <a:pt x="26803" y="21723"/>
                    <a:pt x="26849" y="21695"/>
                  </a:cubicBezTo>
                  <a:cubicBezTo>
                    <a:pt x="26916" y="21655"/>
                    <a:pt x="27018" y="21633"/>
                    <a:pt x="27111" y="21633"/>
                  </a:cubicBezTo>
                  <a:cubicBezTo>
                    <a:pt x="27198" y="21633"/>
                    <a:pt x="27277" y="21653"/>
                    <a:pt x="27311" y="21695"/>
                  </a:cubicBezTo>
                  <a:cubicBezTo>
                    <a:pt x="27342" y="21741"/>
                    <a:pt x="27335" y="21800"/>
                    <a:pt x="27293" y="21832"/>
                  </a:cubicBezTo>
                  <a:cubicBezTo>
                    <a:pt x="27258" y="21867"/>
                    <a:pt x="27206" y="21930"/>
                    <a:pt x="27220" y="21986"/>
                  </a:cubicBezTo>
                  <a:cubicBezTo>
                    <a:pt x="27234" y="22042"/>
                    <a:pt x="27307" y="22094"/>
                    <a:pt x="27426" y="22136"/>
                  </a:cubicBezTo>
                  <a:cubicBezTo>
                    <a:pt x="27549" y="22192"/>
                    <a:pt x="27658" y="22269"/>
                    <a:pt x="27749" y="22367"/>
                  </a:cubicBezTo>
                  <a:cubicBezTo>
                    <a:pt x="27983" y="22602"/>
                    <a:pt x="28207" y="22952"/>
                    <a:pt x="28375" y="23215"/>
                  </a:cubicBezTo>
                  <a:cubicBezTo>
                    <a:pt x="28407" y="23264"/>
                    <a:pt x="28438" y="23309"/>
                    <a:pt x="28463" y="23351"/>
                  </a:cubicBezTo>
                  <a:cubicBezTo>
                    <a:pt x="28568" y="23523"/>
                    <a:pt x="28659" y="23698"/>
                    <a:pt x="28743" y="23876"/>
                  </a:cubicBezTo>
                  <a:cubicBezTo>
                    <a:pt x="28820" y="24044"/>
                    <a:pt x="28932" y="24272"/>
                    <a:pt x="28981" y="24303"/>
                  </a:cubicBezTo>
                  <a:cubicBezTo>
                    <a:pt x="29016" y="24272"/>
                    <a:pt x="29040" y="24230"/>
                    <a:pt x="29058" y="24188"/>
                  </a:cubicBezTo>
                  <a:cubicBezTo>
                    <a:pt x="29110" y="24090"/>
                    <a:pt x="29166" y="23981"/>
                    <a:pt x="29278" y="23957"/>
                  </a:cubicBezTo>
                  <a:cubicBezTo>
                    <a:pt x="29293" y="23953"/>
                    <a:pt x="29306" y="23952"/>
                    <a:pt x="29320" y="23952"/>
                  </a:cubicBezTo>
                  <a:cubicBezTo>
                    <a:pt x="29421" y="23952"/>
                    <a:pt x="29497" y="24040"/>
                    <a:pt x="29565" y="24118"/>
                  </a:cubicBezTo>
                  <a:cubicBezTo>
                    <a:pt x="29618" y="24181"/>
                    <a:pt x="29674" y="24247"/>
                    <a:pt x="29730" y="24258"/>
                  </a:cubicBezTo>
                  <a:cubicBezTo>
                    <a:pt x="29779" y="24268"/>
                    <a:pt x="29828" y="24282"/>
                    <a:pt x="29884" y="24300"/>
                  </a:cubicBezTo>
                  <a:cubicBezTo>
                    <a:pt x="29980" y="24326"/>
                    <a:pt x="30083" y="24355"/>
                    <a:pt x="30162" y="24355"/>
                  </a:cubicBezTo>
                  <a:cubicBezTo>
                    <a:pt x="30186" y="24355"/>
                    <a:pt x="30209" y="24352"/>
                    <a:pt x="30227" y="24345"/>
                  </a:cubicBezTo>
                  <a:cubicBezTo>
                    <a:pt x="30259" y="24335"/>
                    <a:pt x="30301" y="24317"/>
                    <a:pt x="30346" y="24296"/>
                  </a:cubicBezTo>
                  <a:cubicBezTo>
                    <a:pt x="30501" y="24227"/>
                    <a:pt x="30633" y="24172"/>
                    <a:pt x="30732" y="24172"/>
                  </a:cubicBezTo>
                  <a:cubicBezTo>
                    <a:pt x="30768" y="24172"/>
                    <a:pt x="30799" y="24179"/>
                    <a:pt x="30826" y="24195"/>
                  </a:cubicBezTo>
                  <a:cubicBezTo>
                    <a:pt x="30850" y="24205"/>
                    <a:pt x="30875" y="24216"/>
                    <a:pt x="30899" y="24226"/>
                  </a:cubicBezTo>
                  <a:cubicBezTo>
                    <a:pt x="31043" y="24272"/>
                    <a:pt x="31155" y="24377"/>
                    <a:pt x="31207" y="24517"/>
                  </a:cubicBezTo>
                  <a:cubicBezTo>
                    <a:pt x="31295" y="24723"/>
                    <a:pt x="31417" y="24755"/>
                    <a:pt x="31484" y="24755"/>
                  </a:cubicBezTo>
                  <a:cubicBezTo>
                    <a:pt x="31550" y="24755"/>
                    <a:pt x="31669" y="24790"/>
                    <a:pt x="31669" y="25028"/>
                  </a:cubicBezTo>
                  <a:cubicBezTo>
                    <a:pt x="31669" y="25080"/>
                    <a:pt x="31810" y="25189"/>
                    <a:pt x="31876" y="25189"/>
                  </a:cubicBezTo>
                  <a:cubicBezTo>
                    <a:pt x="31981" y="25189"/>
                    <a:pt x="32219" y="25154"/>
                    <a:pt x="32279" y="25116"/>
                  </a:cubicBezTo>
                  <a:cubicBezTo>
                    <a:pt x="32336" y="25084"/>
                    <a:pt x="32393" y="25055"/>
                    <a:pt x="32446" y="25055"/>
                  </a:cubicBezTo>
                  <a:cubicBezTo>
                    <a:pt x="32464" y="25055"/>
                    <a:pt x="32482" y="25058"/>
                    <a:pt x="32499" y="25066"/>
                  </a:cubicBezTo>
                  <a:cubicBezTo>
                    <a:pt x="32534" y="25084"/>
                    <a:pt x="32559" y="25116"/>
                    <a:pt x="32566" y="25154"/>
                  </a:cubicBezTo>
                  <a:lnTo>
                    <a:pt x="32566" y="25158"/>
                  </a:lnTo>
                  <a:cubicBezTo>
                    <a:pt x="32566" y="25161"/>
                    <a:pt x="32569" y="25172"/>
                    <a:pt x="32569" y="25179"/>
                  </a:cubicBezTo>
                  <a:cubicBezTo>
                    <a:pt x="32587" y="25242"/>
                    <a:pt x="32622" y="25301"/>
                    <a:pt x="32667" y="25347"/>
                  </a:cubicBezTo>
                  <a:cubicBezTo>
                    <a:pt x="32692" y="25375"/>
                    <a:pt x="32723" y="25399"/>
                    <a:pt x="32755" y="25413"/>
                  </a:cubicBezTo>
                  <a:lnTo>
                    <a:pt x="32797" y="25413"/>
                  </a:lnTo>
                  <a:cubicBezTo>
                    <a:pt x="32828" y="25413"/>
                    <a:pt x="32860" y="25420"/>
                    <a:pt x="32891" y="25427"/>
                  </a:cubicBezTo>
                  <a:cubicBezTo>
                    <a:pt x="32923" y="25434"/>
                    <a:pt x="32951" y="25441"/>
                    <a:pt x="32979" y="25445"/>
                  </a:cubicBezTo>
                  <a:lnTo>
                    <a:pt x="33010" y="25445"/>
                  </a:lnTo>
                  <a:lnTo>
                    <a:pt x="33010" y="25438"/>
                  </a:lnTo>
                  <a:lnTo>
                    <a:pt x="33010" y="25434"/>
                  </a:lnTo>
                  <a:lnTo>
                    <a:pt x="33014" y="25427"/>
                  </a:lnTo>
                  <a:lnTo>
                    <a:pt x="33017" y="25420"/>
                  </a:lnTo>
                  <a:lnTo>
                    <a:pt x="33021" y="25417"/>
                  </a:lnTo>
                  <a:lnTo>
                    <a:pt x="33024" y="25410"/>
                  </a:lnTo>
                  <a:lnTo>
                    <a:pt x="33031" y="25403"/>
                  </a:lnTo>
                  <a:lnTo>
                    <a:pt x="33035" y="25399"/>
                  </a:lnTo>
                  <a:lnTo>
                    <a:pt x="33042" y="25392"/>
                  </a:lnTo>
                  <a:lnTo>
                    <a:pt x="33049" y="25385"/>
                  </a:lnTo>
                  <a:lnTo>
                    <a:pt x="33052" y="25382"/>
                  </a:lnTo>
                  <a:lnTo>
                    <a:pt x="33063" y="25375"/>
                  </a:lnTo>
                  <a:lnTo>
                    <a:pt x="33070" y="25371"/>
                  </a:lnTo>
                  <a:lnTo>
                    <a:pt x="33084" y="25364"/>
                  </a:lnTo>
                  <a:lnTo>
                    <a:pt x="33087" y="25361"/>
                  </a:lnTo>
                  <a:lnTo>
                    <a:pt x="33105" y="25350"/>
                  </a:lnTo>
                  <a:lnTo>
                    <a:pt x="33108" y="25347"/>
                  </a:lnTo>
                  <a:lnTo>
                    <a:pt x="33129" y="25340"/>
                  </a:lnTo>
                  <a:lnTo>
                    <a:pt x="33133" y="25340"/>
                  </a:lnTo>
                  <a:lnTo>
                    <a:pt x="33157" y="25329"/>
                  </a:lnTo>
                  <a:lnTo>
                    <a:pt x="33161" y="25329"/>
                  </a:lnTo>
                  <a:cubicBezTo>
                    <a:pt x="33248" y="25301"/>
                    <a:pt x="33336" y="25280"/>
                    <a:pt x="33427" y="25266"/>
                  </a:cubicBezTo>
                  <a:cubicBezTo>
                    <a:pt x="33668" y="25224"/>
                    <a:pt x="33847" y="25151"/>
                    <a:pt x="33879" y="25077"/>
                  </a:cubicBezTo>
                  <a:cubicBezTo>
                    <a:pt x="33928" y="24968"/>
                    <a:pt x="34050" y="24926"/>
                    <a:pt x="34159" y="24888"/>
                  </a:cubicBezTo>
                  <a:cubicBezTo>
                    <a:pt x="34222" y="24867"/>
                    <a:pt x="34285" y="24846"/>
                    <a:pt x="34309" y="24818"/>
                  </a:cubicBezTo>
                  <a:cubicBezTo>
                    <a:pt x="34316" y="24811"/>
                    <a:pt x="34323" y="24804"/>
                    <a:pt x="34327" y="24797"/>
                  </a:cubicBezTo>
                  <a:cubicBezTo>
                    <a:pt x="34383" y="24755"/>
                    <a:pt x="34442" y="24716"/>
                    <a:pt x="34505" y="24688"/>
                  </a:cubicBezTo>
                  <a:cubicBezTo>
                    <a:pt x="34565" y="24657"/>
                    <a:pt x="34642" y="24622"/>
                    <a:pt x="34656" y="24590"/>
                  </a:cubicBezTo>
                  <a:cubicBezTo>
                    <a:pt x="34698" y="24510"/>
                    <a:pt x="34803" y="24489"/>
                    <a:pt x="34904" y="24464"/>
                  </a:cubicBezTo>
                  <a:cubicBezTo>
                    <a:pt x="34946" y="24457"/>
                    <a:pt x="34988" y="24447"/>
                    <a:pt x="35030" y="24426"/>
                  </a:cubicBezTo>
                  <a:cubicBezTo>
                    <a:pt x="35055" y="24366"/>
                    <a:pt x="35132" y="24335"/>
                    <a:pt x="35216" y="24321"/>
                  </a:cubicBezTo>
                  <a:cubicBezTo>
                    <a:pt x="35256" y="24314"/>
                    <a:pt x="35296" y="24311"/>
                    <a:pt x="35336" y="24311"/>
                  </a:cubicBezTo>
                  <a:cubicBezTo>
                    <a:pt x="35382" y="24311"/>
                    <a:pt x="35427" y="24315"/>
                    <a:pt x="35471" y="24324"/>
                  </a:cubicBezTo>
                  <a:lnTo>
                    <a:pt x="35492" y="24328"/>
                  </a:lnTo>
                  <a:cubicBezTo>
                    <a:pt x="35621" y="24365"/>
                    <a:pt x="36122" y="24458"/>
                    <a:pt x="36216" y="24458"/>
                  </a:cubicBezTo>
                  <a:cubicBezTo>
                    <a:pt x="36219" y="24458"/>
                    <a:pt x="36222" y="24458"/>
                    <a:pt x="36224" y="24457"/>
                  </a:cubicBezTo>
                  <a:cubicBezTo>
                    <a:pt x="36231" y="24456"/>
                    <a:pt x="36238" y="24456"/>
                    <a:pt x="36244" y="24456"/>
                  </a:cubicBezTo>
                  <a:cubicBezTo>
                    <a:pt x="36327" y="24456"/>
                    <a:pt x="36359" y="24559"/>
                    <a:pt x="36389" y="24650"/>
                  </a:cubicBezTo>
                  <a:cubicBezTo>
                    <a:pt x="36399" y="24692"/>
                    <a:pt x="36413" y="24730"/>
                    <a:pt x="36434" y="24765"/>
                  </a:cubicBezTo>
                  <a:cubicBezTo>
                    <a:pt x="36487" y="24786"/>
                    <a:pt x="36539" y="24811"/>
                    <a:pt x="36585" y="24842"/>
                  </a:cubicBezTo>
                  <a:cubicBezTo>
                    <a:pt x="36651" y="24881"/>
                    <a:pt x="36784" y="24954"/>
                    <a:pt x="36826" y="24954"/>
                  </a:cubicBezTo>
                  <a:cubicBezTo>
                    <a:pt x="36885" y="24906"/>
                    <a:pt x="36994" y="24859"/>
                    <a:pt x="37114" y="24859"/>
                  </a:cubicBezTo>
                  <a:cubicBezTo>
                    <a:pt x="37186" y="24859"/>
                    <a:pt x="37262" y="24876"/>
                    <a:pt x="37334" y="24919"/>
                  </a:cubicBezTo>
                  <a:cubicBezTo>
                    <a:pt x="37358" y="24933"/>
                    <a:pt x="37383" y="24947"/>
                    <a:pt x="37407" y="24965"/>
                  </a:cubicBezTo>
                  <a:cubicBezTo>
                    <a:pt x="37474" y="25003"/>
                    <a:pt x="37558" y="25059"/>
                    <a:pt x="37603" y="25066"/>
                  </a:cubicBezTo>
                  <a:lnTo>
                    <a:pt x="37621" y="25066"/>
                  </a:lnTo>
                  <a:cubicBezTo>
                    <a:pt x="37621" y="25066"/>
                    <a:pt x="37624" y="25066"/>
                    <a:pt x="37631" y="25056"/>
                  </a:cubicBezTo>
                  <a:cubicBezTo>
                    <a:pt x="37673" y="24979"/>
                    <a:pt x="37782" y="24933"/>
                    <a:pt x="37897" y="24895"/>
                  </a:cubicBezTo>
                  <a:lnTo>
                    <a:pt x="37947" y="24877"/>
                  </a:lnTo>
                  <a:cubicBezTo>
                    <a:pt x="37996" y="24863"/>
                    <a:pt x="38045" y="24846"/>
                    <a:pt x="38090" y="24821"/>
                  </a:cubicBezTo>
                  <a:cubicBezTo>
                    <a:pt x="38125" y="24772"/>
                    <a:pt x="38157" y="24622"/>
                    <a:pt x="38115" y="24590"/>
                  </a:cubicBezTo>
                  <a:cubicBezTo>
                    <a:pt x="38020" y="24513"/>
                    <a:pt x="37943" y="24268"/>
                    <a:pt x="37911" y="24146"/>
                  </a:cubicBezTo>
                  <a:cubicBezTo>
                    <a:pt x="37904" y="24128"/>
                    <a:pt x="37901" y="24114"/>
                    <a:pt x="37897" y="24100"/>
                  </a:cubicBezTo>
                  <a:cubicBezTo>
                    <a:pt x="37869" y="23985"/>
                    <a:pt x="37968" y="23918"/>
                    <a:pt x="38038" y="23873"/>
                  </a:cubicBezTo>
                  <a:cubicBezTo>
                    <a:pt x="38076" y="23848"/>
                    <a:pt x="38118" y="23820"/>
                    <a:pt x="38125" y="23792"/>
                  </a:cubicBezTo>
                  <a:cubicBezTo>
                    <a:pt x="38153" y="23691"/>
                    <a:pt x="38255" y="23652"/>
                    <a:pt x="38339" y="23617"/>
                  </a:cubicBezTo>
                  <a:cubicBezTo>
                    <a:pt x="38370" y="23607"/>
                    <a:pt x="38402" y="23589"/>
                    <a:pt x="38433" y="23572"/>
                  </a:cubicBezTo>
                  <a:cubicBezTo>
                    <a:pt x="38447" y="23551"/>
                    <a:pt x="38461" y="23530"/>
                    <a:pt x="38472" y="23505"/>
                  </a:cubicBezTo>
                  <a:cubicBezTo>
                    <a:pt x="38502" y="23454"/>
                    <a:pt x="38548" y="23369"/>
                    <a:pt x="38643" y="23369"/>
                  </a:cubicBezTo>
                  <a:cubicBezTo>
                    <a:pt x="38658" y="23369"/>
                    <a:pt x="38674" y="23371"/>
                    <a:pt x="38692" y="23376"/>
                  </a:cubicBezTo>
                  <a:cubicBezTo>
                    <a:pt x="38706" y="23379"/>
                    <a:pt x="39049" y="23477"/>
                    <a:pt x="39123" y="23554"/>
                  </a:cubicBezTo>
                  <a:cubicBezTo>
                    <a:pt x="39151" y="23579"/>
                    <a:pt x="39298" y="23614"/>
                    <a:pt x="39417" y="23614"/>
                  </a:cubicBezTo>
                  <a:cubicBezTo>
                    <a:pt x="39536" y="23614"/>
                    <a:pt x="39707" y="23701"/>
                    <a:pt x="39854" y="23785"/>
                  </a:cubicBezTo>
                  <a:cubicBezTo>
                    <a:pt x="39921" y="23813"/>
                    <a:pt x="39991" y="23827"/>
                    <a:pt x="40065" y="23838"/>
                  </a:cubicBezTo>
                  <a:cubicBezTo>
                    <a:pt x="40215" y="23862"/>
                    <a:pt x="40359" y="23887"/>
                    <a:pt x="40411" y="23967"/>
                  </a:cubicBezTo>
                  <a:cubicBezTo>
                    <a:pt x="40453" y="24030"/>
                    <a:pt x="40450" y="24125"/>
                    <a:pt x="40446" y="24226"/>
                  </a:cubicBezTo>
                  <a:cubicBezTo>
                    <a:pt x="40446" y="24303"/>
                    <a:pt x="40443" y="24401"/>
                    <a:pt x="40471" y="24433"/>
                  </a:cubicBezTo>
                  <a:cubicBezTo>
                    <a:pt x="40583" y="24562"/>
                    <a:pt x="40688" y="24660"/>
                    <a:pt x="40733" y="24671"/>
                  </a:cubicBezTo>
                  <a:cubicBezTo>
                    <a:pt x="40749" y="24662"/>
                    <a:pt x="40767" y="24658"/>
                    <a:pt x="40787" y="24658"/>
                  </a:cubicBezTo>
                  <a:cubicBezTo>
                    <a:pt x="40848" y="24658"/>
                    <a:pt x="40927" y="24693"/>
                    <a:pt x="41024" y="24737"/>
                  </a:cubicBezTo>
                  <a:cubicBezTo>
                    <a:pt x="41087" y="24769"/>
                    <a:pt x="41153" y="24793"/>
                    <a:pt x="41220" y="24811"/>
                  </a:cubicBezTo>
                  <a:cubicBezTo>
                    <a:pt x="41223" y="24813"/>
                    <a:pt x="41227" y="24814"/>
                    <a:pt x="41230" y="24814"/>
                  </a:cubicBezTo>
                  <a:cubicBezTo>
                    <a:pt x="41233" y="24814"/>
                    <a:pt x="41236" y="24813"/>
                    <a:pt x="41237" y="24811"/>
                  </a:cubicBezTo>
                  <a:cubicBezTo>
                    <a:pt x="41290" y="24797"/>
                    <a:pt x="41339" y="24769"/>
                    <a:pt x="41384" y="24737"/>
                  </a:cubicBezTo>
                  <a:lnTo>
                    <a:pt x="41405" y="24723"/>
                  </a:lnTo>
                  <a:cubicBezTo>
                    <a:pt x="41489" y="24667"/>
                    <a:pt x="41566" y="24618"/>
                    <a:pt x="41636" y="24618"/>
                  </a:cubicBezTo>
                  <a:cubicBezTo>
                    <a:pt x="41699" y="24611"/>
                    <a:pt x="41762" y="24601"/>
                    <a:pt x="41825" y="24590"/>
                  </a:cubicBezTo>
                  <a:cubicBezTo>
                    <a:pt x="41913" y="24569"/>
                    <a:pt x="42004" y="24559"/>
                    <a:pt x="42092" y="24552"/>
                  </a:cubicBezTo>
                  <a:cubicBezTo>
                    <a:pt x="42109" y="24552"/>
                    <a:pt x="42130" y="24552"/>
                    <a:pt x="42148" y="24555"/>
                  </a:cubicBezTo>
                  <a:cubicBezTo>
                    <a:pt x="42197" y="24566"/>
                    <a:pt x="42246" y="24576"/>
                    <a:pt x="42295" y="24594"/>
                  </a:cubicBezTo>
                  <a:lnTo>
                    <a:pt x="42323" y="24601"/>
                  </a:lnTo>
                  <a:cubicBezTo>
                    <a:pt x="42407" y="24625"/>
                    <a:pt x="42557" y="24671"/>
                    <a:pt x="42605" y="24671"/>
                  </a:cubicBezTo>
                  <a:cubicBezTo>
                    <a:pt x="42607" y="24671"/>
                    <a:pt x="42608" y="24671"/>
                    <a:pt x="42610" y="24671"/>
                  </a:cubicBezTo>
                  <a:cubicBezTo>
                    <a:pt x="42633" y="24660"/>
                    <a:pt x="42665" y="24656"/>
                    <a:pt x="42700" y="24656"/>
                  </a:cubicBezTo>
                  <a:cubicBezTo>
                    <a:pt x="42788" y="24656"/>
                    <a:pt x="42892" y="24682"/>
                    <a:pt x="42897" y="24685"/>
                  </a:cubicBezTo>
                  <a:cubicBezTo>
                    <a:pt x="43016" y="24716"/>
                    <a:pt x="43089" y="24758"/>
                    <a:pt x="43117" y="24814"/>
                  </a:cubicBezTo>
                  <a:cubicBezTo>
                    <a:pt x="43135" y="24835"/>
                    <a:pt x="43233" y="24860"/>
                    <a:pt x="43296" y="24874"/>
                  </a:cubicBezTo>
                  <a:cubicBezTo>
                    <a:pt x="43432" y="24909"/>
                    <a:pt x="43576" y="24944"/>
                    <a:pt x="43576" y="25056"/>
                  </a:cubicBezTo>
                  <a:cubicBezTo>
                    <a:pt x="43576" y="25080"/>
                    <a:pt x="43635" y="25126"/>
                    <a:pt x="43684" y="25161"/>
                  </a:cubicBezTo>
                  <a:cubicBezTo>
                    <a:pt x="43758" y="25203"/>
                    <a:pt x="43817" y="25263"/>
                    <a:pt x="43859" y="25336"/>
                  </a:cubicBezTo>
                  <a:cubicBezTo>
                    <a:pt x="43884" y="25371"/>
                    <a:pt x="44069" y="25378"/>
                    <a:pt x="44178" y="25382"/>
                  </a:cubicBezTo>
                  <a:lnTo>
                    <a:pt x="44196" y="25382"/>
                  </a:lnTo>
                  <a:cubicBezTo>
                    <a:pt x="44371" y="25389"/>
                    <a:pt x="44483" y="25396"/>
                    <a:pt x="44539" y="25441"/>
                  </a:cubicBezTo>
                  <a:cubicBezTo>
                    <a:pt x="44574" y="25459"/>
                    <a:pt x="44612" y="25469"/>
                    <a:pt x="44654" y="25473"/>
                  </a:cubicBezTo>
                  <a:cubicBezTo>
                    <a:pt x="44720" y="25480"/>
                    <a:pt x="44787" y="25483"/>
                    <a:pt x="44853" y="25483"/>
                  </a:cubicBezTo>
                  <a:cubicBezTo>
                    <a:pt x="44951" y="25483"/>
                    <a:pt x="45050" y="25475"/>
                    <a:pt x="45148" y="25459"/>
                  </a:cubicBezTo>
                  <a:cubicBezTo>
                    <a:pt x="45155" y="25459"/>
                    <a:pt x="45165" y="25455"/>
                    <a:pt x="45172" y="25455"/>
                  </a:cubicBezTo>
                  <a:cubicBezTo>
                    <a:pt x="45176" y="25445"/>
                    <a:pt x="45186" y="25434"/>
                    <a:pt x="45197" y="25427"/>
                  </a:cubicBezTo>
                  <a:cubicBezTo>
                    <a:pt x="45207" y="25420"/>
                    <a:pt x="45221" y="25413"/>
                    <a:pt x="45235" y="25406"/>
                  </a:cubicBezTo>
                  <a:cubicBezTo>
                    <a:pt x="45333" y="25378"/>
                    <a:pt x="45431" y="25357"/>
                    <a:pt x="45533" y="25347"/>
                  </a:cubicBezTo>
                  <a:cubicBezTo>
                    <a:pt x="45627" y="25329"/>
                    <a:pt x="45743" y="25312"/>
                    <a:pt x="45820" y="25291"/>
                  </a:cubicBezTo>
                  <a:cubicBezTo>
                    <a:pt x="45848" y="25287"/>
                    <a:pt x="45876" y="25277"/>
                    <a:pt x="45897" y="25263"/>
                  </a:cubicBezTo>
                  <a:cubicBezTo>
                    <a:pt x="45960" y="25217"/>
                    <a:pt x="46051" y="25203"/>
                    <a:pt x="46138" y="25189"/>
                  </a:cubicBezTo>
                  <a:cubicBezTo>
                    <a:pt x="46194" y="25179"/>
                    <a:pt x="46293" y="25165"/>
                    <a:pt x="46310" y="25144"/>
                  </a:cubicBezTo>
                  <a:cubicBezTo>
                    <a:pt x="46324" y="25038"/>
                    <a:pt x="46457" y="24972"/>
                    <a:pt x="46597" y="24905"/>
                  </a:cubicBezTo>
                  <a:cubicBezTo>
                    <a:pt x="46657" y="24877"/>
                    <a:pt x="46716" y="24846"/>
                    <a:pt x="46772" y="24811"/>
                  </a:cubicBezTo>
                  <a:cubicBezTo>
                    <a:pt x="46844" y="24756"/>
                    <a:pt x="46990" y="24733"/>
                    <a:pt x="47132" y="24733"/>
                  </a:cubicBezTo>
                  <a:cubicBezTo>
                    <a:pt x="47245" y="24733"/>
                    <a:pt x="47356" y="24748"/>
                    <a:pt x="47427" y="24772"/>
                  </a:cubicBezTo>
                  <a:cubicBezTo>
                    <a:pt x="47500" y="24797"/>
                    <a:pt x="47542" y="24828"/>
                    <a:pt x="47553" y="24877"/>
                  </a:cubicBezTo>
                  <a:cubicBezTo>
                    <a:pt x="47556" y="24877"/>
                    <a:pt x="47556" y="24881"/>
                    <a:pt x="47556" y="24881"/>
                  </a:cubicBezTo>
                  <a:cubicBezTo>
                    <a:pt x="47567" y="24891"/>
                    <a:pt x="47577" y="24902"/>
                    <a:pt x="47591" y="24905"/>
                  </a:cubicBezTo>
                  <a:cubicBezTo>
                    <a:pt x="47657" y="24934"/>
                    <a:pt x="47726" y="24948"/>
                    <a:pt x="47796" y="24948"/>
                  </a:cubicBezTo>
                  <a:cubicBezTo>
                    <a:pt x="47803" y="24948"/>
                    <a:pt x="47811" y="24948"/>
                    <a:pt x="47819" y="24947"/>
                  </a:cubicBezTo>
                  <a:cubicBezTo>
                    <a:pt x="47857" y="24947"/>
                    <a:pt x="47899" y="24940"/>
                    <a:pt x="47938" y="24930"/>
                  </a:cubicBezTo>
                  <a:cubicBezTo>
                    <a:pt x="47952" y="24926"/>
                    <a:pt x="47966" y="24923"/>
                    <a:pt x="47980" y="24919"/>
                  </a:cubicBezTo>
                  <a:lnTo>
                    <a:pt x="47990" y="24919"/>
                  </a:lnTo>
                  <a:cubicBezTo>
                    <a:pt x="48004" y="24916"/>
                    <a:pt x="48018" y="24912"/>
                    <a:pt x="48032" y="24912"/>
                  </a:cubicBezTo>
                  <a:cubicBezTo>
                    <a:pt x="48044" y="24912"/>
                    <a:pt x="48056" y="24912"/>
                    <a:pt x="48068" y="24912"/>
                  </a:cubicBezTo>
                  <a:cubicBezTo>
                    <a:pt x="48154" y="24912"/>
                    <a:pt x="48240" y="24923"/>
                    <a:pt x="48323" y="24951"/>
                  </a:cubicBezTo>
                  <a:lnTo>
                    <a:pt x="48344" y="24958"/>
                  </a:lnTo>
                  <a:cubicBezTo>
                    <a:pt x="48365" y="24965"/>
                    <a:pt x="48386" y="24975"/>
                    <a:pt x="48404" y="24982"/>
                  </a:cubicBezTo>
                  <a:lnTo>
                    <a:pt x="48442" y="25000"/>
                  </a:lnTo>
                  <a:lnTo>
                    <a:pt x="48442" y="25003"/>
                  </a:lnTo>
                  <a:lnTo>
                    <a:pt x="48449" y="25007"/>
                  </a:lnTo>
                  <a:lnTo>
                    <a:pt x="48467" y="25017"/>
                  </a:lnTo>
                  <a:lnTo>
                    <a:pt x="48474" y="25021"/>
                  </a:lnTo>
                  <a:cubicBezTo>
                    <a:pt x="48491" y="25035"/>
                    <a:pt x="48509" y="25052"/>
                    <a:pt x="48519" y="25070"/>
                  </a:cubicBezTo>
                  <a:cubicBezTo>
                    <a:pt x="48526" y="25077"/>
                    <a:pt x="48533" y="25087"/>
                    <a:pt x="48537" y="25095"/>
                  </a:cubicBezTo>
                  <a:cubicBezTo>
                    <a:pt x="48560" y="25151"/>
                    <a:pt x="48809" y="25213"/>
                    <a:pt x="48935" y="25213"/>
                  </a:cubicBezTo>
                  <a:cubicBezTo>
                    <a:pt x="48957" y="25213"/>
                    <a:pt x="48976" y="25211"/>
                    <a:pt x="48988" y="25207"/>
                  </a:cubicBezTo>
                  <a:lnTo>
                    <a:pt x="49002" y="25200"/>
                  </a:lnTo>
                  <a:cubicBezTo>
                    <a:pt x="49041" y="25182"/>
                    <a:pt x="49111" y="25140"/>
                    <a:pt x="49177" y="25098"/>
                  </a:cubicBezTo>
                  <a:cubicBezTo>
                    <a:pt x="49335" y="25003"/>
                    <a:pt x="49443" y="24937"/>
                    <a:pt x="49517" y="24926"/>
                  </a:cubicBezTo>
                  <a:cubicBezTo>
                    <a:pt x="49587" y="24916"/>
                    <a:pt x="49650" y="24877"/>
                    <a:pt x="49692" y="24821"/>
                  </a:cubicBezTo>
                  <a:cubicBezTo>
                    <a:pt x="49699" y="24814"/>
                    <a:pt x="49702" y="24807"/>
                    <a:pt x="49702" y="24797"/>
                  </a:cubicBezTo>
                  <a:cubicBezTo>
                    <a:pt x="49706" y="24790"/>
                    <a:pt x="49706" y="24779"/>
                    <a:pt x="49702" y="24769"/>
                  </a:cubicBezTo>
                  <a:cubicBezTo>
                    <a:pt x="49678" y="24681"/>
                    <a:pt x="49744" y="24559"/>
                    <a:pt x="49856" y="24373"/>
                  </a:cubicBezTo>
                  <a:cubicBezTo>
                    <a:pt x="49891" y="24314"/>
                    <a:pt x="49926" y="24254"/>
                    <a:pt x="49947" y="24209"/>
                  </a:cubicBezTo>
                  <a:cubicBezTo>
                    <a:pt x="49954" y="24195"/>
                    <a:pt x="49958" y="24184"/>
                    <a:pt x="49961" y="24170"/>
                  </a:cubicBezTo>
                  <a:cubicBezTo>
                    <a:pt x="49993" y="24048"/>
                    <a:pt x="50175" y="23743"/>
                    <a:pt x="50294" y="23638"/>
                  </a:cubicBezTo>
                  <a:cubicBezTo>
                    <a:pt x="50308" y="23624"/>
                    <a:pt x="50322" y="23614"/>
                    <a:pt x="50339" y="23607"/>
                  </a:cubicBezTo>
                  <a:cubicBezTo>
                    <a:pt x="50424" y="23572"/>
                    <a:pt x="50550" y="23446"/>
                    <a:pt x="50543" y="23404"/>
                  </a:cubicBezTo>
                  <a:cubicBezTo>
                    <a:pt x="50532" y="23316"/>
                    <a:pt x="50511" y="23232"/>
                    <a:pt x="50483" y="23148"/>
                  </a:cubicBezTo>
                  <a:cubicBezTo>
                    <a:pt x="50476" y="23117"/>
                    <a:pt x="50462" y="23092"/>
                    <a:pt x="50441" y="23071"/>
                  </a:cubicBezTo>
                  <a:lnTo>
                    <a:pt x="50434" y="23071"/>
                  </a:lnTo>
                  <a:cubicBezTo>
                    <a:pt x="50371" y="23071"/>
                    <a:pt x="50276" y="23071"/>
                    <a:pt x="50234" y="22994"/>
                  </a:cubicBezTo>
                  <a:cubicBezTo>
                    <a:pt x="50196" y="22917"/>
                    <a:pt x="50231" y="22826"/>
                    <a:pt x="50346" y="22675"/>
                  </a:cubicBezTo>
                  <a:cubicBezTo>
                    <a:pt x="50511" y="22451"/>
                    <a:pt x="50758" y="22412"/>
                    <a:pt x="50926" y="22412"/>
                  </a:cubicBezTo>
                  <a:cubicBezTo>
                    <a:pt x="50984" y="22412"/>
                    <a:pt x="51032" y="22416"/>
                    <a:pt x="51064" y="22420"/>
                  </a:cubicBezTo>
                  <a:lnTo>
                    <a:pt x="51092" y="22420"/>
                  </a:lnTo>
                  <a:cubicBezTo>
                    <a:pt x="51099" y="22420"/>
                    <a:pt x="51159" y="22413"/>
                    <a:pt x="51204" y="22402"/>
                  </a:cubicBezTo>
                  <a:cubicBezTo>
                    <a:pt x="51344" y="22377"/>
                    <a:pt x="51556" y="22338"/>
                    <a:pt x="51731" y="22338"/>
                  </a:cubicBezTo>
                  <a:cubicBezTo>
                    <a:pt x="51802" y="22338"/>
                    <a:pt x="51866" y="22344"/>
                    <a:pt x="51918" y="22360"/>
                  </a:cubicBezTo>
                  <a:cubicBezTo>
                    <a:pt x="51978" y="22374"/>
                    <a:pt x="52037" y="22381"/>
                    <a:pt x="52097" y="22381"/>
                  </a:cubicBezTo>
                  <a:lnTo>
                    <a:pt x="52153" y="22381"/>
                  </a:lnTo>
                  <a:cubicBezTo>
                    <a:pt x="52166" y="22381"/>
                    <a:pt x="52179" y="22380"/>
                    <a:pt x="52193" y="22380"/>
                  </a:cubicBezTo>
                  <a:cubicBezTo>
                    <a:pt x="52257" y="22380"/>
                    <a:pt x="52323" y="22387"/>
                    <a:pt x="52384" y="22399"/>
                  </a:cubicBezTo>
                  <a:lnTo>
                    <a:pt x="52412" y="22406"/>
                  </a:lnTo>
                  <a:lnTo>
                    <a:pt x="52436" y="22413"/>
                  </a:lnTo>
                  <a:cubicBezTo>
                    <a:pt x="52450" y="22420"/>
                    <a:pt x="52468" y="22427"/>
                    <a:pt x="52486" y="22434"/>
                  </a:cubicBezTo>
                  <a:lnTo>
                    <a:pt x="52489" y="22434"/>
                  </a:lnTo>
                  <a:cubicBezTo>
                    <a:pt x="52507" y="22441"/>
                    <a:pt x="52528" y="22451"/>
                    <a:pt x="52545" y="22462"/>
                  </a:cubicBezTo>
                  <a:cubicBezTo>
                    <a:pt x="52654" y="22518"/>
                    <a:pt x="52790" y="22539"/>
                    <a:pt x="52909" y="22556"/>
                  </a:cubicBezTo>
                  <a:cubicBezTo>
                    <a:pt x="53053" y="22577"/>
                    <a:pt x="53172" y="22595"/>
                    <a:pt x="53231" y="22675"/>
                  </a:cubicBezTo>
                  <a:cubicBezTo>
                    <a:pt x="53270" y="22714"/>
                    <a:pt x="53312" y="22745"/>
                    <a:pt x="53357" y="22773"/>
                  </a:cubicBezTo>
                  <a:cubicBezTo>
                    <a:pt x="53469" y="22847"/>
                    <a:pt x="53620" y="22948"/>
                    <a:pt x="53602" y="23103"/>
                  </a:cubicBezTo>
                  <a:cubicBezTo>
                    <a:pt x="53602" y="23113"/>
                    <a:pt x="53599" y="23124"/>
                    <a:pt x="53599" y="23134"/>
                  </a:cubicBezTo>
                  <a:cubicBezTo>
                    <a:pt x="53595" y="23141"/>
                    <a:pt x="53595" y="23152"/>
                    <a:pt x="53592" y="23159"/>
                  </a:cubicBezTo>
                  <a:cubicBezTo>
                    <a:pt x="53592" y="23180"/>
                    <a:pt x="53599" y="23187"/>
                    <a:pt x="53637" y="23215"/>
                  </a:cubicBezTo>
                  <a:cubicBezTo>
                    <a:pt x="53704" y="23267"/>
                    <a:pt x="53809" y="23348"/>
                    <a:pt x="53858" y="23607"/>
                  </a:cubicBezTo>
                  <a:cubicBezTo>
                    <a:pt x="53882" y="23764"/>
                    <a:pt x="53952" y="23915"/>
                    <a:pt x="54057" y="24037"/>
                  </a:cubicBezTo>
                  <a:cubicBezTo>
                    <a:pt x="54117" y="24097"/>
                    <a:pt x="54155" y="24170"/>
                    <a:pt x="54180" y="24247"/>
                  </a:cubicBezTo>
                  <a:cubicBezTo>
                    <a:pt x="54183" y="24258"/>
                    <a:pt x="54187" y="24268"/>
                    <a:pt x="54190" y="24279"/>
                  </a:cubicBezTo>
                  <a:cubicBezTo>
                    <a:pt x="54225" y="24370"/>
                    <a:pt x="54267" y="24461"/>
                    <a:pt x="54316" y="24545"/>
                  </a:cubicBezTo>
                  <a:cubicBezTo>
                    <a:pt x="54404" y="24713"/>
                    <a:pt x="54463" y="24828"/>
                    <a:pt x="54460" y="24912"/>
                  </a:cubicBezTo>
                  <a:cubicBezTo>
                    <a:pt x="54460" y="24923"/>
                    <a:pt x="54460" y="24933"/>
                    <a:pt x="54456" y="24944"/>
                  </a:cubicBezTo>
                  <a:cubicBezTo>
                    <a:pt x="54442" y="24982"/>
                    <a:pt x="54439" y="25021"/>
                    <a:pt x="54435" y="25056"/>
                  </a:cubicBezTo>
                  <a:cubicBezTo>
                    <a:pt x="54435" y="25063"/>
                    <a:pt x="54439" y="25070"/>
                    <a:pt x="54439" y="25077"/>
                  </a:cubicBezTo>
                  <a:cubicBezTo>
                    <a:pt x="54442" y="25091"/>
                    <a:pt x="54446" y="25105"/>
                    <a:pt x="54453" y="25116"/>
                  </a:cubicBezTo>
                  <a:cubicBezTo>
                    <a:pt x="54481" y="25154"/>
                    <a:pt x="54551" y="25168"/>
                    <a:pt x="54607" y="25168"/>
                  </a:cubicBezTo>
                  <a:cubicBezTo>
                    <a:pt x="54782" y="25179"/>
                    <a:pt x="54929" y="25263"/>
                    <a:pt x="55027" y="25319"/>
                  </a:cubicBezTo>
                  <a:cubicBezTo>
                    <a:pt x="55055" y="25336"/>
                    <a:pt x="55080" y="25350"/>
                    <a:pt x="55108" y="25364"/>
                  </a:cubicBezTo>
                  <a:lnTo>
                    <a:pt x="55118" y="25368"/>
                  </a:lnTo>
                  <a:cubicBezTo>
                    <a:pt x="55133" y="25362"/>
                    <a:pt x="55150" y="25360"/>
                    <a:pt x="55171" y="25360"/>
                  </a:cubicBezTo>
                  <a:cubicBezTo>
                    <a:pt x="55316" y="25360"/>
                    <a:pt x="55589" y="25485"/>
                    <a:pt x="55731" y="25627"/>
                  </a:cubicBezTo>
                  <a:cubicBezTo>
                    <a:pt x="55769" y="25662"/>
                    <a:pt x="55815" y="25686"/>
                    <a:pt x="55867" y="25700"/>
                  </a:cubicBezTo>
                  <a:cubicBezTo>
                    <a:pt x="55899" y="25711"/>
                    <a:pt x="55927" y="25721"/>
                    <a:pt x="55958" y="25728"/>
                  </a:cubicBezTo>
                  <a:cubicBezTo>
                    <a:pt x="55983" y="25735"/>
                    <a:pt x="56004" y="25742"/>
                    <a:pt x="56028" y="25749"/>
                  </a:cubicBezTo>
                  <a:cubicBezTo>
                    <a:pt x="56102" y="25777"/>
                    <a:pt x="56172" y="25823"/>
                    <a:pt x="56161" y="25942"/>
                  </a:cubicBezTo>
                  <a:cubicBezTo>
                    <a:pt x="56161" y="26019"/>
                    <a:pt x="56182" y="26096"/>
                    <a:pt x="56217" y="26166"/>
                  </a:cubicBezTo>
                  <a:cubicBezTo>
                    <a:pt x="56256" y="26239"/>
                    <a:pt x="56277" y="26327"/>
                    <a:pt x="56273" y="26411"/>
                  </a:cubicBezTo>
                  <a:cubicBezTo>
                    <a:pt x="56277" y="26428"/>
                    <a:pt x="56284" y="26442"/>
                    <a:pt x="56298" y="26453"/>
                  </a:cubicBezTo>
                  <a:cubicBezTo>
                    <a:pt x="56305" y="26463"/>
                    <a:pt x="56319" y="26470"/>
                    <a:pt x="56329" y="26477"/>
                  </a:cubicBezTo>
                  <a:cubicBezTo>
                    <a:pt x="56427" y="26529"/>
                    <a:pt x="56531" y="26555"/>
                    <a:pt x="56639" y="26555"/>
                  </a:cubicBezTo>
                  <a:cubicBezTo>
                    <a:pt x="56663" y="26555"/>
                    <a:pt x="56687" y="26553"/>
                    <a:pt x="56711" y="26551"/>
                  </a:cubicBezTo>
                  <a:lnTo>
                    <a:pt x="56736" y="26551"/>
                  </a:lnTo>
                  <a:cubicBezTo>
                    <a:pt x="56771" y="26546"/>
                    <a:pt x="56806" y="26543"/>
                    <a:pt x="56843" y="26543"/>
                  </a:cubicBezTo>
                  <a:cubicBezTo>
                    <a:pt x="56879" y="26543"/>
                    <a:pt x="56916" y="26546"/>
                    <a:pt x="56953" y="26551"/>
                  </a:cubicBezTo>
                  <a:cubicBezTo>
                    <a:pt x="56984" y="26551"/>
                    <a:pt x="57012" y="26554"/>
                    <a:pt x="57037" y="26554"/>
                  </a:cubicBezTo>
                  <a:cubicBezTo>
                    <a:pt x="57042" y="26555"/>
                    <a:pt x="57047" y="26555"/>
                    <a:pt x="57052" y="26555"/>
                  </a:cubicBezTo>
                  <a:cubicBezTo>
                    <a:pt x="57103" y="26555"/>
                    <a:pt x="57151" y="26525"/>
                    <a:pt x="57170" y="26474"/>
                  </a:cubicBezTo>
                  <a:cubicBezTo>
                    <a:pt x="57229" y="26358"/>
                    <a:pt x="57341" y="26320"/>
                    <a:pt x="57450" y="26302"/>
                  </a:cubicBezTo>
                  <a:cubicBezTo>
                    <a:pt x="57488" y="26295"/>
                    <a:pt x="57523" y="26292"/>
                    <a:pt x="57558" y="26288"/>
                  </a:cubicBezTo>
                  <a:cubicBezTo>
                    <a:pt x="57618" y="26288"/>
                    <a:pt x="57674" y="26278"/>
                    <a:pt x="57723" y="26257"/>
                  </a:cubicBezTo>
                  <a:lnTo>
                    <a:pt x="57740" y="26243"/>
                  </a:lnTo>
                  <a:cubicBezTo>
                    <a:pt x="57824" y="26194"/>
                    <a:pt x="57915" y="26166"/>
                    <a:pt x="58013" y="26159"/>
                  </a:cubicBezTo>
                  <a:cubicBezTo>
                    <a:pt x="58062" y="26159"/>
                    <a:pt x="58111" y="26169"/>
                    <a:pt x="58157" y="26190"/>
                  </a:cubicBezTo>
                  <a:cubicBezTo>
                    <a:pt x="58209" y="26222"/>
                    <a:pt x="58272" y="26285"/>
                    <a:pt x="58265" y="26425"/>
                  </a:cubicBezTo>
                  <a:cubicBezTo>
                    <a:pt x="58262" y="26512"/>
                    <a:pt x="58276" y="26600"/>
                    <a:pt x="58314" y="26677"/>
                  </a:cubicBezTo>
                  <a:cubicBezTo>
                    <a:pt x="58321" y="26691"/>
                    <a:pt x="58328" y="26705"/>
                    <a:pt x="58332" y="26719"/>
                  </a:cubicBezTo>
                  <a:cubicBezTo>
                    <a:pt x="58335" y="26729"/>
                    <a:pt x="58339" y="26740"/>
                    <a:pt x="58342" y="26750"/>
                  </a:cubicBezTo>
                  <a:cubicBezTo>
                    <a:pt x="58342" y="26764"/>
                    <a:pt x="58346" y="26775"/>
                    <a:pt x="58346" y="26785"/>
                  </a:cubicBezTo>
                  <a:cubicBezTo>
                    <a:pt x="58346" y="26834"/>
                    <a:pt x="58325" y="26883"/>
                    <a:pt x="58248" y="26929"/>
                  </a:cubicBezTo>
                  <a:cubicBezTo>
                    <a:pt x="58136" y="26999"/>
                    <a:pt x="58055" y="27321"/>
                    <a:pt x="58013" y="27493"/>
                  </a:cubicBezTo>
                  <a:cubicBezTo>
                    <a:pt x="58003" y="27528"/>
                    <a:pt x="57996" y="27559"/>
                    <a:pt x="57989" y="27587"/>
                  </a:cubicBezTo>
                  <a:cubicBezTo>
                    <a:pt x="57961" y="27692"/>
                    <a:pt x="57880" y="27759"/>
                    <a:pt x="57810" y="27815"/>
                  </a:cubicBezTo>
                  <a:cubicBezTo>
                    <a:pt x="57740" y="27874"/>
                    <a:pt x="57677" y="27923"/>
                    <a:pt x="57667" y="28000"/>
                  </a:cubicBezTo>
                  <a:cubicBezTo>
                    <a:pt x="57646" y="28126"/>
                    <a:pt x="57562" y="28193"/>
                    <a:pt x="57492" y="28242"/>
                  </a:cubicBezTo>
                  <a:cubicBezTo>
                    <a:pt x="57432" y="28287"/>
                    <a:pt x="57408" y="28312"/>
                    <a:pt x="57408" y="28347"/>
                  </a:cubicBezTo>
                  <a:cubicBezTo>
                    <a:pt x="57408" y="28403"/>
                    <a:pt x="57373" y="28455"/>
                    <a:pt x="57324" y="28480"/>
                  </a:cubicBezTo>
                  <a:cubicBezTo>
                    <a:pt x="57284" y="28500"/>
                    <a:pt x="57234" y="28509"/>
                    <a:pt x="57180" y="28509"/>
                  </a:cubicBezTo>
                  <a:cubicBezTo>
                    <a:pt x="57056" y="28509"/>
                    <a:pt x="56910" y="28463"/>
                    <a:pt x="56820" y="28399"/>
                  </a:cubicBezTo>
                  <a:cubicBezTo>
                    <a:pt x="56809" y="28392"/>
                    <a:pt x="56797" y="28388"/>
                    <a:pt x="56785" y="28388"/>
                  </a:cubicBezTo>
                  <a:cubicBezTo>
                    <a:pt x="56746" y="28388"/>
                    <a:pt x="56696" y="28425"/>
                    <a:pt x="56617" y="28497"/>
                  </a:cubicBezTo>
                  <a:cubicBezTo>
                    <a:pt x="56546" y="28560"/>
                    <a:pt x="56480" y="28623"/>
                    <a:pt x="56403" y="28623"/>
                  </a:cubicBezTo>
                  <a:cubicBezTo>
                    <a:pt x="56399" y="28623"/>
                    <a:pt x="56396" y="28623"/>
                    <a:pt x="56392" y="28630"/>
                  </a:cubicBezTo>
                  <a:cubicBezTo>
                    <a:pt x="56357" y="28676"/>
                    <a:pt x="56357" y="28830"/>
                    <a:pt x="56385" y="28928"/>
                  </a:cubicBezTo>
                  <a:cubicBezTo>
                    <a:pt x="56392" y="28956"/>
                    <a:pt x="56396" y="28984"/>
                    <a:pt x="56396" y="29015"/>
                  </a:cubicBezTo>
                  <a:cubicBezTo>
                    <a:pt x="56396" y="29043"/>
                    <a:pt x="56392" y="29071"/>
                    <a:pt x="56389" y="29103"/>
                  </a:cubicBezTo>
                  <a:cubicBezTo>
                    <a:pt x="56389" y="29124"/>
                    <a:pt x="56385" y="29145"/>
                    <a:pt x="56385" y="29166"/>
                  </a:cubicBezTo>
                  <a:lnTo>
                    <a:pt x="56385" y="29197"/>
                  </a:lnTo>
                  <a:cubicBezTo>
                    <a:pt x="56382" y="29257"/>
                    <a:pt x="56396" y="29317"/>
                    <a:pt x="56417" y="29373"/>
                  </a:cubicBezTo>
                  <a:cubicBezTo>
                    <a:pt x="56448" y="29446"/>
                    <a:pt x="56448" y="29551"/>
                    <a:pt x="56452" y="29670"/>
                  </a:cubicBezTo>
                  <a:cubicBezTo>
                    <a:pt x="56452" y="29712"/>
                    <a:pt x="56452" y="29754"/>
                    <a:pt x="56452" y="29800"/>
                  </a:cubicBezTo>
                  <a:cubicBezTo>
                    <a:pt x="56641" y="29674"/>
                    <a:pt x="56774" y="29607"/>
                    <a:pt x="56851" y="29607"/>
                  </a:cubicBezTo>
                  <a:cubicBezTo>
                    <a:pt x="56974" y="29607"/>
                    <a:pt x="57086" y="29702"/>
                    <a:pt x="57194" y="29793"/>
                  </a:cubicBezTo>
                  <a:cubicBezTo>
                    <a:pt x="57289" y="29877"/>
                    <a:pt x="57390" y="29961"/>
                    <a:pt x="57481" y="29964"/>
                  </a:cubicBezTo>
                  <a:lnTo>
                    <a:pt x="57485" y="29964"/>
                  </a:lnTo>
                  <a:cubicBezTo>
                    <a:pt x="57674" y="29964"/>
                    <a:pt x="58605" y="29359"/>
                    <a:pt x="58678" y="29222"/>
                  </a:cubicBezTo>
                  <a:cubicBezTo>
                    <a:pt x="58693" y="29127"/>
                    <a:pt x="58868" y="28935"/>
                    <a:pt x="59333" y="28466"/>
                  </a:cubicBezTo>
                  <a:cubicBezTo>
                    <a:pt x="59424" y="28368"/>
                    <a:pt x="59515" y="28277"/>
                    <a:pt x="59585" y="28207"/>
                  </a:cubicBezTo>
                  <a:cubicBezTo>
                    <a:pt x="59813" y="27962"/>
                    <a:pt x="60219" y="27507"/>
                    <a:pt x="60373" y="27149"/>
                  </a:cubicBezTo>
                  <a:cubicBezTo>
                    <a:pt x="60429" y="27016"/>
                    <a:pt x="60597" y="26817"/>
                    <a:pt x="60744" y="26638"/>
                  </a:cubicBezTo>
                  <a:cubicBezTo>
                    <a:pt x="60821" y="26551"/>
                    <a:pt x="60891" y="26460"/>
                    <a:pt x="60958" y="26365"/>
                  </a:cubicBezTo>
                  <a:cubicBezTo>
                    <a:pt x="60986" y="26320"/>
                    <a:pt x="61017" y="26274"/>
                    <a:pt x="61052" y="26229"/>
                  </a:cubicBezTo>
                  <a:cubicBezTo>
                    <a:pt x="61150" y="26103"/>
                    <a:pt x="61231" y="25963"/>
                    <a:pt x="61294" y="25812"/>
                  </a:cubicBezTo>
                  <a:cubicBezTo>
                    <a:pt x="61399" y="25585"/>
                    <a:pt x="61441" y="25098"/>
                    <a:pt x="61469" y="24776"/>
                  </a:cubicBezTo>
                  <a:cubicBezTo>
                    <a:pt x="61497" y="24471"/>
                    <a:pt x="61504" y="24394"/>
                    <a:pt x="61539" y="24359"/>
                  </a:cubicBezTo>
                  <a:cubicBezTo>
                    <a:pt x="61553" y="24324"/>
                    <a:pt x="61560" y="24289"/>
                    <a:pt x="61563" y="24254"/>
                  </a:cubicBezTo>
                  <a:cubicBezTo>
                    <a:pt x="61567" y="24170"/>
                    <a:pt x="61595" y="24090"/>
                    <a:pt x="61640" y="24023"/>
                  </a:cubicBezTo>
                  <a:cubicBezTo>
                    <a:pt x="61665" y="23985"/>
                    <a:pt x="61679" y="23946"/>
                    <a:pt x="61689" y="23904"/>
                  </a:cubicBezTo>
                  <a:cubicBezTo>
                    <a:pt x="61710" y="23796"/>
                    <a:pt x="61766" y="23698"/>
                    <a:pt x="61850" y="23624"/>
                  </a:cubicBezTo>
                  <a:cubicBezTo>
                    <a:pt x="61980" y="23516"/>
                    <a:pt x="61962" y="23435"/>
                    <a:pt x="61924" y="23334"/>
                  </a:cubicBezTo>
                  <a:cubicBezTo>
                    <a:pt x="61899" y="23253"/>
                    <a:pt x="61892" y="23173"/>
                    <a:pt x="61903" y="23089"/>
                  </a:cubicBezTo>
                  <a:cubicBezTo>
                    <a:pt x="61906" y="23036"/>
                    <a:pt x="61903" y="22983"/>
                    <a:pt x="61892" y="22927"/>
                  </a:cubicBezTo>
                  <a:cubicBezTo>
                    <a:pt x="61826" y="22808"/>
                    <a:pt x="61878" y="22742"/>
                    <a:pt x="61976" y="22682"/>
                  </a:cubicBezTo>
                  <a:cubicBezTo>
                    <a:pt x="61927" y="22616"/>
                    <a:pt x="61864" y="22560"/>
                    <a:pt x="61787" y="22528"/>
                  </a:cubicBezTo>
                  <a:lnTo>
                    <a:pt x="61731" y="22504"/>
                  </a:lnTo>
                  <a:cubicBezTo>
                    <a:pt x="61598" y="22444"/>
                    <a:pt x="61437" y="22371"/>
                    <a:pt x="61416" y="22199"/>
                  </a:cubicBezTo>
                  <a:cubicBezTo>
                    <a:pt x="61406" y="22092"/>
                    <a:pt x="61222" y="21936"/>
                    <a:pt x="61077" y="21936"/>
                  </a:cubicBezTo>
                  <a:cubicBezTo>
                    <a:pt x="61071" y="21936"/>
                    <a:pt x="61065" y="21936"/>
                    <a:pt x="61059" y="21937"/>
                  </a:cubicBezTo>
                  <a:cubicBezTo>
                    <a:pt x="61045" y="21937"/>
                    <a:pt x="61031" y="21938"/>
                    <a:pt x="61017" y="21938"/>
                  </a:cubicBezTo>
                  <a:cubicBezTo>
                    <a:pt x="60946" y="21938"/>
                    <a:pt x="60874" y="21930"/>
                    <a:pt x="60804" y="21916"/>
                  </a:cubicBezTo>
                  <a:cubicBezTo>
                    <a:pt x="60758" y="21912"/>
                    <a:pt x="60695" y="21902"/>
                    <a:pt x="60656" y="21902"/>
                  </a:cubicBezTo>
                  <a:cubicBezTo>
                    <a:pt x="60674" y="21968"/>
                    <a:pt x="60660" y="22042"/>
                    <a:pt x="60614" y="22094"/>
                  </a:cubicBezTo>
                  <a:cubicBezTo>
                    <a:pt x="60585" y="22127"/>
                    <a:pt x="60542" y="22145"/>
                    <a:pt x="60501" y="22145"/>
                  </a:cubicBezTo>
                  <a:cubicBezTo>
                    <a:pt x="60488" y="22145"/>
                    <a:pt x="60476" y="22143"/>
                    <a:pt x="60464" y="22140"/>
                  </a:cubicBezTo>
                  <a:cubicBezTo>
                    <a:pt x="60459" y="22138"/>
                    <a:pt x="60455" y="22137"/>
                    <a:pt x="60450" y="22137"/>
                  </a:cubicBezTo>
                  <a:cubicBezTo>
                    <a:pt x="60423" y="22137"/>
                    <a:pt x="60398" y="22170"/>
                    <a:pt x="60317" y="22294"/>
                  </a:cubicBezTo>
                  <a:lnTo>
                    <a:pt x="60299" y="22322"/>
                  </a:lnTo>
                  <a:cubicBezTo>
                    <a:pt x="60228" y="22431"/>
                    <a:pt x="60073" y="22482"/>
                    <a:pt x="59973" y="22482"/>
                  </a:cubicBezTo>
                  <a:cubicBezTo>
                    <a:pt x="59961" y="22482"/>
                    <a:pt x="59949" y="22481"/>
                    <a:pt x="59939" y="22479"/>
                  </a:cubicBezTo>
                  <a:cubicBezTo>
                    <a:pt x="59890" y="22479"/>
                    <a:pt x="59848" y="22448"/>
                    <a:pt x="59834" y="22402"/>
                  </a:cubicBezTo>
                  <a:cubicBezTo>
                    <a:pt x="59820" y="22360"/>
                    <a:pt x="59841" y="22311"/>
                    <a:pt x="59893" y="22259"/>
                  </a:cubicBezTo>
                  <a:cubicBezTo>
                    <a:pt x="59935" y="22224"/>
                    <a:pt x="59939" y="22210"/>
                    <a:pt x="59939" y="22210"/>
                  </a:cubicBezTo>
                  <a:cubicBezTo>
                    <a:pt x="59932" y="22196"/>
                    <a:pt x="59925" y="22185"/>
                    <a:pt x="59914" y="22175"/>
                  </a:cubicBezTo>
                  <a:cubicBezTo>
                    <a:pt x="59862" y="22122"/>
                    <a:pt x="59837" y="22045"/>
                    <a:pt x="59851" y="21972"/>
                  </a:cubicBezTo>
                  <a:cubicBezTo>
                    <a:pt x="59858" y="21933"/>
                    <a:pt x="59872" y="21895"/>
                    <a:pt x="59886" y="21856"/>
                  </a:cubicBezTo>
                  <a:lnTo>
                    <a:pt x="59886" y="21856"/>
                  </a:lnTo>
                  <a:cubicBezTo>
                    <a:pt x="59841" y="21905"/>
                    <a:pt x="59806" y="21958"/>
                    <a:pt x="59778" y="22017"/>
                  </a:cubicBezTo>
                  <a:cubicBezTo>
                    <a:pt x="59732" y="22105"/>
                    <a:pt x="59683" y="22196"/>
                    <a:pt x="59575" y="22220"/>
                  </a:cubicBezTo>
                  <a:cubicBezTo>
                    <a:pt x="59565" y="22223"/>
                    <a:pt x="59555" y="22224"/>
                    <a:pt x="59545" y="22224"/>
                  </a:cubicBezTo>
                  <a:cubicBezTo>
                    <a:pt x="59510" y="22224"/>
                    <a:pt x="59477" y="22209"/>
                    <a:pt x="59452" y="22182"/>
                  </a:cubicBezTo>
                  <a:cubicBezTo>
                    <a:pt x="59354" y="22070"/>
                    <a:pt x="59396" y="21737"/>
                    <a:pt x="59424" y="21611"/>
                  </a:cubicBezTo>
                  <a:cubicBezTo>
                    <a:pt x="59389" y="21611"/>
                    <a:pt x="59333" y="21618"/>
                    <a:pt x="59284" y="21625"/>
                  </a:cubicBezTo>
                  <a:cubicBezTo>
                    <a:pt x="59182" y="21641"/>
                    <a:pt x="59077" y="21649"/>
                    <a:pt x="58973" y="21649"/>
                  </a:cubicBezTo>
                  <a:cubicBezTo>
                    <a:pt x="58938" y="21649"/>
                    <a:pt x="58903" y="21648"/>
                    <a:pt x="58868" y="21646"/>
                  </a:cubicBezTo>
                  <a:cubicBezTo>
                    <a:pt x="58664" y="21632"/>
                    <a:pt x="58605" y="21548"/>
                    <a:pt x="58591" y="21482"/>
                  </a:cubicBezTo>
                  <a:cubicBezTo>
                    <a:pt x="58566" y="21363"/>
                    <a:pt x="58675" y="21223"/>
                    <a:pt x="58868" y="21121"/>
                  </a:cubicBezTo>
                  <a:cubicBezTo>
                    <a:pt x="58962" y="21076"/>
                    <a:pt x="59039" y="21006"/>
                    <a:pt x="59092" y="20914"/>
                  </a:cubicBezTo>
                  <a:cubicBezTo>
                    <a:pt x="59123" y="20855"/>
                    <a:pt x="59176" y="20806"/>
                    <a:pt x="59235" y="20778"/>
                  </a:cubicBezTo>
                  <a:cubicBezTo>
                    <a:pt x="59386" y="20701"/>
                    <a:pt x="59533" y="20617"/>
                    <a:pt x="59673" y="20526"/>
                  </a:cubicBezTo>
                  <a:cubicBezTo>
                    <a:pt x="59771" y="20466"/>
                    <a:pt x="59858" y="20410"/>
                    <a:pt x="59935" y="20368"/>
                  </a:cubicBezTo>
                  <a:cubicBezTo>
                    <a:pt x="60114" y="20263"/>
                    <a:pt x="60152" y="20155"/>
                    <a:pt x="60198" y="20025"/>
                  </a:cubicBezTo>
                  <a:lnTo>
                    <a:pt x="60201" y="20008"/>
                  </a:lnTo>
                  <a:cubicBezTo>
                    <a:pt x="60236" y="19910"/>
                    <a:pt x="60376" y="19819"/>
                    <a:pt x="60576" y="19693"/>
                  </a:cubicBezTo>
                  <a:cubicBezTo>
                    <a:pt x="60726" y="19598"/>
                    <a:pt x="60870" y="19497"/>
                    <a:pt x="61007" y="19388"/>
                  </a:cubicBezTo>
                  <a:cubicBezTo>
                    <a:pt x="61332" y="19126"/>
                    <a:pt x="61511" y="18961"/>
                    <a:pt x="61588" y="18796"/>
                  </a:cubicBezTo>
                  <a:cubicBezTo>
                    <a:pt x="61637" y="18695"/>
                    <a:pt x="61784" y="18604"/>
                    <a:pt x="61938" y="18502"/>
                  </a:cubicBezTo>
                  <a:cubicBezTo>
                    <a:pt x="62029" y="18446"/>
                    <a:pt x="62179" y="18348"/>
                    <a:pt x="62190" y="18310"/>
                  </a:cubicBezTo>
                  <a:cubicBezTo>
                    <a:pt x="62200" y="18117"/>
                    <a:pt x="62880" y="17795"/>
                    <a:pt x="63268" y="17718"/>
                  </a:cubicBezTo>
                  <a:cubicBezTo>
                    <a:pt x="63372" y="17698"/>
                    <a:pt x="63495" y="17688"/>
                    <a:pt x="63622" y="17688"/>
                  </a:cubicBezTo>
                  <a:cubicBezTo>
                    <a:pt x="63992" y="17688"/>
                    <a:pt x="64403" y="17767"/>
                    <a:pt x="64518" y="17879"/>
                  </a:cubicBezTo>
                  <a:cubicBezTo>
                    <a:pt x="64538" y="17917"/>
                    <a:pt x="64575" y="17935"/>
                    <a:pt x="64611" y="17935"/>
                  </a:cubicBezTo>
                  <a:cubicBezTo>
                    <a:pt x="64648" y="17935"/>
                    <a:pt x="64686" y="17915"/>
                    <a:pt x="64703" y="17876"/>
                  </a:cubicBezTo>
                  <a:cubicBezTo>
                    <a:pt x="64750" y="17824"/>
                    <a:pt x="64813" y="17807"/>
                    <a:pt x="64896" y="17807"/>
                  </a:cubicBezTo>
                  <a:cubicBezTo>
                    <a:pt x="64964" y="17807"/>
                    <a:pt x="65044" y="17818"/>
                    <a:pt x="65138" y="17830"/>
                  </a:cubicBezTo>
                  <a:cubicBezTo>
                    <a:pt x="65180" y="17834"/>
                    <a:pt x="65222" y="17841"/>
                    <a:pt x="65271" y="17844"/>
                  </a:cubicBezTo>
                  <a:cubicBezTo>
                    <a:pt x="65292" y="17847"/>
                    <a:pt x="65313" y="17849"/>
                    <a:pt x="65334" y="17849"/>
                  </a:cubicBezTo>
                  <a:cubicBezTo>
                    <a:pt x="65403" y="17849"/>
                    <a:pt x="65472" y="17832"/>
                    <a:pt x="65537" y="17802"/>
                  </a:cubicBezTo>
                  <a:cubicBezTo>
                    <a:pt x="65590" y="17781"/>
                    <a:pt x="65644" y="17759"/>
                    <a:pt x="65710" y="17759"/>
                  </a:cubicBezTo>
                  <a:cubicBezTo>
                    <a:pt x="65739" y="17759"/>
                    <a:pt x="65771" y="17763"/>
                    <a:pt x="65806" y="17774"/>
                  </a:cubicBezTo>
                  <a:cubicBezTo>
                    <a:pt x="65884" y="17798"/>
                    <a:pt x="65946" y="17814"/>
                    <a:pt x="65998" y="17814"/>
                  </a:cubicBezTo>
                  <a:cubicBezTo>
                    <a:pt x="66076" y="17814"/>
                    <a:pt x="66130" y="17777"/>
                    <a:pt x="66181" y="17676"/>
                  </a:cubicBezTo>
                  <a:cubicBezTo>
                    <a:pt x="66226" y="17596"/>
                    <a:pt x="66317" y="17536"/>
                    <a:pt x="66443" y="17501"/>
                  </a:cubicBezTo>
                  <a:cubicBezTo>
                    <a:pt x="66508" y="17487"/>
                    <a:pt x="66580" y="17480"/>
                    <a:pt x="66653" y="17480"/>
                  </a:cubicBezTo>
                  <a:cubicBezTo>
                    <a:pt x="66812" y="17480"/>
                    <a:pt x="66971" y="17511"/>
                    <a:pt x="67046" y="17564"/>
                  </a:cubicBezTo>
                  <a:cubicBezTo>
                    <a:pt x="67063" y="17578"/>
                    <a:pt x="67081" y="17589"/>
                    <a:pt x="67095" y="17603"/>
                  </a:cubicBezTo>
                  <a:cubicBezTo>
                    <a:pt x="67158" y="17653"/>
                    <a:pt x="67205" y="17690"/>
                    <a:pt x="67262" y="17690"/>
                  </a:cubicBezTo>
                  <a:cubicBezTo>
                    <a:pt x="67296" y="17690"/>
                    <a:pt x="67334" y="17676"/>
                    <a:pt x="67382" y="17645"/>
                  </a:cubicBezTo>
                  <a:cubicBezTo>
                    <a:pt x="67429" y="17613"/>
                    <a:pt x="67470" y="17601"/>
                    <a:pt x="67506" y="17601"/>
                  </a:cubicBezTo>
                  <a:cubicBezTo>
                    <a:pt x="67594" y="17601"/>
                    <a:pt x="67649" y="17675"/>
                    <a:pt x="67686" y="17725"/>
                  </a:cubicBezTo>
                  <a:cubicBezTo>
                    <a:pt x="67728" y="17785"/>
                    <a:pt x="67760" y="17820"/>
                    <a:pt x="67809" y="17827"/>
                  </a:cubicBezTo>
                  <a:cubicBezTo>
                    <a:pt x="67963" y="17848"/>
                    <a:pt x="67959" y="17949"/>
                    <a:pt x="67959" y="17970"/>
                  </a:cubicBezTo>
                  <a:cubicBezTo>
                    <a:pt x="67946" y="18059"/>
                    <a:pt x="67838" y="18129"/>
                    <a:pt x="67721" y="18129"/>
                  </a:cubicBezTo>
                  <a:cubicBezTo>
                    <a:pt x="67713" y="18129"/>
                    <a:pt x="67705" y="18128"/>
                    <a:pt x="67697" y="18128"/>
                  </a:cubicBezTo>
                  <a:cubicBezTo>
                    <a:pt x="67684" y="18126"/>
                    <a:pt x="67672" y="18126"/>
                    <a:pt x="67660" y="18126"/>
                  </a:cubicBezTo>
                  <a:cubicBezTo>
                    <a:pt x="67611" y="18126"/>
                    <a:pt x="67564" y="18138"/>
                    <a:pt x="67522" y="18163"/>
                  </a:cubicBezTo>
                  <a:cubicBezTo>
                    <a:pt x="67532" y="18177"/>
                    <a:pt x="67543" y="18184"/>
                    <a:pt x="67557" y="18191"/>
                  </a:cubicBezTo>
                  <a:cubicBezTo>
                    <a:pt x="67585" y="18207"/>
                    <a:pt x="67615" y="18213"/>
                    <a:pt x="67646" y="18213"/>
                  </a:cubicBezTo>
                  <a:cubicBezTo>
                    <a:pt x="67712" y="18213"/>
                    <a:pt x="67783" y="18184"/>
                    <a:pt x="67854" y="18156"/>
                  </a:cubicBezTo>
                  <a:cubicBezTo>
                    <a:pt x="67924" y="18129"/>
                    <a:pt x="67988" y="18101"/>
                    <a:pt x="68052" y="18101"/>
                  </a:cubicBezTo>
                  <a:cubicBezTo>
                    <a:pt x="68062" y="18101"/>
                    <a:pt x="68072" y="18102"/>
                    <a:pt x="68082" y="18103"/>
                  </a:cubicBezTo>
                  <a:cubicBezTo>
                    <a:pt x="68133" y="18109"/>
                    <a:pt x="68186" y="18113"/>
                    <a:pt x="68240" y="18113"/>
                  </a:cubicBezTo>
                  <a:cubicBezTo>
                    <a:pt x="68365" y="18113"/>
                    <a:pt x="68494" y="18091"/>
                    <a:pt x="68614" y="18016"/>
                  </a:cubicBezTo>
                  <a:cubicBezTo>
                    <a:pt x="68660" y="17981"/>
                    <a:pt x="68715" y="17963"/>
                    <a:pt x="68770" y="17963"/>
                  </a:cubicBezTo>
                  <a:cubicBezTo>
                    <a:pt x="68819" y="17963"/>
                    <a:pt x="68868" y="17977"/>
                    <a:pt x="68911" y="18005"/>
                  </a:cubicBezTo>
                  <a:cubicBezTo>
                    <a:pt x="68940" y="18020"/>
                    <a:pt x="68954" y="18027"/>
                    <a:pt x="68964" y="18027"/>
                  </a:cubicBezTo>
                  <a:cubicBezTo>
                    <a:pt x="68974" y="18027"/>
                    <a:pt x="68981" y="18022"/>
                    <a:pt x="68992" y="18012"/>
                  </a:cubicBezTo>
                  <a:cubicBezTo>
                    <a:pt x="69125" y="17897"/>
                    <a:pt x="69381" y="17858"/>
                    <a:pt x="69549" y="17858"/>
                  </a:cubicBezTo>
                  <a:cubicBezTo>
                    <a:pt x="69496" y="17830"/>
                    <a:pt x="69440" y="17820"/>
                    <a:pt x="69384" y="17820"/>
                  </a:cubicBezTo>
                  <a:cubicBezTo>
                    <a:pt x="69311" y="17820"/>
                    <a:pt x="69206" y="17809"/>
                    <a:pt x="69157" y="17729"/>
                  </a:cubicBezTo>
                  <a:cubicBezTo>
                    <a:pt x="69097" y="17624"/>
                    <a:pt x="69164" y="17473"/>
                    <a:pt x="69286" y="17260"/>
                  </a:cubicBezTo>
                  <a:cubicBezTo>
                    <a:pt x="69430" y="17018"/>
                    <a:pt x="69661" y="16854"/>
                    <a:pt x="69864" y="16710"/>
                  </a:cubicBezTo>
                  <a:cubicBezTo>
                    <a:pt x="69951" y="16650"/>
                    <a:pt x="70032" y="16591"/>
                    <a:pt x="70102" y="16531"/>
                  </a:cubicBezTo>
                  <a:cubicBezTo>
                    <a:pt x="70193" y="16451"/>
                    <a:pt x="70305" y="16395"/>
                    <a:pt x="70427" y="16370"/>
                  </a:cubicBezTo>
                  <a:cubicBezTo>
                    <a:pt x="70445" y="16367"/>
                    <a:pt x="70466" y="16363"/>
                    <a:pt x="70483" y="16356"/>
                  </a:cubicBezTo>
                  <a:lnTo>
                    <a:pt x="70483" y="16346"/>
                  </a:lnTo>
                  <a:cubicBezTo>
                    <a:pt x="70483" y="16206"/>
                    <a:pt x="70606" y="15789"/>
                    <a:pt x="70837" y="15782"/>
                  </a:cubicBezTo>
                  <a:cubicBezTo>
                    <a:pt x="70851" y="15781"/>
                    <a:pt x="70867" y="15781"/>
                    <a:pt x="70883" y="15781"/>
                  </a:cubicBezTo>
                  <a:cubicBezTo>
                    <a:pt x="70923" y="15781"/>
                    <a:pt x="70969" y="15783"/>
                    <a:pt x="71019" y="15786"/>
                  </a:cubicBezTo>
                  <a:cubicBezTo>
                    <a:pt x="71091" y="15789"/>
                    <a:pt x="71173" y="15794"/>
                    <a:pt x="71256" y="15794"/>
                  </a:cubicBezTo>
                  <a:cubicBezTo>
                    <a:pt x="71415" y="15794"/>
                    <a:pt x="71581" y="15778"/>
                    <a:pt x="71705" y="15709"/>
                  </a:cubicBezTo>
                  <a:cubicBezTo>
                    <a:pt x="71777" y="15668"/>
                    <a:pt x="71835" y="15652"/>
                    <a:pt x="71882" y="15652"/>
                  </a:cubicBezTo>
                  <a:cubicBezTo>
                    <a:pt x="71993" y="15652"/>
                    <a:pt x="72044" y="15740"/>
                    <a:pt x="72076" y="15796"/>
                  </a:cubicBezTo>
                  <a:cubicBezTo>
                    <a:pt x="72090" y="15821"/>
                    <a:pt x="72108" y="15852"/>
                    <a:pt x="72125" y="15859"/>
                  </a:cubicBezTo>
                  <a:cubicBezTo>
                    <a:pt x="72126" y="15859"/>
                    <a:pt x="72126" y="15859"/>
                    <a:pt x="72127" y="15859"/>
                  </a:cubicBezTo>
                  <a:cubicBezTo>
                    <a:pt x="72144" y="15859"/>
                    <a:pt x="72207" y="15813"/>
                    <a:pt x="72237" y="15789"/>
                  </a:cubicBezTo>
                  <a:cubicBezTo>
                    <a:pt x="72294" y="15743"/>
                    <a:pt x="72367" y="15686"/>
                    <a:pt x="72445" y="15686"/>
                  </a:cubicBezTo>
                  <a:cubicBezTo>
                    <a:pt x="72473" y="15686"/>
                    <a:pt x="72502" y="15693"/>
                    <a:pt x="72531" y="15712"/>
                  </a:cubicBezTo>
                  <a:cubicBezTo>
                    <a:pt x="72566" y="15730"/>
                    <a:pt x="72587" y="15761"/>
                    <a:pt x="72594" y="15800"/>
                  </a:cubicBezTo>
                  <a:cubicBezTo>
                    <a:pt x="72605" y="15873"/>
                    <a:pt x="72542" y="15947"/>
                    <a:pt x="72465" y="16038"/>
                  </a:cubicBezTo>
                  <a:cubicBezTo>
                    <a:pt x="72398" y="16118"/>
                    <a:pt x="72321" y="16206"/>
                    <a:pt x="72293" y="16297"/>
                  </a:cubicBezTo>
                  <a:cubicBezTo>
                    <a:pt x="72279" y="16339"/>
                    <a:pt x="72283" y="16363"/>
                    <a:pt x="72286" y="16367"/>
                  </a:cubicBezTo>
                  <a:cubicBezTo>
                    <a:pt x="72297" y="16381"/>
                    <a:pt x="72356" y="16388"/>
                    <a:pt x="72395" y="16391"/>
                  </a:cubicBezTo>
                  <a:cubicBezTo>
                    <a:pt x="72454" y="16395"/>
                    <a:pt x="72514" y="16405"/>
                    <a:pt x="72566" y="16430"/>
                  </a:cubicBezTo>
                  <a:cubicBezTo>
                    <a:pt x="72605" y="16444"/>
                    <a:pt x="72633" y="16479"/>
                    <a:pt x="72640" y="16517"/>
                  </a:cubicBezTo>
                  <a:cubicBezTo>
                    <a:pt x="72643" y="16587"/>
                    <a:pt x="72580" y="16629"/>
                    <a:pt x="72517" y="16675"/>
                  </a:cubicBezTo>
                  <a:lnTo>
                    <a:pt x="72507" y="16682"/>
                  </a:lnTo>
                  <a:cubicBezTo>
                    <a:pt x="72598" y="16671"/>
                    <a:pt x="72780" y="16605"/>
                    <a:pt x="73011" y="16374"/>
                  </a:cubicBezTo>
                  <a:cubicBezTo>
                    <a:pt x="73390" y="15995"/>
                    <a:pt x="73712" y="15922"/>
                    <a:pt x="73901" y="15922"/>
                  </a:cubicBezTo>
                  <a:cubicBezTo>
                    <a:pt x="73926" y="15922"/>
                    <a:pt x="73950" y="15924"/>
                    <a:pt x="73970" y="15926"/>
                  </a:cubicBezTo>
                  <a:cubicBezTo>
                    <a:pt x="73981" y="15928"/>
                    <a:pt x="73990" y="15929"/>
                    <a:pt x="73997" y="15929"/>
                  </a:cubicBezTo>
                  <a:cubicBezTo>
                    <a:pt x="74013" y="15929"/>
                    <a:pt x="74020" y="15925"/>
                    <a:pt x="74023" y="15922"/>
                  </a:cubicBezTo>
                  <a:cubicBezTo>
                    <a:pt x="74040" y="15908"/>
                    <a:pt x="74030" y="15817"/>
                    <a:pt x="74023" y="15747"/>
                  </a:cubicBezTo>
                  <a:cubicBezTo>
                    <a:pt x="74012" y="15653"/>
                    <a:pt x="74005" y="15555"/>
                    <a:pt x="74009" y="15457"/>
                  </a:cubicBezTo>
                  <a:cubicBezTo>
                    <a:pt x="74016" y="15345"/>
                    <a:pt x="74082" y="15247"/>
                    <a:pt x="74201" y="15170"/>
                  </a:cubicBezTo>
                  <a:cubicBezTo>
                    <a:pt x="74357" y="15073"/>
                    <a:pt x="74583" y="15027"/>
                    <a:pt x="74774" y="15027"/>
                  </a:cubicBezTo>
                  <a:cubicBezTo>
                    <a:pt x="74879" y="15027"/>
                    <a:pt x="74973" y="15041"/>
                    <a:pt x="75038" y="15068"/>
                  </a:cubicBezTo>
                  <a:cubicBezTo>
                    <a:pt x="75195" y="15135"/>
                    <a:pt x="75262" y="15205"/>
                    <a:pt x="75237" y="15275"/>
                  </a:cubicBezTo>
                  <a:cubicBezTo>
                    <a:pt x="75222" y="15319"/>
                    <a:pt x="75182" y="15341"/>
                    <a:pt x="75119" y="15341"/>
                  </a:cubicBezTo>
                  <a:cubicBezTo>
                    <a:pt x="75083" y="15341"/>
                    <a:pt x="75040" y="15334"/>
                    <a:pt x="74989" y="15320"/>
                  </a:cubicBezTo>
                  <a:cubicBezTo>
                    <a:pt x="74968" y="15314"/>
                    <a:pt x="74947" y="15311"/>
                    <a:pt x="74926" y="15311"/>
                  </a:cubicBezTo>
                  <a:cubicBezTo>
                    <a:pt x="74873" y="15311"/>
                    <a:pt x="74822" y="15330"/>
                    <a:pt x="74782" y="15362"/>
                  </a:cubicBezTo>
                  <a:cubicBezTo>
                    <a:pt x="74695" y="15439"/>
                    <a:pt x="74649" y="15551"/>
                    <a:pt x="74660" y="15663"/>
                  </a:cubicBezTo>
                  <a:cubicBezTo>
                    <a:pt x="74660" y="15779"/>
                    <a:pt x="74632" y="15894"/>
                    <a:pt x="74572" y="15992"/>
                  </a:cubicBezTo>
                  <a:cubicBezTo>
                    <a:pt x="74530" y="16069"/>
                    <a:pt x="74534" y="16073"/>
                    <a:pt x="74551" y="16090"/>
                  </a:cubicBezTo>
                  <a:cubicBezTo>
                    <a:pt x="74579" y="16115"/>
                    <a:pt x="74597" y="16153"/>
                    <a:pt x="74593" y="16195"/>
                  </a:cubicBezTo>
                  <a:cubicBezTo>
                    <a:pt x="74586" y="16255"/>
                    <a:pt x="74530" y="16290"/>
                    <a:pt x="74481" y="16321"/>
                  </a:cubicBezTo>
                  <a:cubicBezTo>
                    <a:pt x="74453" y="16335"/>
                    <a:pt x="74408" y="16363"/>
                    <a:pt x="74408" y="16381"/>
                  </a:cubicBezTo>
                  <a:lnTo>
                    <a:pt x="74408" y="16405"/>
                  </a:lnTo>
                  <a:cubicBezTo>
                    <a:pt x="74401" y="16514"/>
                    <a:pt x="74394" y="16633"/>
                    <a:pt x="74201" y="16689"/>
                  </a:cubicBezTo>
                  <a:cubicBezTo>
                    <a:pt x="74163" y="16703"/>
                    <a:pt x="74110" y="16713"/>
                    <a:pt x="74051" y="16724"/>
                  </a:cubicBezTo>
                  <a:cubicBezTo>
                    <a:pt x="73883" y="16759"/>
                    <a:pt x="73536" y="16833"/>
                    <a:pt x="73529" y="16948"/>
                  </a:cubicBezTo>
                  <a:cubicBezTo>
                    <a:pt x="73515" y="17088"/>
                    <a:pt x="73410" y="17162"/>
                    <a:pt x="73309" y="17235"/>
                  </a:cubicBezTo>
                  <a:cubicBezTo>
                    <a:pt x="73221" y="17295"/>
                    <a:pt x="73133" y="17358"/>
                    <a:pt x="73074" y="17466"/>
                  </a:cubicBezTo>
                  <a:cubicBezTo>
                    <a:pt x="73007" y="17592"/>
                    <a:pt x="72867" y="17690"/>
                    <a:pt x="72703" y="17806"/>
                  </a:cubicBezTo>
                  <a:cubicBezTo>
                    <a:pt x="72500" y="17946"/>
                    <a:pt x="72251" y="18121"/>
                    <a:pt x="72062" y="18401"/>
                  </a:cubicBezTo>
                  <a:cubicBezTo>
                    <a:pt x="71817" y="18765"/>
                    <a:pt x="71471" y="18888"/>
                    <a:pt x="71285" y="18954"/>
                  </a:cubicBezTo>
                  <a:cubicBezTo>
                    <a:pt x="71247" y="18968"/>
                    <a:pt x="71212" y="18982"/>
                    <a:pt x="71173" y="19000"/>
                  </a:cubicBezTo>
                  <a:cubicBezTo>
                    <a:pt x="71152" y="19119"/>
                    <a:pt x="70945" y="19129"/>
                    <a:pt x="70725" y="19143"/>
                  </a:cubicBezTo>
                  <a:cubicBezTo>
                    <a:pt x="70686" y="19143"/>
                    <a:pt x="70651" y="19147"/>
                    <a:pt x="70627" y="19147"/>
                  </a:cubicBezTo>
                  <a:cubicBezTo>
                    <a:pt x="70627" y="19164"/>
                    <a:pt x="70630" y="19192"/>
                    <a:pt x="70630" y="19210"/>
                  </a:cubicBezTo>
                  <a:cubicBezTo>
                    <a:pt x="70648" y="19343"/>
                    <a:pt x="70676" y="19567"/>
                    <a:pt x="70462" y="19794"/>
                  </a:cubicBezTo>
                  <a:cubicBezTo>
                    <a:pt x="70151" y="20127"/>
                    <a:pt x="69972" y="20582"/>
                    <a:pt x="69979" y="21002"/>
                  </a:cubicBezTo>
                  <a:cubicBezTo>
                    <a:pt x="69986" y="21471"/>
                    <a:pt x="70140" y="22770"/>
                    <a:pt x="70270" y="22990"/>
                  </a:cubicBezTo>
                  <a:cubicBezTo>
                    <a:pt x="70347" y="23124"/>
                    <a:pt x="70361" y="23341"/>
                    <a:pt x="70371" y="23547"/>
                  </a:cubicBezTo>
                  <a:cubicBezTo>
                    <a:pt x="70382" y="23691"/>
                    <a:pt x="70392" y="23866"/>
                    <a:pt x="70431" y="23908"/>
                  </a:cubicBezTo>
                  <a:cubicBezTo>
                    <a:pt x="70504" y="23988"/>
                    <a:pt x="70522" y="24097"/>
                    <a:pt x="70539" y="24181"/>
                  </a:cubicBezTo>
                  <a:cubicBezTo>
                    <a:pt x="70543" y="24216"/>
                    <a:pt x="70550" y="24251"/>
                    <a:pt x="70564" y="24286"/>
                  </a:cubicBezTo>
                  <a:cubicBezTo>
                    <a:pt x="70616" y="24254"/>
                    <a:pt x="70739" y="24128"/>
                    <a:pt x="70819" y="24041"/>
                  </a:cubicBezTo>
                  <a:cubicBezTo>
                    <a:pt x="70893" y="23960"/>
                    <a:pt x="70973" y="23880"/>
                    <a:pt x="71057" y="23806"/>
                  </a:cubicBezTo>
                  <a:cubicBezTo>
                    <a:pt x="71120" y="23757"/>
                    <a:pt x="71173" y="23698"/>
                    <a:pt x="71208" y="23631"/>
                  </a:cubicBezTo>
                  <a:cubicBezTo>
                    <a:pt x="71240" y="23572"/>
                    <a:pt x="71285" y="23523"/>
                    <a:pt x="71341" y="23488"/>
                  </a:cubicBezTo>
                  <a:cubicBezTo>
                    <a:pt x="71401" y="23446"/>
                    <a:pt x="71408" y="23271"/>
                    <a:pt x="71411" y="23155"/>
                  </a:cubicBezTo>
                  <a:cubicBezTo>
                    <a:pt x="71411" y="23089"/>
                    <a:pt x="71418" y="23022"/>
                    <a:pt x="71436" y="22959"/>
                  </a:cubicBezTo>
                  <a:cubicBezTo>
                    <a:pt x="71467" y="22885"/>
                    <a:pt x="71555" y="22843"/>
                    <a:pt x="71649" y="22798"/>
                  </a:cubicBezTo>
                  <a:cubicBezTo>
                    <a:pt x="71716" y="22766"/>
                    <a:pt x="71789" y="22731"/>
                    <a:pt x="71817" y="22693"/>
                  </a:cubicBezTo>
                  <a:cubicBezTo>
                    <a:pt x="71887" y="22602"/>
                    <a:pt x="72006" y="22602"/>
                    <a:pt x="72115" y="22602"/>
                  </a:cubicBezTo>
                  <a:cubicBezTo>
                    <a:pt x="72126" y="22603"/>
                    <a:pt x="72137" y="22603"/>
                    <a:pt x="72149" y="22603"/>
                  </a:cubicBezTo>
                  <a:cubicBezTo>
                    <a:pt x="72183" y="22603"/>
                    <a:pt x="72217" y="22599"/>
                    <a:pt x="72251" y="22591"/>
                  </a:cubicBezTo>
                  <a:cubicBezTo>
                    <a:pt x="72272" y="22560"/>
                    <a:pt x="72220" y="22395"/>
                    <a:pt x="72199" y="22325"/>
                  </a:cubicBezTo>
                  <a:cubicBezTo>
                    <a:pt x="72185" y="22280"/>
                    <a:pt x="72171" y="22241"/>
                    <a:pt x="72160" y="22206"/>
                  </a:cubicBezTo>
                  <a:cubicBezTo>
                    <a:pt x="72118" y="22035"/>
                    <a:pt x="72374" y="21863"/>
                    <a:pt x="72598" y="21713"/>
                  </a:cubicBezTo>
                  <a:cubicBezTo>
                    <a:pt x="72640" y="21685"/>
                    <a:pt x="72678" y="21660"/>
                    <a:pt x="72713" y="21636"/>
                  </a:cubicBezTo>
                  <a:cubicBezTo>
                    <a:pt x="72779" y="21589"/>
                    <a:pt x="72849" y="21576"/>
                    <a:pt x="72917" y="21576"/>
                  </a:cubicBezTo>
                  <a:cubicBezTo>
                    <a:pt x="72961" y="21576"/>
                    <a:pt x="73005" y="21581"/>
                    <a:pt x="73046" y="21587"/>
                  </a:cubicBezTo>
                  <a:cubicBezTo>
                    <a:pt x="73091" y="21593"/>
                    <a:pt x="73134" y="21600"/>
                    <a:pt x="73174" y="21600"/>
                  </a:cubicBezTo>
                  <a:cubicBezTo>
                    <a:pt x="73240" y="21600"/>
                    <a:pt x="73300" y="21583"/>
                    <a:pt x="73361" y="21527"/>
                  </a:cubicBezTo>
                  <a:cubicBezTo>
                    <a:pt x="73501" y="21398"/>
                    <a:pt x="73403" y="21258"/>
                    <a:pt x="73284" y="21111"/>
                  </a:cubicBezTo>
                  <a:lnTo>
                    <a:pt x="73256" y="21076"/>
                  </a:lnTo>
                  <a:cubicBezTo>
                    <a:pt x="73221" y="21030"/>
                    <a:pt x="73221" y="20960"/>
                    <a:pt x="73253" y="20862"/>
                  </a:cubicBezTo>
                  <a:cubicBezTo>
                    <a:pt x="73316" y="20669"/>
                    <a:pt x="73515" y="20354"/>
                    <a:pt x="73680" y="20309"/>
                  </a:cubicBezTo>
                  <a:cubicBezTo>
                    <a:pt x="73708" y="20302"/>
                    <a:pt x="73737" y="20298"/>
                    <a:pt x="73767" y="20298"/>
                  </a:cubicBezTo>
                  <a:cubicBezTo>
                    <a:pt x="73811" y="20298"/>
                    <a:pt x="73855" y="20306"/>
                    <a:pt x="73897" y="20323"/>
                  </a:cubicBezTo>
                  <a:cubicBezTo>
                    <a:pt x="73929" y="20334"/>
                    <a:pt x="73954" y="20342"/>
                    <a:pt x="73979" y="20342"/>
                  </a:cubicBezTo>
                  <a:cubicBezTo>
                    <a:pt x="74008" y="20342"/>
                    <a:pt x="74036" y="20331"/>
                    <a:pt x="74072" y="20298"/>
                  </a:cubicBezTo>
                  <a:cubicBezTo>
                    <a:pt x="74100" y="20277"/>
                    <a:pt x="74107" y="20239"/>
                    <a:pt x="74086" y="20211"/>
                  </a:cubicBezTo>
                  <a:cubicBezTo>
                    <a:pt x="74045" y="20118"/>
                    <a:pt x="73910" y="20046"/>
                    <a:pt x="73871" y="20046"/>
                  </a:cubicBezTo>
                  <a:cubicBezTo>
                    <a:pt x="73870" y="20046"/>
                    <a:pt x="73869" y="20046"/>
                    <a:pt x="73869" y="20046"/>
                  </a:cubicBezTo>
                  <a:cubicBezTo>
                    <a:pt x="73865" y="20047"/>
                    <a:pt x="73859" y="20048"/>
                    <a:pt x="73852" y="20048"/>
                  </a:cubicBezTo>
                  <a:cubicBezTo>
                    <a:pt x="73822" y="20048"/>
                    <a:pt x="73766" y="20035"/>
                    <a:pt x="73732" y="19952"/>
                  </a:cubicBezTo>
                  <a:cubicBezTo>
                    <a:pt x="73669" y="19801"/>
                    <a:pt x="73704" y="19486"/>
                    <a:pt x="73932" y="19315"/>
                  </a:cubicBezTo>
                  <a:cubicBezTo>
                    <a:pt x="74037" y="19238"/>
                    <a:pt x="74061" y="19199"/>
                    <a:pt x="74065" y="19185"/>
                  </a:cubicBezTo>
                  <a:cubicBezTo>
                    <a:pt x="74026" y="19164"/>
                    <a:pt x="73981" y="19150"/>
                    <a:pt x="73939" y="19140"/>
                  </a:cubicBezTo>
                  <a:cubicBezTo>
                    <a:pt x="73907" y="19129"/>
                    <a:pt x="73874" y="19124"/>
                    <a:pt x="73841" y="19124"/>
                  </a:cubicBezTo>
                  <a:cubicBezTo>
                    <a:pt x="73807" y="19124"/>
                    <a:pt x="73774" y="19129"/>
                    <a:pt x="73743" y="19140"/>
                  </a:cubicBezTo>
                  <a:cubicBezTo>
                    <a:pt x="73701" y="19154"/>
                    <a:pt x="73659" y="19161"/>
                    <a:pt x="73613" y="19164"/>
                  </a:cubicBezTo>
                  <a:cubicBezTo>
                    <a:pt x="73611" y="19164"/>
                    <a:pt x="73608" y="19164"/>
                    <a:pt x="73605" y="19164"/>
                  </a:cubicBezTo>
                  <a:cubicBezTo>
                    <a:pt x="73531" y="19164"/>
                    <a:pt x="73461" y="19116"/>
                    <a:pt x="73417" y="19031"/>
                  </a:cubicBezTo>
                  <a:cubicBezTo>
                    <a:pt x="73354" y="18916"/>
                    <a:pt x="73337" y="18702"/>
                    <a:pt x="73491" y="18492"/>
                  </a:cubicBezTo>
                  <a:cubicBezTo>
                    <a:pt x="73568" y="18387"/>
                    <a:pt x="73666" y="18299"/>
                    <a:pt x="73778" y="18229"/>
                  </a:cubicBezTo>
                  <a:cubicBezTo>
                    <a:pt x="73865" y="18170"/>
                    <a:pt x="73918" y="18131"/>
                    <a:pt x="73942" y="18030"/>
                  </a:cubicBezTo>
                  <a:cubicBezTo>
                    <a:pt x="73981" y="17844"/>
                    <a:pt x="74145" y="17620"/>
                    <a:pt x="74268" y="17456"/>
                  </a:cubicBezTo>
                  <a:cubicBezTo>
                    <a:pt x="74306" y="17400"/>
                    <a:pt x="74345" y="17354"/>
                    <a:pt x="74362" y="17323"/>
                  </a:cubicBezTo>
                  <a:cubicBezTo>
                    <a:pt x="74401" y="17256"/>
                    <a:pt x="74473" y="17237"/>
                    <a:pt x="74553" y="17237"/>
                  </a:cubicBezTo>
                  <a:cubicBezTo>
                    <a:pt x="74612" y="17237"/>
                    <a:pt x="74676" y="17247"/>
                    <a:pt x="74733" y="17256"/>
                  </a:cubicBezTo>
                  <a:cubicBezTo>
                    <a:pt x="74779" y="17267"/>
                    <a:pt x="74831" y="17270"/>
                    <a:pt x="74880" y="17270"/>
                  </a:cubicBezTo>
                  <a:cubicBezTo>
                    <a:pt x="74893" y="17267"/>
                    <a:pt x="74904" y="17266"/>
                    <a:pt x="74914" y="17266"/>
                  </a:cubicBezTo>
                  <a:cubicBezTo>
                    <a:pt x="74992" y="17266"/>
                    <a:pt x="75026" y="17338"/>
                    <a:pt x="75041" y="17375"/>
                  </a:cubicBezTo>
                  <a:lnTo>
                    <a:pt x="75048" y="17389"/>
                  </a:lnTo>
                  <a:lnTo>
                    <a:pt x="75062" y="17382"/>
                  </a:lnTo>
                  <a:cubicBezTo>
                    <a:pt x="75115" y="17326"/>
                    <a:pt x="75164" y="17267"/>
                    <a:pt x="75209" y="17207"/>
                  </a:cubicBezTo>
                  <a:cubicBezTo>
                    <a:pt x="75343" y="17032"/>
                    <a:pt x="75497" y="16840"/>
                    <a:pt x="75654" y="16840"/>
                  </a:cubicBezTo>
                  <a:cubicBezTo>
                    <a:pt x="75658" y="16839"/>
                    <a:pt x="75662" y="16839"/>
                    <a:pt x="75666" y="16839"/>
                  </a:cubicBezTo>
                  <a:cubicBezTo>
                    <a:pt x="75707" y="16839"/>
                    <a:pt x="75748" y="16856"/>
                    <a:pt x="75777" y="16885"/>
                  </a:cubicBezTo>
                  <a:cubicBezTo>
                    <a:pt x="75836" y="16952"/>
                    <a:pt x="75829" y="17053"/>
                    <a:pt x="75826" y="17165"/>
                  </a:cubicBezTo>
                  <a:cubicBezTo>
                    <a:pt x="75819" y="17232"/>
                    <a:pt x="75819" y="17298"/>
                    <a:pt x="75833" y="17365"/>
                  </a:cubicBezTo>
                  <a:lnTo>
                    <a:pt x="75833" y="17368"/>
                  </a:lnTo>
                  <a:cubicBezTo>
                    <a:pt x="75857" y="17351"/>
                    <a:pt x="75892" y="17316"/>
                    <a:pt x="75927" y="17288"/>
                  </a:cubicBezTo>
                  <a:cubicBezTo>
                    <a:pt x="76025" y="17197"/>
                    <a:pt x="76130" y="17113"/>
                    <a:pt x="76239" y="17036"/>
                  </a:cubicBezTo>
                  <a:cubicBezTo>
                    <a:pt x="76449" y="16893"/>
                    <a:pt x="76793" y="16838"/>
                    <a:pt x="77098" y="16838"/>
                  </a:cubicBezTo>
                  <a:cubicBezTo>
                    <a:pt x="77341" y="16838"/>
                    <a:pt x="77560" y="16873"/>
                    <a:pt x="77671" y="16927"/>
                  </a:cubicBezTo>
                  <a:cubicBezTo>
                    <a:pt x="77779" y="16983"/>
                    <a:pt x="77870" y="17071"/>
                    <a:pt x="77937" y="17176"/>
                  </a:cubicBezTo>
                  <a:cubicBezTo>
                    <a:pt x="77980" y="17233"/>
                    <a:pt x="78008" y="17270"/>
                    <a:pt x="78028" y="17270"/>
                  </a:cubicBezTo>
                  <a:cubicBezTo>
                    <a:pt x="78029" y="17270"/>
                    <a:pt x="78030" y="17270"/>
                    <a:pt x="78031" y="17270"/>
                  </a:cubicBezTo>
                  <a:cubicBezTo>
                    <a:pt x="78084" y="17256"/>
                    <a:pt x="78087" y="17235"/>
                    <a:pt x="78094" y="17165"/>
                  </a:cubicBezTo>
                  <a:cubicBezTo>
                    <a:pt x="78105" y="17095"/>
                    <a:pt x="78115" y="16987"/>
                    <a:pt x="78255" y="16948"/>
                  </a:cubicBezTo>
                  <a:cubicBezTo>
                    <a:pt x="78448" y="16892"/>
                    <a:pt x="78791" y="16685"/>
                    <a:pt x="79029" y="16510"/>
                  </a:cubicBezTo>
                  <a:cubicBezTo>
                    <a:pt x="79158" y="16416"/>
                    <a:pt x="79211" y="16398"/>
                    <a:pt x="79246" y="16388"/>
                  </a:cubicBezTo>
                  <a:cubicBezTo>
                    <a:pt x="79267" y="16381"/>
                    <a:pt x="79277" y="16377"/>
                    <a:pt x="79333" y="16304"/>
                  </a:cubicBezTo>
                  <a:cubicBezTo>
                    <a:pt x="79393" y="16230"/>
                    <a:pt x="79477" y="16178"/>
                    <a:pt x="79572" y="16153"/>
                  </a:cubicBezTo>
                  <a:cubicBezTo>
                    <a:pt x="79624" y="16139"/>
                    <a:pt x="79631" y="16132"/>
                    <a:pt x="79638" y="16115"/>
                  </a:cubicBezTo>
                  <a:cubicBezTo>
                    <a:pt x="79698" y="15943"/>
                    <a:pt x="80174" y="15758"/>
                    <a:pt x="80608" y="15660"/>
                  </a:cubicBezTo>
                  <a:cubicBezTo>
                    <a:pt x="81080" y="15555"/>
                    <a:pt x="81634" y="15268"/>
                    <a:pt x="81697" y="15170"/>
                  </a:cubicBezTo>
                  <a:cubicBezTo>
                    <a:pt x="81690" y="15128"/>
                    <a:pt x="81704" y="15086"/>
                    <a:pt x="81732" y="15054"/>
                  </a:cubicBezTo>
                  <a:cubicBezTo>
                    <a:pt x="81773" y="15015"/>
                    <a:pt x="81828" y="14994"/>
                    <a:pt x="81884" y="14994"/>
                  </a:cubicBezTo>
                  <a:cubicBezTo>
                    <a:pt x="81903" y="14994"/>
                    <a:pt x="81923" y="14996"/>
                    <a:pt x="81942" y="15002"/>
                  </a:cubicBezTo>
                  <a:cubicBezTo>
                    <a:pt x="81994" y="15012"/>
                    <a:pt x="82033" y="15054"/>
                    <a:pt x="82043" y="15103"/>
                  </a:cubicBezTo>
                  <a:cubicBezTo>
                    <a:pt x="82050" y="15124"/>
                    <a:pt x="82145" y="15135"/>
                    <a:pt x="82215" y="15138"/>
                  </a:cubicBezTo>
                  <a:cubicBezTo>
                    <a:pt x="82306" y="15145"/>
                    <a:pt x="82393" y="15159"/>
                    <a:pt x="82477" y="15177"/>
                  </a:cubicBezTo>
                  <a:cubicBezTo>
                    <a:pt x="82537" y="15187"/>
                    <a:pt x="82589" y="15201"/>
                    <a:pt x="82631" y="15215"/>
                  </a:cubicBezTo>
                  <a:cubicBezTo>
                    <a:pt x="82706" y="15235"/>
                    <a:pt x="82763" y="15251"/>
                    <a:pt x="82814" y="15251"/>
                  </a:cubicBezTo>
                  <a:cubicBezTo>
                    <a:pt x="82881" y="15251"/>
                    <a:pt x="82939" y="15224"/>
                    <a:pt x="83016" y="15145"/>
                  </a:cubicBezTo>
                  <a:cubicBezTo>
                    <a:pt x="83114" y="15047"/>
                    <a:pt x="83093" y="15009"/>
                    <a:pt x="83044" y="14932"/>
                  </a:cubicBezTo>
                  <a:cubicBezTo>
                    <a:pt x="83006" y="14876"/>
                    <a:pt x="82981" y="14809"/>
                    <a:pt x="82981" y="14743"/>
                  </a:cubicBezTo>
                  <a:cubicBezTo>
                    <a:pt x="82985" y="14697"/>
                    <a:pt x="82908" y="14620"/>
                    <a:pt x="82845" y="14560"/>
                  </a:cubicBezTo>
                  <a:cubicBezTo>
                    <a:pt x="82747" y="14466"/>
                    <a:pt x="82631" y="14354"/>
                    <a:pt x="82670" y="14228"/>
                  </a:cubicBezTo>
                  <a:cubicBezTo>
                    <a:pt x="82684" y="14182"/>
                    <a:pt x="82649" y="14067"/>
                    <a:pt x="82558" y="13934"/>
                  </a:cubicBezTo>
                  <a:cubicBezTo>
                    <a:pt x="82488" y="13829"/>
                    <a:pt x="82425" y="13776"/>
                    <a:pt x="82397" y="13766"/>
                  </a:cubicBezTo>
                  <a:cubicBezTo>
                    <a:pt x="82363" y="13790"/>
                    <a:pt x="82322" y="13803"/>
                    <a:pt x="82282" y="13803"/>
                  </a:cubicBezTo>
                  <a:cubicBezTo>
                    <a:pt x="82248" y="13803"/>
                    <a:pt x="82214" y="13794"/>
                    <a:pt x="82183" y="13776"/>
                  </a:cubicBezTo>
                  <a:cubicBezTo>
                    <a:pt x="82082" y="13734"/>
                    <a:pt x="81973" y="13622"/>
                    <a:pt x="81973" y="13510"/>
                  </a:cubicBezTo>
                  <a:cubicBezTo>
                    <a:pt x="81973" y="13384"/>
                    <a:pt x="81956" y="13360"/>
                    <a:pt x="81949" y="13356"/>
                  </a:cubicBezTo>
                  <a:cubicBezTo>
                    <a:pt x="81935" y="13360"/>
                    <a:pt x="81917" y="13367"/>
                    <a:pt x="81903" y="13377"/>
                  </a:cubicBezTo>
                  <a:cubicBezTo>
                    <a:pt x="81833" y="13418"/>
                    <a:pt x="81755" y="13439"/>
                    <a:pt x="81676" y="13439"/>
                  </a:cubicBezTo>
                  <a:cubicBezTo>
                    <a:pt x="81625" y="13439"/>
                    <a:pt x="81574" y="13430"/>
                    <a:pt x="81525" y="13412"/>
                  </a:cubicBezTo>
                  <a:cubicBezTo>
                    <a:pt x="81444" y="13388"/>
                    <a:pt x="81378" y="13328"/>
                    <a:pt x="81346" y="13248"/>
                  </a:cubicBezTo>
                  <a:cubicBezTo>
                    <a:pt x="81325" y="13185"/>
                    <a:pt x="81346" y="13118"/>
                    <a:pt x="81395" y="13076"/>
                  </a:cubicBezTo>
                  <a:cubicBezTo>
                    <a:pt x="81467" y="13007"/>
                    <a:pt x="81599" y="12970"/>
                    <a:pt x="81734" y="12970"/>
                  </a:cubicBezTo>
                  <a:cubicBezTo>
                    <a:pt x="81817" y="12970"/>
                    <a:pt x="81901" y="12984"/>
                    <a:pt x="81973" y="13013"/>
                  </a:cubicBezTo>
                  <a:cubicBezTo>
                    <a:pt x="82141" y="13080"/>
                    <a:pt x="82183" y="13153"/>
                    <a:pt x="82215" y="13213"/>
                  </a:cubicBezTo>
                  <a:cubicBezTo>
                    <a:pt x="82225" y="13241"/>
                    <a:pt x="82246" y="13265"/>
                    <a:pt x="82274" y="13283"/>
                  </a:cubicBezTo>
                  <a:cubicBezTo>
                    <a:pt x="82310" y="13304"/>
                    <a:pt x="82378" y="13314"/>
                    <a:pt x="82456" y="13314"/>
                  </a:cubicBezTo>
                  <a:cubicBezTo>
                    <a:pt x="82581" y="13314"/>
                    <a:pt x="82735" y="13288"/>
                    <a:pt x="82834" y="13241"/>
                  </a:cubicBezTo>
                  <a:cubicBezTo>
                    <a:pt x="82883" y="13216"/>
                    <a:pt x="82946" y="13192"/>
                    <a:pt x="83023" y="13160"/>
                  </a:cubicBezTo>
                  <a:cubicBezTo>
                    <a:pt x="83198" y="13090"/>
                    <a:pt x="83485" y="12975"/>
                    <a:pt x="83534" y="12894"/>
                  </a:cubicBezTo>
                  <a:cubicBezTo>
                    <a:pt x="83555" y="12859"/>
                    <a:pt x="83566" y="12821"/>
                    <a:pt x="83569" y="12786"/>
                  </a:cubicBezTo>
                  <a:cubicBezTo>
                    <a:pt x="83580" y="12709"/>
                    <a:pt x="83597" y="12646"/>
                    <a:pt x="83717" y="12586"/>
                  </a:cubicBezTo>
                  <a:cubicBezTo>
                    <a:pt x="83755" y="12565"/>
                    <a:pt x="83755" y="12544"/>
                    <a:pt x="83755" y="12537"/>
                  </a:cubicBezTo>
                  <a:cubicBezTo>
                    <a:pt x="83755" y="12491"/>
                    <a:pt x="83692" y="12418"/>
                    <a:pt x="83619" y="12379"/>
                  </a:cubicBezTo>
                  <a:cubicBezTo>
                    <a:pt x="83527" y="12330"/>
                    <a:pt x="83478" y="12229"/>
                    <a:pt x="83499" y="12131"/>
                  </a:cubicBezTo>
                  <a:cubicBezTo>
                    <a:pt x="83520" y="12046"/>
                    <a:pt x="83597" y="11987"/>
                    <a:pt x="83681" y="11987"/>
                  </a:cubicBezTo>
                  <a:cubicBezTo>
                    <a:pt x="83684" y="11987"/>
                    <a:pt x="83686" y="11987"/>
                    <a:pt x="83689" y="11987"/>
                  </a:cubicBezTo>
                  <a:cubicBezTo>
                    <a:pt x="83724" y="11987"/>
                    <a:pt x="83731" y="11977"/>
                    <a:pt x="83755" y="11924"/>
                  </a:cubicBezTo>
                  <a:cubicBezTo>
                    <a:pt x="83773" y="11882"/>
                    <a:pt x="83804" y="11816"/>
                    <a:pt x="83885" y="11809"/>
                  </a:cubicBezTo>
                  <a:cubicBezTo>
                    <a:pt x="83891" y="11808"/>
                    <a:pt x="83898" y="11808"/>
                    <a:pt x="83904" y="11808"/>
                  </a:cubicBezTo>
                  <a:cubicBezTo>
                    <a:pt x="83935" y="11808"/>
                    <a:pt x="83964" y="11815"/>
                    <a:pt x="83993" y="11826"/>
                  </a:cubicBezTo>
                  <a:cubicBezTo>
                    <a:pt x="84008" y="11831"/>
                    <a:pt x="84022" y="11835"/>
                    <a:pt x="84040" y="11835"/>
                  </a:cubicBezTo>
                  <a:cubicBezTo>
                    <a:pt x="84066" y="11835"/>
                    <a:pt x="84099" y="11827"/>
                    <a:pt x="84154" y="11798"/>
                  </a:cubicBezTo>
                  <a:cubicBezTo>
                    <a:pt x="84171" y="11790"/>
                    <a:pt x="84206" y="11773"/>
                    <a:pt x="84241" y="11773"/>
                  </a:cubicBezTo>
                  <a:cubicBezTo>
                    <a:pt x="84263" y="11773"/>
                    <a:pt x="84286" y="11779"/>
                    <a:pt x="84305" y="11798"/>
                  </a:cubicBezTo>
                  <a:cubicBezTo>
                    <a:pt x="84350" y="11851"/>
                    <a:pt x="84308" y="11938"/>
                    <a:pt x="84228" y="12075"/>
                  </a:cubicBezTo>
                  <a:cubicBezTo>
                    <a:pt x="84207" y="12110"/>
                    <a:pt x="84186" y="12148"/>
                    <a:pt x="84168" y="12180"/>
                  </a:cubicBezTo>
                  <a:cubicBezTo>
                    <a:pt x="84140" y="12236"/>
                    <a:pt x="84193" y="12295"/>
                    <a:pt x="84266" y="12372"/>
                  </a:cubicBezTo>
                  <a:cubicBezTo>
                    <a:pt x="84308" y="12407"/>
                    <a:pt x="84343" y="12453"/>
                    <a:pt x="84364" y="12502"/>
                  </a:cubicBezTo>
                  <a:cubicBezTo>
                    <a:pt x="84388" y="12524"/>
                    <a:pt x="84469" y="12541"/>
                    <a:pt x="84565" y="12541"/>
                  </a:cubicBezTo>
                  <a:cubicBezTo>
                    <a:pt x="84655" y="12541"/>
                    <a:pt x="84758" y="12525"/>
                    <a:pt x="84837" y="12484"/>
                  </a:cubicBezTo>
                  <a:cubicBezTo>
                    <a:pt x="84882" y="12460"/>
                    <a:pt x="84940" y="12450"/>
                    <a:pt x="85004" y="12450"/>
                  </a:cubicBezTo>
                  <a:cubicBezTo>
                    <a:pt x="85167" y="12450"/>
                    <a:pt x="85366" y="12515"/>
                    <a:pt x="85484" y="12565"/>
                  </a:cubicBezTo>
                  <a:cubicBezTo>
                    <a:pt x="85610" y="12617"/>
                    <a:pt x="85765" y="12705"/>
                    <a:pt x="85789" y="12807"/>
                  </a:cubicBezTo>
                  <a:cubicBezTo>
                    <a:pt x="85835" y="12996"/>
                    <a:pt x="85968" y="13153"/>
                    <a:pt x="86146" y="13234"/>
                  </a:cubicBezTo>
                  <a:cubicBezTo>
                    <a:pt x="86244" y="13279"/>
                    <a:pt x="86346" y="13311"/>
                    <a:pt x="86454" y="13325"/>
                  </a:cubicBezTo>
                  <a:cubicBezTo>
                    <a:pt x="86573" y="13346"/>
                    <a:pt x="86678" y="13363"/>
                    <a:pt x="86717" y="13465"/>
                  </a:cubicBezTo>
                  <a:cubicBezTo>
                    <a:pt x="86736" y="13538"/>
                    <a:pt x="86806" y="13586"/>
                    <a:pt x="86879" y="13586"/>
                  </a:cubicBezTo>
                  <a:cubicBezTo>
                    <a:pt x="86897" y="13586"/>
                    <a:pt x="86916" y="13583"/>
                    <a:pt x="86934" y="13577"/>
                  </a:cubicBezTo>
                  <a:cubicBezTo>
                    <a:pt x="86952" y="13573"/>
                    <a:pt x="86970" y="13571"/>
                    <a:pt x="86988" y="13571"/>
                  </a:cubicBezTo>
                  <a:cubicBezTo>
                    <a:pt x="87042" y="13571"/>
                    <a:pt x="87097" y="13587"/>
                    <a:pt x="87144" y="13615"/>
                  </a:cubicBezTo>
                  <a:cubicBezTo>
                    <a:pt x="87176" y="13632"/>
                    <a:pt x="87194" y="13639"/>
                    <a:pt x="87206" y="13639"/>
                  </a:cubicBezTo>
                  <a:cubicBezTo>
                    <a:pt x="87218" y="13639"/>
                    <a:pt x="87225" y="13634"/>
                    <a:pt x="87235" y="13626"/>
                  </a:cubicBezTo>
                  <a:cubicBezTo>
                    <a:pt x="87269" y="13592"/>
                    <a:pt x="87315" y="13573"/>
                    <a:pt x="87362" y="13573"/>
                  </a:cubicBezTo>
                  <a:cubicBezTo>
                    <a:pt x="87383" y="13573"/>
                    <a:pt x="87404" y="13576"/>
                    <a:pt x="87424" y="13584"/>
                  </a:cubicBezTo>
                  <a:cubicBezTo>
                    <a:pt x="87436" y="13589"/>
                    <a:pt x="87450" y="13592"/>
                    <a:pt x="87463" y="13592"/>
                  </a:cubicBezTo>
                  <a:cubicBezTo>
                    <a:pt x="87490" y="13592"/>
                    <a:pt x="87517" y="13580"/>
                    <a:pt x="87536" y="13559"/>
                  </a:cubicBezTo>
                  <a:cubicBezTo>
                    <a:pt x="87501" y="13535"/>
                    <a:pt x="87466" y="13510"/>
                    <a:pt x="87427" y="13493"/>
                  </a:cubicBezTo>
                  <a:cubicBezTo>
                    <a:pt x="87350" y="13451"/>
                    <a:pt x="87284" y="13416"/>
                    <a:pt x="87270" y="13353"/>
                  </a:cubicBezTo>
                  <a:cubicBezTo>
                    <a:pt x="87259" y="13328"/>
                    <a:pt x="87266" y="13300"/>
                    <a:pt x="87280" y="13276"/>
                  </a:cubicBezTo>
                  <a:cubicBezTo>
                    <a:pt x="87294" y="13248"/>
                    <a:pt x="87322" y="13223"/>
                    <a:pt x="87354" y="13216"/>
                  </a:cubicBezTo>
                  <a:cubicBezTo>
                    <a:pt x="87362" y="13215"/>
                    <a:pt x="87369" y="13214"/>
                    <a:pt x="87376" y="13214"/>
                  </a:cubicBezTo>
                  <a:cubicBezTo>
                    <a:pt x="87420" y="13214"/>
                    <a:pt x="87458" y="13238"/>
                    <a:pt x="87494" y="13265"/>
                  </a:cubicBezTo>
                  <a:cubicBezTo>
                    <a:pt x="87522" y="13283"/>
                    <a:pt x="87553" y="13300"/>
                    <a:pt x="87585" y="13307"/>
                  </a:cubicBezTo>
                  <a:cubicBezTo>
                    <a:pt x="87585" y="13286"/>
                    <a:pt x="87581" y="13265"/>
                    <a:pt x="87574" y="13248"/>
                  </a:cubicBezTo>
                  <a:cubicBezTo>
                    <a:pt x="87564" y="13188"/>
                    <a:pt x="87543" y="13083"/>
                    <a:pt x="87627" y="13048"/>
                  </a:cubicBezTo>
                  <a:cubicBezTo>
                    <a:pt x="87655" y="12975"/>
                    <a:pt x="87602" y="12670"/>
                    <a:pt x="87553" y="12624"/>
                  </a:cubicBezTo>
                  <a:cubicBezTo>
                    <a:pt x="87508" y="12610"/>
                    <a:pt x="87476" y="12572"/>
                    <a:pt x="87473" y="12523"/>
                  </a:cubicBezTo>
                  <a:cubicBezTo>
                    <a:pt x="87466" y="12474"/>
                    <a:pt x="87494" y="12425"/>
                    <a:pt x="87539" y="12400"/>
                  </a:cubicBezTo>
                  <a:cubicBezTo>
                    <a:pt x="87554" y="12392"/>
                    <a:pt x="87581" y="12381"/>
                    <a:pt x="87619" y="12381"/>
                  </a:cubicBezTo>
                  <a:cubicBezTo>
                    <a:pt x="87662" y="12381"/>
                    <a:pt x="87719" y="12396"/>
                    <a:pt x="87788" y="12446"/>
                  </a:cubicBezTo>
                  <a:cubicBezTo>
                    <a:pt x="87928" y="12551"/>
                    <a:pt x="88149" y="12561"/>
                    <a:pt x="88292" y="12561"/>
                  </a:cubicBezTo>
                  <a:cubicBezTo>
                    <a:pt x="88268" y="12551"/>
                    <a:pt x="88247" y="12544"/>
                    <a:pt x="88222" y="12537"/>
                  </a:cubicBezTo>
                  <a:cubicBezTo>
                    <a:pt x="88138" y="12523"/>
                    <a:pt x="88121" y="12477"/>
                    <a:pt x="88114" y="12449"/>
                  </a:cubicBezTo>
                  <a:cubicBezTo>
                    <a:pt x="88110" y="12407"/>
                    <a:pt x="88135" y="12365"/>
                    <a:pt x="88177" y="12344"/>
                  </a:cubicBezTo>
                  <a:cubicBezTo>
                    <a:pt x="88205" y="12331"/>
                    <a:pt x="88235" y="12324"/>
                    <a:pt x="88265" y="12324"/>
                  </a:cubicBezTo>
                  <a:cubicBezTo>
                    <a:pt x="88313" y="12324"/>
                    <a:pt x="88361" y="12341"/>
                    <a:pt x="88397" y="12376"/>
                  </a:cubicBezTo>
                  <a:cubicBezTo>
                    <a:pt x="88452" y="12426"/>
                    <a:pt x="88529" y="12447"/>
                    <a:pt x="88568" y="12447"/>
                  </a:cubicBezTo>
                  <a:cubicBezTo>
                    <a:pt x="88578" y="12447"/>
                    <a:pt x="88586" y="12445"/>
                    <a:pt x="88590" y="12442"/>
                  </a:cubicBezTo>
                  <a:cubicBezTo>
                    <a:pt x="88607" y="12333"/>
                    <a:pt x="88718" y="12092"/>
                    <a:pt x="88927" y="12092"/>
                  </a:cubicBezTo>
                  <a:cubicBezTo>
                    <a:pt x="88931" y="12092"/>
                    <a:pt x="88935" y="12092"/>
                    <a:pt x="88940" y="12092"/>
                  </a:cubicBezTo>
                  <a:cubicBezTo>
                    <a:pt x="88964" y="12092"/>
                    <a:pt x="88989" y="12092"/>
                    <a:pt x="89010" y="12085"/>
                  </a:cubicBezTo>
                  <a:cubicBezTo>
                    <a:pt x="89003" y="12082"/>
                    <a:pt x="88992" y="12078"/>
                    <a:pt x="88982" y="12075"/>
                  </a:cubicBezTo>
                  <a:cubicBezTo>
                    <a:pt x="88807" y="12012"/>
                    <a:pt x="88282" y="11676"/>
                    <a:pt x="88138" y="11476"/>
                  </a:cubicBezTo>
                  <a:cubicBezTo>
                    <a:pt x="88058" y="11360"/>
                    <a:pt x="87710" y="11286"/>
                    <a:pt x="87557" y="11286"/>
                  </a:cubicBezTo>
                  <a:cubicBezTo>
                    <a:pt x="87535" y="11286"/>
                    <a:pt x="87517" y="11288"/>
                    <a:pt x="87504" y="11291"/>
                  </a:cubicBezTo>
                  <a:cubicBezTo>
                    <a:pt x="87494" y="11326"/>
                    <a:pt x="87466" y="11350"/>
                    <a:pt x="87431" y="11357"/>
                  </a:cubicBezTo>
                  <a:cubicBezTo>
                    <a:pt x="87424" y="11359"/>
                    <a:pt x="87416" y="11360"/>
                    <a:pt x="87408" y="11360"/>
                  </a:cubicBezTo>
                  <a:cubicBezTo>
                    <a:pt x="87315" y="11360"/>
                    <a:pt x="87178" y="11255"/>
                    <a:pt x="87133" y="11165"/>
                  </a:cubicBezTo>
                  <a:cubicBezTo>
                    <a:pt x="87094" y="11130"/>
                    <a:pt x="86931" y="11110"/>
                    <a:pt x="86783" y="11110"/>
                  </a:cubicBezTo>
                  <a:cubicBezTo>
                    <a:pt x="86680" y="11110"/>
                    <a:pt x="86584" y="11120"/>
                    <a:pt x="86545" y="11140"/>
                  </a:cubicBezTo>
                  <a:cubicBezTo>
                    <a:pt x="86552" y="11154"/>
                    <a:pt x="86570" y="11168"/>
                    <a:pt x="86619" y="11200"/>
                  </a:cubicBezTo>
                  <a:cubicBezTo>
                    <a:pt x="86682" y="11231"/>
                    <a:pt x="86738" y="11280"/>
                    <a:pt x="86783" y="11333"/>
                  </a:cubicBezTo>
                  <a:cubicBezTo>
                    <a:pt x="86864" y="11441"/>
                    <a:pt x="86794" y="11532"/>
                    <a:pt x="86755" y="11588"/>
                  </a:cubicBezTo>
                  <a:cubicBezTo>
                    <a:pt x="86713" y="11644"/>
                    <a:pt x="86699" y="11669"/>
                    <a:pt x="86710" y="11700"/>
                  </a:cubicBezTo>
                  <a:cubicBezTo>
                    <a:pt x="86734" y="11770"/>
                    <a:pt x="86703" y="11805"/>
                    <a:pt x="86685" y="11819"/>
                  </a:cubicBezTo>
                  <a:cubicBezTo>
                    <a:pt x="86671" y="11830"/>
                    <a:pt x="86654" y="11837"/>
                    <a:pt x="86633" y="11837"/>
                  </a:cubicBezTo>
                  <a:cubicBezTo>
                    <a:pt x="86573" y="11837"/>
                    <a:pt x="86474" y="11783"/>
                    <a:pt x="86262" y="11620"/>
                  </a:cubicBezTo>
                  <a:cubicBezTo>
                    <a:pt x="86223" y="11592"/>
                    <a:pt x="86111" y="11504"/>
                    <a:pt x="86213" y="10997"/>
                  </a:cubicBezTo>
                  <a:cubicBezTo>
                    <a:pt x="86220" y="10962"/>
                    <a:pt x="86213" y="10955"/>
                    <a:pt x="86150" y="10916"/>
                  </a:cubicBezTo>
                  <a:cubicBezTo>
                    <a:pt x="86090" y="10878"/>
                    <a:pt x="86020" y="10836"/>
                    <a:pt x="86003" y="10727"/>
                  </a:cubicBezTo>
                  <a:cubicBezTo>
                    <a:pt x="85985" y="10650"/>
                    <a:pt x="85600" y="10415"/>
                    <a:pt x="84980" y="10156"/>
                  </a:cubicBezTo>
                  <a:cubicBezTo>
                    <a:pt x="84910" y="10125"/>
                    <a:pt x="84830" y="10097"/>
                    <a:pt x="84753" y="10065"/>
                  </a:cubicBezTo>
                  <a:cubicBezTo>
                    <a:pt x="84487" y="9964"/>
                    <a:pt x="84235" y="9869"/>
                    <a:pt x="84144" y="9726"/>
                  </a:cubicBezTo>
                  <a:cubicBezTo>
                    <a:pt x="84109" y="9670"/>
                    <a:pt x="83958" y="9628"/>
                    <a:pt x="83811" y="9586"/>
                  </a:cubicBezTo>
                  <a:cubicBezTo>
                    <a:pt x="83622" y="9530"/>
                    <a:pt x="83408" y="9467"/>
                    <a:pt x="83286" y="9341"/>
                  </a:cubicBezTo>
                  <a:cubicBezTo>
                    <a:pt x="83100" y="9145"/>
                    <a:pt x="82194" y="8753"/>
                    <a:pt x="81802" y="8728"/>
                  </a:cubicBezTo>
                  <a:cubicBezTo>
                    <a:pt x="81553" y="8714"/>
                    <a:pt x="81469" y="8623"/>
                    <a:pt x="81413" y="8564"/>
                  </a:cubicBezTo>
                  <a:cubicBezTo>
                    <a:pt x="81382" y="8529"/>
                    <a:pt x="81369" y="8516"/>
                    <a:pt x="81339" y="8516"/>
                  </a:cubicBezTo>
                  <a:cubicBezTo>
                    <a:pt x="81332" y="8516"/>
                    <a:pt x="81324" y="8517"/>
                    <a:pt x="81315" y="8518"/>
                  </a:cubicBezTo>
                  <a:cubicBezTo>
                    <a:pt x="81261" y="8527"/>
                    <a:pt x="81163" y="8531"/>
                    <a:pt x="81044" y="8531"/>
                  </a:cubicBezTo>
                  <a:cubicBezTo>
                    <a:pt x="80707" y="8531"/>
                    <a:pt x="80198" y="8500"/>
                    <a:pt x="80009" y="8469"/>
                  </a:cubicBezTo>
                  <a:cubicBezTo>
                    <a:pt x="79990" y="8466"/>
                    <a:pt x="79971" y="8464"/>
                    <a:pt x="79953" y="8464"/>
                  </a:cubicBezTo>
                  <a:cubicBezTo>
                    <a:pt x="79888" y="8464"/>
                    <a:pt x="79825" y="8483"/>
                    <a:pt x="79771" y="8518"/>
                  </a:cubicBezTo>
                  <a:cubicBezTo>
                    <a:pt x="79722" y="8542"/>
                    <a:pt x="79667" y="8568"/>
                    <a:pt x="79601" y="8568"/>
                  </a:cubicBezTo>
                  <a:cubicBezTo>
                    <a:pt x="79569" y="8568"/>
                    <a:pt x="79533" y="8562"/>
                    <a:pt x="79495" y="8546"/>
                  </a:cubicBezTo>
                  <a:cubicBezTo>
                    <a:pt x="79074" y="8384"/>
                    <a:pt x="78547" y="8231"/>
                    <a:pt x="78362" y="8231"/>
                  </a:cubicBezTo>
                  <a:cubicBezTo>
                    <a:pt x="78335" y="8231"/>
                    <a:pt x="78315" y="8234"/>
                    <a:pt x="78304" y="8241"/>
                  </a:cubicBezTo>
                  <a:cubicBezTo>
                    <a:pt x="78266" y="8290"/>
                    <a:pt x="78238" y="8350"/>
                    <a:pt x="78231" y="8416"/>
                  </a:cubicBezTo>
                  <a:cubicBezTo>
                    <a:pt x="78210" y="8494"/>
                    <a:pt x="78189" y="8581"/>
                    <a:pt x="78098" y="8613"/>
                  </a:cubicBezTo>
                  <a:cubicBezTo>
                    <a:pt x="78108" y="8641"/>
                    <a:pt x="78154" y="8728"/>
                    <a:pt x="78385" y="8938"/>
                  </a:cubicBezTo>
                  <a:cubicBezTo>
                    <a:pt x="78507" y="9050"/>
                    <a:pt x="78560" y="9162"/>
                    <a:pt x="78539" y="9271"/>
                  </a:cubicBezTo>
                  <a:cubicBezTo>
                    <a:pt x="78521" y="9393"/>
                    <a:pt x="78413" y="9502"/>
                    <a:pt x="78227" y="9579"/>
                  </a:cubicBezTo>
                  <a:cubicBezTo>
                    <a:pt x="78172" y="9603"/>
                    <a:pt x="78111" y="9614"/>
                    <a:pt x="78048" y="9614"/>
                  </a:cubicBezTo>
                  <a:cubicBezTo>
                    <a:pt x="77793" y="9614"/>
                    <a:pt x="77501" y="9437"/>
                    <a:pt x="77398" y="9274"/>
                  </a:cubicBezTo>
                  <a:cubicBezTo>
                    <a:pt x="77352" y="9211"/>
                    <a:pt x="77271" y="9187"/>
                    <a:pt x="77184" y="9159"/>
                  </a:cubicBezTo>
                  <a:cubicBezTo>
                    <a:pt x="77054" y="9120"/>
                    <a:pt x="76911" y="9078"/>
                    <a:pt x="76855" y="8910"/>
                  </a:cubicBezTo>
                  <a:cubicBezTo>
                    <a:pt x="76799" y="8735"/>
                    <a:pt x="76862" y="8658"/>
                    <a:pt x="76904" y="8630"/>
                  </a:cubicBezTo>
                  <a:cubicBezTo>
                    <a:pt x="76932" y="8611"/>
                    <a:pt x="76965" y="8601"/>
                    <a:pt x="77001" y="8601"/>
                  </a:cubicBezTo>
                  <a:cubicBezTo>
                    <a:pt x="77069" y="8601"/>
                    <a:pt x="77148" y="8635"/>
                    <a:pt x="77219" y="8697"/>
                  </a:cubicBezTo>
                  <a:cubicBezTo>
                    <a:pt x="77252" y="8725"/>
                    <a:pt x="77294" y="8740"/>
                    <a:pt x="77336" y="8740"/>
                  </a:cubicBezTo>
                  <a:cubicBezTo>
                    <a:pt x="77357" y="8740"/>
                    <a:pt x="77378" y="8736"/>
                    <a:pt x="77398" y="8728"/>
                  </a:cubicBezTo>
                  <a:cubicBezTo>
                    <a:pt x="77461" y="8704"/>
                    <a:pt x="77506" y="8648"/>
                    <a:pt x="77517" y="8585"/>
                  </a:cubicBezTo>
                  <a:cubicBezTo>
                    <a:pt x="77517" y="8578"/>
                    <a:pt x="77520" y="8564"/>
                    <a:pt x="77496" y="8539"/>
                  </a:cubicBezTo>
                  <a:cubicBezTo>
                    <a:pt x="77407" y="8444"/>
                    <a:pt x="77125" y="8373"/>
                    <a:pt x="76937" y="8373"/>
                  </a:cubicBezTo>
                  <a:cubicBezTo>
                    <a:pt x="76925" y="8373"/>
                    <a:pt x="76912" y="8374"/>
                    <a:pt x="76900" y="8374"/>
                  </a:cubicBezTo>
                  <a:cubicBezTo>
                    <a:pt x="76781" y="8385"/>
                    <a:pt x="76687" y="8490"/>
                    <a:pt x="76578" y="8609"/>
                  </a:cubicBezTo>
                  <a:cubicBezTo>
                    <a:pt x="76494" y="8714"/>
                    <a:pt x="76393" y="8805"/>
                    <a:pt x="76281" y="8879"/>
                  </a:cubicBezTo>
                  <a:cubicBezTo>
                    <a:pt x="76209" y="8918"/>
                    <a:pt x="76085" y="8934"/>
                    <a:pt x="75939" y="8934"/>
                  </a:cubicBezTo>
                  <a:cubicBezTo>
                    <a:pt x="75529" y="8934"/>
                    <a:pt x="74944" y="8808"/>
                    <a:pt x="74838" y="8718"/>
                  </a:cubicBezTo>
                  <a:cubicBezTo>
                    <a:pt x="74806" y="8701"/>
                    <a:pt x="74697" y="8694"/>
                    <a:pt x="74551" y="8694"/>
                  </a:cubicBezTo>
                  <a:cubicBezTo>
                    <a:pt x="74121" y="8694"/>
                    <a:pt x="73364" y="8756"/>
                    <a:pt x="73270" y="8819"/>
                  </a:cubicBezTo>
                  <a:cubicBezTo>
                    <a:pt x="73214" y="8854"/>
                    <a:pt x="73214" y="9001"/>
                    <a:pt x="73214" y="9099"/>
                  </a:cubicBezTo>
                  <a:cubicBezTo>
                    <a:pt x="73214" y="9211"/>
                    <a:pt x="73214" y="9302"/>
                    <a:pt x="73147" y="9334"/>
                  </a:cubicBezTo>
                  <a:cubicBezTo>
                    <a:pt x="73136" y="9338"/>
                    <a:pt x="73125" y="9340"/>
                    <a:pt x="73113" y="9340"/>
                  </a:cubicBezTo>
                  <a:cubicBezTo>
                    <a:pt x="73096" y="9340"/>
                    <a:pt x="73078" y="9335"/>
                    <a:pt x="73063" y="9327"/>
                  </a:cubicBezTo>
                  <a:cubicBezTo>
                    <a:pt x="72948" y="9250"/>
                    <a:pt x="72909" y="8753"/>
                    <a:pt x="72909" y="8746"/>
                  </a:cubicBezTo>
                  <a:cubicBezTo>
                    <a:pt x="72909" y="8728"/>
                    <a:pt x="72815" y="8658"/>
                    <a:pt x="72552" y="8658"/>
                  </a:cubicBezTo>
                  <a:cubicBezTo>
                    <a:pt x="72311" y="8658"/>
                    <a:pt x="72202" y="8651"/>
                    <a:pt x="72167" y="8571"/>
                  </a:cubicBezTo>
                  <a:cubicBezTo>
                    <a:pt x="72150" y="8529"/>
                    <a:pt x="72167" y="8483"/>
                    <a:pt x="72216" y="8434"/>
                  </a:cubicBezTo>
                  <a:cubicBezTo>
                    <a:pt x="72234" y="8416"/>
                    <a:pt x="72234" y="8406"/>
                    <a:pt x="72220" y="8357"/>
                  </a:cubicBezTo>
                  <a:cubicBezTo>
                    <a:pt x="72202" y="8290"/>
                    <a:pt x="72174" y="8182"/>
                    <a:pt x="72321" y="8077"/>
                  </a:cubicBezTo>
                  <a:cubicBezTo>
                    <a:pt x="72332" y="8073"/>
                    <a:pt x="72335" y="8063"/>
                    <a:pt x="72332" y="8052"/>
                  </a:cubicBezTo>
                  <a:cubicBezTo>
                    <a:pt x="72318" y="7916"/>
                    <a:pt x="71905" y="7597"/>
                    <a:pt x="71446" y="7415"/>
                  </a:cubicBezTo>
                  <a:cubicBezTo>
                    <a:pt x="71238" y="7335"/>
                    <a:pt x="70923" y="7306"/>
                    <a:pt x="70601" y="7306"/>
                  </a:cubicBezTo>
                  <a:cubicBezTo>
                    <a:pt x="70109" y="7306"/>
                    <a:pt x="69599" y="7373"/>
                    <a:pt x="69419" y="7426"/>
                  </a:cubicBezTo>
                  <a:cubicBezTo>
                    <a:pt x="69206" y="7489"/>
                    <a:pt x="68864" y="7500"/>
                    <a:pt x="68566" y="7500"/>
                  </a:cubicBezTo>
                  <a:cubicBezTo>
                    <a:pt x="68502" y="7500"/>
                    <a:pt x="68441" y="7500"/>
                    <a:pt x="68383" y="7499"/>
                  </a:cubicBezTo>
                  <a:lnTo>
                    <a:pt x="68124" y="7499"/>
                  </a:lnTo>
                  <a:cubicBezTo>
                    <a:pt x="68110" y="7500"/>
                    <a:pt x="68097" y="7500"/>
                    <a:pt x="68085" y="7500"/>
                  </a:cubicBezTo>
                  <a:cubicBezTo>
                    <a:pt x="68006" y="7500"/>
                    <a:pt x="67947" y="7489"/>
                    <a:pt x="67917" y="7447"/>
                  </a:cubicBezTo>
                  <a:cubicBezTo>
                    <a:pt x="67893" y="7401"/>
                    <a:pt x="67893" y="7352"/>
                    <a:pt x="67917" y="7307"/>
                  </a:cubicBezTo>
                  <a:cubicBezTo>
                    <a:pt x="67931" y="7265"/>
                    <a:pt x="67938" y="7233"/>
                    <a:pt x="67921" y="7202"/>
                  </a:cubicBezTo>
                  <a:cubicBezTo>
                    <a:pt x="67879" y="7135"/>
                    <a:pt x="67662" y="7027"/>
                    <a:pt x="67473" y="6999"/>
                  </a:cubicBezTo>
                  <a:cubicBezTo>
                    <a:pt x="67445" y="6994"/>
                    <a:pt x="67422" y="6993"/>
                    <a:pt x="67404" y="6993"/>
                  </a:cubicBezTo>
                  <a:cubicBezTo>
                    <a:pt x="67366" y="6993"/>
                    <a:pt x="67348" y="7000"/>
                    <a:pt x="67343" y="7002"/>
                  </a:cubicBezTo>
                  <a:cubicBezTo>
                    <a:pt x="67317" y="7054"/>
                    <a:pt x="67264" y="7084"/>
                    <a:pt x="67207" y="7084"/>
                  </a:cubicBezTo>
                  <a:cubicBezTo>
                    <a:pt x="67194" y="7084"/>
                    <a:pt x="67181" y="7082"/>
                    <a:pt x="67168" y="7079"/>
                  </a:cubicBezTo>
                  <a:cubicBezTo>
                    <a:pt x="67084" y="7051"/>
                    <a:pt x="67025" y="6978"/>
                    <a:pt x="67014" y="6890"/>
                  </a:cubicBezTo>
                  <a:cubicBezTo>
                    <a:pt x="66963" y="6833"/>
                    <a:pt x="66639" y="6711"/>
                    <a:pt x="66458" y="6711"/>
                  </a:cubicBezTo>
                  <a:cubicBezTo>
                    <a:pt x="66438" y="6711"/>
                    <a:pt x="66420" y="6712"/>
                    <a:pt x="66405" y="6715"/>
                  </a:cubicBezTo>
                  <a:cubicBezTo>
                    <a:pt x="66386" y="6720"/>
                    <a:pt x="66366" y="6722"/>
                    <a:pt x="66347" y="6722"/>
                  </a:cubicBezTo>
                  <a:cubicBezTo>
                    <a:pt x="66279" y="6722"/>
                    <a:pt x="66213" y="6693"/>
                    <a:pt x="66167" y="6642"/>
                  </a:cubicBezTo>
                  <a:cubicBezTo>
                    <a:pt x="66132" y="6600"/>
                    <a:pt x="66125" y="6544"/>
                    <a:pt x="66149" y="6495"/>
                  </a:cubicBezTo>
                  <a:cubicBezTo>
                    <a:pt x="66163" y="6463"/>
                    <a:pt x="66209" y="6407"/>
                    <a:pt x="66335" y="6407"/>
                  </a:cubicBezTo>
                  <a:lnTo>
                    <a:pt x="66433" y="6407"/>
                  </a:lnTo>
                  <a:cubicBezTo>
                    <a:pt x="66458" y="6408"/>
                    <a:pt x="66494" y="6409"/>
                    <a:pt x="66532" y="6409"/>
                  </a:cubicBezTo>
                  <a:cubicBezTo>
                    <a:pt x="66626" y="6409"/>
                    <a:pt x="66738" y="6403"/>
                    <a:pt x="66755" y="6375"/>
                  </a:cubicBezTo>
                  <a:cubicBezTo>
                    <a:pt x="66755" y="6368"/>
                    <a:pt x="66755" y="6347"/>
                    <a:pt x="66723" y="6298"/>
                  </a:cubicBezTo>
                  <a:cubicBezTo>
                    <a:pt x="66606" y="6116"/>
                    <a:pt x="65583" y="6022"/>
                    <a:pt x="65187" y="6022"/>
                  </a:cubicBezTo>
                  <a:cubicBezTo>
                    <a:pt x="65112" y="6022"/>
                    <a:pt x="65060" y="6026"/>
                    <a:pt x="65040" y="6032"/>
                  </a:cubicBezTo>
                  <a:cubicBezTo>
                    <a:pt x="65019" y="6039"/>
                    <a:pt x="65012" y="6046"/>
                    <a:pt x="64994" y="6116"/>
                  </a:cubicBezTo>
                  <a:cubicBezTo>
                    <a:pt x="64970" y="6214"/>
                    <a:pt x="64935" y="6365"/>
                    <a:pt x="64738" y="6551"/>
                  </a:cubicBezTo>
                  <a:cubicBezTo>
                    <a:pt x="64603" y="6677"/>
                    <a:pt x="64468" y="6724"/>
                    <a:pt x="64354" y="6724"/>
                  </a:cubicBezTo>
                  <a:cubicBezTo>
                    <a:pt x="64280" y="6724"/>
                    <a:pt x="64214" y="6704"/>
                    <a:pt x="64164" y="6673"/>
                  </a:cubicBezTo>
                  <a:cubicBezTo>
                    <a:pt x="64070" y="6617"/>
                    <a:pt x="64024" y="6523"/>
                    <a:pt x="64045" y="6439"/>
                  </a:cubicBezTo>
                  <a:cubicBezTo>
                    <a:pt x="64077" y="6333"/>
                    <a:pt x="64203" y="6295"/>
                    <a:pt x="64315" y="6263"/>
                  </a:cubicBezTo>
                  <a:cubicBezTo>
                    <a:pt x="64364" y="6249"/>
                    <a:pt x="64462" y="6218"/>
                    <a:pt x="64472" y="6193"/>
                  </a:cubicBezTo>
                  <a:cubicBezTo>
                    <a:pt x="64441" y="6172"/>
                    <a:pt x="64308" y="6158"/>
                    <a:pt x="64227" y="6151"/>
                  </a:cubicBezTo>
                  <a:cubicBezTo>
                    <a:pt x="64066" y="6137"/>
                    <a:pt x="63923" y="6123"/>
                    <a:pt x="63870" y="6039"/>
                  </a:cubicBezTo>
                  <a:cubicBezTo>
                    <a:pt x="63828" y="5990"/>
                    <a:pt x="63828" y="5917"/>
                    <a:pt x="63867" y="5864"/>
                  </a:cubicBezTo>
                  <a:cubicBezTo>
                    <a:pt x="63910" y="5805"/>
                    <a:pt x="64000" y="5773"/>
                    <a:pt x="64101" y="5773"/>
                  </a:cubicBezTo>
                  <a:cubicBezTo>
                    <a:pt x="64149" y="5773"/>
                    <a:pt x="64199" y="5780"/>
                    <a:pt x="64248" y="5794"/>
                  </a:cubicBezTo>
                  <a:cubicBezTo>
                    <a:pt x="64366" y="5830"/>
                    <a:pt x="64488" y="5845"/>
                    <a:pt x="64611" y="5845"/>
                  </a:cubicBezTo>
                  <a:cubicBezTo>
                    <a:pt x="64635" y="5845"/>
                    <a:pt x="64659" y="5844"/>
                    <a:pt x="64682" y="5843"/>
                  </a:cubicBezTo>
                  <a:cubicBezTo>
                    <a:pt x="64591" y="5819"/>
                    <a:pt x="64497" y="5798"/>
                    <a:pt x="64402" y="5787"/>
                  </a:cubicBezTo>
                  <a:lnTo>
                    <a:pt x="64245" y="5759"/>
                  </a:lnTo>
                  <a:cubicBezTo>
                    <a:pt x="64178" y="5749"/>
                    <a:pt x="64094" y="5731"/>
                    <a:pt x="64000" y="5714"/>
                  </a:cubicBezTo>
                  <a:cubicBezTo>
                    <a:pt x="63670" y="5649"/>
                    <a:pt x="63193" y="5554"/>
                    <a:pt x="62866" y="5554"/>
                  </a:cubicBezTo>
                  <a:cubicBezTo>
                    <a:pt x="62822" y="5554"/>
                    <a:pt x="62781" y="5556"/>
                    <a:pt x="62743" y="5560"/>
                  </a:cubicBezTo>
                  <a:cubicBezTo>
                    <a:pt x="62704" y="5563"/>
                    <a:pt x="62667" y="5565"/>
                    <a:pt x="62632" y="5565"/>
                  </a:cubicBezTo>
                  <a:cubicBezTo>
                    <a:pt x="62416" y="5565"/>
                    <a:pt x="62264" y="5506"/>
                    <a:pt x="62137" y="5455"/>
                  </a:cubicBezTo>
                  <a:cubicBezTo>
                    <a:pt x="62064" y="5420"/>
                    <a:pt x="61987" y="5399"/>
                    <a:pt x="61906" y="5388"/>
                  </a:cubicBezTo>
                  <a:cubicBezTo>
                    <a:pt x="61893" y="5387"/>
                    <a:pt x="61882" y="5387"/>
                    <a:pt x="61871" y="5387"/>
                  </a:cubicBezTo>
                  <a:cubicBezTo>
                    <a:pt x="61816" y="5387"/>
                    <a:pt x="61794" y="5400"/>
                    <a:pt x="61791" y="5409"/>
                  </a:cubicBezTo>
                  <a:cubicBezTo>
                    <a:pt x="61784" y="5420"/>
                    <a:pt x="61791" y="5469"/>
                    <a:pt x="61840" y="5532"/>
                  </a:cubicBezTo>
                  <a:cubicBezTo>
                    <a:pt x="61878" y="5574"/>
                    <a:pt x="61885" y="5633"/>
                    <a:pt x="61857" y="5682"/>
                  </a:cubicBezTo>
                  <a:cubicBezTo>
                    <a:pt x="61806" y="5777"/>
                    <a:pt x="61628" y="5819"/>
                    <a:pt x="61449" y="5819"/>
                  </a:cubicBezTo>
                  <a:cubicBezTo>
                    <a:pt x="61396" y="5819"/>
                    <a:pt x="61343" y="5816"/>
                    <a:pt x="61294" y="5808"/>
                  </a:cubicBezTo>
                  <a:cubicBezTo>
                    <a:pt x="61271" y="5805"/>
                    <a:pt x="61247" y="5803"/>
                    <a:pt x="61223" y="5803"/>
                  </a:cubicBezTo>
                  <a:cubicBezTo>
                    <a:pt x="61062" y="5803"/>
                    <a:pt x="60891" y="5880"/>
                    <a:pt x="60846" y="5959"/>
                  </a:cubicBezTo>
                  <a:cubicBezTo>
                    <a:pt x="60828" y="5983"/>
                    <a:pt x="60832" y="6018"/>
                    <a:pt x="60853" y="6043"/>
                  </a:cubicBezTo>
                  <a:cubicBezTo>
                    <a:pt x="60882" y="6078"/>
                    <a:pt x="60908" y="6092"/>
                    <a:pt x="60937" y="6092"/>
                  </a:cubicBezTo>
                  <a:cubicBezTo>
                    <a:pt x="60966" y="6092"/>
                    <a:pt x="61000" y="6078"/>
                    <a:pt x="61045" y="6057"/>
                  </a:cubicBezTo>
                  <a:cubicBezTo>
                    <a:pt x="61088" y="6038"/>
                    <a:pt x="61139" y="6015"/>
                    <a:pt x="61193" y="6015"/>
                  </a:cubicBezTo>
                  <a:cubicBezTo>
                    <a:pt x="61218" y="6015"/>
                    <a:pt x="61244" y="6020"/>
                    <a:pt x="61269" y="6032"/>
                  </a:cubicBezTo>
                  <a:cubicBezTo>
                    <a:pt x="61301" y="6046"/>
                    <a:pt x="61325" y="6078"/>
                    <a:pt x="61329" y="6113"/>
                  </a:cubicBezTo>
                  <a:cubicBezTo>
                    <a:pt x="61332" y="6176"/>
                    <a:pt x="61269" y="6218"/>
                    <a:pt x="61199" y="6267"/>
                  </a:cubicBezTo>
                  <a:cubicBezTo>
                    <a:pt x="61175" y="6284"/>
                    <a:pt x="61147" y="6302"/>
                    <a:pt x="61122" y="6323"/>
                  </a:cubicBezTo>
                  <a:cubicBezTo>
                    <a:pt x="61322" y="6418"/>
                    <a:pt x="61325" y="6596"/>
                    <a:pt x="61325" y="6701"/>
                  </a:cubicBezTo>
                  <a:lnTo>
                    <a:pt x="61325" y="6750"/>
                  </a:lnTo>
                  <a:cubicBezTo>
                    <a:pt x="61325" y="6775"/>
                    <a:pt x="61322" y="6841"/>
                    <a:pt x="61224" y="6883"/>
                  </a:cubicBezTo>
                  <a:cubicBezTo>
                    <a:pt x="61179" y="6901"/>
                    <a:pt x="61120" y="6912"/>
                    <a:pt x="61058" y="6912"/>
                  </a:cubicBezTo>
                  <a:cubicBezTo>
                    <a:pt x="60952" y="6912"/>
                    <a:pt x="60836" y="6880"/>
                    <a:pt x="60765" y="6796"/>
                  </a:cubicBezTo>
                  <a:cubicBezTo>
                    <a:pt x="60737" y="6761"/>
                    <a:pt x="60705" y="6749"/>
                    <a:pt x="60659" y="6749"/>
                  </a:cubicBezTo>
                  <a:cubicBezTo>
                    <a:pt x="60627" y="6749"/>
                    <a:pt x="60587" y="6755"/>
                    <a:pt x="60537" y="6764"/>
                  </a:cubicBezTo>
                  <a:cubicBezTo>
                    <a:pt x="60470" y="6779"/>
                    <a:pt x="60403" y="6786"/>
                    <a:pt x="60334" y="6786"/>
                  </a:cubicBezTo>
                  <a:cubicBezTo>
                    <a:pt x="60320" y="6786"/>
                    <a:pt x="60306" y="6786"/>
                    <a:pt x="60292" y="6785"/>
                  </a:cubicBezTo>
                  <a:lnTo>
                    <a:pt x="60205" y="6785"/>
                  </a:lnTo>
                  <a:cubicBezTo>
                    <a:pt x="60341" y="6817"/>
                    <a:pt x="60425" y="6883"/>
                    <a:pt x="60425" y="6960"/>
                  </a:cubicBezTo>
                  <a:cubicBezTo>
                    <a:pt x="60425" y="7023"/>
                    <a:pt x="60376" y="7104"/>
                    <a:pt x="60152" y="7125"/>
                  </a:cubicBezTo>
                  <a:cubicBezTo>
                    <a:pt x="60134" y="7127"/>
                    <a:pt x="60116" y="7128"/>
                    <a:pt x="60099" y="7128"/>
                  </a:cubicBezTo>
                  <a:cubicBezTo>
                    <a:pt x="59917" y="7128"/>
                    <a:pt x="59854" y="7013"/>
                    <a:pt x="59809" y="6936"/>
                  </a:cubicBezTo>
                  <a:cubicBezTo>
                    <a:pt x="59773" y="6877"/>
                    <a:pt x="59761" y="6863"/>
                    <a:pt x="59741" y="6863"/>
                  </a:cubicBezTo>
                  <a:cubicBezTo>
                    <a:pt x="59735" y="6863"/>
                    <a:pt x="59729" y="6864"/>
                    <a:pt x="59722" y="6866"/>
                  </a:cubicBezTo>
                  <a:cubicBezTo>
                    <a:pt x="59699" y="6870"/>
                    <a:pt x="59674" y="6872"/>
                    <a:pt x="59647" y="6872"/>
                  </a:cubicBezTo>
                  <a:cubicBezTo>
                    <a:pt x="59536" y="6872"/>
                    <a:pt x="59396" y="6835"/>
                    <a:pt x="59249" y="6796"/>
                  </a:cubicBezTo>
                  <a:cubicBezTo>
                    <a:pt x="59115" y="6759"/>
                    <a:pt x="58978" y="6722"/>
                    <a:pt x="58883" y="6722"/>
                  </a:cubicBezTo>
                  <a:cubicBezTo>
                    <a:pt x="58879" y="6722"/>
                    <a:pt x="58875" y="6722"/>
                    <a:pt x="58871" y="6722"/>
                  </a:cubicBezTo>
                  <a:cubicBezTo>
                    <a:pt x="58784" y="6729"/>
                    <a:pt x="58700" y="6757"/>
                    <a:pt x="58622" y="6806"/>
                  </a:cubicBezTo>
                  <a:cubicBezTo>
                    <a:pt x="58507" y="6876"/>
                    <a:pt x="58377" y="6918"/>
                    <a:pt x="58244" y="6932"/>
                  </a:cubicBezTo>
                  <a:cubicBezTo>
                    <a:pt x="58225" y="6934"/>
                    <a:pt x="58206" y="6934"/>
                    <a:pt x="58186" y="6934"/>
                  </a:cubicBezTo>
                  <a:cubicBezTo>
                    <a:pt x="57867" y="6934"/>
                    <a:pt x="57484" y="6754"/>
                    <a:pt x="57362" y="6589"/>
                  </a:cubicBezTo>
                  <a:cubicBezTo>
                    <a:pt x="57327" y="6544"/>
                    <a:pt x="57275" y="6474"/>
                    <a:pt x="57254" y="6470"/>
                  </a:cubicBezTo>
                  <a:cubicBezTo>
                    <a:pt x="57254" y="6470"/>
                    <a:pt x="57229" y="6474"/>
                    <a:pt x="57159" y="6565"/>
                  </a:cubicBezTo>
                  <a:cubicBezTo>
                    <a:pt x="57100" y="6652"/>
                    <a:pt x="57058" y="6747"/>
                    <a:pt x="57033" y="6848"/>
                  </a:cubicBezTo>
                  <a:cubicBezTo>
                    <a:pt x="56984" y="6995"/>
                    <a:pt x="56939" y="7135"/>
                    <a:pt x="56816" y="7156"/>
                  </a:cubicBezTo>
                  <a:cubicBezTo>
                    <a:pt x="56771" y="7163"/>
                    <a:pt x="56722" y="7251"/>
                    <a:pt x="56680" y="7331"/>
                  </a:cubicBezTo>
                  <a:cubicBezTo>
                    <a:pt x="56631" y="7426"/>
                    <a:pt x="56574" y="7524"/>
                    <a:pt x="56490" y="7569"/>
                  </a:cubicBezTo>
                  <a:cubicBezTo>
                    <a:pt x="56455" y="7590"/>
                    <a:pt x="56424" y="7598"/>
                    <a:pt x="56396" y="7598"/>
                  </a:cubicBezTo>
                  <a:cubicBezTo>
                    <a:pt x="56334" y="7598"/>
                    <a:pt x="56290" y="7557"/>
                    <a:pt x="56256" y="7531"/>
                  </a:cubicBezTo>
                  <a:cubicBezTo>
                    <a:pt x="56227" y="7492"/>
                    <a:pt x="56183" y="7474"/>
                    <a:pt x="56139" y="7474"/>
                  </a:cubicBezTo>
                  <a:cubicBezTo>
                    <a:pt x="56134" y="7474"/>
                    <a:pt x="56130" y="7474"/>
                    <a:pt x="56126" y="7475"/>
                  </a:cubicBezTo>
                  <a:lnTo>
                    <a:pt x="56112" y="7475"/>
                  </a:lnTo>
                  <a:cubicBezTo>
                    <a:pt x="55874" y="7475"/>
                    <a:pt x="55272" y="6866"/>
                    <a:pt x="55237" y="6687"/>
                  </a:cubicBezTo>
                  <a:cubicBezTo>
                    <a:pt x="55213" y="6547"/>
                    <a:pt x="54873" y="6242"/>
                    <a:pt x="54765" y="6169"/>
                  </a:cubicBezTo>
                  <a:cubicBezTo>
                    <a:pt x="54730" y="6151"/>
                    <a:pt x="54709" y="6113"/>
                    <a:pt x="54712" y="6074"/>
                  </a:cubicBezTo>
                  <a:cubicBezTo>
                    <a:pt x="54716" y="6039"/>
                    <a:pt x="54740" y="6011"/>
                    <a:pt x="54772" y="6001"/>
                  </a:cubicBezTo>
                  <a:cubicBezTo>
                    <a:pt x="54791" y="5993"/>
                    <a:pt x="54815" y="5989"/>
                    <a:pt x="54841" y="5989"/>
                  </a:cubicBezTo>
                  <a:cubicBezTo>
                    <a:pt x="54910" y="5989"/>
                    <a:pt x="54996" y="6016"/>
                    <a:pt x="55062" y="6074"/>
                  </a:cubicBezTo>
                  <a:cubicBezTo>
                    <a:pt x="55115" y="6119"/>
                    <a:pt x="55181" y="6143"/>
                    <a:pt x="55248" y="6143"/>
                  </a:cubicBezTo>
                  <a:cubicBezTo>
                    <a:pt x="55296" y="6143"/>
                    <a:pt x="55344" y="6131"/>
                    <a:pt x="55388" y="6106"/>
                  </a:cubicBezTo>
                  <a:cubicBezTo>
                    <a:pt x="55416" y="6088"/>
                    <a:pt x="55437" y="6025"/>
                    <a:pt x="55423" y="5959"/>
                  </a:cubicBezTo>
                  <a:cubicBezTo>
                    <a:pt x="55416" y="5903"/>
                    <a:pt x="55367" y="5861"/>
                    <a:pt x="55311" y="5857"/>
                  </a:cubicBezTo>
                  <a:cubicBezTo>
                    <a:pt x="55150" y="5850"/>
                    <a:pt x="55122" y="5763"/>
                    <a:pt x="55115" y="5724"/>
                  </a:cubicBezTo>
                  <a:cubicBezTo>
                    <a:pt x="55111" y="5640"/>
                    <a:pt x="55157" y="5563"/>
                    <a:pt x="55234" y="5525"/>
                  </a:cubicBezTo>
                  <a:cubicBezTo>
                    <a:pt x="55220" y="5497"/>
                    <a:pt x="55192" y="5458"/>
                    <a:pt x="55174" y="5430"/>
                  </a:cubicBezTo>
                  <a:cubicBezTo>
                    <a:pt x="55115" y="5339"/>
                    <a:pt x="55062" y="5259"/>
                    <a:pt x="55087" y="5189"/>
                  </a:cubicBezTo>
                  <a:cubicBezTo>
                    <a:pt x="55101" y="5161"/>
                    <a:pt x="55129" y="5136"/>
                    <a:pt x="55160" y="5129"/>
                  </a:cubicBezTo>
                  <a:cubicBezTo>
                    <a:pt x="55167" y="5129"/>
                    <a:pt x="55174" y="5126"/>
                    <a:pt x="55181" y="5122"/>
                  </a:cubicBezTo>
                  <a:cubicBezTo>
                    <a:pt x="55174" y="5108"/>
                    <a:pt x="55139" y="5073"/>
                    <a:pt x="55062" y="5063"/>
                  </a:cubicBezTo>
                  <a:cubicBezTo>
                    <a:pt x="54873" y="5038"/>
                    <a:pt x="54670" y="4895"/>
                    <a:pt x="54639" y="4769"/>
                  </a:cubicBezTo>
                  <a:cubicBezTo>
                    <a:pt x="54585" y="4745"/>
                    <a:pt x="54432" y="4731"/>
                    <a:pt x="54291" y="4731"/>
                  </a:cubicBezTo>
                  <a:cubicBezTo>
                    <a:pt x="54182" y="4731"/>
                    <a:pt x="54080" y="4740"/>
                    <a:pt x="54040" y="4758"/>
                  </a:cubicBezTo>
                  <a:cubicBezTo>
                    <a:pt x="54043" y="4800"/>
                    <a:pt x="54022" y="4846"/>
                    <a:pt x="53987" y="4870"/>
                  </a:cubicBezTo>
                  <a:cubicBezTo>
                    <a:pt x="53955" y="4886"/>
                    <a:pt x="53920" y="4895"/>
                    <a:pt x="53885" y="4895"/>
                  </a:cubicBezTo>
                  <a:cubicBezTo>
                    <a:pt x="53837" y="4895"/>
                    <a:pt x="53790" y="4879"/>
                    <a:pt x="53749" y="4849"/>
                  </a:cubicBezTo>
                  <a:cubicBezTo>
                    <a:pt x="53714" y="4821"/>
                    <a:pt x="53697" y="4776"/>
                    <a:pt x="53704" y="4730"/>
                  </a:cubicBezTo>
                  <a:cubicBezTo>
                    <a:pt x="53644" y="4716"/>
                    <a:pt x="53585" y="4706"/>
                    <a:pt x="53525" y="4699"/>
                  </a:cubicBezTo>
                  <a:cubicBezTo>
                    <a:pt x="53392" y="4685"/>
                    <a:pt x="53259" y="4660"/>
                    <a:pt x="53130" y="4625"/>
                  </a:cubicBezTo>
                  <a:cubicBezTo>
                    <a:pt x="52965" y="4583"/>
                    <a:pt x="52818" y="4482"/>
                    <a:pt x="52727" y="4338"/>
                  </a:cubicBezTo>
                  <a:cubicBezTo>
                    <a:pt x="52710" y="4310"/>
                    <a:pt x="52685" y="4285"/>
                    <a:pt x="52661" y="4264"/>
                  </a:cubicBezTo>
                  <a:cubicBezTo>
                    <a:pt x="52647" y="4292"/>
                    <a:pt x="52636" y="4320"/>
                    <a:pt x="52626" y="4349"/>
                  </a:cubicBezTo>
                  <a:cubicBezTo>
                    <a:pt x="52605" y="4419"/>
                    <a:pt x="52577" y="4499"/>
                    <a:pt x="52507" y="4531"/>
                  </a:cubicBezTo>
                  <a:cubicBezTo>
                    <a:pt x="52488" y="4538"/>
                    <a:pt x="52469" y="4542"/>
                    <a:pt x="52450" y="4542"/>
                  </a:cubicBezTo>
                  <a:cubicBezTo>
                    <a:pt x="52424" y="4542"/>
                    <a:pt x="52399" y="4535"/>
                    <a:pt x="52377" y="4524"/>
                  </a:cubicBezTo>
                  <a:cubicBezTo>
                    <a:pt x="52356" y="4513"/>
                    <a:pt x="52333" y="4508"/>
                    <a:pt x="52310" y="4508"/>
                  </a:cubicBezTo>
                  <a:cubicBezTo>
                    <a:pt x="52272" y="4508"/>
                    <a:pt x="52234" y="4522"/>
                    <a:pt x="52205" y="4548"/>
                  </a:cubicBezTo>
                  <a:cubicBezTo>
                    <a:pt x="52163" y="4597"/>
                    <a:pt x="52156" y="4667"/>
                    <a:pt x="52188" y="4720"/>
                  </a:cubicBezTo>
                  <a:cubicBezTo>
                    <a:pt x="52265" y="4884"/>
                    <a:pt x="52240" y="4965"/>
                    <a:pt x="52212" y="5049"/>
                  </a:cubicBezTo>
                  <a:cubicBezTo>
                    <a:pt x="52202" y="5087"/>
                    <a:pt x="52191" y="5126"/>
                    <a:pt x="52188" y="5168"/>
                  </a:cubicBezTo>
                  <a:cubicBezTo>
                    <a:pt x="52188" y="5224"/>
                    <a:pt x="52160" y="5276"/>
                    <a:pt x="52118" y="5311"/>
                  </a:cubicBezTo>
                  <a:cubicBezTo>
                    <a:pt x="52096" y="5324"/>
                    <a:pt x="52073" y="5330"/>
                    <a:pt x="52048" y="5330"/>
                  </a:cubicBezTo>
                  <a:cubicBezTo>
                    <a:pt x="51999" y="5330"/>
                    <a:pt x="51943" y="5308"/>
                    <a:pt x="51873" y="5280"/>
                  </a:cubicBezTo>
                  <a:cubicBezTo>
                    <a:pt x="51841" y="5269"/>
                    <a:pt x="51810" y="5259"/>
                    <a:pt x="51775" y="5245"/>
                  </a:cubicBezTo>
                  <a:cubicBezTo>
                    <a:pt x="51757" y="5238"/>
                    <a:pt x="51741" y="5235"/>
                    <a:pt x="51726" y="5235"/>
                  </a:cubicBezTo>
                  <a:cubicBezTo>
                    <a:pt x="51693" y="5235"/>
                    <a:pt x="51666" y="5250"/>
                    <a:pt x="51624" y="5269"/>
                  </a:cubicBezTo>
                  <a:cubicBezTo>
                    <a:pt x="51562" y="5303"/>
                    <a:pt x="51482" y="5345"/>
                    <a:pt x="51345" y="5345"/>
                  </a:cubicBezTo>
                  <a:cubicBezTo>
                    <a:pt x="51283" y="5345"/>
                    <a:pt x="51209" y="5337"/>
                    <a:pt x="51120" y="5315"/>
                  </a:cubicBezTo>
                  <a:cubicBezTo>
                    <a:pt x="50966" y="5276"/>
                    <a:pt x="50812" y="5259"/>
                    <a:pt x="50655" y="5259"/>
                  </a:cubicBezTo>
                  <a:cubicBezTo>
                    <a:pt x="50515" y="5259"/>
                    <a:pt x="50403" y="5255"/>
                    <a:pt x="50343" y="5147"/>
                  </a:cubicBezTo>
                  <a:cubicBezTo>
                    <a:pt x="50307" y="5082"/>
                    <a:pt x="50262" y="5059"/>
                    <a:pt x="50245" y="5059"/>
                  </a:cubicBezTo>
                  <a:cubicBezTo>
                    <a:pt x="50244" y="5059"/>
                    <a:pt x="50242" y="5059"/>
                    <a:pt x="50241" y="5059"/>
                  </a:cubicBezTo>
                  <a:cubicBezTo>
                    <a:pt x="50234" y="5059"/>
                    <a:pt x="50231" y="5073"/>
                    <a:pt x="50231" y="5080"/>
                  </a:cubicBezTo>
                  <a:cubicBezTo>
                    <a:pt x="50217" y="5185"/>
                    <a:pt x="50066" y="5199"/>
                    <a:pt x="50017" y="5203"/>
                  </a:cubicBezTo>
                  <a:cubicBezTo>
                    <a:pt x="49996" y="5204"/>
                    <a:pt x="49972" y="5205"/>
                    <a:pt x="49944" y="5205"/>
                  </a:cubicBezTo>
                  <a:cubicBezTo>
                    <a:pt x="49740" y="5205"/>
                    <a:pt x="49387" y="5156"/>
                    <a:pt x="49335" y="4989"/>
                  </a:cubicBezTo>
                  <a:cubicBezTo>
                    <a:pt x="49279" y="4807"/>
                    <a:pt x="49401" y="4730"/>
                    <a:pt x="49499" y="4688"/>
                  </a:cubicBezTo>
                  <a:cubicBezTo>
                    <a:pt x="49425" y="4677"/>
                    <a:pt x="49349" y="4672"/>
                    <a:pt x="49273" y="4672"/>
                  </a:cubicBezTo>
                  <a:cubicBezTo>
                    <a:pt x="49227" y="4672"/>
                    <a:pt x="49181" y="4674"/>
                    <a:pt x="49135" y="4678"/>
                  </a:cubicBezTo>
                  <a:cubicBezTo>
                    <a:pt x="49112" y="4679"/>
                    <a:pt x="49089" y="4680"/>
                    <a:pt x="49067" y="4680"/>
                  </a:cubicBezTo>
                  <a:cubicBezTo>
                    <a:pt x="48901" y="4680"/>
                    <a:pt x="48760" y="4637"/>
                    <a:pt x="48624" y="4597"/>
                  </a:cubicBezTo>
                  <a:cubicBezTo>
                    <a:pt x="48495" y="4559"/>
                    <a:pt x="48364" y="4519"/>
                    <a:pt x="48216" y="4519"/>
                  </a:cubicBezTo>
                  <a:cubicBezTo>
                    <a:pt x="48187" y="4519"/>
                    <a:pt x="48157" y="4520"/>
                    <a:pt x="48127" y="4524"/>
                  </a:cubicBezTo>
                  <a:lnTo>
                    <a:pt x="47938" y="4541"/>
                  </a:lnTo>
                  <a:cubicBezTo>
                    <a:pt x="47563" y="4580"/>
                    <a:pt x="46870" y="4650"/>
                    <a:pt x="46772" y="4695"/>
                  </a:cubicBezTo>
                  <a:cubicBezTo>
                    <a:pt x="46776" y="4716"/>
                    <a:pt x="46783" y="4741"/>
                    <a:pt x="46790" y="4762"/>
                  </a:cubicBezTo>
                  <a:cubicBezTo>
                    <a:pt x="46807" y="4814"/>
                    <a:pt x="46828" y="4881"/>
                    <a:pt x="46793" y="4937"/>
                  </a:cubicBezTo>
                  <a:cubicBezTo>
                    <a:pt x="46761" y="4975"/>
                    <a:pt x="46713" y="4994"/>
                    <a:pt x="46666" y="4994"/>
                  </a:cubicBezTo>
                  <a:cubicBezTo>
                    <a:pt x="46626" y="4994"/>
                    <a:pt x="46587" y="4981"/>
                    <a:pt x="46555" y="4954"/>
                  </a:cubicBezTo>
                  <a:cubicBezTo>
                    <a:pt x="46489" y="4884"/>
                    <a:pt x="46499" y="4755"/>
                    <a:pt x="46513" y="4615"/>
                  </a:cubicBezTo>
                  <a:cubicBezTo>
                    <a:pt x="46524" y="4545"/>
                    <a:pt x="46524" y="4475"/>
                    <a:pt x="46517" y="4408"/>
                  </a:cubicBezTo>
                  <a:cubicBezTo>
                    <a:pt x="46510" y="4366"/>
                    <a:pt x="46478" y="4334"/>
                    <a:pt x="46440" y="4320"/>
                  </a:cubicBezTo>
                  <a:cubicBezTo>
                    <a:pt x="46424" y="4313"/>
                    <a:pt x="46406" y="4309"/>
                    <a:pt x="46388" y="4309"/>
                  </a:cubicBezTo>
                  <a:cubicBezTo>
                    <a:pt x="46382" y="4309"/>
                    <a:pt x="46376" y="4309"/>
                    <a:pt x="46370" y="4310"/>
                  </a:cubicBezTo>
                  <a:cubicBezTo>
                    <a:pt x="46387" y="4373"/>
                    <a:pt x="46359" y="4436"/>
                    <a:pt x="46303" y="4464"/>
                  </a:cubicBezTo>
                  <a:cubicBezTo>
                    <a:pt x="46233" y="4509"/>
                    <a:pt x="46106" y="4535"/>
                    <a:pt x="45984" y="4535"/>
                  </a:cubicBezTo>
                  <a:cubicBezTo>
                    <a:pt x="45868" y="4535"/>
                    <a:pt x="45755" y="4512"/>
                    <a:pt x="45697" y="4461"/>
                  </a:cubicBezTo>
                  <a:cubicBezTo>
                    <a:pt x="45526" y="4310"/>
                    <a:pt x="45316" y="4205"/>
                    <a:pt x="45095" y="4152"/>
                  </a:cubicBezTo>
                  <a:cubicBezTo>
                    <a:pt x="45066" y="4145"/>
                    <a:pt x="45037" y="4141"/>
                    <a:pt x="45007" y="4141"/>
                  </a:cubicBezTo>
                  <a:cubicBezTo>
                    <a:pt x="44875" y="4141"/>
                    <a:pt x="44740" y="4210"/>
                    <a:pt x="44654" y="4278"/>
                  </a:cubicBezTo>
                  <a:cubicBezTo>
                    <a:pt x="44609" y="4310"/>
                    <a:pt x="44574" y="4352"/>
                    <a:pt x="44549" y="4405"/>
                  </a:cubicBezTo>
                  <a:cubicBezTo>
                    <a:pt x="44584" y="4433"/>
                    <a:pt x="44658" y="4433"/>
                    <a:pt x="44714" y="4436"/>
                  </a:cubicBezTo>
                  <a:cubicBezTo>
                    <a:pt x="44791" y="4436"/>
                    <a:pt x="44882" y="4440"/>
                    <a:pt x="44892" y="4524"/>
                  </a:cubicBezTo>
                  <a:cubicBezTo>
                    <a:pt x="44896" y="4548"/>
                    <a:pt x="44889" y="4576"/>
                    <a:pt x="44871" y="4597"/>
                  </a:cubicBezTo>
                  <a:cubicBezTo>
                    <a:pt x="44819" y="4664"/>
                    <a:pt x="44689" y="4681"/>
                    <a:pt x="44483" y="4702"/>
                  </a:cubicBezTo>
                  <a:cubicBezTo>
                    <a:pt x="44395" y="4709"/>
                    <a:pt x="44308" y="4723"/>
                    <a:pt x="44220" y="4748"/>
                  </a:cubicBezTo>
                  <a:cubicBezTo>
                    <a:pt x="44210" y="4807"/>
                    <a:pt x="44139" y="4874"/>
                    <a:pt x="43831" y="4968"/>
                  </a:cubicBezTo>
                  <a:cubicBezTo>
                    <a:pt x="43667" y="5017"/>
                    <a:pt x="43502" y="5056"/>
                    <a:pt x="43331" y="5084"/>
                  </a:cubicBezTo>
                  <a:lnTo>
                    <a:pt x="43208" y="5098"/>
                  </a:lnTo>
                  <a:cubicBezTo>
                    <a:pt x="42785" y="5150"/>
                    <a:pt x="42683" y="5161"/>
                    <a:pt x="42470" y="5343"/>
                  </a:cubicBezTo>
                  <a:cubicBezTo>
                    <a:pt x="42437" y="5368"/>
                    <a:pt x="42377" y="5419"/>
                    <a:pt x="42322" y="5419"/>
                  </a:cubicBezTo>
                  <a:cubicBezTo>
                    <a:pt x="42301" y="5419"/>
                    <a:pt x="42281" y="5411"/>
                    <a:pt x="42263" y="5392"/>
                  </a:cubicBezTo>
                  <a:cubicBezTo>
                    <a:pt x="42162" y="5276"/>
                    <a:pt x="42470" y="4912"/>
                    <a:pt x="42519" y="4867"/>
                  </a:cubicBezTo>
                  <a:cubicBezTo>
                    <a:pt x="42606" y="4779"/>
                    <a:pt x="42718" y="4723"/>
                    <a:pt x="42841" y="4699"/>
                  </a:cubicBezTo>
                  <a:cubicBezTo>
                    <a:pt x="42921" y="4678"/>
                    <a:pt x="42981" y="4664"/>
                    <a:pt x="43019" y="4608"/>
                  </a:cubicBezTo>
                  <a:cubicBezTo>
                    <a:pt x="43124" y="4464"/>
                    <a:pt x="43275" y="4447"/>
                    <a:pt x="43481" y="4419"/>
                  </a:cubicBezTo>
                  <a:cubicBezTo>
                    <a:pt x="43537" y="4412"/>
                    <a:pt x="43597" y="4405"/>
                    <a:pt x="43660" y="4394"/>
                  </a:cubicBezTo>
                  <a:cubicBezTo>
                    <a:pt x="43772" y="4387"/>
                    <a:pt x="43873" y="4327"/>
                    <a:pt x="43936" y="4233"/>
                  </a:cubicBezTo>
                  <a:cubicBezTo>
                    <a:pt x="43971" y="4180"/>
                    <a:pt x="44024" y="4138"/>
                    <a:pt x="44080" y="4110"/>
                  </a:cubicBezTo>
                  <a:lnTo>
                    <a:pt x="44139" y="4082"/>
                  </a:lnTo>
                  <a:cubicBezTo>
                    <a:pt x="44276" y="4023"/>
                    <a:pt x="44567" y="3900"/>
                    <a:pt x="44612" y="3795"/>
                  </a:cubicBezTo>
                  <a:cubicBezTo>
                    <a:pt x="44695" y="3612"/>
                    <a:pt x="45434" y="3375"/>
                    <a:pt x="45606" y="3375"/>
                  </a:cubicBezTo>
                  <a:cubicBezTo>
                    <a:pt x="45609" y="3375"/>
                    <a:pt x="45611" y="3375"/>
                    <a:pt x="45613" y="3375"/>
                  </a:cubicBezTo>
                  <a:cubicBezTo>
                    <a:pt x="45614" y="3375"/>
                    <a:pt x="45615" y="3375"/>
                    <a:pt x="45616" y="3375"/>
                  </a:cubicBezTo>
                  <a:cubicBezTo>
                    <a:pt x="45657" y="3375"/>
                    <a:pt x="45694" y="3294"/>
                    <a:pt x="45722" y="3235"/>
                  </a:cubicBezTo>
                  <a:cubicBezTo>
                    <a:pt x="45760" y="3158"/>
                    <a:pt x="45795" y="3085"/>
                    <a:pt x="45869" y="3085"/>
                  </a:cubicBezTo>
                  <a:cubicBezTo>
                    <a:pt x="45907" y="3085"/>
                    <a:pt x="46096" y="3015"/>
                    <a:pt x="46506" y="2833"/>
                  </a:cubicBezTo>
                  <a:cubicBezTo>
                    <a:pt x="46618" y="2780"/>
                    <a:pt x="46699" y="2679"/>
                    <a:pt x="46720" y="2556"/>
                  </a:cubicBezTo>
                  <a:cubicBezTo>
                    <a:pt x="46695" y="2542"/>
                    <a:pt x="46671" y="2532"/>
                    <a:pt x="46643" y="2521"/>
                  </a:cubicBezTo>
                  <a:cubicBezTo>
                    <a:pt x="46580" y="2500"/>
                    <a:pt x="46496" y="2469"/>
                    <a:pt x="46478" y="2392"/>
                  </a:cubicBezTo>
                  <a:cubicBezTo>
                    <a:pt x="46468" y="2360"/>
                    <a:pt x="46471" y="2325"/>
                    <a:pt x="46492" y="2294"/>
                  </a:cubicBezTo>
                  <a:cubicBezTo>
                    <a:pt x="46520" y="2255"/>
                    <a:pt x="46573" y="2251"/>
                    <a:pt x="46625" y="2248"/>
                  </a:cubicBezTo>
                  <a:cubicBezTo>
                    <a:pt x="46681" y="2244"/>
                    <a:pt x="46737" y="2234"/>
                    <a:pt x="46793" y="2216"/>
                  </a:cubicBezTo>
                  <a:cubicBezTo>
                    <a:pt x="46821" y="2206"/>
                    <a:pt x="46825" y="2192"/>
                    <a:pt x="46818" y="2171"/>
                  </a:cubicBezTo>
                  <a:cubicBezTo>
                    <a:pt x="46805" y="2130"/>
                    <a:pt x="46753" y="2089"/>
                    <a:pt x="46712" y="2089"/>
                  </a:cubicBezTo>
                  <a:cubicBezTo>
                    <a:pt x="46707" y="2089"/>
                    <a:pt x="46703" y="2089"/>
                    <a:pt x="46699" y="2090"/>
                  </a:cubicBezTo>
                  <a:cubicBezTo>
                    <a:pt x="46684" y="2097"/>
                    <a:pt x="46669" y="2100"/>
                    <a:pt x="46653" y="2100"/>
                  </a:cubicBezTo>
                  <a:cubicBezTo>
                    <a:pt x="46628" y="2100"/>
                    <a:pt x="46603" y="2092"/>
                    <a:pt x="46583" y="2076"/>
                  </a:cubicBezTo>
                  <a:cubicBezTo>
                    <a:pt x="46548" y="2038"/>
                    <a:pt x="46566" y="1992"/>
                    <a:pt x="46580" y="1957"/>
                  </a:cubicBezTo>
                  <a:cubicBezTo>
                    <a:pt x="46604" y="1898"/>
                    <a:pt x="46618" y="1852"/>
                    <a:pt x="46580" y="1803"/>
                  </a:cubicBezTo>
                  <a:cubicBezTo>
                    <a:pt x="46564" y="1783"/>
                    <a:pt x="46544" y="1775"/>
                    <a:pt x="46521" y="1775"/>
                  </a:cubicBezTo>
                  <a:cubicBezTo>
                    <a:pt x="46492" y="1775"/>
                    <a:pt x="46457" y="1786"/>
                    <a:pt x="46415" y="1800"/>
                  </a:cubicBezTo>
                  <a:cubicBezTo>
                    <a:pt x="46381" y="1808"/>
                    <a:pt x="46348" y="1817"/>
                    <a:pt x="46316" y="1817"/>
                  </a:cubicBezTo>
                  <a:cubicBezTo>
                    <a:pt x="46291" y="1817"/>
                    <a:pt x="46268" y="1812"/>
                    <a:pt x="46247" y="1796"/>
                  </a:cubicBezTo>
                  <a:cubicBezTo>
                    <a:pt x="46219" y="1772"/>
                    <a:pt x="46205" y="1733"/>
                    <a:pt x="46208" y="1695"/>
                  </a:cubicBezTo>
                  <a:cubicBezTo>
                    <a:pt x="46219" y="1555"/>
                    <a:pt x="46198" y="1380"/>
                    <a:pt x="46117" y="1299"/>
                  </a:cubicBezTo>
                  <a:cubicBezTo>
                    <a:pt x="46116" y="1298"/>
                    <a:pt x="46114" y="1298"/>
                    <a:pt x="46111" y="1298"/>
                  </a:cubicBezTo>
                  <a:cubicBezTo>
                    <a:pt x="46094" y="1298"/>
                    <a:pt x="46053" y="1315"/>
                    <a:pt x="46023" y="1327"/>
                  </a:cubicBezTo>
                  <a:cubicBezTo>
                    <a:pt x="45970" y="1354"/>
                    <a:pt x="45900" y="1385"/>
                    <a:pt x="45822" y="1385"/>
                  </a:cubicBezTo>
                  <a:cubicBezTo>
                    <a:pt x="45766" y="1385"/>
                    <a:pt x="45706" y="1369"/>
                    <a:pt x="45645" y="1324"/>
                  </a:cubicBezTo>
                  <a:cubicBezTo>
                    <a:pt x="45496" y="1208"/>
                    <a:pt x="45105" y="1127"/>
                    <a:pt x="44967" y="1127"/>
                  </a:cubicBezTo>
                  <a:cubicBezTo>
                    <a:pt x="44958" y="1127"/>
                    <a:pt x="44951" y="1127"/>
                    <a:pt x="44945" y="1128"/>
                  </a:cubicBezTo>
                  <a:cubicBezTo>
                    <a:pt x="44941" y="1138"/>
                    <a:pt x="44934" y="1142"/>
                    <a:pt x="44927" y="1149"/>
                  </a:cubicBezTo>
                  <a:cubicBezTo>
                    <a:pt x="44910" y="1161"/>
                    <a:pt x="44891" y="1166"/>
                    <a:pt x="44870" y="1166"/>
                  </a:cubicBezTo>
                  <a:cubicBezTo>
                    <a:pt x="44835" y="1166"/>
                    <a:pt x="44793" y="1152"/>
                    <a:pt x="44738" y="1135"/>
                  </a:cubicBezTo>
                  <a:cubicBezTo>
                    <a:pt x="44693" y="1117"/>
                    <a:pt x="44647" y="1107"/>
                    <a:pt x="44598" y="1103"/>
                  </a:cubicBezTo>
                  <a:cubicBezTo>
                    <a:pt x="44544" y="1150"/>
                    <a:pt x="44399" y="1166"/>
                    <a:pt x="44251" y="1166"/>
                  </a:cubicBezTo>
                  <a:cubicBezTo>
                    <a:pt x="44090" y="1166"/>
                    <a:pt x="43925" y="1148"/>
                    <a:pt x="43866" y="1131"/>
                  </a:cubicBezTo>
                  <a:cubicBezTo>
                    <a:pt x="43848" y="1128"/>
                    <a:pt x="43829" y="1126"/>
                    <a:pt x="43811" y="1126"/>
                  </a:cubicBezTo>
                  <a:cubicBezTo>
                    <a:pt x="43756" y="1126"/>
                    <a:pt x="43701" y="1142"/>
                    <a:pt x="43656" y="1173"/>
                  </a:cubicBezTo>
                  <a:cubicBezTo>
                    <a:pt x="43621" y="1198"/>
                    <a:pt x="43600" y="1233"/>
                    <a:pt x="43593" y="1275"/>
                  </a:cubicBezTo>
                  <a:cubicBezTo>
                    <a:pt x="43590" y="1313"/>
                    <a:pt x="43572" y="1348"/>
                    <a:pt x="43541" y="1369"/>
                  </a:cubicBezTo>
                  <a:cubicBezTo>
                    <a:pt x="43475" y="1419"/>
                    <a:pt x="43344" y="1433"/>
                    <a:pt x="43212" y="1433"/>
                  </a:cubicBezTo>
                  <a:cubicBezTo>
                    <a:pt x="43034" y="1433"/>
                    <a:pt x="42855" y="1407"/>
                    <a:pt x="42827" y="1401"/>
                  </a:cubicBezTo>
                  <a:cubicBezTo>
                    <a:pt x="42795" y="1394"/>
                    <a:pt x="42771" y="1373"/>
                    <a:pt x="42764" y="1341"/>
                  </a:cubicBezTo>
                  <a:cubicBezTo>
                    <a:pt x="42743" y="1275"/>
                    <a:pt x="42806" y="1198"/>
                    <a:pt x="43002" y="1002"/>
                  </a:cubicBezTo>
                  <a:cubicBezTo>
                    <a:pt x="43044" y="960"/>
                    <a:pt x="43096" y="904"/>
                    <a:pt x="43131" y="862"/>
                  </a:cubicBezTo>
                  <a:cubicBezTo>
                    <a:pt x="43106" y="860"/>
                    <a:pt x="43074" y="860"/>
                    <a:pt x="43040" y="860"/>
                  </a:cubicBezTo>
                  <a:cubicBezTo>
                    <a:pt x="42971" y="860"/>
                    <a:pt x="42891" y="862"/>
                    <a:pt x="42823" y="862"/>
                  </a:cubicBezTo>
                  <a:cubicBezTo>
                    <a:pt x="42748" y="863"/>
                    <a:pt x="42684" y="864"/>
                    <a:pt x="42628" y="864"/>
                  </a:cubicBezTo>
                  <a:cubicBezTo>
                    <a:pt x="42391" y="864"/>
                    <a:pt x="42312" y="849"/>
                    <a:pt x="42281" y="795"/>
                  </a:cubicBezTo>
                  <a:cubicBezTo>
                    <a:pt x="42247" y="761"/>
                    <a:pt x="41994" y="730"/>
                    <a:pt x="41779" y="730"/>
                  </a:cubicBezTo>
                  <a:cubicBezTo>
                    <a:pt x="41749" y="730"/>
                    <a:pt x="41720" y="731"/>
                    <a:pt x="41692" y="732"/>
                  </a:cubicBezTo>
                  <a:cubicBezTo>
                    <a:pt x="41688" y="732"/>
                    <a:pt x="41682" y="732"/>
                    <a:pt x="41677" y="732"/>
                  </a:cubicBezTo>
                  <a:cubicBezTo>
                    <a:pt x="41622" y="732"/>
                    <a:pt x="41552" y="729"/>
                    <a:pt x="41545" y="662"/>
                  </a:cubicBezTo>
                  <a:cubicBezTo>
                    <a:pt x="41545" y="634"/>
                    <a:pt x="41538" y="564"/>
                    <a:pt x="41846" y="536"/>
                  </a:cubicBezTo>
                  <a:cubicBezTo>
                    <a:pt x="41927" y="519"/>
                    <a:pt x="42007" y="491"/>
                    <a:pt x="42078" y="449"/>
                  </a:cubicBezTo>
                  <a:cubicBezTo>
                    <a:pt x="42165" y="400"/>
                    <a:pt x="42256" y="365"/>
                    <a:pt x="42351" y="340"/>
                  </a:cubicBezTo>
                  <a:cubicBezTo>
                    <a:pt x="42379" y="340"/>
                    <a:pt x="42403" y="333"/>
                    <a:pt x="42428" y="319"/>
                  </a:cubicBezTo>
                  <a:cubicBezTo>
                    <a:pt x="42414" y="291"/>
                    <a:pt x="42396" y="260"/>
                    <a:pt x="42375" y="232"/>
                  </a:cubicBezTo>
                  <a:cubicBezTo>
                    <a:pt x="42344" y="193"/>
                    <a:pt x="42281" y="186"/>
                    <a:pt x="42176" y="179"/>
                  </a:cubicBezTo>
                  <a:cubicBezTo>
                    <a:pt x="42099" y="175"/>
                    <a:pt x="42021" y="165"/>
                    <a:pt x="41948" y="144"/>
                  </a:cubicBezTo>
                  <a:lnTo>
                    <a:pt x="41839" y="112"/>
                  </a:lnTo>
                  <a:cubicBezTo>
                    <a:pt x="41685" y="63"/>
                    <a:pt x="41514" y="7"/>
                    <a:pt x="41388" y="0"/>
                  </a:cubicBezTo>
                  <a:cubicBezTo>
                    <a:pt x="41383" y="0"/>
                    <a:pt x="41378" y="0"/>
                    <a:pt x="413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3" name="Google Shape;7420;p64">
              <a:extLst>
                <a:ext uri="{FF2B5EF4-FFF2-40B4-BE49-F238E27FC236}">
                  <a16:creationId xmlns:a16="http://schemas.microsoft.com/office/drawing/2014/main" id="{57612489-2A8D-648C-C06A-C738B781D40B}"/>
                </a:ext>
              </a:extLst>
            </p:cNvPr>
            <p:cNvSpPr/>
            <p:nvPr/>
          </p:nvSpPr>
          <p:spPr>
            <a:xfrm>
              <a:off x="2192984" y="1581360"/>
              <a:ext cx="21262" cy="7753"/>
            </a:xfrm>
            <a:custGeom>
              <a:avLst/>
              <a:gdLst/>
              <a:ahLst/>
              <a:cxnLst/>
              <a:rect l="l" t="t" r="r" b="b"/>
              <a:pathLst>
                <a:path w="1566" h="571" extrusionOk="0">
                  <a:moveTo>
                    <a:pt x="813" y="0"/>
                  </a:moveTo>
                  <a:cubicBezTo>
                    <a:pt x="876" y="116"/>
                    <a:pt x="753" y="186"/>
                    <a:pt x="694" y="217"/>
                  </a:cubicBezTo>
                  <a:cubicBezTo>
                    <a:pt x="669" y="231"/>
                    <a:pt x="624" y="259"/>
                    <a:pt x="620" y="273"/>
                  </a:cubicBezTo>
                  <a:cubicBezTo>
                    <a:pt x="620" y="277"/>
                    <a:pt x="624" y="284"/>
                    <a:pt x="627" y="287"/>
                  </a:cubicBezTo>
                  <a:cubicBezTo>
                    <a:pt x="669" y="333"/>
                    <a:pt x="676" y="396"/>
                    <a:pt x="641" y="448"/>
                  </a:cubicBezTo>
                  <a:cubicBezTo>
                    <a:pt x="609" y="492"/>
                    <a:pt x="547" y="510"/>
                    <a:pt x="485" y="510"/>
                  </a:cubicBezTo>
                  <a:cubicBezTo>
                    <a:pt x="453" y="510"/>
                    <a:pt x="421" y="505"/>
                    <a:pt x="392" y="497"/>
                  </a:cubicBezTo>
                  <a:cubicBezTo>
                    <a:pt x="312" y="480"/>
                    <a:pt x="252" y="410"/>
                    <a:pt x="252" y="326"/>
                  </a:cubicBezTo>
                  <a:cubicBezTo>
                    <a:pt x="252" y="322"/>
                    <a:pt x="252" y="315"/>
                    <a:pt x="224" y="308"/>
                  </a:cubicBezTo>
                  <a:cubicBezTo>
                    <a:pt x="206" y="305"/>
                    <a:pt x="187" y="303"/>
                    <a:pt x="169" y="303"/>
                  </a:cubicBezTo>
                  <a:cubicBezTo>
                    <a:pt x="113" y="303"/>
                    <a:pt x="58" y="319"/>
                    <a:pt x="11" y="350"/>
                  </a:cubicBezTo>
                  <a:cubicBezTo>
                    <a:pt x="14" y="382"/>
                    <a:pt x="11" y="413"/>
                    <a:pt x="0" y="445"/>
                  </a:cubicBezTo>
                  <a:lnTo>
                    <a:pt x="49" y="462"/>
                  </a:lnTo>
                  <a:lnTo>
                    <a:pt x="53" y="462"/>
                  </a:lnTo>
                  <a:lnTo>
                    <a:pt x="81" y="473"/>
                  </a:lnTo>
                  <a:lnTo>
                    <a:pt x="95" y="476"/>
                  </a:lnTo>
                  <a:lnTo>
                    <a:pt x="123" y="487"/>
                  </a:lnTo>
                  <a:lnTo>
                    <a:pt x="140" y="494"/>
                  </a:lnTo>
                  <a:lnTo>
                    <a:pt x="154" y="497"/>
                  </a:lnTo>
                  <a:lnTo>
                    <a:pt x="168" y="504"/>
                  </a:lnTo>
                  <a:lnTo>
                    <a:pt x="182" y="508"/>
                  </a:lnTo>
                  <a:lnTo>
                    <a:pt x="193" y="511"/>
                  </a:lnTo>
                  <a:lnTo>
                    <a:pt x="214" y="522"/>
                  </a:lnTo>
                  <a:lnTo>
                    <a:pt x="280" y="522"/>
                  </a:lnTo>
                  <a:lnTo>
                    <a:pt x="294" y="525"/>
                  </a:lnTo>
                  <a:lnTo>
                    <a:pt x="305" y="525"/>
                  </a:lnTo>
                  <a:lnTo>
                    <a:pt x="322" y="529"/>
                  </a:lnTo>
                  <a:lnTo>
                    <a:pt x="368" y="529"/>
                  </a:lnTo>
                  <a:lnTo>
                    <a:pt x="389" y="532"/>
                  </a:lnTo>
                  <a:lnTo>
                    <a:pt x="466" y="532"/>
                  </a:lnTo>
                  <a:lnTo>
                    <a:pt x="490" y="536"/>
                  </a:lnTo>
                  <a:lnTo>
                    <a:pt x="508" y="536"/>
                  </a:lnTo>
                  <a:lnTo>
                    <a:pt x="536" y="539"/>
                  </a:lnTo>
                  <a:lnTo>
                    <a:pt x="553" y="539"/>
                  </a:lnTo>
                  <a:lnTo>
                    <a:pt x="585" y="543"/>
                  </a:lnTo>
                  <a:lnTo>
                    <a:pt x="599" y="543"/>
                  </a:lnTo>
                  <a:lnTo>
                    <a:pt x="638" y="546"/>
                  </a:lnTo>
                  <a:lnTo>
                    <a:pt x="648" y="546"/>
                  </a:lnTo>
                  <a:lnTo>
                    <a:pt x="694" y="550"/>
                  </a:lnTo>
                  <a:lnTo>
                    <a:pt x="697" y="550"/>
                  </a:lnTo>
                  <a:cubicBezTo>
                    <a:pt x="837" y="560"/>
                    <a:pt x="991" y="567"/>
                    <a:pt x="1135" y="571"/>
                  </a:cubicBezTo>
                  <a:lnTo>
                    <a:pt x="1509" y="571"/>
                  </a:lnTo>
                  <a:lnTo>
                    <a:pt x="1530" y="567"/>
                  </a:lnTo>
                  <a:lnTo>
                    <a:pt x="1537" y="567"/>
                  </a:lnTo>
                  <a:cubicBezTo>
                    <a:pt x="1541" y="508"/>
                    <a:pt x="1544" y="448"/>
                    <a:pt x="1555" y="385"/>
                  </a:cubicBezTo>
                  <a:cubicBezTo>
                    <a:pt x="1558" y="336"/>
                    <a:pt x="1565" y="291"/>
                    <a:pt x="1565" y="266"/>
                  </a:cubicBezTo>
                  <a:cubicBezTo>
                    <a:pt x="1565" y="263"/>
                    <a:pt x="1555" y="235"/>
                    <a:pt x="1506" y="203"/>
                  </a:cubicBezTo>
                  <a:cubicBezTo>
                    <a:pt x="1495" y="196"/>
                    <a:pt x="1488" y="193"/>
                    <a:pt x="1481" y="186"/>
                  </a:cubicBezTo>
                  <a:lnTo>
                    <a:pt x="1464" y="179"/>
                  </a:lnTo>
                  <a:lnTo>
                    <a:pt x="1457" y="172"/>
                  </a:lnTo>
                  <a:lnTo>
                    <a:pt x="1439" y="165"/>
                  </a:lnTo>
                  <a:lnTo>
                    <a:pt x="1432" y="161"/>
                  </a:lnTo>
                  <a:lnTo>
                    <a:pt x="1418" y="158"/>
                  </a:lnTo>
                  <a:lnTo>
                    <a:pt x="1411" y="154"/>
                  </a:lnTo>
                  <a:lnTo>
                    <a:pt x="1401" y="151"/>
                  </a:lnTo>
                  <a:lnTo>
                    <a:pt x="1355" y="151"/>
                  </a:lnTo>
                  <a:lnTo>
                    <a:pt x="1348" y="154"/>
                  </a:lnTo>
                  <a:cubicBezTo>
                    <a:pt x="1328" y="162"/>
                    <a:pt x="1305" y="166"/>
                    <a:pt x="1279" y="166"/>
                  </a:cubicBezTo>
                  <a:cubicBezTo>
                    <a:pt x="1164" y="166"/>
                    <a:pt x="1006" y="90"/>
                    <a:pt x="946" y="7"/>
                  </a:cubicBezTo>
                  <a:cubicBezTo>
                    <a:pt x="946" y="4"/>
                    <a:pt x="942" y="4"/>
                    <a:pt x="94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4" name="Google Shape;7421;p64">
              <a:extLst>
                <a:ext uri="{FF2B5EF4-FFF2-40B4-BE49-F238E27FC236}">
                  <a16:creationId xmlns:a16="http://schemas.microsoft.com/office/drawing/2014/main" id="{1110E187-F150-6FDE-D963-3BA74F5FA0FD}"/>
                </a:ext>
              </a:extLst>
            </p:cNvPr>
            <p:cNvSpPr/>
            <p:nvPr/>
          </p:nvSpPr>
          <p:spPr>
            <a:xfrm>
              <a:off x="2688889" y="1342735"/>
              <a:ext cx="3394" cy="828"/>
            </a:xfrm>
            <a:custGeom>
              <a:avLst/>
              <a:gdLst/>
              <a:ahLst/>
              <a:cxnLst/>
              <a:rect l="l" t="t" r="r" b="b"/>
              <a:pathLst>
                <a:path w="250" h="61" extrusionOk="0">
                  <a:moveTo>
                    <a:pt x="1" y="1"/>
                  </a:moveTo>
                  <a:lnTo>
                    <a:pt x="1" y="1"/>
                  </a:lnTo>
                  <a:cubicBezTo>
                    <a:pt x="62" y="40"/>
                    <a:pt x="136" y="61"/>
                    <a:pt x="211" y="61"/>
                  </a:cubicBezTo>
                  <a:cubicBezTo>
                    <a:pt x="217" y="61"/>
                    <a:pt x="222" y="61"/>
                    <a:pt x="228" y="60"/>
                  </a:cubicBezTo>
                  <a:lnTo>
                    <a:pt x="249" y="60"/>
                  </a:lnTo>
                  <a:cubicBezTo>
                    <a:pt x="218" y="53"/>
                    <a:pt x="186" y="46"/>
                    <a:pt x="151" y="36"/>
                  </a:cubicBezTo>
                  <a:cubicBezTo>
                    <a:pt x="102" y="18"/>
                    <a:pt x="50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5" name="Google Shape;7422;p64">
              <a:extLst>
                <a:ext uri="{FF2B5EF4-FFF2-40B4-BE49-F238E27FC236}">
                  <a16:creationId xmlns:a16="http://schemas.microsoft.com/office/drawing/2014/main" id="{0D4C0150-C882-29FE-2E37-4130CBDD7037}"/>
                </a:ext>
              </a:extLst>
            </p:cNvPr>
            <p:cNvSpPr/>
            <p:nvPr/>
          </p:nvSpPr>
          <p:spPr>
            <a:xfrm>
              <a:off x="3095345" y="1594612"/>
              <a:ext cx="18737" cy="78777"/>
            </a:xfrm>
            <a:custGeom>
              <a:avLst/>
              <a:gdLst/>
              <a:ahLst/>
              <a:cxnLst/>
              <a:rect l="l" t="t" r="r" b="b"/>
              <a:pathLst>
                <a:path w="1380" h="5802" extrusionOk="0">
                  <a:moveTo>
                    <a:pt x="417" y="1"/>
                  </a:moveTo>
                  <a:cubicBezTo>
                    <a:pt x="382" y="32"/>
                    <a:pt x="375" y="116"/>
                    <a:pt x="371" y="197"/>
                  </a:cubicBezTo>
                  <a:cubicBezTo>
                    <a:pt x="357" y="344"/>
                    <a:pt x="340" y="540"/>
                    <a:pt x="144" y="564"/>
                  </a:cubicBezTo>
                  <a:cubicBezTo>
                    <a:pt x="98" y="571"/>
                    <a:pt x="84" y="582"/>
                    <a:pt x="81" y="585"/>
                  </a:cubicBezTo>
                  <a:cubicBezTo>
                    <a:pt x="70" y="603"/>
                    <a:pt x="77" y="666"/>
                    <a:pt x="88" y="722"/>
                  </a:cubicBezTo>
                  <a:cubicBezTo>
                    <a:pt x="119" y="855"/>
                    <a:pt x="116" y="988"/>
                    <a:pt x="84" y="1118"/>
                  </a:cubicBezTo>
                  <a:cubicBezTo>
                    <a:pt x="0" y="1398"/>
                    <a:pt x="119" y="1835"/>
                    <a:pt x="259" y="2154"/>
                  </a:cubicBezTo>
                  <a:cubicBezTo>
                    <a:pt x="333" y="2315"/>
                    <a:pt x="287" y="2770"/>
                    <a:pt x="238" y="3257"/>
                  </a:cubicBezTo>
                  <a:cubicBezTo>
                    <a:pt x="200" y="3670"/>
                    <a:pt x="151" y="4139"/>
                    <a:pt x="210" y="4251"/>
                  </a:cubicBezTo>
                  <a:cubicBezTo>
                    <a:pt x="284" y="4398"/>
                    <a:pt x="238" y="4709"/>
                    <a:pt x="165" y="5168"/>
                  </a:cubicBezTo>
                  <a:cubicBezTo>
                    <a:pt x="126" y="5399"/>
                    <a:pt x="74" y="5721"/>
                    <a:pt x="105" y="5777"/>
                  </a:cubicBezTo>
                  <a:lnTo>
                    <a:pt x="116" y="5788"/>
                  </a:lnTo>
                  <a:cubicBezTo>
                    <a:pt x="119" y="5770"/>
                    <a:pt x="126" y="5753"/>
                    <a:pt x="130" y="5735"/>
                  </a:cubicBezTo>
                  <a:cubicBezTo>
                    <a:pt x="158" y="5620"/>
                    <a:pt x="207" y="5427"/>
                    <a:pt x="399" y="5399"/>
                  </a:cubicBezTo>
                  <a:cubicBezTo>
                    <a:pt x="420" y="5396"/>
                    <a:pt x="438" y="5392"/>
                    <a:pt x="459" y="5392"/>
                  </a:cubicBezTo>
                  <a:cubicBezTo>
                    <a:pt x="638" y="5392"/>
                    <a:pt x="718" y="5539"/>
                    <a:pt x="781" y="5648"/>
                  </a:cubicBezTo>
                  <a:cubicBezTo>
                    <a:pt x="816" y="5714"/>
                    <a:pt x="851" y="5781"/>
                    <a:pt x="900" y="5802"/>
                  </a:cubicBezTo>
                  <a:cubicBezTo>
                    <a:pt x="911" y="5714"/>
                    <a:pt x="897" y="5620"/>
                    <a:pt x="858" y="5539"/>
                  </a:cubicBezTo>
                  <a:cubicBezTo>
                    <a:pt x="827" y="5466"/>
                    <a:pt x="799" y="5448"/>
                    <a:pt x="795" y="5445"/>
                  </a:cubicBezTo>
                  <a:cubicBezTo>
                    <a:pt x="783" y="5447"/>
                    <a:pt x="772" y="5448"/>
                    <a:pt x="761" y="5448"/>
                  </a:cubicBezTo>
                  <a:cubicBezTo>
                    <a:pt x="582" y="5448"/>
                    <a:pt x="469" y="5138"/>
                    <a:pt x="350" y="4765"/>
                  </a:cubicBezTo>
                  <a:lnTo>
                    <a:pt x="347" y="4755"/>
                  </a:lnTo>
                  <a:cubicBezTo>
                    <a:pt x="298" y="4590"/>
                    <a:pt x="354" y="4422"/>
                    <a:pt x="413" y="4244"/>
                  </a:cubicBezTo>
                  <a:cubicBezTo>
                    <a:pt x="459" y="4114"/>
                    <a:pt x="504" y="3978"/>
                    <a:pt x="504" y="3845"/>
                  </a:cubicBezTo>
                  <a:cubicBezTo>
                    <a:pt x="504" y="3712"/>
                    <a:pt x="568" y="3607"/>
                    <a:pt x="680" y="3561"/>
                  </a:cubicBezTo>
                  <a:cubicBezTo>
                    <a:pt x="723" y="3543"/>
                    <a:pt x="771" y="3535"/>
                    <a:pt x="822" y="3535"/>
                  </a:cubicBezTo>
                  <a:cubicBezTo>
                    <a:pt x="971" y="3535"/>
                    <a:pt x="1139" y="3608"/>
                    <a:pt x="1264" y="3736"/>
                  </a:cubicBezTo>
                  <a:cubicBezTo>
                    <a:pt x="1299" y="3771"/>
                    <a:pt x="1338" y="3803"/>
                    <a:pt x="1380" y="3831"/>
                  </a:cubicBezTo>
                  <a:cubicBezTo>
                    <a:pt x="1373" y="3789"/>
                    <a:pt x="1359" y="3750"/>
                    <a:pt x="1338" y="3719"/>
                  </a:cubicBezTo>
                  <a:cubicBezTo>
                    <a:pt x="1285" y="3621"/>
                    <a:pt x="1187" y="3264"/>
                    <a:pt x="1072" y="2847"/>
                  </a:cubicBezTo>
                  <a:cubicBezTo>
                    <a:pt x="963" y="2451"/>
                    <a:pt x="841" y="2000"/>
                    <a:pt x="753" y="1769"/>
                  </a:cubicBezTo>
                  <a:cubicBezTo>
                    <a:pt x="666" y="1534"/>
                    <a:pt x="715" y="1307"/>
                    <a:pt x="760" y="1107"/>
                  </a:cubicBezTo>
                  <a:cubicBezTo>
                    <a:pt x="816" y="869"/>
                    <a:pt x="841" y="732"/>
                    <a:pt x="708" y="634"/>
                  </a:cubicBezTo>
                  <a:cubicBezTo>
                    <a:pt x="508" y="484"/>
                    <a:pt x="466" y="249"/>
                    <a:pt x="438" y="95"/>
                  </a:cubicBezTo>
                  <a:cubicBezTo>
                    <a:pt x="431" y="64"/>
                    <a:pt x="424" y="25"/>
                    <a:pt x="41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6" name="Google Shape;7423;p64">
              <a:extLst>
                <a:ext uri="{FF2B5EF4-FFF2-40B4-BE49-F238E27FC236}">
                  <a16:creationId xmlns:a16="http://schemas.microsoft.com/office/drawing/2014/main" id="{AD059AA4-5870-D97E-7A2C-B7F0C4A7732A}"/>
                </a:ext>
              </a:extLst>
            </p:cNvPr>
            <p:cNvSpPr/>
            <p:nvPr/>
          </p:nvSpPr>
          <p:spPr>
            <a:xfrm>
              <a:off x="2726485" y="1235772"/>
              <a:ext cx="39185" cy="27603"/>
            </a:xfrm>
            <a:custGeom>
              <a:avLst/>
              <a:gdLst/>
              <a:ahLst/>
              <a:cxnLst/>
              <a:rect l="l" t="t" r="r" b="b"/>
              <a:pathLst>
                <a:path w="2886" h="2033" extrusionOk="0">
                  <a:moveTo>
                    <a:pt x="2063" y="0"/>
                  </a:moveTo>
                  <a:cubicBezTo>
                    <a:pt x="2044" y="0"/>
                    <a:pt x="2016" y="18"/>
                    <a:pt x="1947" y="61"/>
                  </a:cubicBezTo>
                  <a:cubicBezTo>
                    <a:pt x="1769" y="184"/>
                    <a:pt x="1569" y="268"/>
                    <a:pt x="1359" y="306"/>
                  </a:cubicBezTo>
                  <a:cubicBezTo>
                    <a:pt x="887" y="401"/>
                    <a:pt x="740" y="495"/>
                    <a:pt x="718" y="527"/>
                  </a:cubicBezTo>
                  <a:cubicBezTo>
                    <a:pt x="732" y="537"/>
                    <a:pt x="747" y="544"/>
                    <a:pt x="761" y="551"/>
                  </a:cubicBezTo>
                  <a:cubicBezTo>
                    <a:pt x="866" y="604"/>
                    <a:pt x="911" y="695"/>
                    <a:pt x="883" y="797"/>
                  </a:cubicBezTo>
                  <a:cubicBezTo>
                    <a:pt x="850" y="920"/>
                    <a:pt x="693" y="1050"/>
                    <a:pt x="511" y="1050"/>
                  </a:cubicBezTo>
                  <a:cubicBezTo>
                    <a:pt x="502" y="1050"/>
                    <a:pt x="493" y="1049"/>
                    <a:pt x="484" y="1049"/>
                  </a:cubicBezTo>
                  <a:cubicBezTo>
                    <a:pt x="479" y="1048"/>
                    <a:pt x="474" y="1048"/>
                    <a:pt x="470" y="1048"/>
                  </a:cubicBezTo>
                  <a:cubicBezTo>
                    <a:pt x="411" y="1048"/>
                    <a:pt x="368" y="1069"/>
                    <a:pt x="358" y="1108"/>
                  </a:cubicBezTo>
                  <a:cubicBezTo>
                    <a:pt x="347" y="1161"/>
                    <a:pt x="396" y="1241"/>
                    <a:pt x="533" y="1297"/>
                  </a:cubicBezTo>
                  <a:cubicBezTo>
                    <a:pt x="645" y="1343"/>
                    <a:pt x="771" y="1409"/>
                    <a:pt x="750" y="1507"/>
                  </a:cubicBezTo>
                  <a:cubicBezTo>
                    <a:pt x="732" y="1595"/>
                    <a:pt x="620" y="1633"/>
                    <a:pt x="375" y="1633"/>
                  </a:cubicBezTo>
                  <a:cubicBezTo>
                    <a:pt x="366" y="1633"/>
                    <a:pt x="357" y="1633"/>
                    <a:pt x="348" y="1633"/>
                  </a:cubicBezTo>
                  <a:cubicBezTo>
                    <a:pt x="231" y="1633"/>
                    <a:pt x="111" y="1654"/>
                    <a:pt x="1" y="1696"/>
                  </a:cubicBezTo>
                  <a:lnTo>
                    <a:pt x="11" y="1700"/>
                  </a:lnTo>
                  <a:cubicBezTo>
                    <a:pt x="78" y="1731"/>
                    <a:pt x="134" y="1777"/>
                    <a:pt x="176" y="1833"/>
                  </a:cubicBezTo>
                  <a:cubicBezTo>
                    <a:pt x="253" y="1931"/>
                    <a:pt x="365" y="2001"/>
                    <a:pt x="487" y="2022"/>
                  </a:cubicBezTo>
                  <a:cubicBezTo>
                    <a:pt x="524" y="2029"/>
                    <a:pt x="560" y="2033"/>
                    <a:pt x="597" y="2033"/>
                  </a:cubicBezTo>
                  <a:cubicBezTo>
                    <a:pt x="731" y="2033"/>
                    <a:pt x="861" y="1983"/>
                    <a:pt x="964" y="1889"/>
                  </a:cubicBezTo>
                  <a:cubicBezTo>
                    <a:pt x="1027" y="1829"/>
                    <a:pt x="1065" y="1759"/>
                    <a:pt x="1055" y="1707"/>
                  </a:cubicBezTo>
                  <a:cubicBezTo>
                    <a:pt x="1023" y="1528"/>
                    <a:pt x="1405" y="1420"/>
                    <a:pt x="2273" y="1252"/>
                  </a:cubicBezTo>
                  <a:cubicBezTo>
                    <a:pt x="2413" y="1224"/>
                    <a:pt x="2535" y="1199"/>
                    <a:pt x="2609" y="1182"/>
                  </a:cubicBezTo>
                  <a:cubicBezTo>
                    <a:pt x="2644" y="1171"/>
                    <a:pt x="2661" y="1161"/>
                    <a:pt x="2665" y="1154"/>
                  </a:cubicBezTo>
                  <a:cubicBezTo>
                    <a:pt x="2675" y="1133"/>
                    <a:pt x="2647" y="1070"/>
                    <a:pt x="2626" y="1031"/>
                  </a:cubicBezTo>
                  <a:cubicBezTo>
                    <a:pt x="2591" y="961"/>
                    <a:pt x="2553" y="881"/>
                    <a:pt x="2591" y="814"/>
                  </a:cubicBezTo>
                  <a:cubicBezTo>
                    <a:pt x="2619" y="765"/>
                    <a:pt x="2675" y="737"/>
                    <a:pt x="2763" y="730"/>
                  </a:cubicBezTo>
                  <a:cubicBezTo>
                    <a:pt x="2805" y="727"/>
                    <a:pt x="2847" y="720"/>
                    <a:pt x="2886" y="706"/>
                  </a:cubicBezTo>
                  <a:cubicBezTo>
                    <a:pt x="2844" y="678"/>
                    <a:pt x="2731" y="629"/>
                    <a:pt x="2532" y="601"/>
                  </a:cubicBezTo>
                  <a:cubicBezTo>
                    <a:pt x="2203" y="551"/>
                    <a:pt x="2171" y="338"/>
                    <a:pt x="2147" y="180"/>
                  </a:cubicBezTo>
                  <a:cubicBezTo>
                    <a:pt x="2136" y="110"/>
                    <a:pt x="2129" y="47"/>
                    <a:pt x="2094" y="19"/>
                  </a:cubicBezTo>
                  <a:cubicBezTo>
                    <a:pt x="2082" y="7"/>
                    <a:pt x="2074" y="0"/>
                    <a:pt x="206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7" name="Google Shape;7424;p64">
              <a:extLst>
                <a:ext uri="{FF2B5EF4-FFF2-40B4-BE49-F238E27FC236}">
                  <a16:creationId xmlns:a16="http://schemas.microsoft.com/office/drawing/2014/main" id="{21A9F24D-2201-622C-62DF-81F73D1FF7DF}"/>
                </a:ext>
              </a:extLst>
            </p:cNvPr>
            <p:cNvSpPr/>
            <p:nvPr/>
          </p:nvSpPr>
          <p:spPr>
            <a:xfrm>
              <a:off x="2452749" y="1237876"/>
              <a:ext cx="24249" cy="7875"/>
            </a:xfrm>
            <a:custGeom>
              <a:avLst/>
              <a:gdLst/>
              <a:ahLst/>
              <a:cxnLst/>
              <a:rect l="l" t="t" r="r" b="b"/>
              <a:pathLst>
                <a:path w="1786" h="580" extrusionOk="0">
                  <a:moveTo>
                    <a:pt x="477" y="1"/>
                  </a:moveTo>
                  <a:cubicBezTo>
                    <a:pt x="501" y="32"/>
                    <a:pt x="529" y="60"/>
                    <a:pt x="561" y="88"/>
                  </a:cubicBezTo>
                  <a:cubicBezTo>
                    <a:pt x="589" y="109"/>
                    <a:pt x="603" y="144"/>
                    <a:pt x="596" y="179"/>
                  </a:cubicBezTo>
                  <a:cubicBezTo>
                    <a:pt x="578" y="256"/>
                    <a:pt x="477" y="291"/>
                    <a:pt x="263" y="354"/>
                  </a:cubicBezTo>
                  <a:cubicBezTo>
                    <a:pt x="176" y="379"/>
                    <a:pt x="88" y="407"/>
                    <a:pt x="0" y="446"/>
                  </a:cubicBezTo>
                  <a:cubicBezTo>
                    <a:pt x="117" y="538"/>
                    <a:pt x="380" y="580"/>
                    <a:pt x="671" y="580"/>
                  </a:cubicBezTo>
                  <a:cubicBezTo>
                    <a:pt x="965" y="580"/>
                    <a:pt x="1288" y="537"/>
                    <a:pt x="1516" y="460"/>
                  </a:cubicBezTo>
                  <a:cubicBezTo>
                    <a:pt x="1698" y="400"/>
                    <a:pt x="1772" y="330"/>
                    <a:pt x="1779" y="288"/>
                  </a:cubicBezTo>
                  <a:cubicBezTo>
                    <a:pt x="1786" y="263"/>
                    <a:pt x="1782" y="235"/>
                    <a:pt x="1768" y="214"/>
                  </a:cubicBezTo>
                  <a:cubicBezTo>
                    <a:pt x="1745" y="186"/>
                    <a:pt x="1678" y="180"/>
                    <a:pt x="1598" y="180"/>
                  </a:cubicBezTo>
                  <a:cubicBezTo>
                    <a:pt x="1558" y="180"/>
                    <a:pt x="1514" y="182"/>
                    <a:pt x="1471" y="183"/>
                  </a:cubicBezTo>
                  <a:cubicBezTo>
                    <a:pt x="1421" y="185"/>
                    <a:pt x="1368" y="187"/>
                    <a:pt x="1313" y="187"/>
                  </a:cubicBezTo>
                  <a:cubicBezTo>
                    <a:pt x="1173" y="187"/>
                    <a:pt x="1020" y="174"/>
                    <a:pt x="879" y="116"/>
                  </a:cubicBezTo>
                  <a:cubicBezTo>
                    <a:pt x="666" y="25"/>
                    <a:pt x="533" y="1"/>
                    <a:pt x="4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8" name="Google Shape;7425;p64">
              <a:extLst>
                <a:ext uri="{FF2B5EF4-FFF2-40B4-BE49-F238E27FC236}">
                  <a16:creationId xmlns:a16="http://schemas.microsoft.com/office/drawing/2014/main" id="{4D5AA964-F412-9C70-37F2-7C4D02B39E9A}"/>
                </a:ext>
              </a:extLst>
            </p:cNvPr>
            <p:cNvSpPr/>
            <p:nvPr/>
          </p:nvSpPr>
          <p:spPr>
            <a:xfrm>
              <a:off x="2405554" y="1415592"/>
              <a:ext cx="14406" cy="8065"/>
            </a:xfrm>
            <a:custGeom>
              <a:avLst/>
              <a:gdLst/>
              <a:ahLst/>
              <a:cxnLst/>
              <a:rect l="l" t="t" r="r" b="b"/>
              <a:pathLst>
                <a:path w="1061" h="594" extrusionOk="0">
                  <a:moveTo>
                    <a:pt x="489" y="1"/>
                  </a:moveTo>
                  <a:cubicBezTo>
                    <a:pt x="483" y="1"/>
                    <a:pt x="476" y="1"/>
                    <a:pt x="469" y="2"/>
                  </a:cubicBezTo>
                  <a:cubicBezTo>
                    <a:pt x="294" y="2"/>
                    <a:pt x="112" y="100"/>
                    <a:pt x="49" y="215"/>
                  </a:cubicBezTo>
                  <a:cubicBezTo>
                    <a:pt x="0" y="303"/>
                    <a:pt x="21" y="387"/>
                    <a:pt x="109" y="467"/>
                  </a:cubicBezTo>
                  <a:cubicBezTo>
                    <a:pt x="206" y="558"/>
                    <a:pt x="299" y="593"/>
                    <a:pt x="388" y="593"/>
                  </a:cubicBezTo>
                  <a:cubicBezTo>
                    <a:pt x="544" y="593"/>
                    <a:pt x="688" y="485"/>
                    <a:pt x="819" y="387"/>
                  </a:cubicBezTo>
                  <a:cubicBezTo>
                    <a:pt x="910" y="317"/>
                    <a:pt x="987" y="261"/>
                    <a:pt x="1061" y="243"/>
                  </a:cubicBezTo>
                  <a:cubicBezTo>
                    <a:pt x="1001" y="187"/>
                    <a:pt x="812" y="79"/>
                    <a:pt x="581" y="16"/>
                  </a:cubicBezTo>
                  <a:cubicBezTo>
                    <a:pt x="550" y="7"/>
                    <a:pt x="520" y="1"/>
                    <a:pt x="48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9" name="Google Shape;7426;p64">
              <a:extLst>
                <a:ext uri="{FF2B5EF4-FFF2-40B4-BE49-F238E27FC236}">
                  <a16:creationId xmlns:a16="http://schemas.microsoft.com/office/drawing/2014/main" id="{98217055-1BE1-044C-F53F-F3BFEA14A5D2}"/>
                </a:ext>
              </a:extLst>
            </p:cNvPr>
            <p:cNvSpPr/>
            <p:nvPr/>
          </p:nvSpPr>
          <p:spPr>
            <a:xfrm>
              <a:off x="2399471" y="1241556"/>
              <a:ext cx="30047" cy="12613"/>
            </a:xfrm>
            <a:custGeom>
              <a:avLst/>
              <a:gdLst/>
              <a:ahLst/>
              <a:cxnLst/>
              <a:rect l="l" t="t" r="r" b="b"/>
              <a:pathLst>
                <a:path w="2213" h="929" extrusionOk="0">
                  <a:moveTo>
                    <a:pt x="1672" y="0"/>
                  </a:moveTo>
                  <a:cubicBezTo>
                    <a:pt x="1466" y="0"/>
                    <a:pt x="1275" y="85"/>
                    <a:pt x="1229" y="168"/>
                  </a:cubicBezTo>
                  <a:cubicBezTo>
                    <a:pt x="1218" y="185"/>
                    <a:pt x="1215" y="196"/>
                    <a:pt x="1246" y="220"/>
                  </a:cubicBezTo>
                  <a:cubicBezTo>
                    <a:pt x="1299" y="255"/>
                    <a:pt x="1320" y="297"/>
                    <a:pt x="1309" y="343"/>
                  </a:cubicBezTo>
                  <a:cubicBezTo>
                    <a:pt x="1285" y="427"/>
                    <a:pt x="1152" y="448"/>
                    <a:pt x="928" y="476"/>
                  </a:cubicBezTo>
                  <a:cubicBezTo>
                    <a:pt x="788" y="497"/>
                    <a:pt x="553" y="528"/>
                    <a:pt x="518" y="581"/>
                  </a:cubicBezTo>
                  <a:cubicBezTo>
                    <a:pt x="452" y="675"/>
                    <a:pt x="308" y="707"/>
                    <a:pt x="182" y="735"/>
                  </a:cubicBezTo>
                  <a:cubicBezTo>
                    <a:pt x="119" y="749"/>
                    <a:pt x="18" y="770"/>
                    <a:pt x="0" y="794"/>
                  </a:cubicBezTo>
                  <a:cubicBezTo>
                    <a:pt x="0" y="794"/>
                    <a:pt x="0" y="798"/>
                    <a:pt x="4" y="805"/>
                  </a:cubicBezTo>
                  <a:cubicBezTo>
                    <a:pt x="28" y="850"/>
                    <a:pt x="158" y="906"/>
                    <a:pt x="364" y="924"/>
                  </a:cubicBezTo>
                  <a:cubicBezTo>
                    <a:pt x="407" y="927"/>
                    <a:pt x="448" y="928"/>
                    <a:pt x="486" y="928"/>
                  </a:cubicBezTo>
                  <a:cubicBezTo>
                    <a:pt x="651" y="928"/>
                    <a:pt x="761" y="901"/>
                    <a:pt x="784" y="878"/>
                  </a:cubicBezTo>
                  <a:cubicBezTo>
                    <a:pt x="791" y="738"/>
                    <a:pt x="959" y="735"/>
                    <a:pt x="1071" y="731"/>
                  </a:cubicBezTo>
                  <a:cubicBezTo>
                    <a:pt x="1120" y="731"/>
                    <a:pt x="1208" y="731"/>
                    <a:pt x="1225" y="714"/>
                  </a:cubicBezTo>
                  <a:cubicBezTo>
                    <a:pt x="1232" y="633"/>
                    <a:pt x="1313" y="364"/>
                    <a:pt x="1929" y="318"/>
                  </a:cubicBezTo>
                  <a:cubicBezTo>
                    <a:pt x="2181" y="301"/>
                    <a:pt x="2213" y="248"/>
                    <a:pt x="2213" y="248"/>
                  </a:cubicBezTo>
                  <a:cubicBezTo>
                    <a:pt x="2213" y="248"/>
                    <a:pt x="2202" y="178"/>
                    <a:pt x="1939" y="55"/>
                  </a:cubicBezTo>
                  <a:cubicBezTo>
                    <a:pt x="1854" y="16"/>
                    <a:pt x="1762" y="0"/>
                    <a:pt x="167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0" name="Google Shape;7427;p64">
              <a:extLst>
                <a:ext uri="{FF2B5EF4-FFF2-40B4-BE49-F238E27FC236}">
                  <a16:creationId xmlns:a16="http://schemas.microsoft.com/office/drawing/2014/main" id="{C6065FF5-986C-A564-CFA9-128B8660019B}"/>
                </a:ext>
              </a:extLst>
            </p:cNvPr>
            <p:cNvSpPr/>
            <p:nvPr/>
          </p:nvSpPr>
          <p:spPr>
            <a:xfrm>
              <a:off x="2429179" y="1308887"/>
              <a:ext cx="131865" cy="90535"/>
            </a:xfrm>
            <a:custGeom>
              <a:avLst/>
              <a:gdLst/>
              <a:ahLst/>
              <a:cxnLst/>
              <a:rect l="l" t="t" r="r" b="b"/>
              <a:pathLst>
                <a:path w="9712" h="6668" extrusionOk="0">
                  <a:moveTo>
                    <a:pt x="9297" y="0"/>
                  </a:moveTo>
                  <a:cubicBezTo>
                    <a:pt x="8855" y="0"/>
                    <a:pt x="8218" y="261"/>
                    <a:pt x="8034" y="411"/>
                  </a:cubicBezTo>
                  <a:cubicBezTo>
                    <a:pt x="7873" y="540"/>
                    <a:pt x="7688" y="551"/>
                    <a:pt x="7506" y="558"/>
                  </a:cubicBezTo>
                  <a:cubicBezTo>
                    <a:pt x="7369" y="565"/>
                    <a:pt x="7240" y="568"/>
                    <a:pt x="7135" y="628"/>
                  </a:cubicBezTo>
                  <a:cubicBezTo>
                    <a:pt x="6953" y="731"/>
                    <a:pt x="6653" y="818"/>
                    <a:pt x="6383" y="818"/>
                  </a:cubicBezTo>
                  <a:cubicBezTo>
                    <a:pt x="6231" y="818"/>
                    <a:pt x="6089" y="790"/>
                    <a:pt x="5983" y="722"/>
                  </a:cubicBezTo>
                  <a:cubicBezTo>
                    <a:pt x="5945" y="697"/>
                    <a:pt x="5904" y="687"/>
                    <a:pt x="5861" y="687"/>
                  </a:cubicBezTo>
                  <a:cubicBezTo>
                    <a:pt x="5756" y="687"/>
                    <a:pt x="5640" y="750"/>
                    <a:pt x="5528" y="810"/>
                  </a:cubicBezTo>
                  <a:cubicBezTo>
                    <a:pt x="5422" y="869"/>
                    <a:pt x="5319" y="926"/>
                    <a:pt x="5222" y="926"/>
                  </a:cubicBezTo>
                  <a:cubicBezTo>
                    <a:pt x="5217" y="926"/>
                    <a:pt x="5211" y="926"/>
                    <a:pt x="5206" y="925"/>
                  </a:cubicBezTo>
                  <a:cubicBezTo>
                    <a:pt x="5200" y="925"/>
                    <a:pt x="5194" y="925"/>
                    <a:pt x="5188" y="925"/>
                  </a:cubicBezTo>
                  <a:cubicBezTo>
                    <a:pt x="5105" y="925"/>
                    <a:pt x="5013" y="967"/>
                    <a:pt x="4912" y="1013"/>
                  </a:cubicBezTo>
                  <a:cubicBezTo>
                    <a:pt x="4796" y="1065"/>
                    <a:pt x="4679" y="1119"/>
                    <a:pt x="4558" y="1119"/>
                  </a:cubicBezTo>
                  <a:cubicBezTo>
                    <a:pt x="4547" y="1119"/>
                    <a:pt x="4537" y="1119"/>
                    <a:pt x="4527" y="1118"/>
                  </a:cubicBezTo>
                  <a:cubicBezTo>
                    <a:pt x="4519" y="1117"/>
                    <a:pt x="4511" y="1117"/>
                    <a:pt x="4503" y="1117"/>
                  </a:cubicBezTo>
                  <a:cubicBezTo>
                    <a:pt x="4282" y="1117"/>
                    <a:pt x="3903" y="1299"/>
                    <a:pt x="3886" y="1377"/>
                  </a:cubicBezTo>
                  <a:cubicBezTo>
                    <a:pt x="3861" y="1472"/>
                    <a:pt x="3746" y="1503"/>
                    <a:pt x="3637" y="1535"/>
                  </a:cubicBezTo>
                  <a:cubicBezTo>
                    <a:pt x="3564" y="1556"/>
                    <a:pt x="3466" y="1580"/>
                    <a:pt x="3466" y="1619"/>
                  </a:cubicBezTo>
                  <a:cubicBezTo>
                    <a:pt x="3466" y="1717"/>
                    <a:pt x="3389" y="1815"/>
                    <a:pt x="3266" y="1867"/>
                  </a:cubicBezTo>
                  <a:cubicBezTo>
                    <a:pt x="3216" y="1890"/>
                    <a:pt x="3155" y="1906"/>
                    <a:pt x="3093" y="1906"/>
                  </a:cubicBezTo>
                  <a:cubicBezTo>
                    <a:pt x="3021" y="1906"/>
                    <a:pt x="2948" y="1885"/>
                    <a:pt x="2888" y="1829"/>
                  </a:cubicBezTo>
                  <a:cubicBezTo>
                    <a:pt x="2876" y="1815"/>
                    <a:pt x="2859" y="1808"/>
                    <a:pt x="2843" y="1808"/>
                  </a:cubicBezTo>
                  <a:cubicBezTo>
                    <a:pt x="2827" y="1808"/>
                    <a:pt x="2811" y="1815"/>
                    <a:pt x="2801" y="1829"/>
                  </a:cubicBezTo>
                  <a:cubicBezTo>
                    <a:pt x="2752" y="1878"/>
                    <a:pt x="2734" y="2000"/>
                    <a:pt x="2846" y="2102"/>
                  </a:cubicBezTo>
                  <a:cubicBezTo>
                    <a:pt x="2899" y="2154"/>
                    <a:pt x="2923" y="2207"/>
                    <a:pt x="2913" y="2259"/>
                  </a:cubicBezTo>
                  <a:cubicBezTo>
                    <a:pt x="2892" y="2354"/>
                    <a:pt x="2776" y="2396"/>
                    <a:pt x="2664" y="2438"/>
                  </a:cubicBezTo>
                  <a:cubicBezTo>
                    <a:pt x="2626" y="2452"/>
                    <a:pt x="2591" y="2466"/>
                    <a:pt x="2556" y="2483"/>
                  </a:cubicBezTo>
                  <a:cubicBezTo>
                    <a:pt x="2573" y="2508"/>
                    <a:pt x="2584" y="2536"/>
                    <a:pt x="2580" y="2567"/>
                  </a:cubicBezTo>
                  <a:cubicBezTo>
                    <a:pt x="2577" y="2637"/>
                    <a:pt x="2517" y="2683"/>
                    <a:pt x="2465" y="2732"/>
                  </a:cubicBezTo>
                  <a:cubicBezTo>
                    <a:pt x="2395" y="2788"/>
                    <a:pt x="2377" y="2812"/>
                    <a:pt x="2388" y="2830"/>
                  </a:cubicBezTo>
                  <a:cubicBezTo>
                    <a:pt x="2412" y="2872"/>
                    <a:pt x="2416" y="2921"/>
                    <a:pt x="2398" y="2963"/>
                  </a:cubicBezTo>
                  <a:cubicBezTo>
                    <a:pt x="2346" y="3078"/>
                    <a:pt x="2139" y="3117"/>
                    <a:pt x="1926" y="3159"/>
                  </a:cubicBezTo>
                  <a:lnTo>
                    <a:pt x="1873" y="3169"/>
                  </a:lnTo>
                  <a:cubicBezTo>
                    <a:pt x="1761" y="3190"/>
                    <a:pt x="1677" y="3292"/>
                    <a:pt x="1684" y="3362"/>
                  </a:cubicBezTo>
                  <a:cubicBezTo>
                    <a:pt x="1687" y="3411"/>
                    <a:pt x="1750" y="3425"/>
                    <a:pt x="1799" y="3428"/>
                  </a:cubicBezTo>
                  <a:cubicBezTo>
                    <a:pt x="1880" y="3432"/>
                    <a:pt x="1950" y="3435"/>
                    <a:pt x="1964" y="3499"/>
                  </a:cubicBezTo>
                  <a:cubicBezTo>
                    <a:pt x="1978" y="3558"/>
                    <a:pt x="1926" y="3583"/>
                    <a:pt x="1877" y="3611"/>
                  </a:cubicBezTo>
                  <a:cubicBezTo>
                    <a:pt x="1789" y="3656"/>
                    <a:pt x="1705" y="3712"/>
                    <a:pt x="1715" y="3793"/>
                  </a:cubicBezTo>
                  <a:cubicBezTo>
                    <a:pt x="1726" y="3838"/>
                    <a:pt x="1712" y="3887"/>
                    <a:pt x="1684" y="3926"/>
                  </a:cubicBezTo>
                  <a:cubicBezTo>
                    <a:pt x="1621" y="4003"/>
                    <a:pt x="1498" y="4013"/>
                    <a:pt x="1379" y="4020"/>
                  </a:cubicBezTo>
                  <a:cubicBezTo>
                    <a:pt x="1330" y="4020"/>
                    <a:pt x="1281" y="4027"/>
                    <a:pt x="1232" y="4041"/>
                  </a:cubicBezTo>
                  <a:cubicBezTo>
                    <a:pt x="1243" y="4122"/>
                    <a:pt x="1218" y="4199"/>
                    <a:pt x="1166" y="4262"/>
                  </a:cubicBezTo>
                  <a:cubicBezTo>
                    <a:pt x="1092" y="4342"/>
                    <a:pt x="966" y="4381"/>
                    <a:pt x="777" y="4381"/>
                  </a:cubicBezTo>
                  <a:lnTo>
                    <a:pt x="819" y="4416"/>
                  </a:lnTo>
                  <a:cubicBezTo>
                    <a:pt x="907" y="4493"/>
                    <a:pt x="1001" y="4577"/>
                    <a:pt x="1019" y="4675"/>
                  </a:cubicBezTo>
                  <a:cubicBezTo>
                    <a:pt x="1047" y="4815"/>
                    <a:pt x="924" y="4850"/>
                    <a:pt x="854" y="4871"/>
                  </a:cubicBezTo>
                  <a:cubicBezTo>
                    <a:pt x="756" y="4895"/>
                    <a:pt x="704" y="4916"/>
                    <a:pt x="697" y="5014"/>
                  </a:cubicBezTo>
                  <a:cubicBezTo>
                    <a:pt x="686" y="5203"/>
                    <a:pt x="501" y="5214"/>
                    <a:pt x="347" y="5221"/>
                  </a:cubicBezTo>
                  <a:cubicBezTo>
                    <a:pt x="161" y="5235"/>
                    <a:pt x="46" y="5249"/>
                    <a:pt x="14" y="5382"/>
                  </a:cubicBezTo>
                  <a:cubicBezTo>
                    <a:pt x="0" y="5455"/>
                    <a:pt x="4" y="5508"/>
                    <a:pt x="32" y="5543"/>
                  </a:cubicBezTo>
                  <a:cubicBezTo>
                    <a:pt x="91" y="5613"/>
                    <a:pt x="252" y="5617"/>
                    <a:pt x="396" y="5624"/>
                  </a:cubicBezTo>
                  <a:cubicBezTo>
                    <a:pt x="434" y="5624"/>
                    <a:pt x="473" y="5624"/>
                    <a:pt x="511" y="5627"/>
                  </a:cubicBezTo>
                  <a:cubicBezTo>
                    <a:pt x="515" y="5627"/>
                    <a:pt x="518" y="5627"/>
                    <a:pt x="522" y="5627"/>
                  </a:cubicBezTo>
                  <a:cubicBezTo>
                    <a:pt x="573" y="5627"/>
                    <a:pt x="618" y="5651"/>
                    <a:pt x="651" y="5694"/>
                  </a:cubicBezTo>
                  <a:cubicBezTo>
                    <a:pt x="686" y="5750"/>
                    <a:pt x="662" y="5816"/>
                    <a:pt x="637" y="5872"/>
                  </a:cubicBezTo>
                  <a:cubicBezTo>
                    <a:pt x="599" y="5974"/>
                    <a:pt x="595" y="6009"/>
                    <a:pt x="641" y="6044"/>
                  </a:cubicBezTo>
                  <a:cubicBezTo>
                    <a:pt x="712" y="6097"/>
                    <a:pt x="762" y="6112"/>
                    <a:pt x="784" y="6112"/>
                  </a:cubicBezTo>
                  <a:cubicBezTo>
                    <a:pt x="789" y="6112"/>
                    <a:pt x="793" y="6111"/>
                    <a:pt x="795" y="6110"/>
                  </a:cubicBezTo>
                  <a:cubicBezTo>
                    <a:pt x="795" y="6110"/>
                    <a:pt x="812" y="6072"/>
                    <a:pt x="753" y="5946"/>
                  </a:cubicBezTo>
                  <a:cubicBezTo>
                    <a:pt x="700" y="5834"/>
                    <a:pt x="763" y="5785"/>
                    <a:pt x="784" y="5774"/>
                  </a:cubicBezTo>
                  <a:cubicBezTo>
                    <a:pt x="809" y="5760"/>
                    <a:pt x="833" y="5757"/>
                    <a:pt x="861" y="5757"/>
                  </a:cubicBezTo>
                  <a:cubicBezTo>
                    <a:pt x="1001" y="5757"/>
                    <a:pt x="1222" y="5879"/>
                    <a:pt x="1313" y="6005"/>
                  </a:cubicBezTo>
                  <a:cubicBezTo>
                    <a:pt x="1383" y="6103"/>
                    <a:pt x="1376" y="6205"/>
                    <a:pt x="1292" y="6275"/>
                  </a:cubicBezTo>
                  <a:cubicBezTo>
                    <a:pt x="1274" y="6289"/>
                    <a:pt x="1257" y="6310"/>
                    <a:pt x="1260" y="6327"/>
                  </a:cubicBezTo>
                  <a:cubicBezTo>
                    <a:pt x="1292" y="6415"/>
                    <a:pt x="1656" y="6534"/>
                    <a:pt x="1947" y="6548"/>
                  </a:cubicBezTo>
                  <a:cubicBezTo>
                    <a:pt x="2027" y="6551"/>
                    <a:pt x="2150" y="6569"/>
                    <a:pt x="2293" y="6593"/>
                  </a:cubicBezTo>
                  <a:cubicBezTo>
                    <a:pt x="2511" y="6623"/>
                    <a:pt x="2824" y="6667"/>
                    <a:pt x="3047" y="6667"/>
                  </a:cubicBezTo>
                  <a:cubicBezTo>
                    <a:pt x="3161" y="6667"/>
                    <a:pt x="3250" y="6656"/>
                    <a:pt x="3291" y="6625"/>
                  </a:cubicBezTo>
                  <a:cubicBezTo>
                    <a:pt x="3301" y="6618"/>
                    <a:pt x="3301" y="6611"/>
                    <a:pt x="3301" y="6611"/>
                  </a:cubicBezTo>
                  <a:cubicBezTo>
                    <a:pt x="3305" y="6558"/>
                    <a:pt x="3175" y="6471"/>
                    <a:pt x="3049" y="6383"/>
                  </a:cubicBezTo>
                  <a:cubicBezTo>
                    <a:pt x="2878" y="6271"/>
                    <a:pt x="2720" y="6142"/>
                    <a:pt x="2577" y="5998"/>
                  </a:cubicBezTo>
                  <a:cubicBezTo>
                    <a:pt x="2363" y="5774"/>
                    <a:pt x="2129" y="5396"/>
                    <a:pt x="2171" y="5067"/>
                  </a:cubicBezTo>
                  <a:cubicBezTo>
                    <a:pt x="2185" y="4923"/>
                    <a:pt x="2269" y="4794"/>
                    <a:pt x="2395" y="4717"/>
                  </a:cubicBezTo>
                  <a:cubicBezTo>
                    <a:pt x="2563" y="4612"/>
                    <a:pt x="2570" y="4545"/>
                    <a:pt x="2584" y="4461"/>
                  </a:cubicBezTo>
                  <a:cubicBezTo>
                    <a:pt x="2594" y="4363"/>
                    <a:pt x="2612" y="4244"/>
                    <a:pt x="2829" y="4090"/>
                  </a:cubicBezTo>
                  <a:cubicBezTo>
                    <a:pt x="2948" y="4013"/>
                    <a:pt x="3035" y="3891"/>
                    <a:pt x="3070" y="3751"/>
                  </a:cubicBezTo>
                  <a:cubicBezTo>
                    <a:pt x="3102" y="3646"/>
                    <a:pt x="3137" y="3534"/>
                    <a:pt x="3343" y="3513"/>
                  </a:cubicBezTo>
                  <a:cubicBezTo>
                    <a:pt x="3441" y="3502"/>
                    <a:pt x="3438" y="3485"/>
                    <a:pt x="3431" y="3404"/>
                  </a:cubicBezTo>
                  <a:cubicBezTo>
                    <a:pt x="3424" y="3323"/>
                    <a:pt x="3410" y="3173"/>
                    <a:pt x="3634" y="3141"/>
                  </a:cubicBezTo>
                  <a:cubicBezTo>
                    <a:pt x="3732" y="3127"/>
                    <a:pt x="3823" y="3068"/>
                    <a:pt x="3872" y="2980"/>
                  </a:cubicBezTo>
                  <a:cubicBezTo>
                    <a:pt x="3924" y="2893"/>
                    <a:pt x="3942" y="2791"/>
                    <a:pt x="3921" y="2697"/>
                  </a:cubicBezTo>
                  <a:cubicBezTo>
                    <a:pt x="3907" y="2665"/>
                    <a:pt x="3910" y="2627"/>
                    <a:pt x="3928" y="2599"/>
                  </a:cubicBezTo>
                  <a:cubicBezTo>
                    <a:pt x="3963" y="2550"/>
                    <a:pt x="4030" y="2546"/>
                    <a:pt x="4124" y="2543"/>
                  </a:cubicBezTo>
                  <a:cubicBezTo>
                    <a:pt x="4236" y="2539"/>
                    <a:pt x="4373" y="2536"/>
                    <a:pt x="4450" y="2452"/>
                  </a:cubicBezTo>
                  <a:cubicBezTo>
                    <a:pt x="4544" y="2347"/>
                    <a:pt x="4688" y="2322"/>
                    <a:pt x="4824" y="2298"/>
                  </a:cubicBezTo>
                  <a:cubicBezTo>
                    <a:pt x="4978" y="2273"/>
                    <a:pt x="5111" y="2249"/>
                    <a:pt x="5167" y="2126"/>
                  </a:cubicBezTo>
                  <a:cubicBezTo>
                    <a:pt x="5321" y="1804"/>
                    <a:pt x="7278" y="1167"/>
                    <a:pt x="8252" y="943"/>
                  </a:cubicBezTo>
                  <a:cubicBezTo>
                    <a:pt x="9148" y="736"/>
                    <a:pt x="9662" y="428"/>
                    <a:pt x="9704" y="232"/>
                  </a:cubicBezTo>
                  <a:cubicBezTo>
                    <a:pt x="9711" y="201"/>
                    <a:pt x="9711" y="148"/>
                    <a:pt x="9634" y="89"/>
                  </a:cubicBezTo>
                  <a:cubicBezTo>
                    <a:pt x="9554" y="26"/>
                    <a:pt x="9435" y="0"/>
                    <a:pt x="929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1" name="Google Shape;7428;p64">
              <a:extLst>
                <a:ext uri="{FF2B5EF4-FFF2-40B4-BE49-F238E27FC236}">
                  <a16:creationId xmlns:a16="http://schemas.microsoft.com/office/drawing/2014/main" id="{96A61583-0DD2-04C1-DC4D-63B384D54ACE}"/>
                </a:ext>
              </a:extLst>
            </p:cNvPr>
            <p:cNvSpPr/>
            <p:nvPr/>
          </p:nvSpPr>
          <p:spPr>
            <a:xfrm>
              <a:off x="2439104" y="1251861"/>
              <a:ext cx="6857" cy="1833"/>
            </a:xfrm>
            <a:custGeom>
              <a:avLst/>
              <a:gdLst/>
              <a:ahLst/>
              <a:cxnLst/>
              <a:rect l="l" t="t" r="r" b="b"/>
              <a:pathLst>
                <a:path w="505" h="135" extrusionOk="0">
                  <a:moveTo>
                    <a:pt x="386" y="0"/>
                  </a:moveTo>
                  <a:cubicBezTo>
                    <a:pt x="266" y="0"/>
                    <a:pt x="98" y="47"/>
                    <a:pt x="1" y="88"/>
                  </a:cubicBezTo>
                  <a:cubicBezTo>
                    <a:pt x="104" y="115"/>
                    <a:pt x="223" y="134"/>
                    <a:pt x="320" y="134"/>
                  </a:cubicBezTo>
                  <a:cubicBezTo>
                    <a:pt x="387" y="134"/>
                    <a:pt x="444" y="125"/>
                    <a:pt x="477" y="102"/>
                  </a:cubicBezTo>
                  <a:cubicBezTo>
                    <a:pt x="494" y="88"/>
                    <a:pt x="505" y="67"/>
                    <a:pt x="501" y="42"/>
                  </a:cubicBezTo>
                  <a:cubicBezTo>
                    <a:pt x="501" y="35"/>
                    <a:pt x="501" y="25"/>
                    <a:pt x="477" y="14"/>
                  </a:cubicBezTo>
                  <a:cubicBezTo>
                    <a:pt x="453" y="5"/>
                    <a:pt x="421" y="0"/>
                    <a:pt x="38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2" name="Google Shape;7429;p64">
              <a:extLst>
                <a:ext uri="{FF2B5EF4-FFF2-40B4-BE49-F238E27FC236}">
                  <a16:creationId xmlns:a16="http://schemas.microsoft.com/office/drawing/2014/main" id="{005CB8FB-1FD3-DE52-EFC7-D7B894F86862}"/>
                </a:ext>
              </a:extLst>
            </p:cNvPr>
            <p:cNvSpPr/>
            <p:nvPr/>
          </p:nvSpPr>
          <p:spPr>
            <a:xfrm>
              <a:off x="2870271" y="1345763"/>
              <a:ext cx="11758" cy="4576"/>
            </a:xfrm>
            <a:custGeom>
              <a:avLst/>
              <a:gdLst/>
              <a:ahLst/>
              <a:cxnLst/>
              <a:rect l="l" t="t" r="r" b="b"/>
              <a:pathLst>
                <a:path w="866" h="337" extrusionOk="0">
                  <a:moveTo>
                    <a:pt x="583" y="0"/>
                  </a:moveTo>
                  <a:cubicBezTo>
                    <a:pt x="457" y="0"/>
                    <a:pt x="342" y="35"/>
                    <a:pt x="323" y="61"/>
                  </a:cubicBezTo>
                  <a:cubicBezTo>
                    <a:pt x="284" y="142"/>
                    <a:pt x="183" y="180"/>
                    <a:pt x="95" y="215"/>
                  </a:cubicBezTo>
                  <a:cubicBezTo>
                    <a:pt x="60" y="229"/>
                    <a:pt x="29" y="243"/>
                    <a:pt x="1" y="261"/>
                  </a:cubicBezTo>
                  <a:cubicBezTo>
                    <a:pt x="46" y="310"/>
                    <a:pt x="164" y="336"/>
                    <a:pt x="302" y="336"/>
                  </a:cubicBezTo>
                  <a:cubicBezTo>
                    <a:pt x="408" y="336"/>
                    <a:pt x="526" y="321"/>
                    <a:pt x="631" y="289"/>
                  </a:cubicBezTo>
                  <a:cubicBezTo>
                    <a:pt x="768" y="247"/>
                    <a:pt x="859" y="184"/>
                    <a:pt x="862" y="128"/>
                  </a:cubicBezTo>
                  <a:cubicBezTo>
                    <a:pt x="862" y="110"/>
                    <a:pt x="866" y="58"/>
                    <a:pt x="757" y="26"/>
                  </a:cubicBezTo>
                  <a:cubicBezTo>
                    <a:pt x="702" y="8"/>
                    <a:pt x="641" y="0"/>
                    <a:pt x="58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3" name="Google Shape;7430;p64">
              <a:extLst>
                <a:ext uri="{FF2B5EF4-FFF2-40B4-BE49-F238E27FC236}">
                  <a16:creationId xmlns:a16="http://schemas.microsoft.com/office/drawing/2014/main" id="{EC4EF21A-0B92-DA15-9DF4-CAACE356769F}"/>
                </a:ext>
              </a:extLst>
            </p:cNvPr>
            <p:cNvSpPr/>
            <p:nvPr/>
          </p:nvSpPr>
          <p:spPr>
            <a:xfrm>
              <a:off x="2384020" y="1243620"/>
              <a:ext cx="22783" cy="4983"/>
            </a:xfrm>
            <a:custGeom>
              <a:avLst/>
              <a:gdLst/>
              <a:ahLst/>
              <a:cxnLst/>
              <a:rect l="l" t="t" r="r" b="b"/>
              <a:pathLst>
                <a:path w="1678" h="367" extrusionOk="0">
                  <a:moveTo>
                    <a:pt x="1256" y="0"/>
                  </a:moveTo>
                  <a:cubicBezTo>
                    <a:pt x="1089" y="0"/>
                    <a:pt x="915" y="22"/>
                    <a:pt x="809" y="79"/>
                  </a:cubicBezTo>
                  <a:cubicBezTo>
                    <a:pt x="669" y="152"/>
                    <a:pt x="462" y="163"/>
                    <a:pt x="280" y="173"/>
                  </a:cubicBezTo>
                  <a:cubicBezTo>
                    <a:pt x="182" y="180"/>
                    <a:pt x="42" y="187"/>
                    <a:pt x="0" y="208"/>
                  </a:cubicBezTo>
                  <a:cubicBezTo>
                    <a:pt x="74" y="285"/>
                    <a:pt x="168" y="334"/>
                    <a:pt x="273" y="352"/>
                  </a:cubicBezTo>
                  <a:cubicBezTo>
                    <a:pt x="316" y="361"/>
                    <a:pt x="359" y="366"/>
                    <a:pt x="402" y="366"/>
                  </a:cubicBezTo>
                  <a:cubicBezTo>
                    <a:pt x="542" y="366"/>
                    <a:pt x="680" y="314"/>
                    <a:pt x="784" y="215"/>
                  </a:cubicBezTo>
                  <a:cubicBezTo>
                    <a:pt x="939" y="69"/>
                    <a:pt x="1115" y="34"/>
                    <a:pt x="1273" y="34"/>
                  </a:cubicBezTo>
                  <a:cubicBezTo>
                    <a:pt x="1361" y="34"/>
                    <a:pt x="1443" y="45"/>
                    <a:pt x="1513" y="54"/>
                  </a:cubicBezTo>
                  <a:cubicBezTo>
                    <a:pt x="1552" y="62"/>
                    <a:pt x="1593" y="66"/>
                    <a:pt x="1635" y="66"/>
                  </a:cubicBezTo>
                  <a:cubicBezTo>
                    <a:pt x="1649" y="66"/>
                    <a:pt x="1663" y="65"/>
                    <a:pt x="1677" y="65"/>
                  </a:cubicBezTo>
                  <a:cubicBezTo>
                    <a:pt x="1628" y="29"/>
                    <a:pt x="1448" y="0"/>
                    <a:pt x="125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4" name="Google Shape;7431;p64">
              <a:extLst>
                <a:ext uri="{FF2B5EF4-FFF2-40B4-BE49-F238E27FC236}">
                  <a16:creationId xmlns:a16="http://schemas.microsoft.com/office/drawing/2014/main" id="{C8D8F31B-C5ED-C629-B6D8-CE050004B870}"/>
                </a:ext>
              </a:extLst>
            </p:cNvPr>
            <p:cNvSpPr/>
            <p:nvPr/>
          </p:nvSpPr>
          <p:spPr>
            <a:xfrm>
              <a:off x="2517202" y="1238691"/>
              <a:ext cx="17406" cy="5404"/>
            </a:xfrm>
            <a:custGeom>
              <a:avLst/>
              <a:gdLst/>
              <a:ahLst/>
              <a:cxnLst/>
              <a:rect l="l" t="t" r="r" b="b"/>
              <a:pathLst>
                <a:path w="1282" h="398" extrusionOk="0">
                  <a:moveTo>
                    <a:pt x="1023" y="1"/>
                  </a:moveTo>
                  <a:cubicBezTo>
                    <a:pt x="919" y="1"/>
                    <a:pt x="860" y="48"/>
                    <a:pt x="799" y="98"/>
                  </a:cubicBezTo>
                  <a:cubicBezTo>
                    <a:pt x="748" y="140"/>
                    <a:pt x="688" y="187"/>
                    <a:pt x="609" y="187"/>
                  </a:cubicBezTo>
                  <a:cubicBezTo>
                    <a:pt x="601" y="187"/>
                    <a:pt x="593" y="187"/>
                    <a:pt x="585" y="186"/>
                  </a:cubicBezTo>
                  <a:cubicBezTo>
                    <a:pt x="573" y="184"/>
                    <a:pt x="559" y="184"/>
                    <a:pt x="543" y="184"/>
                  </a:cubicBezTo>
                  <a:cubicBezTo>
                    <a:pt x="376" y="184"/>
                    <a:pt x="55" y="265"/>
                    <a:pt x="1" y="322"/>
                  </a:cubicBezTo>
                  <a:cubicBezTo>
                    <a:pt x="56" y="379"/>
                    <a:pt x="171" y="397"/>
                    <a:pt x="306" y="397"/>
                  </a:cubicBezTo>
                  <a:cubicBezTo>
                    <a:pt x="437" y="397"/>
                    <a:pt x="585" y="380"/>
                    <a:pt x="711" y="365"/>
                  </a:cubicBezTo>
                  <a:lnTo>
                    <a:pt x="844" y="351"/>
                  </a:lnTo>
                  <a:cubicBezTo>
                    <a:pt x="1138" y="319"/>
                    <a:pt x="1275" y="217"/>
                    <a:pt x="1282" y="140"/>
                  </a:cubicBezTo>
                  <a:cubicBezTo>
                    <a:pt x="1282" y="84"/>
                    <a:pt x="1215" y="32"/>
                    <a:pt x="1114" y="11"/>
                  </a:cubicBezTo>
                  <a:cubicBezTo>
                    <a:pt x="1080" y="4"/>
                    <a:pt x="1050" y="1"/>
                    <a:pt x="102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5" name="Google Shape;7432;p64">
              <a:extLst>
                <a:ext uri="{FF2B5EF4-FFF2-40B4-BE49-F238E27FC236}">
                  <a16:creationId xmlns:a16="http://schemas.microsoft.com/office/drawing/2014/main" id="{4A91BE71-88E8-E61B-8725-B1A3A8A201F0}"/>
                </a:ext>
              </a:extLst>
            </p:cNvPr>
            <p:cNvSpPr/>
            <p:nvPr/>
          </p:nvSpPr>
          <p:spPr>
            <a:xfrm>
              <a:off x="2718026" y="1237646"/>
              <a:ext cx="8757" cy="2403"/>
            </a:xfrm>
            <a:custGeom>
              <a:avLst/>
              <a:gdLst/>
              <a:ahLst/>
              <a:cxnLst/>
              <a:rect l="l" t="t" r="r" b="b"/>
              <a:pathLst>
                <a:path w="645" h="177" extrusionOk="0">
                  <a:moveTo>
                    <a:pt x="400" y="0"/>
                  </a:moveTo>
                  <a:cubicBezTo>
                    <a:pt x="179" y="0"/>
                    <a:pt x="11" y="60"/>
                    <a:pt x="1" y="95"/>
                  </a:cubicBezTo>
                  <a:cubicBezTo>
                    <a:pt x="1" y="95"/>
                    <a:pt x="8" y="105"/>
                    <a:pt x="22" y="119"/>
                  </a:cubicBezTo>
                  <a:cubicBezTo>
                    <a:pt x="55" y="145"/>
                    <a:pt x="193" y="176"/>
                    <a:pt x="334" y="176"/>
                  </a:cubicBezTo>
                  <a:cubicBezTo>
                    <a:pt x="401" y="176"/>
                    <a:pt x="469" y="169"/>
                    <a:pt x="526" y="151"/>
                  </a:cubicBezTo>
                  <a:cubicBezTo>
                    <a:pt x="596" y="130"/>
                    <a:pt x="634" y="98"/>
                    <a:pt x="645" y="53"/>
                  </a:cubicBezTo>
                  <a:cubicBezTo>
                    <a:pt x="645" y="53"/>
                    <a:pt x="645" y="53"/>
                    <a:pt x="645" y="49"/>
                  </a:cubicBezTo>
                  <a:cubicBezTo>
                    <a:pt x="641" y="39"/>
                    <a:pt x="575" y="0"/>
                    <a:pt x="40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6" name="Google Shape;7433;p64">
              <a:extLst>
                <a:ext uri="{FF2B5EF4-FFF2-40B4-BE49-F238E27FC236}">
                  <a16:creationId xmlns:a16="http://schemas.microsoft.com/office/drawing/2014/main" id="{7B952A33-CAF1-8D87-7FF5-F1A0333ADF70}"/>
                </a:ext>
              </a:extLst>
            </p:cNvPr>
            <p:cNvSpPr/>
            <p:nvPr/>
          </p:nvSpPr>
          <p:spPr>
            <a:xfrm>
              <a:off x="2570534" y="1361377"/>
              <a:ext cx="11229" cy="4209"/>
            </a:xfrm>
            <a:custGeom>
              <a:avLst/>
              <a:gdLst/>
              <a:ahLst/>
              <a:cxnLst/>
              <a:rect l="l" t="t" r="r" b="b"/>
              <a:pathLst>
                <a:path w="827" h="310" extrusionOk="0">
                  <a:moveTo>
                    <a:pt x="284" y="0"/>
                  </a:moveTo>
                  <a:cubicBezTo>
                    <a:pt x="78" y="0"/>
                    <a:pt x="11" y="140"/>
                    <a:pt x="4" y="214"/>
                  </a:cubicBezTo>
                  <a:cubicBezTo>
                    <a:pt x="4" y="221"/>
                    <a:pt x="1" y="298"/>
                    <a:pt x="50" y="305"/>
                  </a:cubicBezTo>
                  <a:cubicBezTo>
                    <a:pt x="73" y="308"/>
                    <a:pt x="101" y="310"/>
                    <a:pt x="131" y="310"/>
                  </a:cubicBezTo>
                  <a:cubicBezTo>
                    <a:pt x="371" y="310"/>
                    <a:pt x="783" y="209"/>
                    <a:pt x="827" y="144"/>
                  </a:cubicBezTo>
                  <a:cubicBezTo>
                    <a:pt x="816" y="102"/>
                    <a:pt x="617" y="0"/>
                    <a:pt x="2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7" name="Google Shape;7434;p64">
              <a:extLst>
                <a:ext uri="{FF2B5EF4-FFF2-40B4-BE49-F238E27FC236}">
                  <a16:creationId xmlns:a16="http://schemas.microsoft.com/office/drawing/2014/main" id="{712E9B5F-0AE1-3796-D083-2DBDF483E2F2}"/>
                </a:ext>
              </a:extLst>
            </p:cNvPr>
            <p:cNvSpPr/>
            <p:nvPr/>
          </p:nvSpPr>
          <p:spPr>
            <a:xfrm>
              <a:off x="2635516" y="1366890"/>
              <a:ext cx="4616" cy="2865"/>
            </a:xfrm>
            <a:custGeom>
              <a:avLst/>
              <a:gdLst/>
              <a:ahLst/>
              <a:cxnLst/>
              <a:rect l="l" t="t" r="r" b="b"/>
              <a:pathLst>
                <a:path w="340" h="211" extrusionOk="0">
                  <a:moveTo>
                    <a:pt x="277" y="0"/>
                  </a:moveTo>
                  <a:cubicBezTo>
                    <a:pt x="165" y="0"/>
                    <a:pt x="18" y="102"/>
                    <a:pt x="0" y="144"/>
                  </a:cubicBezTo>
                  <a:lnTo>
                    <a:pt x="7" y="147"/>
                  </a:lnTo>
                  <a:cubicBezTo>
                    <a:pt x="90" y="189"/>
                    <a:pt x="167" y="211"/>
                    <a:pt x="224" y="211"/>
                  </a:cubicBezTo>
                  <a:cubicBezTo>
                    <a:pt x="254" y="211"/>
                    <a:pt x="278" y="205"/>
                    <a:pt x="294" y="193"/>
                  </a:cubicBezTo>
                  <a:cubicBezTo>
                    <a:pt x="340" y="161"/>
                    <a:pt x="340" y="91"/>
                    <a:pt x="333" y="39"/>
                  </a:cubicBezTo>
                  <a:cubicBezTo>
                    <a:pt x="333" y="21"/>
                    <a:pt x="329" y="0"/>
                    <a:pt x="27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8" name="Google Shape;7435;p64">
              <a:extLst>
                <a:ext uri="{FF2B5EF4-FFF2-40B4-BE49-F238E27FC236}">
                  <a16:creationId xmlns:a16="http://schemas.microsoft.com/office/drawing/2014/main" id="{0768B6A5-FD08-411E-B8C9-5A6393108285}"/>
                </a:ext>
              </a:extLst>
            </p:cNvPr>
            <p:cNvSpPr/>
            <p:nvPr/>
          </p:nvSpPr>
          <p:spPr>
            <a:xfrm>
              <a:off x="2491961" y="1240701"/>
              <a:ext cx="20176" cy="8119"/>
            </a:xfrm>
            <a:custGeom>
              <a:avLst/>
              <a:gdLst/>
              <a:ahLst/>
              <a:cxnLst/>
              <a:rect l="l" t="t" r="r" b="b"/>
              <a:pathLst>
                <a:path w="1486" h="598" extrusionOk="0">
                  <a:moveTo>
                    <a:pt x="750" y="1"/>
                  </a:moveTo>
                  <a:cubicBezTo>
                    <a:pt x="588" y="1"/>
                    <a:pt x="493" y="24"/>
                    <a:pt x="463" y="41"/>
                  </a:cubicBezTo>
                  <a:cubicBezTo>
                    <a:pt x="480" y="153"/>
                    <a:pt x="347" y="234"/>
                    <a:pt x="204" y="322"/>
                  </a:cubicBezTo>
                  <a:cubicBezTo>
                    <a:pt x="134" y="367"/>
                    <a:pt x="4" y="441"/>
                    <a:pt x="1" y="479"/>
                  </a:cubicBezTo>
                  <a:cubicBezTo>
                    <a:pt x="4" y="483"/>
                    <a:pt x="11" y="486"/>
                    <a:pt x="15" y="490"/>
                  </a:cubicBezTo>
                  <a:cubicBezTo>
                    <a:pt x="105" y="562"/>
                    <a:pt x="245" y="598"/>
                    <a:pt x="425" y="598"/>
                  </a:cubicBezTo>
                  <a:cubicBezTo>
                    <a:pt x="490" y="598"/>
                    <a:pt x="560" y="593"/>
                    <a:pt x="634" y="584"/>
                  </a:cubicBezTo>
                  <a:cubicBezTo>
                    <a:pt x="1033" y="535"/>
                    <a:pt x="1422" y="374"/>
                    <a:pt x="1475" y="308"/>
                  </a:cubicBezTo>
                  <a:cubicBezTo>
                    <a:pt x="1478" y="304"/>
                    <a:pt x="1482" y="301"/>
                    <a:pt x="1485" y="294"/>
                  </a:cubicBezTo>
                  <a:cubicBezTo>
                    <a:pt x="1461" y="276"/>
                    <a:pt x="1433" y="262"/>
                    <a:pt x="1408" y="252"/>
                  </a:cubicBezTo>
                  <a:cubicBezTo>
                    <a:pt x="1334" y="213"/>
                    <a:pt x="1243" y="171"/>
                    <a:pt x="1222" y="76"/>
                  </a:cubicBezTo>
                  <a:cubicBezTo>
                    <a:pt x="1194" y="52"/>
                    <a:pt x="1061" y="10"/>
                    <a:pt x="841" y="3"/>
                  </a:cubicBezTo>
                  <a:cubicBezTo>
                    <a:pt x="808" y="1"/>
                    <a:pt x="778" y="1"/>
                    <a:pt x="75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9" name="Google Shape;7436;p64">
              <a:extLst>
                <a:ext uri="{FF2B5EF4-FFF2-40B4-BE49-F238E27FC236}">
                  <a16:creationId xmlns:a16="http://schemas.microsoft.com/office/drawing/2014/main" id="{CB0CAAD2-A16F-3B36-BAA2-93445858ADCA}"/>
                </a:ext>
              </a:extLst>
            </p:cNvPr>
            <p:cNvSpPr/>
            <p:nvPr/>
          </p:nvSpPr>
          <p:spPr>
            <a:xfrm>
              <a:off x="2465159" y="1249621"/>
              <a:ext cx="23394" cy="6734"/>
            </a:xfrm>
            <a:custGeom>
              <a:avLst/>
              <a:gdLst/>
              <a:ahLst/>
              <a:cxnLst/>
              <a:rect l="l" t="t" r="r" b="b"/>
              <a:pathLst>
                <a:path w="1723" h="496" extrusionOk="0">
                  <a:moveTo>
                    <a:pt x="993" y="0"/>
                  </a:moveTo>
                  <a:cubicBezTo>
                    <a:pt x="912" y="0"/>
                    <a:pt x="846" y="5"/>
                    <a:pt x="809" y="15"/>
                  </a:cubicBezTo>
                  <a:cubicBezTo>
                    <a:pt x="816" y="50"/>
                    <a:pt x="809" y="88"/>
                    <a:pt x="788" y="120"/>
                  </a:cubicBezTo>
                  <a:cubicBezTo>
                    <a:pt x="735" y="197"/>
                    <a:pt x="609" y="211"/>
                    <a:pt x="333" y="211"/>
                  </a:cubicBezTo>
                  <a:cubicBezTo>
                    <a:pt x="151" y="211"/>
                    <a:pt x="32" y="274"/>
                    <a:pt x="11" y="330"/>
                  </a:cubicBezTo>
                  <a:cubicBezTo>
                    <a:pt x="0" y="358"/>
                    <a:pt x="14" y="386"/>
                    <a:pt x="49" y="417"/>
                  </a:cubicBezTo>
                  <a:cubicBezTo>
                    <a:pt x="109" y="467"/>
                    <a:pt x="265" y="495"/>
                    <a:pt x="453" y="495"/>
                  </a:cubicBezTo>
                  <a:cubicBezTo>
                    <a:pt x="530" y="495"/>
                    <a:pt x="613" y="490"/>
                    <a:pt x="697" y="480"/>
                  </a:cubicBezTo>
                  <a:cubicBezTo>
                    <a:pt x="956" y="452"/>
                    <a:pt x="1113" y="386"/>
                    <a:pt x="1152" y="333"/>
                  </a:cubicBezTo>
                  <a:cubicBezTo>
                    <a:pt x="1243" y="211"/>
                    <a:pt x="1397" y="200"/>
                    <a:pt x="1520" y="193"/>
                  </a:cubicBezTo>
                  <a:cubicBezTo>
                    <a:pt x="1642" y="186"/>
                    <a:pt x="1702" y="176"/>
                    <a:pt x="1723" y="134"/>
                  </a:cubicBezTo>
                  <a:cubicBezTo>
                    <a:pt x="1709" y="123"/>
                    <a:pt x="1670" y="95"/>
                    <a:pt x="1548" y="64"/>
                  </a:cubicBezTo>
                  <a:cubicBezTo>
                    <a:pt x="1374" y="20"/>
                    <a:pt x="1154" y="0"/>
                    <a:pt x="99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0" name="Google Shape;7437;p64">
              <a:extLst>
                <a:ext uri="{FF2B5EF4-FFF2-40B4-BE49-F238E27FC236}">
                  <a16:creationId xmlns:a16="http://schemas.microsoft.com/office/drawing/2014/main" id="{C60F03B7-84F1-9193-F96F-E6944C24F79C}"/>
                </a:ext>
              </a:extLst>
            </p:cNvPr>
            <p:cNvSpPr/>
            <p:nvPr/>
          </p:nvSpPr>
          <p:spPr>
            <a:xfrm>
              <a:off x="2466530" y="1232500"/>
              <a:ext cx="20597" cy="4358"/>
            </a:xfrm>
            <a:custGeom>
              <a:avLst/>
              <a:gdLst/>
              <a:ahLst/>
              <a:cxnLst/>
              <a:rect l="l" t="t" r="r" b="b"/>
              <a:pathLst>
                <a:path w="1517" h="321" extrusionOk="0">
                  <a:moveTo>
                    <a:pt x="1106" y="0"/>
                  </a:moveTo>
                  <a:cubicBezTo>
                    <a:pt x="908" y="0"/>
                    <a:pt x="721" y="29"/>
                    <a:pt x="655" y="57"/>
                  </a:cubicBezTo>
                  <a:cubicBezTo>
                    <a:pt x="662" y="78"/>
                    <a:pt x="659" y="99"/>
                    <a:pt x="652" y="120"/>
                  </a:cubicBezTo>
                  <a:cubicBezTo>
                    <a:pt x="613" y="197"/>
                    <a:pt x="480" y="215"/>
                    <a:pt x="102" y="229"/>
                  </a:cubicBezTo>
                  <a:lnTo>
                    <a:pt x="1" y="232"/>
                  </a:lnTo>
                  <a:cubicBezTo>
                    <a:pt x="160" y="290"/>
                    <a:pt x="330" y="321"/>
                    <a:pt x="502" y="321"/>
                  </a:cubicBezTo>
                  <a:cubicBezTo>
                    <a:pt x="519" y="321"/>
                    <a:pt x="537" y="321"/>
                    <a:pt x="554" y="320"/>
                  </a:cubicBezTo>
                  <a:cubicBezTo>
                    <a:pt x="732" y="320"/>
                    <a:pt x="781" y="267"/>
                    <a:pt x="834" y="211"/>
                  </a:cubicBezTo>
                  <a:cubicBezTo>
                    <a:pt x="883" y="145"/>
                    <a:pt x="961" y="104"/>
                    <a:pt x="1044" y="104"/>
                  </a:cubicBezTo>
                  <a:cubicBezTo>
                    <a:pt x="1061" y="104"/>
                    <a:pt x="1079" y="106"/>
                    <a:pt x="1096" y="110"/>
                  </a:cubicBezTo>
                  <a:cubicBezTo>
                    <a:pt x="1171" y="119"/>
                    <a:pt x="1239" y="123"/>
                    <a:pt x="1297" y="123"/>
                  </a:cubicBezTo>
                  <a:cubicBezTo>
                    <a:pt x="1414" y="123"/>
                    <a:pt x="1493" y="107"/>
                    <a:pt x="1517" y="89"/>
                  </a:cubicBezTo>
                  <a:cubicBezTo>
                    <a:pt x="1513" y="82"/>
                    <a:pt x="1510" y="78"/>
                    <a:pt x="1503" y="71"/>
                  </a:cubicBezTo>
                  <a:cubicBezTo>
                    <a:pt x="1489" y="54"/>
                    <a:pt x="1415" y="19"/>
                    <a:pt x="1240" y="5"/>
                  </a:cubicBezTo>
                  <a:cubicBezTo>
                    <a:pt x="1196" y="2"/>
                    <a:pt x="1151" y="0"/>
                    <a:pt x="110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1" name="Google Shape;7438;p64">
              <a:extLst>
                <a:ext uri="{FF2B5EF4-FFF2-40B4-BE49-F238E27FC236}">
                  <a16:creationId xmlns:a16="http://schemas.microsoft.com/office/drawing/2014/main" id="{AFAA12D6-3B27-3271-B23A-3E854144B7A4}"/>
                </a:ext>
              </a:extLst>
            </p:cNvPr>
            <p:cNvSpPr/>
            <p:nvPr/>
          </p:nvSpPr>
          <p:spPr>
            <a:xfrm>
              <a:off x="2698353" y="164214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2" name="Google Shape;7439;p64">
              <a:extLst>
                <a:ext uri="{FF2B5EF4-FFF2-40B4-BE49-F238E27FC236}">
                  <a16:creationId xmlns:a16="http://schemas.microsoft.com/office/drawing/2014/main" id="{1F306782-CFDF-B40C-AF5C-3CB22F8C5521}"/>
                </a:ext>
              </a:extLst>
            </p:cNvPr>
            <p:cNvSpPr/>
            <p:nvPr/>
          </p:nvSpPr>
          <p:spPr>
            <a:xfrm>
              <a:off x="2818038" y="1630266"/>
              <a:ext cx="3625" cy="530"/>
            </a:xfrm>
            <a:custGeom>
              <a:avLst/>
              <a:gdLst/>
              <a:ahLst/>
              <a:cxnLst/>
              <a:rect l="l" t="t" r="r" b="b"/>
              <a:pathLst>
                <a:path w="267" h="39" extrusionOk="0">
                  <a:moveTo>
                    <a:pt x="0" y="39"/>
                  </a:moveTo>
                  <a:cubicBezTo>
                    <a:pt x="88" y="21"/>
                    <a:pt x="179" y="7"/>
                    <a:pt x="267" y="0"/>
                  </a:cubicBezTo>
                  <a:cubicBezTo>
                    <a:pt x="179" y="7"/>
                    <a:pt x="88" y="21"/>
                    <a:pt x="0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3" name="Google Shape;7440;p64">
              <a:extLst>
                <a:ext uri="{FF2B5EF4-FFF2-40B4-BE49-F238E27FC236}">
                  <a16:creationId xmlns:a16="http://schemas.microsoft.com/office/drawing/2014/main" id="{9DD69F97-F969-DC52-045E-66A5063C75B2}"/>
                </a:ext>
              </a:extLst>
            </p:cNvPr>
            <p:cNvSpPr/>
            <p:nvPr/>
          </p:nvSpPr>
          <p:spPr>
            <a:xfrm>
              <a:off x="2835580" y="1633878"/>
              <a:ext cx="2430" cy="815"/>
            </a:xfrm>
            <a:custGeom>
              <a:avLst/>
              <a:gdLst/>
              <a:ahLst/>
              <a:cxnLst/>
              <a:rect l="l" t="t" r="r" b="b"/>
              <a:pathLst>
                <a:path w="179" h="60" extrusionOk="0">
                  <a:moveTo>
                    <a:pt x="0" y="0"/>
                  </a:moveTo>
                  <a:cubicBezTo>
                    <a:pt x="18" y="18"/>
                    <a:pt x="119" y="42"/>
                    <a:pt x="179" y="60"/>
                  </a:cubicBezTo>
                  <a:cubicBezTo>
                    <a:pt x="119" y="42"/>
                    <a:pt x="1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4" name="Google Shape;7441;p64">
              <a:extLst>
                <a:ext uri="{FF2B5EF4-FFF2-40B4-BE49-F238E27FC236}">
                  <a16:creationId xmlns:a16="http://schemas.microsoft.com/office/drawing/2014/main" id="{8BC8BBCF-9ACB-1CA8-7CF1-2373D63D1A21}"/>
                </a:ext>
              </a:extLst>
            </p:cNvPr>
            <p:cNvSpPr/>
            <p:nvPr/>
          </p:nvSpPr>
          <p:spPr>
            <a:xfrm>
              <a:off x="2863808" y="1641861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22"/>
                  </a:moveTo>
                  <a:cubicBezTo>
                    <a:pt x="15" y="15"/>
                    <a:pt x="25" y="8"/>
                    <a:pt x="43" y="1"/>
                  </a:cubicBezTo>
                  <a:cubicBezTo>
                    <a:pt x="25" y="8"/>
                    <a:pt x="15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5" name="Google Shape;7442;p64">
              <a:extLst>
                <a:ext uri="{FF2B5EF4-FFF2-40B4-BE49-F238E27FC236}">
                  <a16:creationId xmlns:a16="http://schemas.microsoft.com/office/drawing/2014/main" id="{3C1E47C6-4063-E3C1-DC5F-19433CD70518}"/>
                </a:ext>
              </a:extLst>
            </p:cNvPr>
            <p:cNvSpPr/>
            <p:nvPr/>
          </p:nvSpPr>
          <p:spPr>
            <a:xfrm>
              <a:off x="2807149" y="1632778"/>
              <a:ext cx="2729" cy="1059"/>
            </a:xfrm>
            <a:custGeom>
              <a:avLst/>
              <a:gdLst/>
              <a:ahLst/>
              <a:cxnLst/>
              <a:rect l="l" t="t" r="r" b="b"/>
              <a:pathLst>
                <a:path w="201" h="78" extrusionOk="0">
                  <a:moveTo>
                    <a:pt x="1" y="1"/>
                  </a:moveTo>
                  <a:cubicBezTo>
                    <a:pt x="64" y="32"/>
                    <a:pt x="130" y="60"/>
                    <a:pt x="200" y="78"/>
                  </a:cubicBezTo>
                  <a:cubicBezTo>
                    <a:pt x="130" y="60"/>
                    <a:pt x="64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6" name="Google Shape;7443;p64">
              <a:extLst>
                <a:ext uri="{FF2B5EF4-FFF2-40B4-BE49-F238E27FC236}">
                  <a16:creationId xmlns:a16="http://schemas.microsoft.com/office/drawing/2014/main" id="{15FC5ED8-95E1-3107-7AD0-08A9E7B36FAD}"/>
                </a:ext>
              </a:extLst>
            </p:cNvPr>
            <p:cNvSpPr/>
            <p:nvPr/>
          </p:nvSpPr>
          <p:spPr>
            <a:xfrm>
              <a:off x="2901553" y="163524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7" name="Google Shape;7444;p64">
              <a:extLst>
                <a:ext uri="{FF2B5EF4-FFF2-40B4-BE49-F238E27FC236}">
                  <a16:creationId xmlns:a16="http://schemas.microsoft.com/office/drawing/2014/main" id="{971B56AB-30AB-A40E-8C47-8F5F2FDE14C8}"/>
                </a:ext>
              </a:extLst>
            </p:cNvPr>
            <p:cNvSpPr/>
            <p:nvPr/>
          </p:nvSpPr>
          <p:spPr>
            <a:xfrm>
              <a:off x="2907351" y="1636064"/>
              <a:ext cx="584" cy="299"/>
            </a:xfrm>
            <a:custGeom>
              <a:avLst/>
              <a:gdLst/>
              <a:ahLst/>
              <a:cxnLst/>
              <a:rect l="l" t="t" r="r" b="b"/>
              <a:pathLst>
                <a:path w="43" h="22" extrusionOk="0">
                  <a:moveTo>
                    <a:pt x="1" y="0"/>
                  </a:moveTo>
                  <a:cubicBezTo>
                    <a:pt x="15" y="7"/>
                    <a:pt x="29" y="14"/>
                    <a:pt x="39" y="21"/>
                  </a:cubicBezTo>
                  <a:lnTo>
                    <a:pt x="43" y="18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8" name="Google Shape;7445;p64">
              <a:extLst>
                <a:ext uri="{FF2B5EF4-FFF2-40B4-BE49-F238E27FC236}">
                  <a16:creationId xmlns:a16="http://schemas.microsoft.com/office/drawing/2014/main" id="{19B7A705-048E-DD75-044C-06BEE4805A0E}"/>
                </a:ext>
              </a:extLst>
            </p:cNvPr>
            <p:cNvSpPr/>
            <p:nvPr/>
          </p:nvSpPr>
          <p:spPr>
            <a:xfrm>
              <a:off x="2902355" y="1635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9" name="Google Shape;7446;p64">
              <a:extLst>
                <a:ext uri="{FF2B5EF4-FFF2-40B4-BE49-F238E27FC236}">
                  <a16:creationId xmlns:a16="http://schemas.microsoft.com/office/drawing/2014/main" id="{203BAD79-E07F-0BC5-0137-D50C9729E928}"/>
                </a:ext>
              </a:extLst>
            </p:cNvPr>
            <p:cNvSpPr/>
            <p:nvPr/>
          </p:nvSpPr>
          <p:spPr>
            <a:xfrm>
              <a:off x="2873367" y="1638915"/>
              <a:ext cx="3286" cy="1018"/>
            </a:xfrm>
            <a:custGeom>
              <a:avLst/>
              <a:gdLst/>
              <a:ahLst/>
              <a:cxnLst/>
              <a:rect l="l" t="t" r="r" b="b"/>
              <a:pathLst>
                <a:path w="242" h="75" extrusionOk="0">
                  <a:moveTo>
                    <a:pt x="242" y="1"/>
                  </a:moveTo>
                  <a:lnTo>
                    <a:pt x="242" y="1"/>
                  </a:lnTo>
                  <a:cubicBezTo>
                    <a:pt x="151" y="15"/>
                    <a:pt x="60" y="29"/>
                    <a:pt x="0" y="74"/>
                  </a:cubicBezTo>
                  <a:cubicBezTo>
                    <a:pt x="60" y="29"/>
                    <a:pt x="154" y="15"/>
                    <a:pt x="2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0" name="Google Shape;7447;p64">
              <a:extLst>
                <a:ext uri="{FF2B5EF4-FFF2-40B4-BE49-F238E27FC236}">
                  <a16:creationId xmlns:a16="http://schemas.microsoft.com/office/drawing/2014/main" id="{43D63EC0-DDE8-2D38-1083-35A7AE7C13E0}"/>
                </a:ext>
              </a:extLst>
            </p:cNvPr>
            <p:cNvSpPr/>
            <p:nvPr/>
          </p:nvSpPr>
          <p:spPr>
            <a:xfrm>
              <a:off x="2746879" y="1634258"/>
              <a:ext cx="3299" cy="1494"/>
            </a:xfrm>
            <a:custGeom>
              <a:avLst/>
              <a:gdLst/>
              <a:ahLst/>
              <a:cxnLst/>
              <a:rect l="l" t="t" r="r" b="b"/>
              <a:pathLst>
                <a:path w="243" h="110" extrusionOk="0">
                  <a:moveTo>
                    <a:pt x="1" y="1"/>
                  </a:moveTo>
                  <a:cubicBezTo>
                    <a:pt x="66" y="35"/>
                    <a:pt x="191" y="109"/>
                    <a:pt x="239" y="109"/>
                  </a:cubicBezTo>
                  <a:cubicBezTo>
                    <a:pt x="239" y="109"/>
                    <a:pt x="239" y="109"/>
                    <a:pt x="239" y="109"/>
                  </a:cubicBezTo>
                  <a:lnTo>
                    <a:pt x="239" y="109"/>
                  </a:lnTo>
                  <a:cubicBezTo>
                    <a:pt x="194" y="109"/>
                    <a:pt x="66" y="35"/>
                    <a:pt x="1" y="1"/>
                  </a:cubicBezTo>
                  <a:close/>
                  <a:moveTo>
                    <a:pt x="242" y="109"/>
                  </a:moveTo>
                  <a:cubicBezTo>
                    <a:pt x="241" y="109"/>
                    <a:pt x="240" y="109"/>
                    <a:pt x="239" y="109"/>
                  </a:cubicBezTo>
                  <a:lnTo>
                    <a:pt x="239" y="109"/>
                  </a:lnTo>
                  <a:cubicBezTo>
                    <a:pt x="239" y="109"/>
                    <a:pt x="239" y="109"/>
                    <a:pt x="239" y="109"/>
                  </a:cubicBezTo>
                  <a:cubicBezTo>
                    <a:pt x="240" y="109"/>
                    <a:pt x="241" y="109"/>
                    <a:pt x="242" y="1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1" name="Google Shape;7448;p64">
              <a:extLst>
                <a:ext uri="{FF2B5EF4-FFF2-40B4-BE49-F238E27FC236}">
                  <a16:creationId xmlns:a16="http://schemas.microsoft.com/office/drawing/2014/main" id="{9150AA4C-ECEA-AFCF-907F-728783DE6599}"/>
                </a:ext>
              </a:extLst>
            </p:cNvPr>
            <p:cNvSpPr/>
            <p:nvPr/>
          </p:nvSpPr>
          <p:spPr>
            <a:xfrm>
              <a:off x="2716221" y="1632113"/>
              <a:ext cx="2444" cy="1534"/>
            </a:xfrm>
            <a:custGeom>
              <a:avLst/>
              <a:gdLst/>
              <a:ahLst/>
              <a:cxnLst/>
              <a:rect l="l" t="t" r="r" b="b"/>
              <a:pathLst>
                <a:path w="180" h="113" extrusionOk="0">
                  <a:moveTo>
                    <a:pt x="1" y="113"/>
                  </a:moveTo>
                  <a:cubicBezTo>
                    <a:pt x="57" y="67"/>
                    <a:pt x="116" y="29"/>
                    <a:pt x="179" y="1"/>
                  </a:cubicBezTo>
                  <a:cubicBezTo>
                    <a:pt x="116" y="29"/>
                    <a:pt x="57" y="67"/>
                    <a:pt x="1" y="11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2" name="Google Shape;7449;p64">
              <a:extLst>
                <a:ext uri="{FF2B5EF4-FFF2-40B4-BE49-F238E27FC236}">
                  <a16:creationId xmlns:a16="http://schemas.microsoft.com/office/drawing/2014/main" id="{A130D484-86D0-AC4F-7D4A-5DDEC8DD7E72}"/>
                </a:ext>
              </a:extLst>
            </p:cNvPr>
            <p:cNvSpPr/>
            <p:nvPr/>
          </p:nvSpPr>
          <p:spPr>
            <a:xfrm>
              <a:off x="2699059" y="164144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3" name="Google Shape;7450;p64">
              <a:extLst>
                <a:ext uri="{FF2B5EF4-FFF2-40B4-BE49-F238E27FC236}">
                  <a16:creationId xmlns:a16="http://schemas.microsoft.com/office/drawing/2014/main" id="{AEAC8E6D-928B-117A-E0F5-39558E48F4BE}"/>
                </a:ext>
              </a:extLst>
            </p:cNvPr>
            <p:cNvSpPr/>
            <p:nvPr/>
          </p:nvSpPr>
          <p:spPr>
            <a:xfrm>
              <a:off x="2698869" y="164157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4" name="Google Shape;7451;p64">
              <a:extLst>
                <a:ext uri="{FF2B5EF4-FFF2-40B4-BE49-F238E27FC236}">
                  <a16:creationId xmlns:a16="http://schemas.microsoft.com/office/drawing/2014/main" id="{AAF70DC9-2FAB-94CA-C992-61CDBEEC5E8C}"/>
                </a:ext>
              </a:extLst>
            </p:cNvPr>
            <p:cNvSpPr/>
            <p:nvPr/>
          </p:nvSpPr>
          <p:spPr>
            <a:xfrm>
              <a:off x="2698678" y="1641726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5" name="Google Shape;7452;p64">
              <a:extLst>
                <a:ext uri="{FF2B5EF4-FFF2-40B4-BE49-F238E27FC236}">
                  <a16:creationId xmlns:a16="http://schemas.microsoft.com/office/drawing/2014/main" id="{06BA926F-69BA-6D47-6B5B-C4E0EE32D54D}"/>
                </a:ext>
              </a:extLst>
            </p:cNvPr>
            <p:cNvSpPr/>
            <p:nvPr/>
          </p:nvSpPr>
          <p:spPr>
            <a:xfrm>
              <a:off x="2698543" y="16419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6" name="Google Shape;7453;p64">
              <a:extLst>
                <a:ext uri="{FF2B5EF4-FFF2-40B4-BE49-F238E27FC236}">
                  <a16:creationId xmlns:a16="http://schemas.microsoft.com/office/drawing/2014/main" id="{8DCAA88A-F94B-FC08-2FC0-805BA36FAA02}"/>
                </a:ext>
              </a:extLst>
            </p:cNvPr>
            <p:cNvSpPr/>
            <p:nvPr/>
          </p:nvSpPr>
          <p:spPr>
            <a:xfrm>
              <a:off x="2700348" y="1640870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7" name="Google Shape;7454;p64">
              <a:extLst>
                <a:ext uri="{FF2B5EF4-FFF2-40B4-BE49-F238E27FC236}">
                  <a16:creationId xmlns:a16="http://schemas.microsoft.com/office/drawing/2014/main" id="{D78B122B-E7A0-CBBC-04DF-55DEBA0BC198}"/>
                </a:ext>
              </a:extLst>
            </p:cNvPr>
            <p:cNvSpPr/>
            <p:nvPr/>
          </p:nvSpPr>
          <p:spPr>
            <a:xfrm>
              <a:off x="2699629" y="164115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8" name="Google Shape;7455;p64">
              <a:extLst>
                <a:ext uri="{FF2B5EF4-FFF2-40B4-BE49-F238E27FC236}">
                  <a16:creationId xmlns:a16="http://schemas.microsoft.com/office/drawing/2014/main" id="{790035E9-FC04-4523-3972-735FEBEF0798}"/>
                </a:ext>
              </a:extLst>
            </p:cNvPr>
            <p:cNvSpPr/>
            <p:nvPr/>
          </p:nvSpPr>
          <p:spPr>
            <a:xfrm>
              <a:off x="2698448" y="1642051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9" name="Google Shape;7456;p64">
              <a:extLst>
                <a:ext uri="{FF2B5EF4-FFF2-40B4-BE49-F238E27FC236}">
                  <a16:creationId xmlns:a16="http://schemas.microsoft.com/office/drawing/2014/main" id="{CC041722-FA67-E330-8507-194547B04EE5}"/>
                </a:ext>
              </a:extLst>
            </p:cNvPr>
            <p:cNvSpPr/>
            <p:nvPr/>
          </p:nvSpPr>
          <p:spPr>
            <a:xfrm>
              <a:off x="2699968" y="1641006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0" name="Google Shape;7457;p64">
              <a:extLst>
                <a:ext uri="{FF2B5EF4-FFF2-40B4-BE49-F238E27FC236}">
                  <a16:creationId xmlns:a16="http://schemas.microsoft.com/office/drawing/2014/main" id="{2E6C680E-E6DF-3DF7-2A2B-01FBF0A4B393}"/>
                </a:ext>
              </a:extLst>
            </p:cNvPr>
            <p:cNvSpPr/>
            <p:nvPr/>
          </p:nvSpPr>
          <p:spPr>
            <a:xfrm>
              <a:off x="2699303" y="1641291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1" name="Google Shape;7458;p64">
              <a:extLst>
                <a:ext uri="{FF2B5EF4-FFF2-40B4-BE49-F238E27FC236}">
                  <a16:creationId xmlns:a16="http://schemas.microsoft.com/office/drawing/2014/main" id="{BF3F30A0-1AE6-FD7A-F000-F311B6257F34}"/>
                </a:ext>
              </a:extLst>
            </p:cNvPr>
            <p:cNvSpPr/>
            <p:nvPr/>
          </p:nvSpPr>
          <p:spPr>
            <a:xfrm>
              <a:off x="2750164" y="1633688"/>
              <a:ext cx="6952" cy="2050"/>
            </a:xfrm>
            <a:custGeom>
              <a:avLst/>
              <a:gdLst/>
              <a:ahLst/>
              <a:cxnLst/>
              <a:rect l="l" t="t" r="r" b="b"/>
              <a:pathLst>
                <a:path w="512" h="151" extrusionOk="0">
                  <a:moveTo>
                    <a:pt x="511" y="116"/>
                  </a:moveTo>
                  <a:cubicBezTo>
                    <a:pt x="319" y="0"/>
                    <a:pt x="98" y="74"/>
                    <a:pt x="0" y="151"/>
                  </a:cubicBezTo>
                  <a:lnTo>
                    <a:pt x="0" y="151"/>
                  </a:lnTo>
                  <a:cubicBezTo>
                    <a:pt x="98" y="74"/>
                    <a:pt x="319" y="0"/>
                    <a:pt x="511" y="11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2" name="Google Shape;7459;p64">
              <a:extLst>
                <a:ext uri="{FF2B5EF4-FFF2-40B4-BE49-F238E27FC236}">
                  <a16:creationId xmlns:a16="http://schemas.microsoft.com/office/drawing/2014/main" id="{E4458044-AA62-8CB2-92D4-062BCCA153FD}"/>
                </a:ext>
              </a:extLst>
            </p:cNvPr>
            <p:cNvSpPr/>
            <p:nvPr/>
          </p:nvSpPr>
          <p:spPr>
            <a:xfrm>
              <a:off x="2757102" y="1635249"/>
              <a:ext cx="3666" cy="2009"/>
            </a:xfrm>
            <a:custGeom>
              <a:avLst/>
              <a:gdLst/>
              <a:ahLst/>
              <a:cxnLst/>
              <a:rect l="l" t="t" r="r" b="b"/>
              <a:pathLst>
                <a:path w="270" h="148" extrusionOk="0">
                  <a:moveTo>
                    <a:pt x="270" y="148"/>
                  </a:moveTo>
                  <a:cubicBezTo>
                    <a:pt x="224" y="141"/>
                    <a:pt x="137" y="88"/>
                    <a:pt x="74" y="46"/>
                  </a:cubicBezTo>
                  <a:cubicBezTo>
                    <a:pt x="49" y="32"/>
                    <a:pt x="25" y="15"/>
                    <a:pt x="0" y="1"/>
                  </a:cubicBezTo>
                  <a:cubicBezTo>
                    <a:pt x="25" y="15"/>
                    <a:pt x="49" y="32"/>
                    <a:pt x="74" y="46"/>
                  </a:cubicBezTo>
                  <a:cubicBezTo>
                    <a:pt x="137" y="88"/>
                    <a:pt x="224" y="141"/>
                    <a:pt x="270" y="1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3" name="Google Shape;7460;p64">
              <a:extLst>
                <a:ext uri="{FF2B5EF4-FFF2-40B4-BE49-F238E27FC236}">
                  <a16:creationId xmlns:a16="http://schemas.microsoft.com/office/drawing/2014/main" id="{3295231D-3B69-82FC-518B-4CAA78753ADA}"/>
                </a:ext>
              </a:extLst>
            </p:cNvPr>
            <p:cNvSpPr/>
            <p:nvPr/>
          </p:nvSpPr>
          <p:spPr>
            <a:xfrm>
              <a:off x="2728291" y="1626980"/>
              <a:ext cx="3489" cy="204"/>
            </a:xfrm>
            <a:custGeom>
              <a:avLst/>
              <a:gdLst/>
              <a:ahLst/>
              <a:cxnLst/>
              <a:rect l="l" t="t" r="r" b="b"/>
              <a:pathLst>
                <a:path w="257" h="15" extrusionOk="0">
                  <a:moveTo>
                    <a:pt x="256" y="15"/>
                  </a:moveTo>
                  <a:cubicBezTo>
                    <a:pt x="172" y="1"/>
                    <a:pt x="85" y="1"/>
                    <a:pt x="1" y="11"/>
                  </a:cubicBezTo>
                  <a:cubicBezTo>
                    <a:pt x="85" y="1"/>
                    <a:pt x="172" y="1"/>
                    <a:pt x="256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4" name="Google Shape;7461;p64">
              <a:extLst>
                <a:ext uri="{FF2B5EF4-FFF2-40B4-BE49-F238E27FC236}">
                  <a16:creationId xmlns:a16="http://schemas.microsoft.com/office/drawing/2014/main" id="{4B578FB2-3B1E-EED3-D85D-E11F8D9AF690}"/>
                </a:ext>
              </a:extLst>
            </p:cNvPr>
            <p:cNvSpPr/>
            <p:nvPr/>
          </p:nvSpPr>
          <p:spPr>
            <a:xfrm>
              <a:off x="2720688" y="1629126"/>
              <a:ext cx="3340" cy="1670"/>
            </a:xfrm>
            <a:custGeom>
              <a:avLst/>
              <a:gdLst/>
              <a:ahLst/>
              <a:cxnLst/>
              <a:rect l="l" t="t" r="r" b="b"/>
              <a:pathLst>
                <a:path w="246" h="123" extrusionOk="0">
                  <a:moveTo>
                    <a:pt x="246" y="0"/>
                  </a:moveTo>
                  <a:cubicBezTo>
                    <a:pt x="144" y="21"/>
                    <a:pt x="39" y="42"/>
                    <a:pt x="1" y="123"/>
                  </a:cubicBezTo>
                  <a:cubicBezTo>
                    <a:pt x="39" y="46"/>
                    <a:pt x="144" y="21"/>
                    <a:pt x="2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5" name="Google Shape;7462;p64">
              <a:extLst>
                <a:ext uri="{FF2B5EF4-FFF2-40B4-BE49-F238E27FC236}">
                  <a16:creationId xmlns:a16="http://schemas.microsoft.com/office/drawing/2014/main" id="{11453BAC-8CEB-C2AC-2071-EDEE9E179530}"/>
                </a:ext>
              </a:extLst>
            </p:cNvPr>
            <p:cNvSpPr/>
            <p:nvPr/>
          </p:nvSpPr>
          <p:spPr>
            <a:xfrm>
              <a:off x="2697877" y="1642337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25" y="8"/>
                  </a:moveTo>
                  <a:lnTo>
                    <a:pt x="32" y="8"/>
                  </a:lnTo>
                  <a:lnTo>
                    <a:pt x="32" y="1"/>
                  </a:lnTo>
                  <a:lnTo>
                    <a:pt x="32" y="8"/>
                  </a:lnTo>
                  <a:cubicBezTo>
                    <a:pt x="21" y="8"/>
                    <a:pt x="11" y="8"/>
                    <a:pt x="0" y="8"/>
                  </a:cubicBez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6" name="Google Shape;7463;p64">
              <a:extLst>
                <a:ext uri="{FF2B5EF4-FFF2-40B4-BE49-F238E27FC236}">
                  <a16:creationId xmlns:a16="http://schemas.microsoft.com/office/drawing/2014/main" id="{C0BD41A6-209C-F006-4D2C-FBE94205DE68}"/>
                </a:ext>
              </a:extLst>
            </p:cNvPr>
            <p:cNvSpPr/>
            <p:nvPr/>
          </p:nvSpPr>
          <p:spPr>
            <a:xfrm>
              <a:off x="2761094" y="1634923"/>
              <a:ext cx="3666" cy="2200"/>
            </a:xfrm>
            <a:custGeom>
              <a:avLst/>
              <a:gdLst/>
              <a:ahLst/>
              <a:cxnLst/>
              <a:rect l="l" t="t" r="r" b="b"/>
              <a:pathLst>
                <a:path w="270" h="162" extrusionOk="0">
                  <a:moveTo>
                    <a:pt x="270" y="0"/>
                  </a:moveTo>
                  <a:cubicBezTo>
                    <a:pt x="154" y="42"/>
                    <a:pt x="46" y="84"/>
                    <a:pt x="0" y="161"/>
                  </a:cubicBezTo>
                  <a:cubicBezTo>
                    <a:pt x="46" y="84"/>
                    <a:pt x="154" y="42"/>
                    <a:pt x="27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7" name="Google Shape;7464;p64">
              <a:extLst>
                <a:ext uri="{FF2B5EF4-FFF2-40B4-BE49-F238E27FC236}">
                  <a16:creationId xmlns:a16="http://schemas.microsoft.com/office/drawing/2014/main" id="{2DAF149F-76EA-9D37-317B-635B08083F23}"/>
                </a:ext>
              </a:extLst>
            </p:cNvPr>
            <p:cNvSpPr/>
            <p:nvPr/>
          </p:nvSpPr>
          <p:spPr>
            <a:xfrm>
              <a:off x="2741991" y="1628963"/>
              <a:ext cx="2240" cy="2688"/>
            </a:xfrm>
            <a:custGeom>
              <a:avLst/>
              <a:gdLst/>
              <a:ahLst/>
              <a:cxnLst/>
              <a:rect l="l" t="t" r="r" b="b"/>
              <a:pathLst>
                <a:path w="165" h="198" extrusionOk="0">
                  <a:moveTo>
                    <a:pt x="20" y="0"/>
                  </a:moveTo>
                  <a:cubicBezTo>
                    <a:pt x="14" y="0"/>
                    <a:pt x="7" y="1"/>
                    <a:pt x="0" y="2"/>
                  </a:cubicBezTo>
                  <a:lnTo>
                    <a:pt x="0" y="2"/>
                  </a:lnTo>
                  <a:cubicBezTo>
                    <a:pt x="7" y="1"/>
                    <a:pt x="13" y="0"/>
                    <a:pt x="19" y="0"/>
                  </a:cubicBezTo>
                  <a:cubicBezTo>
                    <a:pt x="67" y="0"/>
                    <a:pt x="99" y="35"/>
                    <a:pt x="122" y="82"/>
                  </a:cubicBezTo>
                  <a:lnTo>
                    <a:pt x="122" y="82"/>
                  </a:lnTo>
                  <a:cubicBezTo>
                    <a:pt x="99" y="34"/>
                    <a:pt x="68" y="0"/>
                    <a:pt x="20" y="0"/>
                  </a:cubicBezTo>
                  <a:close/>
                  <a:moveTo>
                    <a:pt x="122" y="82"/>
                  </a:moveTo>
                  <a:cubicBezTo>
                    <a:pt x="139" y="116"/>
                    <a:pt x="152" y="158"/>
                    <a:pt x="165" y="198"/>
                  </a:cubicBezTo>
                  <a:cubicBezTo>
                    <a:pt x="153" y="160"/>
                    <a:pt x="140" y="117"/>
                    <a:pt x="122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8" name="Google Shape;7465;p64">
              <a:extLst>
                <a:ext uri="{FF2B5EF4-FFF2-40B4-BE49-F238E27FC236}">
                  <a16:creationId xmlns:a16="http://schemas.microsoft.com/office/drawing/2014/main" id="{5132C359-3AC8-681E-2FA5-BDE6529302D3}"/>
                </a:ext>
              </a:extLst>
            </p:cNvPr>
            <p:cNvSpPr/>
            <p:nvPr/>
          </p:nvSpPr>
          <p:spPr>
            <a:xfrm>
              <a:off x="2895851" y="1634774"/>
              <a:ext cx="3571" cy="964"/>
            </a:xfrm>
            <a:custGeom>
              <a:avLst/>
              <a:gdLst/>
              <a:ahLst/>
              <a:cxnLst/>
              <a:rect l="l" t="t" r="r" b="b"/>
              <a:pathLst>
                <a:path w="263" h="71" extrusionOk="0">
                  <a:moveTo>
                    <a:pt x="35" y="25"/>
                  </a:moveTo>
                  <a:cubicBezTo>
                    <a:pt x="105" y="57"/>
                    <a:pt x="182" y="71"/>
                    <a:pt x="263" y="67"/>
                  </a:cubicBezTo>
                  <a:cubicBezTo>
                    <a:pt x="182" y="71"/>
                    <a:pt x="105" y="57"/>
                    <a:pt x="35" y="25"/>
                  </a:cubicBezTo>
                  <a:cubicBezTo>
                    <a:pt x="21" y="18"/>
                    <a:pt x="7" y="11"/>
                    <a:pt x="0" y="1"/>
                  </a:cubicBezTo>
                  <a:cubicBezTo>
                    <a:pt x="7" y="11"/>
                    <a:pt x="21" y="18"/>
                    <a:pt x="35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9" name="Google Shape;7466;p64">
              <a:extLst>
                <a:ext uri="{FF2B5EF4-FFF2-40B4-BE49-F238E27FC236}">
                  <a16:creationId xmlns:a16="http://schemas.microsoft.com/office/drawing/2014/main" id="{DFCC9FB1-53ED-FF52-1CAD-6AB819834762}"/>
                </a:ext>
              </a:extLst>
            </p:cNvPr>
            <p:cNvSpPr/>
            <p:nvPr/>
          </p:nvSpPr>
          <p:spPr>
            <a:xfrm>
              <a:off x="2850271" y="1641576"/>
              <a:ext cx="6191" cy="1208"/>
            </a:xfrm>
            <a:custGeom>
              <a:avLst/>
              <a:gdLst/>
              <a:ahLst/>
              <a:cxnLst/>
              <a:rect l="l" t="t" r="r" b="b"/>
              <a:pathLst>
                <a:path w="456" h="89" extrusionOk="0">
                  <a:moveTo>
                    <a:pt x="455" y="88"/>
                  </a:moveTo>
                  <a:cubicBezTo>
                    <a:pt x="417" y="85"/>
                    <a:pt x="378" y="78"/>
                    <a:pt x="343" y="60"/>
                  </a:cubicBezTo>
                  <a:cubicBezTo>
                    <a:pt x="284" y="11"/>
                    <a:pt x="175" y="4"/>
                    <a:pt x="0" y="1"/>
                  </a:cubicBezTo>
                  <a:cubicBezTo>
                    <a:pt x="175" y="4"/>
                    <a:pt x="284" y="11"/>
                    <a:pt x="343" y="60"/>
                  </a:cubicBezTo>
                  <a:cubicBezTo>
                    <a:pt x="378" y="78"/>
                    <a:pt x="417" y="85"/>
                    <a:pt x="455" y="8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0" name="Google Shape;7467;p64">
              <a:extLst>
                <a:ext uri="{FF2B5EF4-FFF2-40B4-BE49-F238E27FC236}">
                  <a16:creationId xmlns:a16="http://schemas.microsoft.com/office/drawing/2014/main" id="{AB16F146-A60B-1A87-5BBC-98894455B874}"/>
                </a:ext>
              </a:extLst>
            </p:cNvPr>
            <p:cNvSpPr/>
            <p:nvPr/>
          </p:nvSpPr>
          <p:spPr>
            <a:xfrm>
              <a:off x="2868370" y="1640300"/>
              <a:ext cx="3965" cy="774"/>
            </a:xfrm>
            <a:custGeom>
              <a:avLst/>
              <a:gdLst/>
              <a:ahLst/>
              <a:cxnLst/>
              <a:rect l="l" t="t" r="r" b="b"/>
              <a:pathLst>
                <a:path w="292" h="57" extrusionOk="0">
                  <a:moveTo>
                    <a:pt x="291" y="0"/>
                  </a:moveTo>
                  <a:cubicBezTo>
                    <a:pt x="211" y="21"/>
                    <a:pt x="95" y="39"/>
                    <a:pt x="1" y="56"/>
                  </a:cubicBezTo>
                  <a:cubicBezTo>
                    <a:pt x="95" y="42"/>
                    <a:pt x="211" y="21"/>
                    <a:pt x="29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1" name="Google Shape;7468;p64">
              <a:extLst>
                <a:ext uri="{FF2B5EF4-FFF2-40B4-BE49-F238E27FC236}">
                  <a16:creationId xmlns:a16="http://schemas.microsoft.com/office/drawing/2014/main" id="{6067A2BB-4835-6E29-275B-D0DFB906F6EC}"/>
                </a:ext>
              </a:extLst>
            </p:cNvPr>
            <p:cNvSpPr/>
            <p:nvPr/>
          </p:nvSpPr>
          <p:spPr>
            <a:xfrm>
              <a:off x="2799315" y="1625840"/>
              <a:ext cx="394" cy="2824"/>
            </a:xfrm>
            <a:custGeom>
              <a:avLst/>
              <a:gdLst/>
              <a:ahLst/>
              <a:cxnLst/>
              <a:rect l="l" t="t" r="r" b="b"/>
              <a:pathLst>
                <a:path w="29" h="208" extrusionOk="0">
                  <a:moveTo>
                    <a:pt x="28" y="207"/>
                  </a:moveTo>
                  <a:cubicBezTo>
                    <a:pt x="0" y="176"/>
                    <a:pt x="4" y="78"/>
                    <a:pt x="4" y="1"/>
                  </a:cubicBezTo>
                  <a:cubicBezTo>
                    <a:pt x="4" y="78"/>
                    <a:pt x="0" y="176"/>
                    <a:pt x="28" y="20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2" name="Google Shape;7469;p64">
              <a:extLst>
                <a:ext uri="{FF2B5EF4-FFF2-40B4-BE49-F238E27FC236}">
                  <a16:creationId xmlns:a16="http://schemas.microsoft.com/office/drawing/2014/main" id="{26CCA030-3DC3-7BFD-D485-463C689F598C}"/>
                </a:ext>
              </a:extLst>
            </p:cNvPr>
            <p:cNvSpPr/>
            <p:nvPr/>
          </p:nvSpPr>
          <p:spPr>
            <a:xfrm>
              <a:off x="2845696" y="1640911"/>
              <a:ext cx="4290" cy="638"/>
            </a:xfrm>
            <a:custGeom>
              <a:avLst/>
              <a:gdLst/>
              <a:ahLst/>
              <a:cxnLst/>
              <a:rect l="l" t="t" r="r" b="b"/>
              <a:pathLst>
                <a:path w="316" h="47" extrusionOk="0">
                  <a:moveTo>
                    <a:pt x="316" y="46"/>
                  </a:moveTo>
                  <a:cubicBezTo>
                    <a:pt x="211" y="43"/>
                    <a:pt x="22" y="36"/>
                    <a:pt x="1" y="1"/>
                  </a:cubicBezTo>
                  <a:cubicBezTo>
                    <a:pt x="22" y="36"/>
                    <a:pt x="211" y="43"/>
                    <a:pt x="316" y="4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3" name="Google Shape;7470;p64">
              <a:extLst>
                <a:ext uri="{FF2B5EF4-FFF2-40B4-BE49-F238E27FC236}">
                  <a16:creationId xmlns:a16="http://schemas.microsoft.com/office/drawing/2014/main" id="{7B1948CE-9D49-6A44-97D2-AE3EABB905E7}"/>
                </a:ext>
              </a:extLst>
            </p:cNvPr>
            <p:cNvSpPr/>
            <p:nvPr/>
          </p:nvSpPr>
          <p:spPr>
            <a:xfrm>
              <a:off x="2342147" y="1694393"/>
              <a:ext cx="190" cy="54"/>
            </a:xfrm>
            <a:custGeom>
              <a:avLst/>
              <a:gdLst/>
              <a:ahLst/>
              <a:cxnLst/>
              <a:rect l="l" t="t" r="r" b="b"/>
              <a:pathLst>
                <a:path w="14" h="4" extrusionOk="0">
                  <a:moveTo>
                    <a:pt x="0" y="4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4" name="Google Shape;7471;p64">
              <a:extLst>
                <a:ext uri="{FF2B5EF4-FFF2-40B4-BE49-F238E27FC236}">
                  <a16:creationId xmlns:a16="http://schemas.microsoft.com/office/drawing/2014/main" id="{156C67FC-D75B-58D7-75AF-A13FD0C1B5DA}"/>
                </a:ext>
              </a:extLst>
            </p:cNvPr>
            <p:cNvSpPr/>
            <p:nvPr/>
          </p:nvSpPr>
          <p:spPr>
            <a:xfrm>
              <a:off x="2342527" y="1694243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5" name="Google Shape;7472;p64">
              <a:extLst>
                <a:ext uri="{FF2B5EF4-FFF2-40B4-BE49-F238E27FC236}">
                  <a16:creationId xmlns:a16="http://schemas.microsoft.com/office/drawing/2014/main" id="{330710A6-87D5-137A-A7FA-B4D582EECB85}"/>
                </a:ext>
              </a:extLst>
            </p:cNvPr>
            <p:cNvSpPr/>
            <p:nvPr/>
          </p:nvSpPr>
          <p:spPr>
            <a:xfrm>
              <a:off x="2342812" y="169414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6" name="Google Shape;7473;p64">
              <a:extLst>
                <a:ext uri="{FF2B5EF4-FFF2-40B4-BE49-F238E27FC236}">
                  <a16:creationId xmlns:a16="http://schemas.microsoft.com/office/drawing/2014/main" id="{EB97F31F-CDD2-CE8D-3E4C-B4BA98D91BC9}"/>
                </a:ext>
              </a:extLst>
            </p:cNvPr>
            <p:cNvSpPr/>
            <p:nvPr/>
          </p:nvSpPr>
          <p:spPr>
            <a:xfrm>
              <a:off x="2341767" y="1694529"/>
              <a:ext cx="190" cy="109"/>
            </a:xfrm>
            <a:custGeom>
              <a:avLst/>
              <a:gdLst/>
              <a:ahLst/>
              <a:cxnLst/>
              <a:rect l="l" t="t" r="r" b="b"/>
              <a:pathLst>
                <a:path w="14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7" name="Google Shape;7474;p64">
              <a:extLst>
                <a:ext uri="{FF2B5EF4-FFF2-40B4-BE49-F238E27FC236}">
                  <a16:creationId xmlns:a16="http://schemas.microsoft.com/office/drawing/2014/main" id="{EA1699F3-756B-02C0-4972-80AA521AC79F}"/>
                </a:ext>
              </a:extLst>
            </p:cNvPr>
            <p:cNvSpPr/>
            <p:nvPr/>
          </p:nvSpPr>
          <p:spPr>
            <a:xfrm>
              <a:off x="2341278" y="1694773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7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8" name="Google Shape;7475;p64">
              <a:extLst>
                <a:ext uri="{FF2B5EF4-FFF2-40B4-BE49-F238E27FC236}">
                  <a16:creationId xmlns:a16="http://schemas.microsoft.com/office/drawing/2014/main" id="{D040ED5A-E24C-272C-7FEC-44A2E9732094}"/>
                </a:ext>
              </a:extLst>
            </p:cNvPr>
            <p:cNvSpPr/>
            <p:nvPr/>
          </p:nvSpPr>
          <p:spPr>
            <a:xfrm>
              <a:off x="2371230" y="1702227"/>
              <a:ext cx="1208" cy="923"/>
            </a:xfrm>
            <a:custGeom>
              <a:avLst/>
              <a:gdLst/>
              <a:ahLst/>
              <a:cxnLst/>
              <a:rect l="l" t="t" r="r" b="b"/>
              <a:pathLst>
                <a:path w="89" h="68" extrusionOk="0">
                  <a:moveTo>
                    <a:pt x="1" y="1"/>
                  </a:moveTo>
                  <a:cubicBezTo>
                    <a:pt x="29" y="25"/>
                    <a:pt x="57" y="50"/>
                    <a:pt x="88" y="67"/>
                  </a:cubicBezTo>
                  <a:cubicBezTo>
                    <a:pt x="57" y="50"/>
                    <a:pt x="29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9" name="Google Shape;7476;p64">
              <a:extLst>
                <a:ext uri="{FF2B5EF4-FFF2-40B4-BE49-F238E27FC236}">
                  <a16:creationId xmlns:a16="http://schemas.microsoft.com/office/drawing/2014/main" id="{D587FB9F-B633-C325-C883-7944B5C88619}"/>
                </a:ext>
              </a:extLst>
            </p:cNvPr>
            <p:cNvSpPr/>
            <p:nvPr/>
          </p:nvSpPr>
          <p:spPr>
            <a:xfrm>
              <a:off x="2343043" y="169414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0" name="Google Shape;7477;p64">
              <a:extLst>
                <a:ext uri="{FF2B5EF4-FFF2-40B4-BE49-F238E27FC236}">
                  <a16:creationId xmlns:a16="http://schemas.microsoft.com/office/drawing/2014/main" id="{EE9F1FBD-B736-B1D8-58D2-FA93FCE91997}"/>
                </a:ext>
              </a:extLst>
            </p:cNvPr>
            <p:cNvSpPr/>
            <p:nvPr/>
          </p:nvSpPr>
          <p:spPr>
            <a:xfrm>
              <a:off x="2385676" y="170722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1" name="Google Shape;7478;p64">
              <a:extLst>
                <a:ext uri="{FF2B5EF4-FFF2-40B4-BE49-F238E27FC236}">
                  <a16:creationId xmlns:a16="http://schemas.microsoft.com/office/drawing/2014/main" id="{89D3DBD3-5D8F-666A-C8B2-655621C8F428}"/>
                </a:ext>
              </a:extLst>
            </p:cNvPr>
            <p:cNvSpPr/>
            <p:nvPr/>
          </p:nvSpPr>
          <p:spPr>
            <a:xfrm>
              <a:off x="2340708" y="1695058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1" y="11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2" name="Google Shape;7479;p64">
              <a:extLst>
                <a:ext uri="{FF2B5EF4-FFF2-40B4-BE49-F238E27FC236}">
                  <a16:creationId xmlns:a16="http://schemas.microsoft.com/office/drawing/2014/main" id="{469A59AD-CF87-447A-3C27-EF34464B0F22}"/>
                </a:ext>
              </a:extLst>
            </p:cNvPr>
            <p:cNvSpPr/>
            <p:nvPr/>
          </p:nvSpPr>
          <p:spPr>
            <a:xfrm>
              <a:off x="2372520" y="1702892"/>
              <a:ext cx="489" cy="299"/>
            </a:xfrm>
            <a:custGeom>
              <a:avLst/>
              <a:gdLst/>
              <a:ahLst/>
              <a:cxnLst/>
              <a:rect l="l" t="t" r="r" b="b"/>
              <a:pathLst>
                <a:path w="36" h="22" extrusionOk="0">
                  <a:moveTo>
                    <a:pt x="0" y="22"/>
                  </a:moveTo>
                  <a:cubicBezTo>
                    <a:pt x="11" y="11"/>
                    <a:pt x="21" y="4"/>
                    <a:pt x="35" y="1"/>
                  </a:cubicBezTo>
                  <a:cubicBezTo>
                    <a:pt x="21" y="4"/>
                    <a:pt x="11" y="11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3" name="Google Shape;7480;p64">
              <a:extLst>
                <a:ext uri="{FF2B5EF4-FFF2-40B4-BE49-F238E27FC236}">
                  <a16:creationId xmlns:a16="http://schemas.microsoft.com/office/drawing/2014/main" id="{B5F011BF-31D8-D392-9B19-684283491B9F}"/>
                </a:ext>
              </a:extLst>
            </p:cNvPr>
            <p:cNvSpPr/>
            <p:nvPr/>
          </p:nvSpPr>
          <p:spPr>
            <a:xfrm>
              <a:off x="2372995" y="1701942"/>
              <a:ext cx="7617" cy="923"/>
            </a:xfrm>
            <a:custGeom>
              <a:avLst/>
              <a:gdLst/>
              <a:ahLst/>
              <a:cxnLst/>
              <a:rect l="l" t="t" r="r" b="b"/>
              <a:pathLst>
                <a:path w="561" h="68" extrusionOk="0">
                  <a:moveTo>
                    <a:pt x="560" y="1"/>
                  </a:moveTo>
                  <a:cubicBezTo>
                    <a:pt x="273" y="1"/>
                    <a:pt x="91" y="25"/>
                    <a:pt x="0" y="67"/>
                  </a:cubicBezTo>
                  <a:cubicBezTo>
                    <a:pt x="91" y="25"/>
                    <a:pt x="273" y="4"/>
                    <a:pt x="56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4" name="Google Shape;7481;p64">
              <a:extLst>
                <a:ext uri="{FF2B5EF4-FFF2-40B4-BE49-F238E27FC236}">
                  <a16:creationId xmlns:a16="http://schemas.microsoft.com/office/drawing/2014/main" id="{08B10AAC-975E-564A-D1B1-0CF3E8BA76A5}"/>
                </a:ext>
              </a:extLst>
            </p:cNvPr>
            <p:cNvSpPr/>
            <p:nvPr/>
          </p:nvSpPr>
          <p:spPr>
            <a:xfrm>
              <a:off x="2343287" y="1694040"/>
              <a:ext cx="9518" cy="2878"/>
            </a:xfrm>
            <a:custGeom>
              <a:avLst/>
              <a:gdLst/>
              <a:ahLst/>
              <a:cxnLst/>
              <a:rect l="l" t="t" r="r" b="b"/>
              <a:pathLst>
                <a:path w="701" h="212" extrusionOk="0">
                  <a:moveTo>
                    <a:pt x="69" y="0"/>
                  </a:moveTo>
                  <a:cubicBezTo>
                    <a:pt x="44" y="0"/>
                    <a:pt x="21" y="2"/>
                    <a:pt x="0" y="5"/>
                  </a:cubicBezTo>
                  <a:cubicBezTo>
                    <a:pt x="19" y="2"/>
                    <a:pt x="41" y="1"/>
                    <a:pt x="63" y="1"/>
                  </a:cubicBezTo>
                  <a:cubicBezTo>
                    <a:pt x="251" y="1"/>
                    <a:pt x="531" y="90"/>
                    <a:pt x="700" y="212"/>
                  </a:cubicBezTo>
                  <a:cubicBezTo>
                    <a:pt x="533" y="91"/>
                    <a:pt x="256" y="0"/>
                    <a:pt x="6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5" name="Google Shape;7482;p64">
              <a:extLst>
                <a:ext uri="{FF2B5EF4-FFF2-40B4-BE49-F238E27FC236}">
                  <a16:creationId xmlns:a16="http://schemas.microsoft.com/office/drawing/2014/main" id="{491C2232-180F-DAF3-A825-0F09E5EB8154}"/>
                </a:ext>
              </a:extLst>
            </p:cNvPr>
            <p:cNvSpPr/>
            <p:nvPr/>
          </p:nvSpPr>
          <p:spPr>
            <a:xfrm>
              <a:off x="2385771" y="1707509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6" name="Google Shape;7483;p64">
              <a:extLst>
                <a:ext uri="{FF2B5EF4-FFF2-40B4-BE49-F238E27FC236}">
                  <a16:creationId xmlns:a16="http://schemas.microsoft.com/office/drawing/2014/main" id="{F889D015-E4BA-ECDB-877B-F0E8B5723597}"/>
                </a:ext>
              </a:extLst>
            </p:cNvPr>
            <p:cNvSpPr/>
            <p:nvPr/>
          </p:nvSpPr>
          <p:spPr>
            <a:xfrm>
              <a:off x="2386667" y="1707807"/>
              <a:ext cx="3870" cy="2227"/>
            </a:xfrm>
            <a:custGeom>
              <a:avLst/>
              <a:gdLst/>
              <a:ahLst/>
              <a:cxnLst/>
              <a:rect l="l" t="t" r="r" b="b"/>
              <a:pathLst>
                <a:path w="285" h="164" extrusionOk="0">
                  <a:moveTo>
                    <a:pt x="1" y="1"/>
                  </a:moveTo>
                  <a:lnTo>
                    <a:pt x="1" y="1"/>
                  </a:lnTo>
                  <a:cubicBezTo>
                    <a:pt x="56" y="25"/>
                    <a:pt x="111" y="56"/>
                    <a:pt x="159" y="90"/>
                  </a:cubicBezTo>
                  <a:cubicBezTo>
                    <a:pt x="187" y="108"/>
                    <a:pt x="215" y="125"/>
                    <a:pt x="243" y="143"/>
                  </a:cubicBezTo>
                  <a:lnTo>
                    <a:pt x="285" y="164"/>
                  </a:lnTo>
                  <a:cubicBezTo>
                    <a:pt x="243" y="143"/>
                    <a:pt x="204" y="115"/>
                    <a:pt x="162" y="90"/>
                  </a:cubicBezTo>
                  <a:cubicBezTo>
                    <a:pt x="111" y="56"/>
                    <a:pt x="56" y="2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7" name="Google Shape;7484;p64">
              <a:extLst>
                <a:ext uri="{FF2B5EF4-FFF2-40B4-BE49-F238E27FC236}">
                  <a16:creationId xmlns:a16="http://schemas.microsoft.com/office/drawing/2014/main" id="{6E30280F-D1D8-C00B-B225-398E3CE67A19}"/>
                </a:ext>
              </a:extLst>
            </p:cNvPr>
            <p:cNvSpPr/>
            <p:nvPr/>
          </p:nvSpPr>
          <p:spPr>
            <a:xfrm>
              <a:off x="2210472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8" name="Google Shape;7485;p64">
              <a:extLst>
                <a:ext uri="{FF2B5EF4-FFF2-40B4-BE49-F238E27FC236}">
                  <a16:creationId xmlns:a16="http://schemas.microsoft.com/office/drawing/2014/main" id="{BBF75D88-C42A-C87F-0AE9-C29F8A20A619}"/>
                </a:ext>
              </a:extLst>
            </p:cNvPr>
            <p:cNvSpPr/>
            <p:nvPr/>
          </p:nvSpPr>
          <p:spPr>
            <a:xfrm>
              <a:off x="2211138" y="158934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9" name="Google Shape;7486;p64">
              <a:extLst>
                <a:ext uri="{FF2B5EF4-FFF2-40B4-BE49-F238E27FC236}">
                  <a16:creationId xmlns:a16="http://schemas.microsoft.com/office/drawing/2014/main" id="{A97C8724-F6A2-BF12-66BA-13255818BF2E}"/>
                </a:ext>
              </a:extLst>
            </p:cNvPr>
            <p:cNvSpPr/>
            <p:nvPr/>
          </p:nvSpPr>
          <p:spPr>
            <a:xfrm>
              <a:off x="2198728" y="1588678"/>
              <a:ext cx="353" cy="54"/>
            </a:xfrm>
            <a:custGeom>
              <a:avLst/>
              <a:gdLst/>
              <a:ahLst/>
              <a:cxnLst/>
              <a:rect l="l" t="t" r="r" b="b"/>
              <a:pathLst>
                <a:path w="26" h="4" extrusionOk="0">
                  <a:moveTo>
                    <a:pt x="2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0" name="Google Shape;7487;p64">
              <a:extLst>
                <a:ext uri="{FF2B5EF4-FFF2-40B4-BE49-F238E27FC236}">
                  <a16:creationId xmlns:a16="http://schemas.microsoft.com/office/drawing/2014/main" id="{67995344-ACCE-3D6D-0003-32DEEF9C6D0C}"/>
                </a:ext>
              </a:extLst>
            </p:cNvPr>
            <p:cNvSpPr/>
            <p:nvPr/>
          </p:nvSpPr>
          <p:spPr>
            <a:xfrm>
              <a:off x="2198253" y="1588678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1" name="Google Shape;7488;p64">
              <a:extLst>
                <a:ext uri="{FF2B5EF4-FFF2-40B4-BE49-F238E27FC236}">
                  <a16:creationId xmlns:a16="http://schemas.microsoft.com/office/drawing/2014/main" id="{86BC5546-8367-8C83-516F-4CE746A5E415}"/>
                </a:ext>
              </a:extLst>
            </p:cNvPr>
            <p:cNvSpPr/>
            <p:nvPr/>
          </p:nvSpPr>
          <p:spPr>
            <a:xfrm>
              <a:off x="2194071" y="1587579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2" name="Google Shape;7489;p64">
              <a:extLst>
                <a:ext uri="{FF2B5EF4-FFF2-40B4-BE49-F238E27FC236}">
                  <a16:creationId xmlns:a16="http://schemas.microsoft.com/office/drawing/2014/main" id="{FF9D1A25-56E1-4B19-DEB3-D2EEBAA0F53D}"/>
                </a:ext>
              </a:extLst>
            </p:cNvPr>
            <p:cNvSpPr/>
            <p:nvPr/>
          </p:nvSpPr>
          <p:spPr>
            <a:xfrm>
              <a:off x="2193650" y="158744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3" name="Google Shape;7490;p64">
              <a:extLst>
                <a:ext uri="{FF2B5EF4-FFF2-40B4-BE49-F238E27FC236}">
                  <a16:creationId xmlns:a16="http://schemas.microsoft.com/office/drawing/2014/main" id="{D23CBBD2-A72D-F4AB-3659-174F34C29A0B}"/>
                </a:ext>
              </a:extLst>
            </p:cNvPr>
            <p:cNvSpPr/>
            <p:nvPr/>
          </p:nvSpPr>
          <p:spPr>
            <a:xfrm>
              <a:off x="2197777" y="158858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4" name="Google Shape;7491;p64">
              <a:extLst>
                <a:ext uri="{FF2B5EF4-FFF2-40B4-BE49-F238E27FC236}">
                  <a16:creationId xmlns:a16="http://schemas.microsoft.com/office/drawing/2014/main" id="{7F10CEBB-594D-26EB-41A9-28F21A85F55F}"/>
                </a:ext>
              </a:extLst>
            </p:cNvPr>
            <p:cNvSpPr/>
            <p:nvPr/>
          </p:nvSpPr>
          <p:spPr>
            <a:xfrm>
              <a:off x="2209807" y="158938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5" name="Google Shape;7492;p64">
              <a:extLst>
                <a:ext uri="{FF2B5EF4-FFF2-40B4-BE49-F238E27FC236}">
                  <a16:creationId xmlns:a16="http://schemas.microsoft.com/office/drawing/2014/main" id="{C1BEF1F8-9BB8-3418-A800-4D4EDD5E6ABF}"/>
                </a:ext>
              </a:extLst>
            </p:cNvPr>
            <p:cNvSpPr/>
            <p:nvPr/>
          </p:nvSpPr>
          <p:spPr>
            <a:xfrm>
              <a:off x="2199298" y="1588719"/>
              <a:ext cx="353" cy="68"/>
            </a:xfrm>
            <a:custGeom>
              <a:avLst/>
              <a:gdLst/>
              <a:ahLst/>
              <a:cxnLst/>
              <a:rect l="l" t="t" r="r" b="b"/>
              <a:pathLst>
                <a:path w="26" h="5" extrusionOk="0">
                  <a:moveTo>
                    <a:pt x="25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6" name="Google Shape;7493;p64">
              <a:extLst>
                <a:ext uri="{FF2B5EF4-FFF2-40B4-BE49-F238E27FC236}">
                  <a16:creationId xmlns:a16="http://schemas.microsoft.com/office/drawing/2014/main" id="{82CEB6D6-42E3-65D9-043E-91FD9DAE4E5E}"/>
                </a:ext>
              </a:extLst>
            </p:cNvPr>
            <p:cNvSpPr/>
            <p:nvPr/>
          </p:nvSpPr>
          <p:spPr>
            <a:xfrm>
              <a:off x="2208436" y="1589344"/>
              <a:ext cx="679" cy="14"/>
            </a:xfrm>
            <a:custGeom>
              <a:avLst/>
              <a:gdLst/>
              <a:ahLst/>
              <a:cxnLst/>
              <a:rect l="l" t="t" r="r" b="b"/>
              <a:pathLst>
                <a:path w="50" h="1" extrusionOk="0">
                  <a:moveTo>
                    <a:pt x="49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7" name="Google Shape;7494;p64">
              <a:extLst>
                <a:ext uri="{FF2B5EF4-FFF2-40B4-BE49-F238E27FC236}">
                  <a16:creationId xmlns:a16="http://schemas.microsoft.com/office/drawing/2014/main" id="{8478A65A-E9CB-BE86-F4DB-218C121FDD41}"/>
                </a:ext>
              </a:extLst>
            </p:cNvPr>
            <p:cNvSpPr/>
            <p:nvPr/>
          </p:nvSpPr>
          <p:spPr>
            <a:xfrm>
              <a:off x="2202448" y="1589004"/>
              <a:ext cx="5947" cy="353"/>
            </a:xfrm>
            <a:custGeom>
              <a:avLst/>
              <a:gdLst/>
              <a:ahLst/>
              <a:cxnLst/>
              <a:rect l="l" t="t" r="r" b="b"/>
              <a:pathLst>
                <a:path w="438" h="26" extrusionOk="0">
                  <a:moveTo>
                    <a:pt x="438" y="25"/>
                  </a:moveTo>
                  <a:cubicBezTo>
                    <a:pt x="294" y="22"/>
                    <a:pt x="140" y="11"/>
                    <a:pt x="0" y="1"/>
                  </a:cubicBezTo>
                  <a:cubicBezTo>
                    <a:pt x="140" y="11"/>
                    <a:pt x="294" y="22"/>
                    <a:pt x="43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8" name="Google Shape;7495;p64">
              <a:extLst>
                <a:ext uri="{FF2B5EF4-FFF2-40B4-BE49-F238E27FC236}">
                  <a16:creationId xmlns:a16="http://schemas.microsoft.com/office/drawing/2014/main" id="{5B2FC438-9A10-79A9-5CB0-3CFE21EF2CF8}"/>
                </a:ext>
              </a:extLst>
            </p:cNvPr>
            <p:cNvSpPr/>
            <p:nvPr/>
          </p:nvSpPr>
          <p:spPr>
            <a:xfrm>
              <a:off x="2213228" y="1589194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9" name="Google Shape;7496;p64">
              <a:extLst>
                <a:ext uri="{FF2B5EF4-FFF2-40B4-BE49-F238E27FC236}">
                  <a16:creationId xmlns:a16="http://schemas.microsoft.com/office/drawing/2014/main" id="{432A8CD3-A7DE-B5A9-5C18-89981A005D30}"/>
                </a:ext>
              </a:extLst>
            </p:cNvPr>
            <p:cNvSpPr/>
            <p:nvPr/>
          </p:nvSpPr>
          <p:spPr>
            <a:xfrm>
              <a:off x="2212047" y="1589289"/>
              <a:ext cx="339" cy="14"/>
            </a:xfrm>
            <a:custGeom>
              <a:avLst/>
              <a:gdLst/>
              <a:ahLst/>
              <a:cxnLst/>
              <a:rect l="l" t="t" r="r" b="b"/>
              <a:pathLst>
                <a:path w="25" h="1" extrusionOk="0">
                  <a:moveTo>
                    <a:pt x="25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0" name="Google Shape;7497;p64">
              <a:extLst>
                <a:ext uri="{FF2B5EF4-FFF2-40B4-BE49-F238E27FC236}">
                  <a16:creationId xmlns:a16="http://schemas.microsoft.com/office/drawing/2014/main" id="{2B21448B-637A-9AE1-CD83-F09CDD5197B6}"/>
                </a:ext>
              </a:extLst>
            </p:cNvPr>
            <p:cNvSpPr/>
            <p:nvPr/>
          </p:nvSpPr>
          <p:spPr>
            <a:xfrm>
              <a:off x="2211382" y="1589289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1" name="Google Shape;7498;p64">
              <a:extLst>
                <a:ext uri="{FF2B5EF4-FFF2-40B4-BE49-F238E27FC236}">
                  <a16:creationId xmlns:a16="http://schemas.microsoft.com/office/drawing/2014/main" id="{A6F5E412-73D0-3A4A-421C-980CABBFA80F}"/>
                </a:ext>
              </a:extLst>
            </p:cNvPr>
            <p:cNvSpPr/>
            <p:nvPr/>
          </p:nvSpPr>
          <p:spPr>
            <a:xfrm>
              <a:off x="2195876" y="1588244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8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2" name="Google Shape;7499;p64">
              <a:extLst>
                <a:ext uri="{FF2B5EF4-FFF2-40B4-BE49-F238E27FC236}">
                  <a16:creationId xmlns:a16="http://schemas.microsoft.com/office/drawing/2014/main" id="{3DF45D8B-0073-C139-B536-AAB715BEBE6A}"/>
                </a:ext>
              </a:extLst>
            </p:cNvPr>
            <p:cNvSpPr/>
            <p:nvPr/>
          </p:nvSpPr>
          <p:spPr>
            <a:xfrm>
              <a:off x="2195456" y="158810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3" name="Google Shape;7500;p64">
              <a:extLst>
                <a:ext uri="{FF2B5EF4-FFF2-40B4-BE49-F238E27FC236}">
                  <a16:creationId xmlns:a16="http://schemas.microsoft.com/office/drawing/2014/main" id="{86892D5C-7668-E612-7F3E-D5E54EE96908}"/>
                </a:ext>
              </a:extLst>
            </p:cNvPr>
            <p:cNvSpPr/>
            <p:nvPr/>
          </p:nvSpPr>
          <p:spPr>
            <a:xfrm>
              <a:off x="2196067" y="158833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4" name="Google Shape;7501;p64">
              <a:extLst>
                <a:ext uri="{FF2B5EF4-FFF2-40B4-BE49-F238E27FC236}">
                  <a16:creationId xmlns:a16="http://schemas.microsoft.com/office/drawing/2014/main" id="{D3A1D8E7-B4F3-4F20-213A-7D8CEE6F86C9}"/>
                </a:ext>
              </a:extLst>
            </p:cNvPr>
            <p:cNvSpPr/>
            <p:nvPr/>
          </p:nvSpPr>
          <p:spPr>
            <a:xfrm>
              <a:off x="2212658" y="1589249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2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5" name="Google Shape;7502;p64">
              <a:extLst>
                <a:ext uri="{FF2B5EF4-FFF2-40B4-BE49-F238E27FC236}">
                  <a16:creationId xmlns:a16="http://schemas.microsoft.com/office/drawing/2014/main" id="{674B8C4E-6302-9AB5-D7E4-85A8CE4AC45B}"/>
                </a:ext>
              </a:extLst>
            </p:cNvPr>
            <p:cNvSpPr/>
            <p:nvPr/>
          </p:nvSpPr>
          <p:spPr>
            <a:xfrm>
              <a:off x="2196352" y="158839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6" name="Google Shape;7503;p64">
              <a:extLst>
                <a:ext uri="{FF2B5EF4-FFF2-40B4-BE49-F238E27FC236}">
                  <a16:creationId xmlns:a16="http://schemas.microsoft.com/office/drawing/2014/main" id="{E1D4547A-536B-D487-44E8-C7E18B4C7425}"/>
                </a:ext>
              </a:extLst>
            </p:cNvPr>
            <p:cNvSpPr/>
            <p:nvPr/>
          </p:nvSpPr>
          <p:spPr>
            <a:xfrm>
              <a:off x="2194641" y="158776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7" name="Google Shape;7504;p64">
              <a:extLst>
                <a:ext uri="{FF2B5EF4-FFF2-40B4-BE49-F238E27FC236}">
                  <a16:creationId xmlns:a16="http://schemas.microsoft.com/office/drawing/2014/main" id="{2850361E-BAF6-D228-824F-D0677DFC9738}"/>
                </a:ext>
              </a:extLst>
            </p:cNvPr>
            <p:cNvSpPr/>
            <p:nvPr/>
          </p:nvSpPr>
          <p:spPr>
            <a:xfrm>
              <a:off x="2196976" y="1588488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8" name="Google Shape;7505;p64">
              <a:extLst>
                <a:ext uri="{FF2B5EF4-FFF2-40B4-BE49-F238E27FC236}">
                  <a16:creationId xmlns:a16="http://schemas.microsoft.com/office/drawing/2014/main" id="{C630777A-B759-8F88-FFD8-BFEFBCFF3E71}"/>
                </a:ext>
              </a:extLst>
            </p:cNvPr>
            <p:cNvSpPr/>
            <p:nvPr/>
          </p:nvSpPr>
          <p:spPr>
            <a:xfrm>
              <a:off x="2195075" y="158795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9" name="Google Shape;7506;p64">
              <a:extLst>
                <a:ext uri="{FF2B5EF4-FFF2-40B4-BE49-F238E27FC236}">
                  <a16:creationId xmlns:a16="http://schemas.microsoft.com/office/drawing/2014/main" id="{96BA7E6E-B04F-AE8D-DFE3-08CCA3E79243}"/>
                </a:ext>
              </a:extLst>
            </p:cNvPr>
            <p:cNvSpPr/>
            <p:nvPr/>
          </p:nvSpPr>
          <p:spPr>
            <a:xfrm>
              <a:off x="2197356" y="1588529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0" name="Google Shape;7507;p64">
              <a:extLst>
                <a:ext uri="{FF2B5EF4-FFF2-40B4-BE49-F238E27FC236}">
                  <a16:creationId xmlns:a16="http://schemas.microsoft.com/office/drawing/2014/main" id="{05FD1969-1990-3EE8-FD03-D5CB621861E8}"/>
                </a:ext>
              </a:extLst>
            </p:cNvPr>
            <p:cNvSpPr/>
            <p:nvPr/>
          </p:nvSpPr>
          <p:spPr>
            <a:xfrm>
              <a:off x="2196637" y="158843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1" name="Google Shape;7508;p64">
              <a:extLst>
                <a:ext uri="{FF2B5EF4-FFF2-40B4-BE49-F238E27FC236}">
                  <a16:creationId xmlns:a16="http://schemas.microsoft.com/office/drawing/2014/main" id="{A9478E63-561D-69F2-3D8A-0C59AC2A1059}"/>
                </a:ext>
              </a:extLst>
            </p:cNvPr>
            <p:cNvSpPr/>
            <p:nvPr/>
          </p:nvSpPr>
          <p:spPr>
            <a:xfrm>
              <a:off x="2201783" y="1588963"/>
              <a:ext cx="625" cy="54"/>
            </a:xfrm>
            <a:custGeom>
              <a:avLst/>
              <a:gdLst/>
              <a:ahLst/>
              <a:cxnLst/>
              <a:rect l="l" t="t" r="r" b="b"/>
              <a:pathLst>
                <a:path w="46" h="4" extrusionOk="0">
                  <a:moveTo>
                    <a:pt x="4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2" name="Google Shape;7509;p64">
              <a:extLst>
                <a:ext uri="{FF2B5EF4-FFF2-40B4-BE49-F238E27FC236}">
                  <a16:creationId xmlns:a16="http://schemas.microsoft.com/office/drawing/2014/main" id="{DA6FE8FC-CA0A-A093-66C1-26402BB9A06D}"/>
                </a:ext>
              </a:extLst>
            </p:cNvPr>
            <p:cNvSpPr/>
            <p:nvPr/>
          </p:nvSpPr>
          <p:spPr>
            <a:xfrm>
              <a:off x="2201117" y="1588909"/>
              <a:ext cx="530" cy="68"/>
            </a:xfrm>
            <a:custGeom>
              <a:avLst/>
              <a:gdLst/>
              <a:ahLst/>
              <a:cxnLst/>
              <a:rect l="l" t="t" r="r" b="b"/>
              <a:pathLst>
                <a:path w="39" h="5" extrusionOk="0">
                  <a:moveTo>
                    <a:pt x="39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3" name="Google Shape;7510;p64">
              <a:extLst>
                <a:ext uri="{FF2B5EF4-FFF2-40B4-BE49-F238E27FC236}">
                  <a16:creationId xmlns:a16="http://schemas.microsoft.com/office/drawing/2014/main" id="{9D749C3C-F797-FCD6-3551-C0E8DA85F2D7}"/>
                </a:ext>
              </a:extLst>
            </p:cNvPr>
            <p:cNvSpPr/>
            <p:nvPr/>
          </p:nvSpPr>
          <p:spPr>
            <a:xfrm>
              <a:off x="2199868" y="1588814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9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4" name="Google Shape;7511;p64">
              <a:extLst>
                <a:ext uri="{FF2B5EF4-FFF2-40B4-BE49-F238E27FC236}">
                  <a16:creationId xmlns:a16="http://schemas.microsoft.com/office/drawing/2014/main" id="{9BB0DEA5-8B9A-0761-3250-EE904607E3A3}"/>
                </a:ext>
              </a:extLst>
            </p:cNvPr>
            <p:cNvSpPr/>
            <p:nvPr/>
          </p:nvSpPr>
          <p:spPr>
            <a:xfrm>
              <a:off x="2200493" y="1588868"/>
              <a:ext cx="489" cy="54"/>
            </a:xfrm>
            <a:custGeom>
              <a:avLst/>
              <a:gdLst/>
              <a:ahLst/>
              <a:cxnLst/>
              <a:rect l="l" t="t" r="r" b="b"/>
              <a:pathLst>
                <a:path w="36" h="4" extrusionOk="0">
                  <a:moveTo>
                    <a:pt x="36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5" name="Google Shape;7512;p64">
              <a:extLst>
                <a:ext uri="{FF2B5EF4-FFF2-40B4-BE49-F238E27FC236}">
                  <a16:creationId xmlns:a16="http://schemas.microsoft.com/office/drawing/2014/main" id="{A283EF5C-F0F3-16DF-7C19-D21E761A2DA8}"/>
                </a:ext>
              </a:extLst>
            </p:cNvPr>
            <p:cNvSpPr/>
            <p:nvPr/>
          </p:nvSpPr>
          <p:spPr>
            <a:xfrm>
              <a:off x="2213799" y="1589154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6" name="Google Shape;7513;p64">
              <a:extLst>
                <a:ext uri="{FF2B5EF4-FFF2-40B4-BE49-F238E27FC236}">
                  <a16:creationId xmlns:a16="http://schemas.microsoft.com/office/drawing/2014/main" id="{DC989C90-CA00-8D88-0680-A424EF0DD3F7}"/>
                </a:ext>
              </a:extLst>
            </p:cNvPr>
            <p:cNvSpPr/>
            <p:nvPr/>
          </p:nvSpPr>
          <p:spPr>
            <a:xfrm>
              <a:off x="2328882" y="1660259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4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7" name="Google Shape;7514;p64">
              <a:extLst>
                <a:ext uri="{FF2B5EF4-FFF2-40B4-BE49-F238E27FC236}">
                  <a16:creationId xmlns:a16="http://schemas.microsoft.com/office/drawing/2014/main" id="{AEB93307-A613-2400-6D14-E75E79304F13}"/>
                </a:ext>
              </a:extLst>
            </p:cNvPr>
            <p:cNvSpPr/>
            <p:nvPr/>
          </p:nvSpPr>
          <p:spPr>
            <a:xfrm>
              <a:off x="2335860" y="1655032"/>
              <a:ext cx="1534" cy="204"/>
            </a:xfrm>
            <a:custGeom>
              <a:avLst/>
              <a:gdLst/>
              <a:ahLst/>
              <a:cxnLst/>
              <a:rect l="l" t="t" r="r" b="b"/>
              <a:pathLst>
                <a:path w="113" h="15" extrusionOk="0">
                  <a:moveTo>
                    <a:pt x="113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8" name="Google Shape;7515;p64">
              <a:extLst>
                <a:ext uri="{FF2B5EF4-FFF2-40B4-BE49-F238E27FC236}">
                  <a16:creationId xmlns:a16="http://schemas.microsoft.com/office/drawing/2014/main" id="{D4A1AA35-E214-0682-B442-8B78EAB5E09B}"/>
                </a:ext>
              </a:extLst>
            </p:cNvPr>
            <p:cNvSpPr/>
            <p:nvPr/>
          </p:nvSpPr>
          <p:spPr>
            <a:xfrm>
              <a:off x="2341468" y="1648039"/>
              <a:ext cx="964" cy="1344"/>
            </a:xfrm>
            <a:custGeom>
              <a:avLst/>
              <a:gdLst/>
              <a:ahLst/>
              <a:cxnLst/>
              <a:rect l="l" t="t" r="r" b="b"/>
              <a:pathLst>
                <a:path w="71" h="99" extrusionOk="0">
                  <a:moveTo>
                    <a:pt x="1" y="1"/>
                  </a:moveTo>
                  <a:cubicBezTo>
                    <a:pt x="29" y="29"/>
                    <a:pt x="54" y="64"/>
                    <a:pt x="71" y="99"/>
                  </a:cubicBezTo>
                  <a:cubicBezTo>
                    <a:pt x="54" y="64"/>
                    <a:pt x="29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9" name="Google Shape;7516;p64">
              <a:extLst>
                <a:ext uri="{FF2B5EF4-FFF2-40B4-BE49-F238E27FC236}">
                  <a16:creationId xmlns:a16="http://schemas.microsoft.com/office/drawing/2014/main" id="{FCF03342-3089-E63F-C72B-1A89906F9ED9}"/>
                </a:ext>
              </a:extLst>
            </p:cNvPr>
            <p:cNvSpPr/>
            <p:nvPr/>
          </p:nvSpPr>
          <p:spPr>
            <a:xfrm>
              <a:off x="2309574" y="1627510"/>
              <a:ext cx="14" cy="434"/>
            </a:xfrm>
            <a:custGeom>
              <a:avLst/>
              <a:gdLst/>
              <a:ahLst/>
              <a:cxnLst/>
              <a:rect l="l" t="t" r="r" b="b"/>
              <a:pathLst>
                <a:path w="1" h="32" extrusionOk="0">
                  <a:moveTo>
                    <a:pt x="1" y="0"/>
                  </a:moveTo>
                  <a:cubicBezTo>
                    <a:pt x="1" y="11"/>
                    <a:pt x="1" y="21"/>
                    <a:pt x="1" y="32"/>
                  </a:cubicBezTo>
                  <a:cubicBezTo>
                    <a:pt x="1" y="21"/>
                    <a:pt x="1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0" name="Google Shape;7517;p64">
              <a:extLst>
                <a:ext uri="{FF2B5EF4-FFF2-40B4-BE49-F238E27FC236}">
                  <a16:creationId xmlns:a16="http://schemas.microsoft.com/office/drawing/2014/main" id="{931E9AF8-FFB9-2AE0-F768-FAF6DCF9E9FD}"/>
                </a:ext>
              </a:extLst>
            </p:cNvPr>
            <p:cNvSpPr/>
            <p:nvPr/>
          </p:nvSpPr>
          <p:spPr>
            <a:xfrm>
              <a:off x="2281483" y="1611298"/>
              <a:ext cx="1303" cy="475"/>
            </a:xfrm>
            <a:custGeom>
              <a:avLst/>
              <a:gdLst/>
              <a:ahLst/>
              <a:cxnLst/>
              <a:rect l="l" t="t" r="r" b="b"/>
              <a:pathLst>
                <a:path w="96" h="35" extrusionOk="0">
                  <a:moveTo>
                    <a:pt x="1" y="1"/>
                  </a:moveTo>
                  <a:cubicBezTo>
                    <a:pt x="12" y="16"/>
                    <a:pt x="23" y="24"/>
                    <a:pt x="43" y="28"/>
                  </a:cubicBezTo>
                  <a:lnTo>
                    <a:pt x="43" y="28"/>
                  </a:lnTo>
                  <a:cubicBezTo>
                    <a:pt x="31" y="24"/>
                    <a:pt x="19" y="17"/>
                    <a:pt x="8" y="8"/>
                  </a:cubicBezTo>
                  <a:lnTo>
                    <a:pt x="1" y="1"/>
                  </a:lnTo>
                  <a:close/>
                  <a:moveTo>
                    <a:pt x="43" y="28"/>
                  </a:moveTo>
                  <a:cubicBezTo>
                    <a:pt x="54" y="32"/>
                    <a:pt x="65" y="34"/>
                    <a:pt x="76" y="34"/>
                  </a:cubicBezTo>
                  <a:cubicBezTo>
                    <a:pt x="82" y="34"/>
                    <a:pt x="89" y="34"/>
                    <a:pt x="95" y="32"/>
                  </a:cubicBezTo>
                  <a:cubicBezTo>
                    <a:pt x="73" y="32"/>
                    <a:pt x="56" y="31"/>
                    <a:pt x="43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1" name="Google Shape;7518;p64">
              <a:extLst>
                <a:ext uri="{FF2B5EF4-FFF2-40B4-BE49-F238E27FC236}">
                  <a16:creationId xmlns:a16="http://schemas.microsoft.com/office/drawing/2014/main" id="{C479CBD1-C61A-749A-CB22-ACCFCF6486F3}"/>
                </a:ext>
              </a:extLst>
            </p:cNvPr>
            <p:cNvSpPr/>
            <p:nvPr/>
          </p:nvSpPr>
          <p:spPr>
            <a:xfrm>
              <a:off x="2284714" y="1609778"/>
              <a:ext cx="1833" cy="1113"/>
            </a:xfrm>
            <a:custGeom>
              <a:avLst/>
              <a:gdLst/>
              <a:ahLst/>
              <a:cxnLst/>
              <a:rect l="l" t="t" r="r" b="b"/>
              <a:pathLst>
                <a:path w="135" h="82" extrusionOk="0">
                  <a:moveTo>
                    <a:pt x="134" y="1"/>
                  </a:moveTo>
                  <a:cubicBezTo>
                    <a:pt x="113" y="4"/>
                    <a:pt x="96" y="11"/>
                    <a:pt x="82" y="22"/>
                  </a:cubicBezTo>
                  <a:cubicBezTo>
                    <a:pt x="54" y="39"/>
                    <a:pt x="25" y="57"/>
                    <a:pt x="1" y="81"/>
                  </a:cubicBezTo>
                  <a:cubicBezTo>
                    <a:pt x="25" y="57"/>
                    <a:pt x="54" y="39"/>
                    <a:pt x="82" y="22"/>
                  </a:cubicBezTo>
                  <a:cubicBezTo>
                    <a:pt x="96" y="11"/>
                    <a:pt x="113" y="4"/>
                    <a:pt x="13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2" name="Google Shape;7519;p64">
              <a:extLst>
                <a:ext uri="{FF2B5EF4-FFF2-40B4-BE49-F238E27FC236}">
                  <a16:creationId xmlns:a16="http://schemas.microsoft.com/office/drawing/2014/main" id="{E01AD856-977E-6140-3140-DC62B925BE30}"/>
                </a:ext>
              </a:extLst>
            </p:cNvPr>
            <p:cNvSpPr/>
            <p:nvPr/>
          </p:nvSpPr>
          <p:spPr>
            <a:xfrm>
              <a:off x="2314625" y="1629832"/>
              <a:ext cx="1860" cy="1018"/>
            </a:xfrm>
            <a:custGeom>
              <a:avLst/>
              <a:gdLst/>
              <a:ahLst/>
              <a:cxnLst/>
              <a:rect l="l" t="t" r="r" b="b"/>
              <a:pathLst>
                <a:path w="137" h="75" extrusionOk="0">
                  <a:moveTo>
                    <a:pt x="137" y="74"/>
                  </a:moveTo>
                  <a:cubicBezTo>
                    <a:pt x="112" y="71"/>
                    <a:pt x="88" y="64"/>
                    <a:pt x="67" y="50"/>
                  </a:cubicBezTo>
                  <a:cubicBezTo>
                    <a:pt x="46" y="36"/>
                    <a:pt x="25" y="18"/>
                    <a:pt x="0" y="1"/>
                  </a:cubicBezTo>
                  <a:cubicBezTo>
                    <a:pt x="25" y="18"/>
                    <a:pt x="46" y="36"/>
                    <a:pt x="67" y="50"/>
                  </a:cubicBezTo>
                  <a:cubicBezTo>
                    <a:pt x="88" y="64"/>
                    <a:pt x="112" y="71"/>
                    <a:pt x="137" y="7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3" name="Google Shape;7520;p64">
              <a:extLst>
                <a:ext uri="{FF2B5EF4-FFF2-40B4-BE49-F238E27FC236}">
                  <a16:creationId xmlns:a16="http://schemas.microsoft.com/office/drawing/2014/main" id="{BB97C899-7F0B-09B8-CCAC-29A6D090CB34}"/>
                </a:ext>
              </a:extLst>
            </p:cNvPr>
            <p:cNvSpPr/>
            <p:nvPr/>
          </p:nvSpPr>
          <p:spPr>
            <a:xfrm>
              <a:off x="2299079" y="1615860"/>
              <a:ext cx="339" cy="1494"/>
            </a:xfrm>
            <a:custGeom>
              <a:avLst/>
              <a:gdLst/>
              <a:ahLst/>
              <a:cxnLst/>
              <a:rect l="l" t="t" r="r" b="b"/>
              <a:pathLst>
                <a:path w="25" h="110" extrusionOk="0">
                  <a:moveTo>
                    <a:pt x="25" y="1"/>
                  </a:moveTo>
                  <a:cubicBezTo>
                    <a:pt x="25" y="39"/>
                    <a:pt x="14" y="78"/>
                    <a:pt x="0" y="109"/>
                  </a:cubicBezTo>
                  <a:cubicBezTo>
                    <a:pt x="14" y="78"/>
                    <a:pt x="25" y="39"/>
                    <a:pt x="2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4" name="Google Shape;7521;p64">
              <a:extLst>
                <a:ext uri="{FF2B5EF4-FFF2-40B4-BE49-F238E27FC236}">
                  <a16:creationId xmlns:a16="http://schemas.microsoft.com/office/drawing/2014/main" id="{2D1AA58C-86D0-3091-1B60-46B16385A1FD}"/>
                </a:ext>
              </a:extLst>
            </p:cNvPr>
            <p:cNvSpPr/>
            <p:nvPr/>
          </p:nvSpPr>
          <p:spPr>
            <a:xfrm>
              <a:off x="2291136" y="1609398"/>
              <a:ext cx="2824" cy="339"/>
            </a:xfrm>
            <a:custGeom>
              <a:avLst/>
              <a:gdLst/>
              <a:ahLst/>
              <a:cxnLst/>
              <a:rect l="l" t="t" r="r" b="b"/>
              <a:pathLst>
                <a:path w="208" h="25" extrusionOk="0">
                  <a:moveTo>
                    <a:pt x="1" y="25"/>
                  </a:moveTo>
                  <a:cubicBezTo>
                    <a:pt x="67" y="8"/>
                    <a:pt x="137" y="1"/>
                    <a:pt x="207" y="1"/>
                  </a:cubicBezTo>
                  <a:cubicBezTo>
                    <a:pt x="137" y="1"/>
                    <a:pt x="67" y="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5" name="Google Shape;7522;p64">
              <a:extLst>
                <a:ext uri="{FF2B5EF4-FFF2-40B4-BE49-F238E27FC236}">
                  <a16:creationId xmlns:a16="http://schemas.microsoft.com/office/drawing/2014/main" id="{287D0EA6-70EE-3FC5-5997-C640CBAE82D8}"/>
                </a:ext>
              </a:extLst>
            </p:cNvPr>
            <p:cNvSpPr/>
            <p:nvPr/>
          </p:nvSpPr>
          <p:spPr>
            <a:xfrm>
              <a:off x="2341862" y="1642581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6" name="Google Shape;7523;p64">
              <a:extLst>
                <a:ext uri="{FF2B5EF4-FFF2-40B4-BE49-F238E27FC236}">
                  <a16:creationId xmlns:a16="http://schemas.microsoft.com/office/drawing/2014/main" id="{1BF56735-A1C4-021E-9A08-DF74895ED74B}"/>
                </a:ext>
              </a:extLst>
            </p:cNvPr>
            <p:cNvSpPr/>
            <p:nvPr/>
          </p:nvSpPr>
          <p:spPr>
            <a:xfrm>
              <a:off x="2337476" y="16552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7" name="Google Shape;7524;p64">
              <a:extLst>
                <a:ext uri="{FF2B5EF4-FFF2-40B4-BE49-F238E27FC236}">
                  <a16:creationId xmlns:a16="http://schemas.microsoft.com/office/drawing/2014/main" id="{8C9AA648-02D5-7AA4-5DB6-BD3FDBDE36C1}"/>
                </a:ext>
              </a:extLst>
            </p:cNvPr>
            <p:cNvSpPr/>
            <p:nvPr/>
          </p:nvSpPr>
          <p:spPr>
            <a:xfrm>
              <a:off x="2328692" y="165902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8" name="Google Shape;7525;p64">
              <a:extLst>
                <a:ext uri="{FF2B5EF4-FFF2-40B4-BE49-F238E27FC236}">
                  <a16:creationId xmlns:a16="http://schemas.microsoft.com/office/drawing/2014/main" id="{8F8CAAC5-2A90-41EA-95F3-1DC8D846E92A}"/>
                </a:ext>
              </a:extLst>
            </p:cNvPr>
            <p:cNvSpPr/>
            <p:nvPr/>
          </p:nvSpPr>
          <p:spPr>
            <a:xfrm>
              <a:off x="2328787" y="1659594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9" name="Google Shape;7526;p64">
              <a:extLst>
                <a:ext uri="{FF2B5EF4-FFF2-40B4-BE49-F238E27FC236}">
                  <a16:creationId xmlns:a16="http://schemas.microsoft.com/office/drawing/2014/main" id="{57804B87-9E88-E409-9E0E-878EF486B976}"/>
                </a:ext>
              </a:extLst>
            </p:cNvPr>
            <p:cNvSpPr/>
            <p:nvPr/>
          </p:nvSpPr>
          <p:spPr>
            <a:xfrm>
              <a:off x="2328692" y="1658779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cubicBezTo>
                    <a:pt x="0" y="8"/>
                    <a:pt x="0" y="4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0" name="Google Shape;7527;p64">
              <a:extLst>
                <a:ext uri="{FF2B5EF4-FFF2-40B4-BE49-F238E27FC236}">
                  <a16:creationId xmlns:a16="http://schemas.microsoft.com/office/drawing/2014/main" id="{DEB75E49-6AAB-C383-2507-CDAFC0A758E5}"/>
                </a:ext>
              </a:extLst>
            </p:cNvPr>
            <p:cNvSpPr/>
            <p:nvPr/>
          </p:nvSpPr>
          <p:spPr>
            <a:xfrm>
              <a:off x="2328827" y="1659919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1" y="1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1" name="Google Shape;7528;p64">
              <a:extLst>
                <a:ext uri="{FF2B5EF4-FFF2-40B4-BE49-F238E27FC236}">
                  <a16:creationId xmlns:a16="http://schemas.microsoft.com/office/drawing/2014/main" id="{4E561C81-56BE-26B3-1AC4-20859E744E29}"/>
                </a:ext>
              </a:extLst>
            </p:cNvPr>
            <p:cNvSpPr/>
            <p:nvPr/>
          </p:nvSpPr>
          <p:spPr>
            <a:xfrm>
              <a:off x="2328732" y="165925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cubicBezTo>
                    <a:pt x="1" y="8"/>
                    <a:pt x="1" y="11"/>
                    <a:pt x="1" y="18"/>
                  </a:cubicBezTo>
                  <a:cubicBezTo>
                    <a:pt x="1" y="11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2" name="Google Shape;7529;p64">
              <a:extLst>
                <a:ext uri="{FF2B5EF4-FFF2-40B4-BE49-F238E27FC236}">
                  <a16:creationId xmlns:a16="http://schemas.microsoft.com/office/drawing/2014/main" id="{3FDE368F-25D8-14A7-C400-3456DD352BE1}"/>
                </a:ext>
              </a:extLst>
            </p:cNvPr>
            <p:cNvSpPr/>
            <p:nvPr/>
          </p:nvSpPr>
          <p:spPr>
            <a:xfrm>
              <a:off x="2341957" y="1637680"/>
              <a:ext cx="1914" cy="3489"/>
            </a:xfrm>
            <a:custGeom>
              <a:avLst/>
              <a:gdLst/>
              <a:ahLst/>
              <a:cxnLst/>
              <a:rect l="l" t="t" r="r" b="b"/>
              <a:pathLst>
                <a:path w="141" h="257" extrusionOk="0">
                  <a:moveTo>
                    <a:pt x="137" y="151"/>
                  </a:moveTo>
                  <a:cubicBezTo>
                    <a:pt x="140" y="186"/>
                    <a:pt x="130" y="225"/>
                    <a:pt x="109" y="256"/>
                  </a:cubicBezTo>
                  <a:cubicBezTo>
                    <a:pt x="130" y="225"/>
                    <a:pt x="140" y="186"/>
                    <a:pt x="137" y="151"/>
                  </a:cubicBezTo>
                  <a:cubicBezTo>
                    <a:pt x="126" y="71"/>
                    <a:pt x="70" y="32"/>
                    <a:pt x="0" y="1"/>
                  </a:cubicBezTo>
                  <a:cubicBezTo>
                    <a:pt x="70" y="32"/>
                    <a:pt x="126" y="71"/>
                    <a:pt x="137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3" name="Google Shape;7530;p64">
              <a:extLst>
                <a:ext uri="{FF2B5EF4-FFF2-40B4-BE49-F238E27FC236}">
                  <a16:creationId xmlns:a16="http://schemas.microsoft.com/office/drawing/2014/main" id="{E95E70E4-6708-DA92-DE37-68BDD2FB37F4}"/>
                </a:ext>
              </a:extLst>
            </p:cNvPr>
            <p:cNvSpPr/>
            <p:nvPr/>
          </p:nvSpPr>
          <p:spPr>
            <a:xfrm>
              <a:off x="2282908" y="1603600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32" y="0"/>
                  </a:moveTo>
                  <a:cubicBezTo>
                    <a:pt x="22" y="0"/>
                    <a:pt x="8" y="0"/>
                    <a:pt x="1" y="0"/>
                  </a:cubicBezTo>
                  <a:cubicBezTo>
                    <a:pt x="8" y="0"/>
                    <a:pt x="22" y="0"/>
                    <a:pt x="3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4" name="Google Shape;7531;p64">
              <a:extLst>
                <a:ext uri="{FF2B5EF4-FFF2-40B4-BE49-F238E27FC236}">
                  <a16:creationId xmlns:a16="http://schemas.microsoft.com/office/drawing/2014/main" id="{BA41094A-3714-F291-4B63-561E1C87EA4A}"/>
                </a:ext>
              </a:extLst>
            </p:cNvPr>
            <p:cNvSpPr/>
            <p:nvPr/>
          </p:nvSpPr>
          <p:spPr>
            <a:xfrm>
              <a:off x="2279161" y="160236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cubicBezTo>
                    <a:pt x="4" y="0"/>
                    <a:pt x="7" y="0"/>
                    <a:pt x="7" y="0"/>
                  </a:cubicBezTo>
                  <a:cubicBezTo>
                    <a:pt x="7" y="0"/>
                    <a:pt x="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5" name="Google Shape;7532;p64">
              <a:extLst>
                <a:ext uri="{FF2B5EF4-FFF2-40B4-BE49-F238E27FC236}">
                  <a16:creationId xmlns:a16="http://schemas.microsoft.com/office/drawing/2014/main" id="{AC907A56-4190-9A26-B464-A6A7B5084EC3}"/>
                </a:ext>
              </a:extLst>
            </p:cNvPr>
            <p:cNvSpPr/>
            <p:nvPr/>
          </p:nvSpPr>
          <p:spPr>
            <a:xfrm>
              <a:off x="2283438" y="159432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6" name="Google Shape;7533;p64">
              <a:extLst>
                <a:ext uri="{FF2B5EF4-FFF2-40B4-BE49-F238E27FC236}">
                  <a16:creationId xmlns:a16="http://schemas.microsoft.com/office/drawing/2014/main" id="{9DFA139D-BD3B-B419-09E5-CEE5A0ADE893}"/>
                </a:ext>
              </a:extLst>
            </p:cNvPr>
            <p:cNvSpPr/>
            <p:nvPr/>
          </p:nvSpPr>
          <p:spPr>
            <a:xfrm>
              <a:off x="2280342" y="1602690"/>
              <a:ext cx="2580" cy="869"/>
            </a:xfrm>
            <a:custGeom>
              <a:avLst/>
              <a:gdLst/>
              <a:ahLst/>
              <a:cxnLst/>
              <a:rect l="l" t="t" r="r" b="b"/>
              <a:pathLst>
                <a:path w="190" h="64" extrusionOk="0">
                  <a:moveTo>
                    <a:pt x="1" y="1"/>
                  </a:moveTo>
                  <a:lnTo>
                    <a:pt x="32" y="15"/>
                  </a:lnTo>
                  <a:cubicBezTo>
                    <a:pt x="81" y="39"/>
                    <a:pt x="134" y="57"/>
                    <a:pt x="190" y="64"/>
                  </a:cubicBezTo>
                  <a:cubicBezTo>
                    <a:pt x="134" y="57"/>
                    <a:pt x="81" y="39"/>
                    <a:pt x="32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7" name="Google Shape;7534;p64">
              <a:extLst>
                <a:ext uri="{FF2B5EF4-FFF2-40B4-BE49-F238E27FC236}">
                  <a16:creationId xmlns:a16="http://schemas.microsoft.com/office/drawing/2014/main" id="{D5723CC9-BD5F-6469-7558-5F5BA6353D51}"/>
                </a:ext>
              </a:extLst>
            </p:cNvPr>
            <p:cNvSpPr/>
            <p:nvPr/>
          </p:nvSpPr>
          <p:spPr>
            <a:xfrm>
              <a:off x="2280532" y="1608488"/>
              <a:ext cx="964" cy="2824"/>
            </a:xfrm>
            <a:custGeom>
              <a:avLst/>
              <a:gdLst/>
              <a:ahLst/>
              <a:cxnLst/>
              <a:rect l="l" t="t" r="r" b="b"/>
              <a:pathLst>
                <a:path w="71" h="208" extrusionOk="0">
                  <a:moveTo>
                    <a:pt x="1" y="1"/>
                  </a:moveTo>
                  <a:cubicBezTo>
                    <a:pt x="7" y="40"/>
                    <a:pt x="17" y="79"/>
                    <a:pt x="31" y="118"/>
                  </a:cubicBezTo>
                  <a:lnTo>
                    <a:pt x="31" y="118"/>
                  </a:lnTo>
                  <a:cubicBezTo>
                    <a:pt x="18" y="79"/>
                    <a:pt x="7" y="40"/>
                    <a:pt x="1" y="1"/>
                  </a:cubicBezTo>
                  <a:close/>
                  <a:moveTo>
                    <a:pt x="31" y="118"/>
                  </a:moveTo>
                  <a:cubicBezTo>
                    <a:pt x="39" y="141"/>
                    <a:pt x="48" y="164"/>
                    <a:pt x="57" y="187"/>
                  </a:cubicBezTo>
                  <a:lnTo>
                    <a:pt x="71" y="208"/>
                  </a:lnTo>
                  <a:cubicBezTo>
                    <a:pt x="55" y="178"/>
                    <a:pt x="42" y="148"/>
                    <a:pt x="31" y="1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8" name="Google Shape;7535;p64">
              <a:extLst>
                <a:ext uri="{FF2B5EF4-FFF2-40B4-BE49-F238E27FC236}">
                  <a16:creationId xmlns:a16="http://schemas.microsoft.com/office/drawing/2014/main" id="{C8956BE1-844E-FAE7-190B-BD23DBAED5A5}"/>
                </a:ext>
              </a:extLst>
            </p:cNvPr>
            <p:cNvSpPr/>
            <p:nvPr/>
          </p:nvSpPr>
          <p:spPr>
            <a:xfrm>
              <a:off x="2278631" y="1589724"/>
              <a:ext cx="869" cy="679"/>
            </a:xfrm>
            <a:custGeom>
              <a:avLst/>
              <a:gdLst/>
              <a:ahLst/>
              <a:cxnLst/>
              <a:rect l="l" t="t" r="r" b="b"/>
              <a:pathLst>
                <a:path w="64" h="50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25"/>
                    <a:pt x="39" y="42"/>
                    <a:pt x="64" y="49"/>
                  </a:cubicBezTo>
                  <a:cubicBezTo>
                    <a:pt x="39" y="42"/>
                    <a:pt x="18" y="2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9" name="Google Shape;7536;p64">
              <a:extLst>
                <a:ext uri="{FF2B5EF4-FFF2-40B4-BE49-F238E27FC236}">
                  <a16:creationId xmlns:a16="http://schemas.microsoft.com/office/drawing/2014/main" id="{251F5448-FB9A-783B-4802-5AFEE5A8BDBB}"/>
                </a:ext>
              </a:extLst>
            </p:cNvPr>
            <p:cNvSpPr/>
            <p:nvPr/>
          </p:nvSpPr>
          <p:spPr>
            <a:xfrm>
              <a:off x="2256066" y="1570376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0"/>
                  </a:moveTo>
                  <a:lnTo>
                    <a:pt x="7" y="14"/>
                  </a:lnTo>
                  <a:cubicBezTo>
                    <a:pt x="7" y="14"/>
                    <a:pt x="7" y="18"/>
                    <a:pt x="10" y="18"/>
                  </a:cubicBezTo>
                  <a:cubicBezTo>
                    <a:pt x="7" y="11"/>
                    <a:pt x="3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0" name="Google Shape;7537;p64">
              <a:extLst>
                <a:ext uri="{FF2B5EF4-FFF2-40B4-BE49-F238E27FC236}">
                  <a16:creationId xmlns:a16="http://schemas.microsoft.com/office/drawing/2014/main" id="{CEFE1886-0660-092A-FE42-742616275CC6}"/>
                </a:ext>
              </a:extLst>
            </p:cNvPr>
            <p:cNvSpPr/>
            <p:nvPr/>
          </p:nvSpPr>
          <p:spPr>
            <a:xfrm>
              <a:off x="2276215" y="1585868"/>
              <a:ext cx="1724" cy="2349"/>
            </a:xfrm>
            <a:custGeom>
              <a:avLst/>
              <a:gdLst/>
              <a:ahLst/>
              <a:cxnLst/>
              <a:rect l="l" t="t" r="r" b="b"/>
              <a:pathLst>
                <a:path w="127" h="173" extrusionOk="0">
                  <a:moveTo>
                    <a:pt x="126" y="172"/>
                  </a:moveTo>
                  <a:cubicBezTo>
                    <a:pt x="105" y="102"/>
                    <a:pt x="60" y="43"/>
                    <a:pt x="0" y="1"/>
                  </a:cubicBezTo>
                  <a:cubicBezTo>
                    <a:pt x="60" y="43"/>
                    <a:pt x="105" y="102"/>
                    <a:pt x="126" y="17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1" name="Google Shape;7538;p64">
              <a:extLst>
                <a:ext uri="{FF2B5EF4-FFF2-40B4-BE49-F238E27FC236}">
                  <a16:creationId xmlns:a16="http://schemas.microsoft.com/office/drawing/2014/main" id="{A19FA62E-3C10-F28F-0865-D1F79925D441}"/>
                </a:ext>
              </a:extLst>
            </p:cNvPr>
            <p:cNvSpPr/>
            <p:nvPr/>
          </p:nvSpPr>
          <p:spPr>
            <a:xfrm>
              <a:off x="2281293" y="1611013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1" y="1"/>
                  </a:moveTo>
                  <a:lnTo>
                    <a:pt x="1" y="1"/>
                  </a:lnTo>
                  <a:cubicBezTo>
                    <a:pt x="8" y="11"/>
                    <a:pt x="15" y="22"/>
                    <a:pt x="22" y="29"/>
                  </a:cubicBezTo>
                  <a:lnTo>
                    <a:pt x="15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2" name="Google Shape;7539;p64">
              <a:extLst>
                <a:ext uri="{FF2B5EF4-FFF2-40B4-BE49-F238E27FC236}">
                  <a16:creationId xmlns:a16="http://schemas.microsoft.com/office/drawing/2014/main" id="{7CD3023E-93F8-A22C-6A76-FA2D2E4F6FF7}"/>
                </a:ext>
              </a:extLst>
            </p:cNvPr>
            <p:cNvSpPr/>
            <p:nvPr/>
          </p:nvSpPr>
          <p:spPr>
            <a:xfrm>
              <a:off x="2250879" y="1556826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0" y="1"/>
                  </a:moveTo>
                  <a:cubicBezTo>
                    <a:pt x="4" y="11"/>
                    <a:pt x="14" y="18"/>
                    <a:pt x="21" y="25"/>
                  </a:cubicBezTo>
                  <a:cubicBezTo>
                    <a:pt x="14" y="18"/>
                    <a:pt x="7" y="1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3" name="Google Shape;7540;p64">
              <a:extLst>
                <a:ext uri="{FF2B5EF4-FFF2-40B4-BE49-F238E27FC236}">
                  <a16:creationId xmlns:a16="http://schemas.microsoft.com/office/drawing/2014/main" id="{549951F9-855E-1A31-0890-F6D73F1DBE2E}"/>
                </a:ext>
              </a:extLst>
            </p:cNvPr>
            <p:cNvSpPr/>
            <p:nvPr/>
          </p:nvSpPr>
          <p:spPr>
            <a:xfrm>
              <a:off x="2250539" y="155644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1"/>
                  </a:moveTo>
                  <a:cubicBezTo>
                    <a:pt x="4" y="8"/>
                    <a:pt x="11" y="15"/>
                    <a:pt x="18" y="22"/>
                  </a:cubicBezTo>
                  <a:cubicBezTo>
                    <a:pt x="11" y="15"/>
                    <a:pt x="4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4" name="Google Shape;7541;p64">
              <a:extLst>
                <a:ext uri="{FF2B5EF4-FFF2-40B4-BE49-F238E27FC236}">
                  <a16:creationId xmlns:a16="http://schemas.microsoft.com/office/drawing/2014/main" id="{54F347EE-2F9B-DD22-938D-90A0E82D9CDF}"/>
                </a:ext>
              </a:extLst>
            </p:cNvPr>
            <p:cNvSpPr/>
            <p:nvPr/>
          </p:nvSpPr>
          <p:spPr>
            <a:xfrm>
              <a:off x="2255577" y="1568760"/>
              <a:ext cx="489" cy="1629"/>
            </a:xfrm>
            <a:custGeom>
              <a:avLst/>
              <a:gdLst/>
              <a:ahLst/>
              <a:cxnLst/>
              <a:rect l="l" t="t" r="r" b="b"/>
              <a:pathLst>
                <a:path w="36" h="120" extrusionOk="0">
                  <a:moveTo>
                    <a:pt x="1" y="0"/>
                  </a:moveTo>
                  <a:cubicBezTo>
                    <a:pt x="8" y="42"/>
                    <a:pt x="18" y="81"/>
                    <a:pt x="36" y="119"/>
                  </a:cubicBezTo>
                  <a:lnTo>
                    <a:pt x="29" y="102"/>
                  </a:lnTo>
                  <a:cubicBezTo>
                    <a:pt x="18" y="70"/>
                    <a:pt x="8" y="3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5" name="Google Shape;7542;p64">
              <a:extLst>
                <a:ext uri="{FF2B5EF4-FFF2-40B4-BE49-F238E27FC236}">
                  <a16:creationId xmlns:a16="http://schemas.microsoft.com/office/drawing/2014/main" id="{EBDEB44B-12C5-CD27-11A0-FCBFBFD02599}"/>
                </a:ext>
              </a:extLst>
            </p:cNvPr>
            <p:cNvSpPr/>
            <p:nvPr/>
          </p:nvSpPr>
          <p:spPr>
            <a:xfrm>
              <a:off x="2250119" y="1555590"/>
              <a:ext cx="394" cy="828"/>
            </a:xfrm>
            <a:custGeom>
              <a:avLst/>
              <a:gdLst/>
              <a:ahLst/>
              <a:cxnLst/>
              <a:rect l="l" t="t" r="r" b="b"/>
              <a:pathLst>
                <a:path w="29" h="61" extrusionOk="0">
                  <a:moveTo>
                    <a:pt x="0" y="1"/>
                  </a:moveTo>
                  <a:lnTo>
                    <a:pt x="4" y="15"/>
                  </a:lnTo>
                  <a:cubicBezTo>
                    <a:pt x="11" y="32"/>
                    <a:pt x="21" y="46"/>
                    <a:pt x="28" y="60"/>
                  </a:cubicBezTo>
                  <a:cubicBezTo>
                    <a:pt x="18" y="39"/>
                    <a:pt x="7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6" name="Google Shape;7543;p64">
              <a:extLst>
                <a:ext uri="{FF2B5EF4-FFF2-40B4-BE49-F238E27FC236}">
                  <a16:creationId xmlns:a16="http://schemas.microsoft.com/office/drawing/2014/main" id="{C1BB66EE-57B1-0800-2903-F97AA060EF03}"/>
                </a:ext>
              </a:extLst>
            </p:cNvPr>
            <p:cNvSpPr/>
            <p:nvPr/>
          </p:nvSpPr>
          <p:spPr>
            <a:xfrm>
              <a:off x="2255957" y="1570131"/>
              <a:ext cx="204" cy="448"/>
            </a:xfrm>
            <a:custGeom>
              <a:avLst/>
              <a:gdLst/>
              <a:ahLst/>
              <a:cxnLst/>
              <a:rect l="l" t="t" r="r" b="b"/>
              <a:pathLst>
                <a:path w="15" h="33" extrusionOk="0">
                  <a:moveTo>
                    <a:pt x="1" y="1"/>
                  </a:moveTo>
                  <a:lnTo>
                    <a:pt x="1" y="1"/>
                  </a:lnTo>
                  <a:cubicBezTo>
                    <a:pt x="4" y="11"/>
                    <a:pt x="8" y="22"/>
                    <a:pt x="15" y="32"/>
                  </a:cubicBezTo>
                  <a:lnTo>
                    <a:pt x="8" y="1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7" name="Google Shape;7544;p64">
              <a:extLst>
                <a:ext uri="{FF2B5EF4-FFF2-40B4-BE49-F238E27FC236}">
                  <a16:creationId xmlns:a16="http://schemas.microsoft.com/office/drawing/2014/main" id="{21144C22-D4F0-BE96-E555-936CEFF5745B}"/>
                </a:ext>
              </a:extLst>
            </p:cNvPr>
            <p:cNvSpPr/>
            <p:nvPr/>
          </p:nvSpPr>
          <p:spPr>
            <a:xfrm>
              <a:off x="221166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8" name="Google Shape;7545;p64">
              <a:extLst>
                <a:ext uri="{FF2B5EF4-FFF2-40B4-BE49-F238E27FC236}">
                  <a16:creationId xmlns:a16="http://schemas.microsoft.com/office/drawing/2014/main" id="{F1C2EF37-AEB8-7984-ACEA-D8EE5911CA49}"/>
                </a:ext>
              </a:extLst>
            </p:cNvPr>
            <p:cNvSpPr/>
            <p:nvPr/>
          </p:nvSpPr>
          <p:spPr>
            <a:xfrm>
              <a:off x="2211898" y="1583356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9" name="Google Shape;7546;p64">
              <a:extLst>
                <a:ext uri="{FF2B5EF4-FFF2-40B4-BE49-F238E27FC236}">
                  <a16:creationId xmlns:a16="http://schemas.microsoft.com/office/drawing/2014/main" id="{485CFD5C-2C3F-1F02-DD8D-2C77C719BE6E}"/>
                </a:ext>
              </a:extLst>
            </p:cNvPr>
            <p:cNvSpPr/>
            <p:nvPr/>
          </p:nvSpPr>
          <p:spPr>
            <a:xfrm>
              <a:off x="2211382" y="15833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0" name="Google Shape;7547;p64">
              <a:extLst>
                <a:ext uri="{FF2B5EF4-FFF2-40B4-BE49-F238E27FC236}">
                  <a16:creationId xmlns:a16="http://schemas.microsoft.com/office/drawing/2014/main" id="{5942F075-9318-E288-B702-580C07F11FDA}"/>
                </a:ext>
              </a:extLst>
            </p:cNvPr>
            <p:cNvSpPr/>
            <p:nvPr/>
          </p:nvSpPr>
          <p:spPr>
            <a:xfrm>
              <a:off x="2211477" y="158330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1" name="Google Shape;7548;p64">
              <a:extLst>
                <a:ext uri="{FF2B5EF4-FFF2-40B4-BE49-F238E27FC236}">
                  <a16:creationId xmlns:a16="http://schemas.microsoft.com/office/drawing/2014/main" id="{5E9B73CA-F3A4-F825-4E69-8ABF73666BE9}"/>
                </a:ext>
              </a:extLst>
            </p:cNvPr>
            <p:cNvSpPr/>
            <p:nvPr/>
          </p:nvSpPr>
          <p:spPr>
            <a:xfrm>
              <a:off x="2212753" y="158373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2" name="Google Shape;7549;p64">
              <a:extLst>
                <a:ext uri="{FF2B5EF4-FFF2-40B4-BE49-F238E27FC236}">
                  <a16:creationId xmlns:a16="http://schemas.microsoft.com/office/drawing/2014/main" id="{8A6A16BF-7D5C-2C9B-6D57-4FD4676321B3}"/>
                </a:ext>
              </a:extLst>
            </p:cNvPr>
            <p:cNvSpPr/>
            <p:nvPr/>
          </p:nvSpPr>
          <p:spPr>
            <a:xfrm>
              <a:off x="2212427" y="1583546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3" name="Google Shape;7550;p64">
              <a:extLst>
                <a:ext uri="{FF2B5EF4-FFF2-40B4-BE49-F238E27FC236}">
                  <a16:creationId xmlns:a16="http://schemas.microsoft.com/office/drawing/2014/main" id="{7866E567-30F5-4EA4-D511-2BB98CCA5487}"/>
                </a:ext>
              </a:extLst>
            </p:cNvPr>
            <p:cNvSpPr/>
            <p:nvPr/>
          </p:nvSpPr>
          <p:spPr>
            <a:xfrm>
              <a:off x="2212142" y="158345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4" name="Google Shape;7551;p64">
              <a:extLst>
                <a:ext uri="{FF2B5EF4-FFF2-40B4-BE49-F238E27FC236}">
                  <a16:creationId xmlns:a16="http://schemas.microsoft.com/office/drawing/2014/main" id="{60E62570-2E67-5F51-7803-B31502F68E30}"/>
                </a:ext>
              </a:extLst>
            </p:cNvPr>
            <p:cNvSpPr/>
            <p:nvPr/>
          </p:nvSpPr>
          <p:spPr>
            <a:xfrm>
              <a:off x="2213093" y="1583872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"/>
                  </a:moveTo>
                  <a:lnTo>
                    <a:pt x="0" y="1"/>
                  </a:lnTo>
                  <a:cubicBezTo>
                    <a:pt x="7" y="8"/>
                    <a:pt x="14" y="11"/>
                    <a:pt x="25" y="18"/>
                  </a:cubicBezTo>
                  <a:cubicBezTo>
                    <a:pt x="14" y="11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5" name="Google Shape;7552;p64">
              <a:extLst>
                <a:ext uri="{FF2B5EF4-FFF2-40B4-BE49-F238E27FC236}">
                  <a16:creationId xmlns:a16="http://schemas.microsoft.com/office/drawing/2014/main" id="{16B39A6A-775F-3809-A36C-46FDBA7AEC50}"/>
                </a:ext>
              </a:extLst>
            </p:cNvPr>
            <p:cNvSpPr/>
            <p:nvPr/>
          </p:nvSpPr>
          <p:spPr>
            <a:xfrm>
              <a:off x="2213853" y="1584972"/>
              <a:ext cx="394" cy="4195"/>
            </a:xfrm>
            <a:custGeom>
              <a:avLst/>
              <a:gdLst/>
              <a:ahLst/>
              <a:cxnLst/>
              <a:rect l="l" t="t" r="r" b="b"/>
              <a:pathLst>
                <a:path w="29" h="309" extrusionOk="0">
                  <a:moveTo>
                    <a:pt x="0" y="308"/>
                  </a:moveTo>
                  <a:lnTo>
                    <a:pt x="0" y="308"/>
                  </a:lnTo>
                  <a:cubicBezTo>
                    <a:pt x="4" y="245"/>
                    <a:pt x="7" y="182"/>
                    <a:pt x="18" y="119"/>
                  </a:cubicBezTo>
                  <a:cubicBezTo>
                    <a:pt x="21" y="70"/>
                    <a:pt x="28" y="25"/>
                    <a:pt x="28" y="0"/>
                  </a:cubicBezTo>
                  <a:cubicBezTo>
                    <a:pt x="28" y="25"/>
                    <a:pt x="21" y="70"/>
                    <a:pt x="18" y="119"/>
                  </a:cubicBezTo>
                  <a:cubicBezTo>
                    <a:pt x="7" y="182"/>
                    <a:pt x="4" y="245"/>
                    <a:pt x="0" y="30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6" name="Google Shape;7553;p64">
              <a:extLst>
                <a:ext uri="{FF2B5EF4-FFF2-40B4-BE49-F238E27FC236}">
                  <a16:creationId xmlns:a16="http://schemas.microsoft.com/office/drawing/2014/main" id="{67162BE3-DD96-6C40-4AAF-B08BAE316416}"/>
                </a:ext>
              </a:extLst>
            </p:cNvPr>
            <p:cNvSpPr/>
            <p:nvPr/>
          </p:nvSpPr>
          <p:spPr>
            <a:xfrm>
              <a:off x="2204009" y="1581143"/>
              <a:ext cx="774" cy="27"/>
            </a:xfrm>
            <a:custGeom>
              <a:avLst/>
              <a:gdLst/>
              <a:ahLst/>
              <a:cxnLst/>
              <a:rect l="l" t="t" r="r" b="b"/>
              <a:pathLst>
                <a:path w="57" h="2" extrusionOk="0">
                  <a:moveTo>
                    <a:pt x="38" y="0"/>
                  </a:moveTo>
                  <a:cubicBezTo>
                    <a:pt x="25" y="0"/>
                    <a:pt x="12" y="2"/>
                    <a:pt x="1" y="2"/>
                  </a:cubicBezTo>
                  <a:lnTo>
                    <a:pt x="57" y="2"/>
                  </a:lnTo>
                  <a:cubicBezTo>
                    <a:pt x="51" y="1"/>
                    <a:pt x="45" y="0"/>
                    <a:pt x="3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7" name="Google Shape;7554;p64">
              <a:extLst>
                <a:ext uri="{FF2B5EF4-FFF2-40B4-BE49-F238E27FC236}">
                  <a16:creationId xmlns:a16="http://schemas.microsoft.com/office/drawing/2014/main" id="{5913F4E7-B1D9-B913-E0E7-A5AA74A52975}"/>
                </a:ext>
              </a:extLst>
            </p:cNvPr>
            <p:cNvSpPr/>
            <p:nvPr/>
          </p:nvSpPr>
          <p:spPr>
            <a:xfrm>
              <a:off x="2205815" y="1581360"/>
              <a:ext cx="5485" cy="2172"/>
            </a:xfrm>
            <a:custGeom>
              <a:avLst/>
              <a:gdLst/>
              <a:ahLst/>
              <a:cxnLst/>
              <a:rect l="l" t="t" r="r" b="b"/>
              <a:pathLst>
                <a:path w="404" h="160" extrusionOk="0">
                  <a:moveTo>
                    <a:pt x="1" y="0"/>
                  </a:moveTo>
                  <a:cubicBezTo>
                    <a:pt x="61" y="83"/>
                    <a:pt x="217" y="159"/>
                    <a:pt x="333" y="159"/>
                  </a:cubicBezTo>
                  <a:cubicBezTo>
                    <a:pt x="333" y="159"/>
                    <a:pt x="334" y="159"/>
                    <a:pt x="334" y="159"/>
                  </a:cubicBezTo>
                  <a:lnTo>
                    <a:pt x="334" y="159"/>
                  </a:lnTo>
                  <a:cubicBezTo>
                    <a:pt x="334" y="159"/>
                    <a:pt x="334" y="159"/>
                    <a:pt x="334" y="159"/>
                  </a:cubicBezTo>
                  <a:cubicBezTo>
                    <a:pt x="360" y="159"/>
                    <a:pt x="383" y="155"/>
                    <a:pt x="403" y="147"/>
                  </a:cubicBezTo>
                  <a:lnTo>
                    <a:pt x="403" y="147"/>
                  </a:lnTo>
                  <a:cubicBezTo>
                    <a:pt x="383" y="155"/>
                    <a:pt x="359" y="159"/>
                    <a:pt x="334" y="159"/>
                  </a:cubicBezTo>
                  <a:lnTo>
                    <a:pt x="334" y="159"/>
                  </a:lnTo>
                  <a:cubicBezTo>
                    <a:pt x="219" y="159"/>
                    <a:pt x="61" y="83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8" name="Google Shape;7555;p64">
              <a:extLst>
                <a:ext uri="{FF2B5EF4-FFF2-40B4-BE49-F238E27FC236}">
                  <a16:creationId xmlns:a16="http://schemas.microsoft.com/office/drawing/2014/main" id="{FAEE9A72-24E6-AB20-118D-BBCAD4975693}"/>
                </a:ext>
              </a:extLst>
            </p:cNvPr>
            <p:cNvSpPr/>
            <p:nvPr/>
          </p:nvSpPr>
          <p:spPr>
            <a:xfrm>
              <a:off x="2204824" y="158111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9" name="Google Shape;7556;p64">
              <a:extLst>
                <a:ext uri="{FF2B5EF4-FFF2-40B4-BE49-F238E27FC236}">
                  <a16:creationId xmlns:a16="http://schemas.microsoft.com/office/drawing/2014/main" id="{7218AD06-09E8-475D-934F-C7A55D5965C2}"/>
                </a:ext>
              </a:extLst>
            </p:cNvPr>
            <p:cNvSpPr/>
            <p:nvPr/>
          </p:nvSpPr>
          <p:spPr>
            <a:xfrm>
              <a:off x="2205720" y="1581265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0" name="Google Shape;7557;p64">
              <a:extLst>
                <a:ext uri="{FF2B5EF4-FFF2-40B4-BE49-F238E27FC236}">
                  <a16:creationId xmlns:a16="http://schemas.microsoft.com/office/drawing/2014/main" id="{E1F290DF-96B8-0BE5-BA9D-DD22987E3FBF}"/>
                </a:ext>
              </a:extLst>
            </p:cNvPr>
            <p:cNvSpPr/>
            <p:nvPr/>
          </p:nvSpPr>
          <p:spPr>
            <a:xfrm>
              <a:off x="2205530" y="1581211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1" name="Google Shape;7558;p64">
              <a:extLst>
                <a:ext uri="{FF2B5EF4-FFF2-40B4-BE49-F238E27FC236}">
                  <a16:creationId xmlns:a16="http://schemas.microsoft.com/office/drawing/2014/main" id="{9EEF476D-874F-BE68-F5AF-316CA4FE74FD}"/>
                </a:ext>
              </a:extLst>
            </p:cNvPr>
            <p:cNvSpPr/>
            <p:nvPr/>
          </p:nvSpPr>
          <p:spPr>
            <a:xfrm>
              <a:off x="2205055" y="1581156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2" name="Google Shape;7559;p64">
              <a:extLst>
                <a:ext uri="{FF2B5EF4-FFF2-40B4-BE49-F238E27FC236}">
                  <a16:creationId xmlns:a16="http://schemas.microsoft.com/office/drawing/2014/main" id="{D59110EF-2866-2F99-514D-3C66FBC173C0}"/>
                </a:ext>
              </a:extLst>
            </p:cNvPr>
            <p:cNvSpPr/>
            <p:nvPr/>
          </p:nvSpPr>
          <p:spPr>
            <a:xfrm>
              <a:off x="2205299" y="1581156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3" name="Google Shape;7560;p64">
              <a:extLst>
                <a:ext uri="{FF2B5EF4-FFF2-40B4-BE49-F238E27FC236}">
                  <a16:creationId xmlns:a16="http://schemas.microsoft.com/office/drawing/2014/main" id="{C30FDF88-C3DC-CCD2-B58B-195095A7239C}"/>
                </a:ext>
              </a:extLst>
            </p:cNvPr>
            <p:cNvSpPr/>
            <p:nvPr/>
          </p:nvSpPr>
          <p:spPr>
            <a:xfrm>
              <a:off x="2213894" y="15891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4" name="Google Shape;7561;p64">
              <a:extLst>
                <a:ext uri="{FF2B5EF4-FFF2-40B4-BE49-F238E27FC236}">
                  <a16:creationId xmlns:a16="http://schemas.microsoft.com/office/drawing/2014/main" id="{584434FC-7FA8-4782-3117-1D41A19894AE}"/>
                </a:ext>
              </a:extLst>
            </p:cNvPr>
            <p:cNvSpPr/>
            <p:nvPr/>
          </p:nvSpPr>
          <p:spPr>
            <a:xfrm>
              <a:off x="2269276" y="1477017"/>
              <a:ext cx="1629" cy="1303"/>
            </a:xfrm>
            <a:custGeom>
              <a:avLst/>
              <a:gdLst/>
              <a:ahLst/>
              <a:cxnLst/>
              <a:rect l="l" t="t" r="r" b="b"/>
              <a:pathLst>
                <a:path w="120" h="96" extrusionOk="0">
                  <a:moveTo>
                    <a:pt x="0" y="1"/>
                  </a:moveTo>
                  <a:cubicBezTo>
                    <a:pt x="32" y="43"/>
                    <a:pt x="74" y="74"/>
                    <a:pt x="119" y="95"/>
                  </a:cubicBezTo>
                  <a:cubicBezTo>
                    <a:pt x="74" y="74"/>
                    <a:pt x="32" y="43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5" name="Google Shape;7562;p64">
              <a:extLst>
                <a:ext uri="{FF2B5EF4-FFF2-40B4-BE49-F238E27FC236}">
                  <a16:creationId xmlns:a16="http://schemas.microsoft.com/office/drawing/2014/main" id="{A6ED0DF3-1C9D-B640-EBDF-6A8CB231823A}"/>
                </a:ext>
              </a:extLst>
            </p:cNvPr>
            <p:cNvSpPr/>
            <p:nvPr/>
          </p:nvSpPr>
          <p:spPr>
            <a:xfrm>
              <a:off x="2260193" y="1430147"/>
              <a:ext cx="3394" cy="1398"/>
            </a:xfrm>
            <a:custGeom>
              <a:avLst/>
              <a:gdLst/>
              <a:ahLst/>
              <a:cxnLst/>
              <a:rect l="l" t="t" r="r" b="b"/>
              <a:pathLst>
                <a:path w="250" h="103" extrusionOk="0">
                  <a:moveTo>
                    <a:pt x="1" y="1"/>
                  </a:moveTo>
                  <a:cubicBezTo>
                    <a:pt x="46" y="39"/>
                    <a:pt x="102" y="67"/>
                    <a:pt x="162" y="74"/>
                  </a:cubicBezTo>
                  <a:cubicBezTo>
                    <a:pt x="193" y="81"/>
                    <a:pt x="221" y="92"/>
                    <a:pt x="249" y="102"/>
                  </a:cubicBezTo>
                  <a:cubicBezTo>
                    <a:pt x="221" y="92"/>
                    <a:pt x="193" y="81"/>
                    <a:pt x="162" y="74"/>
                  </a:cubicBezTo>
                  <a:cubicBezTo>
                    <a:pt x="102" y="67"/>
                    <a:pt x="46" y="3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6" name="Google Shape;7563;p64">
              <a:extLst>
                <a:ext uri="{FF2B5EF4-FFF2-40B4-BE49-F238E27FC236}">
                  <a16:creationId xmlns:a16="http://schemas.microsoft.com/office/drawing/2014/main" id="{3F31A8AD-629A-2FD4-321C-A611029C042C}"/>
                </a:ext>
              </a:extLst>
            </p:cNvPr>
            <p:cNvSpPr/>
            <p:nvPr/>
          </p:nvSpPr>
          <p:spPr>
            <a:xfrm>
              <a:off x="2262664" y="1417466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99" y="0"/>
                  </a:moveTo>
                  <a:lnTo>
                    <a:pt x="81" y="18"/>
                  </a:lnTo>
                  <a:cubicBezTo>
                    <a:pt x="46" y="53"/>
                    <a:pt x="18" y="98"/>
                    <a:pt x="1" y="147"/>
                  </a:cubicBezTo>
                  <a:cubicBezTo>
                    <a:pt x="22" y="91"/>
                    <a:pt x="57" y="42"/>
                    <a:pt x="9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7" name="Google Shape;7564;p64">
              <a:extLst>
                <a:ext uri="{FF2B5EF4-FFF2-40B4-BE49-F238E27FC236}">
                  <a16:creationId xmlns:a16="http://schemas.microsoft.com/office/drawing/2014/main" id="{412F16EE-4148-CBA7-7D38-9CAB5C89771A}"/>
                </a:ext>
              </a:extLst>
            </p:cNvPr>
            <p:cNvSpPr/>
            <p:nvPr/>
          </p:nvSpPr>
          <p:spPr>
            <a:xfrm>
              <a:off x="2263520" y="1448640"/>
              <a:ext cx="6246" cy="10047"/>
            </a:xfrm>
            <a:custGeom>
              <a:avLst/>
              <a:gdLst/>
              <a:ahLst/>
              <a:cxnLst/>
              <a:rect l="l" t="t" r="r" b="b"/>
              <a:pathLst>
                <a:path w="460" h="740" extrusionOk="0">
                  <a:moveTo>
                    <a:pt x="1" y="1"/>
                  </a:moveTo>
                  <a:lnTo>
                    <a:pt x="1" y="1"/>
                  </a:lnTo>
                  <a:cubicBezTo>
                    <a:pt x="113" y="169"/>
                    <a:pt x="316" y="477"/>
                    <a:pt x="459" y="739"/>
                  </a:cubicBezTo>
                  <a:cubicBezTo>
                    <a:pt x="316" y="477"/>
                    <a:pt x="113" y="16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8" name="Google Shape;7565;p64">
              <a:extLst>
                <a:ext uri="{FF2B5EF4-FFF2-40B4-BE49-F238E27FC236}">
                  <a16:creationId xmlns:a16="http://schemas.microsoft.com/office/drawing/2014/main" id="{860BD9BD-966E-9FCB-69DF-6E66C4268024}"/>
                </a:ext>
              </a:extLst>
            </p:cNvPr>
            <p:cNvSpPr/>
            <p:nvPr/>
          </p:nvSpPr>
          <p:spPr>
            <a:xfrm>
              <a:off x="2269127" y="1476542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cubicBezTo>
                    <a:pt x="1" y="8"/>
                    <a:pt x="1" y="4"/>
                    <a:pt x="1" y="1"/>
                  </a:cubicBezTo>
                  <a:cubicBezTo>
                    <a:pt x="1" y="4"/>
                    <a:pt x="1" y="8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9" name="Google Shape;7566;p64">
              <a:extLst>
                <a:ext uri="{FF2B5EF4-FFF2-40B4-BE49-F238E27FC236}">
                  <a16:creationId xmlns:a16="http://schemas.microsoft.com/office/drawing/2014/main" id="{AA5D38D5-6437-A6CB-0A40-202C91011F24}"/>
                </a:ext>
              </a:extLst>
            </p:cNvPr>
            <p:cNvSpPr/>
            <p:nvPr/>
          </p:nvSpPr>
          <p:spPr>
            <a:xfrm>
              <a:off x="2257002" y="1519610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0" name="Google Shape;7567;p64">
              <a:extLst>
                <a:ext uri="{FF2B5EF4-FFF2-40B4-BE49-F238E27FC236}">
                  <a16:creationId xmlns:a16="http://schemas.microsoft.com/office/drawing/2014/main" id="{E5732139-B91B-6EF3-C948-D2971F347893}"/>
                </a:ext>
              </a:extLst>
            </p:cNvPr>
            <p:cNvSpPr/>
            <p:nvPr/>
          </p:nvSpPr>
          <p:spPr>
            <a:xfrm>
              <a:off x="2271082" y="1504593"/>
              <a:ext cx="3476" cy="2716"/>
            </a:xfrm>
            <a:custGeom>
              <a:avLst/>
              <a:gdLst/>
              <a:ahLst/>
              <a:cxnLst/>
              <a:rect l="l" t="t" r="r" b="b"/>
              <a:pathLst>
                <a:path w="256" h="200" extrusionOk="0">
                  <a:moveTo>
                    <a:pt x="0" y="200"/>
                  </a:moveTo>
                  <a:cubicBezTo>
                    <a:pt x="81" y="130"/>
                    <a:pt x="168" y="63"/>
                    <a:pt x="256" y="0"/>
                  </a:cubicBezTo>
                  <a:cubicBezTo>
                    <a:pt x="168" y="63"/>
                    <a:pt x="81" y="130"/>
                    <a:pt x="0" y="20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1" name="Google Shape;7568;p64">
              <a:extLst>
                <a:ext uri="{FF2B5EF4-FFF2-40B4-BE49-F238E27FC236}">
                  <a16:creationId xmlns:a16="http://schemas.microsoft.com/office/drawing/2014/main" id="{5DE7D94D-70B0-7CBB-65EC-9D74C6269658}"/>
                </a:ext>
              </a:extLst>
            </p:cNvPr>
            <p:cNvSpPr/>
            <p:nvPr/>
          </p:nvSpPr>
          <p:spPr>
            <a:xfrm>
              <a:off x="2268801" y="1485625"/>
              <a:ext cx="3286" cy="2295"/>
            </a:xfrm>
            <a:custGeom>
              <a:avLst/>
              <a:gdLst/>
              <a:ahLst/>
              <a:cxnLst/>
              <a:rect l="l" t="t" r="r" b="b"/>
              <a:pathLst>
                <a:path w="242" h="169" extrusionOk="0">
                  <a:moveTo>
                    <a:pt x="0" y="0"/>
                  </a:moveTo>
                  <a:cubicBezTo>
                    <a:pt x="25" y="39"/>
                    <a:pt x="154" y="116"/>
                    <a:pt x="242" y="168"/>
                  </a:cubicBezTo>
                  <a:cubicBezTo>
                    <a:pt x="154" y="116"/>
                    <a:pt x="25" y="39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2" name="Google Shape;7569;p64">
              <a:extLst>
                <a:ext uri="{FF2B5EF4-FFF2-40B4-BE49-F238E27FC236}">
                  <a16:creationId xmlns:a16="http://schemas.microsoft.com/office/drawing/2014/main" id="{55C99CB6-A683-8FC1-B8C2-1F99EDDF0B45}"/>
                </a:ext>
              </a:extLst>
            </p:cNvPr>
            <p:cNvSpPr/>
            <p:nvPr/>
          </p:nvSpPr>
          <p:spPr>
            <a:xfrm>
              <a:off x="2257966" y="1513187"/>
              <a:ext cx="8282" cy="5580"/>
            </a:xfrm>
            <a:custGeom>
              <a:avLst/>
              <a:gdLst/>
              <a:ahLst/>
              <a:cxnLst/>
              <a:rect l="l" t="t" r="r" b="b"/>
              <a:pathLst>
                <a:path w="610" h="411" extrusionOk="0">
                  <a:moveTo>
                    <a:pt x="609" y="1"/>
                  </a:moveTo>
                  <a:cubicBezTo>
                    <a:pt x="511" y="74"/>
                    <a:pt x="410" y="141"/>
                    <a:pt x="305" y="204"/>
                  </a:cubicBezTo>
                  <a:cubicBezTo>
                    <a:pt x="196" y="263"/>
                    <a:pt x="95" y="333"/>
                    <a:pt x="0" y="410"/>
                  </a:cubicBezTo>
                  <a:cubicBezTo>
                    <a:pt x="95" y="333"/>
                    <a:pt x="196" y="263"/>
                    <a:pt x="305" y="204"/>
                  </a:cubicBezTo>
                  <a:cubicBezTo>
                    <a:pt x="410" y="141"/>
                    <a:pt x="511" y="74"/>
                    <a:pt x="60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3" name="Google Shape;7570;p64">
              <a:extLst>
                <a:ext uri="{FF2B5EF4-FFF2-40B4-BE49-F238E27FC236}">
                  <a16:creationId xmlns:a16="http://schemas.microsoft.com/office/drawing/2014/main" id="{52837C45-FBE0-007B-D478-A2091B2D131D}"/>
                </a:ext>
              </a:extLst>
            </p:cNvPr>
            <p:cNvSpPr/>
            <p:nvPr/>
          </p:nvSpPr>
          <p:spPr>
            <a:xfrm>
              <a:off x="2256581" y="152012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4" name="Google Shape;7571;p64">
              <a:extLst>
                <a:ext uri="{FF2B5EF4-FFF2-40B4-BE49-F238E27FC236}">
                  <a16:creationId xmlns:a16="http://schemas.microsoft.com/office/drawing/2014/main" id="{1AB720CF-1687-9701-0CB4-03DF8E03686D}"/>
                </a:ext>
              </a:extLst>
            </p:cNvPr>
            <p:cNvSpPr/>
            <p:nvPr/>
          </p:nvSpPr>
          <p:spPr>
            <a:xfrm>
              <a:off x="2274449" y="1489372"/>
              <a:ext cx="6056" cy="6816"/>
            </a:xfrm>
            <a:custGeom>
              <a:avLst/>
              <a:gdLst/>
              <a:ahLst/>
              <a:cxnLst/>
              <a:rect l="l" t="t" r="r" b="b"/>
              <a:pathLst>
                <a:path w="446" h="502" extrusionOk="0">
                  <a:moveTo>
                    <a:pt x="1" y="1"/>
                  </a:moveTo>
                  <a:cubicBezTo>
                    <a:pt x="99" y="60"/>
                    <a:pt x="186" y="130"/>
                    <a:pt x="260" y="214"/>
                  </a:cubicBezTo>
                  <a:cubicBezTo>
                    <a:pt x="372" y="340"/>
                    <a:pt x="424" y="428"/>
                    <a:pt x="445" y="501"/>
                  </a:cubicBezTo>
                  <a:cubicBezTo>
                    <a:pt x="424" y="428"/>
                    <a:pt x="372" y="340"/>
                    <a:pt x="260" y="214"/>
                  </a:cubicBezTo>
                  <a:cubicBezTo>
                    <a:pt x="186" y="130"/>
                    <a:pt x="99" y="60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5" name="Google Shape;7572;p64">
              <a:extLst>
                <a:ext uri="{FF2B5EF4-FFF2-40B4-BE49-F238E27FC236}">
                  <a16:creationId xmlns:a16="http://schemas.microsoft.com/office/drawing/2014/main" id="{CF4DB0EA-5320-D27D-B2BF-DA37BBFB3EA7}"/>
                </a:ext>
              </a:extLst>
            </p:cNvPr>
            <p:cNvSpPr/>
            <p:nvPr/>
          </p:nvSpPr>
          <p:spPr>
            <a:xfrm>
              <a:off x="2275929" y="1499121"/>
              <a:ext cx="4195" cy="4481"/>
            </a:xfrm>
            <a:custGeom>
              <a:avLst/>
              <a:gdLst/>
              <a:ahLst/>
              <a:cxnLst/>
              <a:rect l="l" t="t" r="r" b="b"/>
              <a:pathLst>
                <a:path w="309" h="330" extrusionOk="0">
                  <a:moveTo>
                    <a:pt x="308" y="1"/>
                  </a:moveTo>
                  <a:lnTo>
                    <a:pt x="308" y="1"/>
                  </a:lnTo>
                  <a:cubicBezTo>
                    <a:pt x="263" y="120"/>
                    <a:pt x="144" y="225"/>
                    <a:pt x="0" y="330"/>
                  </a:cubicBezTo>
                  <a:cubicBezTo>
                    <a:pt x="144" y="225"/>
                    <a:pt x="266" y="120"/>
                    <a:pt x="30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6" name="Google Shape;7573;p64">
              <a:extLst>
                <a:ext uri="{FF2B5EF4-FFF2-40B4-BE49-F238E27FC236}">
                  <a16:creationId xmlns:a16="http://schemas.microsoft.com/office/drawing/2014/main" id="{E3359187-C614-1D91-4CEA-2695520DE9FB}"/>
                </a:ext>
              </a:extLst>
            </p:cNvPr>
            <p:cNvSpPr/>
            <p:nvPr/>
          </p:nvSpPr>
          <p:spPr>
            <a:xfrm>
              <a:off x="2249874" y="1554544"/>
              <a:ext cx="258" cy="1059"/>
            </a:xfrm>
            <a:custGeom>
              <a:avLst/>
              <a:gdLst/>
              <a:ahLst/>
              <a:cxnLst/>
              <a:rect l="l" t="t" r="r" b="b"/>
              <a:pathLst>
                <a:path w="19" h="78" extrusionOk="0">
                  <a:moveTo>
                    <a:pt x="18" y="1"/>
                  </a:moveTo>
                  <a:cubicBezTo>
                    <a:pt x="16" y="2"/>
                    <a:pt x="14" y="5"/>
                    <a:pt x="13" y="7"/>
                  </a:cubicBezTo>
                  <a:lnTo>
                    <a:pt x="13" y="7"/>
                  </a:lnTo>
                  <a:cubicBezTo>
                    <a:pt x="14" y="5"/>
                    <a:pt x="16" y="3"/>
                    <a:pt x="18" y="1"/>
                  </a:cubicBezTo>
                  <a:close/>
                  <a:moveTo>
                    <a:pt x="13" y="7"/>
                  </a:moveTo>
                  <a:lnTo>
                    <a:pt x="13" y="7"/>
                  </a:lnTo>
                  <a:cubicBezTo>
                    <a:pt x="8" y="13"/>
                    <a:pt x="4" y="21"/>
                    <a:pt x="4" y="29"/>
                  </a:cubicBezTo>
                  <a:cubicBezTo>
                    <a:pt x="4" y="39"/>
                    <a:pt x="8" y="50"/>
                    <a:pt x="11" y="60"/>
                  </a:cubicBezTo>
                  <a:lnTo>
                    <a:pt x="18" y="78"/>
                  </a:lnTo>
                  <a:cubicBezTo>
                    <a:pt x="12" y="62"/>
                    <a:pt x="0" y="27"/>
                    <a:pt x="13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7" name="Google Shape;7574;p64">
              <a:extLst>
                <a:ext uri="{FF2B5EF4-FFF2-40B4-BE49-F238E27FC236}">
                  <a16:creationId xmlns:a16="http://schemas.microsoft.com/office/drawing/2014/main" id="{3AE1FC59-DAE4-77F9-D2C8-6514A20203E4}"/>
                </a:ext>
              </a:extLst>
            </p:cNvPr>
            <p:cNvSpPr/>
            <p:nvPr/>
          </p:nvSpPr>
          <p:spPr>
            <a:xfrm>
              <a:off x="2251965" y="1550498"/>
              <a:ext cx="774" cy="1724"/>
            </a:xfrm>
            <a:custGeom>
              <a:avLst/>
              <a:gdLst/>
              <a:ahLst/>
              <a:cxnLst/>
              <a:rect l="l" t="t" r="r" b="b"/>
              <a:pathLst>
                <a:path w="57" h="127" extrusionOk="0">
                  <a:moveTo>
                    <a:pt x="1" y="1"/>
                  </a:moveTo>
                  <a:lnTo>
                    <a:pt x="22" y="29"/>
                  </a:lnTo>
                  <a:cubicBezTo>
                    <a:pt x="43" y="57"/>
                    <a:pt x="57" y="88"/>
                    <a:pt x="57" y="127"/>
                  </a:cubicBezTo>
                  <a:cubicBezTo>
                    <a:pt x="57" y="88"/>
                    <a:pt x="43" y="57"/>
                    <a:pt x="22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8" name="Google Shape;7575;p64">
              <a:extLst>
                <a:ext uri="{FF2B5EF4-FFF2-40B4-BE49-F238E27FC236}">
                  <a16:creationId xmlns:a16="http://schemas.microsoft.com/office/drawing/2014/main" id="{64341C3C-9DC1-59AC-1937-2A8604FAA61F}"/>
                </a:ext>
              </a:extLst>
            </p:cNvPr>
            <p:cNvSpPr/>
            <p:nvPr/>
          </p:nvSpPr>
          <p:spPr>
            <a:xfrm>
              <a:off x="2254871" y="153614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9" name="Google Shape;7576;p64">
              <a:extLst>
                <a:ext uri="{FF2B5EF4-FFF2-40B4-BE49-F238E27FC236}">
                  <a16:creationId xmlns:a16="http://schemas.microsoft.com/office/drawing/2014/main" id="{B8B9DB81-6EAD-3F31-8D58-45F4BE1EF8AD}"/>
                </a:ext>
              </a:extLst>
            </p:cNvPr>
            <p:cNvSpPr/>
            <p:nvPr/>
          </p:nvSpPr>
          <p:spPr>
            <a:xfrm>
              <a:off x="2254681" y="1537002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0" name="Google Shape;7577;p64">
              <a:extLst>
                <a:ext uri="{FF2B5EF4-FFF2-40B4-BE49-F238E27FC236}">
                  <a16:creationId xmlns:a16="http://schemas.microsoft.com/office/drawing/2014/main" id="{A1518433-EDA0-363C-E461-4966E8E98EC1}"/>
                </a:ext>
              </a:extLst>
            </p:cNvPr>
            <p:cNvSpPr/>
            <p:nvPr/>
          </p:nvSpPr>
          <p:spPr>
            <a:xfrm>
              <a:off x="2253961" y="1538048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1" name="Google Shape;7578;p64">
              <a:extLst>
                <a:ext uri="{FF2B5EF4-FFF2-40B4-BE49-F238E27FC236}">
                  <a16:creationId xmlns:a16="http://schemas.microsoft.com/office/drawing/2014/main" id="{4CBB389E-D952-1AF5-6C22-F56B29ED828B}"/>
                </a:ext>
              </a:extLst>
            </p:cNvPr>
            <p:cNvSpPr/>
            <p:nvPr/>
          </p:nvSpPr>
          <p:spPr>
            <a:xfrm>
              <a:off x="2254110" y="1537858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2" name="Google Shape;7579;p64">
              <a:extLst>
                <a:ext uri="{FF2B5EF4-FFF2-40B4-BE49-F238E27FC236}">
                  <a16:creationId xmlns:a16="http://schemas.microsoft.com/office/drawing/2014/main" id="{742BFE68-DA9D-B5DE-98ED-AB3464DB7EAD}"/>
                </a:ext>
              </a:extLst>
            </p:cNvPr>
            <p:cNvSpPr/>
            <p:nvPr/>
          </p:nvSpPr>
          <p:spPr>
            <a:xfrm>
              <a:off x="2253825" y="153823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3" name="Google Shape;7580;p64">
              <a:extLst>
                <a:ext uri="{FF2B5EF4-FFF2-40B4-BE49-F238E27FC236}">
                  <a16:creationId xmlns:a16="http://schemas.microsoft.com/office/drawing/2014/main" id="{12D90774-288F-4995-5159-82E2CD4D611A}"/>
                </a:ext>
              </a:extLst>
            </p:cNvPr>
            <p:cNvSpPr/>
            <p:nvPr/>
          </p:nvSpPr>
          <p:spPr>
            <a:xfrm>
              <a:off x="2250974" y="1540519"/>
              <a:ext cx="1249" cy="1629"/>
            </a:xfrm>
            <a:custGeom>
              <a:avLst/>
              <a:gdLst/>
              <a:ahLst/>
              <a:cxnLst/>
              <a:rect l="l" t="t" r="r" b="b"/>
              <a:pathLst>
                <a:path w="92" h="120" extrusionOk="0">
                  <a:moveTo>
                    <a:pt x="0" y="120"/>
                  </a:moveTo>
                  <a:cubicBezTo>
                    <a:pt x="35" y="85"/>
                    <a:pt x="67" y="43"/>
                    <a:pt x="91" y="1"/>
                  </a:cubicBezTo>
                  <a:cubicBezTo>
                    <a:pt x="67" y="43"/>
                    <a:pt x="35" y="85"/>
                    <a:pt x="0" y="12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4" name="Google Shape;7581;p64">
              <a:extLst>
                <a:ext uri="{FF2B5EF4-FFF2-40B4-BE49-F238E27FC236}">
                  <a16:creationId xmlns:a16="http://schemas.microsoft.com/office/drawing/2014/main" id="{5A501823-C302-38CC-A10E-B3F221ACBF5E}"/>
                </a:ext>
              </a:extLst>
            </p:cNvPr>
            <p:cNvSpPr/>
            <p:nvPr/>
          </p:nvSpPr>
          <p:spPr>
            <a:xfrm>
              <a:off x="2252875" y="1538428"/>
              <a:ext cx="774" cy="923"/>
            </a:xfrm>
            <a:custGeom>
              <a:avLst/>
              <a:gdLst/>
              <a:ahLst/>
              <a:cxnLst/>
              <a:rect l="l" t="t" r="r" b="b"/>
              <a:pathLst>
                <a:path w="57" h="68" extrusionOk="0">
                  <a:moveTo>
                    <a:pt x="0" y="67"/>
                  </a:moveTo>
                  <a:cubicBezTo>
                    <a:pt x="18" y="43"/>
                    <a:pt x="35" y="22"/>
                    <a:pt x="56" y="1"/>
                  </a:cubicBezTo>
                  <a:cubicBezTo>
                    <a:pt x="35" y="22"/>
                    <a:pt x="18" y="43"/>
                    <a:pt x="0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5" name="Google Shape;7582;p64">
              <a:extLst>
                <a:ext uri="{FF2B5EF4-FFF2-40B4-BE49-F238E27FC236}">
                  <a16:creationId xmlns:a16="http://schemas.microsoft.com/office/drawing/2014/main" id="{67F051C5-E178-56A9-654E-BE099E6D82E0}"/>
                </a:ext>
              </a:extLst>
            </p:cNvPr>
            <p:cNvSpPr/>
            <p:nvPr/>
          </p:nvSpPr>
          <p:spPr>
            <a:xfrm>
              <a:off x="2254300" y="1537668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0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6" name="Google Shape;7583;p64">
              <a:extLst>
                <a:ext uri="{FF2B5EF4-FFF2-40B4-BE49-F238E27FC236}">
                  <a16:creationId xmlns:a16="http://schemas.microsoft.com/office/drawing/2014/main" id="{F25A7417-F3F6-9490-842D-BD4B5DB164C0}"/>
                </a:ext>
              </a:extLst>
            </p:cNvPr>
            <p:cNvSpPr/>
            <p:nvPr/>
          </p:nvSpPr>
          <p:spPr>
            <a:xfrm>
              <a:off x="2252820" y="1539378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7" name="Google Shape;7584;p64">
              <a:extLst>
                <a:ext uri="{FF2B5EF4-FFF2-40B4-BE49-F238E27FC236}">
                  <a16:creationId xmlns:a16="http://schemas.microsoft.com/office/drawing/2014/main" id="{C421A66F-0E48-3863-2F2B-503908BFD38B}"/>
                </a:ext>
              </a:extLst>
            </p:cNvPr>
            <p:cNvSpPr/>
            <p:nvPr/>
          </p:nvSpPr>
          <p:spPr>
            <a:xfrm>
              <a:off x="2254531" y="1534721"/>
              <a:ext cx="68" cy="163"/>
            </a:xfrm>
            <a:custGeom>
              <a:avLst/>
              <a:gdLst/>
              <a:ahLst/>
              <a:cxnLst/>
              <a:rect l="l" t="t" r="r" b="b"/>
              <a:pathLst>
                <a:path w="5" h="12" extrusionOk="0">
                  <a:moveTo>
                    <a:pt x="4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8" name="Google Shape;7585;p64">
              <a:extLst>
                <a:ext uri="{FF2B5EF4-FFF2-40B4-BE49-F238E27FC236}">
                  <a16:creationId xmlns:a16="http://schemas.microsoft.com/office/drawing/2014/main" id="{4AFCDC62-4097-0072-92CF-55142A8283A7}"/>
                </a:ext>
              </a:extLst>
            </p:cNvPr>
            <p:cNvSpPr/>
            <p:nvPr/>
          </p:nvSpPr>
          <p:spPr>
            <a:xfrm>
              <a:off x="2254776" y="1535427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1" y="2"/>
                    <a:pt x="1" y="2"/>
                    <a:pt x="2" y="3"/>
                  </a:cubicBezTo>
                  <a:lnTo>
                    <a:pt x="2" y="3"/>
                  </a:lnTo>
                  <a:cubicBezTo>
                    <a:pt x="1" y="1"/>
                    <a:pt x="1" y="0"/>
                    <a:pt x="1" y="0"/>
                  </a:cubicBezTo>
                  <a:close/>
                  <a:moveTo>
                    <a:pt x="2" y="3"/>
                  </a:moveTo>
                  <a:lnTo>
                    <a:pt x="2" y="3"/>
                  </a:lnTo>
                  <a:cubicBezTo>
                    <a:pt x="3" y="6"/>
                    <a:pt x="4" y="10"/>
                    <a:pt x="4" y="12"/>
                  </a:cubicBezTo>
                  <a:cubicBezTo>
                    <a:pt x="4" y="9"/>
                    <a:pt x="4" y="6"/>
                    <a:pt x="2" y="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9" name="Google Shape;7586;p64">
              <a:extLst>
                <a:ext uri="{FF2B5EF4-FFF2-40B4-BE49-F238E27FC236}">
                  <a16:creationId xmlns:a16="http://schemas.microsoft.com/office/drawing/2014/main" id="{4E44B321-B828-1BB7-42E5-9000F81AF8CF}"/>
                </a:ext>
              </a:extLst>
            </p:cNvPr>
            <p:cNvSpPr/>
            <p:nvPr/>
          </p:nvSpPr>
          <p:spPr>
            <a:xfrm>
              <a:off x="2254436" y="1537437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0" name="Google Shape;7587;p64">
              <a:extLst>
                <a:ext uri="{FF2B5EF4-FFF2-40B4-BE49-F238E27FC236}">
                  <a16:creationId xmlns:a16="http://schemas.microsoft.com/office/drawing/2014/main" id="{E5065919-9C1A-C96F-7CB4-28A756BAF85C}"/>
                </a:ext>
              </a:extLst>
            </p:cNvPr>
            <p:cNvSpPr/>
            <p:nvPr/>
          </p:nvSpPr>
          <p:spPr>
            <a:xfrm>
              <a:off x="2254871" y="153576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1" name="Google Shape;7588;p64">
              <a:extLst>
                <a:ext uri="{FF2B5EF4-FFF2-40B4-BE49-F238E27FC236}">
                  <a16:creationId xmlns:a16="http://schemas.microsoft.com/office/drawing/2014/main" id="{46D037AE-16AD-AC54-E576-C3D30613C558}"/>
                </a:ext>
              </a:extLst>
            </p:cNvPr>
            <p:cNvSpPr/>
            <p:nvPr/>
          </p:nvSpPr>
          <p:spPr>
            <a:xfrm>
              <a:off x="2254681" y="1535102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2" name="Google Shape;7589;p64">
              <a:extLst>
                <a:ext uri="{FF2B5EF4-FFF2-40B4-BE49-F238E27FC236}">
                  <a16:creationId xmlns:a16="http://schemas.microsoft.com/office/drawing/2014/main" id="{E5EE81C3-46EB-31EA-785F-FEE6D2D649B2}"/>
                </a:ext>
              </a:extLst>
            </p:cNvPr>
            <p:cNvSpPr/>
            <p:nvPr/>
          </p:nvSpPr>
          <p:spPr>
            <a:xfrm>
              <a:off x="2254816" y="15364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1" y="8"/>
                  </a:moveTo>
                  <a:lnTo>
                    <a:pt x="1" y="4"/>
                  </a:lnTo>
                  <a:cubicBezTo>
                    <a:pt x="1" y="1"/>
                    <a:pt x="1" y="8"/>
                    <a:pt x="1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3" name="Google Shape;7590;p64">
              <a:extLst>
                <a:ext uri="{FF2B5EF4-FFF2-40B4-BE49-F238E27FC236}">
                  <a16:creationId xmlns:a16="http://schemas.microsoft.com/office/drawing/2014/main" id="{AB992E26-F746-A986-E3D1-61147DF7B9A7}"/>
                </a:ext>
              </a:extLst>
            </p:cNvPr>
            <p:cNvSpPr/>
            <p:nvPr/>
          </p:nvSpPr>
          <p:spPr>
            <a:xfrm>
              <a:off x="2254531" y="153719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4" name="Google Shape;7591;p64">
              <a:extLst>
                <a:ext uri="{FF2B5EF4-FFF2-40B4-BE49-F238E27FC236}">
                  <a16:creationId xmlns:a16="http://schemas.microsoft.com/office/drawing/2014/main" id="{A27D6B9F-CC12-EBAB-AD02-98DC7B19D53E}"/>
                </a:ext>
              </a:extLst>
            </p:cNvPr>
            <p:cNvSpPr/>
            <p:nvPr/>
          </p:nvSpPr>
          <p:spPr>
            <a:xfrm>
              <a:off x="2254776" y="1536717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5" name="Google Shape;7592;p64">
              <a:extLst>
                <a:ext uri="{FF2B5EF4-FFF2-40B4-BE49-F238E27FC236}">
                  <a16:creationId xmlns:a16="http://schemas.microsoft.com/office/drawing/2014/main" id="{B65349C7-AFD7-750D-7CA0-ADFB392EC5CF}"/>
                </a:ext>
              </a:extLst>
            </p:cNvPr>
            <p:cNvSpPr/>
            <p:nvPr/>
          </p:nvSpPr>
          <p:spPr>
            <a:xfrm>
              <a:off x="2250024" y="1555359"/>
              <a:ext cx="149" cy="489"/>
            </a:xfrm>
            <a:custGeom>
              <a:avLst/>
              <a:gdLst/>
              <a:ahLst/>
              <a:cxnLst/>
              <a:rect l="l" t="t" r="r" b="b"/>
              <a:pathLst>
                <a:path w="11" h="36" extrusionOk="0">
                  <a:moveTo>
                    <a:pt x="0" y="0"/>
                  </a:moveTo>
                  <a:cubicBezTo>
                    <a:pt x="4" y="11"/>
                    <a:pt x="7" y="25"/>
                    <a:pt x="11" y="35"/>
                  </a:cubicBezTo>
                  <a:lnTo>
                    <a:pt x="7" y="18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6" name="Google Shape;7593;p64">
              <a:extLst>
                <a:ext uri="{FF2B5EF4-FFF2-40B4-BE49-F238E27FC236}">
                  <a16:creationId xmlns:a16="http://schemas.microsoft.com/office/drawing/2014/main" id="{CD061CFB-6105-8113-6E16-1F738F7268BB}"/>
                </a:ext>
              </a:extLst>
            </p:cNvPr>
            <p:cNvSpPr/>
            <p:nvPr/>
          </p:nvSpPr>
          <p:spPr>
            <a:xfrm>
              <a:off x="2263995" y="1416040"/>
              <a:ext cx="2770" cy="1439"/>
            </a:xfrm>
            <a:custGeom>
              <a:avLst/>
              <a:gdLst/>
              <a:ahLst/>
              <a:cxnLst/>
              <a:rect l="l" t="t" r="r" b="b"/>
              <a:pathLst>
                <a:path w="204" h="106" extrusionOk="0">
                  <a:moveTo>
                    <a:pt x="204" y="0"/>
                  </a:moveTo>
                  <a:lnTo>
                    <a:pt x="204" y="0"/>
                  </a:lnTo>
                  <a:cubicBezTo>
                    <a:pt x="127" y="7"/>
                    <a:pt x="53" y="46"/>
                    <a:pt x="1" y="105"/>
                  </a:cubicBezTo>
                  <a:lnTo>
                    <a:pt x="18" y="88"/>
                  </a:lnTo>
                  <a:cubicBezTo>
                    <a:pt x="67" y="39"/>
                    <a:pt x="134" y="7"/>
                    <a:pt x="20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7" name="Google Shape;7594;p64">
              <a:extLst>
                <a:ext uri="{FF2B5EF4-FFF2-40B4-BE49-F238E27FC236}">
                  <a16:creationId xmlns:a16="http://schemas.microsoft.com/office/drawing/2014/main" id="{38F7E254-1AE7-F806-4118-A12FD223159D}"/>
                </a:ext>
              </a:extLst>
            </p:cNvPr>
            <p:cNvSpPr/>
            <p:nvPr/>
          </p:nvSpPr>
          <p:spPr>
            <a:xfrm>
              <a:off x="2276350" y="1412130"/>
              <a:ext cx="258" cy="258"/>
            </a:xfrm>
            <a:custGeom>
              <a:avLst/>
              <a:gdLst/>
              <a:ahLst/>
              <a:cxnLst/>
              <a:rect l="l" t="t" r="r" b="b"/>
              <a:pathLst>
                <a:path w="19" h="19" extrusionOk="0">
                  <a:moveTo>
                    <a:pt x="18" y="1"/>
                  </a:moveTo>
                  <a:cubicBezTo>
                    <a:pt x="11" y="8"/>
                    <a:pt x="4" y="15"/>
                    <a:pt x="1" y="19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8" name="Google Shape;7595;p64">
              <a:extLst>
                <a:ext uri="{FF2B5EF4-FFF2-40B4-BE49-F238E27FC236}">
                  <a16:creationId xmlns:a16="http://schemas.microsoft.com/office/drawing/2014/main" id="{323A2E26-B66D-5446-3E2F-893E1CA115CC}"/>
                </a:ext>
              </a:extLst>
            </p:cNvPr>
            <p:cNvSpPr/>
            <p:nvPr/>
          </p:nvSpPr>
          <p:spPr>
            <a:xfrm>
              <a:off x="2276921" y="1411139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35"/>
                  </a:moveTo>
                  <a:cubicBezTo>
                    <a:pt x="8" y="25"/>
                    <a:pt x="15" y="14"/>
                    <a:pt x="18" y="0"/>
                  </a:cubicBezTo>
                  <a:cubicBezTo>
                    <a:pt x="15" y="14"/>
                    <a:pt x="8" y="25"/>
                    <a:pt x="1" y="3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9" name="Google Shape;7596;p64">
              <a:extLst>
                <a:ext uri="{FF2B5EF4-FFF2-40B4-BE49-F238E27FC236}">
                  <a16:creationId xmlns:a16="http://schemas.microsoft.com/office/drawing/2014/main" id="{A1B01742-4FDF-4F72-C8ED-53AA1BE7B087}"/>
                </a:ext>
              </a:extLst>
            </p:cNvPr>
            <p:cNvSpPr/>
            <p:nvPr/>
          </p:nvSpPr>
          <p:spPr>
            <a:xfrm>
              <a:off x="2275875" y="1412470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1" y="22"/>
                  </a:moveTo>
                  <a:cubicBezTo>
                    <a:pt x="11" y="15"/>
                    <a:pt x="18" y="8"/>
                    <a:pt x="29" y="1"/>
                  </a:cubicBezTo>
                  <a:cubicBezTo>
                    <a:pt x="18" y="8"/>
                    <a:pt x="11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0" name="Google Shape;7597;p64">
              <a:extLst>
                <a:ext uri="{FF2B5EF4-FFF2-40B4-BE49-F238E27FC236}">
                  <a16:creationId xmlns:a16="http://schemas.microsoft.com/office/drawing/2014/main" id="{C8F659A6-6939-E3A2-B578-B9E959396379}"/>
                </a:ext>
              </a:extLst>
            </p:cNvPr>
            <p:cNvSpPr/>
            <p:nvPr/>
          </p:nvSpPr>
          <p:spPr>
            <a:xfrm>
              <a:off x="2276690" y="1411709"/>
              <a:ext cx="204" cy="339"/>
            </a:xfrm>
            <a:custGeom>
              <a:avLst/>
              <a:gdLst/>
              <a:ahLst/>
              <a:cxnLst/>
              <a:rect l="l" t="t" r="r" b="b"/>
              <a:pathLst>
                <a:path w="15" h="25" extrusionOk="0">
                  <a:moveTo>
                    <a:pt x="0" y="25"/>
                  </a:moveTo>
                  <a:cubicBezTo>
                    <a:pt x="4" y="14"/>
                    <a:pt x="11" y="7"/>
                    <a:pt x="14" y="0"/>
                  </a:cubicBezTo>
                  <a:cubicBezTo>
                    <a:pt x="11" y="7"/>
                    <a:pt x="4" y="14"/>
                    <a:pt x="0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1" name="Google Shape;7598;p64">
              <a:extLst>
                <a:ext uri="{FF2B5EF4-FFF2-40B4-BE49-F238E27FC236}">
                  <a16:creationId xmlns:a16="http://schemas.microsoft.com/office/drawing/2014/main" id="{DE585BD7-A939-556C-3149-B8F6C1C08F58}"/>
                </a:ext>
              </a:extLst>
            </p:cNvPr>
            <p:cNvSpPr/>
            <p:nvPr/>
          </p:nvSpPr>
          <p:spPr>
            <a:xfrm>
              <a:off x="2263764" y="1417222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32" y="1"/>
                  </a:moveTo>
                  <a:lnTo>
                    <a:pt x="18" y="15"/>
                  </a:lnTo>
                  <a:lnTo>
                    <a:pt x="0" y="32"/>
                  </a:lnTo>
                  <a:cubicBezTo>
                    <a:pt x="14" y="22"/>
                    <a:pt x="21" y="11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2" name="Google Shape;7599;p64">
              <a:extLst>
                <a:ext uri="{FF2B5EF4-FFF2-40B4-BE49-F238E27FC236}">
                  <a16:creationId xmlns:a16="http://schemas.microsoft.com/office/drawing/2014/main" id="{289D9AC2-47BB-6B69-3DD0-FC23525E5ED3}"/>
                </a:ext>
              </a:extLst>
            </p:cNvPr>
            <p:cNvSpPr/>
            <p:nvPr/>
          </p:nvSpPr>
          <p:spPr>
            <a:xfrm>
              <a:off x="3015482" y="1689586"/>
              <a:ext cx="163" cy="1195"/>
            </a:xfrm>
            <a:custGeom>
              <a:avLst/>
              <a:gdLst/>
              <a:ahLst/>
              <a:cxnLst/>
              <a:rect l="l" t="t" r="r" b="b"/>
              <a:pathLst>
                <a:path w="12" h="88" extrusionOk="0">
                  <a:moveTo>
                    <a:pt x="1" y="0"/>
                  </a:moveTo>
                  <a:cubicBezTo>
                    <a:pt x="8" y="28"/>
                    <a:pt x="11" y="56"/>
                    <a:pt x="11" y="88"/>
                  </a:cubicBezTo>
                  <a:cubicBezTo>
                    <a:pt x="11" y="56"/>
                    <a:pt x="8" y="2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3" name="Google Shape;7600;p64">
              <a:extLst>
                <a:ext uri="{FF2B5EF4-FFF2-40B4-BE49-F238E27FC236}">
                  <a16:creationId xmlns:a16="http://schemas.microsoft.com/office/drawing/2014/main" id="{29C81BE3-357D-6AF1-B79A-666D5D3FE8A6}"/>
                </a:ext>
              </a:extLst>
            </p:cNvPr>
            <p:cNvSpPr/>
            <p:nvPr/>
          </p:nvSpPr>
          <p:spPr>
            <a:xfrm>
              <a:off x="2958307" y="1600694"/>
              <a:ext cx="3150" cy="353"/>
            </a:xfrm>
            <a:custGeom>
              <a:avLst/>
              <a:gdLst/>
              <a:ahLst/>
              <a:cxnLst/>
              <a:rect l="l" t="t" r="r" b="b"/>
              <a:pathLst>
                <a:path w="232" h="26" extrusionOk="0">
                  <a:moveTo>
                    <a:pt x="0" y="8"/>
                  </a:moveTo>
                  <a:cubicBezTo>
                    <a:pt x="77" y="1"/>
                    <a:pt x="154" y="8"/>
                    <a:pt x="231" y="25"/>
                  </a:cubicBezTo>
                  <a:cubicBezTo>
                    <a:pt x="154" y="8"/>
                    <a:pt x="77" y="1"/>
                    <a:pt x="0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4" name="Google Shape;7601;p64">
              <a:extLst>
                <a:ext uri="{FF2B5EF4-FFF2-40B4-BE49-F238E27FC236}">
                  <a16:creationId xmlns:a16="http://schemas.microsoft.com/office/drawing/2014/main" id="{B17B4980-67D4-EA2B-69F2-60E41230E7FB}"/>
                </a:ext>
              </a:extLst>
            </p:cNvPr>
            <p:cNvSpPr/>
            <p:nvPr/>
          </p:nvSpPr>
          <p:spPr>
            <a:xfrm>
              <a:off x="2924961" y="1625555"/>
              <a:ext cx="3408" cy="7671"/>
            </a:xfrm>
            <a:custGeom>
              <a:avLst/>
              <a:gdLst/>
              <a:ahLst/>
              <a:cxnLst/>
              <a:rect l="l" t="t" r="r" b="b"/>
              <a:pathLst>
                <a:path w="251" h="565" extrusionOk="0">
                  <a:moveTo>
                    <a:pt x="251" y="1"/>
                  </a:moveTo>
                  <a:cubicBezTo>
                    <a:pt x="230" y="46"/>
                    <a:pt x="191" y="109"/>
                    <a:pt x="156" y="169"/>
                  </a:cubicBezTo>
                  <a:cubicBezTo>
                    <a:pt x="195" y="109"/>
                    <a:pt x="230" y="46"/>
                    <a:pt x="251" y="1"/>
                  </a:cubicBezTo>
                  <a:close/>
                  <a:moveTo>
                    <a:pt x="156" y="170"/>
                  </a:moveTo>
                  <a:lnTo>
                    <a:pt x="156" y="170"/>
                  </a:lnTo>
                  <a:cubicBezTo>
                    <a:pt x="63" y="329"/>
                    <a:pt x="1" y="439"/>
                    <a:pt x="1" y="525"/>
                  </a:cubicBezTo>
                  <a:lnTo>
                    <a:pt x="1" y="525"/>
                  </a:lnTo>
                  <a:cubicBezTo>
                    <a:pt x="1" y="441"/>
                    <a:pt x="63" y="329"/>
                    <a:pt x="156" y="170"/>
                  </a:cubicBezTo>
                  <a:close/>
                  <a:moveTo>
                    <a:pt x="1" y="525"/>
                  </a:moveTo>
                  <a:cubicBezTo>
                    <a:pt x="1" y="539"/>
                    <a:pt x="2" y="552"/>
                    <a:pt x="6" y="564"/>
                  </a:cubicBezTo>
                  <a:cubicBezTo>
                    <a:pt x="2" y="552"/>
                    <a:pt x="1" y="539"/>
                    <a:pt x="1" y="5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5" name="Google Shape;7602;p64">
              <a:extLst>
                <a:ext uri="{FF2B5EF4-FFF2-40B4-BE49-F238E27FC236}">
                  <a16:creationId xmlns:a16="http://schemas.microsoft.com/office/drawing/2014/main" id="{5E62A0AE-1DAD-FF81-522A-A844032A5EC6}"/>
                </a:ext>
              </a:extLst>
            </p:cNvPr>
            <p:cNvSpPr/>
            <p:nvPr/>
          </p:nvSpPr>
          <p:spPr>
            <a:xfrm>
              <a:off x="2928546" y="1617856"/>
              <a:ext cx="4535" cy="7196"/>
            </a:xfrm>
            <a:custGeom>
              <a:avLst/>
              <a:gdLst/>
              <a:ahLst/>
              <a:cxnLst/>
              <a:rect l="l" t="t" r="r" b="b"/>
              <a:pathLst>
                <a:path w="334" h="530" extrusionOk="0">
                  <a:moveTo>
                    <a:pt x="1" y="529"/>
                  </a:moveTo>
                  <a:cubicBezTo>
                    <a:pt x="32" y="410"/>
                    <a:pt x="214" y="102"/>
                    <a:pt x="333" y="1"/>
                  </a:cubicBezTo>
                  <a:cubicBezTo>
                    <a:pt x="214" y="102"/>
                    <a:pt x="32" y="410"/>
                    <a:pt x="1" y="5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6" name="Google Shape;7603;p64">
              <a:extLst>
                <a:ext uri="{FF2B5EF4-FFF2-40B4-BE49-F238E27FC236}">
                  <a16:creationId xmlns:a16="http://schemas.microsoft.com/office/drawing/2014/main" id="{4990B0F5-0951-184A-FA1A-244BB3652407}"/>
                </a:ext>
              </a:extLst>
            </p:cNvPr>
            <p:cNvSpPr/>
            <p:nvPr/>
          </p:nvSpPr>
          <p:spPr>
            <a:xfrm>
              <a:off x="2906265" y="16356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0" y="1"/>
                  </a:moveTo>
                  <a:lnTo>
                    <a:pt x="0" y="1"/>
                  </a:lnTo>
                  <a:lnTo>
                    <a:pt x="25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7" name="Google Shape;7604;p64">
              <a:extLst>
                <a:ext uri="{FF2B5EF4-FFF2-40B4-BE49-F238E27FC236}">
                  <a16:creationId xmlns:a16="http://schemas.microsoft.com/office/drawing/2014/main" id="{631F4E62-D844-829D-BD0E-D4DA996BA5C9}"/>
                </a:ext>
              </a:extLst>
            </p:cNvPr>
            <p:cNvSpPr/>
            <p:nvPr/>
          </p:nvSpPr>
          <p:spPr>
            <a:xfrm>
              <a:off x="2908301" y="1636634"/>
              <a:ext cx="638" cy="625"/>
            </a:xfrm>
            <a:custGeom>
              <a:avLst/>
              <a:gdLst/>
              <a:ahLst/>
              <a:cxnLst/>
              <a:rect l="l" t="t" r="r" b="b"/>
              <a:pathLst>
                <a:path w="47" h="46" extrusionOk="0">
                  <a:moveTo>
                    <a:pt x="1" y="1"/>
                  </a:moveTo>
                  <a:cubicBezTo>
                    <a:pt x="18" y="11"/>
                    <a:pt x="32" y="29"/>
                    <a:pt x="46" y="46"/>
                  </a:cubicBezTo>
                  <a:cubicBezTo>
                    <a:pt x="36" y="29"/>
                    <a:pt x="18" y="1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8" name="Google Shape;7605;p64">
              <a:extLst>
                <a:ext uri="{FF2B5EF4-FFF2-40B4-BE49-F238E27FC236}">
                  <a16:creationId xmlns:a16="http://schemas.microsoft.com/office/drawing/2014/main" id="{904D7DAD-FADE-C8A9-921C-036AF40219AC}"/>
                </a:ext>
              </a:extLst>
            </p:cNvPr>
            <p:cNvSpPr/>
            <p:nvPr/>
          </p:nvSpPr>
          <p:spPr>
            <a:xfrm>
              <a:off x="2908967" y="1637299"/>
              <a:ext cx="258" cy="339"/>
            </a:xfrm>
            <a:custGeom>
              <a:avLst/>
              <a:gdLst/>
              <a:ahLst/>
              <a:cxnLst/>
              <a:rect l="l" t="t" r="r" b="b"/>
              <a:pathLst>
                <a:path w="19" h="25" extrusionOk="0">
                  <a:moveTo>
                    <a:pt x="18" y="25"/>
                  </a:moveTo>
                  <a:cubicBezTo>
                    <a:pt x="11" y="14"/>
                    <a:pt x="8" y="7"/>
                    <a:pt x="1" y="0"/>
                  </a:cubicBezTo>
                  <a:cubicBezTo>
                    <a:pt x="8" y="7"/>
                    <a:pt x="11" y="14"/>
                    <a:pt x="1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9" name="Google Shape;7606;p64">
              <a:extLst>
                <a:ext uri="{FF2B5EF4-FFF2-40B4-BE49-F238E27FC236}">
                  <a16:creationId xmlns:a16="http://schemas.microsoft.com/office/drawing/2014/main" id="{E82EBB20-A6A5-B9A7-34BE-9E5CAA5E74A5}"/>
                </a:ext>
              </a:extLst>
            </p:cNvPr>
            <p:cNvSpPr/>
            <p:nvPr/>
          </p:nvSpPr>
          <p:spPr>
            <a:xfrm>
              <a:off x="2935633" y="1611163"/>
              <a:ext cx="828" cy="3530"/>
            </a:xfrm>
            <a:custGeom>
              <a:avLst/>
              <a:gdLst/>
              <a:ahLst/>
              <a:cxnLst/>
              <a:rect l="l" t="t" r="r" b="b"/>
              <a:pathLst>
                <a:path w="61" h="260" extrusionOk="0">
                  <a:moveTo>
                    <a:pt x="1" y="0"/>
                  </a:moveTo>
                  <a:cubicBezTo>
                    <a:pt x="29" y="84"/>
                    <a:pt x="50" y="172"/>
                    <a:pt x="60" y="259"/>
                  </a:cubicBezTo>
                  <a:cubicBezTo>
                    <a:pt x="50" y="172"/>
                    <a:pt x="29" y="8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0" name="Google Shape;7607;p64">
              <a:extLst>
                <a:ext uri="{FF2B5EF4-FFF2-40B4-BE49-F238E27FC236}">
                  <a16:creationId xmlns:a16="http://schemas.microsoft.com/office/drawing/2014/main" id="{40DD0C04-ADB9-6C97-9151-3AB5C307B283}"/>
                </a:ext>
              </a:extLst>
            </p:cNvPr>
            <p:cNvSpPr/>
            <p:nvPr/>
          </p:nvSpPr>
          <p:spPr>
            <a:xfrm>
              <a:off x="2907976" y="163639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"/>
                  </a:moveTo>
                  <a:lnTo>
                    <a:pt x="18" y="15"/>
                  </a:lnTo>
                  <a:cubicBezTo>
                    <a:pt x="14" y="8"/>
                    <a:pt x="7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1" name="Google Shape;7608;p64">
              <a:extLst>
                <a:ext uri="{FF2B5EF4-FFF2-40B4-BE49-F238E27FC236}">
                  <a16:creationId xmlns:a16="http://schemas.microsoft.com/office/drawing/2014/main" id="{969F6D7A-5895-88E2-6C4C-0EFACA6F2980}"/>
                </a:ext>
              </a:extLst>
            </p:cNvPr>
            <p:cNvSpPr/>
            <p:nvPr/>
          </p:nvSpPr>
          <p:spPr>
            <a:xfrm>
              <a:off x="2695420" y="1641956"/>
              <a:ext cx="2417" cy="448"/>
            </a:xfrm>
            <a:custGeom>
              <a:avLst/>
              <a:gdLst/>
              <a:ahLst/>
              <a:cxnLst/>
              <a:rect l="l" t="t" r="r" b="b"/>
              <a:pathLst>
                <a:path w="178" h="33" extrusionOk="0">
                  <a:moveTo>
                    <a:pt x="1" y="1"/>
                  </a:moveTo>
                  <a:cubicBezTo>
                    <a:pt x="29" y="4"/>
                    <a:pt x="63" y="11"/>
                    <a:pt x="90" y="18"/>
                  </a:cubicBezTo>
                  <a:cubicBezTo>
                    <a:pt x="93" y="18"/>
                    <a:pt x="97" y="19"/>
                    <a:pt x="100" y="19"/>
                  </a:cubicBezTo>
                  <a:lnTo>
                    <a:pt x="100" y="19"/>
                  </a:lnTo>
                  <a:cubicBezTo>
                    <a:pt x="98" y="19"/>
                    <a:pt x="96" y="18"/>
                    <a:pt x="94" y="18"/>
                  </a:cubicBezTo>
                  <a:cubicBezTo>
                    <a:pt x="63" y="11"/>
                    <a:pt x="29" y="4"/>
                    <a:pt x="1" y="1"/>
                  </a:cubicBezTo>
                  <a:close/>
                  <a:moveTo>
                    <a:pt x="100" y="19"/>
                  </a:moveTo>
                  <a:lnTo>
                    <a:pt x="100" y="19"/>
                  </a:lnTo>
                  <a:cubicBezTo>
                    <a:pt x="115" y="22"/>
                    <a:pt x="134" y="25"/>
                    <a:pt x="151" y="28"/>
                  </a:cubicBezTo>
                  <a:lnTo>
                    <a:pt x="151" y="28"/>
                  </a:lnTo>
                  <a:cubicBezTo>
                    <a:pt x="135" y="25"/>
                    <a:pt x="117" y="22"/>
                    <a:pt x="100" y="19"/>
                  </a:cubicBezTo>
                  <a:close/>
                  <a:moveTo>
                    <a:pt x="151" y="28"/>
                  </a:moveTo>
                  <a:cubicBezTo>
                    <a:pt x="160" y="29"/>
                    <a:pt x="169" y="31"/>
                    <a:pt x="178" y="32"/>
                  </a:cubicBezTo>
                  <a:lnTo>
                    <a:pt x="157" y="29"/>
                  </a:lnTo>
                  <a:cubicBezTo>
                    <a:pt x="155" y="28"/>
                    <a:pt x="153" y="28"/>
                    <a:pt x="151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2" name="Google Shape;7609;p64">
              <a:extLst>
                <a:ext uri="{FF2B5EF4-FFF2-40B4-BE49-F238E27FC236}">
                  <a16:creationId xmlns:a16="http://schemas.microsoft.com/office/drawing/2014/main" id="{DA112586-F6D7-0D75-28F0-A7DBEB366394}"/>
                </a:ext>
              </a:extLst>
            </p:cNvPr>
            <p:cNvSpPr/>
            <p:nvPr/>
          </p:nvSpPr>
          <p:spPr>
            <a:xfrm>
              <a:off x="2693641" y="1641060"/>
              <a:ext cx="1208" cy="869"/>
            </a:xfrm>
            <a:custGeom>
              <a:avLst/>
              <a:gdLst/>
              <a:ahLst/>
              <a:cxnLst/>
              <a:rect l="l" t="t" r="r" b="b"/>
              <a:pathLst>
                <a:path w="89" h="64" extrusionOk="0">
                  <a:moveTo>
                    <a:pt x="1" y="0"/>
                  </a:moveTo>
                  <a:cubicBezTo>
                    <a:pt x="6" y="6"/>
                    <a:pt x="12" y="12"/>
                    <a:pt x="18" y="18"/>
                  </a:cubicBezTo>
                  <a:lnTo>
                    <a:pt x="18" y="18"/>
                  </a:lnTo>
                  <a:cubicBezTo>
                    <a:pt x="16" y="15"/>
                    <a:pt x="13" y="13"/>
                    <a:pt x="11" y="11"/>
                  </a:cubicBezTo>
                  <a:lnTo>
                    <a:pt x="1" y="0"/>
                  </a:lnTo>
                  <a:close/>
                  <a:moveTo>
                    <a:pt x="18" y="18"/>
                  </a:moveTo>
                  <a:cubicBezTo>
                    <a:pt x="37" y="39"/>
                    <a:pt x="60" y="54"/>
                    <a:pt x="88" y="63"/>
                  </a:cubicBezTo>
                  <a:cubicBezTo>
                    <a:pt x="61" y="52"/>
                    <a:pt x="38" y="37"/>
                    <a:pt x="18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3" name="Google Shape;7610;p64">
              <a:extLst>
                <a:ext uri="{FF2B5EF4-FFF2-40B4-BE49-F238E27FC236}">
                  <a16:creationId xmlns:a16="http://schemas.microsoft.com/office/drawing/2014/main" id="{5F5C4668-25E9-2517-F19E-118762F4BEC8}"/>
                </a:ext>
              </a:extLst>
            </p:cNvPr>
            <p:cNvSpPr/>
            <p:nvPr/>
          </p:nvSpPr>
          <p:spPr>
            <a:xfrm>
              <a:off x="2974655" y="1606071"/>
              <a:ext cx="3584" cy="4481"/>
            </a:xfrm>
            <a:custGeom>
              <a:avLst/>
              <a:gdLst/>
              <a:ahLst/>
              <a:cxnLst/>
              <a:rect l="l" t="t" r="r" b="b"/>
              <a:pathLst>
                <a:path w="264" h="330" extrusionOk="0">
                  <a:moveTo>
                    <a:pt x="1" y="0"/>
                  </a:moveTo>
                  <a:cubicBezTo>
                    <a:pt x="113" y="77"/>
                    <a:pt x="263" y="175"/>
                    <a:pt x="246" y="330"/>
                  </a:cubicBezTo>
                  <a:cubicBezTo>
                    <a:pt x="263" y="175"/>
                    <a:pt x="113" y="7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4" name="Google Shape;7611;p64">
              <a:extLst>
                <a:ext uri="{FF2B5EF4-FFF2-40B4-BE49-F238E27FC236}">
                  <a16:creationId xmlns:a16="http://schemas.microsoft.com/office/drawing/2014/main" id="{876FC331-6922-91E2-5720-261FABF5DF3B}"/>
                </a:ext>
              </a:extLst>
            </p:cNvPr>
            <p:cNvSpPr/>
            <p:nvPr/>
          </p:nvSpPr>
          <p:spPr>
            <a:xfrm>
              <a:off x="3023194" y="1657313"/>
              <a:ext cx="1100" cy="54"/>
            </a:xfrm>
            <a:custGeom>
              <a:avLst/>
              <a:gdLst/>
              <a:ahLst/>
              <a:cxnLst/>
              <a:rect l="l" t="t" r="r" b="b"/>
              <a:pathLst>
                <a:path w="81" h="4" extrusionOk="0">
                  <a:moveTo>
                    <a:pt x="81" y="4"/>
                  </a:moveTo>
                  <a:cubicBezTo>
                    <a:pt x="56" y="4"/>
                    <a:pt x="32" y="4"/>
                    <a:pt x="0" y="0"/>
                  </a:cubicBezTo>
                  <a:cubicBezTo>
                    <a:pt x="32" y="4"/>
                    <a:pt x="56" y="4"/>
                    <a:pt x="81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5" name="Google Shape;7612;p64">
              <a:extLst>
                <a:ext uri="{FF2B5EF4-FFF2-40B4-BE49-F238E27FC236}">
                  <a16:creationId xmlns:a16="http://schemas.microsoft.com/office/drawing/2014/main" id="{F01C5224-2E70-BC48-C919-F7CA158E011D}"/>
                </a:ext>
              </a:extLst>
            </p:cNvPr>
            <p:cNvSpPr/>
            <p:nvPr/>
          </p:nvSpPr>
          <p:spPr>
            <a:xfrm>
              <a:off x="3010594" y="1646478"/>
              <a:ext cx="1874" cy="2620"/>
            </a:xfrm>
            <a:custGeom>
              <a:avLst/>
              <a:gdLst/>
              <a:ahLst/>
              <a:cxnLst/>
              <a:rect l="l" t="t" r="r" b="b"/>
              <a:pathLst>
                <a:path w="138" h="193" extrusionOk="0">
                  <a:moveTo>
                    <a:pt x="0" y="0"/>
                  </a:moveTo>
                  <a:cubicBezTo>
                    <a:pt x="72" y="26"/>
                    <a:pt x="138" y="68"/>
                    <a:pt x="138" y="170"/>
                  </a:cubicBezTo>
                  <a:lnTo>
                    <a:pt x="138" y="170"/>
                  </a:lnTo>
                  <a:cubicBezTo>
                    <a:pt x="138" y="67"/>
                    <a:pt x="72" y="23"/>
                    <a:pt x="0" y="0"/>
                  </a:cubicBezTo>
                  <a:close/>
                  <a:moveTo>
                    <a:pt x="138" y="170"/>
                  </a:moveTo>
                  <a:lnTo>
                    <a:pt x="138" y="170"/>
                  </a:lnTo>
                  <a:cubicBezTo>
                    <a:pt x="138" y="177"/>
                    <a:pt x="138" y="185"/>
                    <a:pt x="137" y="193"/>
                  </a:cubicBezTo>
                  <a:cubicBezTo>
                    <a:pt x="138" y="185"/>
                    <a:pt x="138" y="177"/>
                    <a:pt x="138" y="1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6" name="Google Shape;7613;p64">
              <a:extLst>
                <a:ext uri="{FF2B5EF4-FFF2-40B4-BE49-F238E27FC236}">
                  <a16:creationId xmlns:a16="http://schemas.microsoft.com/office/drawing/2014/main" id="{9F873259-0FFE-557A-3AC9-602D8129CAC0}"/>
                </a:ext>
              </a:extLst>
            </p:cNvPr>
            <p:cNvSpPr/>
            <p:nvPr/>
          </p:nvSpPr>
          <p:spPr>
            <a:xfrm>
              <a:off x="3041863" y="1659634"/>
              <a:ext cx="163" cy="448"/>
            </a:xfrm>
            <a:custGeom>
              <a:avLst/>
              <a:gdLst/>
              <a:ahLst/>
              <a:cxnLst/>
              <a:rect l="l" t="t" r="r" b="b"/>
              <a:pathLst>
                <a:path w="12" h="33" extrusionOk="0">
                  <a:moveTo>
                    <a:pt x="11" y="32"/>
                  </a:moveTo>
                  <a:cubicBezTo>
                    <a:pt x="8" y="22"/>
                    <a:pt x="4" y="11"/>
                    <a:pt x="1" y="1"/>
                  </a:cubicBezTo>
                  <a:cubicBezTo>
                    <a:pt x="4" y="11"/>
                    <a:pt x="8" y="22"/>
                    <a:pt x="11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7" name="Google Shape;7614;p64">
              <a:extLst>
                <a:ext uri="{FF2B5EF4-FFF2-40B4-BE49-F238E27FC236}">
                  <a16:creationId xmlns:a16="http://schemas.microsoft.com/office/drawing/2014/main" id="{0F03B45A-95E1-3FBA-1027-69373E5ADD4A}"/>
                </a:ext>
              </a:extLst>
            </p:cNvPr>
            <p:cNvSpPr/>
            <p:nvPr/>
          </p:nvSpPr>
          <p:spPr>
            <a:xfrm>
              <a:off x="3006888" y="1644862"/>
              <a:ext cx="1534" cy="964"/>
            </a:xfrm>
            <a:custGeom>
              <a:avLst/>
              <a:gdLst/>
              <a:ahLst/>
              <a:cxnLst/>
              <a:rect l="l" t="t" r="r" b="b"/>
              <a:pathLst>
                <a:path w="113" h="71" extrusionOk="0">
                  <a:moveTo>
                    <a:pt x="112" y="70"/>
                  </a:moveTo>
                  <a:cubicBezTo>
                    <a:pt x="70" y="56"/>
                    <a:pt x="32" y="32"/>
                    <a:pt x="0" y="0"/>
                  </a:cubicBezTo>
                  <a:cubicBezTo>
                    <a:pt x="32" y="32"/>
                    <a:pt x="70" y="56"/>
                    <a:pt x="112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8" name="Google Shape;7615;p64">
              <a:extLst>
                <a:ext uri="{FF2B5EF4-FFF2-40B4-BE49-F238E27FC236}">
                  <a16:creationId xmlns:a16="http://schemas.microsoft.com/office/drawing/2014/main" id="{D7BB5011-CB7E-9E91-E004-B544091BA16A}"/>
                </a:ext>
              </a:extLst>
            </p:cNvPr>
            <p:cNvSpPr/>
            <p:nvPr/>
          </p:nvSpPr>
          <p:spPr>
            <a:xfrm>
              <a:off x="3014722" y="1656362"/>
              <a:ext cx="5159" cy="1154"/>
            </a:xfrm>
            <a:custGeom>
              <a:avLst/>
              <a:gdLst/>
              <a:ahLst/>
              <a:cxnLst/>
              <a:rect l="l" t="t" r="r" b="b"/>
              <a:pathLst>
                <a:path w="380" h="85" extrusionOk="0">
                  <a:moveTo>
                    <a:pt x="1" y="0"/>
                  </a:moveTo>
                  <a:cubicBezTo>
                    <a:pt x="116" y="60"/>
                    <a:pt x="249" y="84"/>
                    <a:pt x="379" y="74"/>
                  </a:cubicBezTo>
                  <a:cubicBezTo>
                    <a:pt x="249" y="84"/>
                    <a:pt x="116" y="6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9" name="Google Shape;7616;p64">
              <a:extLst>
                <a:ext uri="{FF2B5EF4-FFF2-40B4-BE49-F238E27FC236}">
                  <a16:creationId xmlns:a16="http://schemas.microsoft.com/office/drawing/2014/main" id="{C80C1936-5AFF-85BC-9777-B2F5D4AE0FA8}"/>
                </a:ext>
              </a:extLst>
            </p:cNvPr>
            <p:cNvSpPr/>
            <p:nvPr/>
          </p:nvSpPr>
          <p:spPr>
            <a:xfrm>
              <a:off x="3033880" y="1652031"/>
              <a:ext cx="3680" cy="1113"/>
            </a:xfrm>
            <a:custGeom>
              <a:avLst/>
              <a:gdLst/>
              <a:ahLst/>
              <a:cxnLst/>
              <a:rect l="l" t="t" r="r" b="b"/>
              <a:pathLst>
                <a:path w="271" h="82" extrusionOk="0">
                  <a:moveTo>
                    <a:pt x="1" y="81"/>
                  </a:moveTo>
                  <a:cubicBezTo>
                    <a:pt x="81" y="32"/>
                    <a:pt x="176" y="4"/>
                    <a:pt x="270" y="1"/>
                  </a:cubicBezTo>
                  <a:cubicBezTo>
                    <a:pt x="176" y="4"/>
                    <a:pt x="81" y="32"/>
                    <a:pt x="1" y="8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0" name="Google Shape;7617;p64">
              <a:extLst>
                <a:ext uri="{FF2B5EF4-FFF2-40B4-BE49-F238E27FC236}">
                  <a16:creationId xmlns:a16="http://schemas.microsoft.com/office/drawing/2014/main" id="{75518AC1-BF97-3F9E-C934-EDE716F83915}"/>
                </a:ext>
              </a:extLst>
            </p:cNvPr>
            <p:cNvSpPr/>
            <p:nvPr/>
          </p:nvSpPr>
          <p:spPr>
            <a:xfrm>
              <a:off x="3018632" y="1682254"/>
              <a:ext cx="2715" cy="1494"/>
            </a:xfrm>
            <a:custGeom>
              <a:avLst/>
              <a:gdLst/>
              <a:ahLst/>
              <a:cxnLst/>
              <a:rect l="l" t="t" r="r" b="b"/>
              <a:pathLst>
                <a:path w="200" h="110" extrusionOk="0">
                  <a:moveTo>
                    <a:pt x="165" y="1"/>
                  </a:moveTo>
                  <a:cubicBezTo>
                    <a:pt x="127" y="1"/>
                    <a:pt x="80" y="38"/>
                    <a:pt x="0" y="110"/>
                  </a:cubicBezTo>
                  <a:cubicBezTo>
                    <a:pt x="79" y="38"/>
                    <a:pt x="129" y="1"/>
                    <a:pt x="166" y="1"/>
                  </a:cubicBezTo>
                  <a:lnTo>
                    <a:pt x="166" y="1"/>
                  </a:lnTo>
                  <a:cubicBezTo>
                    <a:pt x="178" y="1"/>
                    <a:pt x="189" y="4"/>
                    <a:pt x="200" y="12"/>
                  </a:cubicBezTo>
                  <a:cubicBezTo>
                    <a:pt x="189" y="4"/>
                    <a:pt x="179" y="1"/>
                    <a:pt x="167" y="1"/>
                  </a:cubicBezTo>
                  <a:cubicBezTo>
                    <a:pt x="167" y="1"/>
                    <a:pt x="166" y="1"/>
                    <a:pt x="166" y="1"/>
                  </a:cubicBezTo>
                  <a:lnTo>
                    <a:pt x="166" y="1"/>
                  </a:lnTo>
                  <a:cubicBezTo>
                    <a:pt x="166" y="1"/>
                    <a:pt x="166" y="1"/>
                    <a:pt x="16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1" name="Google Shape;7618;p64">
              <a:extLst>
                <a:ext uri="{FF2B5EF4-FFF2-40B4-BE49-F238E27FC236}">
                  <a16:creationId xmlns:a16="http://schemas.microsoft.com/office/drawing/2014/main" id="{9C1002B1-7542-B1C7-8506-C7A50B42AB70}"/>
                </a:ext>
              </a:extLst>
            </p:cNvPr>
            <p:cNvSpPr/>
            <p:nvPr/>
          </p:nvSpPr>
          <p:spPr>
            <a:xfrm>
              <a:off x="2985965" y="1626560"/>
              <a:ext cx="3720" cy="8608"/>
            </a:xfrm>
            <a:custGeom>
              <a:avLst/>
              <a:gdLst/>
              <a:ahLst/>
              <a:cxnLst/>
              <a:rect l="l" t="t" r="r" b="b"/>
              <a:pathLst>
                <a:path w="274" h="634" extrusionOk="0">
                  <a:moveTo>
                    <a:pt x="127" y="266"/>
                  </a:moveTo>
                  <a:cubicBezTo>
                    <a:pt x="78" y="179"/>
                    <a:pt x="36" y="91"/>
                    <a:pt x="1" y="0"/>
                  </a:cubicBezTo>
                  <a:cubicBezTo>
                    <a:pt x="36" y="91"/>
                    <a:pt x="78" y="179"/>
                    <a:pt x="127" y="266"/>
                  </a:cubicBezTo>
                  <a:cubicBezTo>
                    <a:pt x="214" y="434"/>
                    <a:pt x="274" y="550"/>
                    <a:pt x="270" y="634"/>
                  </a:cubicBezTo>
                  <a:cubicBezTo>
                    <a:pt x="274" y="550"/>
                    <a:pt x="214" y="434"/>
                    <a:pt x="127" y="26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2" name="Google Shape;7619;p64">
              <a:extLst>
                <a:ext uri="{FF2B5EF4-FFF2-40B4-BE49-F238E27FC236}">
                  <a16:creationId xmlns:a16="http://schemas.microsoft.com/office/drawing/2014/main" id="{EAD440AD-6E0E-34C6-3DC2-9A0561435227}"/>
                </a:ext>
              </a:extLst>
            </p:cNvPr>
            <p:cNvSpPr/>
            <p:nvPr/>
          </p:nvSpPr>
          <p:spPr>
            <a:xfrm>
              <a:off x="2972944" y="1604741"/>
              <a:ext cx="1724" cy="1344"/>
            </a:xfrm>
            <a:custGeom>
              <a:avLst/>
              <a:gdLst/>
              <a:ahLst/>
              <a:cxnLst/>
              <a:rect l="l" t="t" r="r" b="b"/>
              <a:pathLst>
                <a:path w="127" h="99" extrusionOk="0">
                  <a:moveTo>
                    <a:pt x="1" y="0"/>
                  </a:moveTo>
                  <a:cubicBezTo>
                    <a:pt x="39" y="39"/>
                    <a:pt x="81" y="74"/>
                    <a:pt x="127" y="98"/>
                  </a:cubicBezTo>
                  <a:cubicBezTo>
                    <a:pt x="81" y="74"/>
                    <a:pt x="39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3" name="Google Shape;7620;p64">
              <a:extLst>
                <a:ext uri="{FF2B5EF4-FFF2-40B4-BE49-F238E27FC236}">
                  <a16:creationId xmlns:a16="http://schemas.microsoft.com/office/drawing/2014/main" id="{3CFF9486-36DA-54F5-F006-4641B8BA5ECB}"/>
                </a:ext>
              </a:extLst>
            </p:cNvPr>
            <p:cNvSpPr/>
            <p:nvPr/>
          </p:nvSpPr>
          <p:spPr>
            <a:xfrm>
              <a:off x="3042013" y="166006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4" y="11"/>
                    <a:pt x="4" y="21"/>
                    <a:pt x="4" y="32"/>
                  </a:cubicBezTo>
                  <a:cubicBezTo>
                    <a:pt x="4" y="21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4" name="Google Shape;7621;p64">
              <a:extLst>
                <a:ext uri="{FF2B5EF4-FFF2-40B4-BE49-F238E27FC236}">
                  <a16:creationId xmlns:a16="http://schemas.microsoft.com/office/drawing/2014/main" id="{E7E0C722-9CA4-A05B-A45C-BDFF7AD958A0}"/>
                </a:ext>
              </a:extLst>
            </p:cNvPr>
            <p:cNvSpPr/>
            <p:nvPr/>
          </p:nvSpPr>
          <p:spPr>
            <a:xfrm>
              <a:off x="3015876" y="1695628"/>
              <a:ext cx="475" cy="4046"/>
            </a:xfrm>
            <a:custGeom>
              <a:avLst/>
              <a:gdLst/>
              <a:ahLst/>
              <a:cxnLst/>
              <a:rect l="l" t="t" r="r" b="b"/>
              <a:pathLst>
                <a:path w="35" h="298" extrusionOk="0">
                  <a:moveTo>
                    <a:pt x="0" y="1"/>
                  </a:moveTo>
                  <a:lnTo>
                    <a:pt x="0" y="1"/>
                  </a:lnTo>
                  <a:cubicBezTo>
                    <a:pt x="31" y="74"/>
                    <a:pt x="31" y="179"/>
                    <a:pt x="35" y="298"/>
                  </a:cubicBezTo>
                  <a:cubicBezTo>
                    <a:pt x="31" y="175"/>
                    <a:pt x="31" y="7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5" name="Google Shape;7622;p64">
              <a:extLst>
                <a:ext uri="{FF2B5EF4-FFF2-40B4-BE49-F238E27FC236}">
                  <a16:creationId xmlns:a16="http://schemas.microsoft.com/office/drawing/2014/main" id="{CABCE35D-AB33-658C-2496-7A1D87D13F4F}"/>
                </a:ext>
              </a:extLst>
            </p:cNvPr>
            <p:cNvSpPr/>
            <p:nvPr/>
          </p:nvSpPr>
          <p:spPr>
            <a:xfrm>
              <a:off x="2961824" y="1601129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6" name="Google Shape;7623;p64">
              <a:extLst>
                <a:ext uri="{FF2B5EF4-FFF2-40B4-BE49-F238E27FC236}">
                  <a16:creationId xmlns:a16="http://schemas.microsoft.com/office/drawing/2014/main" id="{3B0A49F7-E313-D44B-672B-139BD9AC9F75}"/>
                </a:ext>
              </a:extLst>
            </p:cNvPr>
            <p:cNvSpPr/>
            <p:nvPr/>
          </p:nvSpPr>
          <p:spPr>
            <a:xfrm>
              <a:off x="2989291" y="1637109"/>
              <a:ext cx="68" cy="299"/>
            </a:xfrm>
            <a:custGeom>
              <a:avLst/>
              <a:gdLst/>
              <a:ahLst/>
              <a:cxnLst/>
              <a:rect l="l" t="t" r="r" b="b"/>
              <a:pathLst>
                <a:path w="5" h="22" extrusionOk="0">
                  <a:moveTo>
                    <a:pt x="4" y="21"/>
                  </a:moveTo>
                  <a:cubicBezTo>
                    <a:pt x="4" y="14"/>
                    <a:pt x="1" y="7"/>
                    <a:pt x="1" y="0"/>
                  </a:cubicBezTo>
                  <a:cubicBezTo>
                    <a:pt x="1" y="7"/>
                    <a:pt x="4" y="14"/>
                    <a:pt x="4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7" name="Google Shape;7624;p64">
              <a:extLst>
                <a:ext uri="{FF2B5EF4-FFF2-40B4-BE49-F238E27FC236}">
                  <a16:creationId xmlns:a16="http://schemas.microsoft.com/office/drawing/2014/main" id="{B3903D39-D86B-9E8E-82E5-7E62BF1F630E}"/>
                </a:ext>
              </a:extLst>
            </p:cNvPr>
            <p:cNvSpPr/>
            <p:nvPr/>
          </p:nvSpPr>
          <p:spPr>
            <a:xfrm>
              <a:off x="2977845" y="1610973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0" y="28"/>
                  </a:moveTo>
                  <a:cubicBezTo>
                    <a:pt x="4" y="18"/>
                    <a:pt x="4" y="11"/>
                    <a:pt x="7" y="0"/>
                  </a:cubicBezTo>
                  <a:cubicBezTo>
                    <a:pt x="4" y="11"/>
                    <a:pt x="4" y="18"/>
                    <a:pt x="0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8" name="Google Shape;7625;p64">
              <a:extLst>
                <a:ext uri="{FF2B5EF4-FFF2-40B4-BE49-F238E27FC236}">
                  <a16:creationId xmlns:a16="http://schemas.microsoft.com/office/drawing/2014/main" id="{E2CE8605-6674-EF7C-CDC8-B9D85F939D89}"/>
                </a:ext>
              </a:extLst>
            </p:cNvPr>
            <p:cNvSpPr/>
            <p:nvPr/>
          </p:nvSpPr>
          <p:spPr>
            <a:xfrm>
              <a:off x="2962829" y="160150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9" name="Google Shape;7626;p64">
              <a:extLst>
                <a:ext uri="{FF2B5EF4-FFF2-40B4-BE49-F238E27FC236}">
                  <a16:creationId xmlns:a16="http://schemas.microsoft.com/office/drawing/2014/main" id="{0DA0E856-443E-5582-99AA-1AFCC08E2C0A}"/>
                </a:ext>
              </a:extLst>
            </p:cNvPr>
            <p:cNvSpPr/>
            <p:nvPr/>
          </p:nvSpPr>
          <p:spPr>
            <a:xfrm>
              <a:off x="2955117" y="1600464"/>
              <a:ext cx="2444" cy="339"/>
            </a:xfrm>
            <a:custGeom>
              <a:avLst/>
              <a:gdLst/>
              <a:ahLst/>
              <a:cxnLst/>
              <a:rect l="l" t="t" r="r" b="b"/>
              <a:pathLst>
                <a:path w="180" h="25" extrusionOk="0">
                  <a:moveTo>
                    <a:pt x="179" y="25"/>
                  </a:moveTo>
                  <a:cubicBezTo>
                    <a:pt x="120" y="25"/>
                    <a:pt x="60" y="18"/>
                    <a:pt x="1" y="0"/>
                  </a:cubicBezTo>
                  <a:cubicBezTo>
                    <a:pt x="60" y="18"/>
                    <a:pt x="120" y="25"/>
                    <a:pt x="179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0" name="Google Shape;7627;p64">
              <a:extLst>
                <a:ext uri="{FF2B5EF4-FFF2-40B4-BE49-F238E27FC236}">
                  <a16:creationId xmlns:a16="http://schemas.microsoft.com/office/drawing/2014/main" id="{DF9F962A-8AA7-3C64-D92E-C542230A93FA}"/>
                </a:ext>
              </a:extLst>
            </p:cNvPr>
            <p:cNvSpPr/>
            <p:nvPr/>
          </p:nvSpPr>
          <p:spPr>
            <a:xfrm>
              <a:off x="2998429" y="164125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1" name="Google Shape;7628;p64">
              <a:extLst>
                <a:ext uri="{FF2B5EF4-FFF2-40B4-BE49-F238E27FC236}">
                  <a16:creationId xmlns:a16="http://schemas.microsoft.com/office/drawing/2014/main" id="{C87FB10C-F8A3-544C-E69D-33B2AF09B168}"/>
                </a:ext>
              </a:extLst>
            </p:cNvPr>
            <p:cNvSpPr/>
            <p:nvPr/>
          </p:nvSpPr>
          <p:spPr>
            <a:xfrm>
              <a:off x="2694931" y="1641956"/>
              <a:ext cx="434" cy="14"/>
            </a:xfrm>
            <a:custGeom>
              <a:avLst/>
              <a:gdLst/>
              <a:ahLst/>
              <a:cxnLst/>
              <a:rect l="l" t="t" r="r" b="b"/>
              <a:pathLst>
                <a:path w="32" h="1" extrusionOk="0">
                  <a:moveTo>
                    <a:pt x="0" y="1"/>
                  </a:moveTo>
                  <a:lnTo>
                    <a:pt x="32" y="1"/>
                  </a:lnTo>
                  <a:cubicBezTo>
                    <a:pt x="21" y="1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2" name="Google Shape;7629;p64">
              <a:extLst>
                <a:ext uri="{FF2B5EF4-FFF2-40B4-BE49-F238E27FC236}">
                  <a16:creationId xmlns:a16="http://schemas.microsoft.com/office/drawing/2014/main" id="{2B3EBCF5-0764-B0DB-F20B-48F4BDA87E54}"/>
                </a:ext>
              </a:extLst>
            </p:cNvPr>
            <p:cNvSpPr/>
            <p:nvPr/>
          </p:nvSpPr>
          <p:spPr>
            <a:xfrm>
              <a:off x="2697538" y="164233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1"/>
                  </a:moveTo>
                  <a:lnTo>
                    <a:pt x="1" y="1"/>
                  </a:lnTo>
                  <a:cubicBezTo>
                    <a:pt x="15" y="4"/>
                    <a:pt x="32" y="8"/>
                    <a:pt x="50" y="8"/>
                  </a:cubicBezTo>
                  <a:lnTo>
                    <a:pt x="25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3" name="Google Shape;7630;p64">
              <a:extLst>
                <a:ext uri="{FF2B5EF4-FFF2-40B4-BE49-F238E27FC236}">
                  <a16:creationId xmlns:a16="http://schemas.microsoft.com/office/drawing/2014/main" id="{7FA18EDF-90EB-C918-54D4-62BD050AE57B}"/>
                </a:ext>
              </a:extLst>
            </p:cNvPr>
            <p:cNvSpPr/>
            <p:nvPr/>
          </p:nvSpPr>
          <p:spPr>
            <a:xfrm>
              <a:off x="2409736" y="1625609"/>
              <a:ext cx="1534" cy="1344"/>
            </a:xfrm>
            <a:custGeom>
              <a:avLst/>
              <a:gdLst/>
              <a:ahLst/>
              <a:cxnLst/>
              <a:rect l="l" t="t" r="r" b="b"/>
              <a:pathLst>
                <a:path w="113" h="99" extrusionOk="0">
                  <a:moveTo>
                    <a:pt x="112" y="0"/>
                  </a:moveTo>
                  <a:cubicBezTo>
                    <a:pt x="95" y="53"/>
                    <a:pt x="53" y="88"/>
                    <a:pt x="0" y="98"/>
                  </a:cubicBezTo>
                  <a:cubicBezTo>
                    <a:pt x="53" y="88"/>
                    <a:pt x="95" y="53"/>
                    <a:pt x="11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4" name="Google Shape;7631;p64">
              <a:extLst>
                <a:ext uri="{FF2B5EF4-FFF2-40B4-BE49-F238E27FC236}">
                  <a16:creationId xmlns:a16="http://schemas.microsoft.com/office/drawing/2014/main" id="{7A857B96-1B72-9F99-6BC2-9F22C01308E6}"/>
                </a:ext>
              </a:extLst>
            </p:cNvPr>
            <p:cNvSpPr/>
            <p:nvPr/>
          </p:nvSpPr>
          <p:spPr>
            <a:xfrm>
              <a:off x="2425798" y="1617761"/>
              <a:ext cx="2824" cy="828"/>
            </a:xfrm>
            <a:custGeom>
              <a:avLst/>
              <a:gdLst/>
              <a:ahLst/>
              <a:cxnLst/>
              <a:rect l="l" t="t" r="r" b="b"/>
              <a:pathLst>
                <a:path w="208" h="61" extrusionOk="0">
                  <a:moveTo>
                    <a:pt x="148" y="25"/>
                  </a:moveTo>
                  <a:cubicBezTo>
                    <a:pt x="165" y="36"/>
                    <a:pt x="186" y="46"/>
                    <a:pt x="207" y="60"/>
                  </a:cubicBezTo>
                  <a:cubicBezTo>
                    <a:pt x="186" y="46"/>
                    <a:pt x="165" y="36"/>
                    <a:pt x="148" y="25"/>
                  </a:cubicBezTo>
                  <a:cubicBezTo>
                    <a:pt x="102" y="4"/>
                    <a:pt x="50" y="1"/>
                    <a:pt x="0" y="11"/>
                  </a:cubicBezTo>
                  <a:cubicBezTo>
                    <a:pt x="50" y="1"/>
                    <a:pt x="102" y="4"/>
                    <a:pt x="148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5" name="Google Shape;7632;p64">
              <a:extLst>
                <a:ext uri="{FF2B5EF4-FFF2-40B4-BE49-F238E27FC236}">
                  <a16:creationId xmlns:a16="http://schemas.microsoft.com/office/drawing/2014/main" id="{D0689C38-3A3B-60D2-7557-E282CD72E32F}"/>
                </a:ext>
              </a:extLst>
            </p:cNvPr>
            <p:cNvSpPr/>
            <p:nvPr/>
          </p:nvSpPr>
          <p:spPr>
            <a:xfrm>
              <a:off x="2458167" y="1627035"/>
              <a:ext cx="4440" cy="828"/>
            </a:xfrm>
            <a:custGeom>
              <a:avLst/>
              <a:gdLst/>
              <a:ahLst/>
              <a:cxnLst/>
              <a:rect l="l" t="t" r="r" b="b"/>
              <a:pathLst>
                <a:path w="327" h="61" extrusionOk="0">
                  <a:moveTo>
                    <a:pt x="1" y="0"/>
                  </a:moveTo>
                  <a:cubicBezTo>
                    <a:pt x="65" y="39"/>
                    <a:pt x="138" y="60"/>
                    <a:pt x="211" y="60"/>
                  </a:cubicBezTo>
                  <a:cubicBezTo>
                    <a:pt x="250" y="60"/>
                    <a:pt x="289" y="54"/>
                    <a:pt x="326" y="42"/>
                  </a:cubicBezTo>
                  <a:lnTo>
                    <a:pt x="326" y="42"/>
                  </a:lnTo>
                  <a:cubicBezTo>
                    <a:pt x="289" y="53"/>
                    <a:pt x="250" y="59"/>
                    <a:pt x="211" y="59"/>
                  </a:cubicBezTo>
                  <a:cubicBezTo>
                    <a:pt x="138" y="59"/>
                    <a:pt x="65" y="3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6" name="Google Shape;7633;p64">
              <a:extLst>
                <a:ext uri="{FF2B5EF4-FFF2-40B4-BE49-F238E27FC236}">
                  <a16:creationId xmlns:a16="http://schemas.microsoft.com/office/drawing/2014/main" id="{DC84B984-EABD-2C78-C579-F821612143FD}"/>
                </a:ext>
              </a:extLst>
            </p:cNvPr>
            <p:cNvSpPr/>
            <p:nvPr/>
          </p:nvSpPr>
          <p:spPr>
            <a:xfrm>
              <a:off x="2567398" y="1580681"/>
              <a:ext cx="5051" cy="1303"/>
            </a:xfrm>
            <a:custGeom>
              <a:avLst/>
              <a:gdLst/>
              <a:ahLst/>
              <a:cxnLst/>
              <a:rect l="l" t="t" r="r" b="b"/>
              <a:pathLst>
                <a:path w="372" h="96" extrusionOk="0">
                  <a:moveTo>
                    <a:pt x="372" y="61"/>
                  </a:moveTo>
                  <a:cubicBezTo>
                    <a:pt x="291" y="96"/>
                    <a:pt x="155" y="71"/>
                    <a:pt x="1" y="1"/>
                  </a:cubicBezTo>
                  <a:cubicBezTo>
                    <a:pt x="155" y="71"/>
                    <a:pt x="291" y="96"/>
                    <a:pt x="372" y="6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7" name="Google Shape;7634;p64">
              <a:extLst>
                <a:ext uri="{FF2B5EF4-FFF2-40B4-BE49-F238E27FC236}">
                  <a16:creationId xmlns:a16="http://schemas.microsoft.com/office/drawing/2014/main" id="{3D63E974-9603-9A81-CA09-19944FBE3C29}"/>
                </a:ext>
              </a:extLst>
            </p:cNvPr>
            <p:cNvSpPr/>
            <p:nvPr/>
          </p:nvSpPr>
          <p:spPr>
            <a:xfrm>
              <a:off x="2468336" y="1623505"/>
              <a:ext cx="4100" cy="638"/>
            </a:xfrm>
            <a:custGeom>
              <a:avLst/>
              <a:gdLst/>
              <a:ahLst/>
              <a:cxnLst/>
              <a:rect l="l" t="t" r="r" b="b"/>
              <a:pathLst>
                <a:path w="302" h="47" extrusionOk="0">
                  <a:moveTo>
                    <a:pt x="146" y="0"/>
                  </a:moveTo>
                  <a:cubicBezTo>
                    <a:pt x="91" y="0"/>
                    <a:pt x="38" y="12"/>
                    <a:pt x="1" y="22"/>
                  </a:cubicBezTo>
                  <a:cubicBezTo>
                    <a:pt x="39" y="12"/>
                    <a:pt x="92" y="0"/>
                    <a:pt x="147" y="0"/>
                  </a:cubicBezTo>
                  <a:lnTo>
                    <a:pt x="147" y="0"/>
                  </a:lnTo>
                  <a:cubicBezTo>
                    <a:pt x="202" y="0"/>
                    <a:pt x="258" y="12"/>
                    <a:pt x="302" y="47"/>
                  </a:cubicBezTo>
                  <a:cubicBezTo>
                    <a:pt x="258" y="12"/>
                    <a:pt x="202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lnTo>
                    <a:pt x="147" y="0"/>
                  </a:lnTo>
                  <a:cubicBezTo>
                    <a:pt x="146" y="0"/>
                    <a:pt x="146" y="0"/>
                    <a:pt x="1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8" name="Google Shape;7635;p64">
              <a:extLst>
                <a:ext uri="{FF2B5EF4-FFF2-40B4-BE49-F238E27FC236}">
                  <a16:creationId xmlns:a16="http://schemas.microsoft.com/office/drawing/2014/main" id="{A699C0EC-B989-2F91-4BBF-1861F7D60154}"/>
                </a:ext>
              </a:extLst>
            </p:cNvPr>
            <p:cNvSpPr/>
            <p:nvPr/>
          </p:nvSpPr>
          <p:spPr>
            <a:xfrm>
              <a:off x="2501995" y="1594001"/>
              <a:ext cx="1914" cy="434"/>
            </a:xfrm>
            <a:custGeom>
              <a:avLst/>
              <a:gdLst/>
              <a:ahLst/>
              <a:cxnLst/>
              <a:rect l="l" t="t" r="r" b="b"/>
              <a:pathLst>
                <a:path w="141" h="32" extrusionOk="0">
                  <a:moveTo>
                    <a:pt x="140" y="4"/>
                  </a:moveTo>
                  <a:cubicBezTo>
                    <a:pt x="91" y="0"/>
                    <a:pt x="42" y="11"/>
                    <a:pt x="0" y="32"/>
                  </a:cubicBezTo>
                  <a:cubicBezTo>
                    <a:pt x="42" y="11"/>
                    <a:pt x="91" y="0"/>
                    <a:pt x="14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9" name="Google Shape;7636;p64">
              <a:extLst>
                <a:ext uri="{FF2B5EF4-FFF2-40B4-BE49-F238E27FC236}">
                  <a16:creationId xmlns:a16="http://schemas.microsoft.com/office/drawing/2014/main" id="{609781D2-A83E-2BCF-1692-2A9CAC6086F3}"/>
                </a:ext>
              </a:extLst>
            </p:cNvPr>
            <p:cNvSpPr/>
            <p:nvPr/>
          </p:nvSpPr>
          <p:spPr>
            <a:xfrm>
              <a:off x="2407020" y="1631787"/>
              <a:ext cx="448" cy="1154"/>
            </a:xfrm>
            <a:custGeom>
              <a:avLst/>
              <a:gdLst/>
              <a:ahLst/>
              <a:cxnLst/>
              <a:rect l="l" t="t" r="r" b="b"/>
              <a:pathLst>
                <a:path w="33" h="85" extrusionOk="0">
                  <a:moveTo>
                    <a:pt x="1" y="0"/>
                  </a:moveTo>
                  <a:lnTo>
                    <a:pt x="4" y="14"/>
                  </a:lnTo>
                  <a:cubicBezTo>
                    <a:pt x="11" y="39"/>
                    <a:pt x="22" y="63"/>
                    <a:pt x="32" y="84"/>
                  </a:cubicBezTo>
                  <a:cubicBezTo>
                    <a:pt x="22" y="63"/>
                    <a:pt x="11" y="39"/>
                    <a:pt x="4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0" name="Google Shape;7637;p64">
              <a:extLst>
                <a:ext uri="{FF2B5EF4-FFF2-40B4-BE49-F238E27FC236}">
                  <a16:creationId xmlns:a16="http://schemas.microsoft.com/office/drawing/2014/main" id="{FE03F692-1923-8425-C2C2-B717CC0CC288}"/>
                </a:ext>
              </a:extLst>
            </p:cNvPr>
            <p:cNvSpPr/>
            <p:nvPr/>
          </p:nvSpPr>
          <p:spPr>
            <a:xfrm>
              <a:off x="2480882" y="1622989"/>
              <a:ext cx="638" cy="109"/>
            </a:xfrm>
            <a:custGeom>
              <a:avLst/>
              <a:gdLst/>
              <a:ahLst/>
              <a:cxnLst/>
              <a:rect l="l" t="t" r="r" b="b"/>
              <a:pathLst>
                <a:path w="47" h="8" extrusionOk="0">
                  <a:moveTo>
                    <a:pt x="1" y="1"/>
                  </a:moveTo>
                  <a:cubicBezTo>
                    <a:pt x="15" y="4"/>
                    <a:pt x="32" y="8"/>
                    <a:pt x="46" y="8"/>
                  </a:cubicBezTo>
                  <a:cubicBezTo>
                    <a:pt x="32" y="4"/>
                    <a:pt x="15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1" name="Google Shape;7638;p64">
              <a:extLst>
                <a:ext uri="{FF2B5EF4-FFF2-40B4-BE49-F238E27FC236}">
                  <a16:creationId xmlns:a16="http://schemas.microsoft.com/office/drawing/2014/main" id="{345C4504-68EB-46E2-B4D3-AA8A541AC434}"/>
                </a:ext>
              </a:extLst>
            </p:cNvPr>
            <p:cNvSpPr/>
            <p:nvPr/>
          </p:nvSpPr>
          <p:spPr>
            <a:xfrm>
              <a:off x="2472898" y="1624509"/>
              <a:ext cx="2634" cy="1208"/>
            </a:xfrm>
            <a:custGeom>
              <a:avLst/>
              <a:gdLst/>
              <a:ahLst/>
              <a:cxnLst/>
              <a:rect l="l" t="t" r="r" b="b"/>
              <a:pathLst>
                <a:path w="194" h="89" extrusionOk="0">
                  <a:moveTo>
                    <a:pt x="193" y="1"/>
                  </a:moveTo>
                  <a:cubicBezTo>
                    <a:pt x="106" y="88"/>
                    <a:pt x="95" y="81"/>
                    <a:pt x="1" y="1"/>
                  </a:cubicBezTo>
                  <a:cubicBezTo>
                    <a:pt x="95" y="81"/>
                    <a:pt x="106" y="88"/>
                    <a:pt x="19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2" name="Google Shape;7639;p64">
              <a:extLst>
                <a:ext uri="{FF2B5EF4-FFF2-40B4-BE49-F238E27FC236}">
                  <a16:creationId xmlns:a16="http://schemas.microsoft.com/office/drawing/2014/main" id="{C8BF4CD1-DC62-CC88-674F-5DBE79772185}"/>
                </a:ext>
              </a:extLst>
            </p:cNvPr>
            <p:cNvSpPr/>
            <p:nvPr/>
          </p:nvSpPr>
          <p:spPr>
            <a:xfrm>
              <a:off x="2643499" y="1625270"/>
              <a:ext cx="1059" cy="1629"/>
            </a:xfrm>
            <a:custGeom>
              <a:avLst/>
              <a:gdLst/>
              <a:ahLst/>
              <a:cxnLst/>
              <a:rect l="l" t="t" r="r" b="b"/>
              <a:pathLst>
                <a:path w="78" h="120" extrusionOk="0">
                  <a:moveTo>
                    <a:pt x="77" y="1"/>
                  </a:moveTo>
                  <a:cubicBezTo>
                    <a:pt x="56" y="43"/>
                    <a:pt x="32" y="85"/>
                    <a:pt x="0" y="120"/>
                  </a:cubicBezTo>
                  <a:cubicBezTo>
                    <a:pt x="32" y="85"/>
                    <a:pt x="56" y="46"/>
                    <a:pt x="7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3" name="Google Shape;7640;p64">
              <a:extLst>
                <a:ext uri="{FF2B5EF4-FFF2-40B4-BE49-F238E27FC236}">
                  <a16:creationId xmlns:a16="http://schemas.microsoft.com/office/drawing/2014/main" id="{912A5A63-461F-4970-6F34-A938A8E2BCC6}"/>
                </a:ext>
              </a:extLst>
            </p:cNvPr>
            <p:cNvSpPr/>
            <p:nvPr/>
          </p:nvSpPr>
          <p:spPr>
            <a:xfrm>
              <a:off x="2626772" y="1600559"/>
              <a:ext cx="9708" cy="13415"/>
            </a:xfrm>
            <a:custGeom>
              <a:avLst/>
              <a:gdLst/>
              <a:ahLst/>
              <a:cxnLst/>
              <a:rect l="l" t="t" r="r" b="b"/>
              <a:pathLst>
                <a:path w="715" h="988" extrusionOk="0">
                  <a:moveTo>
                    <a:pt x="0" y="0"/>
                  </a:moveTo>
                  <a:cubicBezTo>
                    <a:pt x="235" y="238"/>
                    <a:pt x="462" y="588"/>
                    <a:pt x="627" y="848"/>
                  </a:cubicBezTo>
                  <a:cubicBezTo>
                    <a:pt x="462" y="588"/>
                    <a:pt x="235" y="235"/>
                    <a:pt x="0" y="0"/>
                  </a:cubicBezTo>
                  <a:close/>
                  <a:moveTo>
                    <a:pt x="627" y="848"/>
                  </a:moveTo>
                  <a:cubicBezTo>
                    <a:pt x="655" y="900"/>
                    <a:pt x="686" y="946"/>
                    <a:pt x="714" y="988"/>
                  </a:cubicBezTo>
                  <a:cubicBezTo>
                    <a:pt x="686" y="942"/>
                    <a:pt x="658" y="900"/>
                    <a:pt x="627" y="84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4" name="Google Shape;7641;p64">
              <a:extLst>
                <a:ext uri="{FF2B5EF4-FFF2-40B4-BE49-F238E27FC236}">
                  <a16:creationId xmlns:a16="http://schemas.microsoft.com/office/drawing/2014/main" id="{C313D9AB-7691-C912-F24C-DB3EC8F27693}"/>
                </a:ext>
              </a:extLst>
            </p:cNvPr>
            <p:cNvSpPr/>
            <p:nvPr/>
          </p:nvSpPr>
          <p:spPr>
            <a:xfrm>
              <a:off x="2691319" y="1637245"/>
              <a:ext cx="910" cy="1208"/>
            </a:xfrm>
            <a:custGeom>
              <a:avLst/>
              <a:gdLst/>
              <a:ahLst/>
              <a:cxnLst/>
              <a:rect l="l" t="t" r="r" b="b"/>
              <a:pathLst>
                <a:path w="67" h="89" extrusionOk="0">
                  <a:moveTo>
                    <a:pt x="67" y="89"/>
                  </a:moveTo>
                  <a:cubicBezTo>
                    <a:pt x="60" y="50"/>
                    <a:pt x="35" y="15"/>
                    <a:pt x="0" y="1"/>
                  </a:cubicBezTo>
                  <a:cubicBezTo>
                    <a:pt x="35" y="15"/>
                    <a:pt x="60" y="50"/>
                    <a:pt x="67" y="8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5" name="Google Shape;7642;p64">
              <a:extLst>
                <a:ext uri="{FF2B5EF4-FFF2-40B4-BE49-F238E27FC236}">
                  <a16:creationId xmlns:a16="http://schemas.microsoft.com/office/drawing/2014/main" id="{847400F6-37D8-77AC-7A07-D94648ACA14F}"/>
                </a:ext>
              </a:extLst>
            </p:cNvPr>
            <p:cNvSpPr/>
            <p:nvPr/>
          </p:nvSpPr>
          <p:spPr>
            <a:xfrm>
              <a:off x="2692216" y="1638494"/>
              <a:ext cx="1398" cy="2580"/>
            </a:xfrm>
            <a:custGeom>
              <a:avLst/>
              <a:gdLst/>
              <a:ahLst/>
              <a:cxnLst/>
              <a:rect l="l" t="t" r="r" b="b"/>
              <a:pathLst>
                <a:path w="103" h="190" extrusionOk="0">
                  <a:moveTo>
                    <a:pt x="1" y="0"/>
                  </a:moveTo>
                  <a:cubicBezTo>
                    <a:pt x="1" y="7"/>
                    <a:pt x="4" y="14"/>
                    <a:pt x="4" y="21"/>
                  </a:cubicBezTo>
                  <a:cubicBezTo>
                    <a:pt x="18" y="81"/>
                    <a:pt x="50" y="137"/>
                    <a:pt x="95" y="182"/>
                  </a:cubicBezTo>
                  <a:lnTo>
                    <a:pt x="102" y="189"/>
                  </a:lnTo>
                  <a:cubicBezTo>
                    <a:pt x="57" y="140"/>
                    <a:pt x="22" y="84"/>
                    <a:pt x="4" y="18"/>
                  </a:cubicBezTo>
                  <a:cubicBezTo>
                    <a:pt x="4" y="11"/>
                    <a:pt x="1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6" name="Google Shape;7643;p64">
              <a:extLst>
                <a:ext uri="{FF2B5EF4-FFF2-40B4-BE49-F238E27FC236}">
                  <a16:creationId xmlns:a16="http://schemas.microsoft.com/office/drawing/2014/main" id="{B218401A-EF8E-04C8-3F67-4307B3D317BA}"/>
                </a:ext>
              </a:extLst>
            </p:cNvPr>
            <p:cNvSpPr/>
            <p:nvPr/>
          </p:nvSpPr>
          <p:spPr>
            <a:xfrm>
              <a:off x="2584125" y="1590959"/>
              <a:ext cx="2390" cy="1005"/>
            </a:xfrm>
            <a:custGeom>
              <a:avLst/>
              <a:gdLst/>
              <a:ahLst/>
              <a:cxnLst/>
              <a:rect l="l" t="t" r="r" b="b"/>
              <a:pathLst>
                <a:path w="176" h="74" extrusionOk="0">
                  <a:moveTo>
                    <a:pt x="176" y="25"/>
                  </a:moveTo>
                  <a:cubicBezTo>
                    <a:pt x="113" y="0"/>
                    <a:pt x="43" y="21"/>
                    <a:pt x="1" y="74"/>
                  </a:cubicBezTo>
                  <a:cubicBezTo>
                    <a:pt x="43" y="21"/>
                    <a:pt x="113" y="0"/>
                    <a:pt x="176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7" name="Google Shape;7644;p64">
              <a:extLst>
                <a:ext uri="{FF2B5EF4-FFF2-40B4-BE49-F238E27FC236}">
                  <a16:creationId xmlns:a16="http://schemas.microsoft.com/office/drawing/2014/main" id="{CA276BCC-D163-7EC0-E8F4-F0A36CCC243F}"/>
                </a:ext>
              </a:extLst>
            </p:cNvPr>
            <p:cNvSpPr/>
            <p:nvPr/>
          </p:nvSpPr>
          <p:spPr>
            <a:xfrm>
              <a:off x="2673723" y="1629737"/>
              <a:ext cx="3815" cy="3245"/>
            </a:xfrm>
            <a:custGeom>
              <a:avLst/>
              <a:gdLst/>
              <a:ahLst/>
              <a:cxnLst/>
              <a:rect l="l" t="t" r="r" b="b"/>
              <a:pathLst>
                <a:path w="281" h="239" extrusionOk="0">
                  <a:moveTo>
                    <a:pt x="1" y="1"/>
                  </a:moveTo>
                  <a:lnTo>
                    <a:pt x="1" y="1"/>
                  </a:lnTo>
                  <a:cubicBezTo>
                    <a:pt x="88" y="211"/>
                    <a:pt x="214" y="239"/>
                    <a:pt x="281" y="239"/>
                  </a:cubicBezTo>
                  <a:cubicBezTo>
                    <a:pt x="214" y="239"/>
                    <a:pt x="88" y="207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8" name="Google Shape;7645;p64">
              <a:extLst>
                <a:ext uri="{FF2B5EF4-FFF2-40B4-BE49-F238E27FC236}">
                  <a16:creationId xmlns:a16="http://schemas.microsoft.com/office/drawing/2014/main" id="{A340520C-4BBA-AC10-E620-B12D625B6709}"/>
                </a:ext>
              </a:extLst>
            </p:cNvPr>
            <p:cNvSpPr/>
            <p:nvPr/>
          </p:nvSpPr>
          <p:spPr>
            <a:xfrm>
              <a:off x="2619345" y="1593335"/>
              <a:ext cx="1208" cy="2050"/>
            </a:xfrm>
            <a:custGeom>
              <a:avLst/>
              <a:gdLst/>
              <a:ahLst/>
              <a:cxnLst/>
              <a:rect l="l" t="t" r="r" b="b"/>
              <a:pathLst>
                <a:path w="89" h="151" extrusionOk="0">
                  <a:moveTo>
                    <a:pt x="15" y="151"/>
                  </a:moveTo>
                  <a:cubicBezTo>
                    <a:pt x="1" y="98"/>
                    <a:pt x="53" y="35"/>
                    <a:pt x="88" y="0"/>
                  </a:cubicBezTo>
                  <a:cubicBezTo>
                    <a:pt x="53" y="35"/>
                    <a:pt x="1" y="98"/>
                    <a:pt x="15" y="15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9" name="Google Shape;7646;p64">
              <a:extLst>
                <a:ext uri="{FF2B5EF4-FFF2-40B4-BE49-F238E27FC236}">
                  <a16:creationId xmlns:a16="http://schemas.microsoft.com/office/drawing/2014/main" id="{D39E0875-354C-E4F7-5825-3CE2FA975490}"/>
                </a:ext>
              </a:extLst>
            </p:cNvPr>
            <p:cNvSpPr/>
            <p:nvPr/>
          </p:nvSpPr>
          <p:spPr>
            <a:xfrm>
              <a:off x="2593969" y="159470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0" name="Google Shape;7647;p64">
              <a:extLst>
                <a:ext uri="{FF2B5EF4-FFF2-40B4-BE49-F238E27FC236}">
                  <a16:creationId xmlns:a16="http://schemas.microsoft.com/office/drawing/2014/main" id="{569DC458-87F9-B9FC-4C77-1EB849B59310}"/>
                </a:ext>
              </a:extLst>
            </p:cNvPr>
            <p:cNvSpPr/>
            <p:nvPr/>
          </p:nvSpPr>
          <p:spPr>
            <a:xfrm>
              <a:off x="2594919" y="1599269"/>
              <a:ext cx="299" cy="448"/>
            </a:xfrm>
            <a:custGeom>
              <a:avLst/>
              <a:gdLst/>
              <a:ahLst/>
              <a:cxnLst/>
              <a:rect l="l" t="t" r="r" b="b"/>
              <a:pathLst>
                <a:path w="22" h="33" extrusionOk="0">
                  <a:moveTo>
                    <a:pt x="0" y="32"/>
                  </a:moveTo>
                  <a:cubicBezTo>
                    <a:pt x="4" y="18"/>
                    <a:pt x="11" y="8"/>
                    <a:pt x="21" y="1"/>
                  </a:cubicBezTo>
                  <a:cubicBezTo>
                    <a:pt x="11" y="8"/>
                    <a:pt x="4" y="18"/>
                    <a:pt x="0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1" name="Google Shape;7648;p64">
              <a:extLst>
                <a:ext uri="{FF2B5EF4-FFF2-40B4-BE49-F238E27FC236}">
                  <a16:creationId xmlns:a16="http://schemas.microsoft.com/office/drawing/2014/main" id="{99C59656-4402-5251-F310-CF2A907E3089}"/>
                </a:ext>
              </a:extLst>
            </p:cNvPr>
            <p:cNvSpPr/>
            <p:nvPr/>
          </p:nvSpPr>
          <p:spPr>
            <a:xfrm>
              <a:off x="2600391" y="1598413"/>
              <a:ext cx="1195" cy="163"/>
            </a:xfrm>
            <a:custGeom>
              <a:avLst/>
              <a:gdLst/>
              <a:ahLst/>
              <a:cxnLst/>
              <a:rect l="l" t="t" r="r" b="b"/>
              <a:pathLst>
                <a:path w="88" h="12" extrusionOk="0">
                  <a:moveTo>
                    <a:pt x="88" y="1"/>
                  </a:moveTo>
                  <a:cubicBezTo>
                    <a:pt x="60" y="11"/>
                    <a:pt x="28" y="11"/>
                    <a:pt x="0" y="1"/>
                  </a:cubicBezTo>
                  <a:cubicBezTo>
                    <a:pt x="28" y="11"/>
                    <a:pt x="60" y="11"/>
                    <a:pt x="8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2" name="Google Shape;7649;p64">
              <a:extLst>
                <a:ext uri="{FF2B5EF4-FFF2-40B4-BE49-F238E27FC236}">
                  <a16:creationId xmlns:a16="http://schemas.microsoft.com/office/drawing/2014/main" id="{F6FA5B28-0338-ABE7-5B61-A5AA3ED6F0C3}"/>
                </a:ext>
              </a:extLst>
            </p:cNvPr>
            <p:cNvSpPr/>
            <p:nvPr/>
          </p:nvSpPr>
          <p:spPr>
            <a:xfrm>
              <a:off x="2607994" y="1592711"/>
              <a:ext cx="4576" cy="2444"/>
            </a:xfrm>
            <a:custGeom>
              <a:avLst/>
              <a:gdLst/>
              <a:ahLst/>
              <a:cxnLst/>
              <a:rect l="l" t="t" r="r" b="b"/>
              <a:pathLst>
                <a:path w="337" h="180" extrusionOk="0">
                  <a:moveTo>
                    <a:pt x="0" y="179"/>
                  </a:moveTo>
                  <a:cubicBezTo>
                    <a:pt x="109" y="155"/>
                    <a:pt x="228" y="74"/>
                    <a:pt x="336" y="1"/>
                  </a:cubicBezTo>
                  <a:cubicBezTo>
                    <a:pt x="228" y="74"/>
                    <a:pt x="109" y="155"/>
                    <a:pt x="0" y="17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3" name="Google Shape;7650;p64">
              <a:extLst>
                <a:ext uri="{FF2B5EF4-FFF2-40B4-BE49-F238E27FC236}">
                  <a16:creationId xmlns:a16="http://schemas.microsoft.com/office/drawing/2014/main" id="{5943D6DC-570E-2C05-75A6-FCB90E7C20A6}"/>
                </a:ext>
              </a:extLst>
            </p:cNvPr>
            <p:cNvSpPr/>
            <p:nvPr/>
          </p:nvSpPr>
          <p:spPr>
            <a:xfrm>
              <a:off x="2408921" y="1669763"/>
              <a:ext cx="1113" cy="638"/>
            </a:xfrm>
            <a:custGeom>
              <a:avLst/>
              <a:gdLst/>
              <a:ahLst/>
              <a:cxnLst/>
              <a:rect l="l" t="t" r="r" b="b"/>
              <a:pathLst>
                <a:path w="82" h="47" extrusionOk="0">
                  <a:moveTo>
                    <a:pt x="1" y="1"/>
                  </a:moveTo>
                  <a:cubicBezTo>
                    <a:pt x="25" y="15"/>
                    <a:pt x="53" y="29"/>
                    <a:pt x="81" y="46"/>
                  </a:cubicBezTo>
                  <a:lnTo>
                    <a:pt x="81" y="46"/>
                  </a:lnTo>
                  <a:cubicBezTo>
                    <a:pt x="53" y="29"/>
                    <a:pt x="25" y="1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4" name="Google Shape;7651;p64">
              <a:extLst>
                <a:ext uri="{FF2B5EF4-FFF2-40B4-BE49-F238E27FC236}">
                  <a16:creationId xmlns:a16="http://schemas.microsoft.com/office/drawing/2014/main" id="{26432F3A-AF7D-003E-3F8A-5C7702592923}"/>
                </a:ext>
              </a:extLst>
            </p:cNvPr>
            <p:cNvSpPr/>
            <p:nvPr/>
          </p:nvSpPr>
          <p:spPr>
            <a:xfrm>
              <a:off x="2397041" y="1656498"/>
              <a:ext cx="3965" cy="489"/>
            </a:xfrm>
            <a:custGeom>
              <a:avLst/>
              <a:gdLst/>
              <a:ahLst/>
              <a:cxnLst/>
              <a:rect l="l" t="t" r="r" b="b"/>
              <a:pathLst>
                <a:path w="292" h="36" extrusionOk="0">
                  <a:moveTo>
                    <a:pt x="0" y="36"/>
                  </a:moveTo>
                  <a:cubicBezTo>
                    <a:pt x="95" y="8"/>
                    <a:pt x="193" y="1"/>
                    <a:pt x="291" y="11"/>
                  </a:cubicBezTo>
                  <a:cubicBezTo>
                    <a:pt x="193" y="1"/>
                    <a:pt x="95" y="8"/>
                    <a:pt x="0" y="3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5" name="Google Shape;7652;p64">
              <a:extLst>
                <a:ext uri="{FF2B5EF4-FFF2-40B4-BE49-F238E27FC236}">
                  <a16:creationId xmlns:a16="http://schemas.microsoft.com/office/drawing/2014/main" id="{6A5523D4-AB69-A374-EB97-E7637F2F70CC}"/>
                </a:ext>
              </a:extLst>
            </p:cNvPr>
            <p:cNvSpPr/>
            <p:nvPr/>
          </p:nvSpPr>
          <p:spPr>
            <a:xfrm>
              <a:off x="2395045" y="1656742"/>
              <a:ext cx="2009" cy="530"/>
            </a:xfrm>
            <a:custGeom>
              <a:avLst/>
              <a:gdLst/>
              <a:ahLst/>
              <a:cxnLst/>
              <a:rect l="l" t="t" r="r" b="b"/>
              <a:pathLst>
                <a:path w="148" h="39" extrusionOk="0">
                  <a:moveTo>
                    <a:pt x="0" y="0"/>
                  </a:moveTo>
                  <a:cubicBezTo>
                    <a:pt x="42" y="32"/>
                    <a:pt x="98" y="39"/>
                    <a:pt x="147" y="18"/>
                  </a:cubicBezTo>
                  <a:cubicBezTo>
                    <a:pt x="98" y="39"/>
                    <a:pt x="42" y="32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6" name="Google Shape;7653;p64">
              <a:extLst>
                <a:ext uri="{FF2B5EF4-FFF2-40B4-BE49-F238E27FC236}">
                  <a16:creationId xmlns:a16="http://schemas.microsoft.com/office/drawing/2014/main" id="{B264BF3C-382C-94E5-D8D0-394075EFD988}"/>
                </a:ext>
              </a:extLst>
            </p:cNvPr>
            <p:cNvSpPr/>
            <p:nvPr/>
          </p:nvSpPr>
          <p:spPr>
            <a:xfrm>
              <a:off x="2498668" y="1608732"/>
              <a:ext cx="679" cy="2919"/>
            </a:xfrm>
            <a:custGeom>
              <a:avLst/>
              <a:gdLst/>
              <a:ahLst/>
              <a:cxnLst/>
              <a:rect l="l" t="t" r="r" b="b"/>
              <a:pathLst>
                <a:path w="50" h="215" extrusionOk="0">
                  <a:moveTo>
                    <a:pt x="49" y="214"/>
                  </a:moveTo>
                  <a:cubicBezTo>
                    <a:pt x="21" y="148"/>
                    <a:pt x="7" y="74"/>
                    <a:pt x="0" y="0"/>
                  </a:cubicBezTo>
                  <a:cubicBezTo>
                    <a:pt x="7" y="74"/>
                    <a:pt x="21" y="148"/>
                    <a:pt x="49" y="2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7" name="Google Shape;7654;p64">
              <a:extLst>
                <a:ext uri="{FF2B5EF4-FFF2-40B4-BE49-F238E27FC236}">
                  <a16:creationId xmlns:a16="http://schemas.microsoft.com/office/drawing/2014/main" id="{6B67E697-C003-2FF4-74AA-703E3CC673C5}"/>
                </a:ext>
              </a:extLst>
            </p:cNvPr>
            <p:cNvSpPr/>
            <p:nvPr/>
          </p:nvSpPr>
          <p:spPr>
            <a:xfrm>
              <a:off x="2403748" y="1658684"/>
              <a:ext cx="2240" cy="2960"/>
            </a:xfrm>
            <a:custGeom>
              <a:avLst/>
              <a:gdLst/>
              <a:ahLst/>
              <a:cxnLst/>
              <a:rect l="l" t="t" r="r" b="b"/>
              <a:pathLst>
                <a:path w="165" h="218" extrusionOk="0">
                  <a:moveTo>
                    <a:pt x="165" y="218"/>
                  </a:moveTo>
                  <a:cubicBezTo>
                    <a:pt x="105" y="148"/>
                    <a:pt x="49" y="74"/>
                    <a:pt x="0" y="1"/>
                  </a:cubicBezTo>
                  <a:cubicBezTo>
                    <a:pt x="49" y="74"/>
                    <a:pt x="105" y="148"/>
                    <a:pt x="165" y="2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8" name="Google Shape;7655;p64">
              <a:extLst>
                <a:ext uri="{FF2B5EF4-FFF2-40B4-BE49-F238E27FC236}">
                  <a16:creationId xmlns:a16="http://schemas.microsoft.com/office/drawing/2014/main" id="{F1B56C09-969E-3956-4271-F788E2DCF824}"/>
                </a:ext>
              </a:extLst>
            </p:cNvPr>
            <p:cNvSpPr/>
            <p:nvPr/>
          </p:nvSpPr>
          <p:spPr>
            <a:xfrm>
              <a:off x="2475519" y="1622853"/>
              <a:ext cx="4521" cy="1670"/>
            </a:xfrm>
            <a:custGeom>
              <a:avLst/>
              <a:gdLst/>
              <a:ahLst/>
              <a:cxnLst/>
              <a:rect l="l" t="t" r="r" b="b"/>
              <a:pathLst>
                <a:path w="333" h="123" extrusionOk="0">
                  <a:moveTo>
                    <a:pt x="0" y="123"/>
                  </a:moveTo>
                  <a:cubicBezTo>
                    <a:pt x="88" y="42"/>
                    <a:pt x="210" y="0"/>
                    <a:pt x="333" y="7"/>
                  </a:cubicBezTo>
                  <a:cubicBezTo>
                    <a:pt x="210" y="0"/>
                    <a:pt x="88" y="42"/>
                    <a:pt x="0" y="12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9" name="Google Shape;7656;p64">
              <a:extLst>
                <a:ext uri="{FF2B5EF4-FFF2-40B4-BE49-F238E27FC236}">
                  <a16:creationId xmlns:a16="http://schemas.microsoft.com/office/drawing/2014/main" id="{1BCB7DCA-E61F-AF7A-27D0-513388B2F8A5}"/>
                </a:ext>
              </a:extLst>
            </p:cNvPr>
            <p:cNvSpPr/>
            <p:nvPr/>
          </p:nvSpPr>
          <p:spPr>
            <a:xfrm>
              <a:off x="2428608" y="1618576"/>
              <a:ext cx="1195" cy="584"/>
            </a:xfrm>
            <a:custGeom>
              <a:avLst/>
              <a:gdLst/>
              <a:ahLst/>
              <a:cxnLst/>
              <a:rect l="l" t="t" r="r" b="b"/>
              <a:pathLst>
                <a:path w="88" h="43" extrusionOk="0">
                  <a:moveTo>
                    <a:pt x="0" y="0"/>
                  </a:moveTo>
                  <a:cubicBezTo>
                    <a:pt x="28" y="18"/>
                    <a:pt x="56" y="32"/>
                    <a:pt x="88" y="42"/>
                  </a:cubicBezTo>
                  <a:cubicBezTo>
                    <a:pt x="56" y="32"/>
                    <a:pt x="28" y="18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0" name="Google Shape;7657;p64">
              <a:extLst>
                <a:ext uri="{FF2B5EF4-FFF2-40B4-BE49-F238E27FC236}">
                  <a16:creationId xmlns:a16="http://schemas.microsoft.com/office/drawing/2014/main" id="{74DF6E13-CF2A-6A31-F288-34F9F13CA1A6}"/>
                </a:ext>
              </a:extLst>
            </p:cNvPr>
            <p:cNvSpPr/>
            <p:nvPr/>
          </p:nvSpPr>
          <p:spPr>
            <a:xfrm>
              <a:off x="2493862" y="1615480"/>
              <a:ext cx="204" cy="828"/>
            </a:xfrm>
            <a:custGeom>
              <a:avLst/>
              <a:gdLst/>
              <a:ahLst/>
              <a:cxnLst/>
              <a:rect l="l" t="t" r="r" b="b"/>
              <a:pathLst>
                <a:path w="15" h="61" extrusionOk="0">
                  <a:moveTo>
                    <a:pt x="1" y="60"/>
                  </a:moveTo>
                  <a:cubicBezTo>
                    <a:pt x="1" y="39"/>
                    <a:pt x="4" y="22"/>
                    <a:pt x="15" y="1"/>
                  </a:cubicBezTo>
                  <a:cubicBezTo>
                    <a:pt x="4" y="22"/>
                    <a:pt x="1" y="39"/>
                    <a:pt x="1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1" name="Google Shape;7658;p64">
              <a:extLst>
                <a:ext uri="{FF2B5EF4-FFF2-40B4-BE49-F238E27FC236}">
                  <a16:creationId xmlns:a16="http://schemas.microsoft.com/office/drawing/2014/main" id="{EA11C02E-F706-4A03-1B55-B7C8391787FD}"/>
                </a:ext>
              </a:extLst>
            </p:cNvPr>
            <p:cNvSpPr/>
            <p:nvPr/>
          </p:nvSpPr>
          <p:spPr>
            <a:xfrm>
              <a:off x="2578667" y="1593050"/>
              <a:ext cx="1249" cy="339"/>
            </a:xfrm>
            <a:custGeom>
              <a:avLst/>
              <a:gdLst/>
              <a:ahLst/>
              <a:cxnLst/>
              <a:rect l="l" t="t" r="r" b="b"/>
              <a:pathLst>
                <a:path w="92" h="25" extrusionOk="0">
                  <a:moveTo>
                    <a:pt x="91" y="21"/>
                  </a:moveTo>
                  <a:lnTo>
                    <a:pt x="91" y="21"/>
                  </a:lnTo>
                  <a:cubicBezTo>
                    <a:pt x="60" y="25"/>
                    <a:pt x="32" y="21"/>
                    <a:pt x="7" y="7"/>
                  </a:cubicBezTo>
                  <a:lnTo>
                    <a:pt x="0" y="0"/>
                  </a:lnTo>
                  <a:lnTo>
                    <a:pt x="7" y="7"/>
                  </a:lnTo>
                  <a:cubicBezTo>
                    <a:pt x="32" y="21"/>
                    <a:pt x="60" y="25"/>
                    <a:pt x="9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2" name="Google Shape;7659;p64">
              <a:extLst>
                <a:ext uri="{FF2B5EF4-FFF2-40B4-BE49-F238E27FC236}">
                  <a16:creationId xmlns:a16="http://schemas.microsoft.com/office/drawing/2014/main" id="{108F2836-7B77-B97C-1D2D-EB6A46DE4644}"/>
                </a:ext>
              </a:extLst>
            </p:cNvPr>
            <p:cNvSpPr/>
            <p:nvPr/>
          </p:nvSpPr>
          <p:spPr>
            <a:xfrm>
              <a:off x="2601667" y="1598318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" y="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3" name="Google Shape;7660;p64">
              <a:extLst>
                <a:ext uri="{FF2B5EF4-FFF2-40B4-BE49-F238E27FC236}">
                  <a16:creationId xmlns:a16="http://schemas.microsoft.com/office/drawing/2014/main" id="{1DAAFD0E-770B-9AC5-12D6-2E829DC0C0BA}"/>
                </a:ext>
              </a:extLst>
            </p:cNvPr>
            <p:cNvSpPr/>
            <p:nvPr/>
          </p:nvSpPr>
          <p:spPr>
            <a:xfrm>
              <a:off x="2398561" y="1629913"/>
              <a:ext cx="3340" cy="787"/>
            </a:xfrm>
            <a:custGeom>
              <a:avLst/>
              <a:gdLst/>
              <a:ahLst/>
              <a:cxnLst/>
              <a:rect l="l" t="t" r="r" b="b"/>
              <a:pathLst>
                <a:path w="246" h="58" extrusionOk="0">
                  <a:moveTo>
                    <a:pt x="84" y="0"/>
                  </a:moveTo>
                  <a:cubicBezTo>
                    <a:pt x="56" y="0"/>
                    <a:pt x="27" y="5"/>
                    <a:pt x="1" y="16"/>
                  </a:cubicBezTo>
                  <a:cubicBezTo>
                    <a:pt x="28" y="5"/>
                    <a:pt x="57" y="0"/>
                    <a:pt x="85" y="0"/>
                  </a:cubicBezTo>
                  <a:lnTo>
                    <a:pt x="85" y="0"/>
                  </a:lnTo>
                  <a:cubicBezTo>
                    <a:pt x="142" y="0"/>
                    <a:pt x="199" y="21"/>
                    <a:pt x="246" y="58"/>
                  </a:cubicBezTo>
                  <a:cubicBezTo>
                    <a:pt x="199" y="21"/>
                    <a:pt x="143" y="0"/>
                    <a:pt x="86" y="0"/>
                  </a:cubicBezTo>
                  <a:cubicBezTo>
                    <a:pt x="86" y="0"/>
                    <a:pt x="85" y="0"/>
                    <a:pt x="85" y="0"/>
                  </a:cubicBezTo>
                  <a:lnTo>
                    <a:pt x="85" y="0"/>
                  </a:lnTo>
                  <a:cubicBezTo>
                    <a:pt x="85" y="0"/>
                    <a:pt x="85" y="0"/>
                    <a:pt x="8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4" name="Google Shape;7661;p64">
              <a:extLst>
                <a:ext uri="{FF2B5EF4-FFF2-40B4-BE49-F238E27FC236}">
                  <a16:creationId xmlns:a16="http://schemas.microsoft.com/office/drawing/2014/main" id="{A2C97E77-B134-D1FD-ACA2-A74C31094CB3}"/>
                </a:ext>
              </a:extLst>
            </p:cNvPr>
            <p:cNvSpPr/>
            <p:nvPr/>
          </p:nvSpPr>
          <p:spPr>
            <a:xfrm>
              <a:off x="2603473" y="1596798"/>
              <a:ext cx="1208" cy="774"/>
            </a:xfrm>
            <a:custGeom>
              <a:avLst/>
              <a:gdLst/>
              <a:ahLst/>
              <a:cxnLst/>
              <a:rect l="l" t="t" r="r" b="b"/>
              <a:pathLst>
                <a:path w="89" h="57" extrusionOk="0">
                  <a:moveTo>
                    <a:pt x="1" y="57"/>
                  </a:moveTo>
                  <a:cubicBezTo>
                    <a:pt x="32" y="39"/>
                    <a:pt x="60" y="18"/>
                    <a:pt x="88" y="1"/>
                  </a:cubicBezTo>
                  <a:cubicBezTo>
                    <a:pt x="60" y="18"/>
                    <a:pt x="32" y="39"/>
                    <a:pt x="1" y="5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5" name="Google Shape;7662;p64">
              <a:extLst>
                <a:ext uri="{FF2B5EF4-FFF2-40B4-BE49-F238E27FC236}">
                  <a16:creationId xmlns:a16="http://schemas.microsoft.com/office/drawing/2014/main" id="{FB93442A-5694-FB0D-B098-1BCC3A5CF459}"/>
                </a:ext>
              </a:extLst>
            </p:cNvPr>
            <p:cNvSpPr/>
            <p:nvPr/>
          </p:nvSpPr>
          <p:spPr>
            <a:xfrm>
              <a:off x="2501370" y="1605066"/>
              <a:ext cx="733" cy="109"/>
            </a:xfrm>
            <a:custGeom>
              <a:avLst/>
              <a:gdLst/>
              <a:ahLst/>
              <a:cxnLst/>
              <a:rect l="l" t="t" r="r" b="b"/>
              <a:pathLst>
                <a:path w="54" h="8" extrusionOk="0">
                  <a:moveTo>
                    <a:pt x="1" y="8"/>
                  </a:moveTo>
                  <a:lnTo>
                    <a:pt x="53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6" name="Google Shape;7663;p64">
              <a:extLst>
                <a:ext uri="{FF2B5EF4-FFF2-40B4-BE49-F238E27FC236}">
                  <a16:creationId xmlns:a16="http://schemas.microsoft.com/office/drawing/2014/main" id="{BB5C2140-05B9-7C06-C3FF-A32647BB54E0}"/>
                </a:ext>
              </a:extLst>
            </p:cNvPr>
            <p:cNvSpPr/>
            <p:nvPr/>
          </p:nvSpPr>
          <p:spPr>
            <a:xfrm>
              <a:off x="2590398" y="159324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7" name="Google Shape;7664;p64">
              <a:extLst>
                <a:ext uri="{FF2B5EF4-FFF2-40B4-BE49-F238E27FC236}">
                  <a16:creationId xmlns:a16="http://schemas.microsoft.com/office/drawing/2014/main" id="{5C601125-B62A-F155-3ABF-AD55C7073C5A}"/>
                </a:ext>
              </a:extLst>
            </p:cNvPr>
            <p:cNvSpPr/>
            <p:nvPr/>
          </p:nvSpPr>
          <p:spPr>
            <a:xfrm>
              <a:off x="2693587" y="1641047"/>
              <a:ext cx="122" cy="122"/>
            </a:xfrm>
            <a:custGeom>
              <a:avLst/>
              <a:gdLst/>
              <a:ahLst/>
              <a:cxnLst/>
              <a:rect l="l" t="t" r="r" b="b"/>
              <a:pathLst>
                <a:path w="9" h="9" extrusionOk="0">
                  <a:moveTo>
                    <a:pt x="1" y="1"/>
                  </a:moveTo>
                  <a:lnTo>
                    <a:pt x="1" y="1"/>
                  </a:lnTo>
                  <a:lnTo>
                    <a:pt x="8" y="8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8" name="Google Shape;7665;p64">
              <a:extLst>
                <a:ext uri="{FF2B5EF4-FFF2-40B4-BE49-F238E27FC236}">
                  <a16:creationId xmlns:a16="http://schemas.microsoft.com/office/drawing/2014/main" id="{083E0E0E-2C29-7F65-C8C1-F9FD72A4E22B}"/>
                </a:ext>
              </a:extLst>
            </p:cNvPr>
            <p:cNvSpPr/>
            <p:nvPr/>
          </p:nvSpPr>
          <p:spPr>
            <a:xfrm>
              <a:off x="2139177" y="2004096"/>
              <a:ext cx="134295" cy="138844"/>
            </a:xfrm>
            <a:custGeom>
              <a:avLst/>
              <a:gdLst/>
              <a:ahLst/>
              <a:cxnLst/>
              <a:rect l="l" t="t" r="r" b="b"/>
              <a:pathLst>
                <a:path w="9891" h="10226" extrusionOk="0">
                  <a:moveTo>
                    <a:pt x="7044" y="1"/>
                  </a:moveTo>
                  <a:cubicBezTo>
                    <a:pt x="7023" y="1"/>
                    <a:pt x="7004" y="3"/>
                    <a:pt x="6988" y="9"/>
                  </a:cubicBezTo>
                  <a:cubicBezTo>
                    <a:pt x="6971" y="12"/>
                    <a:pt x="6957" y="23"/>
                    <a:pt x="6950" y="40"/>
                  </a:cubicBezTo>
                  <a:cubicBezTo>
                    <a:pt x="6891" y="157"/>
                    <a:pt x="6822" y="187"/>
                    <a:pt x="6751" y="187"/>
                  </a:cubicBezTo>
                  <a:cubicBezTo>
                    <a:pt x="6711" y="187"/>
                    <a:pt x="6671" y="178"/>
                    <a:pt x="6631" y="170"/>
                  </a:cubicBezTo>
                  <a:cubicBezTo>
                    <a:pt x="6571" y="156"/>
                    <a:pt x="6512" y="145"/>
                    <a:pt x="6449" y="145"/>
                  </a:cubicBezTo>
                  <a:cubicBezTo>
                    <a:pt x="6232" y="145"/>
                    <a:pt x="6036" y="243"/>
                    <a:pt x="5906" y="306"/>
                  </a:cubicBezTo>
                  <a:cubicBezTo>
                    <a:pt x="5866" y="325"/>
                    <a:pt x="5824" y="332"/>
                    <a:pt x="5781" y="332"/>
                  </a:cubicBezTo>
                  <a:cubicBezTo>
                    <a:pt x="5729" y="332"/>
                    <a:pt x="5677" y="321"/>
                    <a:pt x="5626" y="310"/>
                  </a:cubicBezTo>
                  <a:cubicBezTo>
                    <a:pt x="5587" y="303"/>
                    <a:pt x="5545" y="294"/>
                    <a:pt x="5514" y="294"/>
                  </a:cubicBezTo>
                  <a:cubicBezTo>
                    <a:pt x="5497" y="294"/>
                    <a:pt x="5484" y="297"/>
                    <a:pt x="5476" y="303"/>
                  </a:cubicBezTo>
                  <a:cubicBezTo>
                    <a:pt x="5420" y="338"/>
                    <a:pt x="5360" y="520"/>
                    <a:pt x="5332" y="632"/>
                  </a:cubicBezTo>
                  <a:lnTo>
                    <a:pt x="5318" y="695"/>
                  </a:lnTo>
                  <a:lnTo>
                    <a:pt x="4184" y="478"/>
                  </a:lnTo>
                  <a:lnTo>
                    <a:pt x="4170" y="453"/>
                  </a:lnTo>
                  <a:cubicBezTo>
                    <a:pt x="4117" y="376"/>
                    <a:pt x="3949" y="180"/>
                    <a:pt x="3785" y="180"/>
                  </a:cubicBezTo>
                  <a:cubicBezTo>
                    <a:pt x="3641" y="180"/>
                    <a:pt x="3403" y="415"/>
                    <a:pt x="3277" y="572"/>
                  </a:cubicBezTo>
                  <a:lnTo>
                    <a:pt x="3277" y="912"/>
                  </a:lnTo>
                  <a:cubicBezTo>
                    <a:pt x="3277" y="919"/>
                    <a:pt x="3281" y="926"/>
                    <a:pt x="3281" y="933"/>
                  </a:cubicBezTo>
                  <a:cubicBezTo>
                    <a:pt x="3281" y="943"/>
                    <a:pt x="3281" y="947"/>
                    <a:pt x="3284" y="954"/>
                  </a:cubicBezTo>
                  <a:cubicBezTo>
                    <a:pt x="3288" y="961"/>
                    <a:pt x="3284" y="971"/>
                    <a:pt x="3288" y="978"/>
                  </a:cubicBezTo>
                  <a:cubicBezTo>
                    <a:pt x="3288" y="989"/>
                    <a:pt x="3288" y="992"/>
                    <a:pt x="3288" y="999"/>
                  </a:cubicBezTo>
                  <a:lnTo>
                    <a:pt x="3288" y="1024"/>
                  </a:lnTo>
                  <a:lnTo>
                    <a:pt x="3288" y="1045"/>
                  </a:lnTo>
                  <a:lnTo>
                    <a:pt x="3288" y="1069"/>
                  </a:lnTo>
                  <a:lnTo>
                    <a:pt x="3288" y="1087"/>
                  </a:lnTo>
                  <a:lnTo>
                    <a:pt x="3288" y="1111"/>
                  </a:lnTo>
                  <a:lnTo>
                    <a:pt x="3288" y="1132"/>
                  </a:lnTo>
                  <a:lnTo>
                    <a:pt x="3288" y="1157"/>
                  </a:lnTo>
                  <a:lnTo>
                    <a:pt x="3288" y="1174"/>
                  </a:lnTo>
                  <a:cubicBezTo>
                    <a:pt x="3288" y="1181"/>
                    <a:pt x="3288" y="1188"/>
                    <a:pt x="3284" y="1195"/>
                  </a:cubicBezTo>
                  <a:cubicBezTo>
                    <a:pt x="3281" y="1202"/>
                    <a:pt x="3284" y="1209"/>
                    <a:pt x="3281" y="1216"/>
                  </a:cubicBezTo>
                  <a:cubicBezTo>
                    <a:pt x="3281" y="1223"/>
                    <a:pt x="3281" y="1230"/>
                    <a:pt x="3281" y="1237"/>
                  </a:cubicBezTo>
                  <a:cubicBezTo>
                    <a:pt x="3277" y="1244"/>
                    <a:pt x="3281" y="1251"/>
                    <a:pt x="3277" y="1258"/>
                  </a:cubicBezTo>
                  <a:cubicBezTo>
                    <a:pt x="3274" y="1265"/>
                    <a:pt x="3274" y="1269"/>
                    <a:pt x="3274" y="1276"/>
                  </a:cubicBezTo>
                  <a:cubicBezTo>
                    <a:pt x="3270" y="1283"/>
                    <a:pt x="3270" y="1290"/>
                    <a:pt x="3267" y="1297"/>
                  </a:cubicBezTo>
                  <a:cubicBezTo>
                    <a:pt x="3267" y="1304"/>
                    <a:pt x="3267" y="1307"/>
                    <a:pt x="3263" y="1314"/>
                  </a:cubicBezTo>
                  <a:cubicBezTo>
                    <a:pt x="3263" y="1318"/>
                    <a:pt x="3260" y="1328"/>
                    <a:pt x="3260" y="1335"/>
                  </a:cubicBezTo>
                  <a:lnTo>
                    <a:pt x="3256" y="1349"/>
                  </a:lnTo>
                  <a:cubicBezTo>
                    <a:pt x="3256" y="1356"/>
                    <a:pt x="3249" y="1363"/>
                    <a:pt x="3249" y="1370"/>
                  </a:cubicBezTo>
                  <a:lnTo>
                    <a:pt x="3246" y="1384"/>
                  </a:lnTo>
                  <a:cubicBezTo>
                    <a:pt x="3242" y="1391"/>
                    <a:pt x="3239" y="1398"/>
                    <a:pt x="3239" y="1405"/>
                  </a:cubicBezTo>
                  <a:lnTo>
                    <a:pt x="3235" y="1416"/>
                  </a:lnTo>
                  <a:cubicBezTo>
                    <a:pt x="3232" y="1423"/>
                    <a:pt x="3228" y="1430"/>
                    <a:pt x="3225" y="1437"/>
                  </a:cubicBezTo>
                  <a:lnTo>
                    <a:pt x="3221" y="1447"/>
                  </a:lnTo>
                  <a:lnTo>
                    <a:pt x="3214" y="1465"/>
                  </a:lnTo>
                  <a:lnTo>
                    <a:pt x="3207" y="1475"/>
                  </a:lnTo>
                  <a:lnTo>
                    <a:pt x="3200" y="1493"/>
                  </a:lnTo>
                  <a:cubicBezTo>
                    <a:pt x="3197" y="1503"/>
                    <a:pt x="3190" y="1510"/>
                    <a:pt x="3186" y="1517"/>
                  </a:cubicBezTo>
                  <a:cubicBezTo>
                    <a:pt x="3165" y="1552"/>
                    <a:pt x="3144" y="1580"/>
                    <a:pt x="3127" y="1612"/>
                  </a:cubicBezTo>
                  <a:cubicBezTo>
                    <a:pt x="3050" y="1724"/>
                    <a:pt x="2994" y="1808"/>
                    <a:pt x="2994" y="2060"/>
                  </a:cubicBezTo>
                  <a:cubicBezTo>
                    <a:pt x="2994" y="2253"/>
                    <a:pt x="2878" y="2491"/>
                    <a:pt x="2770" y="2722"/>
                  </a:cubicBezTo>
                  <a:cubicBezTo>
                    <a:pt x="2682" y="2907"/>
                    <a:pt x="2588" y="3096"/>
                    <a:pt x="2588" y="3208"/>
                  </a:cubicBezTo>
                  <a:cubicBezTo>
                    <a:pt x="2588" y="3390"/>
                    <a:pt x="2430" y="3520"/>
                    <a:pt x="2286" y="3635"/>
                  </a:cubicBezTo>
                  <a:cubicBezTo>
                    <a:pt x="2209" y="3695"/>
                    <a:pt x="2115" y="3772"/>
                    <a:pt x="2115" y="3817"/>
                  </a:cubicBezTo>
                  <a:cubicBezTo>
                    <a:pt x="2115" y="3887"/>
                    <a:pt x="2111" y="3992"/>
                    <a:pt x="2104" y="4108"/>
                  </a:cubicBezTo>
                  <a:cubicBezTo>
                    <a:pt x="2094" y="4287"/>
                    <a:pt x="2080" y="4511"/>
                    <a:pt x="2080" y="4728"/>
                  </a:cubicBezTo>
                  <a:cubicBezTo>
                    <a:pt x="2080" y="4931"/>
                    <a:pt x="2020" y="4987"/>
                    <a:pt x="1926" y="5008"/>
                  </a:cubicBezTo>
                  <a:cubicBezTo>
                    <a:pt x="1898" y="5018"/>
                    <a:pt x="1880" y="5022"/>
                    <a:pt x="1880" y="5134"/>
                  </a:cubicBezTo>
                  <a:cubicBezTo>
                    <a:pt x="1880" y="5375"/>
                    <a:pt x="1786" y="5407"/>
                    <a:pt x="1674" y="5421"/>
                  </a:cubicBezTo>
                  <a:cubicBezTo>
                    <a:pt x="1618" y="5424"/>
                    <a:pt x="1562" y="5445"/>
                    <a:pt x="1523" y="5484"/>
                  </a:cubicBezTo>
                  <a:cubicBezTo>
                    <a:pt x="1414" y="5593"/>
                    <a:pt x="1345" y="5650"/>
                    <a:pt x="1286" y="5650"/>
                  </a:cubicBezTo>
                  <a:cubicBezTo>
                    <a:pt x="1272" y="5650"/>
                    <a:pt x="1259" y="5647"/>
                    <a:pt x="1247" y="5641"/>
                  </a:cubicBezTo>
                  <a:cubicBezTo>
                    <a:pt x="1173" y="5613"/>
                    <a:pt x="1173" y="5515"/>
                    <a:pt x="1173" y="5473"/>
                  </a:cubicBezTo>
                  <a:cubicBezTo>
                    <a:pt x="1177" y="5445"/>
                    <a:pt x="1159" y="5417"/>
                    <a:pt x="1131" y="5407"/>
                  </a:cubicBezTo>
                  <a:cubicBezTo>
                    <a:pt x="1114" y="5399"/>
                    <a:pt x="1093" y="5395"/>
                    <a:pt x="1069" y="5395"/>
                  </a:cubicBezTo>
                  <a:cubicBezTo>
                    <a:pt x="1005" y="5395"/>
                    <a:pt x="921" y="5423"/>
                    <a:pt x="841" y="5491"/>
                  </a:cubicBezTo>
                  <a:cubicBezTo>
                    <a:pt x="762" y="5557"/>
                    <a:pt x="696" y="5579"/>
                    <a:pt x="640" y="5579"/>
                  </a:cubicBezTo>
                  <a:cubicBezTo>
                    <a:pt x="563" y="5579"/>
                    <a:pt x="507" y="5535"/>
                    <a:pt x="466" y="5505"/>
                  </a:cubicBezTo>
                  <a:cubicBezTo>
                    <a:pt x="449" y="5491"/>
                    <a:pt x="431" y="5480"/>
                    <a:pt x="414" y="5470"/>
                  </a:cubicBezTo>
                  <a:lnTo>
                    <a:pt x="389" y="5470"/>
                  </a:lnTo>
                  <a:lnTo>
                    <a:pt x="379" y="5473"/>
                  </a:lnTo>
                  <a:lnTo>
                    <a:pt x="372" y="5477"/>
                  </a:lnTo>
                  <a:lnTo>
                    <a:pt x="364" y="5480"/>
                  </a:lnTo>
                  <a:lnTo>
                    <a:pt x="354" y="5484"/>
                  </a:lnTo>
                  <a:lnTo>
                    <a:pt x="347" y="5487"/>
                  </a:lnTo>
                  <a:lnTo>
                    <a:pt x="336" y="5491"/>
                  </a:lnTo>
                  <a:lnTo>
                    <a:pt x="326" y="5498"/>
                  </a:lnTo>
                  <a:lnTo>
                    <a:pt x="312" y="5501"/>
                  </a:lnTo>
                  <a:lnTo>
                    <a:pt x="301" y="5508"/>
                  </a:lnTo>
                  <a:lnTo>
                    <a:pt x="287" y="5515"/>
                  </a:lnTo>
                  <a:lnTo>
                    <a:pt x="273" y="5522"/>
                  </a:lnTo>
                  <a:lnTo>
                    <a:pt x="263" y="5529"/>
                  </a:lnTo>
                  <a:lnTo>
                    <a:pt x="245" y="5536"/>
                  </a:lnTo>
                  <a:lnTo>
                    <a:pt x="231" y="5547"/>
                  </a:lnTo>
                  <a:lnTo>
                    <a:pt x="214" y="5554"/>
                  </a:lnTo>
                  <a:lnTo>
                    <a:pt x="200" y="5564"/>
                  </a:lnTo>
                  <a:lnTo>
                    <a:pt x="182" y="5575"/>
                  </a:lnTo>
                  <a:lnTo>
                    <a:pt x="165" y="5585"/>
                  </a:lnTo>
                  <a:lnTo>
                    <a:pt x="144" y="5599"/>
                  </a:lnTo>
                  <a:lnTo>
                    <a:pt x="126" y="5610"/>
                  </a:lnTo>
                  <a:lnTo>
                    <a:pt x="105" y="5624"/>
                  </a:lnTo>
                  <a:lnTo>
                    <a:pt x="88" y="5634"/>
                  </a:lnTo>
                  <a:lnTo>
                    <a:pt x="63" y="5648"/>
                  </a:lnTo>
                  <a:lnTo>
                    <a:pt x="46" y="5662"/>
                  </a:lnTo>
                  <a:lnTo>
                    <a:pt x="14" y="5683"/>
                  </a:lnTo>
                  <a:lnTo>
                    <a:pt x="0" y="5690"/>
                  </a:lnTo>
                  <a:cubicBezTo>
                    <a:pt x="74" y="5862"/>
                    <a:pt x="130" y="6037"/>
                    <a:pt x="168" y="6219"/>
                  </a:cubicBezTo>
                  <a:lnTo>
                    <a:pt x="172" y="6216"/>
                  </a:lnTo>
                  <a:lnTo>
                    <a:pt x="217" y="6187"/>
                  </a:lnTo>
                  <a:lnTo>
                    <a:pt x="259" y="6163"/>
                  </a:lnTo>
                  <a:lnTo>
                    <a:pt x="266" y="6156"/>
                  </a:lnTo>
                  <a:lnTo>
                    <a:pt x="301" y="6138"/>
                  </a:lnTo>
                  <a:lnTo>
                    <a:pt x="308" y="6135"/>
                  </a:lnTo>
                  <a:lnTo>
                    <a:pt x="336" y="6121"/>
                  </a:lnTo>
                  <a:lnTo>
                    <a:pt x="340" y="6121"/>
                  </a:lnTo>
                  <a:lnTo>
                    <a:pt x="361" y="6114"/>
                  </a:lnTo>
                  <a:lnTo>
                    <a:pt x="364" y="6114"/>
                  </a:lnTo>
                  <a:lnTo>
                    <a:pt x="386" y="6107"/>
                  </a:lnTo>
                  <a:lnTo>
                    <a:pt x="389" y="6107"/>
                  </a:lnTo>
                  <a:lnTo>
                    <a:pt x="407" y="6100"/>
                  </a:lnTo>
                  <a:lnTo>
                    <a:pt x="424" y="6100"/>
                  </a:lnTo>
                  <a:cubicBezTo>
                    <a:pt x="482" y="6091"/>
                    <a:pt x="692" y="6088"/>
                    <a:pt x="949" y="6088"/>
                  </a:cubicBezTo>
                  <a:cubicBezTo>
                    <a:pt x="1462" y="6088"/>
                    <a:pt x="2162" y="6100"/>
                    <a:pt x="2206" y="6100"/>
                  </a:cubicBezTo>
                  <a:lnTo>
                    <a:pt x="2241" y="6100"/>
                  </a:lnTo>
                  <a:lnTo>
                    <a:pt x="2258" y="6128"/>
                  </a:lnTo>
                  <a:cubicBezTo>
                    <a:pt x="2265" y="6142"/>
                    <a:pt x="2419" y="6398"/>
                    <a:pt x="2363" y="6639"/>
                  </a:cubicBezTo>
                  <a:cubicBezTo>
                    <a:pt x="2346" y="6720"/>
                    <a:pt x="2353" y="6723"/>
                    <a:pt x="2398" y="6762"/>
                  </a:cubicBezTo>
                  <a:cubicBezTo>
                    <a:pt x="2483" y="6828"/>
                    <a:pt x="2542" y="6916"/>
                    <a:pt x="2581" y="7010"/>
                  </a:cubicBezTo>
                  <a:cubicBezTo>
                    <a:pt x="2677" y="7245"/>
                    <a:pt x="2746" y="7332"/>
                    <a:pt x="2860" y="7332"/>
                  </a:cubicBezTo>
                  <a:cubicBezTo>
                    <a:pt x="2890" y="7332"/>
                    <a:pt x="2924" y="7326"/>
                    <a:pt x="2962" y="7315"/>
                  </a:cubicBezTo>
                  <a:cubicBezTo>
                    <a:pt x="3152" y="7257"/>
                    <a:pt x="3395" y="7207"/>
                    <a:pt x="3542" y="7207"/>
                  </a:cubicBezTo>
                  <a:cubicBezTo>
                    <a:pt x="3563" y="7207"/>
                    <a:pt x="3583" y="7208"/>
                    <a:pt x="3599" y="7210"/>
                  </a:cubicBezTo>
                  <a:cubicBezTo>
                    <a:pt x="3613" y="7168"/>
                    <a:pt x="3624" y="7126"/>
                    <a:pt x="3634" y="7080"/>
                  </a:cubicBezTo>
                  <a:cubicBezTo>
                    <a:pt x="3662" y="6944"/>
                    <a:pt x="3694" y="6786"/>
                    <a:pt x="3799" y="6734"/>
                  </a:cubicBezTo>
                  <a:cubicBezTo>
                    <a:pt x="3859" y="6704"/>
                    <a:pt x="3936" y="6694"/>
                    <a:pt x="4011" y="6694"/>
                  </a:cubicBezTo>
                  <a:cubicBezTo>
                    <a:pt x="4140" y="6694"/>
                    <a:pt x="4262" y="6723"/>
                    <a:pt x="4282" y="6730"/>
                  </a:cubicBezTo>
                  <a:lnTo>
                    <a:pt x="4320" y="6741"/>
                  </a:lnTo>
                  <a:lnTo>
                    <a:pt x="4331" y="6779"/>
                  </a:lnTo>
                  <a:cubicBezTo>
                    <a:pt x="4331" y="6779"/>
                    <a:pt x="4355" y="6849"/>
                    <a:pt x="4531" y="6849"/>
                  </a:cubicBezTo>
                  <a:cubicBezTo>
                    <a:pt x="4594" y="6849"/>
                    <a:pt x="4657" y="6842"/>
                    <a:pt x="4716" y="6832"/>
                  </a:cubicBezTo>
                  <a:cubicBezTo>
                    <a:pt x="4752" y="6827"/>
                    <a:pt x="4785" y="6822"/>
                    <a:pt x="4815" y="6822"/>
                  </a:cubicBezTo>
                  <a:cubicBezTo>
                    <a:pt x="4853" y="6822"/>
                    <a:pt x="4885" y="6829"/>
                    <a:pt x="4912" y="6853"/>
                  </a:cubicBezTo>
                  <a:cubicBezTo>
                    <a:pt x="4947" y="6888"/>
                    <a:pt x="4965" y="6937"/>
                    <a:pt x="4961" y="6986"/>
                  </a:cubicBezTo>
                  <a:cubicBezTo>
                    <a:pt x="4961" y="7178"/>
                    <a:pt x="4993" y="7329"/>
                    <a:pt x="5038" y="7378"/>
                  </a:cubicBezTo>
                  <a:cubicBezTo>
                    <a:pt x="5094" y="7434"/>
                    <a:pt x="5070" y="7539"/>
                    <a:pt x="5017" y="7759"/>
                  </a:cubicBezTo>
                  <a:cubicBezTo>
                    <a:pt x="4989" y="7871"/>
                    <a:pt x="4930" y="8109"/>
                    <a:pt x="4961" y="8148"/>
                  </a:cubicBezTo>
                  <a:cubicBezTo>
                    <a:pt x="5077" y="8242"/>
                    <a:pt x="5283" y="8484"/>
                    <a:pt x="5252" y="8649"/>
                  </a:cubicBezTo>
                  <a:cubicBezTo>
                    <a:pt x="5248" y="8663"/>
                    <a:pt x="5245" y="8677"/>
                    <a:pt x="5241" y="8694"/>
                  </a:cubicBezTo>
                  <a:cubicBezTo>
                    <a:pt x="5206" y="8869"/>
                    <a:pt x="5192" y="8974"/>
                    <a:pt x="5210" y="9009"/>
                  </a:cubicBezTo>
                  <a:cubicBezTo>
                    <a:pt x="5224" y="8999"/>
                    <a:pt x="5238" y="8988"/>
                    <a:pt x="5248" y="8974"/>
                  </a:cubicBezTo>
                  <a:cubicBezTo>
                    <a:pt x="5304" y="8904"/>
                    <a:pt x="5388" y="8866"/>
                    <a:pt x="5479" y="8862"/>
                  </a:cubicBezTo>
                  <a:lnTo>
                    <a:pt x="5581" y="8862"/>
                  </a:lnTo>
                  <a:cubicBezTo>
                    <a:pt x="5613" y="8863"/>
                    <a:pt x="5645" y="8864"/>
                    <a:pt x="5675" y="8864"/>
                  </a:cubicBezTo>
                  <a:cubicBezTo>
                    <a:pt x="5764" y="8864"/>
                    <a:pt x="5847" y="8856"/>
                    <a:pt x="5938" y="8820"/>
                  </a:cubicBezTo>
                  <a:cubicBezTo>
                    <a:pt x="5964" y="8807"/>
                    <a:pt x="5994" y="8800"/>
                    <a:pt x="6023" y="8800"/>
                  </a:cubicBezTo>
                  <a:cubicBezTo>
                    <a:pt x="6033" y="8800"/>
                    <a:pt x="6043" y="8801"/>
                    <a:pt x="6053" y="8803"/>
                  </a:cubicBezTo>
                  <a:lnTo>
                    <a:pt x="6053" y="8785"/>
                  </a:lnTo>
                  <a:lnTo>
                    <a:pt x="6144" y="8834"/>
                  </a:lnTo>
                  <a:lnTo>
                    <a:pt x="6190" y="8855"/>
                  </a:lnTo>
                  <a:lnTo>
                    <a:pt x="6190" y="8859"/>
                  </a:lnTo>
                  <a:cubicBezTo>
                    <a:pt x="6239" y="8894"/>
                    <a:pt x="6281" y="8939"/>
                    <a:pt x="6316" y="8992"/>
                  </a:cubicBezTo>
                  <a:lnTo>
                    <a:pt x="6319" y="9002"/>
                  </a:lnTo>
                  <a:lnTo>
                    <a:pt x="6326" y="9016"/>
                  </a:lnTo>
                  <a:cubicBezTo>
                    <a:pt x="6333" y="9048"/>
                    <a:pt x="6351" y="9076"/>
                    <a:pt x="6375" y="9097"/>
                  </a:cubicBezTo>
                  <a:lnTo>
                    <a:pt x="6379" y="9097"/>
                  </a:lnTo>
                  <a:cubicBezTo>
                    <a:pt x="6382" y="9097"/>
                    <a:pt x="6552" y="9020"/>
                    <a:pt x="6680" y="9020"/>
                  </a:cubicBezTo>
                  <a:cubicBezTo>
                    <a:pt x="6720" y="9020"/>
                    <a:pt x="6756" y="9028"/>
                    <a:pt x="6782" y="9048"/>
                  </a:cubicBezTo>
                  <a:cubicBezTo>
                    <a:pt x="6810" y="9072"/>
                    <a:pt x="6824" y="9111"/>
                    <a:pt x="6813" y="9149"/>
                  </a:cubicBezTo>
                  <a:cubicBezTo>
                    <a:pt x="6810" y="9202"/>
                    <a:pt x="6824" y="9258"/>
                    <a:pt x="6855" y="9303"/>
                  </a:cubicBezTo>
                  <a:cubicBezTo>
                    <a:pt x="6873" y="9331"/>
                    <a:pt x="6890" y="9342"/>
                    <a:pt x="6894" y="9342"/>
                  </a:cubicBezTo>
                  <a:cubicBezTo>
                    <a:pt x="6914" y="9330"/>
                    <a:pt x="6937" y="9325"/>
                    <a:pt x="6961" y="9325"/>
                  </a:cubicBezTo>
                  <a:cubicBezTo>
                    <a:pt x="7032" y="9325"/>
                    <a:pt x="7116" y="9367"/>
                    <a:pt x="7202" y="9412"/>
                  </a:cubicBezTo>
                  <a:cubicBezTo>
                    <a:pt x="7258" y="9443"/>
                    <a:pt x="7317" y="9468"/>
                    <a:pt x="7380" y="9478"/>
                  </a:cubicBezTo>
                  <a:cubicBezTo>
                    <a:pt x="7394" y="9479"/>
                    <a:pt x="7408" y="9480"/>
                    <a:pt x="7422" y="9480"/>
                  </a:cubicBezTo>
                  <a:cubicBezTo>
                    <a:pt x="7468" y="9480"/>
                    <a:pt x="7512" y="9475"/>
                    <a:pt x="7555" y="9464"/>
                  </a:cubicBezTo>
                  <a:cubicBezTo>
                    <a:pt x="7562" y="9380"/>
                    <a:pt x="7650" y="9296"/>
                    <a:pt x="7727" y="9279"/>
                  </a:cubicBezTo>
                  <a:cubicBezTo>
                    <a:pt x="7737" y="9275"/>
                    <a:pt x="7748" y="9275"/>
                    <a:pt x="7758" y="9275"/>
                  </a:cubicBezTo>
                  <a:lnTo>
                    <a:pt x="7765" y="9275"/>
                  </a:lnTo>
                  <a:cubicBezTo>
                    <a:pt x="7776" y="9275"/>
                    <a:pt x="7786" y="9275"/>
                    <a:pt x="7793" y="9279"/>
                  </a:cubicBezTo>
                  <a:lnTo>
                    <a:pt x="7797" y="9279"/>
                  </a:lnTo>
                  <a:cubicBezTo>
                    <a:pt x="7807" y="9282"/>
                    <a:pt x="7814" y="9286"/>
                    <a:pt x="7825" y="9289"/>
                  </a:cubicBezTo>
                  <a:lnTo>
                    <a:pt x="7828" y="9293"/>
                  </a:lnTo>
                  <a:cubicBezTo>
                    <a:pt x="7835" y="9300"/>
                    <a:pt x="7846" y="9307"/>
                    <a:pt x="7853" y="9314"/>
                  </a:cubicBezTo>
                  <a:lnTo>
                    <a:pt x="7856" y="9317"/>
                  </a:lnTo>
                  <a:cubicBezTo>
                    <a:pt x="7863" y="9328"/>
                    <a:pt x="7870" y="9335"/>
                    <a:pt x="7874" y="9345"/>
                  </a:cubicBezTo>
                  <a:cubicBezTo>
                    <a:pt x="7972" y="9538"/>
                    <a:pt x="8059" y="9625"/>
                    <a:pt x="8105" y="9625"/>
                  </a:cubicBezTo>
                  <a:cubicBezTo>
                    <a:pt x="8121" y="9625"/>
                    <a:pt x="8137" y="9624"/>
                    <a:pt x="8153" y="9624"/>
                  </a:cubicBezTo>
                  <a:cubicBezTo>
                    <a:pt x="8227" y="9624"/>
                    <a:pt x="8298" y="9631"/>
                    <a:pt x="8367" y="9639"/>
                  </a:cubicBezTo>
                  <a:cubicBezTo>
                    <a:pt x="8423" y="9643"/>
                    <a:pt x="8476" y="9657"/>
                    <a:pt x="8521" y="9681"/>
                  </a:cubicBezTo>
                  <a:cubicBezTo>
                    <a:pt x="8528" y="9685"/>
                    <a:pt x="8535" y="9688"/>
                    <a:pt x="8539" y="9695"/>
                  </a:cubicBezTo>
                  <a:lnTo>
                    <a:pt x="8546" y="9699"/>
                  </a:lnTo>
                  <a:cubicBezTo>
                    <a:pt x="8549" y="9702"/>
                    <a:pt x="8556" y="9706"/>
                    <a:pt x="8560" y="9713"/>
                  </a:cubicBezTo>
                  <a:cubicBezTo>
                    <a:pt x="8560" y="9716"/>
                    <a:pt x="8563" y="9720"/>
                    <a:pt x="8563" y="9720"/>
                  </a:cubicBezTo>
                  <a:cubicBezTo>
                    <a:pt x="8567" y="9723"/>
                    <a:pt x="8570" y="9727"/>
                    <a:pt x="8570" y="9730"/>
                  </a:cubicBezTo>
                  <a:cubicBezTo>
                    <a:pt x="8574" y="9734"/>
                    <a:pt x="8574" y="9737"/>
                    <a:pt x="8577" y="9741"/>
                  </a:cubicBezTo>
                  <a:cubicBezTo>
                    <a:pt x="8577" y="9744"/>
                    <a:pt x="8581" y="9748"/>
                    <a:pt x="8581" y="9755"/>
                  </a:cubicBezTo>
                  <a:cubicBezTo>
                    <a:pt x="8581" y="9755"/>
                    <a:pt x="8581" y="9758"/>
                    <a:pt x="8581" y="9762"/>
                  </a:cubicBezTo>
                  <a:cubicBezTo>
                    <a:pt x="8584" y="9769"/>
                    <a:pt x="8584" y="9779"/>
                    <a:pt x="8584" y="9786"/>
                  </a:cubicBezTo>
                  <a:cubicBezTo>
                    <a:pt x="8584" y="9867"/>
                    <a:pt x="8675" y="10115"/>
                    <a:pt x="8777" y="10196"/>
                  </a:cubicBezTo>
                  <a:cubicBezTo>
                    <a:pt x="8804" y="10217"/>
                    <a:pt x="8846" y="10225"/>
                    <a:pt x="8892" y="10225"/>
                  </a:cubicBezTo>
                  <a:cubicBezTo>
                    <a:pt x="8960" y="10225"/>
                    <a:pt x="9038" y="10208"/>
                    <a:pt x="9092" y="10189"/>
                  </a:cubicBezTo>
                  <a:cubicBezTo>
                    <a:pt x="9138" y="10136"/>
                    <a:pt x="9162" y="10070"/>
                    <a:pt x="9159" y="10003"/>
                  </a:cubicBezTo>
                  <a:cubicBezTo>
                    <a:pt x="9159" y="9916"/>
                    <a:pt x="9159" y="9748"/>
                    <a:pt x="9138" y="9688"/>
                  </a:cubicBezTo>
                  <a:cubicBezTo>
                    <a:pt x="9124" y="9695"/>
                    <a:pt x="9106" y="9706"/>
                    <a:pt x="9092" y="9716"/>
                  </a:cubicBezTo>
                  <a:cubicBezTo>
                    <a:pt x="9033" y="9756"/>
                    <a:pt x="8951" y="9811"/>
                    <a:pt x="8848" y="9811"/>
                  </a:cubicBezTo>
                  <a:cubicBezTo>
                    <a:pt x="8823" y="9811"/>
                    <a:pt x="8797" y="9808"/>
                    <a:pt x="8770" y="9800"/>
                  </a:cubicBezTo>
                  <a:cubicBezTo>
                    <a:pt x="8630" y="9762"/>
                    <a:pt x="8539" y="9601"/>
                    <a:pt x="8462" y="9471"/>
                  </a:cubicBezTo>
                  <a:cubicBezTo>
                    <a:pt x="8441" y="9429"/>
                    <a:pt x="8416" y="9391"/>
                    <a:pt x="8385" y="9356"/>
                  </a:cubicBezTo>
                  <a:cubicBezTo>
                    <a:pt x="8301" y="9300"/>
                    <a:pt x="8350" y="9177"/>
                    <a:pt x="8409" y="9020"/>
                  </a:cubicBezTo>
                  <a:cubicBezTo>
                    <a:pt x="8444" y="8946"/>
                    <a:pt x="8465" y="8869"/>
                    <a:pt x="8479" y="8792"/>
                  </a:cubicBezTo>
                  <a:cubicBezTo>
                    <a:pt x="8483" y="8719"/>
                    <a:pt x="8493" y="8645"/>
                    <a:pt x="8507" y="8572"/>
                  </a:cubicBezTo>
                  <a:cubicBezTo>
                    <a:pt x="8521" y="8477"/>
                    <a:pt x="8556" y="8285"/>
                    <a:pt x="8535" y="8239"/>
                  </a:cubicBezTo>
                  <a:cubicBezTo>
                    <a:pt x="8486" y="8214"/>
                    <a:pt x="8458" y="8169"/>
                    <a:pt x="8451" y="8116"/>
                  </a:cubicBezTo>
                  <a:cubicBezTo>
                    <a:pt x="8444" y="8029"/>
                    <a:pt x="8500" y="7920"/>
                    <a:pt x="8602" y="7840"/>
                  </a:cubicBezTo>
                  <a:cubicBezTo>
                    <a:pt x="8630" y="7819"/>
                    <a:pt x="8626" y="7759"/>
                    <a:pt x="8623" y="7703"/>
                  </a:cubicBezTo>
                  <a:cubicBezTo>
                    <a:pt x="8619" y="7633"/>
                    <a:pt x="8616" y="7560"/>
                    <a:pt x="8665" y="7507"/>
                  </a:cubicBezTo>
                  <a:cubicBezTo>
                    <a:pt x="8697" y="7479"/>
                    <a:pt x="8734" y="7465"/>
                    <a:pt x="8774" y="7465"/>
                  </a:cubicBezTo>
                  <a:cubicBezTo>
                    <a:pt x="8778" y="7465"/>
                    <a:pt x="8783" y="7465"/>
                    <a:pt x="8788" y="7465"/>
                  </a:cubicBezTo>
                  <a:lnTo>
                    <a:pt x="8861" y="7465"/>
                  </a:lnTo>
                  <a:cubicBezTo>
                    <a:pt x="8873" y="7465"/>
                    <a:pt x="8886" y="7465"/>
                    <a:pt x="8900" y="7465"/>
                  </a:cubicBezTo>
                  <a:cubicBezTo>
                    <a:pt x="9060" y="7465"/>
                    <a:pt x="9329" y="7462"/>
                    <a:pt x="9397" y="7388"/>
                  </a:cubicBezTo>
                  <a:lnTo>
                    <a:pt x="9411" y="7374"/>
                  </a:lnTo>
                  <a:cubicBezTo>
                    <a:pt x="9418" y="7364"/>
                    <a:pt x="9421" y="7357"/>
                    <a:pt x="9425" y="7346"/>
                  </a:cubicBezTo>
                  <a:lnTo>
                    <a:pt x="9428" y="7336"/>
                  </a:lnTo>
                  <a:lnTo>
                    <a:pt x="9432" y="7332"/>
                  </a:lnTo>
                  <a:cubicBezTo>
                    <a:pt x="9407" y="7294"/>
                    <a:pt x="9386" y="7252"/>
                    <a:pt x="9362" y="7210"/>
                  </a:cubicBezTo>
                  <a:cubicBezTo>
                    <a:pt x="9274" y="7056"/>
                    <a:pt x="9173" y="6877"/>
                    <a:pt x="9075" y="6825"/>
                  </a:cubicBezTo>
                  <a:cubicBezTo>
                    <a:pt x="8798" y="6674"/>
                    <a:pt x="8714" y="5351"/>
                    <a:pt x="8746" y="4927"/>
                  </a:cubicBezTo>
                  <a:cubicBezTo>
                    <a:pt x="8760" y="4766"/>
                    <a:pt x="8784" y="4700"/>
                    <a:pt x="8840" y="4679"/>
                  </a:cubicBezTo>
                  <a:lnTo>
                    <a:pt x="8823" y="4427"/>
                  </a:lnTo>
                  <a:lnTo>
                    <a:pt x="8486" y="4287"/>
                  </a:lnTo>
                  <a:lnTo>
                    <a:pt x="8690" y="4294"/>
                  </a:lnTo>
                  <a:cubicBezTo>
                    <a:pt x="8690" y="4290"/>
                    <a:pt x="8690" y="4287"/>
                    <a:pt x="8686" y="4283"/>
                  </a:cubicBezTo>
                  <a:lnTo>
                    <a:pt x="8686" y="4280"/>
                  </a:lnTo>
                  <a:cubicBezTo>
                    <a:pt x="8686" y="4269"/>
                    <a:pt x="8683" y="4262"/>
                    <a:pt x="8683" y="4252"/>
                  </a:cubicBezTo>
                  <a:lnTo>
                    <a:pt x="8683" y="4245"/>
                  </a:lnTo>
                  <a:cubicBezTo>
                    <a:pt x="8679" y="4231"/>
                    <a:pt x="8679" y="4220"/>
                    <a:pt x="8679" y="4206"/>
                  </a:cubicBezTo>
                  <a:cubicBezTo>
                    <a:pt x="8672" y="4118"/>
                    <a:pt x="8721" y="4038"/>
                    <a:pt x="8798" y="4003"/>
                  </a:cubicBezTo>
                  <a:cubicBezTo>
                    <a:pt x="8798" y="3894"/>
                    <a:pt x="8812" y="3688"/>
                    <a:pt x="8952" y="3635"/>
                  </a:cubicBezTo>
                  <a:cubicBezTo>
                    <a:pt x="8970" y="3628"/>
                    <a:pt x="8984" y="3618"/>
                    <a:pt x="8991" y="3604"/>
                  </a:cubicBezTo>
                  <a:cubicBezTo>
                    <a:pt x="9036" y="3551"/>
                    <a:pt x="9061" y="3446"/>
                    <a:pt x="9068" y="3310"/>
                  </a:cubicBezTo>
                  <a:lnTo>
                    <a:pt x="9068" y="3247"/>
                  </a:lnTo>
                  <a:cubicBezTo>
                    <a:pt x="9068" y="3075"/>
                    <a:pt x="9103" y="2907"/>
                    <a:pt x="9169" y="2750"/>
                  </a:cubicBezTo>
                  <a:cubicBezTo>
                    <a:pt x="9190" y="2697"/>
                    <a:pt x="9204" y="2645"/>
                    <a:pt x="9211" y="2592"/>
                  </a:cubicBezTo>
                  <a:cubicBezTo>
                    <a:pt x="9225" y="2494"/>
                    <a:pt x="9243" y="2393"/>
                    <a:pt x="9323" y="2333"/>
                  </a:cubicBezTo>
                  <a:cubicBezTo>
                    <a:pt x="9355" y="2302"/>
                    <a:pt x="9376" y="2263"/>
                    <a:pt x="9386" y="2218"/>
                  </a:cubicBezTo>
                  <a:cubicBezTo>
                    <a:pt x="9418" y="2144"/>
                    <a:pt x="9453" y="2050"/>
                    <a:pt x="9551" y="2021"/>
                  </a:cubicBezTo>
                  <a:cubicBezTo>
                    <a:pt x="9712" y="1972"/>
                    <a:pt x="9733" y="1927"/>
                    <a:pt x="9733" y="1916"/>
                  </a:cubicBezTo>
                  <a:cubicBezTo>
                    <a:pt x="9750" y="1864"/>
                    <a:pt x="9778" y="1818"/>
                    <a:pt x="9813" y="1780"/>
                  </a:cubicBezTo>
                  <a:cubicBezTo>
                    <a:pt x="9852" y="1738"/>
                    <a:pt x="9890" y="1685"/>
                    <a:pt x="9890" y="1650"/>
                  </a:cubicBezTo>
                  <a:cubicBezTo>
                    <a:pt x="9890" y="1629"/>
                    <a:pt x="9869" y="1612"/>
                    <a:pt x="9831" y="1580"/>
                  </a:cubicBezTo>
                  <a:cubicBezTo>
                    <a:pt x="9778" y="1542"/>
                    <a:pt x="9708" y="1486"/>
                    <a:pt x="9708" y="1384"/>
                  </a:cubicBezTo>
                  <a:lnTo>
                    <a:pt x="9708" y="1356"/>
                  </a:lnTo>
                  <a:lnTo>
                    <a:pt x="9708" y="1349"/>
                  </a:lnTo>
                  <a:lnTo>
                    <a:pt x="9708" y="1328"/>
                  </a:lnTo>
                  <a:lnTo>
                    <a:pt x="9708" y="1314"/>
                  </a:lnTo>
                  <a:lnTo>
                    <a:pt x="9708" y="1297"/>
                  </a:lnTo>
                  <a:lnTo>
                    <a:pt x="9708" y="1283"/>
                  </a:lnTo>
                  <a:lnTo>
                    <a:pt x="9708" y="1262"/>
                  </a:lnTo>
                  <a:lnTo>
                    <a:pt x="9708" y="1248"/>
                  </a:lnTo>
                  <a:lnTo>
                    <a:pt x="9712" y="1220"/>
                  </a:lnTo>
                  <a:lnTo>
                    <a:pt x="9712" y="1213"/>
                  </a:lnTo>
                  <a:cubicBezTo>
                    <a:pt x="9712" y="1199"/>
                    <a:pt x="9715" y="1188"/>
                    <a:pt x="9715" y="1174"/>
                  </a:cubicBezTo>
                  <a:lnTo>
                    <a:pt x="9715" y="1171"/>
                  </a:lnTo>
                  <a:lnTo>
                    <a:pt x="9719" y="1139"/>
                  </a:lnTo>
                  <a:lnTo>
                    <a:pt x="9719" y="1125"/>
                  </a:lnTo>
                  <a:lnTo>
                    <a:pt x="9722" y="1101"/>
                  </a:lnTo>
                  <a:lnTo>
                    <a:pt x="9722" y="1087"/>
                  </a:lnTo>
                  <a:lnTo>
                    <a:pt x="9726" y="1066"/>
                  </a:lnTo>
                  <a:lnTo>
                    <a:pt x="9726" y="1052"/>
                  </a:lnTo>
                  <a:lnTo>
                    <a:pt x="9726" y="1034"/>
                  </a:lnTo>
                  <a:lnTo>
                    <a:pt x="9726" y="1020"/>
                  </a:lnTo>
                  <a:lnTo>
                    <a:pt x="9726" y="1006"/>
                  </a:lnTo>
                  <a:cubicBezTo>
                    <a:pt x="9729" y="971"/>
                    <a:pt x="9733" y="947"/>
                    <a:pt x="9736" y="926"/>
                  </a:cubicBezTo>
                  <a:lnTo>
                    <a:pt x="9729" y="919"/>
                  </a:lnTo>
                  <a:lnTo>
                    <a:pt x="9705" y="898"/>
                  </a:lnTo>
                  <a:lnTo>
                    <a:pt x="9680" y="873"/>
                  </a:lnTo>
                  <a:lnTo>
                    <a:pt x="9656" y="852"/>
                  </a:lnTo>
                  <a:lnTo>
                    <a:pt x="9628" y="831"/>
                  </a:lnTo>
                  <a:lnTo>
                    <a:pt x="9607" y="810"/>
                  </a:lnTo>
                  <a:lnTo>
                    <a:pt x="9579" y="786"/>
                  </a:lnTo>
                  <a:lnTo>
                    <a:pt x="9558" y="768"/>
                  </a:lnTo>
                  <a:lnTo>
                    <a:pt x="9530" y="744"/>
                  </a:lnTo>
                  <a:lnTo>
                    <a:pt x="9512" y="726"/>
                  </a:lnTo>
                  <a:lnTo>
                    <a:pt x="9484" y="702"/>
                  </a:lnTo>
                  <a:lnTo>
                    <a:pt x="9463" y="688"/>
                  </a:lnTo>
                  <a:lnTo>
                    <a:pt x="9435" y="663"/>
                  </a:lnTo>
                  <a:lnTo>
                    <a:pt x="9421" y="649"/>
                  </a:lnTo>
                  <a:lnTo>
                    <a:pt x="9390" y="625"/>
                  </a:lnTo>
                  <a:lnTo>
                    <a:pt x="9376" y="614"/>
                  </a:lnTo>
                  <a:lnTo>
                    <a:pt x="9348" y="590"/>
                  </a:lnTo>
                  <a:lnTo>
                    <a:pt x="9337" y="579"/>
                  </a:lnTo>
                  <a:lnTo>
                    <a:pt x="9309" y="555"/>
                  </a:lnTo>
                  <a:lnTo>
                    <a:pt x="9299" y="548"/>
                  </a:lnTo>
                  <a:lnTo>
                    <a:pt x="9271" y="527"/>
                  </a:lnTo>
                  <a:lnTo>
                    <a:pt x="9264" y="520"/>
                  </a:lnTo>
                  <a:lnTo>
                    <a:pt x="9239" y="499"/>
                  </a:lnTo>
                  <a:lnTo>
                    <a:pt x="9232" y="492"/>
                  </a:lnTo>
                  <a:lnTo>
                    <a:pt x="9211" y="478"/>
                  </a:lnTo>
                  <a:lnTo>
                    <a:pt x="9204" y="471"/>
                  </a:lnTo>
                  <a:lnTo>
                    <a:pt x="9183" y="457"/>
                  </a:lnTo>
                  <a:lnTo>
                    <a:pt x="9180" y="453"/>
                  </a:lnTo>
                  <a:lnTo>
                    <a:pt x="9162" y="443"/>
                  </a:lnTo>
                  <a:lnTo>
                    <a:pt x="9159" y="439"/>
                  </a:lnTo>
                  <a:lnTo>
                    <a:pt x="9145" y="429"/>
                  </a:lnTo>
                  <a:cubicBezTo>
                    <a:pt x="9141" y="425"/>
                    <a:pt x="9134" y="422"/>
                    <a:pt x="9127" y="422"/>
                  </a:cubicBezTo>
                  <a:lnTo>
                    <a:pt x="9099" y="422"/>
                  </a:lnTo>
                  <a:cubicBezTo>
                    <a:pt x="9092" y="422"/>
                    <a:pt x="9085" y="422"/>
                    <a:pt x="9078" y="425"/>
                  </a:cubicBezTo>
                  <a:lnTo>
                    <a:pt x="9075" y="425"/>
                  </a:lnTo>
                  <a:cubicBezTo>
                    <a:pt x="9047" y="432"/>
                    <a:pt x="9022" y="446"/>
                    <a:pt x="8998" y="460"/>
                  </a:cubicBezTo>
                  <a:lnTo>
                    <a:pt x="8973" y="474"/>
                  </a:lnTo>
                  <a:lnTo>
                    <a:pt x="8956" y="492"/>
                  </a:lnTo>
                  <a:lnTo>
                    <a:pt x="8952" y="492"/>
                  </a:lnTo>
                  <a:lnTo>
                    <a:pt x="8907" y="523"/>
                  </a:lnTo>
                  <a:lnTo>
                    <a:pt x="8865" y="481"/>
                  </a:lnTo>
                  <a:cubicBezTo>
                    <a:pt x="8857" y="471"/>
                    <a:pt x="8795" y="414"/>
                    <a:pt x="8730" y="414"/>
                  </a:cubicBezTo>
                  <a:cubicBezTo>
                    <a:pt x="8704" y="414"/>
                    <a:pt x="8678" y="423"/>
                    <a:pt x="8654" y="446"/>
                  </a:cubicBezTo>
                  <a:cubicBezTo>
                    <a:pt x="8602" y="499"/>
                    <a:pt x="8528" y="527"/>
                    <a:pt x="8455" y="527"/>
                  </a:cubicBezTo>
                  <a:cubicBezTo>
                    <a:pt x="8378" y="523"/>
                    <a:pt x="8301" y="499"/>
                    <a:pt x="8234" y="457"/>
                  </a:cubicBezTo>
                  <a:cubicBezTo>
                    <a:pt x="8122" y="383"/>
                    <a:pt x="8028" y="278"/>
                    <a:pt x="7972" y="156"/>
                  </a:cubicBezTo>
                  <a:cubicBezTo>
                    <a:pt x="7972" y="149"/>
                    <a:pt x="7968" y="142"/>
                    <a:pt x="7965" y="135"/>
                  </a:cubicBezTo>
                  <a:lnTo>
                    <a:pt x="7961" y="128"/>
                  </a:lnTo>
                  <a:cubicBezTo>
                    <a:pt x="7958" y="124"/>
                    <a:pt x="7954" y="117"/>
                    <a:pt x="7951" y="114"/>
                  </a:cubicBezTo>
                  <a:lnTo>
                    <a:pt x="7947" y="110"/>
                  </a:lnTo>
                  <a:cubicBezTo>
                    <a:pt x="7944" y="103"/>
                    <a:pt x="7937" y="100"/>
                    <a:pt x="7933" y="93"/>
                  </a:cubicBezTo>
                  <a:lnTo>
                    <a:pt x="7926" y="89"/>
                  </a:lnTo>
                  <a:lnTo>
                    <a:pt x="7912" y="79"/>
                  </a:lnTo>
                  <a:lnTo>
                    <a:pt x="7909" y="75"/>
                  </a:lnTo>
                  <a:lnTo>
                    <a:pt x="7485" y="145"/>
                  </a:lnTo>
                  <a:lnTo>
                    <a:pt x="7464" y="135"/>
                  </a:lnTo>
                  <a:cubicBezTo>
                    <a:pt x="7357" y="78"/>
                    <a:pt x="7166" y="1"/>
                    <a:pt x="704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9" name="Google Shape;7666;p64">
              <a:extLst>
                <a:ext uri="{FF2B5EF4-FFF2-40B4-BE49-F238E27FC236}">
                  <a16:creationId xmlns:a16="http://schemas.microsoft.com/office/drawing/2014/main" id="{6FBFCBB7-DD17-988A-0089-A09725529965}"/>
                </a:ext>
              </a:extLst>
            </p:cNvPr>
            <p:cNvSpPr/>
            <p:nvPr/>
          </p:nvSpPr>
          <p:spPr>
            <a:xfrm>
              <a:off x="2142218" y="208790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42" y="0"/>
                  </a:move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0" name="Google Shape;7667;p64">
              <a:extLst>
                <a:ext uri="{FF2B5EF4-FFF2-40B4-BE49-F238E27FC236}">
                  <a16:creationId xmlns:a16="http://schemas.microsoft.com/office/drawing/2014/main" id="{AC3C56DE-662F-D7A6-6754-08C5487A6B6D}"/>
                </a:ext>
              </a:extLst>
            </p:cNvPr>
            <p:cNvSpPr/>
            <p:nvPr/>
          </p:nvSpPr>
          <p:spPr>
            <a:xfrm>
              <a:off x="2143834" y="2087244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1" name="Google Shape;7668;p64">
              <a:extLst>
                <a:ext uri="{FF2B5EF4-FFF2-40B4-BE49-F238E27FC236}">
                  <a16:creationId xmlns:a16="http://schemas.microsoft.com/office/drawing/2014/main" id="{28F2859F-E2A9-527F-7A04-5A3F0A41E493}"/>
                </a:ext>
              </a:extLst>
            </p:cNvPr>
            <p:cNvSpPr/>
            <p:nvPr/>
          </p:nvSpPr>
          <p:spPr>
            <a:xfrm>
              <a:off x="2143399" y="2087380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2" name="Google Shape;7669;p64">
              <a:extLst>
                <a:ext uri="{FF2B5EF4-FFF2-40B4-BE49-F238E27FC236}">
                  <a16:creationId xmlns:a16="http://schemas.microsoft.com/office/drawing/2014/main" id="{1160FDF3-FB21-E059-86C9-F775F8E24504}"/>
                </a:ext>
              </a:extLst>
            </p:cNvPr>
            <p:cNvSpPr/>
            <p:nvPr/>
          </p:nvSpPr>
          <p:spPr>
            <a:xfrm>
              <a:off x="2141553" y="2088235"/>
              <a:ext cx="679" cy="448"/>
            </a:xfrm>
            <a:custGeom>
              <a:avLst/>
              <a:gdLst/>
              <a:ahLst/>
              <a:cxnLst/>
              <a:rect l="l" t="t" r="r" b="b"/>
              <a:pathLst>
                <a:path w="50" h="33" extrusionOk="0">
                  <a:moveTo>
                    <a:pt x="49" y="1"/>
                  </a:moveTo>
                  <a:lnTo>
                    <a:pt x="0" y="33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3" name="Google Shape;7670;p64">
              <a:extLst>
                <a:ext uri="{FF2B5EF4-FFF2-40B4-BE49-F238E27FC236}">
                  <a16:creationId xmlns:a16="http://schemas.microsoft.com/office/drawing/2014/main" id="{178CDBF9-18A2-70E4-3F91-599154051C2F}"/>
                </a:ext>
              </a:extLst>
            </p:cNvPr>
            <p:cNvSpPr/>
            <p:nvPr/>
          </p:nvSpPr>
          <p:spPr>
            <a:xfrm>
              <a:off x="2142829" y="2087624"/>
              <a:ext cx="489" cy="244"/>
            </a:xfrm>
            <a:custGeom>
              <a:avLst/>
              <a:gdLst/>
              <a:ahLst/>
              <a:cxnLst/>
              <a:rect l="l" t="t" r="r" b="b"/>
              <a:pathLst>
                <a:path w="36" h="18" extrusionOk="0">
                  <a:moveTo>
                    <a:pt x="36" y="0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4" name="Google Shape;7671;p64">
              <a:extLst>
                <a:ext uri="{FF2B5EF4-FFF2-40B4-BE49-F238E27FC236}">
                  <a16:creationId xmlns:a16="http://schemas.microsoft.com/office/drawing/2014/main" id="{7B54C289-764C-28ED-C331-F80D90887723}"/>
                </a:ext>
              </a:extLst>
            </p:cNvPr>
            <p:cNvSpPr/>
            <p:nvPr/>
          </p:nvSpPr>
          <p:spPr>
            <a:xfrm>
              <a:off x="2144214" y="2087095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5" name="Google Shape;7672;p64">
              <a:extLst>
                <a:ext uri="{FF2B5EF4-FFF2-40B4-BE49-F238E27FC236}">
                  <a16:creationId xmlns:a16="http://schemas.microsoft.com/office/drawing/2014/main" id="{49199959-8C82-6398-DE54-AADAA80F50FC}"/>
                </a:ext>
              </a:extLst>
            </p:cNvPr>
            <p:cNvSpPr/>
            <p:nvPr/>
          </p:nvSpPr>
          <p:spPr>
            <a:xfrm>
              <a:off x="2144554" y="208705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6" name="Google Shape;7673;p64">
              <a:extLst>
                <a:ext uri="{FF2B5EF4-FFF2-40B4-BE49-F238E27FC236}">
                  <a16:creationId xmlns:a16="http://schemas.microsoft.com/office/drawing/2014/main" id="{F05C03E9-9604-5F64-0F93-C6871620C4E9}"/>
                </a:ext>
              </a:extLst>
            </p:cNvPr>
            <p:cNvSpPr/>
            <p:nvPr/>
          </p:nvSpPr>
          <p:spPr>
            <a:xfrm>
              <a:off x="2144839" y="2087000"/>
              <a:ext cx="190" cy="68"/>
            </a:xfrm>
            <a:custGeom>
              <a:avLst/>
              <a:gdLst/>
              <a:ahLst/>
              <a:cxnLst/>
              <a:rect l="l" t="t" r="r" b="b"/>
              <a:pathLst>
                <a:path w="14" h="5" extrusionOk="0">
                  <a:moveTo>
                    <a:pt x="14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7" name="Google Shape;7674;p64">
              <a:extLst>
                <a:ext uri="{FF2B5EF4-FFF2-40B4-BE49-F238E27FC236}">
                  <a16:creationId xmlns:a16="http://schemas.microsoft.com/office/drawing/2014/main" id="{5CAA9E1B-0ED1-2566-8D39-AB22EEB7DFA0}"/>
                </a:ext>
              </a:extLst>
            </p:cNvPr>
            <p:cNvSpPr/>
            <p:nvPr/>
          </p:nvSpPr>
          <p:spPr>
            <a:xfrm>
              <a:off x="2222597" y="2124039"/>
              <a:ext cx="584" cy="339"/>
            </a:xfrm>
            <a:custGeom>
              <a:avLst/>
              <a:gdLst/>
              <a:ahLst/>
              <a:cxnLst/>
              <a:rect l="l" t="t" r="r" b="b"/>
              <a:pathLst>
                <a:path w="43" h="25" extrusionOk="0">
                  <a:moveTo>
                    <a:pt x="1" y="0"/>
                  </a:moveTo>
                  <a:cubicBezTo>
                    <a:pt x="15" y="7"/>
                    <a:pt x="29" y="14"/>
                    <a:pt x="42" y="25"/>
                  </a:cubicBezTo>
                  <a:lnTo>
                    <a:pt x="42" y="21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8" name="Google Shape;7675;p64">
              <a:extLst>
                <a:ext uri="{FF2B5EF4-FFF2-40B4-BE49-F238E27FC236}">
                  <a16:creationId xmlns:a16="http://schemas.microsoft.com/office/drawing/2014/main" id="{BC92A877-EF09-8AAE-372F-54C8941BECC0}"/>
                </a:ext>
              </a:extLst>
            </p:cNvPr>
            <p:cNvSpPr/>
            <p:nvPr/>
          </p:nvSpPr>
          <p:spPr>
            <a:xfrm>
              <a:off x="2254816" y="2135539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" y="0"/>
                  </a:moveTo>
                  <a:cubicBezTo>
                    <a:pt x="8" y="4"/>
                    <a:pt x="15" y="11"/>
                    <a:pt x="18" y="14"/>
                  </a:cubicBezTo>
                  <a:cubicBezTo>
                    <a:pt x="15" y="11"/>
                    <a:pt x="8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9" name="Google Shape;7676;p64">
              <a:extLst>
                <a:ext uri="{FF2B5EF4-FFF2-40B4-BE49-F238E27FC236}">
                  <a16:creationId xmlns:a16="http://schemas.microsoft.com/office/drawing/2014/main" id="{91561D99-1EF0-7855-D0E6-AE8AF6FE1CC1}"/>
                </a:ext>
              </a:extLst>
            </p:cNvPr>
            <p:cNvSpPr/>
            <p:nvPr/>
          </p:nvSpPr>
          <p:spPr>
            <a:xfrm>
              <a:off x="2249168" y="2134725"/>
              <a:ext cx="5621" cy="828"/>
            </a:xfrm>
            <a:custGeom>
              <a:avLst/>
              <a:gdLst/>
              <a:ahLst/>
              <a:cxnLst/>
              <a:rect l="l" t="t" r="r" b="b"/>
              <a:pathLst>
                <a:path w="414" h="61" extrusionOk="0">
                  <a:moveTo>
                    <a:pt x="0" y="1"/>
                  </a:moveTo>
                  <a:cubicBezTo>
                    <a:pt x="88" y="1"/>
                    <a:pt x="175" y="4"/>
                    <a:pt x="263" y="15"/>
                  </a:cubicBezTo>
                  <a:cubicBezTo>
                    <a:pt x="315" y="22"/>
                    <a:pt x="368" y="36"/>
                    <a:pt x="413" y="60"/>
                  </a:cubicBezTo>
                  <a:cubicBezTo>
                    <a:pt x="326" y="8"/>
                    <a:pt x="16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0" name="Google Shape;7677;p64">
              <a:extLst>
                <a:ext uri="{FF2B5EF4-FFF2-40B4-BE49-F238E27FC236}">
                  <a16:creationId xmlns:a16="http://schemas.microsoft.com/office/drawing/2014/main" id="{AA38777E-6949-650A-0C01-EDA89D48DE6B}"/>
                </a:ext>
              </a:extLst>
            </p:cNvPr>
            <p:cNvSpPr/>
            <p:nvPr/>
          </p:nvSpPr>
          <p:spPr>
            <a:xfrm>
              <a:off x="2245787" y="2130597"/>
              <a:ext cx="258" cy="394"/>
            </a:xfrm>
            <a:custGeom>
              <a:avLst/>
              <a:gdLst/>
              <a:ahLst/>
              <a:cxnLst/>
              <a:rect l="l" t="t" r="r" b="b"/>
              <a:pathLst>
                <a:path w="19" h="29" extrusionOk="0">
                  <a:moveTo>
                    <a:pt x="1" y="0"/>
                  </a:moveTo>
                  <a:cubicBezTo>
                    <a:pt x="8" y="7"/>
                    <a:pt x="15" y="18"/>
                    <a:pt x="18" y="28"/>
                  </a:cubicBezTo>
                  <a:cubicBezTo>
                    <a:pt x="15" y="18"/>
                    <a:pt x="8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1" name="Google Shape;7678;p64">
              <a:extLst>
                <a:ext uri="{FF2B5EF4-FFF2-40B4-BE49-F238E27FC236}">
                  <a16:creationId xmlns:a16="http://schemas.microsoft.com/office/drawing/2014/main" id="{268EF350-5082-7AD3-D3B0-9B1EBA631ECA}"/>
                </a:ext>
              </a:extLst>
            </p:cNvPr>
            <p:cNvSpPr/>
            <p:nvPr/>
          </p:nvSpPr>
          <p:spPr>
            <a:xfrm>
              <a:off x="2255387" y="213611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cubicBezTo>
                    <a:pt x="4" y="0"/>
                    <a:pt x="8" y="4"/>
                    <a:pt x="8" y="7"/>
                  </a:cubicBezTo>
                  <a:cubicBezTo>
                    <a:pt x="8" y="4"/>
                    <a:pt x="4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2" name="Google Shape;7679;p64">
              <a:extLst>
                <a:ext uri="{FF2B5EF4-FFF2-40B4-BE49-F238E27FC236}">
                  <a16:creationId xmlns:a16="http://schemas.microsoft.com/office/drawing/2014/main" id="{037B59E8-DDC2-06BB-F3D4-6C37DF1BB4EF}"/>
                </a:ext>
              </a:extLst>
            </p:cNvPr>
            <p:cNvSpPr/>
            <p:nvPr/>
          </p:nvSpPr>
          <p:spPr>
            <a:xfrm>
              <a:off x="2255577" y="2136340"/>
              <a:ext cx="68" cy="204"/>
            </a:xfrm>
            <a:custGeom>
              <a:avLst/>
              <a:gdLst/>
              <a:ahLst/>
              <a:cxnLst/>
              <a:rect l="l" t="t" r="r" b="b"/>
              <a:pathLst>
                <a:path w="5" h="15" extrusionOk="0">
                  <a:moveTo>
                    <a:pt x="1" y="1"/>
                  </a:moveTo>
                  <a:cubicBezTo>
                    <a:pt x="1" y="4"/>
                    <a:pt x="4" y="8"/>
                    <a:pt x="4" y="15"/>
                  </a:cubicBezTo>
                  <a:cubicBezTo>
                    <a:pt x="4" y="8"/>
                    <a:pt x="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3" name="Google Shape;7680;p64">
              <a:extLst>
                <a:ext uri="{FF2B5EF4-FFF2-40B4-BE49-F238E27FC236}">
                  <a16:creationId xmlns:a16="http://schemas.microsoft.com/office/drawing/2014/main" id="{692752D8-F607-64E5-0A71-AF3E18AE6FDF}"/>
                </a:ext>
              </a:extLst>
            </p:cNvPr>
            <p:cNvSpPr/>
            <p:nvPr/>
          </p:nvSpPr>
          <p:spPr>
            <a:xfrm>
              <a:off x="2253866" y="2114331"/>
              <a:ext cx="1154" cy="1684"/>
            </a:xfrm>
            <a:custGeom>
              <a:avLst/>
              <a:gdLst/>
              <a:ahLst/>
              <a:cxnLst/>
              <a:rect l="l" t="t" r="r" b="b"/>
              <a:pathLst>
                <a:path w="85" h="124" extrusionOk="0">
                  <a:moveTo>
                    <a:pt x="1" y="1"/>
                  </a:moveTo>
                  <a:cubicBezTo>
                    <a:pt x="8" y="53"/>
                    <a:pt x="36" y="99"/>
                    <a:pt x="85" y="123"/>
                  </a:cubicBezTo>
                  <a:cubicBezTo>
                    <a:pt x="36" y="99"/>
                    <a:pt x="8" y="53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4" name="Google Shape;7681;p64">
              <a:extLst>
                <a:ext uri="{FF2B5EF4-FFF2-40B4-BE49-F238E27FC236}">
                  <a16:creationId xmlns:a16="http://schemas.microsoft.com/office/drawing/2014/main" id="{A152301E-350E-9667-3BDE-953F594EB976}"/>
                </a:ext>
              </a:extLst>
            </p:cNvPr>
            <p:cNvSpPr/>
            <p:nvPr/>
          </p:nvSpPr>
          <p:spPr>
            <a:xfrm>
              <a:off x="2266710" y="2104216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4" y="0"/>
                  </a:moveTo>
                  <a:lnTo>
                    <a:pt x="14" y="0"/>
                  </a:lnTo>
                  <a:lnTo>
                    <a:pt x="0" y="14"/>
                  </a:lnTo>
                  <a:lnTo>
                    <a:pt x="1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5" name="Google Shape;7682;p64">
              <a:extLst>
                <a:ext uri="{FF2B5EF4-FFF2-40B4-BE49-F238E27FC236}">
                  <a16:creationId xmlns:a16="http://schemas.microsoft.com/office/drawing/2014/main" id="{BE5A776C-022B-AD4B-1C4C-93F5C6902AC0}"/>
                </a:ext>
              </a:extLst>
            </p:cNvPr>
            <p:cNvSpPr/>
            <p:nvPr/>
          </p:nvSpPr>
          <p:spPr>
            <a:xfrm>
              <a:off x="2254246" y="2120468"/>
              <a:ext cx="394" cy="3014"/>
            </a:xfrm>
            <a:custGeom>
              <a:avLst/>
              <a:gdLst/>
              <a:ahLst/>
              <a:cxnLst/>
              <a:rect l="l" t="t" r="r" b="b"/>
              <a:pathLst>
                <a:path w="29" h="222" extrusionOk="0">
                  <a:moveTo>
                    <a:pt x="1" y="221"/>
                  </a:moveTo>
                  <a:cubicBezTo>
                    <a:pt x="4" y="148"/>
                    <a:pt x="15" y="74"/>
                    <a:pt x="29" y="1"/>
                  </a:cubicBezTo>
                  <a:cubicBezTo>
                    <a:pt x="15" y="74"/>
                    <a:pt x="4" y="148"/>
                    <a:pt x="1" y="2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6" name="Google Shape;7683;p64">
              <a:extLst>
                <a:ext uri="{FF2B5EF4-FFF2-40B4-BE49-F238E27FC236}">
                  <a16:creationId xmlns:a16="http://schemas.microsoft.com/office/drawing/2014/main" id="{BE3EB5EC-9D85-C7CD-607C-FF62EEFA17DB}"/>
                </a:ext>
              </a:extLst>
            </p:cNvPr>
            <p:cNvSpPr/>
            <p:nvPr/>
          </p:nvSpPr>
          <p:spPr>
            <a:xfrm>
              <a:off x="2223167" y="2124365"/>
              <a:ext cx="1724" cy="1819"/>
            </a:xfrm>
            <a:custGeom>
              <a:avLst/>
              <a:gdLst/>
              <a:ahLst/>
              <a:cxnLst/>
              <a:rect l="l" t="t" r="r" b="b"/>
              <a:pathLst>
                <a:path w="127" h="134" extrusionOk="0">
                  <a:moveTo>
                    <a:pt x="126" y="134"/>
                  </a:moveTo>
                  <a:cubicBezTo>
                    <a:pt x="95" y="81"/>
                    <a:pt x="49" y="36"/>
                    <a:pt x="0" y="1"/>
                  </a:cubicBezTo>
                  <a:lnTo>
                    <a:pt x="0" y="1"/>
                  </a:lnTo>
                  <a:cubicBezTo>
                    <a:pt x="49" y="36"/>
                    <a:pt x="95" y="81"/>
                    <a:pt x="126" y="13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7" name="Google Shape;7684;p64">
              <a:extLst>
                <a:ext uri="{FF2B5EF4-FFF2-40B4-BE49-F238E27FC236}">
                  <a16:creationId xmlns:a16="http://schemas.microsoft.com/office/drawing/2014/main" id="{4B901B39-BD6E-E170-2F1F-6A5C652C687A}"/>
                </a:ext>
              </a:extLst>
            </p:cNvPr>
            <p:cNvSpPr/>
            <p:nvPr/>
          </p:nvSpPr>
          <p:spPr>
            <a:xfrm>
              <a:off x="2232196" y="2130353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32"/>
                    <a:pt x="32" y="39"/>
                    <a:pt x="36" y="39"/>
                  </a:cubicBezTo>
                  <a:cubicBezTo>
                    <a:pt x="36" y="39"/>
                    <a:pt x="18" y="32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8" name="Google Shape;7685;p64">
              <a:extLst>
                <a:ext uri="{FF2B5EF4-FFF2-40B4-BE49-F238E27FC236}">
                  <a16:creationId xmlns:a16="http://schemas.microsoft.com/office/drawing/2014/main" id="{4D536844-A291-3C67-48B3-C71F8775732E}"/>
                </a:ext>
              </a:extLst>
            </p:cNvPr>
            <p:cNvSpPr/>
            <p:nvPr/>
          </p:nvSpPr>
          <p:spPr>
            <a:xfrm>
              <a:off x="2255156" y="2135770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0" y="1"/>
                  </a:moveTo>
                  <a:cubicBezTo>
                    <a:pt x="4" y="4"/>
                    <a:pt x="11" y="11"/>
                    <a:pt x="14" y="15"/>
                  </a:cubicBezTo>
                  <a:cubicBezTo>
                    <a:pt x="11" y="11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9" name="Google Shape;7686;p64">
              <a:extLst>
                <a:ext uri="{FF2B5EF4-FFF2-40B4-BE49-F238E27FC236}">
                  <a16:creationId xmlns:a16="http://schemas.microsoft.com/office/drawing/2014/main" id="{C78D2749-FA8F-D07E-68F4-C426175C1F32}"/>
                </a:ext>
              </a:extLst>
            </p:cNvPr>
            <p:cNvSpPr/>
            <p:nvPr/>
          </p:nvSpPr>
          <p:spPr>
            <a:xfrm>
              <a:off x="2245027" y="2130068"/>
              <a:ext cx="353" cy="163"/>
            </a:xfrm>
            <a:custGeom>
              <a:avLst/>
              <a:gdLst/>
              <a:ahLst/>
              <a:cxnLst/>
              <a:rect l="l" t="t" r="r" b="b"/>
              <a:pathLst>
                <a:path w="26" h="12" extrusionOk="0">
                  <a:moveTo>
                    <a:pt x="1" y="1"/>
                  </a:moveTo>
                  <a:cubicBezTo>
                    <a:pt x="8" y="1"/>
                    <a:pt x="18" y="4"/>
                    <a:pt x="25" y="11"/>
                  </a:cubicBezTo>
                  <a:cubicBezTo>
                    <a:pt x="18" y="4"/>
                    <a:pt x="8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0" name="Google Shape;7687;p64">
              <a:extLst>
                <a:ext uri="{FF2B5EF4-FFF2-40B4-BE49-F238E27FC236}">
                  <a16:creationId xmlns:a16="http://schemas.microsoft.com/office/drawing/2014/main" id="{664528BF-5CE6-CB84-D743-E169A8BD5C14}"/>
                </a:ext>
              </a:extLst>
            </p:cNvPr>
            <p:cNvSpPr/>
            <p:nvPr/>
          </p:nvSpPr>
          <p:spPr>
            <a:xfrm>
              <a:off x="2221497" y="2123510"/>
              <a:ext cx="1208" cy="584"/>
            </a:xfrm>
            <a:custGeom>
              <a:avLst/>
              <a:gdLst/>
              <a:ahLst/>
              <a:cxnLst/>
              <a:rect l="l" t="t" r="r" b="b"/>
              <a:pathLst>
                <a:path w="89" h="43" extrusionOk="0">
                  <a:moveTo>
                    <a:pt x="1" y="1"/>
                  </a:moveTo>
                  <a:lnTo>
                    <a:pt x="1" y="18"/>
                  </a:lnTo>
                  <a:cubicBezTo>
                    <a:pt x="26" y="18"/>
                    <a:pt x="54" y="27"/>
                    <a:pt x="79" y="38"/>
                  </a:cubicBezTo>
                  <a:lnTo>
                    <a:pt x="79" y="38"/>
                  </a:lnTo>
                  <a:lnTo>
                    <a:pt x="1" y="1"/>
                  </a:lnTo>
                  <a:close/>
                  <a:moveTo>
                    <a:pt x="79" y="38"/>
                  </a:moveTo>
                  <a:lnTo>
                    <a:pt x="88" y="43"/>
                  </a:lnTo>
                  <a:cubicBezTo>
                    <a:pt x="85" y="41"/>
                    <a:pt x="82" y="40"/>
                    <a:pt x="79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1" name="Google Shape;7688;p64">
              <a:extLst>
                <a:ext uri="{FF2B5EF4-FFF2-40B4-BE49-F238E27FC236}">
                  <a16:creationId xmlns:a16="http://schemas.microsoft.com/office/drawing/2014/main" id="{03D43E4F-86AA-635D-3C87-0506A6B75653}"/>
                </a:ext>
              </a:extLst>
            </p:cNvPr>
            <p:cNvSpPr/>
            <p:nvPr/>
          </p:nvSpPr>
          <p:spPr>
            <a:xfrm>
              <a:off x="2244552" y="2129973"/>
              <a:ext cx="448" cy="68"/>
            </a:xfrm>
            <a:custGeom>
              <a:avLst/>
              <a:gdLst/>
              <a:ahLst/>
              <a:cxnLst/>
              <a:rect l="l" t="t" r="r" b="b"/>
              <a:pathLst>
                <a:path w="33" h="5" extrusionOk="0">
                  <a:moveTo>
                    <a:pt x="1" y="1"/>
                  </a:moveTo>
                  <a:cubicBezTo>
                    <a:pt x="11" y="1"/>
                    <a:pt x="22" y="4"/>
                    <a:pt x="32" y="4"/>
                  </a:cubicBezTo>
                  <a:cubicBezTo>
                    <a:pt x="22" y="4"/>
                    <a:pt x="11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2" name="Google Shape;7689;p64">
              <a:extLst>
                <a:ext uri="{FF2B5EF4-FFF2-40B4-BE49-F238E27FC236}">
                  <a16:creationId xmlns:a16="http://schemas.microsoft.com/office/drawing/2014/main" id="{2678368C-9E75-35AD-7B2F-5B32E3D43361}"/>
                </a:ext>
              </a:extLst>
            </p:cNvPr>
            <p:cNvSpPr/>
            <p:nvPr/>
          </p:nvSpPr>
          <p:spPr>
            <a:xfrm>
              <a:off x="2244036" y="2130027"/>
              <a:ext cx="434" cy="54"/>
            </a:xfrm>
            <a:custGeom>
              <a:avLst/>
              <a:gdLst/>
              <a:ahLst/>
              <a:cxnLst/>
              <a:rect l="l" t="t" r="r" b="b"/>
              <a:pathLst>
                <a:path w="32" h="4" extrusionOk="0">
                  <a:moveTo>
                    <a:pt x="0" y="4"/>
                  </a:moveTo>
                  <a:cubicBezTo>
                    <a:pt x="11" y="0"/>
                    <a:pt x="21" y="0"/>
                    <a:pt x="32" y="0"/>
                  </a:cubicBezTo>
                  <a:cubicBezTo>
                    <a:pt x="21" y="0"/>
                    <a:pt x="11" y="0"/>
                    <a:pt x="0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3" name="Google Shape;7690;p64">
              <a:extLst>
                <a:ext uri="{FF2B5EF4-FFF2-40B4-BE49-F238E27FC236}">
                  <a16:creationId xmlns:a16="http://schemas.microsoft.com/office/drawing/2014/main" id="{48F07832-7FEA-7810-82D5-59EAEBB86C26}"/>
                </a:ext>
              </a:extLst>
            </p:cNvPr>
            <p:cNvSpPr/>
            <p:nvPr/>
          </p:nvSpPr>
          <p:spPr>
            <a:xfrm>
              <a:off x="2255672" y="2136625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1" y="1"/>
                  </a:moveTo>
                  <a:cubicBezTo>
                    <a:pt x="1" y="8"/>
                    <a:pt x="1" y="18"/>
                    <a:pt x="1" y="25"/>
                  </a:cubicBezTo>
                  <a:cubicBezTo>
                    <a:pt x="1" y="18"/>
                    <a:pt x="1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4" name="Google Shape;7691;p64">
              <a:extLst>
                <a:ext uri="{FF2B5EF4-FFF2-40B4-BE49-F238E27FC236}">
                  <a16:creationId xmlns:a16="http://schemas.microsoft.com/office/drawing/2014/main" id="{60E88534-1D1B-364E-D110-2F9D590A6AB0}"/>
                </a:ext>
              </a:extLst>
            </p:cNvPr>
            <p:cNvSpPr/>
            <p:nvPr/>
          </p:nvSpPr>
          <p:spPr>
            <a:xfrm>
              <a:off x="2245407" y="2130258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1" y="1"/>
                  </a:moveTo>
                  <a:cubicBezTo>
                    <a:pt x="11" y="4"/>
                    <a:pt x="18" y="11"/>
                    <a:pt x="25" y="18"/>
                  </a:cubicBezTo>
                  <a:cubicBezTo>
                    <a:pt x="18" y="11"/>
                    <a:pt x="11" y="4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5" name="Google Shape;7692;p64">
              <a:extLst>
                <a:ext uri="{FF2B5EF4-FFF2-40B4-BE49-F238E27FC236}">
                  <a16:creationId xmlns:a16="http://schemas.microsoft.com/office/drawing/2014/main" id="{25FCB654-0149-3CD2-386D-436766F4F0DC}"/>
                </a:ext>
              </a:extLst>
            </p:cNvPr>
            <p:cNvSpPr/>
            <p:nvPr/>
          </p:nvSpPr>
          <p:spPr>
            <a:xfrm>
              <a:off x="2222638" y="2124039"/>
              <a:ext cx="543" cy="339"/>
            </a:xfrm>
            <a:custGeom>
              <a:avLst/>
              <a:gdLst/>
              <a:ahLst/>
              <a:cxnLst/>
              <a:rect l="l" t="t" r="r" b="b"/>
              <a:pathLst>
                <a:path w="40" h="25" extrusionOk="0">
                  <a:moveTo>
                    <a:pt x="1" y="0"/>
                  </a:moveTo>
                  <a:lnTo>
                    <a:pt x="1" y="0"/>
                  </a:lnTo>
                  <a:cubicBezTo>
                    <a:pt x="15" y="7"/>
                    <a:pt x="29" y="18"/>
                    <a:pt x="39" y="25"/>
                  </a:cubicBezTo>
                  <a:lnTo>
                    <a:pt x="39" y="25"/>
                  </a:lnTo>
                  <a:cubicBezTo>
                    <a:pt x="29" y="18"/>
                    <a:pt x="15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6" name="Google Shape;7693;p64">
              <a:extLst>
                <a:ext uri="{FF2B5EF4-FFF2-40B4-BE49-F238E27FC236}">
                  <a16:creationId xmlns:a16="http://schemas.microsoft.com/office/drawing/2014/main" id="{64DDE78E-52F3-B99D-8417-29CE866C58CC}"/>
                </a:ext>
              </a:extLst>
            </p:cNvPr>
            <p:cNvSpPr/>
            <p:nvPr/>
          </p:nvSpPr>
          <p:spPr>
            <a:xfrm>
              <a:off x="2257057" y="206219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7" name="Google Shape;7694;p64">
              <a:extLst>
                <a:ext uri="{FF2B5EF4-FFF2-40B4-BE49-F238E27FC236}">
                  <a16:creationId xmlns:a16="http://schemas.microsoft.com/office/drawing/2014/main" id="{A0A04315-6847-40FF-86FE-FDCF10EDFF41}"/>
                </a:ext>
              </a:extLst>
            </p:cNvPr>
            <p:cNvSpPr/>
            <p:nvPr/>
          </p:nvSpPr>
          <p:spPr>
            <a:xfrm>
              <a:off x="2256907" y="2061678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4"/>
                  </a:lnTo>
                  <a:cubicBezTo>
                    <a:pt x="1" y="0"/>
                    <a:pt x="1" y="7"/>
                    <a:pt x="1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8" name="Google Shape;7695;p64">
              <a:extLst>
                <a:ext uri="{FF2B5EF4-FFF2-40B4-BE49-F238E27FC236}">
                  <a16:creationId xmlns:a16="http://schemas.microsoft.com/office/drawing/2014/main" id="{0FD7C002-51CD-9A94-8735-0A15EBF66332}"/>
                </a:ext>
              </a:extLst>
            </p:cNvPr>
            <p:cNvSpPr/>
            <p:nvPr/>
          </p:nvSpPr>
          <p:spPr>
            <a:xfrm>
              <a:off x="2215659" y="2008291"/>
              <a:ext cx="3802" cy="380"/>
            </a:xfrm>
            <a:custGeom>
              <a:avLst/>
              <a:gdLst/>
              <a:ahLst/>
              <a:cxnLst/>
              <a:rect l="l" t="t" r="r" b="b"/>
              <a:pathLst>
                <a:path w="280" h="28" extrusionOk="0">
                  <a:moveTo>
                    <a:pt x="280" y="1"/>
                  </a:moveTo>
                  <a:cubicBezTo>
                    <a:pt x="242" y="20"/>
                    <a:pt x="201" y="28"/>
                    <a:pt x="159" y="28"/>
                  </a:cubicBezTo>
                  <a:lnTo>
                    <a:pt x="159" y="28"/>
                  </a:lnTo>
                  <a:cubicBezTo>
                    <a:pt x="106" y="28"/>
                    <a:pt x="51" y="16"/>
                    <a:pt x="0" y="4"/>
                  </a:cubicBezTo>
                  <a:lnTo>
                    <a:pt x="0" y="4"/>
                  </a:lnTo>
                  <a:cubicBezTo>
                    <a:pt x="49" y="16"/>
                    <a:pt x="104" y="28"/>
                    <a:pt x="158" y="28"/>
                  </a:cubicBezTo>
                  <a:cubicBezTo>
                    <a:pt x="158" y="28"/>
                    <a:pt x="159" y="28"/>
                    <a:pt x="159" y="28"/>
                  </a:cubicBezTo>
                  <a:lnTo>
                    <a:pt x="159" y="28"/>
                  </a:lnTo>
                  <a:cubicBezTo>
                    <a:pt x="159" y="28"/>
                    <a:pt x="159" y="28"/>
                    <a:pt x="159" y="28"/>
                  </a:cubicBezTo>
                  <a:cubicBezTo>
                    <a:pt x="201" y="28"/>
                    <a:pt x="242" y="21"/>
                    <a:pt x="28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9" name="Google Shape;7696;p64">
              <a:extLst>
                <a:ext uri="{FF2B5EF4-FFF2-40B4-BE49-F238E27FC236}">
                  <a16:creationId xmlns:a16="http://schemas.microsoft.com/office/drawing/2014/main" id="{74AF00AA-CA0E-EDCE-7E34-B854277FDD9D}"/>
                </a:ext>
              </a:extLst>
            </p:cNvPr>
            <p:cNvSpPr/>
            <p:nvPr/>
          </p:nvSpPr>
          <p:spPr>
            <a:xfrm>
              <a:off x="2196121" y="2010572"/>
              <a:ext cx="15601" cy="3014"/>
            </a:xfrm>
            <a:custGeom>
              <a:avLst/>
              <a:gdLst/>
              <a:ahLst/>
              <a:cxnLst/>
              <a:rect l="l" t="t" r="r" b="b"/>
              <a:pathLst>
                <a:path w="1149" h="222" extrusionOk="0">
                  <a:moveTo>
                    <a:pt x="0" y="1"/>
                  </a:moveTo>
                  <a:lnTo>
                    <a:pt x="1135" y="221"/>
                  </a:lnTo>
                  <a:lnTo>
                    <a:pt x="1149" y="158"/>
                  </a:lnTo>
                  <a:lnTo>
                    <a:pt x="1135" y="2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0" name="Google Shape;7697;p64">
              <a:extLst>
                <a:ext uri="{FF2B5EF4-FFF2-40B4-BE49-F238E27FC236}">
                  <a16:creationId xmlns:a16="http://schemas.microsoft.com/office/drawing/2014/main" id="{3EE2B88B-4066-576C-8DB3-5522050DBC08}"/>
                </a:ext>
              </a:extLst>
            </p:cNvPr>
            <p:cNvSpPr/>
            <p:nvPr/>
          </p:nvSpPr>
          <p:spPr>
            <a:xfrm>
              <a:off x="2183955" y="2018040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1" name="Google Shape;7698;p64">
              <a:extLst>
                <a:ext uri="{FF2B5EF4-FFF2-40B4-BE49-F238E27FC236}">
                  <a16:creationId xmlns:a16="http://schemas.microsoft.com/office/drawing/2014/main" id="{466B451E-6D47-CFA1-CF3A-A52DFC22DD15}"/>
                </a:ext>
              </a:extLst>
            </p:cNvPr>
            <p:cNvSpPr/>
            <p:nvPr/>
          </p:nvSpPr>
          <p:spPr>
            <a:xfrm>
              <a:off x="2183806" y="2016845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4"/>
                    <a:pt x="1" y="1"/>
                  </a:cubicBezTo>
                  <a:cubicBezTo>
                    <a:pt x="4" y="4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2" name="Google Shape;7699;p64">
              <a:extLst>
                <a:ext uri="{FF2B5EF4-FFF2-40B4-BE49-F238E27FC236}">
                  <a16:creationId xmlns:a16="http://schemas.microsoft.com/office/drawing/2014/main" id="{BB3A9BF4-B3C4-59DF-96BC-CAD8A332B2BA}"/>
                </a:ext>
              </a:extLst>
            </p:cNvPr>
            <p:cNvSpPr/>
            <p:nvPr/>
          </p:nvSpPr>
          <p:spPr>
            <a:xfrm>
              <a:off x="2183901" y="2017469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1" y="4"/>
                    <a:pt x="1" y="11"/>
                    <a:pt x="4" y="18"/>
                  </a:cubicBez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3" name="Google Shape;7700;p64">
              <a:extLst>
                <a:ext uri="{FF2B5EF4-FFF2-40B4-BE49-F238E27FC236}">
                  <a16:creationId xmlns:a16="http://schemas.microsoft.com/office/drawing/2014/main" id="{7AD6F4EF-EDBC-A132-FA2C-429C40D32F96}"/>
                </a:ext>
              </a:extLst>
            </p:cNvPr>
            <p:cNvSpPr/>
            <p:nvPr/>
          </p:nvSpPr>
          <p:spPr>
            <a:xfrm>
              <a:off x="2183955" y="201865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1"/>
                  </a:moveTo>
                  <a:lnTo>
                    <a:pt x="0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4" name="Google Shape;7701;p64">
              <a:extLst>
                <a:ext uri="{FF2B5EF4-FFF2-40B4-BE49-F238E27FC236}">
                  <a16:creationId xmlns:a16="http://schemas.microsoft.com/office/drawing/2014/main" id="{A7F5CBAF-9FCB-4457-FC0B-FC604EEF174B}"/>
                </a:ext>
              </a:extLst>
            </p:cNvPr>
            <p:cNvSpPr/>
            <p:nvPr/>
          </p:nvSpPr>
          <p:spPr>
            <a:xfrm>
              <a:off x="2139218" y="208154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5" name="Google Shape;7702;p64">
              <a:extLst>
                <a:ext uri="{FF2B5EF4-FFF2-40B4-BE49-F238E27FC236}">
                  <a16:creationId xmlns:a16="http://schemas.microsoft.com/office/drawing/2014/main" id="{8B291BC2-312F-EC6D-A74D-54F3E0F5B057}"/>
                </a:ext>
              </a:extLst>
            </p:cNvPr>
            <p:cNvSpPr/>
            <p:nvPr/>
          </p:nvSpPr>
          <p:spPr>
            <a:xfrm>
              <a:off x="2144404" y="2078500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6" name="Google Shape;7703;p64">
              <a:extLst>
                <a:ext uri="{FF2B5EF4-FFF2-40B4-BE49-F238E27FC236}">
                  <a16:creationId xmlns:a16="http://schemas.microsoft.com/office/drawing/2014/main" id="{F98AA4B2-EA77-B9ED-A6B2-2B334BB53E6D}"/>
                </a:ext>
              </a:extLst>
            </p:cNvPr>
            <p:cNvSpPr/>
            <p:nvPr/>
          </p:nvSpPr>
          <p:spPr>
            <a:xfrm>
              <a:off x="2143644" y="207878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7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7" name="Google Shape;7704;p64">
              <a:extLst>
                <a:ext uri="{FF2B5EF4-FFF2-40B4-BE49-F238E27FC236}">
                  <a16:creationId xmlns:a16="http://schemas.microsoft.com/office/drawing/2014/main" id="{65F2A94A-221D-835E-37F5-C9758F914D3D}"/>
                </a:ext>
              </a:extLst>
            </p:cNvPr>
            <p:cNvSpPr/>
            <p:nvPr/>
          </p:nvSpPr>
          <p:spPr>
            <a:xfrm>
              <a:off x="2182910" y="2023783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0" y="22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8" name="Google Shape;7705;p64">
              <a:extLst>
                <a:ext uri="{FF2B5EF4-FFF2-40B4-BE49-F238E27FC236}">
                  <a16:creationId xmlns:a16="http://schemas.microsoft.com/office/drawing/2014/main" id="{E95CC214-FB74-046A-6040-CFC617883BD6}"/>
                </a:ext>
              </a:extLst>
            </p:cNvPr>
            <p:cNvSpPr/>
            <p:nvPr/>
          </p:nvSpPr>
          <p:spPr>
            <a:xfrm>
              <a:off x="2143929" y="2078690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9" name="Google Shape;7706;p64">
              <a:extLst>
                <a:ext uri="{FF2B5EF4-FFF2-40B4-BE49-F238E27FC236}">
                  <a16:creationId xmlns:a16="http://schemas.microsoft.com/office/drawing/2014/main" id="{DF1BD11E-4251-13BB-4888-6BA0E31DEA41}"/>
                </a:ext>
              </a:extLst>
            </p:cNvPr>
            <p:cNvSpPr/>
            <p:nvPr/>
          </p:nvSpPr>
          <p:spPr>
            <a:xfrm>
              <a:off x="2182720" y="2024163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0" name="Google Shape;7707;p64">
              <a:extLst>
                <a:ext uri="{FF2B5EF4-FFF2-40B4-BE49-F238E27FC236}">
                  <a16:creationId xmlns:a16="http://schemas.microsoft.com/office/drawing/2014/main" id="{B32D5CE5-6BDD-731C-F6EB-BE6DC482916B}"/>
                </a:ext>
              </a:extLst>
            </p:cNvPr>
            <p:cNvSpPr/>
            <p:nvPr/>
          </p:nvSpPr>
          <p:spPr>
            <a:xfrm>
              <a:off x="2183765" y="2020932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2"/>
                  </a:moveTo>
                  <a:cubicBezTo>
                    <a:pt x="0" y="15"/>
                    <a:pt x="4" y="8"/>
                    <a:pt x="4" y="1"/>
                  </a:cubicBezTo>
                  <a:cubicBezTo>
                    <a:pt x="4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1" name="Google Shape;7708;p64">
              <a:extLst>
                <a:ext uri="{FF2B5EF4-FFF2-40B4-BE49-F238E27FC236}">
                  <a16:creationId xmlns:a16="http://schemas.microsoft.com/office/drawing/2014/main" id="{8B5DA778-133E-6B5A-8BD4-7DF5AACAF0D2}"/>
                </a:ext>
              </a:extLst>
            </p:cNvPr>
            <p:cNvSpPr/>
            <p:nvPr/>
          </p:nvSpPr>
          <p:spPr>
            <a:xfrm>
              <a:off x="2144839" y="2078405"/>
              <a:ext cx="774" cy="489"/>
            </a:xfrm>
            <a:custGeom>
              <a:avLst/>
              <a:gdLst/>
              <a:ahLst/>
              <a:cxnLst/>
              <a:rect l="l" t="t" r="r" b="b"/>
              <a:pathLst>
                <a:path w="57" h="36" extrusionOk="0">
                  <a:moveTo>
                    <a:pt x="0" y="0"/>
                  </a:moveTo>
                  <a:cubicBezTo>
                    <a:pt x="21" y="11"/>
                    <a:pt x="39" y="21"/>
                    <a:pt x="56" y="35"/>
                  </a:cubicBezTo>
                  <a:cubicBezTo>
                    <a:pt x="39" y="21"/>
                    <a:pt x="2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2" name="Google Shape;7709;p64">
              <a:extLst>
                <a:ext uri="{FF2B5EF4-FFF2-40B4-BE49-F238E27FC236}">
                  <a16:creationId xmlns:a16="http://schemas.microsoft.com/office/drawing/2014/main" id="{F97E8DF6-B1C3-3A94-C04F-1C4B84B37C1A}"/>
                </a:ext>
              </a:extLst>
            </p:cNvPr>
            <p:cNvSpPr/>
            <p:nvPr/>
          </p:nvSpPr>
          <p:spPr>
            <a:xfrm>
              <a:off x="2183670" y="2021461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0" y="21"/>
                  </a:moveTo>
                  <a:cubicBezTo>
                    <a:pt x="0" y="14"/>
                    <a:pt x="4" y="7"/>
                    <a:pt x="4" y="0"/>
                  </a:cubicBezTo>
                  <a:cubicBezTo>
                    <a:pt x="4" y="7"/>
                    <a:pt x="0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3" name="Google Shape;7710;p64">
              <a:extLst>
                <a:ext uri="{FF2B5EF4-FFF2-40B4-BE49-F238E27FC236}">
                  <a16:creationId xmlns:a16="http://schemas.microsoft.com/office/drawing/2014/main" id="{F2E7C63D-E308-55FE-26BD-3F3DD4C1DB0B}"/>
                </a:ext>
              </a:extLst>
            </p:cNvPr>
            <p:cNvSpPr/>
            <p:nvPr/>
          </p:nvSpPr>
          <p:spPr>
            <a:xfrm>
              <a:off x="2143359" y="207897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0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4" name="Google Shape;7711;p64">
              <a:extLst>
                <a:ext uri="{FF2B5EF4-FFF2-40B4-BE49-F238E27FC236}">
                  <a16:creationId xmlns:a16="http://schemas.microsoft.com/office/drawing/2014/main" id="{2862D630-31C1-7FD0-8630-E0A9DF6F6826}"/>
                </a:ext>
              </a:extLst>
            </p:cNvPr>
            <p:cNvSpPr/>
            <p:nvPr/>
          </p:nvSpPr>
          <p:spPr>
            <a:xfrm>
              <a:off x="2183236" y="2022928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1" y="22"/>
                  </a:moveTo>
                  <a:cubicBezTo>
                    <a:pt x="4" y="15"/>
                    <a:pt x="8" y="8"/>
                    <a:pt x="8" y="1"/>
                  </a:cubicBezTo>
                  <a:cubicBezTo>
                    <a:pt x="8" y="8"/>
                    <a:pt x="4" y="15"/>
                    <a:pt x="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5" name="Google Shape;7712;p64">
              <a:extLst>
                <a:ext uri="{FF2B5EF4-FFF2-40B4-BE49-F238E27FC236}">
                  <a16:creationId xmlns:a16="http://schemas.microsoft.com/office/drawing/2014/main" id="{F66D2BC2-3E1B-B641-5101-F1C5704809A0}"/>
                </a:ext>
              </a:extLst>
            </p:cNvPr>
            <p:cNvSpPr/>
            <p:nvPr/>
          </p:nvSpPr>
          <p:spPr>
            <a:xfrm>
              <a:off x="2142979" y="207911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0" y="8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6" name="Google Shape;7713;p64">
              <a:extLst>
                <a:ext uri="{FF2B5EF4-FFF2-40B4-BE49-F238E27FC236}">
                  <a16:creationId xmlns:a16="http://schemas.microsoft.com/office/drawing/2014/main" id="{F668E662-E1E1-E919-18FB-23CD8758CCB1}"/>
                </a:ext>
              </a:extLst>
            </p:cNvPr>
            <p:cNvSpPr/>
            <p:nvPr/>
          </p:nvSpPr>
          <p:spPr>
            <a:xfrm>
              <a:off x="2183521" y="2021977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8" y="1"/>
                  </a:moveTo>
                  <a:cubicBezTo>
                    <a:pt x="4" y="8"/>
                    <a:pt x="1" y="15"/>
                    <a:pt x="1" y="22"/>
                  </a:cubicBezTo>
                  <a:cubicBezTo>
                    <a:pt x="4" y="15"/>
                    <a:pt x="4" y="8"/>
                    <a:pt x="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7" name="Google Shape;7714;p64">
              <a:extLst>
                <a:ext uri="{FF2B5EF4-FFF2-40B4-BE49-F238E27FC236}">
                  <a16:creationId xmlns:a16="http://schemas.microsoft.com/office/drawing/2014/main" id="{49CCED05-B2F6-4D36-8241-54FD50A00416}"/>
                </a:ext>
              </a:extLst>
            </p:cNvPr>
            <p:cNvSpPr/>
            <p:nvPr/>
          </p:nvSpPr>
          <p:spPr>
            <a:xfrm>
              <a:off x="2183385" y="202245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2"/>
                  </a:moveTo>
                  <a:cubicBezTo>
                    <a:pt x="4" y="15"/>
                    <a:pt x="7" y="8"/>
                    <a:pt x="7" y="1"/>
                  </a:cubicBezTo>
                  <a:cubicBezTo>
                    <a:pt x="7" y="8"/>
                    <a:pt x="4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8" name="Google Shape;7715;p64">
              <a:extLst>
                <a:ext uri="{FF2B5EF4-FFF2-40B4-BE49-F238E27FC236}">
                  <a16:creationId xmlns:a16="http://schemas.microsoft.com/office/drawing/2014/main" id="{41722DFA-95D4-CD18-FD6A-A4CDDD0125AC}"/>
                </a:ext>
              </a:extLst>
            </p:cNvPr>
            <p:cNvSpPr/>
            <p:nvPr/>
          </p:nvSpPr>
          <p:spPr>
            <a:xfrm>
              <a:off x="2183100" y="2023362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21"/>
                  </a:moveTo>
                  <a:cubicBezTo>
                    <a:pt x="4" y="14"/>
                    <a:pt x="4" y="7"/>
                    <a:pt x="7" y="0"/>
                  </a:cubicBezTo>
                  <a:cubicBezTo>
                    <a:pt x="4" y="7"/>
                    <a:pt x="4" y="14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9" name="Google Shape;7716;p64">
              <a:extLst>
                <a:ext uri="{FF2B5EF4-FFF2-40B4-BE49-F238E27FC236}">
                  <a16:creationId xmlns:a16="http://schemas.microsoft.com/office/drawing/2014/main" id="{64853019-6AF4-42A5-90D7-0ECA57023E7E}"/>
                </a:ext>
              </a:extLst>
            </p:cNvPr>
            <p:cNvSpPr/>
            <p:nvPr/>
          </p:nvSpPr>
          <p:spPr>
            <a:xfrm>
              <a:off x="2139462" y="2081107"/>
              <a:ext cx="394" cy="299"/>
            </a:xfrm>
            <a:custGeom>
              <a:avLst/>
              <a:gdLst/>
              <a:ahLst/>
              <a:cxnLst/>
              <a:rect l="l" t="t" r="r" b="b"/>
              <a:pathLst>
                <a:path w="29" h="22" extrusionOk="0">
                  <a:moveTo>
                    <a:pt x="0" y="22"/>
                  </a:moveTo>
                  <a:lnTo>
                    <a:pt x="2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0" name="Google Shape;7717;p64">
              <a:extLst>
                <a:ext uri="{FF2B5EF4-FFF2-40B4-BE49-F238E27FC236}">
                  <a16:creationId xmlns:a16="http://schemas.microsoft.com/office/drawing/2014/main" id="{78C3A8F8-0A35-8E6C-6D3E-D5EB054A16EB}"/>
                </a:ext>
              </a:extLst>
            </p:cNvPr>
            <p:cNvSpPr/>
            <p:nvPr/>
          </p:nvSpPr>
          <p:spPr>
            <a:xfrm>
              <a:off x="2140127" y="208072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0" y="18"/>
                  </a:moveTo>
                  <a:lnTo>
                    <a:pt x="2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1" name="Google Shape;7718;p64">
              <a:extLst>
                <a:ext uri="{FF2B5EF4-FFF2-40B4-BE49-F238E27FC236}">
                  <a16:creationId xmlns:a16="http://schemas.microsoft.com/office/drawing/2014/main" id="{7CAD981F-B775-E236-DA94-A4862816FDAB}"/>
                </a:ext>
              </a:extLst>
            </p:cNvPr>
            <p:cNvSpPr/>
            <p:nvPr/>
          </p:nvSpPr>
          <p:spPr>
            <a:xfrm>
              <a:off x="2140697" y="208040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0" y="14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2" name="Google Shape;7719;p64">
              <a:extLst>
                <a:ext uri="{FF2B5EF4-FFF2-40B4-BE49-F238E27FC236}">
                  <a16:creationId xmlns:a16="http://schemas.microsoft.com/office/drawing/2014/main" id="{4BF4E309-0259-DD95-B405-ACCA102E419C}"/>
                </a:ext>
              </a:extLst>
            </p:cNvPr>
            <p:cNvSpPr/>
            <p:nvPr/>
          </p:nvSpPr>
          <p:spPr>
            <a:xfrm>
              <a:off x="2183860" y="2020361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2"/>
                  </a:moveTo>
                  <a:cubicBezTo>
                    <a:pt x="0" y="15"/>
                    <a:pt x="0" y="8"/>
                    <a:pt x="0" y="1"/>
                  </a:cubicBezTo>
                  <a:cubicBezTo>
                    <a:pt x="0" y="8"/>
                    <a:pt x="0" y="15"/>
                    <a:pt x="0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3" name="Google Shape;7720;p64">
              <a:extLst>
                <a:ext uri="{FF2B5EF4-FFF2-40B4-BE49-F238E27FC236}">
                  <a16:creationId xmlns:a16="http://schemas.microsoft.com/office/drawing/2014/main" id="{7F896D84-892F-E57D-92E6-63A03A123842}"/>
                </a:ext>
              </a:extLst>
            </p:cNvPr>
            <p:cNvSpPr/>
            <p:nvPr/>
          </p:nvSpPr>
          <p:spPr>
            <a:xfrm>
              <a:off x="2141213" y="208006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1" y="15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4" name="Google Shape;7721;p64">
              <a:extLst>
                <a:ext uri="{FF2B5EF4-FFF2-40B4-BE49-F238E27FC236}">
                  <a16:creationId xmlns:a16="http://schemas.microsoft.com/office/drawing/2014/main" id="{C48BB66C-239C-9249-ECBC-AB684BD3CF93}"/>
                </a:ext>
              </a:extLst>
            </p:cNvPr>
            <p:cNvSpPr/>
            <p:nvPr/>
          </p:nvSpPr>
          <p:spPr>
            <a:xfrm>
              <a:off x="2183955" y="2019275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0" y="21"/>
                  </a:moveTo>
                  <a:lnTo>
                    <a:pt x="0" y="0"/>
                  </a:lnTo>
                  <a:cubicBezTo>
                    <a:pt x="0" y="4"/>
                    <a:pt x="0" y="11"/>
                    <a:pt x="0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5" name="Google Shape;7722;p64">
              <a:extLst>
                <a:ext uri="{FF2B5EF4-FFF2-40B4-BE49-F238E27FC236}">
                  <a16:creationId xmlns:a16="http://schemas.microsoft.com/office/drawing/2014/main" id="{C9F3A8CC-1501-ACC6-023E-A57AC1017463}"/>
                </a:ext>
              </a:extLst>
            </p:cNvPr>
            <p:cNvSpPr/>
            <p:nvPr/>
          </p:nvSpPr>
          <p:spPr>
            <a:xfrm>
              <a:off x="2141743" y="207977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5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6" name="Google Shape;7723;p64">
              <a:extLst>
                <a:ext uri="{FF2B5EF4-FFF2-40B4-BE49-F238E27FC236}">
                  <a16:creationId xmlns:a16="http://schemas.microsoft.com/office/drawing/2014/main" id="{2358793F-7DD0-A221-4642-AAA9754D53FB}"/>
                </a:ext>
              </a:extLst>
            </p:cNvPr>
            <p:cNvSpPr/>
            <p:nvPr/>
          </p:nvSpPr>
          <p:spPr>
            <a:xfrm>
              <a:off x="2144214" y="2078595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7" name="Google Shape;7724;p64">
              <a:extLst>
                <a:ext uri="{FF2B5EF4-FFF2-40B4-BE49-F238E27FC236}">
                  <a16:creationId xmlns:a16="http://schemas.microsoft.com/office/drawing/2014/main" id="{40866D82-FC8D-7AEB-C634-EF8367C25205}"/>
                </a:ext>
              </a:extLst>
            </p:cNvPr>
            <p:cNvSpPr/>
            <p:nvPr/>
          </p:nvSpPr>
          <p:spPr>
            <a:xfrm>
              <a:off x="2142164" y="207954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" y="11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8" name="Google Shape;7725;p64">
              <a:extLst>
                <a:ext uri="{FF2B5EF4-FFF2-40B4-BE49-F238E27FC236}">
                  <a16:creationId xmlns:a16="http://schemas.microsoft.com/office/drawing/2014/main" id="{EE2EE32D-F359-528F-B2CC-7AAF51A3C90A}"/>
                </a:ext>
              </a:extLst>
            </p:cNvPr>
            <p:cNvSpPr/>
            <p:nvPr/>
          </p:nvSpPr>
          <p:spPr>
            <a:xfrm>
              <a:off x="2142598" y="20793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0" y="1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9" name="Google Shape;7726;p64">
              <a:extLst>
                <a:ext uri="{FF2B5EF4-FFF2-40B4-BE49-F238E27FC236}">
                  <a16:creationId xmlns:a16="http://schemas.microsoft.com/office/drawing/2014/main" id="{624D48FA-4F83-D528-943E-55AE76A29E5A}"/>
                </a:ext>
              </a:extLst>
            </p:cNvPr>
            <p:cNvSpPr/>
            <p:nvPr/>
          </p:nvSpPr>
          <p:spPr>
            <a:xfrm>
              <a:off x="2144594" y="2078500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0" name="Google Shape;7727;p64">
              <a:extLst>
                <a:ext uri="{FF2B5EF4-FFF2-40B4-BE49-F238E27FC236}">
                  <a16:creationId xmlns:a16="http://schemas.microsoft.com/office/drawing/2014/main" id="{18C1F14D-1D6D-5317-777F-884653D540A3}"/>
                </a:ext>
              </a:extLst>
            </p:cNvPr>
            <p:cNvSpPr/>
            <p:nvPr/>
          </p:nvSpPr>
          <p:spPr>
            <a:xfrm>
              <a:off x="2144744" y="2078446"/>
              <a:ext cx="95" cy="14"/>
            </a:xfrm>
            <a:custGeom>
              <a:avLst/>
              <a:gdLst/>
              <a:ahLst/>
              <a:cxnLst/>
              <a:rect l="l" t="t" r="r" b="b"/>
              <a:pathLst>
                <a:path w="7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1" name="Google Shape;7728;p64">
              <a:extLst>
                <a:ext uri="{FF2B5EF4-FFF2-40B4-BE49-F238E27FC236}">
                  <a16:creationId xmlns:a16="http://schemas.microsoft.com/office/drawing/2014/main" id="{AD9D54F2-F35A-88E9-0FF8-5725734D54C9}"/>
                </a:ext>
              </a:extLst>
            </p:cNvPr>
            <p:cNvSpPr/>
            <p:nvPr/>
          </p:nvSpPr>
          <p:spPr>
            <a:xfrm>
              <a:off x="2183901" y="201984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1" y="18"/>
                  </a:moveTo>
                  <a:lnTo>
                    <a:pt x="1" y="0"/>
                  </a:lnTo>
                  <a:cubicBezTo>
                    <a:pt x="1" y="7"/>
                    <a:pt x="1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2" name="Google Shape;7729;p64">
              <a:extLst>
                <a:ext uri="{FF2B5EF4-FFF2-40B4-BE49-F238E27FC236}">
                  <a16:creationId xmlns:a16="http://schemas.microsoft.com/office/drawing/2014/main" id="{827A0924-893E-B195-53FE-D965D86F3D95}"/>
                </a:ext>
              </a:extLst>
            </p:cNvPr>
            <p:cNvSpPr/>
            <p:nvPr/>
          </p:nvSpPr>
          <p:spPr>
            <a:xfrm>
              <a:off x="2246887" y="200539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0" y="0"/>
                  </a:moveTo>
                  <a:lnTo>
                    <a:pt x="7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3" name="Google Shape;7730;p64">
              <a:extLst>
                <a:ext uri="{FF2B5EF4-FFF2-40B4-BE49-F238E27FC236}">
                  <a16:creationId xmlns:a16="http://schemas.microsoft.com/office/drawing/2014/main" id="{EBC93224-99B6-A489-3728-CD3FA4FAE8D8}"/>
                </a:ext>
              </a:extLst>
            </p:cNvPr>
            <p:cNvSpPr/>
            <p:nvPr/>
          </p:nvSpPr>
          <p:spPr>
            <a:xfrm>
              <a:off x="2263194" y="200981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4" name="Google Shape;7731;p64">
              <a:extLst>
                <a:ext uri="{FF2B5EF4-FFF2-40B4-BE49-F238E27FC236}">
                  <a16:creationId xmlns:a16="http://schemas.microsoft.com/office/drawing/2014/main" id="{1E84125C-1D6B-3A31-990B-3F40504AF1A2}"/>
                </a:ext>
              </a:extLst>
            </p:cNvPr>
            <p:cNvSpPr/>
            <p:nvPr/>
          </p:nvSpPr>
          <p:spPr>
            <a:xfrm>
              <a:off x="2260818" y="2010572"/>
              <a:ext cx="299" cy="258"/>
            </a:xfrm>
            <a:custGeom>
              <a:avLst/>
              <a:gdLst/>
              <a:ahLst/>
              <a:cxnLst/>
              <a:rect l="l" t="t" r="r" b="b"/>
              <a:pathLst>
                <a:path w="22" h="19" extrusionOk="0">
                  <a:moveTo>
                    <a:pt x="0" y="18"/>
                  </a:moveTo>
                  <a:lnTo>
                    <a:pt x="0" y="18"/>
                  </a:lnTo>
                  <a:lnTo>
                    <a:pt x="21" y="1"/>
                  </a:ln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5" name="Google Shape;7732;p64">
              <a:extLst>
                <a:ext uri="{FF2B5EF4-FFF2-40B4-BE49-F238E27FC236}">
                  <a16:creationId xmlns:a16="http://schemas.microsoft.com/office/drawing/2014/main" id="{F1141F14-8033-8E6C-720F-6A7243645639}"/>
                </a:ext>
              </a:extLst>
            </p:cNvPr>
            <p:cNvSpPr/>
            <p:nvPr/>
          </p:nvSpPr>
          <p:spPr>
            <a:xfrm>
              <a:off x="2266235" y="201209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6" name="Google Shape;7733;p64">
              <a:extLst>
                <a:ext uri="{FF2B5EF4-FFF2-40B4-BE49-F238E27FC236}">
                  <a16:creationId xmlns:a16="http://schemas.microsoft.com/office/drawing/2014/main" id="{11C8D0F1-97A2-D1DE-AFCE-74E987D0736E}"/>
                </a:ext>
              </a:extLst>
            </p:cNvPr>
            <p:cNvSpPr/>
            <p:nvPr/>
          </p:nvSpPr>
          <p:spPr>
            <a:xfrm>
              <a:off x="2265665" y="2011617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7" name="Google Shape;7734;p64">
              <a:extLst>
                <a:ext uri="{FF2B5EF4-FFF2-40B4-BE49-F238E27FC236}">
                  <a16:creationId xmlns:a16="http://schemas.microsoft.com/office/drawing/2014/main" id="{363DC672-614D-7F23-F44C-F3D678C238A7}"/>
                </a:ext>
              </a:extLst>
            </p:cNvPr>
            <p:cNvSpPr/>
            <p:nvPr/>
          </p:nvSpPr>
          <p:spPr>
            <a:xfrm>
              <a:off x="2265190" y="2011197"/>
              <a:ext cx="339" cy="339"/>
            </a:xfrm>
            <a:custGeom>
              <a:avLst/>
              <a:gdLst/>
              <a:ahLst/>
              <a:cxnLst/>
              <a:rect l="l" t="t" r="r" b="b"/>
              <a:pathLst>
                <a:path w="25" h="25" extrusionOk="0">
                  <a:moveTo>
                    <a:pt x="25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8" name="Google Shape;7735;p64">
              <a:extLst>
                <a:ext uri="{FF2B5EF4-FFF2-40B4-BE49-F238E27FC236}">
                  <a16:creationId xmlns:a16="http://schemas.microsoft.com/office/drawing/2014/main" id="{3BA97588-8E01-14A5-4702-EB4FEFBD487D}"/>
                </a:ext>
              </a:extLst>
            </p:cNvPr>
            <p:cNvSpPr/>
            <p:nvPr/>
          </p:nvSpPr>
          <p:spPr>
            <a:xfrm>
              <a:off x="2246643" y="2005155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1"/>
                  </a:moveTo>
                  <a:lnTo>
                    <a:pt x="4" y="4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9" name="Google Shape;7736;p64">
              <a:extLst>
                <a:ext uri="{FF2B5EF4-FFF2-40B4-BE49-F238E27FC236}">
                  <a16:creationId xmlns:a16="http://schemas.microsoft.com/office/drawing/2014/main" id="{22F31EA2-6A66-1F97-A080-DFEB55831B1E}"/>
                </a:ext>
              </a:extLst>
            </p:cNvPr>
            <p:cNvSpPr/>
            <p:nvPr/>
          </p:nvSpPr>
          <p:spPr>
            <a:xfrm>
              <a:off x="2263995" y="2010287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0" name="Google Shape;7737;p64">
              <a:extLst>
                <a:ext uri="{FF2B5EF4-FFF2-40B4-BE49-F238E27FC236}">
                  <a16:creationId xmlns:a16="http://schemas.microsoft.com/office/drawing/2014/main" id="{2B908242-4D9E-E7AD-F76D-A9C7A155AF0B}"/>
                </a:ext>
              </a:extLst>
            </p:cNvPr>
            <p:cNvSpPr/>
            <p:nvPr/>
          </p:nvSpPr>
          <p:spPr>
            <a:xfrm>
              <a:off x="2266805" y="2012527"/>
              <a:ext cx="394" cy="394"/>
            </a:xfrm>
            <a:custGeom>
              <a:avLst/>
              <a:gdLst/>
              <a:ahLst/>
              <a:cxnLst/>
              <a:rect l="l" t="t" r="r" b="b"/>
              <a:pathLst>
                <a:path w="29" h="29" extrusionOk="0">
                  <a:moveTo>
                    <a:pt x="28" y="2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1" name="Google Shape;7738;p64">
              <a:extLst>
                <a:ext uri="{FF2B5EF4-FFF2-40B4-BE49-F238E27FC236}">
                  <a16:creationId xmlns:a16="http://schemas.microsoft.com/office/drawing/2014/main" id="{B6A7A410-8F72-7C62-545B-146CB2DF41C7}"/>
                </a:ext>
              </a:extLst>
            </p:cNvPr>
            <p:cNvSpPr/>
            <p:nvPr/>
          </p:nvSpPr>
          <p:spPr>
            <a:xfrm>
              <a:off x="2263710" y="2010056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2" name="Google Shape;7739;p64">
              <a:extLst>
                <a:ext uri="{FF2B5EF4-FFF2-40B4-BE49-F238E27FC236}">
                  <a16:creationId xmlns:a16="http://schemas.microsoft.com/office/drawing/2014/main" id="{F51B674D-B76E-3D87-BFE9-EBCCF8C9074F}"/>
                </a:ext>
              </a:extLst>
            </p:cNvPr>
            <p:cNvSpPr/>
            <p:nvPr/>
          </p:nvSpPr>
          <p:spPr>
            <a:xfrm>
              <a:off x="2261429" y="201034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3" name="Google Shape;7740;p64">
              <a:extLst>
                <a:ext uri="{FF2B5EF4-FFF2-40B4-BE49-F238E27FC236}">
                  <a16:creationId xmlns:a16="http://schemas.microsoft.com/office/drawing/2014/main" id="{6D68E4AD-216C-CBA1-7182-52E9F84FD304}"/>
                </a:ext>
              </a:extLst>
            </p:cNvPr>
            <p:cNvSpPr/>
            <p:nvPr/>
          </p:nvSpPr>
          <p:spPr>
            <a:xfrm>
              <a:off x="2264334" y="2010531"/>
              <a:ext cx="299" cy="244"/>
            </a:xfrm>
            <a:custGeom>
              <a:avLst/>
              <a:gdLst/>
              <a:ahLst/>
              <a:cxnLst/>
              <a:rect l="l" t="t" r="r" b="b"/>
              <a:pathLst>
                <a:path w="22" h="18" extrusionOk="0">
                  <a:moveTo>
                    <a:pt x="21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4" name="Google Shape;7741;p64">
              <a:extLst>
                <a:ext uri="{FF2B5EF4-FFF2-40B4-BE49-F238E27FC236}">
                  <a16:creationId xmlns:a16="http://schemas.microsoft.com/office/drawing/2014/main" id="{C70D3645-7D04-7FBF-5F65-0120FC64CAF4}"/>
                </a:ext>
              </a:extLst>
            </p:cNvPr>
            <p:cNvSpPr/>
            <p:nvPr/>
          </p:nvSpPr>
          <p:spPr>
            <a:xfrm>
              <a:off x="2264714" y="2010857"/>
              <a:ext cx="339" cy="258"/>
            </a:xfrm>
            <a:custGeom>
              <a:avLst/>
              <a:gdLst/>
              <a:ahLst/>
              <a:cxnLst/>
              <a:rect l="l" t="t" r="r" b="b"/>
              <a:pathLst>
                <a:path w="25" h="19" extrusionOk="0">
                  <a:moveTo>
                    <a:pt x="25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5" name="Google Shape;7742;p64">
              <a:extLst>
                <a:ext uri="{FF2B5EF4-FFF2-40B4-BE49-F238E27FC236}">
                  <a16:creationId xmlns:a16="http://schemas.microsoft.com/office/drawing/2014/main" id="{7543B2FD-5FDF-E62D-D540-13080C11B9E9}"/>
                </a:ext>
              </a:extLst>
            </p:cNvPr>
            <p:cNvSpPr/>
            <p:nvPr/>
          </p:nvSpPr>
          <p:spPr>
            <a:xfrm>
              <a:off x="2263479" y="2009907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6" name="Google Shape;7743;p64">
              <a:extLst>
                <a:ext uri="{FF2B5EF4-FFF2-40B4-BE49-F238E27FC236}">
                  <a16:creationId xmlns:a16="http://schemas.microsoft.com/office/drawing/2014/main" id="{2480DCF7-13AA-98CD-88A7-F37E3D67F4C5}"/>
                </a:ext>
              </a:extLst>
            </p:cNvPr>
            <p:cNvSpPr/>
            <p:nvPr/>
          </p:nvSpPr>
          <p:spPr>
            <a:xfrm>
              <a:off x="2262528" y="20098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7" name="Google Shape;7744;p64">
              <a:extLst>
                <a:ext uri="{FF2B5EF4-FFF2-40B4-BE49-F238E27FC236}">
                  <a16:creationId xmlns:a16="http://schemas.microsoft.com/office/drawing/2014/main" id="{A1794CB2-06BE-FA66-73B4-4A866ACE26C5}"/>
                </a:ext>
              </a:extLst>
            </p:cNvPr>
            <p:cNvSpPr/>
            <p:nvPr/>
          </p:nvSpPr>
          <p:spPr>
            <a:xfrm>
              <a:off x="2262814" y="2009812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8" name="Google Shape;7745;p64">
              <a:extLst>
                <a:ext uri="{FF2B5EF4-FFF2-40B4-BE49-F238E27FC236}">
                  <a16:creationId xmlns:a16="http://schemas.microsoft.com/office/drawing/2014/main" id="{37F97E92-E5B9-FAE7-7433-02B756136712}"/>
                </a:ext>
              </a:extLst>
            </p:cNvPr>
            <p:cNvSpPr/>
            <p:nvPr/>
          </p:nvSpPr>
          <p:spPr>
            <a:xfrm>
              <a:off x="2268706" y="2014143"/>
              <a:ext cx="394" cy="339"/>
            </a:xfrm>
            <a:custGeom>
              <a:avLst/>
              <a:gdLst/>
              <a:ahLst/>
              <a:cxnLst/>
              <a:rect l="l" t="t" r="r" b="b"/>
              <a:pathLst>
                <a:path w="29" h="25" extrusionOk="0">
                  <a:moveTo>
                    <a:pt x="28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9" name="Google Shape;7746;p64">
              <a:extLst>
                <a:ext uri="{FF2B5EF4-FFF2-40B4-BE49-F238E27FC236}">
                  <a16:creationId xmlns:a16="http://schemas.microsoft.com/office/drawing/2014/main" id="{E93F7E9D-8E7C-5841-0F05-A61951067ACC}"/>
                </a:ext>
              </a:extLst>
            </p:cNvPr>
            <p:cNvSpPr/>
            <p:nvPr/>
          </p:nvSpPr>
          <p:spPr>
            <a:xfrm>
              <a:off x="2251069" y="2010341"/>
              <a:ext cx="3001" cy="964"/>
            </a:xfrm>
            <a:custGeom>
              <a:avLst/>
              <a:gdLst/>
              <a:ahLst/>
              <a:cxnLst/>
              <a:rect l="l" t="t" r="r" b="b"/>
              <a:pathLst>
                <a:path w="221" h="71" extrusionOk="0">
                  <a:moveTo>
                    <a:pt x="221" y="70"/>
                  </a:moveTo>
                  <a:cubicBezTo>
                    <a:pt x="144" y="67"/>
                    <a:pt x="67" y="42"/>
                    <a:pt x="0" y="0"/>
                  </a:cubicBezTo>
                  <a:cubicBezTo>
                    <a:pt x="67" y="42"/>
                    <a:pt x="144" y="67"/>
                    <a:pt x="221" y="7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0" name="Google Shape;7747;p64">
              <a:extLst>
                <a:ext uri="{FF2B5EF4-FFF2-40B4-BE49-F238E27FC236}">
                  <a16:creationId xmlns:a16="http://schemas.microsoft.com/office/drawing/2014/main" id="{A42D5EF9-4EA4-50A7-9BE9-6978F3D97D61}"/>
                </a:ext>
              </a:extLst>
            </p:cNvPr>
            <p:cNvSpPr/>
            <p:nvPr/>
          </p:nvSpPr>
          <p:spPr>
            <a:xfrm>
              <a:off x="2268041" y="201361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8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1" name="Google Shape;7748;p64">
              <a:extLst>
                <a:ext uri="{FF2B5EF4-FFF2-40B4-BE49-F238E27FC236}">
                  <a16:creationId xmlns:a16="http://schemas.microsoft.com/office/drawing/2014/main" id="{4C0F644E-A079-5BF9-8264-30E59D034E59}"/>
                </a:ext>
              </a:extLst>
            </p:cNvPr>
            <p:cNvSpPr/>
            <p:nvPr/>
          </p:nvSpPr>
          <p:spPr>
            <a:xfrm>
              <a:off x="2271367" y="201656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1"/>
                  </a:moveTo>
                  <a:lnTo>
                    <a:pt x="11" y="8"/>
                  </a:ln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2" name="Google Shape;7749;p64">
              <a:extLst>
                <a:ext uri="{FF2B5EF4-FFF2-40B4-BE49-F238E27FC236}">
                  <a16:creationId xmlns:a16="http://schemas.microsoft.com/office/drawing/2014/main" id="{B48937D3-986B-5A5E-37AE-C0FB3DB3DC4B}"/>
                </a:ext>
              </a:extLst>
            </p:cNvPr>
            <p:cNvSpPr/>
            <p:nvPr/>
          </p:nvSpPr>
          <p:spPr>
            <a:xfrm>
              <a:off x="2269371" y="2014754"/>
              <a:ext cx="339" cy="299"/>
            </a:xfrm>
            <a:custGeom>
              <a:avLst/>
              <a:gdLst/>
              <a:ahLst/>
              <a:cxnLst/>
              <a:rect l="l" t="t" r="r" b="b"/>
              <a:pathLst>
                <a:path w="25" h="22" extrusionOk="0">
                  <a:moveTo>
                    <a:pt x="25" y="22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3" name="Google Shape;7750;p64">
              <a:extLst>
                <a:ext uri="{FF2B5EF4-FFF2-40B4-BE49-F238E27FC236}">
                  <a16:creationId xmlns:a16="http://schemas.microsoft.com/office/drawing/2014/main" id="{4373C8E4-13EF-E629-9E63-D4CA6BE51171}"/>
                </a:ext>
              </a:extLst>
            </p:cNvPr>
            <p:cNvSpPr/>
            <p:nvPr/>
          </p:nvSpPr>
          <p:spPr>
            <a:xfrm>
              <a:off x="2270743" y="2015949"/>
              <a:ext cx="353" cy="299"/>
            </a:xfrm>
            <a:custGeom>
              <a:avLst/>
              <a:gdLst/>
              <a:ahLst/>
              <a:cxnLst/>
              <a:rect l="l" t="t" r="r" b="b"/>
              <a:pathLst>
                <a:path w="26" h="22" extrusionOk="0">
                  <a:moveTo>
                    <a:pt x="25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4" name="Google Shape;7751;p64">
              <a:extLst>
                <a:ext uri="{FF2B5EF4-FFF2-40B4-BE49-F238E27FC236}">
                  <a16:creationId xmlns:a16="http://schemas.microsoft.com/office/drawing/2014/main" id="{6A5AB6FC-5D56-E4FC-6FC9-C7F817493741}"/>
                </a:ext>
              </a:extLst>
            </p:cNvPr>
            <p:cNvSpPr/>
            <p:nvPr/>
          </p:nvSpPr>
          <p:spPr>
            <a:xfrm>
              <a:off x="2270037" y="2015324"/>
              <a:ext cx="339" cy="353"/>
            </a:xfrm>
            <a:custGeom>
              <a:avLst/>
              <a:gdLst/>
              <a:ahLst/>
              <a:cxnLst/>
              <a:rect l="l" t="t" r="r" b="b"/>
              <a:pathLst>
                <a:path w="25" h="26" extrusionOk="0">
                  <a:moveTo>
                    <a:pt x="25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5" name="Google Shape;7752;p64">
              <a:extLst>
                <a:ext uri="{FF2B5EF4-FFF2-40B4-BE49-F238E27FC236}">
                  <a16:creationId xmlns:a16="http://schemas.microsoft.com/office/drawing/2014/main" id="{1E773C2A-15EC-1654-1EF4-95F2B31178FC}"/>
                </a:ext>
              </a:extLst>
            </p:cNvPr>
            <p:cNvSpPr/>
            <p:nvPr/>
          </p:nvSpPr>
          <p:spPr>
            <a:xfrm>
              <a:off x="2247172" y="2005684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6" name="Google Shape;7753;p64">
              <a:extLst>
                <a:ext uri="{FF2B5EF4-FFF2-40B4-BE49-F238E27FC236}">
                  <a16:creationId xmlns:a16="http://schemas.microsoft.com/office/drawing/2014/main" id="{6614E3D1-E11F-BA3D-34BD-EFA615BB90DB}"/>
                </a:ext>
              </a:extLst>
            </p:cNvPr>
            <p:cNvSpPr/>
            <p:nvPr/>
          </p:nvSpPr>
          <p:spPr>
            <a:xfrm>
              <a:off x="2267416" y="2013043"/>
              <a:ext cx="394" cy="353"/>
            </a:xfrm>
            <a:custGeom>
              <a:avLst/>
              <a:gdLst/>
              <a:ahLst/>
              <a:cxnLst/>
              <a:rect l="l" t="t" r="r" b="b"/>
              <a:pathLst>
                <a:path w="29" h="26" extrusionOk="0">
                  <a:moveTo>
                    <a:pt x="2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7" name="Google Shape;7754;p64">
              <a:extLst>
                <a:ext uri="{FF2B5EF4-FFF2-40B4-BE49-F238E27FC236}">
                  <a16:creationId xmlns:a16="http://schemas.microsoft.com/office/drawing/2014/main" id="{8874687C-97BE-2DA6-EB05-503AF19F52B7}"/>
                </a:ext>
              </a:extLst>
            </p:cNvPr>
            <p:cNvSpPr/>
            <p:nvPr/>
          </p:nvSpPr>
          <p:spPr>
            <a:xfrm>
              <a:off x="2247362" y="2005915"/>
              <a:ext cx="54" cy="68"/>
            </a:xfrm>
            <a:custGeom>
              <a:avLst/>
              <a:gdLst/>
              <a:ahLst/>
              <a:cxnLst/>
              <a:rect l="l" t="t" r="r" b="b"/>
              <a:pathLst>
                <a:path w="4" h="5" extrusionOk="0">
                  <a:moveTo>
                    <a:pt x="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8" name="Google Shape;7755;p64">
              <a:extLst>
                <a:ext uri="{FF2B5EF4-FFF2-40B4-BE49-F238E27FC236}">
                  <a16:creationId xmlns:a16="http://schemas.microsoft.com/office/drawing/2014/main" id="{A4FC576A-7315-2EC8-3174-6594B494520F}"/>
                </a:ext>
              </a:extLst>
            </p:cNvPr>
            <p:cNvSpPr/>
            <p:nvPr/>
          </p:nvSpPr>
          <p:spPr>
            <a:xfrm>
              <a:off x="2271028" y="2020511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9" name="Google Shape;7756;p64">
              <a:extLst>
                <a:ext uri="{FF2B5EF4-FFF2-40B4-BE49-F238E27FC236}">
                  <a16:creationId xmlns:a16="http://schemas.microsoft.com/office/drawing/2014/main" id="{88B514A8-752F-C579-D908-543B4F527312}"/>
                </a:ext>
              </a:extLst>
            </p:cNvPr>
            <p:cNvSpPr/>
            <p:nvPr/>
          </p:nvSpPr>
          <p:spPr>
            <a:xfrm>
              <a:off x="2271367" y="2016655"/>
              <a:ext cx="149" cy="1059"/>
            </a:xfrm>
            <a:custGeom>
              <a:avLst/>
              <a:gdLst/>
              <a:ahLst/>
              <a:cxnLst/>
              <a:rect l="l" t="t" r="r" b="b"/>
              <a:pathLst>
                <a:path w="11" h="78" extrusionOk="0">
                  <a:moveTo>
                    <a:pt x="11" y="1"/>
                  </a:moveTo>
                  <a:lnTo>
                    <a:pt x="11" y="1"/>
                  </a:lnTo>
                  <a:cubicBezTo>
                    <a:pt x="7" y="18"/>
                    <a:pt x="4" y="43"/>
                    <a:pt x="0" y="78"/>
                  </a:cubicBezTo>
                  <a:cubicBezTo>
                    <a:pt x="4" y="46"/>
                    <a:pt x="7" y="18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0" name="Google Shape;7757;p64">
              <a:extLst>
                <a:ext uri="{FF2B5EF4-FFF2-40B4-BE49-F238E27FC236}">
                  <a16:creationId xmlns:a16="http://schemas.microsoft.com/office/drawing/2014/main" id="{917099E8-3017-A0EB-5027-99C1C0F06D27}"/>
                </a:ext>
              </a:extLst>
            </p:cNvPr>
            <p:cNvSpPr/>
            <p:nvPr/>
          </p:nvSpPr>
          <p:spPr>
            <a:xfrm>
              <a:off x="2270987" y="2020986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1" name="Google Shape;7758;p64">
              <a:extLst>
                <a:ext uri="{FF2B5EF4-FFF2-40B4-BE49-F238E27FC236}">
                  <a16:creationId xmlns:a16="http://schemas.microsoft.com/office/drawing/2014/main" id="{A475367D-78F8-2224-BAD6-D3695A7256AB}"/>
                </a:ext>
              </a:extLst>
            </p:cNvPr>
            <p:cNvSpPr/>
            <p:nvPr/>
          </p:nvSpPr>
          <p:spPr>
            <a:xfrm>
              <a:off x="2271082" y="2019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2" name="Google Shape;7759;p64">
              <a:extLst>
                <a:ext uri="{FF2B5EF4-FFF2-40B4-BE49-F238E27FC236}">
                  <a16:creationId xmlns:a16="http://schemas.microsoft.com/office/drawing/2014/main" id="{192360B6-F649-8A45-65EB-F0C517DA28EA}"/>
                </a:ext>
              </a:extLst>
            </p:cNvPr>
            <p:cNvSpPr/>
            <p:nvPr/>
          </p:nvSpPr>
          <p:spPr>
            <a:xfrm>
              <a:off x="2271313" y="201789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3" name="Google Shape;7760;p64">
              <a:extLst>
                <a:ext uri="{FF2B5EF4-FFF2-40B4-BE49-F238E27FC236}">
                  <a16:creationId xmlns:a16="http://schemas.microsoft.com/office/drawing/2014/main" id="{8DAC7A50-925E-808C-0531-704EE857EB94}"/>
                </a:ext>
              </a:extLst>
            </p:cNvPr>
            <p:cNvSpPr/>
            <p:nvPr/>
          </p:nvSpPr>
          <p:spPr>
            <a:xfrm>
              <a:off x="2270933" y="2021461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4" name="Google Shape;7761;p64">
              <a:extLst>
                <a:ext uri="{FF2B5EF4-FFF2-40B4-BE49-F238E27FC236}">
                  <a16:creationId xmlns:a16="http://schemas.microsoft.com/office/drawing/2014/main" id="{A8FE2998-B47B-8C40-89DA-36DADE5EDA6A}"/>
                </a:ext>
              </a:extLst>
            </p:cNvPr>
            <p:cNvSpPr/>
            <p:nvPr/>
          </p:nvSpPr>
          <p:spPr>
            <a:xfrm>
              <a:off x="2261143" y="2049037"/>
              <a:ext cx="1018" cy="3992"/>
            </a:xfrm>
            <a:custGeom>
              <a:avLst/>
              <a:gdLst/>
              <a:ahLst/>
              <a:cxnLst/>
              <a:rect l="l" t="t" r="r" b="b"/>
              <a:pathLst>
                <a:path w="75" h="294" extrusionOk="0">
                  <a:moveTo>
                    <a:pt x="74" y="0"/>
                  </a:moveTo>
                  <a:cubicBezTo>
                    <a:pt x="67" y="137"/>
                    <a:pt x="39" y="241"/>
                    <a:pt x="1" y="294"/>
                  </a:cubicBezTo>
                  <a:cubicBezTo>
                    <a:pt x="43" y="241"/>
                    <a:pt x="67" y="137"/>
                    <a:pt x="7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5" name="Google Shape;7762;p64">
              <a:extLst>
                <a:ext uri="{FF2B5EF4-FFF2-40B4-BE49-F238E27FC236}">
                  <a16:creationId xmlns:a16="http://schemas.microsoft.com/office/drawing/2014/main" id="{654C2933-44FA-A2DC-7F0F-AB9D7B350A53}"/>
                </a:ext>
              </a:extLst>
            </p:cNvPr>
            <p:cNvSpPr/>
            <p:nvPr/>
          </p:nvSpPr>
          <p:spPr>
            <a:xfrm>
              <a:off x="2271272" y="2018325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6" name="Google Shape;7763;p64">
              <a:extLst>
                <a:ext uri="{FF2B5EF4-FFF2-40B4-BE49-F238E27FC236}">
                  <a16:creationId xmlns:a16="http://schemas.microsoft.com/office/drawing/2014/main" id="{D912D675-BD6B-8B82-630F-DD518DAE1EB8}"/>
                </a:ext>
              </a:extLst>
            </p:cNvPr>
            <p:cNvSpPr/>
            <p:nvPr/>
          </p:nvSpPr>
          <p:spPr>
            <a:xfrm>
              <a:off x="2271123" y="2019370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7" name="Google Shape;7764;p64">
              <a:extLst>
                <a:ext uri="{FF2B5EF4-FFF2-40B4-BE49-F238E27FC236}">
                  <a16:creationId xmlns:a16="http://schemas.microsoft.com/office/drawing/2014/main" id="{7A5BFAA9-43C9-1EEE-9BD4-CB3DF1C47EE2}"/>
                </a:ext>
              </a:extLst>
            </p:cNvPr>
            <p:cNvSpPr/>
            <p:nvPr/>
          </p:nvSpPr>
          <p:spPr>
            <a:xfrm>
              <a:off x="2270892" y="2021936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0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8" name="Google Shape;7765;p64">
              <a:extLst>
                <a:ext uri="{FF2B5EF4-FFF2-40B4-BE49-F238E27FC236}">
                  <a16:creationId xmlns:a16="http://schemas.microsoft.com/office/drawing/2014/main" id="{DCAB764D-4973-3A55-F9FD-95DBF2A7C050}"/>
                </a:ext>
              </a:extLst>
            </p:cNvPr>
            <p:cNvSpPr/>
            <p:nvPr/>
          </p:nvSpPr>
          <p:spPr>
            <a:xfrm>
              <a:off x="2271177" y="2018800"/>
              <a:ext cx="14" cy="244"/>
            </a:xfrm>
            <a:custGeom>
              <a:avLst/>
              <a:gdLst/>
              <a:ahLst/>
              <a:cxnLst/>
              <a:rect l="l" t="t" r="r" b="b"/>
              <a:pathLst>
                <a:path w="1" h="18" extrusionOk="0">
                  <a:moveTo>
                    <a:pt x="0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9" name="Google Shape;7766;p64">
              <a:extLst>
                <a:ext uri="{FF2B5EF4-FFF2-40B4-BE49-F238E27FC236}">
                  <a16:creationId xmlns:a16="http://schemas.microsoft.com/office/drawing/2014/main" id="{2774F098-73F8-C9B0-0AD0-88A88A02D39D}"/>
                </a:ext>
              </a:extLst>
            </p:cNvPr>
            <p:cNvSpPr/>
            <p:nvPr/>
          </p:nvSpPr>
          <p:spPr>
            <a:xfrm>
              <a:off x="2270892" y="2022357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1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0" name="Google Shape;7767;p64">
              <a:extLst>
                <a:ext uri="{FF2B5EF4-FFF2-40B4-BE49-F238E27FC236}">
                  <a16:creationId xmlns:a16="http://schemas.microsoft.com/office/drawing/2014/main" id="{FB76E5C3-3A3E-0F2E-7C29-7739448D1C86}"/>
                </a:ext>
              </a:extLst>
            </p:cNvPr>
            <p:cNvSpPr/>
            <p:nvPr/>
          </p:nvSpPr>
          <p:spPr>
            <a:xfrm>
              <a:off x="2260668" y="2062248"/>
              <a:ext cx="9192" cy="13265"/>
            </a:xfrm>
            <a:custGeom>
              <a:avLst/>
              <a:gdLst/>
              <a:ahLst/>
              <a:cxnLst/>
              <a:rect l="l" t="t" r="r" b="b"/>
              <a:pathLst>
                <a:path w="677" h="977" extrusionOk="0">
                  <a:moveTo>
                    <a:pt x="417" y="0"/>
                  </a:moveTo>
                  <a:cubicBezTo>
                    <a:pt x="417" y="4"/>
                    <a:pt x="414" y="7"/>
                    <a:pt x="410" y="14"/>
                  </a:cubicBezTo>
                  <a:cubicBezTo>
                    <a:pt x="410" y="18"/>
                    <a:pt x="410" y="21"/>
                    <a:pt x="407" y="28"/>
                  </a:cubicBezTo>
                  <a:cubicBezTo>
                    <a:pt x="403" y="32"/>
                    <a:pt x="403" y="35"/>
                    <a:pt x="400" y="42"/>
                  </a:cubicBezTo>
                  <a:cubicBezTo>
                    <a:pt x="400" y="46"/>
                    <a:pt x="400" y="49"/>
                    <a:pt x="396" y="56"/>
                  </a:cubicBezTo>
                  <a:cubicBezTo>
                    <a:pt x="393" y="60"/>
                    <a:pt x="389" y="67"/>
                    <a:pt x="386" y="74"/>
                  </a:cubicBezTo>
                  <a:cubicBezTo>
                    <a:pt x="379" y="81"/>
                    <a:pt x="379" y="81"/>
                    <a:pt x="379" y="84"/>
                  </a:cubicBezTo>
                  <a:cubicBezTo>
                    <a:pt x="372" y="91"/>
                    <a:pt x="365" y="102"/>
                    <a:pt x="354" y="109"/>
                  </a:cubicBezTo>
                  <a:cubicBezTo>
                    <a:pt x="344" y="119"/>
                    <a:pt x="333" y="126"/>
                    <a:pt x="319" y="137"/>
                  </a:cubicBezTo>
                  <a:lnTo>
                    <a:pt x="312" y="140"/>
                  </a:lnTo>
                  <a:cubicBezTo>
                    <a:pt x="302" y="147"/>
                    <a:pt x="291" y="151"/>
                    <a:pt x="277" y="158"/>
                  </a:cubicBezTo>
                  <a:lnTo>
                    <a:pt x="270" y="158"/>
                  </a:lnTo>
                  <a:cubicBezTo>
                    <a:pt x="256" y="165"/>
                    <a:pt x="242" y="168"/>
                    <a:pt x="228" y="168"/>
                  </a:cubicBezTo>
                  <a:lnTo>
                    <a:pt x="214" y="168"/>
                  </a:lnTo>
                  <a:cubicBezTo>
                    <a:pt x="204" y="172"/>
                    <a:pt x="190" y="172"/>
                    <a:pt x="176" y="172"/>
                  </a:cubicBezTo>
                  <a:lnTo>
                    <a:pt x="116" y="172"/>
                  </a:lnTo>
                  <a:cubicBezTo>
                    <a:pt x="99" y="172"/>
                    <a:pt x="81" y="168"/>
                    <a:pt x="64" y="165"/>
                  </a:cubicBezTo>
                  <a:lnTo>
                    <a:pt x="32" y="161"/>
                  </a:lnTo>
                  <a:lnTo>
                    <a:pt x="1" y="161"/>
                  </a:lnTo>
                  <a:lnTo>
                    <a:pt x="22" y="497"/>
                  </a:lnTo>
                  <a:cubicBezTo>
                    <a:pt x="74" y="655"/>
                    <a:pt x="113" y="812"/>
                    <a:pt x="141" y="977"/>
                  </a:cubicBezTo>
                  <a:lnTo>
                    <a:pt x="176" y="952"/>
                  </a:lnTo>
                  <a:lnTo>
                    <a:pt x="179" y="952"/>
                  </a:lnTo>
                  <a:lnTo>
                    <a:pt x="239" y="917"/>
                  </a:lnTo>
                  <a:lnTo>
                    <a:pt x="256" y="907"/>
                  </a:lnTo>
                  <a:lnTo>
                    <a:pt x="284" y="893"/>
                  </a:lnTo>
                  <a:lnTo>
                    <a:pt x="291" y="889"/>
                  </a:lnTo>
                  <a:cubicBezTo>
                    <a:pt x="344" y="872"/>
                    <a:pt x="456" y="711"/>
                    <a:pt x="568" y="525"/>
                  </a:cubicBezTo>
                  <a:lnTo>
                    <a:pt x="596" y="476"/>
                  </a:lnTo>
                  <a:cubicBezTo>
                    <a:pt x="613" y="445"/>
                    <a:pt x="631" y="413"/>
                    <a:pt x="648" y="382"/>
                  </a:cubicBezTo>
                  <a:lnTo>
                    <a:pt x="676" y="333"/>
                  </a:lnTo>
                  <a:lnTo>
                    <a:pt x="554" y="259"/>
                  </a:lnTo>
                  <a:lnTo>
                    <a:pt x="557" y="214"/>
                  </a:lnTo>
                  <a:lnTo>
                    <a:pt x="557" y="210"/>
                  </a:lnTo>
                  <a:lnTo>
                    <a:pt x="557" y="200"/>
                  </a:lnTo>
                  <a:lnTo>
                    <a:pt x="557" y="196"/>
                  </a:lnTo>
                  <a:lnTo>
                    <a:pt x="557" y="182"/>
                  </a:lnTo>
                  <a:lnTo>
                    <a:pt x="557" y="179"/>
                  </a:lnTo>
                  <a:lnTo>
                    <a:pt x="557" y="158"/>
                  </a:lnTo>
                  <a:lnTo>
                    <a:pt x="557" y="130"/>
                  </a:lnTo>
                  <a:lnTo>
                    <a:pt x="557" y="123"/>
                  </a:lnTo>
                  <a:lnTo>
                    <a:pt x="557" y="95"/>
                  </a:lnTo>
                  <a:lnTo>
                    <a:pt x="557" y="88"/>
                  </a:lnTo>
                  <a:cubicBezTo>
                    <a:pt x="557" y="77"/>
                    <a:pt x="557" y="63"/>
                    <a:pt x="554" y="53"/>
                  </a:cubicBezTo>
                  <a:lnTo>
                    <a:pt x="554" y="49"/>
                  </a:lnTo>
                  <a:cubicBezTo>
                    <a:pt x="554" y="35"/>
                    <a:pt x="554" y="21"/>
                    <a:pt x="550" y="11"/>
                  </a:cubicBezTo>
                  <a:cubicBezTo>
                    <a:pt x="512" y="0"/>
                    <a:pt x="459" y="0"/>
                    <a:pt x="41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1" name="Google Shape;7768;p64">
              <a:extLst>
                <a:ext uri="{FF2B5EF4-FFF2-40B4-BE49-F238E27FC236}">
                  <a16:creationId xmlns:a16="http://schemas.microsoft.com/office/drawing/2014/main" id="{C26D427B-55FA-785B-1EDC-5C56E0E627AF}"/>
                </a:ext>
              </a:extLst>
            </p:cNvPr>
            <p:cNvSpPr/>
            <p:nvPr/>
          </p:nvSpPr>
          <p:spPr>
            <a:xfrm>
              <a:off x="2266140" y="2062628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7" y="0"/>
                  </a:moveTo>
                  <a:lnTo>
                    <a:pt x="7" y="0"/>
                  </a:lnTo>
                  <a:cubicBezTo>
                    <a:pt x="4" y="4"/>
                    <a:pt x="0" y="7"/>
                    <a:pt x="0" y="14"/>
                  </a:cubicBezTo>
                  <a:cubicBezTo>
                    <a:pt x="4" y="7"/>
                    <a:pt x="4" y="4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2" name="Google Shape;7769;p64">
              <a:extLst>
                <a:ext uri="{FF2B5EF4-FFF2-40B4-BE49-F238E27FC236}">
                  <a16:creationId xmlns:a16="http://schemas.microsoft.com/office/drawing/2014/main" id="{98BC29F0-187E-0469-84B6-894C952B515F}"/>
                </a:ext>
              </a:extLst>
            </p:cNvPr>
            <p:cNvSpPr/>
            <p:nvPr/>
          </p:nvSpPr>
          <p:spPr>
            <a:xfrm>
              <a:off x="2263044" y="206462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3" name="Google Shape;7770;p64">
              <a:extLst>
                <a:ext uri="{FF2B5EF4-FFF2-40B4-BE49-F238E27FC236}">
                  <a16:creationId xmlns:a16="http://schemas.microsoft.com/office/drawing/2014/main" id="{022589B4-F530-4EB9-711B-47A0697ECD66}"/>
                </a:ext>
              </a:extLst>
            </p:cNvPr>
            <p:cNvSpPr/>
            <p:nvPr/>
          </p:nvSpPr>
          <p:spPr>
            <a:xfrm>
              <a:off x="2265515" y="2063388"/>
              <a:ext cx="353" cy="339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" y="25"/>
                  </a:moveTo>
                  <a:cubicBezTo>
                    <a:pt x="8" y="18"/>
                    <a:pt x="15" y="7"/>
                    <a:pt x="25" y="0"/>
                  </a:cubicBezTo>
                  <a:cubicBezTo>
                    <a:pt x="15" y="7"/>
                    <a:pt x="8" y="18"/>
                    <a:pt x="1" y="2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4" name="Google Shape;7771;p64">
              <a:extLst>
                <a:ext uri="{FF2B5EF4-FFF2-40B4-BE49-F238E27FC236}">
                  <a16:creationId xmlns:a16="http://schemas.microsoft.com/office/drawing/2014/main" id="{C6A08411-8DA4-9352-8E89-1E6363C20936}"/>
                </a:ext>
              </a:extLst>
            </p:cNvPr>
            <p:cNvSpPr/>
            <p:nvPr/>
          </p:nvSpPr>
          <p:spPr>
            <a:xfrm>
              <a:off x="2261103" y="2064380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0" y="1"/>
                  </a:moveTo>
                  <a:lnTo>
                    <a:pt x="32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5" name="Google Shape;7772;p64">
              <a:extLst>
                <a:ext uri="{FF2B5EF4-FFF2-40B4-BE49-F238E27FC236}">
                  <a16:creationId xmlns:a16="http://schemas.microsoft.com/office/drawing/2014/main" id="{11965EE6-2D51-017E-210D-7BD5F910E76B}"/>
                </a:ext>
              </a:extLst>
            </p:cNvPr>
            <p:cNvSpPr/>
            <p:nvPr/>
          </p:nvSpPr>
          <p:spPr>
            <a:xfrm>
              <a:off x="2264904" y="206405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7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6" name="Google Shape;7773;p64">
              <a:extLst>
                <a:ext uri="{FF2B5EF4-FFF2-40B4-BE49-F238E27FC236}">
                  <a16:creationId xmlns:a16="http://schemas.microsoft.com/office/drawing/2014/main" id="{2CDF5EC6-3C89-70E8-66A8-4A00494BE508}"/>
                </a:ext>
              </a:extLst>
            </p:cNvPr>
            <p:cNvSpPr/>
            <p:nvPr/>
          </p:nvSpPr>
          <p:spPr>
            <a:xfrm>
              <a:off x="2264375" y="20643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4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7" name="Google Shape;7774;p64">
              <a:extLst>
                <a:ext uri="{FF2B5EF4-FFF2-40B4-BE49-F238E27FC236}">
                  <a16:creationId xmlns:a16="http://schemas.microsoft.com/office/drawing/2014/main" id="{F5A6022A-A4BE-C094-01E0-215C51DFC1FB}"/>
                </a:ext>
              </a:extLst>
            </p:cNvPr>
            <p:cNvSpPr/>
            <p:nvPr/>
          </p:nvSpPr>
          <p:spPr>
            <a:xfrm>
              <a:off x="2262243" y="206457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8" name="Google Shape;7775;p64">
              <a:extLst>
                <a:ext uri="{FF2B5EF4-FFF2-40B4-BE49-F238E27FC236}">
                  <a16:creationId xmlns:a16="http://schemas.microsoft.com/office/drawing/2014/main" id="{8C92CDBB-7C3F-BC63-68E9-8959B7106240}"/>
                </a:ext>
              </a:extLst>
            </p:cNvPr>
            <p:cNvSpPr/>
            <p:nvPr/>
          </p:nvSpPr>
          <p:spPr>
            <a:xfrm>
              <a:off x="2263615" y="20645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9" name="Google Shape;7776;p64">
              <a:extLst>
                <a:ext uri="{FF2B5EF4-FFF2-40B4-BE49-F238E27FC236}">
                  <a16:creationId xmlns:a16="http://schemas.microsoft.com/office/drawing/2014/main" id="{205D40E2-0E09-113D-174F-D7E85E19A392}"/>
                </a:ext>
              </a:extLst>
            </p:cNvPr>
            <p:cNvSpPr/>
            <p:nvPr/>
          </p:nvSpPr>
          <p:spPr>
            <a:xfrm>
              <a:off x="2260668" y="20643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0" name="Google Shape;7777;p64">
              <a:extLst>
                <a:ext uri="{FF2B5EF4-FFF2-40B4-BE49-F238E27FC236}">
                  <a16:creationId xmlns:a16="http://schemas.microsoft.com/office/drawing/2014/main" id="{6260A795-027C-10EA-F039-A8257A22EBE8}"/>
                </a:ext>
              </a:extLst>
            </p:cNvPr>
            <p:cNvSpPr/>
            <p:nvPr/>
          </p:nvSpPr>
          <p:spPr>
            <a:xfrm>
              <a:off x="2265896" y="2063008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18"/>
                  </a:moveTo>
                  <a:cubicBezTo>
                    <a:pt x="4" y="11"/>
                    <a:pt x="11" y="4"/>
                    <a:pt x="11" y="0"/>
                  </a:cubicBezTo>
                  <a:cubicBezTo>
                    <a:pt x="11" y="4"/>
                    <a:pt x="4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1" name="Google Shape;7778;p64">
              <a:extLst>
                <a:ext uri="{FF2B5EF4-FFF2-40B4-BE49-F238E27FC236}">
                  <a16:creationId xmlns:a16="http://schemas.microsoft.com/office/drawing/2014/main" id="{8010B5C4-3C56-3B81-804B-7CAC9A51A0E7}"/>
                </a:ext>
              </a:extLst>
            </p:cNvPr>
            <p:cNvSpPr/>
            <p:nvPr/>
          </p:nvSpPr>
          <p:spPr>
            <a:xfrm>
              <a:off x="2266235" y="2062194"/>
              <a:ext cx="2050" cy="258"/>
            </a:xfrm>
            <a:custGeom>
              <a:avLst/>
              <a:gdLst/>
              <a:ahLst/>
              <a:cxnLst/>
              <a:rect l="l" t="t" r="r" b="b"/>
              <a:pathLst>
                <a:path w="151" h="19" extrusionOk="0">
                  <a:moveTo>
                    <a:pt x="151" y="1"/>
                  </a:moveTo>
                  <a:lnTo>
                    <a:pt x="151" y="1"/>
                  </a:lnTo>
                  <a:cubicBezTo>
                    <a:pt x="98" y="4"/>
                    <a:pt x="46" y="4"/>
                    <a:pt x="7" y="4"/>
                  </a:cubicBezTo>
                  <a:cubicBezTo>
                    <a:pt x="49" y="4"/>
                    <a:pt x="98" y="4"/>
                    <a:pt x="151" y="1"/>
                  </a:cubicBezTo>
                  <a:close/>
                  <a:moveTo>
                    <a:pt x="7" y="4"/>
                  </a:moveTo>
                  <a:cubicBezTo>
                    <a:pt x="4" y="8"/>
                    <a:pt x="0" y="15"/>
                    <a:pt x="0" y="18"/>
                  </a:cubicBezTo>
                  <a:cubicBezTo>
                    <a:pt x="4" y="11"/>
                    <a:pt x="7" y="8"/>
                    <a:pt x="7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2" name="Google Shape;7779;p64">
              <a:extLst>
                <a:ext uri="{FF2B5EF4-FFF2-40B4-BE49-F238E27FC236}">
                  <a16:creationId xmlns:a16="http://schemas.microsoft.com/office/drawing/2014/main" id="{CDD7A2F0-DCBA-7007-89A1-1EF9E81EEC2F}"/>
                </a:ext>
              </a:extLst>
            </p:cNvPr>
            <p:cNvSpPr/>
            <p:nvPr/>
          </p:nvSpPr>
          <p:spPr>
            <a:xfrm>
              <a:off x="2260668" y="2064339"/>
              <a:ext cx="353" cy="4616"/>
            </a:xfrm>
            <a:custGeom>
              <a:avLst/>
              <a:gdLst/>
              <a:ahLst/>
              <a:cxnLst/>
              <a:rect l="l" t="t" r="r" b="b"/>
              <a:pathLst>
                <a:path w="26" h="340" extrusionOk="0">
                  <a:moveTo>
                    <a:pt x="1" y="0"/>
                  </a:moveTo>
                  <a:lnTo>
                    <a:pt x="25" y="340"/>
                  </a:lnTo>
                  <a:lnTo>
                    <a:pt x="25" y="34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3" name="Google Shape;7780;p64">
              <a:extLst>
                <a:ext uri="{FF2B5EF4-FFF2-40B4-BE49-F238E27FC236}">
                  <a16:creationId xmlns:a16="http://schemas.microsoft.com/office/drawing/2014/main" id="{701C4084-61DB-51D9-A207-4B4C12D311B5}"/>
                </a:ext>
              </a:extLst>
            </p:cNvPr>
            <p:cNvSpPr/>
            <p:nvPr/>
          </p:nvSpPr>
          <p:spPr>
            <a:xfrm>
              <a:off x="2267851" y="2123754"/>
              <a:ext cx="76781" cy="124832"/>
            </a:xfrm>
            <a:custGeom>
              <a:avLst/>
              <a:gdLst/>
              <a:ahLst/>
              <a:cxnLst/>
              <a:rect l="l" t="t" r="r" b="b"/>
              <a:pathLst>
                <a:path w="5655" h="9194" extrusionOk="0">
                  <a:moveTo>
                    <a:pt x="5448" y="0"/>
                  </a:moveTo>
                  <a:lnTo>
                    <a:pt x="5402" y="21"/>
                  </a:lnTo>
                  <a:lnTo>
                    <a:pt x="5384" y="28"/>
                  </a:lnTo>
                  <a:lnTo>
                    <a:pt x="5321" y="60"/>
                  </a:lnTo>
                  <a:lnTo>
                    <a:pt x="5265" y="84"/>
                  </a:lnTo>
                  <a:lnTo>
                    <a:pt x="5251" y="91"/>
                  </a:lnTo>
                  <a:lnTo>
                    <a:pt x="5216" y="109"/>
                  </a:lnTo>
                  <a:lnTo>
                    <a:pt x="5202" y="119"/>
                  </a:lnTo>
                  <a:lnTo>
                    <a:pt x="5174" y="133"/>
                  </a:lnTo>
                  <a:lnTo>
                    <a:pt x="5160" y="140"/>
                  </a:lnTo>
                  <a:lnTo>
                    <a:pt x="5136" y="151"/>
                  </a:lnTo>
                  <a:lnTo>
                    <a:pt x="5122" y="158"/>
                  </a:lnTo>
                  <a:lnTo>
                    <a:pt x="5104" y="168"/>
                  </a:lnTo>
                  <a:lnTo>
                    <a:pt x="5094" y="175"/>
                  </a:lnTo>
                  <a:lnTo>
                    <a:pt x="5076" y="182"/>
                  </a:lnTo>
                  <a:lnTo>
                    <a:pt x="5066" y="189"/>
                  </a:lnTo>
                  <a:lnTo>
                    <a:pt x="5055" y="196"/>
                  </a:lnTo>
                  <a:lnTo>
                    <a:pt x="5045" y="200"/>
                  </a:lnTo>
                  <a:lnTo>
                    <a:pt x="5038" y="207"/>
                  </a:lnTo>
                  <a:lnTo>
                    <a:pt x="5031" y="210"/>
                  </a:lnTo>
                  <a:lnTo>
                    <a:pt x="5020" y="217"/>
                  </a:lnTo>
                  <a:lnTo>
                    <a:pt x="5017" y="221"/>
                  </a:lnTo>
                  <a:lnTo>
                    <a:pt x="5010" y="224"/>
                  </a:lnTo>
                  <a:lnTo>
                    <a:pt x="5006" y="228"/>
                  </a:lnTo>
                  <a:lnTo>
                    <a:pt x="4999" y="231"/>
                  </a:lnTo>
                  <a:lnTo>
                    <a:pt x="4996" y="235"/>
                  </a:lnTo>
                  <a:lnTo>
                    <a:pt x="4992" y="238"/>
                  </a:lnTo>
                  <a:lnTo>
                    <a:pt x="4989" y="242"/>
                  </a:lnTo>
                  <a:cubicBezTo>
                    <a:pt x="4954" y="305"/>
                    <a:pt x="4884" y="316"/>
                    <a:pt x="4819" y="316"/>
                  </a:cubicBezTo>
                  <a:cubicBezTo>
                    <a:pt x="4805" y="316"/>
                    <a:pt x="4792" y="316"/>
                    <a:pt x="4779" y="315"/>
                  </a:cubicBezTo>
                  <a:cubicBezTo>
                    <a:pt x="4768" y="315"/>
                    <a:pt x="4757" y="315"/>
                    <a:pt x="4747" y="315"/>
                  </a:cubicBezTo>
                  <a:cubicBezTo>
                    <a:pt x="4683" y="315"/>
                    <a:pt x="4629" y="318"/>
                    <a:pt x="4590" y="354"/>
                  </a:cubicBezTo>
                  <a:cubicBezTo>
                    <a:pt x="4529" y="406"/>
                    <a:pt x="4474" y="423"/>
                    <a:pt x="4425" y="423"/>
                  </a:cubicBezTo>
                  <a:cubicBezTo>
                    <a:pt x="4368" y="423"/>
                    <a:pt x="4318" y="400"/>
                    <a:pt x="4275" y="382"/>
                  </a:cubicBezTo>
                  <a:cubicBezTo>
                    <a:pt x="4254" y="368"/>
                    <a:pt x="4229" y="361"/>
                    <a:pt x="4205" y="350"/>
                  </a:cubicBezTo>
                  <a:cubicBezTo>
                    <a:pt x="4200" y="349"/>
                    <a:pt x="4196" y="348"/>
                    <a:pt x="4192" y="348"/>
                  </a:cubicBezTo>
                  <a:cubicBezTo>
                    <a:pt x="4186" y="348"/>
                    <a:pt x="4181" y="350"/>
                    <a:pt x="4177" y="354"/>
                  </a:cubicBezTo>
                  <a:cubicBezTo>
                    <a:pt x="4149" y="371"/>
                    <a:pt x="4121" y="434"/>
                    <a:pt x="4110" y="508"/>
                  </a:cubicBezTo>
                  <a:cubicBezTo>
                    <a:pt x="4103" y="543"/>
                    <a:pt x="4086" y="571"/>
                    <a:pt x="4058" y="588"/>
                  </a:cubicBezTo>
                  <a:cubicBezTo>
                    <a:pt x="4023" y="613"/>
                    <a:pt x="3976" y="622"/>
                    <a:pt x="3923" y="622"/>
                  </a:cubicBezTo>
                  <a:cubicBezTo>
                    <a:pt x="3859" y="622"/>
                    <a:pt x="3786" y="609"/>
                    <a:pt x="3718" y="595"/>
                  </a:cubicBezTo>
                  <a:lnTo>
                    <a:pt x="3708" y="595"/>
                  </a:lnTo>
                  <a:cubicBezTo>
                    <a:pt x="3638" y="599"/>
                    <a:pt x="3568" y="609"/>
                    <a:pt x="3501" y="627"/>
                  </a:cubicBezTo>
                  <a:cubicBezTo>
                    <a:pt x="3421" y="644"/>
                    <a:pt x="3336" y="658"/>
                    <a:pt x="3252" y="662"/>
                  </a:cubicBezTo>
                  <a:cubicBezTo>
                    <a:pt x="3248" y="662"/>
                    <a:pt x="3243" y="662"/>
                    <a:pt x="3238" y="662"/>
                  </a:cubicBezTo>
                  <a:cubicBezTo>
                    <a:pt x="3174" y="662"/>
                    <a:pt x="3115" y="619"/>
                    <a:pt x="3105" y="553"/>
                  </a:cubicBezTo>
                  <a:cubicBezTo>
                    <a:pt x="3102" y="525"/>
                    <a:pt x="3081" y="504"/>
                    <a:pt x="3053" y="497"/>
                  </a:cubicBezTo>
                  <a:cubicBezTo>
                    <a:pt x="3035" y="492"/>
                    <a:pt x="3019" y="489"/>
                    <a:pt x="3003" y="489"/>
                  </a:cubicBezTo>
                  <a:cubicBezTo>
                    <a:pt x="2957" y="489"/>
                    <a:pt x="2916" y="508"/>
                    <a:pt x="2874" y="529"/>
                  </a:cubicBezTo>
                  <a:cubicBezTo>
                    <a:pt x="2836" y="550"/>
                    <a:pt x="2794" y="564"/>
                    <a:pt x="2748" y="567"/>
                  </a:cubicBezTo>
                  <a:lnTo>
                    <a:pt x="2650" y="567"/>
                  </a:lnTo>
                  <a:lnTo>
                    <a:pt x="2626" y="564"/>
                  </a:lnTo>
                  <a:lnTo>
                    <a:pt x="2601" y="560"/>
                  </a:lnTo>
                  <a:lnTo>
                    <a:pt x="2573" y="557"/>
                  </a:lnTo>
                  <a:lnTo>
                    <a:pt x="2552" y="553"/>
                  </a:lnTo>
                  <a:lnTo>
                    <a:pt x="2531" y="553"/>
                  </a:lnTo>
                  <a:lnTo>
                    <a:pt x="2510" y="550"/>
                  </a:lnTo>
                  <a:lnTo>
                    <a:pt x="2500" y="550"/>
                  </a:lnTo>
                  <a:cubicBezTo>
                    <a:pt x="2496" y="599"/>
                    <a:pt x="2489" y="648"/>
                    <a:pt x="2472" y="693"/>
                  </a:cubicBezTo>
                  <a:cubicBezTo>
                    <a:pt x="2416" y="840"/>
                    <a:pt x="2517" y="1148"/>
                    <a:pt x="2598" y="1393"/>
                  </a:cubicBezTo>
                  <a:cubicBezTo>
                    <a:pt x="2647" y="1523"/>
                    <a:pt x="2685" y="1656"/>
                    <a:pt x="2710" y="1793"/>
                  </a:cubicBezTo>
                  <a:lnTo>
                    <a:pt x="2724" y="1807"/>
                  </a:lnTo>
                  <a:lnTo>
                    <a:pt x="2759" y="1835"/>
                  </a:lnTo>
                  <a:lnTo>
                    <a:pt x="2780" y="1852"/>
                  </a:lnTo>
                  <a:lnTo>
                    <a:pt x="2811" y="1884"/>
                  </a:lnTo>
                  <a:lnTo>
                    <a:pt x="2829" y="1898"/>
                  </a:lnTo>
                  <a:lnTo>
                    <a:pt x="2857" y="1926"/>
                  </a:lnTo>
                  <a:lnTo>
                    <a:pt x="2874" y="1943"/>
                  </a:lnTo>
                  <a:lnTo>
                    <a:pt x="2902" y="1968"/>
                  </a:lnTo>
                  <a:lnTo>
                    <a:pt x="2916" y="1982"/>
                  </a:lnTo>
                  <a:lnTo>
                    <a:pt x="2941" y="2006"/>
                  </a:lnTo>
                  <a:lnTo>
                    <a:pt x="2955" y="2020"/>
                  </a:lnTo>
                  <a:lnTo>
                    <a:pt x="2972" y="2041"/>
                  </a:lnTo>
                  <a:lnTo>
                    <a:pt x="2986" y="2055"/>
                  </a:lnTo>
                  <a:lnTo>
                    <a:pt x="3004" y="2073"/>
                  </a:lnTo>
                  <a:lnTo>
                    <a:pt x="3014" y="2087"/>
                  </a:lnTo>
                  <a:lnTo>
                    <a:pt x="3028" y="2101"/>
                  </a:lnTo>
                  <a:cubicBezTo>
                    <a:pt x="3039" y="2115"/>
                    <a:pt x="3049" y="2129"/>
                    <a:pt x="3056" y="2139"/>
                  </a:cubicBezTo>
                  <a:cubicBezTo>
                    <a:pt x="3098" y="2192"/>
                    <a:pt x="3116" y="2262"/>
                    <a:pt x="3102" y="2328"/>
                  </a:cubicBezTo>
                  <a:cubicBezTo>
                    <a:pt x="3098" y="2346"/>
                    <a:pt x="3095" y="2363"/>
                    <a:pt x="3091" y="2381"/>
                  </a:cubicBezTo>
                  <a:lnTo>
                    <a:pt x="3084" y="2405"/>
                  </a:lnTo>
                  <a:cubicBezTo>
                    <a:pt x="3060" y="2500"/>
                    <a:pt x="3053" y="2594"/>
                    <a:pt x="3060" y="2689"/>
                  </a:cubicBezTo>
                  <a:cubicBezTo>
                    <a:pt x="3070" y="2979"/>
                    <a:pt x="2976" y="3025"/>
                    <a:pt x="2846" y="3049"/>
                  </a:cubicBezTo>
                  <a:cubicBezTo>
                    <a:pt x="2804" y="3053"/>
                    <a:pt x="2762" y="3070"/>
                    <a:pt x="2727" y="3098"/>
                  </a:cubicBezTo>
                  <a:cubicBezTo>
                    <a:pt x="2661" y="3158"/>
                    <a:pt x="2678" y="3291"/>
                    <a:pt x="2696" y="3399"/>
                  </a:cubicBezTo>
                  <a:cubicBezTo>
                    <a:pt x="2706" y="3473"/>
                    <a:pt x="2717" y="3529"/>
                    <a:pt x="2699" y="3574"/>
                  </a:cubicBezTo>
                  <a:cubicBezTo>
                    <a:pt x="2696" y="3581"/>
                    <a:pt x="2692" y="3588"/>
                    <a:pt x="2685" y="3595"/>
                  </a:cubicBezTo>
                  <a:cubicBezTo>
                    <a:pt x="2682" y="3599"/>
                    <a:pt x="2675" y="3606"/>
                    <a:pt x="2671" y="3609"/>
                  </a:cubicBezTo>
                  <a:cubicBezTo>
                    <a:pt x="2664" y="3613"/>
                    <a:pt x="2661" y="3617"/>
                    <a:pt x="2654" y="3617"/>
                  </a:cubicBezTo>
                  <a:lnTo>
                    <a:pt x="2626" y="3617"/>
                  </a:lnTo>
                  <a:cubicBezTo>
                    <a:pt x="2489" y="3613"/>
                    <a:pt x="2094" y="2962"/>
                    <a:pt x="2073" y="2902"/>
                  </a:cubicBezTo>
                  <a:cubicBezTo>
                    <a:pt x="2055" y="2843"/>
                    <a:pt x="2073" y="2766"/>
                    <a:pt x="2118" y="2619"/>
                  </a:cubicBezTo>
                  <a:cubicBezTo>
                    <a:pt x="2160" y="2475"/>
                    <a:pt x="2209" y="2300"/>
                    <a:pt x="2185" y="2181"/>
                  </a:cubicBezTo>
                  <a:cubicBezTo>
                    <a:pt x="2185" y="2157"/>
                    <a:pt x="2171" y="2136"/>
                    <a:pt x="2150" y="2122"/>
                  </a:cubicBezTo>
                  <a:cubicBezTo>
                    <a:pt x="2134" y="2113"/>
                    <a:pt x="2113" y="2109"/>
                    <a:pt x="2090" y="2109"/>
                  </a:cubicBezTo>
                  <a:cubicBezTo>
                    <a:pt x="2032" y="2109"/>
                    <a:pt x="1960" y="2131"/>
                    <a:pt x="1905" y="2146"/>
                  </a:cubicBezTo>
                  <a:cubicBezTo>
                    <a:pt x="1880" y="2157"/>
                    <a:pt x="1852" y="2164"/>
                    <a:pt x="1824" y="2167"/>
                  </a:cubicBezTo>
                  <a:cubicBezTo>
                    <a:pt x="1818" y="2168"/>
                    <a:pt x="1811" y="2169"/>
                    <a:pt x="1804" y="2169"/>
                  </a:cubicBezTo>
                  <a:cubicBezTo>
                    <a:pt x="1726" y="2169"/>
                    <a:pt x="1639" y="2095"/>
                    <a:pt x="1516" y="1985"/>
                  </a:cubicBezTo>
                  <a:lnTo>
                    <a:pt x="1495" y="1968"/>
                  </a:lnTo>
                  <a:lnTo>
                    <a:pt x="1488" y="1957"/>
                  </a:lnTo>
                  <a:lnTo>
                    <a:pt x="1471" y="1947"/>
                  </a:lnTo>
                  <a:lnTo>
                    <a:pt x="1464" y="1936"/>
                  </a:lnTo>
                  <a:lnTo>
                    <a:pt x="1450" y="1929"/>
                  </a:lnTo>
                  <a:lnTo>
                    <a:pt x="1443" y="1922"/>
                  </a:lnTo>
                  <a:lnTo>
                    <a:pt x="1436" y="1915"/>
                  </a:lnTo>
                  <a:cubicBezTo>
                    <a:pt x="1320" y="1947"/>
                    <a:pt x="595" y="2213"/>
                    <a:pt x="56" y="2416"/>
                  </a:cubicBezTo>
                  <a:lnTo>
                    <a:pt x="53" y="2416"/>
                  </a:lnTo>
                  <a:lnTo>
                    <a:pt x="0" y="2433"/>
                  </a:lnTo>
                  <a:lnTo>
                    <a:pt x="119" y="2860"/>
                  </a:lnTo>
                  <a:lnTo>
                    <a:pt x="102" y="2860"/>
                  </a:lnTo>
                  <a:lnTo>
                    <a:pt x="126" y="2913"/>
                  </a:lnTo>
                  <a:cubicBezTo>
                    <a:pt x="252" y="2923"/>
                    <a:pt x="627" y="2962"/>
                    <a:pt x="823" y="3091"/>
                  </a:cubicBezTo>
                  <a:cubicBezTo>
                    <a:pt x="952" y="3179"/>
                    <a:pt x="1131" y="3217"/>
                    <a:pt x="1264" y="3249"/>
                  </a:cubicBezTo>
                  <a:cubicBezTo>
                    <a:pt x="1331" y="3259"/>
                    <a:pt x="1394" y="3280"/>
                    <a:pt x="1453" y="3308"/>
                  </a:cubicBezTo>
                  <a:cubicBezTo>
                    <a:pt x="1520" y="3354"/>
                    <a:pt x="1523" y="3473"/>
                    <a:pt x="1509" y="3809"/>
                  </a:cubicBezTo>
                  <a:cubicBezTo>
                    <a:pt x="1499" y="3942"/>
                    <a:pt x="1499" y="4075"/>
                    <a:pt x="1506" y="4205"/>
                  </a:cubicBezTo>
                  <a:cubicBezTo>
                    <a:pt x="1520" y="4366"/>
                    <a:pt x="1439" y="4464"/>
                    <a:pt x="1376" y="4537"/>
                  </a:cubicBezTo>
                  <a:cubicBezTo>
                    <a:pt x="1310" y="4618"/>
                    <a:pt x="1313" y="4625"/>
                    <a:pt x="1341" y="4649"/>
                  </a:cubicBezTo>
                  <a:cubicBezTo>
                    <a:pt x="1432" y="4744"/>
                    <a:pt x="1450" y="4866"/>
                    <a:pt x="1464" y="4957"/>
                  </a:cubicBezTo>
                  <a:cubicBezTo>
                    <a:pt x="1467" y="4989"/>
                    <a:pt x="1474" y="5017"/>
                    <a:pt x="1485" y="5048"/>
                  </a:cubicBezTo>
                  <a:cubicBezTo>
                    <a:pt x="1520" y="5059"/>
                    <a:pt x="1544" y="5087"/>
                    <a:pt x="1548" y="5122"/>
                  </a:cubicBezTo>
                  <a:cubicBezTo>
                    <a:pt x="1569" y="5248"/>
                    <a:pt x="1310" y="5517"/>
                    <a:pt x="1204" y="5580"/>
                  </a:cubicBezTo>
                  <a:cubicBezTo>
                    <a:pt x="1180" y="5594"/>
                    <a:pt x="1176" y="5664"/>
                    <a:pt x="1173" y="5735"/>
                  </a:cubicBezTo>
                  <a:cubicBezTo>
                    <a:pt x="1173" y="5843"/>
                    <a:pt x="1166" y="5980"/>
                    <a:pt x="1078" y="6095"/>
                  </a:cubicBezTo>
                  <a:cubicBezTo>
                    <a:pt x="1008" y="6190"/>
                    <a:pt x="844" y="6347"/>
                    <a:pt x="686" y="6498"/>
                  </a:cubicBezTo>
                  <a:lnTo>
                    <a:pt x="609" y="6568"/>
                  </a:lnTo>
                  <a:lnTo>
                    <a:pt x="592" y="6585"/>
                  </a:lnTo>
                  <a:lnTo>
                    <a:pt x="560" y="6613"/>
                  </a:lnTo>
                  <a:cubicBezTo>
                    <a:pt x="571" y="6638"/>
                    <a:pt x="578" y="6662"/>
                    <a:pt x="585" y="6687"/>
                  </a:cubicBezTo>
                  <a:lnTo>
                    <a:pt x="592" y="6718"/>
                  </a:lnTo>
                  <a:lnTo>
                    <a:pt x="595" y="6729"/>
                  </a:lnTo>
                  <a:lnTo>
                    <a:pt x="602" y="6760"/>
                  </a:lnTo>
                  <a:lnTo>
                    <a:pt x="606" y="6774"/>
                  </a:lnTo>
                  <a:lnTo>
                    <a:pt x="616" y="6813"/>
                  </a:lnTo>
                  <a:lnTo>
                    <a:pt x="620" y="6823"/>
                  </a:lnTo>
                  <a:lnTo>
                    <a:pt x="630" y="6879"/>
                  </a:lnTo>
                  <a:cubicBezTo>
                    <a:pt x="679" y="7079"/>
                    <a:pt x="791" y="7544"/>
                    <a:pt x="868" y="7586"/>
                  </a:cubicBezTo>
                  <a:cubicBezTo>
                    <a:pt x="1075" y="7709"/>
                    <a:pt x="949" y="8640"/>
                    <a:pt x="949" y="8651"/>
                  </a:cubicBezTo>
                  <a:lnTo>
                    <a:pt x="949" y="8654"/>
                  </a:lnTo>
                  <a:lnTo>
                    <a:pt x="949" y="8714"/>
                  </a:lnTo>
                  <a:lnTo>
                    <a:pt x="949" y="8738"/>
                  </a:lnTo>
                  <a:lnTo>
                    <a:pt x="952" y="8780"/>
                  </a:lnTo>
                  <a:cubicBezTo>
                    <a:pt x="956" y="8857"/>
                    <a:pt x="970" y="8955"/>
                    <a:pt x="984" y="9085"/>
                  </a:cubicBezTo>
                  <a:lnTo>
                    <a:pt x="998" y="9193"/>
                  </a:lnTo>
                  <a:lnTo>
                    <a:pt x="1005" y="9193"/>
                  </a:lnTo>
                  <a:lnTo>
                    <a:pt x="1029" y="9190"/>
                  </a:lnTo>
                  <a:lnTo>
                    <a:pt x="1033" y="9190"/>
                  </a:lnTo>
                  <a:cubicBezTo>
                    <a:pt x="1099" y="9183"/>
                    <a:pt x="1194" y="9176"/>
                    <a:pt x="1289" y="9172"/>
                  </a:cubicBezTo>
                  <a:cubicBezTo>
                    <a:pt x="1296" y="9099"/>
                    <a:pt x="1303" y="9022"/>
                    <a:pt x="1306" y="8962"/>
                  </a:cubicBezTo>
                  <a:cubicBezTo>
                    <a:pt x="1310" y="8938"/>
                    <a:pt x="1310" y="8913"/>
                    <a:pt x="1303" y="8889"/>
                  </a:cubicBezTo>
                  <a:lnTo>
                    <a:pt x="1274" y="8889"/>
                  </a:lnTo>
                  <a:cubicBezTo>
                    <a:pt x="1265" y="8890"/>
                    <a:pt x="1256" y="8891"/>
                    <a:pt x="1247" y="8891"/>
                  </a:cubicBezTo>
                  <a:cubicBezTo>
                    <a:pt x="1177" y="8891"/>
                    <a:pt x="1114" y="8845"/>
                    <a:pt x="1092" y="8777"/>
                  </a:cubicBezTo>
                  <a:cubicBezTo>
                    <a:pt x="1005" y="8532"/>
                    <a:pt x="1597" y="8210"/>
                    <a:pt x="1989" y="8063"/>
                  </a:cubicBezTo>
                  <a:cubicBezTo>
                    <a:pt x="2447" y="7895"/>
                    <a:pt x="2598" y="7804"/>
                    <a:pt x="2636" y="7677"/>
                  </a:cubicBezTo>
                  <a:cubicBezTo>
                    <a:pt x="2654" y="7611"/>
                    <a:pt x="2654" y="7474"/>
                    <a:pt x="2654" y="7341"/>
                  </a:cubicBezTo>
                  <a:cubicBezTo>
                    <a:pt x="2654" y="7166"/>
                    <a:pt x="2654" y="6988"/>
                    <a:pt x="2692" y="6883"/>
                  </a:cubicBezTo>
                  <a:cubicBezTo>
                    <a:pt x="2724" y="6795"/>
                    <a:pt x="2706" y="6732"/>
                    <a:pt x="2671" y="6603"/>
                  </a:cubicBezTo>
                  <a:cubicBezTo>
                    <a:pt x="2636" y="6480"/>
                    <a:pt x="2612" y="6354"/>
                    <a:pt x="2594" y="6225"/>
                  </a:cubicBezTo>
                  <a:cubicBezTo>
                    <a:pt x="2573" y="6064"/>
                    <a:pt x="2521" y="5910"/>
                    <a:pt x="2433" y="5770"/>
                  </a:cubicBezTo>
                  <a:cubicBezTo>
                    <a:pt x="2388" y="5700"/>
                    <a:pt x="2353" y="5622"/>
                    <a:pt x="2328" y="5538"/>
                  </a:cubicBezTo>
                  <a:cubicBezTo>
                    <a:pt x="2290" y="5409"/>
                    <a:pt x="2262" y="5227"/>
                    <a:pt x="2335" y="5118"/>
                  </a:cubicBezTo>
                  <a:cubicBezTo>
                    <a:pt x="2367" y="5073"/>
                    <a:pt x="2419" y="5045"/>
                    <a:pt x="2475" y="5045"/>
                  </a:cubicBezTo>
                  <a:cubicBezTo>
                    <a:pt x="2545" y="5038"/>
                    <a:pt x="2552" y="5031"/>
                    <a:pt x="2619" y="4898"/>
                  </a:cubicBezTo>
                  <a:cubicBezTo>
                    <a:pt x="2633" y="4866"/>
                    <a:pt x="2650" y="4831"/>
                    <a:pt x="2671" y="4789"/>
                  </a:cubicBezTo>
                  <a:cubicBezTo>
                    <a:pt x="2752" y="4635"/>
                    <a:pt x="2843" y="4607"/>
                    <a:pt x="2941" y="4576"/>
                  </a:cubicBezTo>
                  <a:cubicBezTo>
                    <a:pt x="3018" y="4555"/>
                    <a:pt x="3088" y="4520"/>
                    <a:pt x="3154" y="4474"/>
                  </a:cubicBezTo>
                  <a:cubicBezTo>
                    <a:pt x="3231" y="4411"/>
                    <a:pt x="3301" y="4334"/>
                    <a:pt x="3354" y="4247"/>
                  </a:cubicBezTo>
                  <a:cubicBezTo>
                    <a:pt x="3452" y="4093"/>
                    <a:pt x="3578" y="3956"/>
                    <a:pt x="3725" y="3844"/>
                  </a:cubicBezTo>
                  <a:cubicBezTo>
                    <a:pt x="3928" y="3687"/>
                    <a:pt x="4142" y="3624"/>
                    <a:pt x="4348" y="3560"/>
                  </a:cubicBezTo>
                  <a:cubicBezTo>
                    <a:pt x="4506" y="3518"/>
                    <a:pt x="4656" y="3459"/>
                    <a:pt x="4800" y="3378"/>
                  </a:cubicBezTo>
                  <a:cubicBezTo>
                    <a:pt x="5122" y="3189"/>
                    <a:pt x="5654" y="2444"/>
                    <a:pt x="5637" y="2318"/>
                  </a:cubicBezTo>
                  <a:cubicBezTo>
                    <a:pt x="5577" y="2167"/>
                    <a:pt x="5462" y="1505"/>
                    <a:pt x="5497" y="1222"/>
                  </a:cubicBezTo>
                  <a:cubicBezTo>
                    <a:pt x="5514" y="1068"/>
                    <a:pt x="5497" y="756"/>
                    <a:pt x="5472" y="455"/>
                  </a:cubicBezTo>
                  <a:cubicBezTo>
                    <a:pt x="5462" y="287"/>
                    <a:pt x="5451" y="126"/>
                    <a:pt x="544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4" name="Google Shape;7781;p64">
              <a:extLst>
                <a:ext uri="{FF2B5EF4-FFF2-40B4-BE49-F238E27FC236}">
                  <a16:creationId xmlns:a16="http://schemas.microsoft.com/office/drawing/2014/main" id="{23FDDCB0-884F-B3AD-09D4-744E87379D65}"/>
                </a:ext>
              </a:extLst>
            </p:cNvPr>
            <p:cNvSpPr/>
            <p:nvPr/>
          </p:nvSpPr>
          <p:spPr>
            <a:xfrm>
              <a:off x="2344428" y="215536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5" name="Google Shape;7782;p64">
              <a:extLst>
                <a:ext uri="{FF2B5EF4-FFF2-40B4-BE49-F238E27FC236}">
                  <a16:creationId xmlns:a16="http://schemas.microsoft.com/office/drawing/2014/main" id="{4C134DF4-8316-57BE-9BF6-55F52B367906}"/>
                </a:ext>
              </a:extLst>
            </p:cNvPr>
            <p:cNvSpPr/>
            <p:nvPr/>
          </p:nvSpPr>
          <p:spPr>
            <a:xfrm>
              <a:off x="2275454" y="2213298"/>
              <a:ext cx="489" cy="448"/>
            </a:xfrm>
            <a:custGeom>
              <a:avLst/>
              <a:gdLst/>
              <a:ahLst/>
              <a:cxnLst/>
              <a:rect l="l" t="t" r="r" b="b"/>
              <a:pathLst>
                <a:path w="36" h="33" extrusionOk="0">
                  <a:moveTo>
                    <a:pt x="35" y="1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3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6" name="Google Shape;7783;p64">
              <a:extLst>
                <a:ext uri="{FF2B5EF4-FFF2-40B4-BE49-F238E27FC236}">
                  <a16:creationId xmlns:a16="http://schemas.microsoft.com/office/drawing/2014/main" id="{F60870C6-0CBF-7CFD-03BF-A0C6E85F16AD}"/>
                </a:ext>
              </a:extLst>
            </p:cNvPr>
            <p:cNvSpPr/>
            <p:nvPr/>
          </p:nvSpPr>
          <p:spPr>
            <a:xfrm>
              <a:off x="2276119" y="2212116"/>
              <a:ext cx="1059" cy="964"/>
            </a:xfrm>
            <a:custGeom>
              <a:avLst/>
              <a:gdLst/>
              <a:ahLst/>
              <a:cxnLst/>
              <a:rect l="l" t="t" r="r" b="b"/>
              <a:pathLst>
                <a:path w="78" h="71" extrusionOk="0">
                  <a:moveTo>
                    <a:pt x="77" y="0"/>
                  </a:moveTo>
                  <a:lnTo>
                    <a:pt x="0" y="7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7" name="Google Shape;7784;p64">
              <a:extLst>
                <a:ext uri="{FF2B5EF4-FFF2-40B4-BE49-F238E27FC236}">
                  <a16:creationId xmlns:a16="http://schemas.microsoft.com/office/drawing/2014/main" id="{F4D70781-CF53-F09B-BEBB-4DFFA98097B2}"/>
                </a:ext>
              </a:extLst>
            </p:cNvPr>
            <p:cNvSpPr/>
            <p:nvPr/>
          </p:nvSpPr>
          <p:spPr>
            <a:xfrm>
              <a:off x="2280777" y="2242204"/>
              <a:ext cx="14" cy="339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25"/>
                  </a:moveTo>
                  <a:lnTo>
                    <a:pt x="0" y="0"/>
                  </a:lnTo>
                  <a:lnTo>
                    <a:pt x="0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8" name="Google Shape;7785;p64">
              <a:extLst>
                <a:ext uri="{FF2B5EF4-FFF2-40B4-BE49-F238E27FC236}">
                  <a16:creationId xmlns:a16="http://schemas.microsoft.com/office/drawing/2014/main" id="{1BA8D370-B7B3-1339-D2ED-2710C91AA047}"/>
                </a:ext>
              </a:extLst>
            </p:cNvPr>
            <p:cNvSpPr/>
            <p:nvPr/>
          </p:nvSpPr>
          <p:spPr>
            <a:xfrm>
              <a:off x="2280817" y="2243155"/>
              <a:ext cx="448" cy="4141"/>
            </a:xfrm>
            <a:custGeom>
              <a:avLst/>
              <a:gdLst/>
              <a:ahLst/>
              <a:cxnLst/>
              <a:rect l="l" t="t" r="r" b="b"/>
              <a:pathLst>
                <a:path w="33" h="305" extrusionOk="0">
                  <a:moveTo>
                    <a:pt x="1" y="0"/>
                  </a:moveTo>
                  <a:lnTo>
                    <a:pt x="1" y="35"/>
                  </a:lnTo>
                  <a:cubicBezTo>
                    <a:pt x="4" y="54"/>
                    <a:pt x="6" y="74"/>
                    <a:pt x="9" y="95"/>
                  </a:cubicBezTo>
                  <a:lnTo>
                    <a:pt x="9" y="95"/>
                  </a:lnTo>
                  <a:cubicBezTo>
                    <a:pt x="5" y="59"/>
                    <a:pt x="2" y="28"/>
                    <a:pt x="1" y="0"/>
                  </a:cubicBezTo>
                  <a:close/>
                  <a:moveTo>
                    <a:pt x="9" y="95"/>
                  </a:moveTo>
                  <a:cubicBezTo>
                    <a:pt x="15" y="155"/>
                    <a:pt x="24" y="226"/>
                    <a:pt x="32" y="305"/>
                  </a:cubicBezTo>
                  <a:cubicBezTo>
                    <a:pt x="25" y="231"/>
                    <a:pt x="17" y="159"/>
                    <a:pt x="9" y="9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9" name="Google Shape;7786;p64">
              <a:extLst>
                <a:ext uri="{FF2B5EF4-FFF2-40B4-BE49-F238E27FC236}">
                  <a16:creationId xmlns:a16="http://schemas.microsoft.com/office/drawing/2014/main" id="{EC8B7AB1-2079-28C7-45FB-93A3851FFF3D}"/>
                </a:ext>
              </a:extLst>
            </p:cNvPr>
            <p:cNvSpPr/>
            <p:nvPr/>
          </p:nvSpPr>
          <p:spPr>
            <a:xfrm>
              <a:off x="2281252" y="2247282"/>
              <a:ext cx="204" cy="1494"/>
            </a:xfrm>
            <a:custGeom>
              <a:avLst/>
              <a:gdLst/>
              <a:ahLst/>
              <a:cxnLst/>
              <a:rect l="l" t="t" r="r" b="b"/>
              <a:pathLst>
                <a:path w="15" h="110" extrusionOk="0">
                  <a:moveTo>
                    <a:pt x="0" y="1"/>
                  </a:moveTo>
                  <a:cubicBezTo>
                    <a:pt x="4" y="36"/>
                    <a:pt x="7" y="71"/>
                    <a:pt x="14" y="109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0" name="Google Shape;7787;p64">
              <a:extLst>
                <a:ext uri="{FF2B5EF4-FFF2-40B4-BE49-F238E27FC236}">
                  <a16:creationId xmlns:a16="http://schemas.microsoft.com/office/drawing/2014/main" id="{BA3E3A63-B258-03FA-0C99-174723C3838D}"/>
                </a:ext>
              </a:extLst>
            </p:cNvPr>
            <p:cNvSpPr/>
            <p:nvPr/>
          </p:nvSpPr>
          <p:spPr>
            <a:xfrm>
              <a:off x="2276215" y="2216393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1" name="Google Shape;7788;p64">
              <a:extLst>
                <a:ext uri="{FF2B5EF4-FFF2-40B4-BE49-F238E27FC236}">
                  <a16:creationId xmlns:a16="http://schemas.microsoft.com/office/drawing/2014/main" id="{B91EAD87-0CB5-676C-8E4A-5CB371BABBDC}"/>
                </a:ext>
              </a:extLst>
            </p:cNvPr>
            <p:cNvSpPr/>
            <p:nvPr/>
          </p:nvSpPr>
          <p:spPr>
            <a:xfrm>
              <a:off x="2280722" y="2241389"/>
              <a:ext cx="14" cy="828"/>
            </a:xfrm>
            <a:custGeom>
              <a:avLst/>
              <a:gdLst/>
              <a:ahLst/>
              <a:cxnLst/>
              <a:rect l="l" t="t" r="r" b="b"/>
              <a:pathLst>
                <a:path w="1" h="61" extrusionOk="0">
                  <a:moveTo>
                    <a:pt x="1" y="53"/>
                  </a:moveTo>
                  <a:lnTo>
                    <a:pt x="1" y="53"/>
                  </a:lnTo>
                  <a:lnTo>
                    <a:pt x="1" y="60"/>
                  </a:lnTo>
                  <a:lnTo>
                    <a:pt x="1" y="1"/>
                  </a:lnTo>
                  <a:cubicBezTo>
                    <a:pt x="1" y="18"/>
                    <a:pt x="1" y="36"/>
                    <a:pt x="1" y="5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2" name="Google Shape;7789;p64">
              <a:extLst>
                <a:ext uri="{FF2B5EF4-FFF2-40B4-BE49-F238E27FC236}">
                  <a16:creationId xmlns:a16="http://schemas.microsoft.com/office/drawing/2014/main" id="{F6C900B1-FD21-0A06-DA4B-AEEAC88912F3}"/>
                </a:ext>
              </a:extLst>
            </p:cNvPr>
            <p:cNvSpPr/>
            <p:nvPr/>
          </p:nvSpPr>
          <p:spPr>
            <a:xfrm>
              <a:off x="2281917" y="224870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3" name="Google Shape;7790;p64">
              <a:extLst>
                <a:ext uri="{FF2B5EF4-FFF2-40B4-BE49-F238E27FC236}">
                  <a16:creationId xmlns:a16="http://schemas.microsoft.com/office/drawing/2014/main" id="{FC1616E6-10C6-9A68-CDD8-777CADD882AD}"/>
                </a:ext>
              </a:extLst>
            </p:cNvPr>
            <p:cNvSpPr/>
            <p:nvPr/>
          </p:nvSpPr>
          <p:spPr>
            <a:xfrm>
              <a:off x="2280777" y="2242530"/>
              <a:ext cx="54" cy="638"/>
            </a:xfrm>
            <a:custGeom>
              <a:avLst/>
              <a:gdLst/>
              <a:ahLst/>
              <a:cxnLst/>
              <a:rect l="l" t="t" r="r" b="b"/>
              <a:pathLst>
                <a:path w="4" h="47" extrusionOk="0">
                  <a:moveTo>
                    <a:pt x="0" y="1"/>
                  </a:moveTo>
                  <a:cubicBezTo>
                    <a:pt x="0" y="15"/>
                    <a:pt x="0" y="32"/>
                    <a:pt x="4" y="46"/>
                  </a:cubicBez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4" name="Google Shape;7791;p64">
              <a:extLst>
                <a:ext uri="{FF2B5EF4-FFF2-40B4-BE49-F238E27FC236}">
                  <a16:creationId xmlns:a16="http://schemas.microsoft.com/office/drawing/2014/main" id="{80394CCE-D7B2-A722-9970-CED5EC74FCFC}"/>
                </a:ext>
              </a:extLst>
            </p:cNvPr>
            <p:cNvSpPr/>
            <p:nvPr/>
          </p:nvSpPr>
          <p:spPr>
            <a:xfrm>
              <a:off x="2275875" y="2215158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0"/>
                  </a:moveTo>
                  <a:lnTo>
                    <a:pt x="4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5" name="Google Shape;7792;p64">
              <a:extLst>
                <a:ext uri="{FF2B5EF4-FFF2-40B4-BE49-F238E27FC236}">
                  <a16:creationId xmlns:a16="http://schemas.microsoft.com/office/drawing/2014/main" id="{EC3FB652-7BC0-9AFA-B47A-17B64C68FBDD}"/>
                </a:ext>
              </a:extLst>
            </p:cNvPr>
            <p:cNvSpPr/>
            <p:nvPr/>
          </p:nvSpPr>
          <p:spPr>
            <a:xfrm>
              <a:off x="2275780" y="221468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6" name="Google Shape;7793;p64">
              <a:extLst>
                <a:ext uri="{FF2B5EF4-FFF2-40B4-BE49-F238E27FC236}">
                  <a16:creationId xmlns:a16="http://schemas.microsoft.com/office/drawing/2014/main" id="{762F0478-8AF5-E9C0-356A-DA58AC2E5983}"/>
                </a:ext>
              </a:extLst>
            </p:cNvPr>
            <p:cNvSpPr/>
            <p:nvPr/>
          </p:nvSpPr>
          <p:spPr>
            <a:xfrm>
              <a:off x="2276024" y="2215728"/>
              <a:ext cx="54" cy="149"/>
            </a:xfrm>
            <a:custGeom>
              <a:avLst/>
              <a:gdLst/>
              <a:ahLst/>
              <a:cxnLst/>
              <a:rect l="l" t="t" r="r" b="b"/>
              <a:pathLst>
                <a:path w="4" h="11" extrusionOk="0">
                  <a:moveTo>
                    <a:pt x="0" y="0"/>
                  </a:moveTo>
                  <a:lnTo>
                    <a:pt x="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7" name="Google Shape;7794;p64">
              <a:extLst>
                <a:ext uri="{FF2B5EF4-FFF2-40B4-BE49-F238E27FC236}">
                  <a16:creationId xmlns:a16="http://schemas.microsoft.com/office/drawing/2014/main" id="{52683A29-484C-4F75-3BAB-4FC0D3786985}"/>
                </a:ext>
              </a:extLst>
            </p:cNvPr>
            <p:cNvSpPr/>
            <p:nvPr/>
          </p:nvSpPr>
          <p:spPr>
            <a:xfrm>
              <a:off x="2280722" y="2242109"/>
              <a:ext cx="163" cy="1534"/>
            </a:xfrm>
            <a:custGeom>
              <a:avLst/>
              <a:gdLst/>
              <a:ahLst/>
              <a:cxnLst/>
              <a:rect l="l" t="t" r="r" b="b"/>
              <a:pathLst>
                <a:path w="12" h="113" extrusionOk="0">
                  <a:moveTo>
                    <a:pt x="1" y="0"/>
                  </a:moveTo>
                  <a:cubicBezTo>
                    <a:pt x="1" y="28"/>
                    <a:pt x="4" y="67"/>
                    <a:pt x="11" y="112"/>
                  </a:cubicBezTo>
                  <a:lnTo>
                    <a:pt x="8" y="77"/>
                  </a:lnTo>
                  <a:cubicBezTo>
                    <a:pt x="8" y="60"/>
                    <a:pt x="4" y="46"/>
                    <a:pt x="4" y="32"/>
                  </a:cubicBez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8" name="Google Shape;7795;p64">
              <a:extLst>
                <a:ext uri="{FF2B5EF4-FFF2-40B4-BE49-F238E27FC236}">
                  <a16:creationId xmlns:a16="http://schemas.microsoft.com/office/drawing/2014/main" id="{AD0EB3C3-6E6A-6AD6-D672-E9876D39DB43}"/>
                </a:ext>
              </a:extLst>
            </p:cNvPr>
            <p:cNvSpPr/>
            <p:nvPr/>
          </p:nvSpPr>
          <p:spPr>
            <a:xfrm>
              <a:off x="2281252" y="2247296"/>
              <a:ext cx="204" cy="1480"/>
            </a:xfrm>
            <a:custGeom>
              <a:avLst/>
              <a:gdLst/>
              <a:ahLst/>
              <a:cxnLst/>
              <a:rect l="l" t="t" r="r" b="b"/>
              <a:pathLst>
                <a:path w="15" h="109" extrusionOk="0">
                  <a:moveTo>
                    <a:pt x="0" y="0"/>
                  </a:moveTo>
                  <a:lnTo>
                    <a:pt x="0" y="0"/>
                  </a:lnTo>
                  <a:cubicBezTo>
                    <a:pt x="4" y="35"/>
                    <a:pt x="7" y="73"/>
                    <a:pt x="14" y="108"/>
                  </a:cubicBezTo>
                  <a:cubicBezTo>
                    <a:pt x="7" y="70"/>
                    <a:pt x="4" y="35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9" name="Google Shape;7796;p64">
              <a:extLst>
                <a:ext uri="{FF2B5EF4-FFF2-40B4-BE49-F238E27FC236}">
                  <a16:creationId xmlns:a16="http://schemas.microsoft.com/office/drawing/2014/main" id="{73D3BFBD-4EA8-3368-C177-3C25F6D367A5}"/>
                </a:ext>
              </a:extLst>
            </p:cNvPr>
            <p:cNvSpPr/>
            <p:nvPr/>
          </p:nvSpPr>
          <p:spPr>
            <a:xfrm>
              <a:off x="2269222" y="2162721"/>
              <a:ext cx="258" cy="68"/>
            </a:xfrm>
            <a:custGeom>
              <a:avLst/>
              <a:gdLst/>
              <a:ahLst/>
              <a:cxnLst/>
              <a:rect l="l" t="t" r="r" b="b"/>
              <a:pathLst>
                <a:path w="19" h="5" extrusionOk="0">
                  <a:moveTo>
                    <a:pt x="1" y="4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0" name="Google Shape;7797;p64">
              <a:extLst>
                <a:ext uri="{FF2B5EF4-FFF2-40B4-BE49-F238E27FC236}">
                  <a16:creationId xmlns:a16="http://schemas.microsoft.com/office/drawing/2014/main" id="{C088809C-07EB-DB9B-FDC9-D8DD0C604BDB}"/>
                </a:ext>
              </a:extLst>
            </p:cNvPr>
            <p:cNvSpPr/>
            <p:nvPr/>
          </p:nvSpPr>
          <p:spPr>
            <a:xfrm>
              <a:off x="2268611" y="2149850"/>
              <a:ext cx="18737" cy="6802"/>
            </a:xfrm>
            <a:custGeom>
              <a:avLst/>
              <a:gdLst/>
              <a:ahLst/>
              <a:cxnLst/>
              <a:rect l="l" t="t" r="r" b="b"/>
              <a:pathLst>
                <a:path w="1380" h="501" extrusionOk="0">
                  <a:moveTo>
                    <a:pt x="1380" y="0"/>
                  </a:moveTo>
                  <a:cubicBezTo>
                    <a:pt x="1372" y="2"/>
                    <a:pt x="1363" y="5"/>
                    <a:pt x="1352" y="9"/>
                  </a:cubicBezTo>
                  <a:lnTo>
                    <a:pt x="1352" y="9"/>
                  </a:lnTo>
                  <a:cubicBezTo>
                    <a:pt x="1363" y="5"/>
                    <a:pt x="1372" y="2"/>
                    <a:pt x="1380" y="0"/>
                  </a:cubicBezTo>
                  <a:close/>
                  <a:moveTo>
                    <a:pt x="1352" y="9"/>
                  </a:moveTo>
                  <a:cubicBezTo>
                    <a:pt x="1169" y="68"/>
                    <a:pt x="505" y="313"/>
                    <a:pt x="0" y="501"/>
                  </a:cubicBezTo>
                  <a:cubicBezTo>
                    <a:pt x="507" y="313"/>
                    <a:pt x="1174" y="67"/>
                    <a:pt x="1352" y="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1" name="Google Shape;7798;p64">
              <a:extLst>
                <a:ext uri="{FF2B5EF4-FFF2-40B4-BE49-F238E27FC236}">
                  <a16:creationId xmlns:a16="http://schemas.microsoft.com/office/drawing/2014/main" id="{A4167715-AB90-0DE6-F621-B5AA9DA5CF82}"/>
                </a:ext>
              </a:extLst>
            </p:cNvPr>
            <p:cNvSpPr/>
            <p:nvPr/>
          </p:nvSpPr>
          <p:spPr>
            <a:xfrm>
              <a:off x="2267851" y="2156693"/>
              <a:ext cx="720" cy="244"/>
            </a:xfrm>
            <a:custGeom>
              <a:avLst/>
              <a:gdLst/>
              <a:ahLst/>
              <a:cxnLst/>
              <a:rect l="l" t="t" r="r" b="b"/>
              <a:pathLst>
                <a:path w="53" h="18" extrusionOk="0">
                  <a:moveTo>
                    <a:pt x="53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2" name="Google Shape;7799;p64">
              <a:extLst>
                <a:ext uri="{FF2B5EF4-FFF2-40B4-BE49-F238E27FC236}">
                  <a16:creationId xmlns:a16="http://schemas.microsoft.com/office/drawing/2014/main" id="{0A546DE6-D432-DF99-9D6E-ECB454F81959}"/>
                </a:ext>
              </a:extLst>
            </p:cNvPr>
            <p:cNvSpPr/>
            <p:nvPr/>
          </p:nvSpPr>
          <p:spPr>
            <a:xfrm>
              <a:off x="2262854" y="2051169"/>
              <a:ext cx="78532" cy="79768"/>
            </a:xfrm>
            <a:custGeom>
              <a:avLst/>
              <a:gdLst/>
              <a:ahLst/>
              <a:cxnLst/>
              <a:rect l="l" t="t" r="r" b="b"/>
              <a:pathLst>
                <a:path w="5784" h="5875" extrusionOk="0">
                  <a:moveTo>
                    <a:pt x="1121" y="0"/>
                  </a:moveTo>
                  <a:lnTo>
                    <a:pt x="844" y="25"/>
                  </a:lnTo>
                  <a:lnTo>
                    <a:pt x="767" y="28"/>
                  </a:lnTo>
                  <a:cubicBezTo>
                    <a:pt x="750" y="35"/>
                    <a:pt x="673" y="53"/>
                    <a:pt x="585" y="77"/>
                  </a:cubicBezTo>
                  <a:lnTo>
                    <a:pt x="648" y="245"/>
                  </a:lnTo>
                  <a:lnTo>
                    <a:pt x="655" y="256"/>
                  </a:lnTo>
                  <a:cubicBezTo>
                    <a:pt x="704" y="361"/>
                    <a:pt x="736" y="473"/>
                    <a:pt x="743" y="588"/>
                  </a:cubicBezTo>
                  <a:cubicBezTo>
                    <a:pt x="743" y="609"/>
                    <a:pt x="739" y="630"/>
                    <a:pt x="736" y="648"/>
                  </a:cubicBezTo>
                  <a:cubicBezTo>
                    <a:pt x="732" y="659"/>
                    <a:pt x="729" y="669"/>
                    <a:pt x="725" y="680"/>
                  </a:cubicBezTo>
                  <a:cubicBezTo>
                    <a:pt x="725" y="683"/>
                    <a:pt x="722" y="683"/>
                    <a:pt x="722" y="687"/>
                  </a:cubicBezTo>
                  <a:cubicBezTo>
                    <a:pt x="718" y="694"/>
                    <a:pt x="715" y="701"/>
                    <a:pt x="708" y="708"/>
                  </a:cubicBezTo>
                  <a:lnTo>
                    <a:pt x="704" y="715"/>
                  </a:lnTo>
                  <a:cubicBezTo>
                    <a:pt x="697" y="718"/>
                    <a:pt x="694" y="725"/>
                    <a:pt x="687" y="729"/>
                  </a:cubicBezTo>
                  <a:lnTo>
                    <a:pt x="680" y="736"/>
                  </a:lnTo>
                  <a:cubicBezTo>
                    <a:pt x="673" y="739"/>
                    <a:pt x="666" y="746"/>
                    <a:pt x="659" y="750"/>
                  </a:cubicBezTo>
                  <a:lnTo>
                    <a:pt x="655" y="750"/>
                  </a:lnTo>
                  <a:cubicBezTo>
                    <a:pt x="617" y="771"/>
                    <a:pt x="575" y="785"/>
                    <a:pt x="529" y="795"/>
                  </a:cubicBezTo>
                  <a:lnTo>
                    <a:pt x="529" y="802"/>
                  </a:lnTo>
                  <a:lnTo>
                    <a:pt x="529" y="813"/>
                  </a:lnTo>
                  <a:cubicBezTo>
                    <a:pt x="529" y="823"/>
                    <a:pt x="533" y="830"/>
                    <a:pt x="533" y="837"/>
                  </a:cubicBezTo>
                  <a:lnTo>
                    <a:pt x="533" y="848"/>
                  </a:lnTo>
                  <a:cubicBezTo>
                    <a:pt x="533" y="858"/>
                    <a:pt x="533" y="869"/>
                    <a:pt x="536" y="879"/>
                  </a:cubicBezTo>
                  <a:lnTo>
                    <a:pt x="536" y="911"/>
                  </a:lnTo>
                  <a:lnTo>
                    <a:pt x="536" y="918"/>
                  </a:lnTo>
                  <a:lnTo>
                    <a:pt x="536" y="935"/>
                  </a:lnTo>
                  <a:lnTo>
                    <a:pt x="536" y="946"/>
                  </a:lnTo>
                  <a:lnTo>
                    <a:pt x="536" y="963"/>
                  </a:lnTo>
                  <a:lnTo>
                    <a:pt x="536" y="967"/>
                  </a:lnTo>
                  <a:lnTo>
                    <a:pt x="536" y="988"/>
                  </a:lnTo>
                  <a:lnTo>
                    <a:pt x="697" y="1082"/>
                  </a:lnTo>
                  <a:lnTo>
                    <a:pt x="666" y="1138"/>
                  </a:lnTo>
                  <a:cubicBezTo>
                    <a:pt x="592" y="1282"/>
                    <a:pt x="337" y="1751"/>
                    <a:pt x="186" y="1810"/>
                  </a:cubicBezTo>
                  <a:lnTo>
                    <a:pt x="179" y="1814"/>
                  </a:lnTo>
                  <a:lnTo>
                    <a:pt x="172" y="1817"/>
                  </a:lnTo>
                  <a:lnTo>
                    <a:pt x="169" y="1821"/>
                  </a:lnTo>
                  <a:lnTo>
                    <a:pt x="158" y="1824"/>
                  </a:lnTo>
                  <a:lnTo>
                    <a:pt x="151" y="1828"/>
                  </a:lnTo>
                  <a:lnTo>
                    <a:pt x="141" y="1835"/>
                  </a:lnTo>
                  <a:lnTo>
                    <a:pt x="130" y="1842"/>
                  </a:lnTo>
                  <a:lnTo>
                    <a:pt x="116" y="1849"/>
                  </a:lnTo>
                  <a:lnTo>
                    <a:pt x="106" y="1856"/>
                  </a:lnTo>
                  <a:lnTo>
                    <a:pt x="88" y="1866"/>
                  </a:lnTo>
                  <a:lnTo>
                    <a:pt x="71" y="1877"/>
                  </a:lnTo>
                  <a:lnTo>
                    <a:pt x="53" y="1887"/>
                  </a:lnTo>
                  <a:lnTo>
                    <a:pt x="25" y="1905"/>
                  </a:lnTo>
                  <a:lnTo>
                    <a:pt x="11" y="1915"/>
                  </a:lnTo>
                  <a:lnTo>
                    <a:pt x="1" y="1922"/>
                  </a:lnTo>
                  <a:cubicBezTo>
                    <a:pt x="71" y="2272"/>
                    <a:pt x="172" y="2763"/>
                    <a:pt x="309" y="2885"/>
                  </a:cubicBezTo>
                  <a:cubicBezTo>
                    <a:pt x="526" y="3085"/>
                    <a:pt x="561" y="3309"/>
                    <a:pt x="585" y="3473"/>
                  </a:cubicBezTo>
                  <a:cubicBezTo>
                    <a:pt x="592" y="3526"/>
                    <a:pt x="599" y="3578"/>
                    <a:pt x="617" y="3627"/>
                  </a:cubicBezTo>
                  <a:cubicBezTo>
                    <a:pt x="641" y="3683"/>
                    <a:pt x="673" y="3736"/>
                    <a:pt x="708" y="3785"/>
                  </a:cubicBezTo>
                  <a:cubicBezTo>
                    <a:pt x="771" y="3876"/>
                    <a:pt x="830" y="3967"/>
                    <a:pt x="806" y="4047"/>
                  </a:cubicBezTo>
                  <a:cubicBezTo>
                    <a:pt x="799" y="4079"/>
                    <a:pt x="778" y="4107"/>
                    <a:pt x="753" y="4124"/>
                  </a:cubicBezTo>
                  <a:lnTo>
                    <a:pt x="771" y="4124"/>
                  </a:lnTo>
                  <a:lnTo>
                    <a:pt x="792" y="4131"/>
                  </a:lnTo>
                  <a:lnTo>
                    <a:pt x="806" y="4135"/>
                  </a:lnTo>
                  <a:lnTo>
                    <a:pt x="827" y="4142"/>
                  </a:lnTo>
                  <a:lnTo>
                    <a:pt x="844" y="4145"/>
                  </a:lnTo>
                  <a:lnTo>
                    <a:pt x="865" y="4152"/>
                  </a:lnTo>
                  <a:lnTo>
                    <a:pt x="883" y="4159"/>
                  </a:lnTo>
                  <a:lnTo>
                    <a:pt x="904" y="4170"/>
                  </a:lnTo>
                  <a:lnTo>
                    <a:pt x="921" y="4177"/>
                  </a:lnTo>
                  <a:lnTo>
                    <a:pt x="946" y="4187"/>
                  </a:lnTo>
                  <a:lnTo>
                    <a:pt x="960" y="4194"/>
                  </a:lnTo>
                  <a:lnTo>
                    <a:pt x="984" y="4208"/>
                  </a:lnTo>
                  <a:lnTo>
                    <a:pt x="998" y="4215"/>
                  </a:lnTo>
                  <a:lnTo>
                    <a:pt x="1037" y="4233"/>
                  </a:lnTo>
                  <a:cubicBezTo>
                    <a:pt x="1100" y="4268"/>
                    <a:pt x="1166" y="4299"/>
                    <a:pt x="1236" y="4320"/>
                  </a:cubicBezTo>
                  <a:cubicBezTo>
                    <a:pt x="1359" y="4345"/>
                    <a:pt x="1895" y="4544"/>
                    <a:pt x="1979" y="4653"/>
                  </a:cubicBezTo>
                  <a:cubicBezTo>
                    <a:pt x="1982" y="4660"/>
                    <a:pt x="1989" y="4670"/>
                    <a:pt x="1996" y="4677"/>
                  </a:cubicBezTo>
                  <a:lnTo>
                    <a:pt x="2311" y="4677"/>
                  </a:lnTo>
                  <a:cubicBezTo>
                    <a:pt x="2339" y="4660"/>
                    <a:pt x="2374" y="4649"/>
                    <a:pt x="2409" y="4649"/>
                  </a:cubicBezTo>
                  <a:cubicBezTo>
                    <a:pt x="2462" y="4653"/>
                    <a:pt x="2511" y="4677"/>
                    <a:pt x="2542" y="4716"/>
                  </a:cubicBezTo>
                  <a:cubicBezTo>
                    <a:pt x="2717" y="4895"/>
                    <a:pt x="2861" y="5420"/>
                    <a:pt x="2868" y="5766"/>
                  </a:cubicBezTo>
                  <a:lnTo>
                    <a:pt x="2917" y="5773"/>
                  </a:lnTo>
                  <a:lnTo>
                    <a:pt x="2927" y="5773"/>
                  </a:lnTo>
                  <a:lnTo>
                    <a:pt x="2962" y="5777"/>
                  </a:lnTo>
                  <a:lnTo>
                    <a:pt x="2973" y="5777"/>
                  </a:lnTo>
                  <a:lnTo>
                    <a:pt x="3001" y="5780"/>
                  </a:lnTo>
                  <a:lnTo>
                    <a:pt x="3113" y="5780"/>
                  </a:lnTo>
                  <a:cubicBezTo>
                    <a:pt x="3137" y="5773"/>
                    <a:pt x="3162" y="5766"/>
                    <a:pt x="3183" y="5752"/>
                  </a:cubicBezTo>
                  <a:cubicBezTo>
                    <a:pt x="3236" y="5720"/>
                    <a:pt x="3298" y="5703"/>
                    <a:pt x="3361" y="5703"/>
                  </a:cubicBezTo>
                  <a:cubicBezTo>
                    <a:pt x="3394" y="5703"/>
                    <a:pt x="3427" y="5708"/>
                    <a:pt x="3459" y="5717"/>
                  </a:cubicBezTo>
                  <a:cubicBezTo>
                    <a:pt x="3526" y="5735"/>
                    <a:pt x="3578" y="5791"/>
                    <a:pt x="3596" y="5861"/>
                  </a:cubicBezTo>
                  <a:cubicBezTo>
                    <a:pt x="3596" y="5864"/>
                    <a:pt x="3599" y="5871"/>
                    <a:pt x="3599" y="5875"/>
                  </a:cubicBezTo>
                  <a:lnTo>
                    <a:pt x="3613" y="5875"/>
                  </a:lnTo>
                  <a:cubicBezTo>
                    <a:pt x="3690" y="5868"/>
                    <a:pt x="3764" y="5857"/>
                    <a:pt x="3838" y="5840"/>
                  </a:cubicBezTo>
                  <a:cubicBezTo>
                    <a:pt x="3908" y="5826"/>
                    <a:pt x="3981" y="5812"/>
                    <a:pt x="4051" y="5808"/>
                  </a:cubicBezTo>
                  <a:cubicBezTo>
                    <a:pt x="4065" y="5808"/>
                    <a:pt x="4083" y="5808"/>
                    <a:pt x="4097" y="5812"/>
                  </a:cubicBezTo>
                  <a:lnTo>
                    <a:pt x="4104" y="5812"/>
                  </a:lnTo>
                  <a:cubicBezTo>
                    <a:pt x="4195" y="5830"/>
                    <a:pt x="4251" y="5836"/>
                    <a:pt x="4287" y="5836"/>
                  </a:cubicBezTo>
                  <a:cubicBezTo>
                    <a:pt x="4320" y="5836"/>
                    <a:pt x="4335" y="5831"/>
                    <a:pt x="4342" y="5826"/>
                  </a:cubicBezTo>
                  <a:cubicBezTo>
                    <a:pt x="4352" y="5759"/>
                    <a:pt x="4387" y="5640"/>
                    <a:pt x="4468" y="5588"/>
                  </a:cubicBezTo>
                  <a:cubicBezTo>
                    <a:pt x="4492" y="5570"/>
                    <a:pt x="4521" y="5561"/>
                    <a:pt x="4550" y="5561"/>
                  </a:cubicBezTo>
                  <a:cubicBezTo>
                    <a:pt x="4567" y="5561"/>
                    <a:pt x="4584" y="5564"/>
                    <a:pt x="4601" y="5570"/>
                  </a:cubicBezTo>
                  <a:cubicBezTo>
                    <a:pt x="4632" y="5577"/>
                    <a:pt x="4664" y="5591"/>
                    <a:pt x="4692" y="5605"/>
                  </a:cubicBezTo>
                  <a:cubicBezTo>
                    <a:pt x="4713" y="5612"/>
                    <a:pt x="4727" y="5619"/>
                    <a:pt x="4741" y="5626"/>
                  </a:cubicBezTo>
                  <a:cubicBezTo>
                    <a:pt x="4754" y="5632"/>
                    <a:pt x="4769" y="5635"/>
                    <a:pt x="4783" y="5635"/>
                  </a:cubicBezTo>
                  <a:cubicBezTo>
                    <a:pt x="4814" y="5635"/>
                    <a:pt x="4844" y="5622"/>
                    <a:pt x="4863" y="5598"/>
                  </a:cubicBezTo>
                  <a:cubicBezTo>
                    <a:pt x="4933" y="5537"/>
                    <a:pt x="5017" y="5527"/>
                    <a:pt x="5089" y="5527"/>
                  </a:cubicBezTo>
                  <a:cubicBezTo>
                    <a:pt x="5108" y="5527"/>
                    <a:pt x="5127" y="5527"/>
                    <a:pt x="5143" y="5528"/>
                  </a:cubicBezTo>
                  <a:lnTo>
                    <a:pt x="5185" y="5528"/>
                  </a:lnTo>
                  <a:cubicBezTo>
                    <a:pt x="5203" y="5528"/>
                    <a:pt x="5220" y="5528"/>
                    <a:pt x="5238" y="5521"/>
                  </a:cubicBezTo>
                  <a:lnTo>
                    <a:pt x="5238" y="5518"/>
                  </a:lnTo>
                  <a:lnTo>
                    <a:pt x="5238" y="5514"/>
                  </a:lnTo>
                  <a:lnTo>
                    <a:pt x="5238" y="5511"/>
                  </a:lnTo>
                  <a:lnTo>
                    <a:pt x="5241" y="5507"/>
                  </a:lnTo>
                  <a:lnTo>
                    <a:pt x="5245" y="5504"/>
                  </a:lnTo>
                  <a:lnTo>
                    <a:pt x="5248" y="5500"/>
                  </a:lnTo>
                  <a:lnTo>
                    <a:pt x="5255" y="5497"/>
                  </a:lnTo>
                  <a:lnTo>
                    <a:pt x="5262" y="5493"/>
                  </a:lnTo>
                  <a:lnTo>
                    <a:pt x="5266" y="5493"/>
                  </a:lnTo>
                  <a:lnTo>
                    <a:pt x="5269" y="5490"/>
                  </a:lnTo>
                  <a:lnTo>
                    <a:pt x="5273" y="5486"/>
                  </a:lnTo>
                  <a:lnTo>
                    <a:pt x="5280" y="5479"/>
                  </a:lnTo>
                  <a:lnTo>
                    <a:pt x="5283" y="5479"/>
                  </a:lnTo>
                  <a:lnTo>
                    <a:pt x="5294" y="5476"/>
                  </a:lnTo>
                  <a:lnTo>
                    <a:pt x="5297" y="5472"/>
                  </a:lnTo>
                  <a:lnTo>
                    <a:pt x="5304" y="5465"/>
                  </a:lnTo>
                  <a:lnTo>
                    <a:pt x="5311" y="5465"/>
                  </a:lnTo>
                  <a:lnTo>
                    <a:pt x="5322" y="5458"/>
                  </a:lnTo>
                  <a:lnTo>
                    <a:pt x="5325" y="5455"/>
                  </a:lnTo>
                  <a:lnTo>
                    <a:pt x="5336" y="5448"/>
                  </a:lnTo>
                  <a:lnTo>
                    <a:pt x="5343" y="5444"/>
                  </a:lnTo>
                  <a:lnTo>
                    <a:pt x="5353" y="5437"/>
                  </a:lnTo>
                  <a:lnTo>
                    <a:pt x="5360" y="5434"/>
                  </a:lnTo>
                  <a:lnTo>
                    <a:pt x="5374" y="5427"/>
                  </a:lnTo>
                  <a:lnTo>
                    <a:pt x="5381" y="5423"/>
                  </a:lnTo>
                  <a:lnTo>
                    <a:pt x="5395" y="5416"/>
                  </a:lnTo>
                  <a:lnTo>
                    <a:pt x="5402" y="5413"/>
                  </a:lnTo>
                  <a:lnTo>
                    <a:pt x="5420" y="5402"/>
                  </a:lnTo>
                  <a:lnTo>
                    <a:pt x="5427" y="5399"/>
                  </a:lnTo>
                  <a:lnTo>
                    <a:pt x="5444" y="5388"/>
                  </a:lnTo>
                  <a:lnTo>
                    <a:pt x="5451" y="5385"/>
                  </a:lnTo>
                  <a:lnTo>
                    <a:pt x="5472" y="5374"/>
                  </a:lnTo>
                  <a:lnTo>
                    <a:pt x="5479" y="5371"/>
                  </a:lnTo>
                  <a:lnTo>
                    <a:pt x="5504" y="5360"/>
                  </a:lnTo>
                  <a:lnTo>
                    <a:pt x="5511" y="5353"/>
                  </a:lnTo>
                  <a:lnTo>
                    <a:pt x="5535" y="5343"/>
                  </a:lnTo>
                  <a:lnTo>
                    <a:pt x="5546" y="5339"/>
                  </a:lnTo>
                  <a:lnTo>
                    <a:pt x="5570" y="5325"/>
                  </a:lnTo>
                  <a:lnTo>
                    <a:pt x="5581" y="5322"/>
                  </a:lnTo>
                  <a:lnTo>
                    <a:pt x="5605" y="5308"/>
                  </a:lnTo>
                  <a:lnTo>
                    <a:pt x="5619" y="5301"/>
                  </a:lnTo>
                  <a:lnTo>
                    <a:pt x="5647" y="5290"/>
                  </a:lnTo>
                  <a:lnTo>
                    <a:pt x="5658" y="5283"/>
                  </a:lnTo>
                  <a:lnTo>
                    <a:pt x="5689" y="5269"/>
                  </a:lnTo>
                  <a:lnTo>
                    <a:pt x="5700" y="5266"/>
                  </a:lnTo>
                  <a:lnTo>
                    <a:pt x="5735" y="5248"/>
                  </a:lnTo>
                  <a:lnTo>
                    <a:pt x="5745" y="5245"/>
                  </a:lnTo>
                  <a:lnTo>
                    <a:pt x="5784" y="5224"/>
                  </a:lnTo>
                  <a:cubicBezTo>
                    <a:pt x="5766" y="5143"/>
                    <a:pt x="5714" y="5119"/>
                    <a:pt x="5637" y="5080"/>
                  </a:cubicBezTo>
                  <a:cubicBezTo>
                    <a:pt x="5542" y="5038"/>
                    <a:pt x="5413" y="4975"/>
                    <a:pt x="5402" y="4772"/>
                  </a:cubicBezTo>
                  <a:cubicBezTo>
                    <a:pt x="5402" y="4663"/>
                    <a:pt x="5364" y="4558"/>
                    <a:pt x="5294" y="4474"/>
                  </a:cubicBezTo>
                  <a:cubicBezTo>
                    <a:pt x="5231" y="4401"/>
                    <a:pt x="5199" y="4306"/>
                    <a:pt x="5199" y="4208"/>
                  </a:cubicBezTo>
                  <a:lnTo>
                    <a:pt x="5203" y="4145"/>
                  </a:lnTo>
                  <a:cubicBezTo>
                    <a:pt x="5206" y="4030"/>
                    <a:pt x="5213" y="3851"/>
                    <a:pt x="5189" y="3820"/>
                  </a:cubicBezTo>
                  <a:cubicBezTo>
                    <a:pt x="5154" y="3806"/>
                    <a:pt x="5126" y="3781"/>
                    <a:pt x="5115" y="3746"/>
                  </a:cubicBezTo>
                  <a:cubicBezTo>
                    <a:pt x="5073" y="3634"/>
                    <a:pt x="5164" y="3438"/>
                    <a:pt x="5252" y="3309"/>
                  </a:cubicBezTo>
                  <a:cubicBezTo>
                    <a:pt x="5280" y="3263"/>
                    <a:pt x="5283" y="3253"/>
                    <a:pt x="5171" y="3169"/>
                  </a:cubicBezTo>
                  <a:cubicBezTo>
                    <a:pt x="5087" y="3109"/>
                    <a:pt x="4982" y="3032"/>
                    <a:pt x="4951" y="2899"/>
                  </a:cubicBezTo>
                  <a:cubicBezTo>
                    <a:pt x="4940" y="2854"/>
                    <a:pt x="4916" y="2745"/>
                    <a:pt x="5175" y="2076"/>
                  </a:cubicBezTo>
                  <a:cubicBezTo>
                    <a:pt x="4741" y="1775"/>
                    <a:pt x="4303" y="1457"/>
                    <a:pt x="4300" y="1453"/>
                  </a:cubicBezTo>
                  <a:lnTo>
                    <a:pt x="4272" y="1432"/>
                  </a:lnTo>
                  <a:lnTo>
                    <a:pt x="4300" y="1100"/>
                  </a:lnTo>
                  <a:lnTo>
                    <a:pt x="2357" y="70"/>
                  </a:lnTo>
                  <a:cubicBezTo>
                    <a:pt x="2350" y="287"/>
                    <a:pt x="2241" y="462"/>
                    <a:pt x="2094" y="532"/>
                  </a:cubicBezTo>
                  <a:cubicBezTo>
                    <a:pt x="2108" y="564"/>
                    <a:pt x="2126" y="592"/>
                    <a:pt x="2147" y="620"/>
                  </a:cubicBezTo>
                  <a:cubicBezTo>
                    <a:pt x="2189" y="683"/>
                    <a:pt x="2234" y="746"/>
                    <a:pt x="2210" y="809"/>
                  </a:cubicBezTo>
                  <a:cubicBezTo>
                    <a:pt x="2192" y="848"/>
                    <a:pt x="2157" y="876"/>
                    <a:pt x="2115" y="879"/>
                  </a:cubicBezTo>
                  <a:cubicBezTo>
                    <a:pt x="2096" y="883"/>
                    <a:pt x="2074" y="885"/>
                    <a:pt x="2052" y="885"/>
                  </a:cubicBezTo>
                  <a:cubicBezTo>
                    <a:pt x="1978" y="885"/>
                    <a:pt x="1889" y="866"/>
                    <a:pt x="1790" y="844"/>
                  </a:cubicBezTo>
                  <a:cubicBezTo>
                    <a:pt x="1675" y="820"/>
                    <a:pt x="1550" y="793"/>
                    <a:pt x="1433" y="793"/>
                  </a:cubicBezTo>
                  <a:cubicBezTo>
                    <a:pt x="1365" y="793"/>
                    <a:pt x="1299" y="802"/>
                    <a:pt x="1240" y="827"/>
                  </a:cubicBezTo>
                  <a:cubicBezTo>
                    <a:pt x="1221" y="836"/>
                    <a:pt x="1200" y="841"/>
                    <a:pt x="1178" y="841"/>
                  </a:cubicBezTo>
                  <a:cubicBezTo>
                    <a:pt x="1145" y="841"/>
                    <a:pt x="1112" y="829"/>
                    <a:pt x="1086" y="806"/>
                  </a:cubicBezTo>
                  <a:cubicBezTo>
                    <a:pt x="963" y="687"/>
                    <a:pt x="1030" y="291"/>
                    <a:pt x="11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3" name="Google Shape;7800;p64">
              <a:extLst>
                <a:ext uri="{FF2B5EF4-FFF2-40B4-BE49-F238E27FC236}">
                  <a16:creationId xmlns:a16="http://schemas.microsoft.com/office/drawing/2014/main" id="{6E159057-388B-2600-ADB2-B8C9DEB4F217}"/>
                </a:ext>
              </a:extLst>
            </p:cNvPr>
            <p:cNvSpPr/>
            <p:nvPr/>
          </p:nvSpPr>
          <p:spPr>
            <a:xfrm>
              <a:off x="2274164" y="2107447"/>
              <a:ext cx="258" cy="54"/>
            </a:xfrm>
            <a:custGeom>
              <a:avLst/>
              <a:gdLst/>
              <a:ahLst/>
              <a:cxnLst/>
              <a:rect l="l" t="t" r="r" b="b"/>
              <a:pathLst>
                <a:path w="19" h="4" extrusionOk="0">
                  <a:moveTo>
                    <a:pt x="1" y="0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4" name="Google Shape;7801;p64">
              <a:extLst>
                <a:ext uri="{FF2B5EF4-FFF2-40B4-BE49-F238E27FC236}">
                  <a16:creationId xmlns:a16="http://schemas.microsoft.com/office/drawing/2014/main" id="{95BAB35B-BF78-E303-C06E-A617C54847B4}"/>
                </a:ext>
              </a:extLst>
            </p:cNvPr>
            <p:cNvSpPr/>
            <p:nvPr/>
          </p:nvSpPr>
          <p:spPr>
            <a:xfrm>
              <a:off x="2273173" y="2107203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1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5" name="Google Shape;7802;p64">
              <a:extLst>
                <a:ext uri="{FF2B5EF4-FFF2-40B4-BE49-F238E27FC236}">
                  <a16:creationId xmlns:a16="http://schemas.microsoft.com/office/drawing/2014/main" id="{E68EEDAD-F54D-42CB-B81E-2A514C13BFBA}"/>
                </a:ext>
              </a:extLst>
            </p:cNvPr>
            <p:cNvSpPr/>
            <p:nvPr/>
          </p:nvSpPr>
          <p:spPr>
            <a:xfrm>
              <a:off x="2275739" y="2108058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6" name="Google Shape;7803;p64">
              <a:extLst>
                <a:ext uri="{FF2B5EF4-FFF2-40B4-BE49-F238E27FC236}">
                  <a16:creationId xmlns:a16="http://schemas.microsoft.com/office/drawing/2014/main" id="{518E7FC6-5448-A605-3219-F6FED388DD69}"/>
                </a:ext>
              </a:extLst>
            </p:cNvPr>
            <p:cNvSpPr/>
            <p:nvPr/>
          </p:nvSpPr>
          <p:spPr>
            <a:xfrm>
              <a:off x="2274694" y="210758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1"/>
                  </a:moveTo>
                  <a:lnTo>
                    <a:pt x="1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7" name="Google Shape;7804;p64">
              <a:extLst>
                <a:ext uri="{FF2B5EF4-FFF2-40B4-BE49-F238E27FC236}">
                  <a16:creationId xmlns:a16="http://schemas.microsoft.com/office/drawing/2014/main" id="{4E872686-1D40-547E-38D7-1D1A5C7FAFB3}"/>
                </a:ext>
              </a:extLst>
            </p:cNvPr>
            <p:cNvSpPr/>
            <p:nvPr/>
          </p:nvSpPr>
          <p:spPr>
            <a:xfrm>
              <a:off x="2275210" y="2107828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" y="0"/>
                  </a:moveTo>
                  <a:lnTo>
                    <a:pt x="1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8" name="Google Shape;7805;p64">
              <a:extLst>
                <a:ext uri="{FF2B5EF4-FFF2-40B4-BE49-F238E27FC236}">
                  <a16:creationId xmlns:a16="http://schemas.microsoft.com/office/drawing/2014/main" id="{ADE358E9-2BF4-9476-1444-AEDCB547BBC2}"/>
                </a:ext>
              </a:extLst>
            </p:cNvPr>
            <p:cNvSpPr/>
            <p:nvPr/>
          </p:nvSpPr>
          <p:spPr>
            <a:xfrm>
              <a:off x="2273648" y="2107298"/>
              <a:ext cx="244" cy="68"/>
            </a:xfrm>
            <a:custGeom>
              <a:avLst/>
              <a:gdLst/>
              <a:ahLst/>
              <a:cxnLst/>
              <a:rect l="l" t="t" r="r" b="b"/>
              <a:pathLst>
                <a:path w="18" h="5" extrusionOk="0">
                  <a:moveTo>
                    <a:pt x="0" y="1"/>
                  </a:moveTo>
                  <a:lnTo>
                    <a:pt x="1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9" name="Google Shape;7806;p64">
              <a:extLst>
                <a:ext uri="{FF2B5EF4-FFF2-40B4-BE49-F238E27FC236}">
                  <a16:creationId xmlns:a16="http://schemas.microsoft.com/office/drawing/2014/main" id="{85137CAF-C804-075D-A64D-28C58CA13F7E}"/>
                </a:ext>
              </a:extLst>
            </p:cNvPr>
            <p:cNvSpPr/>
            <p:nvPr/>
          </p:nvSpPr>
          <p:spPr>
            <a:xfrm>
              <a:off x="2276310" y="210834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0" name="Google Shape;7807;p64">
              <a:extLst>
                <a:ext uri="{FF2B5EF4-FFF2-40B4-BE49-F238E27FC236}">
                  <a16:creationId xmlns:a16="http://schemas.microsoft.com/office/drawing/2014/main" id="{2B520976-7363-5862-23FA-CA0F1E2D91F8}"/>
                </a:ext>
              </a:extLst>
            </p:cNvPr>
            <p:cNvSpPr/>
            <p:nvPr/>
          </p:nvSpPr>
          <p:spPr>
            <a:xfrm>
              <a:off x="2272168" y="2060822"/>
              <a:ext cx="258" cy="244"/>
            </a:xfrm>
            <a:custGeom>
              <a:avLst/>
              <a:gdLst/>
              <a:ahLst/>
              <a:cxnLst/>
              <a:rect l="l" t="t" r="r" b="b"/>
              <a:pathLst>
                <a:path w="19" h="18" extrusionOk="0">
                  <a:moveTo>
                    <a:pt x="18" y="0"/>
                  </a:moveTo>
                  <a:cubicBezTo>
                    <a:pt x="11" y="7"/>
                    <a:pt x="8" y="14"/>
                    <a:pt x="1" y="18"/>
                  </a:cubicBezTo>
                  <a:cubicBezTo>
                    <a:pt x="8" y="14"/>
                    <a:pt x="11" y="7"/>
                    <a:pt x="1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1" name="Google Shape;7808;p64">
              <a:extLst>
                <a:ext uri="{FF2B5EF4-FFF2-40B4-BE49-F238E27FC236}">
                  <a16:creationId xmlns:a16="http://schemas.microsoft.com/office/drawing/2014/main" id="{4FA7CB85-2A19-40BD-04BA-44D821FA268D}"/>
                </a:ext>
              </a:extLst>
            </p:cNvPr>
            <p:cNvSpPr/>
            <p:nvPr/>
          </p:nvSpPr>
          <p:spPr>
            <a:xfrm>
              <a:off x="2272454" y="2060483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"/>
                  </a:moveTo>
                  <a:cubicBezTo>
                    <a:pt x="11" y="8"/>
                    <a:pt x="8" y="15"/>
                    <a:pt x="1" y="18"/>
                  </a:cubicBezTo>
                  <a:cubicBezTo>
                    <a:pt x="8" y="15"/>
                    <a:pt x="11" y="8"/>
                    <a:pt x="1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2" name="Google Shape;7809;p64">
              <a:extLst>
                <a:ext uri="{FF2B5EF4-FFF2-40B4-BE49-F238E27FC236}">
                  <a16:creationId xmlns:a16="http://schemas.microsoft.com/office/drawing/2014/main" id="{10D81DC0-EF35-C7D0-D654-D42B10E7C3E2}"/>
                </a:ext>
              </a:extLst>
            </p:cNvPr>
            <p:cNvSpPr/>
            <p:nvPr/>
          </p:nvSpPr>
          <p:spPr>
            <a:xfrm>
              <a:off x="2271788" y="2061148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"/>
                  </a:moveTo>
                  <a:cubicBezTo>
                    <a:pt x="15" y="4"/>
                    <a:pt x="8" y="11"/>
                    <a:pt x="1" y="15"/>
                  </a:cubicBezTo>
                  <a:cubicBezTo>
                    <a:pt x="8" y="11"/>
                    <a:pt x="15" y="4"/>
                    <a:pt x="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3" name="Google Shape;7810;p64">
              <a:extLst>
                <a:ext uri="{FF2B5EF4-FFF2-40B4-BE49-F238E27FC236}">
                  <a16:creationId xmlns:a16="http://schemas.microsoft.com/office/drawing/2014/main" id="{CB4B662E-79E1-F79B-EA93-FFBEEDD94BCA}"/>
                </a:ext>
              </a:extLst>
            </p:cNvPr>
            <p:cNvSpPr/>
            <p:nvPr/>
          </p:nvSpPr>
          <p:spPr>
            <a:xfrm>
              <a:off x="2271693" y="2054590"/>
              <a:ext cx="1208" cy="4576"/>
            </a:xfrm>
            <a:custGeom>
              <a:avLst/>
              <a:gdLst/>
              <a:ahLst/>
              <a:cxnLst/>
              <a:rect l="l" t="t" r="r" b="b"/>
              <a:pathLst>
                <a:path w="89" h="337" extrusionOk="0">
                  <a:moveTo>
                    <a:pt x="1" y="0"/>
                  </a:moveTo>
                  <a:cubicBezTo>
                    <a:pt x="53" y="105"/>
                    <a:pt x="81" y="217"/>
                    <a:pt x="88" y="336"/>
                  </a:cubicBezTo>
                  <a:cubicBezTo>
                    <a:pt x="81" y="217"/>
                    <a:pt x="53" y="105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4" name="Google Shape;7811;p64">
              <a:extLst>
                <a:ext uri="{FF2B5EF4-FFF2-40B4-BE49-F238E27FC236}">
                  <a16:creationId xmlns:a16="http://schemas.microsoft.com/office/drawing/2014/main" id="{FAE036B9-5DC6-E940-C70A-D40B29C7FD82}"/>
                </a:ext>
              </a:extLst>
            </p:cNvPr>
            <p:cNvSpPr/>
            <p:nvPr/>
          </p:nvSpPr>
          <p:spPr>
            <a:xfrm>
              <a:off x="2272698" y="2059953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1"/>
                  </a:moveTo>
                  <a:cubicBezTo>
                    <a:pt x="7" y="12"/>
                    <a:pt x="4" y="19"/>
                    <a:pt x="0" y="29"/>
                  </a:cubicBezTo>
                  <a:cubicBezTo>
                    <a:pt x="4" y="19"/>
                    <a:pt x="7" y="12"/>
                    <a:pt x="1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5" name="Google Shape;7812;p64">
              <a:extLst>
                <a:ext uri="{FF2B5EF4-FFF2-40B4-BE49-F238E27FC236}">
                  <a16:creationId xmlns:a16="http://schemas.microsoft.com/office/drawing/2014/main" id="{EEF6E330-CF54-5B83-CA05-32612BA2A1EF}"/>
                </a:ext>
              </a:extLst>
            </p:cNvPr>
            <p:cNvSpPr/>
            <p:nvPr/>
          </p:nvSpPr>
          <p:spPr>
            <a:xfrm>
              <a:off x="2270077" y="2061393"/>
              <a:ext cx="1684" cy="584"/>
            </a:xfrm>
            <a:custGeom>
              <a:avLst/>
              <a:gdLst/>
              <a:ahLst/>
              <a:cxnLst/>
              <a:rect l="l" t="t" r="r" b="b"/>
              <a:pathLst>
                <a:path w="124" h="43" extrusionOk="0">
                  <a:moveTo>
                    <a:pt x="1" y="42"/>
                  </a:moveTo>
                  <a:cubicBezTo>
                    <a:pt x="43" y="35"/>
                    <a:pt x="85" y="21"/>
                    <a:pt x="123" y="0"/>
                  </a:cubicBezTo>
                  <a:cubicBezTo>
                    <a:pt x="85" y="21"/>
                    <a:pt x="43" y="35"/>
                    <a:pt x="1" y="4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6" name="Google Shape;7813;p64">
              <a:extLst>
                <a:ext uri="{FF2B5EF4-FFF2-40B4-BE49-F238E27FC236}">
                  <a16:creationId xmlns:a16="http://schemas.microsoft.com/office/drawing/2014/main" id="{ADE862DF-F63B-F840-5893-4617CC4D855D}"/>
                </a:ext>
              </a:extLst>
            </p:cNvPr>
            <p:cNvSpPr/>
            <p:nvPr/>
          </p:nvSpPr>
          <p:spPr>
            <a:xfrm>
              <a:off x="2295223" y="2052024"/>
              <a:ext cx="26354" cy="13985"/>
            </a:xfrm>
            <a:custGeom>
              <a:avLst/>
              <a:gdLst/>
              <a:ahLst/>
              <a:cxnLst/>
              <a:rect l="l" t="t" r="r" b="b"/>
              <a:pathLst>
                <a:path w="1941" h="1030" extrusionOk="0">
                  <a:moveTo>
                    <a:pt x="1" y="0"/>
                  </a:moveTo>
                  <a:lnTo>
                    <a:pt x="1" y="0"/>
                  </a:lnTo>
                  <a:lnTo>
                    <a:pt x="1940" y="103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7" name="Google Shape;7814;p64">
              <a:extLst>
                <a:ext uri="{FF2B5EF4-FFF2-40B4-BE49-F238E27FC236}">
                  <a16:creationId xmlns:a16="http://schemas.microsoft.com/office/drawing/2014/main" id="{D48F617A-D029-DE4A-ADA9-AB46B6C5B411}"/>
                </a:ext>
              </a:extLst>
            </p:cNvPr>
            <p:cNvSpPr/>
            <p:nvPr/>
          </p:nvSpPr>
          <p:spPr>
            <a:xfrm>
              <a:off x="2274259" y="2051169"/>
              <a:ext cx="3775" cy="299"/>
            </a:xfrm>
            <a:custGeom>
              <a:avLst/>
              <a:gdLst/>
              <a:ahLst/>
              <a:cxnLst/>
              <a:rect l="l" t="t" r="r" b="b"/>
              <a:pathLst>
                <a:path w="278" h="22" extrusionOk="0">
                  <a:moveTo>
                    <a:pt x="1" y="21"/>
                  </a:moveTo>
                  <a:lnTo>
                    <a:pt x="277" y="0"/>
                  </a:lnTo>
                  <a:lnTo>
                    <a:pt x="27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8" name="Google Shape;7815;p64">
              <a:extLst>
                <a:ext uri="{FF2B5EF4-FFF2-40B4-BE49-F238E27FC236}">
                  <a16:creationId xmlns:a16="http://schemas.microsoft.com/office/drawing/2014/main" id="{0BF04437-7DB6-3BC4-0FC3-26E9DE67EA3B}"/>
                </a:ext>
              </a:extLst>
            </p:cNvPr>
            <p:cNvSpPr/>
            <p:nvPr/>
          </p:nvSpPr>
          <p:spPr>
            <a:xfrm>
              <a:off x="2270227" y="2064285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9" name="Google Shape;7816;p64">
              <a:extLst>
                <a:ext uri="{FF2B5EF4-FFF2-40B4-BE49-F238E27FC236}">
                  <a16:creationId xmlns:a16="http://schemas.microsoft.com/office/drawing/2014/main" id="{6B743DB6-33B4-7B3C-BB07-CD9942E58FBC}"/>
                </a:ext>
              </a:extLst>
            </p:cNvPr>
            <p:cNvSpPr/>
            <p:nvPr/>
          </p:nvSpPr>
          <p:spPr>
            <a:xfrm>
              <a:off x="2270227" y="2063579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0" name="Google Shape;7817;p64">
              <a:extLst>
                <a:ext uri="{FF2B5EF4-FFF2-40B4-BE49-F238E27FC236}">
                  <a16:creationId xmlns:a16="http://schemas.microsoft.com/office/drawing/2014/main" id="{A70DFD98-024E-C7FF-4364-C57DECDEC94A}"/>
                </a:ext>
              </a:extLst>
            </p:cNvPr>
            <p:cNvSpPr/>
            <p:nvPr/>
          </p:nvSpPr>
          <p:spPr>
            <a:xfrm>
              <a:off x="2264375" y="2076314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1" name="Google Shape;7818;p64">
              <a:extLst>
                <a:ext uri="{FF2B5EF4-FFF2-40B4-BE49-F238E27FC236}">
                  <a16:creationId xmlns:a16="http://schemas.microsoft.com/office/drawing/2014/main" id="{B5B49582-FD76-A7E6-B973-B3341B080128}"/>
                </a:ext>
              </a:extLst>
            </p:cNvPr>
            <p:cNvSpPr/>
            <p:nvPr/>
          </p:nvSpPr>
          <p:spPr>
            <a:xfrm>
              <a:off x="2270227" y="206390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2" name="Google Shape;7819;p64">
              <a:extLst>
                <a:ext uri="{FF2B5EF4-FFF2-40B4-BE49-F238E27FC236}">
                  <a16:creationId xmlns:a16="http://schemas.microsoft.com/office/drawing/2014/main" id="{6851C6E4-6E58-86D5-97FF-B073A3E1E710}"/>
                </a:ext>
              </a:extLst>
            </p:cNvPr>
            <p:cNvSpPr/>
            <p:nvPr/>
          </p:nvSpPr>
          <p:spPr>
            <a:xfrm>
              <a:off x="2265380" y="2075839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3" name="Google Shape;7820;p64">
              <a:extLst>
                <a:ext uri="{FF2B5EF4-FFF2-40B4-BE49-F238E27FC236}">
                  <a16:creationId xmlns:a16="http://schemas.microsoft.com/office/drawing/2014/main" id="{C887AC1C-0403-BAB3-E9CB-69B7DFEBB6FD}"/>
                </a:ext>
              </a:extLst>
            </p:cNvPr>
            <p:cNvSpPr/>
            <p:nvPr/>
          </p:nvSpPr>
          <p:spPr>
            <a:xfrm>
              <a:off x="2265190" y="2075880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4" name="Google Shape;7821;p64">
              <a:extLst>
                <a:ext uri="{FF2B5EF4-FFF2-40B4-BE49-F238E27FC236}">
                  <a16:creationId xmlns:a16="http://schemas.microsoft.com/office/drawing/2014/main" id="{13FE7830-2001-942D-B3C0-7EB839730E22}"/>
                </a:ext>
              </a:extLst>
            </p:cNvPr>
            <p:cNvSpPr/>
            <p:nvPr/>
          </p:nvSpPr>
          <p:spPr>
            <a:xfrm>
              <a:off x="2263900" y="2076599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5" name="Google Shape;7822;p64">
              <a:extLst>
                <a:ext uri="{FF2B5EF4-FFF2-40B4-BE49-F238E27FC236}">
                  <a16:creationId xmlns:a16="http://schemas.microsoft.com/office/drawing/2014/main" id="{E2E6912C-E76A-CD1D-F034-EF64BF965C8A}"/>
                </a:ext>
              </a:extLst>
            </p:cNvPr>
            <p:cNvSpPr/>
            <p:nvPr/>
          </p:nvSpPr>
          <p:spPr>
            <a:xfrm>
              <a:off x="2265000" y="2075975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7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6" name="Google Shape;7823;p64">
              <a:extLst>
                <a:ext uri="{FF2B5EF4-FFF2-40B4-BE49-F238E27FC236}">
                  <a16:creationId xmlns:a16="http://schemas.microsoft.com/office/drawing/2014/main" id="{4981E55D-8D41-F5D8-9FC8-05B7C6C41A43}"/>
                </a:ext>
              </a:extLst>
            </p:cNvPr>
            <p:cNvSpPr/>
            <p:nvPr/>
          </p:nvSpPr>
          <p:spPr>
            <a:xfrm>
              <a:off x="2264714" y="2076124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7" name="Google Shape;7824;p64">
              <a:extLst>
                <a:ext uri="{FF2B5EF4-FFF2-40B4-BE49-F238E27FC236}">
                  <a16:creationId xmlns:a16="http://schemas.microsoft.com/office/drawing/2014/main" id="{E19A69B5-898C-8BA7-9ED3-A72CFE55D047}"/>
                </a:ext>
              </a:extLst>
            </p:cNvPr>
            <p:cNvSpPr/>
            <p:nvPr/>
          </p:nvSpPr>
          <p:spPr>
            <a:xfrm>
              <a:off x="2262949" y="207721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" y="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8" name="Google Shape;7825;p64">
              <a:extLst>
                <a:ext uri="{FF2B5EF4-FFF2-40B4-BE49-F238E27FC236}">
                  <a16:creationId xmlns:a16="http://schemas.microsoft.com/office/drawing/2014/main" id="{D1D1D1DF-33E4-E39F-FF02-B6DB7B300A43}"/>
                </a:ext>
              </a:extLst>
            </p:cNvPr>
            <p:cNvSpPr/>
            <p:nvPr/>
          </p:nvSpPr>
          <p:spPr>
            <a:xfrm>
              <a:off x="2270077" y="20620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1" y="0"/>
                  </a:moveTo>
                  <a:lnTo>
                    <a:pt x="1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9" name="Google Shape;7826;p64">
              <a:extLst>
                <a:ext uri="{FF2B5EF4-FFF2-40B4-BE49-F238E27FC236}">
                  <a16:creationId xmlns:a16="http://schemas.microsoft.com/office/drawing/2014/main" id="{A244F214-C797-F61C-CA11-B0641E8A4A43}"/>
                </a:ext>
              </a:extLst>
            </p:cNvPr>
            <p:cNvSpPr/>
            <p:nvPr/>
          </p:nvSpPr>
          <p:spPr>
            <a:xfrm>
              <a:off x="2270132" y="2062574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0" name="Google Shape;7827;p64">
              <a:extLst>
                <a:ext uri="{FF2B5EF4-FFF2-40B4-BE49-F238E27FC236}">
                  <a16:creationId xmlns:a16="http://schemas.microsoft.com/office/drawing/2014/main" id="{3E95AC7E-1E0A-779B-91AC-9FB43B78B95D}"/>
                </a:ext>
              </a:extLst>
            </p:cNvPr>
            <p:cNvSpPr/>
            <p:nvPr/>
          </p:nvSpPr>
          <p:spPr>
            <a:xfrm>
              <a:off x="2263289" y="2076830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28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1" name="Google Shape;7828;p64">
              <a:extLst>
                <a:ext uri="{FF2B5EF4-FFF2-40B4-BE49-F238E27FC236}">
                  <a16:creationId xmlns:a16="http://schemas.microsoft.com/office/drawing/2014/main" id="{EDBC2DA1-6298-722D-BBE6-12259AD5CC03}"/>
                </a:ext>
              </a:extLst>
            </p:cNvPr>
            <p:cNvSpPr/>
            <p:nvPr/>
          </p:nvSpPr>
          <p:spPr>
            <a:xfrm>
              <a:off x="2270173" y="206310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2" name="Google Shape;7829;p64">
              <a:extLst>
                <a:ext uri="{FF2B5EF4-FFF2-40B4-BE49-F238E27FC236}">
                  <a16:creationId xmlns:a16="http://schemas.microsoft.com/office/drawing/2014/main" id="{2ACA1E70-19BC-5DDB-1E01-FAC5BAA6407B}"/>
                </a:ext>
              </a:extLst>
            </p:cNvPr>
            <p:cNvSpPr/>
            <p:nvPr/>
          </p:nvSpPr>
          <p:spPr>
            <a:xfrm>
              <a:off x="2334109" y="212622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3" name="Google Shape;7830;p64">
              <a:extLst>
                <a:ext uri="{FF2B5EF4-FFF2-40B4-BE49-F238E27FC236}">
                  <a16:creationId xmlns:a16="http://schemas.microsoft.com/office/drawing/2014/main" id="{14EF22D6-78AC-D920-36EA-DAF72CD70926}"/>
                </a:ext>
              </a:extLst>
            </p:cNvPr>
            <p:cNvSpPr/>
            <p:nvPr/>
          </p:nvSpPr>
          <p:spPr>
            <a:xfrm>
              <a:off x="2334204" y="2126076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4" name="Google Shape;7831;p64">
              <a:extLst>
                <a:ext uri="{FF2B5EF4-FFF2-40B4-BE49-F238E27FC236}">
                  <a16:creationId xmlns:a16="http://schemas.microsoft.com/office/drawing/2014/main" id="{A4165E85-4A9F-7DAF-38F5-3F775A44D77A}"/>
                </a:ext>
              </a:extLst>
            </p:cNvPr>
            <p:cNvSpPr/>
            <p:nvPr/>
          </p:nvSpPr>
          <p:spPr>
            <a:xfrm>
              <a:off x="2334150" y="212613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5" name="Google Shape;7832;p64">
              <a:extLst>
                <a:ext uri="{FF2B5EF4-FFF2-40B4-BE49-F238E27FC236}">
                  <a16:creationId xmlns:a16="http://schemas.microsoft.com/office/drawing/2014/main" id="{A23ADFF9-8E27-D222-43E5-F96E7397A2EA}"/>
                </a:ext>
              </a:extLst>
            </p:cNvPr>
            <p:cNvSpPr/>
            <p:nvPr/>
          </p:nvSpPr>
          <p:spPr>
            <a:xfrm>
              <a:off x="2334204" y="212603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6" name="Google Shape;7833;p64">
              <a:extLst>
                <a:ext uri="{FF2B5EF4-FFF2-40B4-BE49-F238E27FC236}">
                  <a16:creationId xmlns:a16="http://schemas.microsoft.com/office/drawing/2014/main" id="{97B34764-9A56-BA19-DDEC-6C585B6E6426}"/>
                </a:ext>
              </a:extLst>
            </p:cNvPr>
            <p:cNvSpPr/>
            <p:nvPr/>
          </p:nvSpPr>
          <p:spPr>
            <a:xfrm>
              <a:off x="2334055" y="21263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7" name="Google Shape;7834;p64">
              <a:extLst>
                <a:ext uri="{FF2B5EF4-FFF2-40B4-BE49-F238E27FC236}">
                  <a16:creationId xmlns:a16="http://schemas.microsoft.com/office/drawing/2014/main" id="{6D7C7A41-F8A3-9FAA-27EA-6C9707D79961}"/>
                </a:ext>
              </a:extLst>
            </p:cNvPr>
            <p:cNvSpPr/>
            <p:nvPr/>
          </p:nvSpPr>
          <p:spPr>
            <a:xfrm>
              <a:off x="2334109" y="212626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8" name="Google Shape;7835;p64">
              <a:extLst>
                <a:ext uri="{FF2B5EF4-FFF2-40B4-BE49-F238E27FC236}">
                  <a16:creationId xmlns:a16="http://schemas.microsoft.com/office/drawing/2014/main" id="{9C00EEA9-00A2-D4D5-3BD3-3B708A2410D1}"/>
                </a:ext>
              </a:extLst>
            </p:cNvPr>
            <p:cNvSpPr/>
            <p:nvPr/>
          </p:nvSpPr>
          <p:spPr>
            <a:xfrm>
              <a:off x="2336580" y="212436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4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9" name="Google Shape;7836;p64">
              <a:extLst>
                <a:ext uri="{FF2B5EF4-FFF2-40B4-BE49-F238E27FC236}">
                  <a16:creationId xmlns:a16="http://schemas.microsoft.com/office/drawing/2014/main" id="{ADB7D891-9503-208B-A8C0-14EC47E8E4EE}"/>
                </a:ext>
              </a:extLst>
            </p:cNvPr>
            <p:cNvSpPr/>
            <p:nvPr/>
          </p:nvSpPr>
          <p:spPr>
            <a:xfrm>
              <a:off x="2304306" y="2129782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0" name="Google Shape;7837;p64">
              <a:extLst>
                <a:ext uri="{FF2B5EF4-FFF2-40B4-BE49-F238E27FC236}">
                  <a16:creationId xmlns:a16="http://schemas.microsoft.com/office/drawing/2014/main" id="{123C423D-B31F-F3D4-E5B0-BCAFD28ECCA6}"/>
                </a:ext>
              </a:extLst>
            </p:cNvPr>
            <p:cNvSpPr/>
            <p:nvPr/>
          </p:nvSpPr>
          <p:spPr>
            <a:xfrm>
              <a:off x="2337245" y="212398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1" name="Google Shape;7838;p64">
              <a:extLst>
                <a:ext uri="{FF2B5EF4-FFF2-40B4-BE49-F238E27FC236}">
                  <a16:creationId xmlns:a16="http://schemas.microsoft.com/office/drawing/2014/main" id="{9A6A7092-D3FC-76E5-60E1-46C8E8E5A69C}"/>
                </a:ext>
              </a:extLst>
            </p:cNvPr>
            <p:cNvSpPr/>
            <p:nvPr/>
          </p:nvSpPr>
          <p:spPr>
            <a:xfrm>
              <a:off x="2317952" y="2130217"/>
              <a:ext cx="584" cy="54"/>
            </a:xfrm>
            <a:custGeom>
              <a:avLst/>
              <a:gdLst/>
              <a:ahLst/>
              <a:cxnLst/>
              <a:rect l="l" t="t" r="r" b="b"/>
              <a:pathLst>
                <a:path w="43" h="4" extrusionOk="0">
                  <a:moveTo>
                    <a:pt x="0" y="0"/>
                  </a:moveTo>
                  <a:cubicBezTo>
                    <a:pt x="14" y="0"/>
                    <a:pt x="28" y="0"/>
                    <a:pt x="42" y="4"/>
                  </a:cubicBezTo>
                  <a:cubicBezTo>
                    <a:pt x="28" y="0"/>
                    <a:pt x="14" y="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2" name="Google Shape;7839;p64">
              <a:extLst>
                <a:ext uri="{FF2B5EF4-FFF2-40B4-BE49-F238E27FC236}">
                  <a16:creationId xmlns:a16="http://schemas.microsoft.com/office/drawing/2014/main" id="{642AEF5F-6EE2-A10A-FC7F-32C5334CA64C}"/>
                </a:ext>
              </a:extLst>
            </p:cNvPr>
            <p:cNvSpPr/>
            <p:nvPr/>
          </p:nvSpPr>
          <p:spPr>
            <a:xfrm>
              <a:off x="2304687" y="2129782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3" name="Google Shape;7840;p64">
              <a:extLst>
                <a:ext uri="{FF2B5EF4-FFF2-40B4-BE49-F238E27FC236}">
                  <a16:creationId xmlns:a16="http://schemas.microsoft.com/office/drawing/2014/main" id="{30F18909-038D-C0BE-3BA5-426D02B97025}"/>
                </a:ext>
              </a:extLst>
            </p:cNvPr>
            <p:cNvSpPr/>
            <p:nvPr/>
          </p:nvSpPr>
          <p:spPr>
            <a:xfrm>
              <a:off x="2318658" y="2130312"/>
              <a:ext cx="3245" cy="312"/>
            </a:xfrm>
            <a:custGeom>
              <a:avLst/>
              <a:gdLst/>
              <a:ahLst/>
              <a:cxnLst/>
              <a:rect l="l" t="t" r="r" b="b"/>
              <a:pathLst>
                <a:path w="239" h="23" extrusionOk="0">
                  <a:moveTo>
                    <a:pt x="1" y="0"/>
                  </a:moveTo>
                  <a:cubicBezTo>
                    <a:pt x="88" y="18"/>
                    <a:pt x="144" y="23"/>
                    <a:pt x="180" y="23"/>
                  </a:cubicBezTo>
                  <a:cubicBezTo>
                    <a:pt x="216" y="23"/>
                    <a:pt x="232" y="18"/>
                    <a:pt x="239" y="14"/>
                  </a:cubicBezTo>
                  <a:lnTo>
                    <a:pt x="239" y="14"/>
                  </a:lnTo>
                  <a:cubicBezTo>
                    <a:pt x="232" y="18"/>
                    <a:pt x="217" y="22"/>
                    <a:pt x="185" y="22"/>
                  </a:cubicBezTo>
                  <a:cubicBezTo>
                    <a:pt x="149" y="22"/>
                    <a:pt x="92" y="1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4" name="Google Shape;7841;p64">
              <a:extLst>
                <a:ext uri="{FF2B5EF4-FFF2-40B4-BE49-F238E27FC236}">
                  <a16:creationId xmlns:a16="http://schemas.microsoft.com/office/drawing/2014/main" id="{60866E9C-68B7-1299-46C1-172E87DFD111}"/>
                </a:ext>
              </a:extLst>
            </p:cNvPr>
            <p:cNvSpPr/>
            <p:nvPr/>
          </p:nvSpPr>
          <p:spPr>
            <a:xfrm>
              <a:off x="2336241" y="2124555"/>
              <a:ext cx="258" cy="109"/>
            </a:xfrm>
            <a:custGeom>
              <a:avLst/>
              <a:gdLst/>
              <a:ahLst/>
              <a:cxnLst/>
              <a:rect l="l" t="t" r="r" b="b"/>
              <a:pathLst>
                <a:path w="19" h="8" extrusionOk="0">
                  <a:moveTo>
                    <a:pt x="18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5" name="Google Shape;7842;p64">
              <a:extLst>
                <a:ext uri="{FF2B5EF4-FFF2-40B4-BE49-F238E27FC236}">
                  <a16:creationId xmlns:a16="http://schemas.microsoft.com/office/drawing/2014/main" id="{4F194A6B-B4DC-33FD-4868-2B654C1DEE30}"/>
                </a:ext>
              </a:extLst>
            </p:cNvPr>
            <p:cNvSpPr/>
            <p:nvPr/>
          </p:nvSpPr>
          <p:spPr>
            <a:xfrm>
              <a:off x="2336010" y="2124704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6" name="Google Shape;7843;p64">
              <a:extLst>
                <a:ext uri="{FF2B5EF4-FFF2-40B4-BE49-F238E27FC236}">
                  <a16:creationId xmlns:a16="http://schemas.microsoft.com/office/drawing/2014/main" id="{92624EAC-900E-8EC6-D555-130DD6D0F312}"/>
                </a:ext>
              </a:extLst>
            </p:cNvPr>
            <p:cNvSpPr/>
            <p:nvPr/>
          </p:nvSpPr>
          <p:spPr>
            <a:xfrm>
              <a:off x="2335725" y="2124895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7" name="Google Shape;7844;p64">
              <a:extLst>
                <a:ext uri="{FF2B5EF4-FFF2-40B4-BE49-F238E27FC236}">
                  <a16:creationId xmlns:a16="http://schemas.microsoft.com/office/drawing/2014/main" id="{F586415F-EA0C-F77D-4399-EBB446ADA1F1}"/>
                </a:ext>
              </a:extLst>
            </p:cNvPr>
            <p:cNvSpPr/>
            <p:nvPr/>
          </p:nvSpPr>
          <p:spPr>
            <a:xfrm>
              <a:off x="2341237" y="2121989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8" name="Google Shape;7845;p64">
              <a:extLst>
                <a:ext uri="{FF2B5EF4-FFF2-40B4-BE49-F238E27FC236}">
                  <a16:creationId xmlns:a16="http://schemas.microsoft.com/office/drawing/2014/main" id="{F7578823-6BB4-748D-BC0A-EF8818DFC491}"/>
                </a:ext>
              </a:extLst>
            </p:cNvPr>
            <p:cNvSpPr/>
            <p:nvPr/>
          </p:nvSpPr>
          <p:spPr>
            <a:xfrm>
              <a:off x="2336865" y="2124229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9" name="Google Shape;7846;p64">
              <a:extLst>
                <a:ext uri="{FF2B5EF4-FFF2-40B4-BE49-F238E27FC236}">
                  <a16:creationId xmlns:a16="http://schemas.microsoft.com/office/drawing/2014/main" id="{B4363786-79BD-4600-58A8-F3AC8539F9EB}"/>
                </a:ext>
              </a:extLst>
            </p:cNvPr>
            <p:cNvSpPr/>
            <p:nvPr/>
          </p:nvSpPr>
          <p:spPr>
            <a:xfrm>
              <a:off x="2339472" y="2122844"/>
              <a:ext cx="448" cy="204"/>
            </a:xfrm>
            <a:custGeom>
              <a:avLst/>
              <a:gdLst/>
              <a:ahLst/>
              <a:cxnLst/>
              <a:rect l="l" t="t" r="r" b="b"/>
              <a:pathLst>
                <a:path w="33" h="15" extrusionOk="0">
                  <a:moveTo>
                    <a:pt x="32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0" name="Google Shape;7847;p64">
              <a:extLst>
                <a:ext uri="{FF2B5EF4-FFF2-40B4-BE49-F238E27FC236}">
                  <a16:creationId xmlns:a16="http://schemas.microsoft.com/office/drawing/2014/main" id="{30577847-89E0-48CE-1763-71EF9001BE07}"/>
                </a:ext>
              </a:extLst>
            </p:cNvPr>
            <p:cNvSpPr/>
            <p:nvPr/>
          </p:nvSpPr>
          <p:spPr>
            <a:xfrm>
              <a:off x="2301876" y="2129457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1" y="0"/>
                  </a:moveTo>
                  <a:lnTo>
                    <a:pt x="5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1" name="Google Shape;7848;p64">
              <a:extLst>
                <a:ext uri="{FF2B5EF4-FFF2-40B4-BE49-F238E27FC236}">
                  <a16:creationId xmlns:a16="http://schemas.microsoft.com/office/drawing/2014/main" id="{86D6C706-B89E-9658-5A9C-71474C295C74}"/>
                </a:ext>
              </a:extLst>
            </p:cNvPr>
            <p:cNvSpPr/>
            <p:nvPr/>
          </p:nvSpPr>
          <p:spPr>
            <a:xfrm>
              <a:off x="2340572" y="2122274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39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2" name="Google Shape;7849;p64">
              <a:extLst>
                <a:ext uri="{FF2B5EF4-FFF2-40B4-BE49-F238E27FC236}">
                  <a16:creationId xmlns:a16="http://schemas.microsoft.com/office/drawing/2014/main" id="{D8C9C3B1-2974-758C-454C-3501F97C5B35}"/>
                </a:ext>
              </a:extLst>
            </p:cNvPr>
            <p:cNvSpPr/>
            <p:nvPr/>
          </p:nvSpPr>
          <p:spPr>
            <a:xfrm>
              <a:off x="2334340" y="2125886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1" y="4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3" name="Google Shape;7850;p64">
              <a:extLst>
                <a:ext uri="{FF2B5EF4-FFF2-40B4-BE49-F238E27FC236}">
                  <a16:creationId xmlns:a16="http://schemas.microsoft.com/office/drawing/2014/main" id="{006FD086-AF64-A2B3-F94B-6B125A4D585F}"/>
                </a:ext>
              </a:extLst>
            </p:cNvPr>
            <p:cNvSpPr/>
            <p:nvPr/>
          </p:nvSpPr>
          <p:spPr>
            <a:xfrm>
              <a:off x="2338956" y="2123129"/>
              <a:ext cx="394" cy="163"/>
            </a:xfrm>
            <a:custGeom>
              <a:avLst/>
              <a:gdLst/>
              <a:ahLst/>
              <a:cxnLst/>
              <a:rect l="l" t="t" r="r" b="b"/>
              <a:pathLst>
                <a:path w="29" h="12" extrusionOk="0">
                  <a:moveTo>
                    <a:pt x="28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4" name="Google Shape;7851;p64">
              <a:extLst>
                <a:ext uri="{FF2B5EF4-FFF2-40B4-BE49-F238E27FC236}">
                  <a16:creationId xmlns:a16="http://schemas.microsoft.com/office/drawing/2014/main" id="{5ED3E496-43F6-1861-8A60-6A46EE73EB80}"/>
                </a:ext>
              </a:extLst>
            </p:cNvPr>
            <p:cNvSpPr/>
            <p:nvPr/>
          </p:nvSpPr>
          <p:spPr>
            <a:xfrm>
              <a:off x="2327307" y="2127406"/>
              <a:ext cx="1684" cy="638"/>
            </a:xfrm>
            <a:custGeom>
              <a:avLst/>
              <a:gdLst/>
              <a:ahLst/>
              <a:cxnLst/>
              <a:rect l="l" t="t" r="r" b="b"/>
              <a:pathLst>
                <a:path w="124" h="47" extrusionOk="0">
                  <a:moveTo>
                    <a:pt x="1" y="29"/>
                  </a:moveTo>
                  <a:cubicBezTo>
                    <a:pt x="43" y="46"/>
                    <a:pt x="95" y="36"/>
                    <a:pt x="123" y="1"/>
                  </a:cubicBezTo>
                  <a:cubicBezTo>
                    <a:pt x="95" y="36"/>
                    <a:pt x="43" y="46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5" name="Google Shape;7852;p64">
              <a:extLst>
                <a:ext uri="{FF2B5EF4-FFF2-40B4-BE49-F238E27FC236}">
                  <a16:creationId xmlns:a16="http://schemas.microsoft.com/office/drawing/2014/main" id="{80568E33-A5E9-5645-C1FE-28511FBBB65A}"/>
                </a:ext>
              </a:extLst>
            </p:cNvPr>
            <p:cNvSpPr/>
            <p:nvPr/>
          </p:nvSpPr>
          <p:spPr>
            <a:xfrm>
              <a:off x="2338481" y="2123374"/>
              <a:ext cx="339" cy="149"/>
            </a:xfrm>
            <a:custGeom>
              <a:avLst/>
              <a:gdLst/>
              <a:ahLst/>
              <a:cxnLst/>
              <a:rect l="l" t="t" r="r" b="b"/>
              <a:pathLst>
                <a:path w="25" h="11" extrusionOk="0">
                  <a:moveTo>
                    <a:pt x="25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6" name="Google Shape;7853;p64">
              <a:extLst>
                <a:ext uri="{FF2B5EF4-FFF2-40B4-BE49-F238E27FC236}">
                  <a16:creationId xmlns:a16="http://schemas.microsoft.com/office/drawing/2014/main" id="{A68D1E61-9094-B8FF-DD16-EE19C457D7EE}"/>
                </a:ext>
              </a:extLst>
            </p:cNvPr>
            <p:cNvSpPr/>
            <p:nvPr/>
          </p:nvSpPr>
          <p:spPr>
            <a:xfrm>
              <a:off x="2328977" y="2126361"/>
              <a:ext cx="3815" cy="1059"/>
            </a:xfrm>
            <a:custGeom>
              <a:avLst/>
              <a:gdLst/>
              <a:ahLst/>
              <a:cxnLst/>
              <a:rect l="l" t="t" r="r" b="b"/>
              <a:pathLst>
                <a:path w="281" h="78" extrusionOk="0">
                  <a:moveTo>
                    <a:pt x="0" y="78"/>
                  </a:moveTo>
                  <a:cubicBezTo>
                    <a:pt x="88" y="1"/>
                    <a:pt x="200" y="4"/>
                    <a:pt x="280" y="8"/>
                  </a:cubicBezTo>
                  <a:cubicBezTo>
                    <a:pt x="200" y="4"/>
                    <a:pt x="88" y="1"/>
                    <a:pt x="0" y="7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7" name="Google Shape;7854;p64">
              <a:extLst>
                <a:ext uri="{FF2B5EF4-FFF2-40B4-BE49-F238E27FC236}">
                  <a16:creationId xmlns:a16="http://schemas.microsoft.com/office/drawing/2014/main" id="{A52D704A-7E29-4F35-64D3-19CD87548A57}"/>
                </a:ext>
              </a:extLst>
            </p:cNvPr>
            <p:cNvSpPr/>
            <p:nvPr/>
          </p:nvSpPr>
          <p:spPr>
            <a:xfrm>
              <a:off x="2302691" y="2129592"/>
              <a:ext cx="489" cy="68"/>
            </a:xfrm>
            <a:custGeom>
              <a:avLst/>
              <a:gdLst/>
              <a:ahLst/>
              <a:cxnLst/>
              <a:rect l="l" t="t" r="r" b="b"/>
              <a:pathLst>
                <a:path w="36" h="5" extrusionOk="0">
                  <a:moveTo>
                    <a:pt x="35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8" name="Google Shape;7855;p64">
              <a:extLst>
                <a:ext uri="{FF2B5EF4-FFF2-40B4-BE49-F238E27FC236}">
                  <a16:creationId xmlns:a16="http://schemas.microsoft.com/office/drawing/2014/main" id="{A6AE81D8-B4BE-20A7-30CA-FFACADFEDA15}"/>
                </a:ext>
              </a:extLst>
            </p:cNvPr>
            <p:cNvSpPr/>
            <p:nvPr/>
          </p:nvSpPr>
          <p:spPr>
            <a:xfrm>
              <a:off x="2334245" y="2125981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9" name="Google Shape;7856;p64">
              <a:extLst>
                <a:ext uri="{FF2B5EF4-FFF2-40B4-BE49-F238E27FC236}">
                  <a16:creationId xmlns:a16="http://schemas.microsoft.com/office/drawing/2014/main" id="{9511AEEA-EEBD-5B25-2061-609470DE407C}"/>
                </a:ext>
              </a:extLst>
            </p:cNvPr>
            <p:cNvSpPr/>
            <p:nvPr/>
          </p:nvSpPr>
          <p:spPr>
            <a:xfrm>
              <a:off x="2334489" y="2125750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0" name="Google Shape;7857;p64">
              <a:extLst>
                <a:ext uri="{FF2B5EF4-FFF2-40B4-BE49-F238E27FC236}">
                  <a16:creationId xmlns:a16="http://schemas.microsoft.com/office/drawing/2014/main" id="{BE57E6A2-3D75-6E01-DF5C-F3F03E9E71A2}"/>
                </a:ext>
              </a:extLst>
            </p:cNvPr>
            <p:cNvSpPr/>
            <p:nvPr/>
          </p:nvSpPr>
          <p:spPr>
            <a:xfrm>
              <a:off x="2303302" y="2129647"/>
              <a:ext cx="394" cy="54"/>
            </a:xfrm>
            <a:custGeom>
              <a:avLst/>
              <a:gdLst/>
              <a:ahLst/>
              <a:cxnLst/>
              <a:rect l="l" t="t" r="r" b="b"/>
              <a:pathLst>
                <a:path w="29" h="4" extrusionOk="0">
                  <a:moveTo>
                    <a:pt x="29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1" name="Google Shape;7858;p64">
              <a:extLst>
                <a:ext uri="{FF2B5EF4-FFF2-40B4-BE49-F238E27FC236}">
                  <a16:creationId xmlns:a16="http://schemas.microsoft.com/office/drawing/2014/main" id="{95787170-2544-4786-3C0B-02F1AC8F0BCD}"/>
                </a:ext>
              </a:extLst>
            </p:cNvPr>
            <p:cNvSpPr/>
            <p:nvPr/>
          </p:nvSpPr>
          <p:spPr>
            <a:xfrm>
              <a:off x="2333294" y="212645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2" name="Google Shape;7859;p64">
              <a:extLst>
                <a:ext uri="{FF2B5EF4-FFF2-40B4-BE49-F238E27FC236}">
                  <a16:creationId xmlns:a16="http://schemas.microsoft.com/office/drawing/2014/main" id="{F884FC0B-BCAB-E225-6CC9-716C9CB6204E}"/>
                </a:ext>
              </a:extLst>
            </p:cNvPr>
            <p:cNvSpPr/>
            <p:nvPr/>
          </p:nvSpPr>
          <p:spPr>
            <a:xfrm>
              <a:off x="2334394" y="2125845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3" name="Google Shape;7860;p64">
              <a:extLst>
                <a:ext uri="{FF2B5EF4-FFF2-40B4-BE49-F238E27FC236}">
                  <a16:creationId xmlns:a16="http://schemas.microsoft.com/office/drawing/2014/main" id="{ABFB5A5B-631B-9E12-A11F-D430D413C101}"/>
                </a:ext>
              </a:extLst>
            </p:cNvPr>
            <p:cNvSpPr/>
            <p:nvPr/>
          </p:nvSpPr>
          <p:spPr>
            <a:xfrm>
              <a:off x="2340002" y="2122559"/>
              <a:ext cx="489" cy="258"/>
            </a:xfrm>
            <a:custGeom>
              <a:avLst/>
              <a:gdLst/>
              <a:ahLst/>
              <a:cxnLst/>
              <a:rect l="l" t="t" r="r" b="b"/>
              <a:pathLst>
                <a:path w="36" h="19" extrusionOk="0">
                  <a:moveTo>
                    <a:pt x="35" y="1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4" name="Google Shape;7861;p64">
              <a:extLst>
                <a:ext uri="{FF2B5EF4-FFF2-40B4-BE49-F238E27FC236}">
                  <a16:creationId xmlns:a16="http://schemas.microsoft.com/office/drawing/2014/main" id="{59076F56-D5EC-6140-B645-4CF761ABFDF1}"/>
                </a:ext>
              </a:extLst>
            </p:cNvPr>
            <p:cNvSpPr/>
            <p:nvPr/>
          </p:nvSpPr>
          <p:spPr>
            <a:xfrm>
              <a:off x="2334530" y="212565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5" name="Google Shape;7862;p64">
              <a:extLst>
                <a:ext uri="{FF2B5EF4-FFF2-40B4-BE49-F238E27FC236}">
                  <a16:creationId xmlns:a16="http://schemas.microsoft.com/office/drawing/2014/main" id="{D91482C9-3A82-AB8B-08C3-85EB071959EF}"/>
                </a:ext>
              </a:extLst>
            </p:cNvPr>
            <p:cNvSpPr/>
            <p:nvPr/>
          </p:nvSpPr>
          <p:spPr>
            <a:xfrm>
              <a:off x="2305202" y="212983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6" name="Google Shape;7863;p64">
              <a:extLst>
                <a:ext uri="{FF2B5EF4-FFF2-40B4-BE49-F238E27FC236}">
                  <a16:creationId xmlns:a16="http://schemas.microsoft.com/office/drawing/2014/main" id="{0134BD63-2EA2-5467-6505-895938728650}"/>
                </a:ext>
              </a:extLst>
            </p:cNvPr>
            <p:cNvSpPr/>
            <p:nvPr/>
          </p:nvSpPr>
          <p:spPr>
            <a:xfrm>
              <a:off x="2335100" y="212527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7" name="Google Shape;7864;p64">
              <a:extLst>
                <a:ext uri="{FF2B5EF4-FFF2-40B4-BE49-F238E27FC236}">
                  <a16:creationId xmlns:a16="http://schemas.microsoft.com/office/drawing/2014/main" id="{D791FEB5-D442-FECA-F9C9-3FB88B997A8D}"/>
                </a:ext>
              </a:extLst>
            </p:cNvPr>
            <p:cNvSpPr/>
            <p:nvPr/>
          </p:nvSpPr>
          <p:spPr>
            <a:xfrm>
              <a:off x="2334964" y="212537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8" name="Google Shape;7865;p64">
              <a:extLst>
                <a:ext uri="{FF2B5EF4-FFF2-40B4-BE49-F238E27FC236}">
                  <a16:creationId xmlns:a16="http://schemas.microsoft.com/office/drawing/2014/main" id="{00EBE215-3E80-B360-C45D-7BEB1B1EA7B3}"/>
                </a:ext>
              </a:extLst>
            </p:cNvPr>
            <p:cNvSpPr/>
            <p:nvPr/>
          </p:nvSpPr>
          <p:spPr>
            <a:xfrm>
              <a:off x="2335535" y="2124990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1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9" name="Google Shape;7866;p64">
              <a:extLst>
                <a:ext uri="{FF2B5EF4-FFF2-40B4-BE49-F238E27FC236}">
                  <a16:creationId xmlns:a16="http://schemas.microsoft.com/office/drawing/2014/main" id="{0FECEFCD-9089-0664-A45F-4DE3A81BDFA9}"/>
                </a:ext>
              </a:extLst>
            </p:cNvPr>
            <p:cNvSpPr/>
            <p:nvPr/>
          </p:nvSpPr>
          <p:spPr>
            <a:xfrm>
              <a:off x="2338046" y="212360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2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0" name="Google Shape;7867;p64">
              <a:extLst>
                <a:ext uri="{FF2B5EF4-FFF2-40B4-BE49-F238E27FC236}">
                  <a16:creationId xmlns:a16="http://schemas.microsoft.com/office/drawing/2014/main" id="{0F04EC87-414D-878F-DAD8-455AE6B0CDA5}"/>
                </a:ext>
              </a:extLst>
            </p:cNvPr>
            <p:cNvSpPr/>
            <p:nvPr/>
          </p:nvSpPr>
          <p:spPr>
            <a:xfrm>
              <a:off x="2303831" y="2129742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1" name="Google Shape;7868;p64">
              <a:extLst>
                <a:ext uri="{FF2B5EF4-FFF2-40B4-BE49-F238E27FC236}">
                  <a16:creationId xmlns:a16="http://schemas.microsoft.com/office/drawing/2014/main" id="{7C9B568C-8CB8-8D1B-FEC4-F8D92B5301E8}"/>
                </a:ext>
              </a:extLst>
            </p:cNvPr>
            <p:cNvSpPr/>
            <p:nvPr/>
          </p:nvSpPr>
          <p:spPr>
            <a:xfrm>
              <a:off x="2335290" y="2125125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2" name="Google Shape;7869;p64">
              <a:extLst>
                <a:ext uri="{FF2B5EF4-FFF2-40B4-BE49-F238E27FC236}">
                  <a16:creationId xmlns:a16="http://schemas.microsoft.com/office/drawing/2014/main" id="{85D8BE99-9258-AC92-CCAD-101D48DD94F1}"/>
                </a:ext>
              </a:extLst>
            </p:cNvPr>
            <p:cNvSpPr/>
            <p:nvPr/>
          </p:nvSpPr>
          <p:spPr>
            <a:xfrm>
              <a:off x="2334679" y="212556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7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3" name="Google Shape;7870;p64">
              <a:extLst>
                <a:ext uri="{FF2B5EF4-FFF2-40B4-BE49-F238E27FC236}">
                  <a16:creationId xmlns:a16="http://schemas.microsoft.com/office/drawing/2014/main" id="{F6B06354-0576-37FC-FA5D-C40EC58CD8D0}"/>
                </a:ext>
              </a:extLst>
            </p:cNvPr>
            <p:cNvSpPr/>
            <p:nvPr/>
          </p:nvSpPr>
          <p:spPr>
            <a:xfrm>
              <a:off x="2337626" y="2123795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21" y="1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4" name="Google Shape;7871;p64">
              <a:extLst>
                <a:ext uri="{FF2B5EF4-FFF2-40B4-BE49-F238E27FC236}">
                  <a16:creationId xmlns:a16="http://schemas.microsoft.com/office/drawing/2014/main" id="{A9ADF199-DB4E-D429-36DC-1FD5AB012E75}"/>
                </a:ext>
              </a:extLst>
            </p:cNvPr>
            <p:cNvSpPr/>
            <p:nvPr/>
          </p:nvSpPr>
          <p:spPr>
            <a:xfrm>
              <a:off x="2334815" y="2125465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5" name="Google Shape;7872;p64">
              <a:extLst>
                <a:ext uri="{FF2B5EF4-FFF2-40B4-BE49-F238E27FC236}">
                  <a16:creationId xmlns:a16="http://schemas.microsoft.com/office/drawing/2014/main" id="{971E6993-B710-86D0-C335-5AB2E8B8C8C4}"/>
                </a:ext>
              </a:extLst>
            </p:cNvPr>
            <p:cNvSpPr/>
            <p:nvPr/>
          </p:nvSpPr>
          <p:spPr>
            <a:xfrm>
              <a:off x="2286819" y="2116381"/>
              <a:ext cx="21398" cy="53672"/>
            </a:xfrm>
            <a:custGeom>
              <a:avLst/>
              <a:gdLst/>
              <a:ahLst/>
              <a:cxnLst/>
              <a:rect l="l" t="t" r="r" b="b"/>
              <a:pathLst>
                <a:path w="1576" h="3953" extrusionOk="0">
                  <a:moveTo>
                    <a:pt x="308" y="0"/>
                  </a:moveTo>
                  <a:cubicBezTo>
                    <a:pt x="350" y="85"/>
                    <a:pt x="392" y="172"/>
                    <a:pt x="427" y="260"/>
                  </a:cubicBezTo>
                  <a:lnTo>
                    <a:pt x="434" y="281"/>
                  </a:lnTo>
                  <a:lnTo>
                    <a:pt x="441" y="305"/>
                  </a:lnTo>
                  <a:lnTo>
                    <a:pt x="452" y="333"/>
                  </a:lnTo>
                  <a:lnTo>
                    <a:pt x="455" y="344"/>
                  </a:lnTo>
                  <a:cubicBezTo>
                    <a:pt x="462" y="368"/>
                    <a:pt x="469" y="393"/>
                    <a:pt x="476" y="417"/>
                  </a:cubicBezTo>
                  <a:lnTo>
                    <a:pt x="476" y="421"/>
                  </a:lnTo>
                  <a:cubicBezTo>
                    <a:pt x="476" y="431"/>
                    <a:pt x="480" y="438"/>
                    <a:pt x="480" y="449"/>
                  </a:cubicBezTo>
                  <a:lnTo>
                    <a:pt x="480" y="452"/>
                  </a:lnTo>
                  <a:cubicBezTo>
                    <a:pt x="480" y="463"/>
                    <a:pt x="480" y="470"/>
                    <a:pt x="480" y="480"/>
                  </a:cubicBezTo>
                  <a:cubicBezTo>
                    <a:pt x="483" y="512"/>
                    <a:pt x="469" y="543"/>
                    <a:pt x="448" y="568"/>
                  </a:cubicBezTo>
                  <a:cubicBezTo>
                    <a:pt x="423" y="584"/>
                    <a:pt x="394" y="594"/>
                    <a:pt x="364" y="594"/>
                  </a:cubicBezTo>
                  <a:cubicBezTo>
                    <a:pt x="356" y="594"/>
                    <a:pt x="348" y="594"/>
                    <a:pt x="340" y="592"/>
                  </a:cubicBezTo>
                  <a:cubicBezTo>
                    <a:pt x="330" y="591"/>
                    <a:pt x="323" y="591"/>
                    <a:pt x="316" y="591"/>
                  </a:cubicBezTo>
                  <a:cubicBezTo>
                    <a:pt x="292" y="591"/>
                    <a:pt x="288" y="597"/>
                    <a:pt x="280" y="617"/>
                  </a:cubicBezTo>
                  <a:cubicBezTo>
                    <a:pt x="224" y="753"/>
                    <a:pt x="210" y="1359"/>
                    <a:pt x="291" y="1439"/>
                  </a:cubicBezTo>
                  <a:cubicBezTo>
                    <a:pt x="326" y="1467"/>
                    <a:pt x="340" y="1509"/>
                    <a:pt x="329" y="1551"/>
                  </a:cubicBezTo>
                  <a:cubicBezTo>
                    <a:pt x="308" y="1611"/>
                    <a:pt x="245" y="1614"/>
                    <a:pt x="179" y="1621"/>
                  </a:cubicBezTo>
                  <a:lnTo>
                    <a:pt x="154" y="1625"/>
                  </a:lnTo>
                  <a:cubicBezTo>
                    <a:pt x="133" y="1625"/>
                    <a:pt x="109" y="1632"/>
                    <a:pt x="88" y="1639"/>
                  </a:cubicBezTo>
                  <a:cubicBezTo>
                    <a:pt x="88" y="1779"/>
                    <a:pt x="74" y="1919"/>
                    <a:pt x="46" y="2059"/>
                  </a:cubicBezTo>
                  <a:cubicBezTo>
                    <a:pt x="39" y="2094"/>
                    <a:pt x="28" y="2129"/>
                    <a:pt x="14" y="2161"/>
                  </a:cubicBezTo>
                  <a:cubicBezTo>
                    <a:pt x="11" y="2168"/>
                    <a:pt x="4" y="2178"/>
                    <a:pt x="0" y="2185"/>
                  </a:cubicBezTo>
                  <a:cubicBezTo>
                    <a:pt x="7" y="2206"/>
                    <a:pt x="28" y="2245"/>
                    <a:pt x="42" y="2273"/>
                  </a:cubicBezTo>
                  <a:lnTo>
                    <a:pt x="63" y="2311"/>
                  </a:lnTo>
                  <a:lnTo>
                    <a:pt x="70" y="2325"/>
                  </a:lnTo>
                  <a:lnTo>
                    <a:pt x="81" y="2339"/>
                  </a:lnTo>
                  <a:cubicBezTo>
                    <a:pt x="88" y="2343"/>
                    <a:pt x="95" y="2346"/>
                    <a:pt x="102" y="2350"/>
                  </a:cubicBezTo>
                  <a:lnTo>
                    <a:pt x="105" y="2353"/>
                  </a:lnTo>
                  <a:cubicBezTo>
                    <a:pt x="112" y="2360"/>
                    <a:pt x="119" y="2367"/>
                    <a:pt x="130" y="2374"/>
                  </a:cubicBezTo>
                  <a:lnTo>
                    <a:pt x="137" y="2381"/>
                  </a:lnTo>
                  <a:lnTo>
                    <a:pt x="158" y="2399"/>
                  </a:lnTo>
                  <a:lnTo>
                    <a:pt x="168" y="2409"/>
                  </a:lnTo>
                  <a:lnTo>
                    <a:pt x="203" y="2441"/>
                  </a:lnTo>
                  <a:cubicBezTo>
                    <a:pt x="256" y="2486"/>
                    <a:pt x="364" y="2588"/>
                    <a:pt x="403" y="2588"/>
                  </a:cubicBezTo>
                  <a:cubicBezTo>
                    <a:pt x="413" y="2588"/>
                    <a:pt x="441" y="2577"/>
                    <a:pt x="466" y="2570"/>
                  </a:cubicBezTo>
                  <a:lnTo>
                    <a:pt x="511" y="2556"/>
                  </a:lnTo>
                  <a:lnTo>
                    <a:pt x="522" y="2553"/>
                  </a:lnTo>
                  <a:lnTo>
                    <a:pt x="560" y="2542"/>
                  </a:lnTo>
                  <a:lnTo>
                    <a:pt x="578" y="2539"/>
                  </a:lnTo>
                  <a:cubicBezTo>
                    <a:pt x="588" y="2539"/>
                    <a:pt x="602" y="2535"/>
                    <a:pt x="616" y="2532"/>
                  </a:cubicBezTo>
                  <a:lnTo>
                    <a:pt x="630" y="2532"/>
                  </a:lnTo>
                  <a:cubicBezTo>
                    <a:pt x="648" y="2528"/>
                    <a:pt x="665" y="2528"/>
                    <a:pt x="683" y="2528"/>
                  </a:cubicBezTo>
                  <a:lnTo>
                    <a:pt x="735" y="2528"/>
                  </a:lnTo>
                  <a:cubicBezTo>
                    <a:pt x="746" y="2532"/>
                    <a:pt x="753" y="2532"/>
                    <a:pt x="763" y="2535"/>
                  </a:cubicBezTo>
                  <a:lnTo>
                    <a:pt x="774" y="2539"/>
                  </a:lnTo>
                  <a:cubicBezTo>
                    <a:pt x="788" y="2542"/>
                    <a:pt x="802" y="2549"/>
                    <a:pt x="812" y="2556"/>
                  </a:cubicBezTo>
                  <a:cubicBezTo>
                    <a:pt x="865" y="2588"/>
                    <a:pt x="900" y="2644"/>
                    <a:pt x="910" y="2703"/>
                  </a:cubicBezTo>
                  <a:cubicBezTo>
                    <a:pt x="942" y="2850"/>
                    <a:pt x="886" y="3046"/>
                    <a:pt x="840" y="3204"/>
                  </a:cubicBezTo>
                  <a:cubicBezTo>
                    <a:pt x="819" y="3277"/>
                    <a:pt x="788" y="3382"/>
                    <a:pt x="798" y="3407"/>
                  </a:cubicBezTo>
                  <a:cubicBezTo>
                    <a:pt x="819" y="3473"/>
                    <a:pt x="1008" y="3757"/>
                    <a:pt x="1138" y="3921"/>
                  </a:cubicBezTo>
                  <a:lnTo>
                    <a:pt x="1166" y="3953"/>
                  </a:lnTo>
                  <a:cubicBezTo>
                    <a:pt x="1145" y="3823"/>
                    <a:pt x="1120" y="3648"/>
                    <a:pt x="1239" y="3540"/>
                  </a:cubicBezTo>
                  <a:cubicBezTo>
                    <a:pt x="1292" y="3498"/>
                    <a:pt x="1355" y="3470"/>
                    <a:pt x="1421" y="3463"/>
                  </a:cubicBezTo>
                  <a:cubicBezTo>
                    <a:pt x="1498" y="3445"/>
                    <a:pt x="1533" y="3438"/>
                    <a:pt x="1526" y="3239"/>
                  </a:cubicBezTo>
                  <a:cubicBezTo>
                    <a:pt x="1519" y="3120"/>
                    <a:pt x="1530" y="3004"/>
                    <a:pt x="1561" y="2889"/>
                  </a:cubicBezTo>
                  <a:cubicBezTo>
                    <a:pt x="1568" y="2868"/>
                    <a:pt x="1572" y="2847"/>
                    <a:pt x="1575" y="2826"/>
                  </a:cubicBezTo>
                  <a:cubicBezTo>
                    <a:pt x="1575" y="2794"/>
                    <a:pt x="1561" y="2773"/>
                    <a:pt x="1523" y="2728"/>
                  </a:cubicBezTo>
                  <a:lnTo>
                    <a:pt x="1502" y="2703"/>
                  </a:lnTo>
                  <a:lnTo>
                    <a:pt x="1495" y="2693"/>
                  </a:lnTo>
                  <a:lnTo>
                    <a:pt x="1477" y="2672"/>
                  </a:lnTo>
                  <a:lnTo>
                    <a:pt x="1467" y="2665"/>
                  </a:lnTo>
                  <a:lnTo>
                    <a:pt x="1446" y="2640"/>
                  </a:lnTo>
                  <a:lnTo>
                    <a:pt x="1435" y="2630"/>
                  </a:lnTo>
                  <a:lnTo>
                    <a:pt x="1404" y="2598"/>
                  </a:lnTo>
                  <a:lnTo>
                    <a:pt x="1400" y="2595"/>
                  </a:lnTo>
                  <a:lnTo>
                    <a:pt x="1362" y="2556"/>
                  </a:lnTo>
                  <a:lnTo>
                    <a:pt x="1351" y="2549"/>
                  </a:lnTo>
                  <a:lnTo>
                    <a:pt x="1316" y="2518"/>
                  </a:lnTo>
                  <a:lnTo>
                    <a:pt x="1302" y="2504"/>
                  </a:lnTo>
                  <a:lnTo>
                    <a:pt x="1285" y="2490"/>
                  </a:lnTo>
                  <a:lnTo>
                    <a:pt x="1281" y="2497"/>
                  </a:lnTo>
                  <a:cubicBezTo>
                    <a:pt x="1253" y="2539"/>
                    <a:pt x="1208" y="2565"/>
                    <a:pt x="1158" y="2565"/>
                  </a:cubicBezTo>
                  <a:cubicBezTo>
                    <a:pt x="1146" y="2565"/>
                    <a:pt x="1133" y="2563"/>
                    <a:pt x="1120" y="2560"/>
                  </a:cubicBezTo>
                  <a:cubicBezTo>
                    <a:pt x="900" y="2504"/>
                    <a:pt x="609" y="1968"/>
                    <a:pt x="571" y="1628"/>
                  </a:cubicBezTo>
                  <a:cubicBezTo>
                    <a:pt x="546" y="1439"/>
                    <a:pt x="592" y="1292"/>
                    <a:pt x="630" y="1163"/>
                  </a:cubicBezTo>
                  <a:cubicBezTo>
                    <a:pt x="679" y="1005"/>
                    <a:pt x="721" y="869"/>
                    <a:pt x="637" y="680"/>
                  </a:cubicBezTo>
                  <a:cubicBezTo>
                    <a:pt x="462" y="295"/>
                    <a:pt x="441" y="102"/>
                    <a:pt x="462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6" name="Google Shape;7873;p64">
              <a:extLst>
                <a:ext uri="{FF2B5EF4-FFF2-40B4-BE49-F238E27FC236}">
                  <a16:creationId xmlns:a16="http://schemas.microsoft.com/office/drawing/2014/main" id="{67D9D165-04B3-43FC-84DB-AB6216B43940}"/>
                </a:ext>
              </a:extLst>
            </p:cNvPr>
            <p:cNvSpPr/>
            <p:nvPr/>
          </p:nvSpPr>
          <p:spPr>
            <a:xfrm>
              <a:off x="2291041" y="2116476"/>
              <a:ext cx="1589" cy="3435"/>
            </a:xfrm>
            <a:custGeom>
              <a:avLst/>
              <a:gdLst/>
              <a:ahLst/>
              <a:cxnLst/>
              <a:rect l="l" t="t" r="r" b="b"/>
              <a:pathLst>
                <a:path w="117" h="253" extrusionOk="0">
                  <a:moveTo>
                    <a:pt x="1" y="1"/>
                  </a:moveTo>
                  <a:lnTo>
                    <a:pt x="1" y="1"/>
                  </a:lnTo>
                  <a:cubicBezTo>
                    <a:pt x="43" y="81"/>
                    <a:pt x="81" y="165"/>
                    <a:pt x="116" y="253"/>
                  </a:cubicBezTo>
                  <a:cubicBezTo>
                    <a:pt x="81" y="165"/>
                    <a:pt x="43" y="8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7" name="Google Shape;7874;p64">
              <a:extLst>
                <a:ext uri="{FF2B5EF4-FFF2-40B4-BE49-F238E27FC236}">
                  <a16:creationId xmlns:a16="http://schemas.microsoft.com/office/drawing/2014/main" id="{19E333C0-441D-2FC4-BC93-87F986382DA4}"/>
                </a:ext>
              </a:extLst>
            </p:cNvPr>
            <p:cNvSpPr/>
            <p:nvPr/>
          </p:nvSpPr>
          <p:spPr>
            <a:xfrm>
              <a:off x="2287484" y="2138431"/>
              <a:ext cx="1534" cy="5906"/>
            </a:xfrm>
            <a:custGeom>
              <a:avLst/>
              <a:gdLst/>
              <a:ahLst/>
              <a:cxnLst/>
              <a:rect l="l" t="t" r="r" b="b"/>
              <a:pathLst>
                <a:path w="113" h="435" extrusionOk="0">
                  <a:moveTo>
                    <a:pt x="112" y="1"/>
                  </a:moveTo>
                  <a:cubicBezTo>
                    <a:pt x="88" y="1"/>
                    <a:pt x="63" y="8"/>
                    <a:pt x="42" y="11"/>
                  </a:cubicBezTo>
                  <a:cubicBezTo>
                    <a:pt x="42" y="155"/>
                    <a:pt x="28" y="295"/>
                    <a:pt x="0" y="435"/>
                  </a:cubicBezTo>
                  <a:cubicBezTo>
                    <a:pt x="28" y="295"/>
                    <a:pt x="42" y="155"/>
                    <a:pt x="42" y="11"/>
                  </a:cubicBezTo>
                  <a:cubicBezTo>
                    <a:pt x="63" y="8"/>
                    <a:pt x="88" y="1"/>
                    <a:pt x="11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8" name="Google Shape;7875;p64">
              <a:extLst>
                <a:ext uri="{FF2B5EF4-FFF2-40B4-BE49-F238E27FC236}">
                  <a16:creationId xmlns:a16="http://schemas.microsoft.com/office/drawing/2014/main" id="{3E598477-2575-9191-53F9-9D20FC77322D}"/>
                </a:ext>
              </a:extLst>
            </p:cNvPr>
            <p:cNvSpPr/>
            <p:nvPr/>
          </p:nvSpPr>
          <p:spPr>
            <a:xfrm>
              <a:off x="2292942" y="2120903"/>
              <a:ext cx="68" cy="149"/>
            </a:xfrm>
            <a:custGeom>
              <a:avLst/>
              <a:gdLst/>
              <a:ahLst/>
              <a:cxnLst/>
              <a:rect l="l" t="t" r="r" b="b"/>
              <a:pathLst>
                <a:path w="5" h="11" extrusionOk="0">
                  <a:moveTo>
                    <a:pt x="4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9" name="Google Shape;7876;p64">
              <a:extLst>
                <a:ext uri="{FF2B5EF4-FFF2-40B4-BE49-F238E27FC236}">
                  <a16:creationId xmlns:a16="http://schemas.microsoft.com/office/drawing/2014/main" id="{E258420E-9174-E685-C994-D11571E1209F}"/>
                </a:ext>
              </a:extLst>
            </p:cNvPr>
            <p:cNvSpPr/>
            <p:nvPr/>
          </p:nvSpPr>
          <p:spPr>
            <a:xfrm>
              <a:off x="2292711" y="2120183"/>
              <a:ext cx="109" cy="353"/>
            </a:xfrm>
            <a:custGeom>
              <a:avLst/>
              <a:gdLst/>
              <a:ahLst/>
              <a:cxnLst/>
              <a:rect l="l" t="t" r="r" b="b"/>
              <a:pathLst>
                <a:path w="8" h="26" extrusionOk="0">
                  <a:moveTo>
                    <a:pt x="7" y="2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0" name="Google Shape;7877;p64">
              <a:extLst>
                <a:ext uri="{FF2B5EF4-FFF2-40B4-BE49-F238E27FC236}">
                  <a16:creationId xmlns:a16="http://schemas.microsoft.com/office/drawing/2014/main" id="{70679A32-AA81-9083-7E8F-AA4D4B279C19}"/>
                </a:ext>
              </a:extLst>
            </p:cNvPr>
            <p:cNvSpPr/>
            <p:nvPr/>
          </p:nvSpPr>
          <p:spPr>
            <a:xfrm>
              <a:off x="2293376" y="2122464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1" name="Google Shape;7878;p64">
              <a:extLst>
                <a:ext uri="{FF2B5EF4-FFF2-40B4-BE49-F238E27FC236}">
                  <a16:creationId xmlns:a16="http://schemas.microsoft.com/office/drawing/2014/main" id="{AE773921-F8AA-C9ED-42B9-88A29335575F}"/>
                </a:ext>
              </a:extLst>
            </p:cNvPr>
            <p:cNvSpPr/>
            <p:nvPr/>
          </p:nvSpPr>
          <p:spPr>
            <a:xfrm>
              <a:off x="2287049" y="2144324"/>
              <a:ext cx="448" cy="1398"/>
            </a:xfrm>
            <a:custGeom>
              <a:avLst/>
              <a:gdLst/>
              <a:ahLst/>
              <a:cxnLst/>
              <a:rect l="l" t="t" r="r" b="b"/>
              <a:pathLst>
                <a:path w="33" h="103" extrusionOk="0">
                  <a:moveTo>
                    <a:pt x="1" y="103"/>
                  </a:moveTo>
                  <a:cubicBezTo>
                    <a:pt x="15" y="71"/>
                    <a:pt x="25" y="36"/>
                    <a:pt x="32" y="1"/>
                  </a:cubicBezTo>
                  <a:cubicBezTo>
                    <a:pt x="25" y="36"/>
                    <a:pt x="15" y="71"/>
                    <a:pt x="1" y="10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2" name="Google Shape;7879;p64">
              <a:extLst>
                <a:ext uri="{FF2B5EF4-FFF2-40B4-BE49-F238E27FC236}">
                  <a16:creationId xmlns:a16="http://schemas.microsoft.com/office/drawing/2014/main" id="{7723609E-990B-C5B9-4B61-36E001AE14E8}"/>
                </a:ext>
              </a:extLst>
            </p:cNvPr>
            <p:cNvSpPr/>
            <p:nvPr/>
          </p:nvSpPr>
          <p:spPr>
            <a:xfrm>
              <a:off x="2293281" y="2122043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0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3" name="Google Shape;7880;p64">
              <a:extLst>
                <a:ext uri="{FF2B5EF4-FFF2-40B4-BE49-F238E27FC236}">
                  <a16:creationId xmlns:a16="http://schemas.microsoft.com/office/drawing/2014/main" id="{7EE1E953-217E-1F79-14DA-2366AF2333A8}"/>
                </a:ext>
              </a:extLst>
            </p:cNvPr>
            <p:cNvSpPr/>
            <p:nvPr/>
          </p:nvSpPr>
          <p:spPr>
            <a:xfrm>
              <a:off x="2287769" y="2147800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4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4" name="Google Shape;7881;p64">
              <a:extLst>
                <a:ext uri="{FF2B5EF4-FFF2-40B4-BE49-F238E27FC236}">
                  <a16:creationId xmlns:a16="http://schemas.microsoft.com/office/drawing/2014/main" id="{F15492BE-07F3-43E6-556C-A8701BE852F9}"/>
                </a:ext>
              </a:extLst>
            </p:cNvPr>
            <p:cNvSpPr/>
            <p:nvPr/>
          </p:nvSpPr>
          <p:spPr>
            <a:xfrm>
              <a:off x="2288000" y="2148180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1"/>
                  </a:moveTo>
                  <a:cubicBezTo>
                    <a:pt x="11" y="8"/>
                    <a:pt x="8" y="4"/>
                    <a:pt x="1" y="1"/>
                  </a:cubicBezTo>
                  <a:cubicBezTo>
                    <a:pt x="8" y="4"/>
                    <a:pt x="11" y="8"/>
                    <a:pt x="18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5" name="Google Shape;7882;p64">
              <a:extLst>
                <a:ext uri="{FF2B5EF4-FFF2-40B4-BE49-F238E27FC236}">
                  <a16:creationId xmlns:a16="http://schemas.microsoft.com/office/drawing/2014/main" id="{883F5BFD-0E9A-3A71-C8CA-28D0F95DA9D3}"/>
                </a:ext>
              </a:extLst>
            </p:cNvPr>
            <p:cNvSpPr/>
            <p:nvPr/>
          </p:nvSpPr>
          <p:spPr>
            <a:xfrm>
              <a:off x="2295467" y="2150705"/>
              <a:ext cx="720" cy="109"/>
            </a:xfrm>
            <a:custGeom>
              <a:avLst/>
              <a:gdLst/>
              <a:ahLst/>
              <a:cxnLst/>
              <a:rect l="l" t="t" r="r" b="b"/>
              <a:pathLst>
                <a:path w="53" h="8" extrusionOk="0">
                  <a:moveTo>
                    <a:pt x="0" y="7"/>
                  </a:moveTo>
                  <a:cubicBezTo>
                    <a:pt x="18" y="4"/>
                    <a:pt x="35" y="0"/>
                    <a:pt x="53" y="0"/>
                  </a:cubicBezTo>
                  <a:cubicBezTo>
                    <a:pt x="35" y="0"/>
                    <a:pt x="18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6" name="Google Shape;7883;p64">
              <a:extLst>
                <a:ext uri="{FF2B5EF4-FFF2-40B4-BE49-F238E27FC236}">
                  <a16:creationId xmlns:a16="http://schemas.microsoft.com/office/drawing/2014/main" id="{83859629-6437-F6B7-DFFC-DC71250B7A67}"/>
                </a:ext>
              </a:extLst>
            </p:cNvPr>
            <p:cNvSpPr/>
            <p:nvPr/>
          </p:nvSpPr>
          <p:spPr>
            <a:xfrm>
              <a:off x="2288760" y="2148709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22" y="2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7" name="Google Shape;7884;p64">
              <a:extLst>
                <a:ext uri="{FF2B5EF4-FFF2-40B4-BE49-F238E27FC236}">
                  <a16:creationId xmlns:a16="http://schemas.microsoft.com/office/drawing/2014/main" id="{6D8CCD2F-67D3-6EED-4899-0A7FF15B56B0}"/>
                </a:ext>
              </a:extLst>
            </p:cNvPr>
            <p:cNvSpPr/>
            <p:nvPr/>
          </p:nvSpPr>
          <p:spPr>
            <a:xfrm>
              <a:off x="2288285" y="2148370"/>
              <a:ext cx="353" cy="258"/>
            </a:xfrm>
            <a:custGeom>
              <a:avLst/>
              <a:gdLst/>
              <a:ahLst/>
              <a:cxnLst/>
              <a:rect l="l" t="t" r="r" b="b"/>
              <a:pathLst>
                <a:path w="26" h="19" extrusionOk="0">
                  <a:moveTo>
                    <a:pt x="25" y="18"/>
                  </a:moveTo>
                  <a:cubicBezTo>
                    <a:pt x="18" y="11"/>
                    <a:pt x="8" y="8"/>
                    <a:pt x="1" y="1"/>
                  </a:cubicBezTo>
                  <a:cubicBezTo>
                    <a:pt x="8" y="8"/>
                    <a:pt x="18" y="11"/>
                    <a:pt x="2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8" name="Google Shape;7885;p64">
              <a:extLst>
                <a:ext uri="{FF2B5EF4-FFF2-40B4-BE49-F238E27FC236}">
                  <a16:creationId xmlns:a16="http://schemas.microsoft.com/office/drawing/2014/main" id="{C61D31C8-96C5-E6FA-B33C-8221AFB9B1CD}"/>
                </a:ext>
              </a:extLst>
            </p:cNvPr>
            <p:cNvSpPr/>
            <p:nvPr/>
          </p:nvSpPr>
          <p:spPr>
            <a:xfrm>
              <a:off x="2294748" y="2150800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cubicBezTo>
                    <a:pt x="25" y="0"/>
                    <a:pt x="11" y="4"/>
                    <a:pt x="1" y="7"/>
                  </a:cubicBezTo>
                  <a:cubicBezTo>
                    <a:pt x="11" y="4"/>
                    <a:pt x="25" y="4"/>
                    <a:pt x="3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9" name="Google Shape;7886;p64">
              <a:extLst>
                <a:ext uri="{FF2B5EF4-FFF2-40B4-BE49-F238E27FC236}">
                  <a16:creationId xmlns:a16="http://schemas.microsoft.com/office/drawing/2014/main" id="{DBB8F894-C6C4-4ABF-1E60-68B81AE509F3}"/>
                </a:ext>
              </a:extLst>
            </p:cNvPr>
            <p:cNvSpPr/>
            <p:nvPr/>
          </p:nvSpPr>
          <p:spPr>
            <a:xfrm>
              <a:off x="2293227" y="2151126"/>
              <a:ext cx="638" cy="204"/>
            </a:xfrm>
            <a:custGeom>
              <a:avLst/>
              <a:gdLst/>
              <a:ahLst/>
              <a:cxnLst/>
              <a:rect l="l" t="t" r="r" b="b"/>
              <a:pathLst>
                <a:path w="47" h="15" extrusionOk="0">
                  <a:moveTo>
                    <a:pt x="46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0" name="Google Shape;7887;p64">
              <a:extLst>
                <a:ext uri="{FF2B5EF4-FFF2-40B4-BE49-F238E27FC236}">
                  <a16:creationId xmlns:a16="http://schemas.microsoft.com/office/drawing/2014/main" id="{5289178B-6202-5B69-C17C-F10A6DF92174}"/>
                </a:ext>
              </a:extLst>
            </p:cNvPr>
            <p:cNvSpPr/>
            <p:nvPr/>
          </p:nvSpPr>
          <p:spPr>
            <a:xfrm>
              <a:off x="2296703" y="2150800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4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1" name="Google Shape;7888;p64">
              <a:extLst>
                <a:ext uri="{FF2B5EF4-FFF2-40B4-BE49-F238E27FC236}">
                  <a16:creationId xmlns:a16="http://schemas.microsoft.com/office/drawing/2014/main" id="{30F26E49-6773-B8DC-7807-CC80AC986375}"/>
                </a:ext>
              </a:extLst>
            </p:cNvPr>
            <p:cNvSpPr/>
            <p:nvPr/>
          </p:nvSpPr>
          <p:spPr>
            <a:xfrm>
              <a:off x="2289195" y="2149130"/>
              <a:ext cx="489" cy="394"/>
            </a:xfrm>
            <a:custGeom>
              <a:avLst/>
              <a:gdLst/>
              <a:ahLst/>
              <a:cxnLst/>
              <a:rect l="l" t="t" r="r" b="b"/>
              <a:pathLst>
                <a:path w="36" h="29" extrusionOk="0">
                  <a:moveTo>
                    <a:pt x="35" y="29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2" name="Google Shape;7889;p64">
              <a:extLst>
                <a:ext uri="{FF2B5EF4-FFF2-40B4-BE49-F238E27FC236}">
                  <a16:creationId xmlns:a16="http://schemas.microsoft.com/office/drawing/2014/main" id="{10996E8F-4A65-46B4-540A-B948516129F8}"/>
                </a:ext>
              </a:extLst>
            </p:cNvPr>
            <p:cNvSpPr/>
            <p:nvPr/>
          </p:nvSpPr>
          <p:spPr>
            <a:xfrm>
              <a:off x="2297273" y="2150895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3" name="Google Shape;7890;p64">
              <a:extLst>
                <a:ext uri="{FF2B5EF4-FFF2-40B4-BE49-F238E27FC236}">
                  <a16:creationId xmlns:a16="http://schemas.microsoft.com/office/drawing/2014/main" id="{700F6824-53B3-0DA8-BF01-2A470B82EBE3}"/>
                </a:ext>
              </a:extLst>
            </p:cNvPr>
            <p:cNvSpPr/>
            <p:nvPr/>
          </p:nvSpPr>
          <p:spPr>
            <a:xfrm>
              <a:off x="2293987" y="2150936"/>
              <a:ext cx="543" cy="163"/>
            </a:xfrm>
            <a:custGeom>
              <a:avLst/>
              <a:gdLst/>
              <a:ahLst/>
              <a:cxnLst/>
              <a:rect l="l" t="t" r="r" b="b"/>
              <a:pathLst>
                <a:path w="40" h="12" extrusionOk="0">
                  <a:moveTo>
                    <a:pt x="39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4" name="Google Shape;7891;p64">
              <a:extLst>
                <a:ext uri="{FF2B5EF4-FFF2-40B4-BE49-F238E27FC236}">
                  <a16:creationId xmlns:a16="http://schemas.microsoft.com/office/drawing/2014/main" id="{1FFE8703-4CE8-66C8-896B-3BB368490791}"/>
                </a:ext>
              </a:extLst>
            </p:cNvPr>
            <p:cNvSpPr/>
            <p:nvPr/>
          </p:nvSpPr>
          <p:spPr>
            <a:xfrm>
              <a:off x="2306913" y="2152701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" y="0"/>
                  </a:moveTo>
                  <a:lnTo>
                    <a:pt x="18" y="2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5" name="Google Shape;7892;p64">
              <a:extLst>
                <a:ext uri="{FF2B5EF4-FFF2-40B4-BE49-F238E27FC236}">
                  <a16:creationId xmlns:a16="http://schemas.microsoft.com/office/drawing/2014/main" id="{14298696-DB4E-5321-8868-06C648682A21}"/>
                </a:ext>
              </a:extLst>
            </p:cNvPr>
            <p:cNvSpPr/>
            <p:nvPr/>
          </p:nvSpPr>
          <p:spPr>
            <a:xfrm>
              <a:off x="2307293" y="2153081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1" y="0"/>
                  </a:moveTo>
                  <a:lnTo>
                    <a:pt x="22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6" name="Google Shape;7893;p64">
              <a:extLst>
                <a:ext uri="{FF2B5EF4-FFF2-40B4-BE49-F238E27FC236}">
                  <a16:creationId xmlns:a16="http://schemas.microsoft.com/office/drawing/2014/main" id="{8A98DA2F-F482-5F18-4F8E-2E17531C9D9A}"/>
                </a:ext>
              </a:extLst>
            </p:cNvPr>
            <p:cNvSpPr/>
            <p:nvPr/>
          </p:nvSpPr>
          <p:spPr>
            <a:xfrm>
              <a:off x="2305352" y="2151126"/>
              <a:ext cx="530" cy="543"/>
            </a:xfrm>
            <a:custGeom>
              <a:avLst/>
              <a:gdLst/>
              <a:ahLst/>
              <a:cxnLst/>
              <a:rect l="l" t="t" r="r" b="b"/>
              <a:pathLst>
                <a:path w="39" h="40" extrusionOk="0">
                  <a:moveTo>
                    <a:pt x="0" y="1"/>
                  </a:moveTo>
                  <a:lnTo>
                    <a:pt x="39" y="39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7" name="Google Shape;7894;p64">
              <a:extLst>
                <a:ext uri="{FF2B5EF4-FFF2-40B4-BE49-F238E27FC236}">
                  <a16:creationId xmlns:a16="http://schemas.microsoft.com/office/drawing/2014/main" id="{A226AC04-25DA-C0AD-0133-8B2EB58C5210}"/>
                </a:ext>
              </a:extLst>
            </p:cNvPr>
            <p:cNvSpPr/>
            <p:nvPr/>
          </p:nvSpPr>
          <p:spPr>
            <a:xfrm>
              <a:off x="2305922" y="2151697"/>
              <a:ext cx="434" cy="448"/>
            </a:xfrm>
            <a:custGeom>
              <a:avLst/>
              <a:gdLst/>
              <a:ahLst/>
              <a:cxnLst/>
              <a:rect l="l" t="t" r="r" b="b"/>
              <a:pathLst>
                <a:path w="32" h="33" extrusionOk="0">
                  <a:moveTo>
                    <a:pt x="0" y="1"/>
                  </a:moveTo>
                  <a:lnTo>
                    <a:pt x="32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8" name="Google Shape;7895;p64">
              <a:extLst>
                <a:ext uri="{FF2B5EF4-FFF2-40B4-BE49-F238E27FC236}">
                  <a16:creationId xmlns:a16="http://schemas.microsoft.com/office/drawing/2014/main" id="{99963840-5358-5836-B5E4-8FD0F13782EB}"/>
                </a:ext>
              </a:extLst>
            </p:cNvPr>
            <p:cNvSpPr/>
            <p:nvPr/>
          </p:nvSpPr>
          <p:spPr>
            <a:xfrm>
              <a:off x="2308108" y="2154792"/>
              <a:ext cx="149" cy="910"/>
            </a:xfrm>
            <a:custGeom>
              <a:avLst/>
              <a:gdLst/>
              <a:ahLst/>
              <a:cxnLst/>
              <a:rect l="l" t="t" r="r" b="b"/>
              <a:pathLst>
                <a:path w="11" h="67" extrusionOk="0">
                  <a:moveTo>
                    <a:pt x="11" y="0"/>
                  </a:moveTo>
                  <a:cubicBezTo>
                    <a:pt x="11" y="21"/>
                    <a:pt x="7" y="42"/>
                    <a:pt x="0" y="67"/>
                  </a:cubicBezTo>
                  <a:cubicBezTo>
                    <a:pt x="7" y="42"/>
                    <a:pt x="11" y="21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9" name="Google Shape;7896;p64">
              <a:extLst>
                <a:ext uri="{FF2B5EF4-FFF2-40B4-BE49-F238E27FC236}">
                  <a16:creationId xmlns:a16="http://schemas.microsoft.com/office/drawing/2014/main" id="{20126B1F-9523-FCE0-32CC-9EA99F82C910}"/>
                </a:ext>
              </a:extLst>
            </p:cNvPr>
            <p:cNvSpPr/>
            <p:nvPr/>
          </p:nvSpPr>
          <p:spPr>
            <a:xfrm>
              <a:off x="2306492" y="2152267"/>
              <a:ext cx="299" cy="299"/>
            </a:xfrm>
            <a:custGeom>
              <a:avLst/>
              <a:gdLst/>
              <a:ahLst/>
              <a:cxnLst/>
              <a:rect l="l" t="t" r="r" b="b"/>
              <a:pathLst>
                <a:path w="22" h="22" extrusionOk="0">
                  <a:moveTo>
                    <a:pt x="0" y="1"/>
                  </a:moveTo>
                  <a:lnTo>
                    <a:pt x="21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0" name="Google Shape;7897;p64">
              <a:extLst>
                <a:ext uri="{FF2B5EF4-FFF2-40B4-BE49-F238E27FC236}">
                  <a16:creationId xmlns:a16="http://schemas.microsoft.com/office/drawing/2014/main" id="{D941034F-8046-9C4B-0139-1E8597EF71CE}"/>
                </a:ext>
              </a:extLst>
            </p:cNvPr>
            <p:cNvSpPr/>
            <p:nvPr/>
          </p:nvSpPr>
          <p:spPr>
            <a:xfrm>
              <a:off x="2297694" y="2162681"/>
              <a:ext cx="4671" cy="7047"/>
            </a:xfrm>
            <a:custGeom>
              <a:avLst/>
              <a:gdLst/>
              <a:ahLst/>
              <a:cxnLst/>
              <a:rect l="l" t="t" r="r" b="b"/>
              <a:pathLst>
                <a:path w="344" h="519" extrusionOk="0">
                  <a:moveTo>
                    <a:pt x="344" y="518"/>
                  </a:moveTo>
                  <a:cubicBezTo>
                    <a:pt x="214" y="354"/>
                    <a:pt x="22" y="70"/>
                    <a:pt x="1" y="0"/>
                  </a:cubicBezTo>
                  <a:cubicBezTo>
                    <a:pt x="22" y="70"/>
                    <a:pt x="214" y="354"/>
                    <a:pt x="344" y="5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1" name="Google Shape;7898;p64">
              <a:extLst>
                <a:ext uri="{FF2B5EF4-FFF2-40B4-BE49-F238E27FC236}">
                  <a16:creationId xmlns:a16="http://schemas.microsoft.com/office/drawing/2014/main" id="{31FA85EC-EBB3-BE92-372B-B1D517E3EAD9}"/>
                </a:ext>
              </a:extLst>
            </p:cNvPr>
            <p:cNvSpPr/>
            <p:nvPr/>
          </p:nvSpPr>
          <p:spPr>
            <a:xfrm>
              <a:off x="2304727" y="2150610"/>
              <a:ext cx="489" cy="434"/>
            </a:xfrm>
            <a:custGeom>
              <a:avLst/>
              <a:gdLst/>
              <a:ahLst/>
              <a:cxnLst/>
              <a:rect l="l" t="t" r="r" b="b"/>
              <a:pathLst>
                <a:path w="36" h="32" extrusionOk="0">
                  <a:moveTo>
                    <a:pt x="1" y="0"/>
                  </a:moveTo>
                  <a:lnTo>
                    <a:pt x="36" y="3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2" name="Google Shape;7899;p64">
              <a:extLst>
                <a:ext uri="{FF2B5EF4-FFF2-40B4-BE49-F238E27FC236}">
                  <a16:creationId xmlns:a16="http://schemas.microsoft.com/office/drawing/2014/main" id="{78DF7F54-F595-A0DA-DA36-52C89B4171B8}"/>
                </a:ext>
              </a:extLst>
            </p:cNvPr>
            <p:cNvSpPr/>
            <p:nvPr/>
          </p:nvSpPr>
          <p:spPr>
            <a:xfrm>
              <a:off x="2304347" y="2150271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" y="1"/>
                  </a:moveTo>
                  <a:lnTo>
                    <a:pt x="1" y="1"/>
                  </a:lnTo>
                  <a:lnTo>
                    <a:pt x="15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3" name="Google Shape;7900;p64">
              <a:extLst>
                <a:ext uri="{FF2B5EF4-FFF2-40B4-BE49-F238E27FC236}">
                  <a16:creationId xmlns:a16="http://schemas.microsoft.com/office/drawing/2014/main" id="{4728BDF4-CB4F-1C7E-B5B9-C6B289E31C33}"/>
                </a:ext>
              </a:extLst>
            </p:cNvPr>
            <p:cNvSpPr/>
            <p:nvPr/>
          </p:nvSpPr>
          <p:spPr>
            <a:xfrm>
              <a:off x="2291951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4" name="Google Shape;7901;p64">
              <a:extLst>
                <a:ext uri="{FF2B5EF4-FFF2-40B4-BE49-F238E27FC236}">
                  <a16:creationId xmlns:a16="http://schemas.microsoft.com/office/drawing/2014/main" id="{D556243C-1622-A597-E098-E414BFBB9CFC}"/>
                </a:ext>
              </a:extLst>
            </p:cNvPr>
            <p:cNvSpPr/>
            <p:nvPr/>
          </p:nvSpPr>
          <p:spPr>
            <a:xfrm>
              <a:off x="229256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5" name="Google Shape;7902;p64">
              <a:extLst>
                <a:ext uri="{FF2B5EF4-FFF2-40B4-BE49-F238E27FC236}">
                  <a16:creationId xmlns:a16="http://schemas.microsoft.com/office/drawing/2014/main" id="{F59C2D37-EDF6-6E04-F364-1D67BE3F9454}"/>
                </a:ext>
              </a:extLst>
            </p:cNvPr>
            <p:cNvSpPr/>
            <p:nvPr/>
          </p:nvSpPr>
          <p:spPr>
            <a:xfrm>
              <a:off x="2291095" y="211647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6" name="Google Shape;7903;p64">
              <a:extLst>
                <a:ext uri="{FF2B5EF4-FFF2-40B4-BE49-F238E27FC236}">
                  <a16:creationId xmlns:a16="http://schemas.microsoft.com/office/drawing/2014/main" id="{10EDFBA9-D843-3F07-E621-58D411EFB166}"/>
                </a:ext>
              </a:extLst>
            </p:cNvPr>
            <p:cNvSpPr/>
            <p:nvPr/>
          </p:nvSpPr>
          <p:spPr>
            <a:xfrm>
              <a:off x="2293132" y="2116436"/>
              <a:ext cx="14" cy="0"/>
            </a:xfrm>
            <a:custGeom>
              <a:avLst/>
              <a:gdLst/>
              <a:ahLst/>
              <a:cxnLst/>
              <a:rect l="l" t="t" r="r" b="b"/>
              <a:pathLst>
                <a:path w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7" name="Google Shape;7904;p64">
              <a:extLst>
                <a:ext uri="{FF2B5EF4-FFF2-40B4-BE49-F238E27FC236}">
                  <a16:creationId xmlns:a16="http://schemas.microsoft.com/office/drawing/2014/main" id="{0073EFD6-9D8E-85D7-ECF5-FB7E271DB3BE}"/>
                </a:ext>
              </a:extLst>
            </p:cNvPr>
            <p:cNvSpPr/>
            <p:nvPr/>
          </p:nvSpPr>
          <p:spPr>
            <a:xfrm>
              <a:off x="2291326" y="2116476"/>
              <a:ext cx="448" cy="14"/>
            </a:xfrm>
            <a:custGeom>
              <a:avLst/>
              <a:gdLst/>
              <a:ahLst/>
              <a:cxnLst/>
              <a:rect l="l" t="t" r="r" b="b"/>
              <a:pathLst>
                <a:path w="33" h="1" extrusionOk="0">
                  <a:moveTo>
                    <a:pt x="1" y="1"/>
                  </a:moveTo>
                  <a:lnTo>
                    <a:pt x="3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8" name="Google Shape;7905;p64">
              <a:extLst>
                <a:ext uri="{FF2B5EF4-FFF2-40B4-BE49-F238E27FC236}">
                  <a16:creationId xmlns:a16="http://schemas.microsoft.com/office/drawing/2014/main" id="{0DBB7D27-AA1B-FBC3-E3F7-A7363175FF44}"/>
                </a:ext>
              </a:extLst>
            </p:cNvPr>
            <p:cNvSpPr/>
            <p:nvPr/>
          </p:nvSpPr>
          <p:spPr>
            <a:xfrm>
              <a:off x="2550480" y="1720977"/>
              <a:ext cx="54867" cy="35763"/>
            </a:xfrm>
            <a:custGeom>
              <a:avLst/>
              <a:gdLst/>
              <a:ahLst/>
              <a:cxnLst/>
              <a:rect l="l" t="t" r="r" b="b"/>
              <a:pathLst>
                <a:path w="4041" h="2634" extrusionOk="0">
                  <a:moveTo>
                    <a:pt x="1609" y="0"/>
                  </a:moveTo>
                  <a:cubicBezTo>
                    <a:pt x="1562" y="0"/>
                    <a:pt x="1456" y="27"/>
                    <a:pt x="1355" y="104"/>
                  </a:cubicBezTo>
                  <a:cubicBezTo>
                    <a:pt x="1301" y="144"/>
                    <a:pt x="1237" y="154"/>
                    <a:pt x="1176" y="154"/>
                  </a:cubicBezTo>
                  <a:cubicBezTo>
                    <a:pt x="1147" y="154"/>
                    <a:pt x="1119" y="152"/>
                    <a:pt x="1092" y="150"/>
                  </a:cubicBezTo>
                  <a:cubicBezTo>
                    <a:pt x="1063" y="147"/>
                    <a:pt x="1040" y="146"/>
                    <a:pt x="1022" y="146"/>
                  </a:cubicBezTo>
                  <a:cubicBezTo>
                    <a:pt x="978" y="146"/>
                    <a:pt x="964" y="153"/>
                    <a:pt x="959" y="171"/>
                  </a:cubicBezTo>
                  <a:cubicBezTo>
                    <a:pt x="924" y="279"/>
                    <a:pt x="847" y="507"/>
                    <a:pt x="641" y="507"/>
                  </a:cubicBezTo>
                  <a:cubicBezTo>
                    <a:pt x="639" y="505"/>
                    <a:pt x="637" y="504"/>
                    <a:pt x="636" y="504"/>
                  </a:cubicBezTo>
                  <a:cubicBezTo>
                    <a:pt x="634" y="504"/>
                    <a:pt x="632" y="505"/>
                    <a:pt x="630" y="507"/>
                  </a:cubicBezTo>
                  <a:cubicBezTo>
                    <a:pt x="620" y="528"/>
                    <a:pt x="616" y="552"/>
                    <a:pt x="616" y="580"/>
                  </a:cubicBezTo>
                  <a:cubicBezTo>
                    <a:pt x="606" y="650"/>
                    <a:pt x="595" y="759"/>
                    <a:pt x="487" y="804"/>
                  </a:cubicBezTo>
                  <a:cubicBezTo>
                    <a:pt x="417" y="832"/>
                    <a:pt x="343" y="850"/>
                    <a:pt x="270" y="860"/>
                  </a:cubicBezTo>
                  <a:cubicBezTo>
                    <a:pt x="168" y="874"/>
                    <a:pt x="18" y="902"/>
                    <a:pt x="7" y="955"/>
                  </a:cubicBezTo>
                  <a:cubicBezTo>
                    <a:pt x="0" y="979"/>
                    <a:pt x="91" y="1042"/>
                    <a:pt x="137" y="1074"/>
                  </a:cubicBezTo>
                  <a:cubicBezTo>
                    <a:pt x="242" y="1147"/>
                    <a:pt x="371" y="1238"/>
                    <a:pt x="347" y="1371"/>
                  </a:cubicBezTo>
                  <a:cubicBezTo>
                    <a:pt x="336" y="1427"/>
                    <a:pt x="371" y="1497"/>
                    <a:pt x="399" y="1564"/>
                  </a:cubicBezTo>
                  <a:cubicBezTo>
                    <a:pt x="448" y="1665"/>
                    <a:pt x="511" y="1802"/>
                    <a:pt x="389" y="1896"/>
                  </a:cubicBezTo>
                  <a:lnTo>
                    <a:pt x="371" y="1910"/>
                  </a:lnTo>
                  <a:lnTo>
                    <a:pt x="364" y="1914"/>
                  </a:lnTo>
                  <a:lnTo>
                    <a:pt x="354" y="1924"/>
                  </a:lnTo>
                  <a:lnTo>
                    <a:pt x="347" y="1931"/>
                  </a:lnTo>
                  <a:lnTo>
                    <a:pt x="336" y="1942"/>
                  </a:lnTo>
                  <a:lnTo>
                    <a:pt x="329" y="1949"/>
                  </a:lnTo>
                  <a:lnTo>
                    <a:pt x="319" y="1963"/>
                  </a:lnTo>
                  <a:lnTo>
                    <a:pt x="312" y="1970"/>
                  </a:lnTo>
                  <a:lnTo>
                    <a:pt x="301" y="1984"/>
                  </a:lnTo>
                  <a:lnTo>
                    <a:pt x="294" y="1994"/>
                  </a:lnTo>
                  <a:lnTo>
                    <a:pt x="284" y="2005"/>
                  </a:lnTo>
                  <a:lnTo>
                    <a:pt x="277" y="2019"/>
                  </a:lnTo>
                  <a:lnTo>
                    <a:pt x="266" y="2033"/>
                  </a:lnTo>
                  <a:lnTo>
                    <a:pt x="259" y="2043"/>
                  </a:lnTo>
                  <a:lnTo>
                    <a:pt x="252" y="2061"/>
                  </a:lnTo>
                  <a:lnTo>
                    <a:pt x="245" y="2075"/>
                  </a:lnTo>
                  <a:lnTo>
                    <a:pt x="238" y="2089"/>
                  </a:lnTo>
                  <a:lnTo>
                    <a:pt x="231" y="2106"/>
                  </a:lnTo>
                  <a:lnTo>
                    <a:pt x="224" y="2124"/>
                  </a:lnTo>
                  <a:lnTo>
                    <a:pt x="217" y="2141"/>
                  </a:lnTo>
                  <a:cubicBezTo>
                    <a:pt x="217" y="2148"/>
                    <a:pt x="214" y="2156"/>
                    <a:pt x="214" y="2159"/>
                  </a:cubicBezTo>
                  <a:cubicBezTo>
                    <a:pt x="210" y="2166"/>
                    <a:pt x="210" y="2173"/>
                    <a:pt x="207" y="2180"/>
                  </a:cubicBezTo>
                  <a:cubicBezTo>
                    <a:pt x="207" y="2187"/>
                    <a:pt x="203" y="2194"/>
                    <a:pt x="203" y="2201"/>
                  </a:cubicBezTo>
                  <a:cubicBezTo>
                    <a:pt x="200" y="2208"/>
                    <a:pt x="200" y="2215"/>
                    <a:pt x="200" y="2222"/>
                  </a:cubicBezTo>
                  <a:cubicBezTo>
                    <a:pt x="196" y="2229"/>
                    <a:pt x="196" y="2236"/>
                    <a:pt x="196" y="2243"/>
                  </a:cubicBezTo>
                  <a:cubicBezTo>
                    <a:pt x="193" y="2250"/>
                    <a:pt x="196" y="2257"/>
                    <a:pt x="193" y="2268"/>
                  </a:cubicBezTo>
                  <a:cubicBezTo>
                    <a:pt x="189" y="2275"/>
                    <a:pt x="193" y="2282"/>
                    <a:pt x="189" y="2292"/>
                  </a:cubicBezTo>
                  <a:cubicBezTo>
                    <a:pt x="186" y="2299"/>
                    <a:pt x="189" y="2306"/>
                    <a:pt x="189" y="2313"/>
                  </a:cubicBezTo>
                  <a:lnTo>
                    <a:pt x="189" y="2341"/>
                  </a:lnTo>
                  <a:lnTo>
                    <a:pt x="189" y="2366"/>
                  </a:lnTo>
                  <a:lnTo>
                    <a:pt x="189" y="2380"/>
                  </a:lnTo>
                  <a:lnTo>
                    <a:pt x="210" y="2390"/>
                  </a:lnTo>
                  <a:lnTo>
                    <a:pt x="217" y="2394"/>
                  </a:lnTo>
                  <a:lnTo>
                    <a:pt x="228" y="2401"/>
                  </a:lnTo>
                  <a:lnTo>
                    <a:pt x="238" y="2408"/>
                  </a:lnTo>
                  <a:lnTo>
                    <a:pt x="252" y="2415"/>
                  </a:lnTo>
                  <a:lnTo>
                    <a:pt x="266" y="2422"/>
                  </a:lnTo>
                  <a:lnTo>
                    <a:pt x="273" y="2425"/>
                  </a:lnTo>
                  <a:lnTo>
                    <a:pt x="280" y="2425"/>
                  </a:lnTo>
                  <a:lnTo>
                    <a:pt x="291" y="2429"/>
                  </a:lnTo>
                  <a:lnTo>
                    <a:pt x="308" y="2429"/>
                  </a:lnTo>
                  <a:cubicBezTo>
                    <a:pt x="312" y="2429"/>
                    <a:pt x="319" y="2418"/>
                    <a:pt x="319" y="2411"/>
                  </a:cubicBezTo>
                  <a:cubicBezTo>
                    <a:pt x="368" y="2317"/>
                    <a:pt x="476" y="2296"/>
                    <a:pt x="592" y="2292"/>
                  </a:cubicBezTo>
                  <a:lnTo>
                    <a:pt x="707" y="2292"/>
                  </a:lnTo>
                  <a:cubicBezTo>
                    <a:pt x="722" y="2293"/>
                    <a:pt x="737" y="2293"/>
                    <a:pt x="752" y="2293"/>
                  </a:cubicBezTo>
                  <a:cubicBezTo>
                    <a:pt x="793" y="2293"/>
                    <a:pt x="834" y="2290"/>
                    <a:pt x="875" y="2285"/>
                  </a:cubicBezTo>
                  <a:cubicBezTo>
                    <a:pt x="882" y="2159"/>
                    <a:pt x="1036" y="2127"/>
                    <a:pt x="1187" y="2096"/>
                  </a:cubicBezTo>
                  <a:cubicBezTo>
                    <a:pt x="1254" y="2082"/>
                    <a:pt x="1380" y="2057"/>
                    <a:pt x="1394" y="2029"/>
                  </a:cubicBezTo>
                  <a:cubicBezTo>
                    <a:pt x="1394" y="1910"/>
                    <a:pt x="1520" y="1742"/>
                    <a:pt x="1635" y="1634"/>
                  </a:cubicBezTo>
                  <a:lnTo>
                    <a:pt x="1660" y="1613"/>
                  </a:lnTo>
                  <a:lnTo>
                    <a:pt x="1688" y="1592"/>
                  </a:lnTo>
                  <a:lnTo>
                    <a:pt x="1695" y="1588"/>
                  </a:lnTo>
                  <a:lnTo>
                    <a:pt x="1723" y="1567"/>
                  </a:lnTo>
                  <a:lnTo>
                    <a:pt x="1730" y="1564"/>
                  </a:lnTo>
                  <a:lnTo>
                    <a:pt x="1761" y="1543"/>
                  </a:lnTo>
                  <a:lnTo>
                    <a:pt x="1768" y="1539"/>
                  </a:lnTo>
                  <a:cubicBezTo>
                    <a:pt x="1779" y="1536"/>
                    <a:pt x="1789" y="1529"/>
                    <a:pt x="1803" y="1522"/>
                  </a:cubicBezTo>
                  <a:lnTo>
                    <a:pt x="1810" y="1522"/>
                  </a:lnTo>
                  <a:cubicBezTo>
                    <a:pt x="1821" y="1515"/>
                    <a:pt x="1835" y="1511"/>
                    <a:pt x="1845" y="1508"/>
                  </a:cubicBezTo>
                  <a:lnTo>
                    <a:pt x="1852" y="1508"/>
                  </a:lnTo>
                  <a:cubicBezTo>
                    <a:pt x="1863" y="1501"/>
                    <a:pt x="1877" y="1497"/>
                    <a:pt x="1891" y="1497"/>
                  </a:cubicBezTo>
                  <a:lnTo>
                    <a:pt x="1894" y="1497"/>
                  </a:lnTo>
                  <a:cubicBezTo>
                    <a:pt x="1908" y="1494"/>
                    <a:pt x="1922" y="1494"/>
                    <a:pt x="1936" y="1494"/>
                  </a:cubicBezTo>
                  <a:lnTo>
                    <a:pt x="1961" y="1494"/>
                  </a:lnTo>
                  <a:cubicBezTo>
                    <a:pt x="2111" y="1511"/>
                    <a:pt x="2111" y="1648"/>
                    <a:pt x="2111" y="1739"/>
                  </a:cubicBezTo>
                  <a:cubicBezTo>
                    <a:pt x="2111" y="1847"/>
                    <a:pt x="2115" y="1914"/>
                    <a:pt x="2199" y="1952"/>
                  </a:cubicBezTo>
                  <a:cubicBezTo>
                    <a:pt x="2381" y="2036"/>
                    <a:pt x="2318" y="2236"/>
                    <a:pt x="2272" y="2380"/>
                  </a:cubicBezTo>
                  <a:cubicBezTo>
                    <a:pt x="2241" y="2474"/>
                    <a:pt x="2209" y="2576"/>
                    <a:pt x="2241" y="2618"/>
                  </a:cubicBezTo>
                  <a:cubicBezTo>
                    <a:pt x="2251" y="2628"/>
                    <a:pt x="2270" y="2634"/>
                    <a:pt x="2296" y="2634"/>
                  </a:cubicBezTo>
                  <a:cubicBezTo>
                    <a:pt x="2329" y="2634"/>
                    <a:pt x="2376" y="2625"/>
                    <a:pt x="2437" y="2607"/>
                  </a:cubicBezTo>
                  <a:lnTo>
                    <a:pt x="2454" y="2604"/>
                  </a:lnTo>
                  <a:cubicBezTo>
                    <a:pt x="2500" y="2586"/>
                    <a:pt x="2552" y="2572"/>
                    <a:pt x="2605" y="2551"/>
                  </a:cubicBezTo>
                  <a:lnTo>
                    <a:pt x="2706" y="2516"/>
                  </a:lnTo>
                  <a:lnTo>
                    <a:pt x="2731" y="2495"/>
                  </a:lnTo>
                  <a:cubicBezTo>
                    <a:pt x="2787" y="2446"/>
                    <a:pt x="2836" y="2404"/>
                    <a:pt x="2885" y="2362"/>
                  </a:cubicBezTo>
                  <a:lnTo>
                    <a:pt x="2892" y="2355"/>
                  </a:lnTo>
                  <a:lnTo>
                    <a:pt x="2927" y="2327"/>
                  </a:lnTo>
                  <a:lnTo>
                    <a:pt x="2941" y="2313"/>
                  </a:lnTo>
                  <a:lnTo>
                    <a:pt x="2986" y="2282"/>
                  </a:lnTo>
                  <a:lnTo>
                    <a:pt x="2990" y="2278"/>
                  </a:lnTo>
                  <a:cubicBezTo>
                    <a:pt x="3124" y="2171"/>
                    <a:pt x="3227" y="2109"/>
                    <a:pt x="3305" y="2109"/>
                  </a:cubicBezTo>
                  <a:cubicBezTo>
                    <a:pt x="3330" y="2109"/>
                    <a:pt x="3352" y="2115"/>
                    <a:pt x="3372" y="2127"/>
                  </a:cubicBezTo>
                  <a:lnTo>
                    <a:pt x="3396" y="2141"/>
                  </a:lnTo>
                  <a:cubicBezTo>
                    <a:pt x="3431" y="2163"/>
                    <a:pt x="3459" y="2194"/>
                    <a:pt x="3484" y="2229"/>
                  </a:cubicBezTo>
                  <a:lnTo>
                    <a:pt x="3494" y="2240"/>
                  </a:lnTo>
                  <a:cubicBezTo>
                    <a:pt x="3510" y="2266"/>
                    <a:pt x="3514" y="2273"/>
                    <a:pt x="3527" y="2273"/>
                  </a:cubicBezTo>
                  <a:cubicBezTo>
                    <a:pt x="3531" y="2273"/>
                    <a:pt x="3536" y="2272"/>
                    <a:pt x="3543" y="2271"/>
                  </a:cubicBezTo>
                  <a:cubicBezTo>
                    <a:pt x="3554" y="2271"/>
                    <a:pt x="3568" y="2268"/>
                    <a:pt x="3582" y="2268"/>
                  </a:cubicBezTo>
                  <a:lnTo>
                    <a:pt x="3638" y="2268"/>
                  </a:lnTo>
                  <a:lnTo>
                    <a:pt x="3676" y="2275"/>
                  </a:lnTo>
                  <a:lnTo>
                    <a:pt x="3690" y="2275"/>
                  </a:lnTo>
                  <a:lnTo>
                    <a:pt x="3715" y="2282"/>
                  </a:lnTo>
                  <a:cubicBezTo>
                    <a:pt x="3750" y="2289"/>
                    <a:pt x="3785" y="2299"/>
                    <a:pt x="3820" y="2313"/>
                  </a:cubicBezTo>
                  <a:lnTo>
                    <a:pt x="3841" y="2320"/>
                  </a:lnTo>
                  <a:cubicBezTo>
                    <a:pt x="3855" y="2327"/>
                    <a:pt x="3865" y="2334"/>
                    <a:pt x="3876" y="2338"/>
                  </a:cubicBezTo>
                  <a:lnTo>
                    <a:pt x="3946" y="2369"/>
                  </a:lnTo>
                  <a:lnTo>
                    <a:pt x="4040" y="2362"/>
                  </a:lnTo>
                  <a:lnTo>
                    <a:pt x="4023" y="2226"/>
                  </a:lnTo>
                  <a:lnTo>
                    <a:pt x="4023" y="2212"/>
                  </a:lnTo>
                  <a:lnTo>
                    <a:pt x="4019" y="2194"/>
                  </a:lnTo>
                  <a:lnTo>
                    <a:pt x="4016" y="2166"/>
                  </a:lnTo>
                  <a:lnTo>
                    <a:pt x="4016" y="2152"/>
                  </a:lnTo>
                  <a:lnTo>
                    <a:pt x="4009" y="2120"/>
                  </a:lnTo>
                  <a:cubicBezTo>
                    <a:pt x="3984" y="1959"/>
                    <a:pt x="3960" y="1781"/>
                    <a:pt x="3949" y="1693"/>
                  </a:cubicBezTo>
                  <a:cubicBezTo>
                    <a:pt x="3946" y="1690"/>
                    <a:pt x="3946" y="1683"/>
                    <a:pt x="3942" y="1679"/>
                  </a:cubicBezTo>
                  <a:cubicBezTo>
                    <a:pt x="3907" y="1599"/>
                    <a:pt x="3669" y="1476"/>
                    <a:pt x="3452" y="1403"/>
                  </a:cubicBezTo>
                  <a:lnTo>
                    <a:pt x="3417" y="1389"/>
                  </a:lnTo>
                  <a:lnTo>
                    <a:pt x="3333" y="941"/>
                  </a:lnTo>
                  <a:cubicBezTo>
                    <a:pt x="3231" y="955"/>
                    <a:pt x="3028" y="979"/>
                    <a:pt x="2864" y="986"/>
                  </a:cubicBezTo>
                  <a:lnTo>
                    <a:pt x="2706" y="986"/>
                  </a:lnTo>
                  <a:lnTo>
                    <a:pt x="2685" y="983"/>
                  </a:lnTo>
                  <a:lnTo>
                    <a:pt x="2675" y="983"/>
                  </a:lnTo>
                  <a:cubicBezTo>
                    <a:pt x="2664" y="979"/>
                    <a:pt x="2657" y="976"/>
                    <a:pt x="2650" y="976"/>
                  </a:cubicBezTo>
                  <a:cubicBezTo>
                    <a:pt x="2643" y="972"/>
                    <a:pt x="2633" y="969"/>
                    <a:pt x="2626" y="969"/>
                  </a:cubicBezTo>
                  <a:lnTo>
                    <a:pt x="2521" y="969"/>
                  </a:lnTo>
                  <a:cubicBezTo>
                    <a:pt x="2490" y="972"/>
                    <a:pt x="2456" y="975"/>
                    <a:pt x="2421" y="975"/>
                  </a:cubicBezTo>
                  <a:cubicBezTo>
                    <a:pt x="2330" y="975"/>
                    <a:pt x="2233" y="955"/>
                    <a:pt x="2167" y="864"/>
                  </a:cubicBezTo>
                  <a:cubicBezTo>
                    <a:pt x="2157" y="848"/>
                    <a:pt x="2146" y="840"/>
                    <a:pt x="2126" y="840"/>
                  </a:cubicBezTo>
                  <a:cubicBezTo>
                    <a:pt x="2106" y="840"/>
                    <a:pt x="2076" y="849"/>
                    <a:pt x="2027" y="867"/>
                  </a:cubicBezTo>
                  <a:cubicBezTo>
                    <a:pt x="1974" y="885"/>
                    <a:pt x="1912" y="906"/>
                    <a:pt x="1846" y="906"/>
                  </a:cubicBezTo>
                  <a:cubicBezTo>
                    <a:pt x="1795" y="906"/>
                    <a:pt x="1741" y="893"/>
                    <a:pt x="1688" y="857"/>
                  </a:cubicBezTo>
                  <a:cubicBezTo>
                    <a:pt x="1642" y="827"/>
                    <a:pt x="1563" y="818"/>
                    <a:pt x="1476" y="818"/>
                  </a:cubicBezTo>
                  <a:cubicBezTo>
                    <a:pt x="1397" y="818"/>
                    <a:pt x="1313" y="826"/>
                    <a:pt x="1240" y="832"/>
                  </a:cubicBezTo>
                  <a:cubicBezTo>
                    <a:pt x="1173" y="837"/>
                    <a:pt x="1113" y="842"/>
                    <a:pt x="1062" y="842"/>
                  </a:cubicBezTo>
                  <a:cubicBezTo>
                    <a:pt x="962" y="842"/>
                    <a:pt x="896" y="823"/>
                    <a:pt x="882" y="752"/>
                  </a:cubicBezTo>
                  <a:cubicBezTo>
                    <a:pt x="865" y="664"/>
                    <a:pt x="938" y="573"/>
                    <a:pt x="984" y="524"/>
                  </a:cubicBezTo>
                  <a:cubicBezTo>
                    <a:pt x="1071" y="434"/>
                    <a:pt x="1202" y="347"/>
                    <a:pt x="1315" y="347"/>
                  </a:cubicBezTo>
                  <a:cubicBezTo>
                    <a:pt x="1325" y="347"/>
                    <a:pt x="1335" y="348"/>
                    <a:pt x="1345" y="349"/>
                  </a:cubicBezTo>
                  <a:cubicBezTo>
                    <a:pt x="1383" y="356"/>
                    <a:pt x="1425" y="356"/>
                    <a:pt x="1467" y="356"/>
                  </a:cubicBezTo>
                  <a:lnTo>
                    <a:pt x="1471" y="349"/>
                  </a:lnTo>
                  <a:lnTo>
                    <a:pt x="1481" y="328"/>
                  </a:lnTo>
                  <a:lnTo>
                    <a:pt x="1492" y="311"/>
                  </a:lnTo>
                  <a:lnTo>
                    <a:pt x="1502" y="293"/>
                  </a:lnTo>
                  <a:lnTo>
                    <a:pt x="1513" y="272"/>
                  </a:lnTo>
                  <a:lnTo>
                    <a:pt x="1523" y="258"/>
                  </a:lnTo>
                  <a:lnTo>
                    <a:pt x="1534" y="241"/>
                  </a:lnTo>
                  <a:lnTo>
                    <a:pt x="1541" y="223"/>
                  </a:lnTo>
                  <a:lnTo>
                    <a:pt x="1551" y="209"/>
                  </a:lnTo>
                  <a:lnTo>
                    <a:pt x="1558" y="195"/>
                  </a:lnTo>
                  <a:lnTo>
                    <a:pt x="1565" y="178"/>
                  </a:lnTo>
                  <a:lnTo>
                    <a:pt x="1572" y="167"/>
                  </a:lnTo>
                  <a:lnTo>
                    <a:pt x="1579" y="150"/>
                  </a:lnTo>
                  <a:lnTo>
                    <a:pt x="1586" y="139"/>
                  </a:lnTo>
                  <a:lnTo>
                    <a:pt x="1593" y="125"/>
                  </a:lnTo>
                  <a:lnTo>
                    <a:pt x="1597" y="118"/>
                  </a:lnTo>
                  <a:lnTo>
                    <a:pt x="1604" y="104"/>
                  </a:lnTo>
                  <a:lnTo>
                    <a:pt x="1607" y="97"/>
                  </a:lnTo>
                  <a:lnTo>
                    <a:pt x="1611" y="83"/>
                  </a:lnTo>
                  <a:lnTo>
                    <a:pt x="1614" y="76"/>
                  </a:lnTo>
                  <a:lnTo>
                    <a:pt x="1618" y="65"/>
                  </a:lnTo>
                  <a:lnTo>
                    <a:pt x="1621" y="58"/>
                  </a:lnTo>
                  <a:lnTo>
                    <a:pt x="1625" y="51"/>
                  </a:lnTo>
                  <a:lnTo>
                    <a:pt x="1625" y="44"/>
                  </a:lnTo>
                  <a:lnTo>
                    <a:pt x="1628" y="37"/>
                  </a:lnTo>
                  <a:lnTo>
                    <a:pt x="1628" y="30"/>
                  </a:lnTo>
                  <a:lnTo>
                    <a:pt x="1628" y="23"/>
                  </a:lnTo>
                  <a:lnTo>
                    <a:pt x="1628" y="20"/>
                  </a:lnTo>
                  <a:lnTo>
                    <a:pt x="1628" y="13"/>
                  </a:lnTo>
                  <a:lnTo>
                    <a:pt x="1628" y="2"/>
                  </a:lnTo>
                  <a:cubicBezTo>
                    <a:pt x="1624" y="1"/>
                    <a:pt x="1617" y="0"/>
                    <a:pt x="160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9" name="Google Shape;7906;p64">
              <a:extLst>
                <a:ext uri="{FF2B5EF4-FFF2-40B4-BE49-F238E27FC236}">
                  <a16:creationId xmlns:a16="http://schemas.microsoft.com/office/drawing/2014/main" id="{85F1D5B1-E742-AB77-836F-503FE4801CBD}"/>
                </a:ext>
              </a:extLst>
            </p:cNvPr>
            <p:cNvSpPr/>
            <p:nvPr/>
          </p:nvSpPr>
          <p:spPr>
            <a:xfrm>
              <a:off x="258574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0" name="Google Shape;7907;p64">
              <a:extLst>
                <a:ext uri="{FF2B5EF4-FFF2-40B4-BE49-F238E27FC236}">
                  <a16:creationId xmlns:a16="http://schemas.microsoft.com/office/drawing/2014/main" id="{44BBA027-6F95-5C68-BB6F-D9C6984A992E}"/>
                </a:ext>
              </a:extLst>
            </p:cNvPr>
            <p:cNvSpPr/>
            <p:nvPr/>
          </p:nvSpPr>
          <p:spPr>
            <a:xfrm>
              <a:off x="2587696" y="173436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0" y="0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1" name="Google Shape;7908;p64">
              <a:extLst>
                <a:ext uri="{FF2B5EF4-FFF2-40B4-BE49-F238E27FC236}">
                  <a16:creationId xmlns:a16="http://schemas.microsoft.com/office/drawing/2014/main" id="{C4098297-F446-507B-1B72-6713385CEB19}"/>
                </a:ext>
              </a:extLst>
            </p:cNvPr>
            <p:cNvSpPr/>
            <p:nvPr/>
          </p:nvSpPr>
          <p:spPr>
            <a:xfrm>
              <a:off x="2588782" y="1734365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" y="0"/>
                  </a:moveTo>
                  <a:lnTo>
                    <a:pt x="3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2" name="Google Shape;7909;p64">
              <a:extLst>
                <a:ext uri="{FF2B5EF4-FFF2-40B4-BE49-F238E27FC236}">
                  <a16:creationId xmlns:a16="http://schemas.microsoft.com/office/drawing/2014/main" id="{E6953E47-E107-58AE-2B7E-BBBB3BCFDFA8}"/>
                </a:ext>
              </a:extLst>
            </p:cNvPr>
            <p:cNvSpPr/>
            <p:nvPr/>
          </p:nvSpPr>
          <p:spPr>
            <a:xfrm>
              <a:off x="2587221" y="173436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0" y="0"/>
                  </a:moveTo>
                  <a:lnTo>
                    <a:pt x="1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3" name="Google Shape;7910;p64">
              <a:extLst>
                <a:ext uri="{FF2B5EF4-FFF2-40B4-BE49-F238E27FC236}">
                  <a16:creationId xmlns:a16="http://schemas.microsoft.com/office/drawing/2014/main" id="{52A69543-380A-BE45-20B6-D4DD8C35C525}"/>
                </a:ext>
              </a:extLst>
            </p:cNvPr>
            <p:cNvSpPr/>
            <p:nvPr/>
          </p:nvSpPr>
          <p:spPr>
            <a:xfrm>
              <a:off x="2586786" y="1734270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4" name="Google Shape;7911;p64">
              <a:extLst>
                <a:ext uri="{FF2B5EF4-FFF2-40B4-BE49-F238E27FC236}">
                  <a16:creationId xmlns:a16="http://schemas.microsoft.com/office/drawing/2014/main" id="{C1AFD7FC-A2D9-FB96-72ED-9C5D277EEC38}"/>
                </a:ext>
              </a:extLst>
            </p:cNvPr>
            <p:cNvSpPr/>
            <p:nvPr/>
          </p:nvSpPr>
          <p:spPr>
            <a:xfrm>
              <a:off x="2588646" y="173436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5" name="Google Shape;7912;p64">
              <a:extLst>
                <a:ext uri="{FF2B5EF4-FFF2-40B4-BE49-F238E27FC236}">
                  <a16:creationId xmlns:a16="http://schemas.microsoft.com/office/drawing/2014/main" id="{12CF73DB-E0DA-3906-9721-B27978793853}"/>
                </a:ext>
              </a:extLst>
            </p:cNvPr>
            <p:cNvSpPr/>
            <p:nvPr/>
          </p:nvSpPr>
          <p:spPr>
            <a:xfrm>
              <a:off x="2589352" y="1733740"/>
              <a:ext cx="6381" cy="638"/>
            </a:xfrm>
            <a:custGeom>
              <a:avLst/>
              <a:gdLst/>
              <a:ahLst/>
              <a:cxnLst/>
              <a:rect l="l" t="t" r="r" b="b"/>
              <a:pathLst>
                <a:path w="470" h="47" extrusionOk="0">
                  <a:moveTo>
                    <a:pt x="470" y="1"/>
                  </a:moveTo>
                  <a:cubicBezTo>
                    <a:pt x="386" y="12"/>
                    <a:pt x="231" y="31"/>
                    <a:pt x="89" y="41"/>
                  </a:cubicBezTo>
                  <a:lnTo>
                    <a:pt x="89" y="41"/>
                  </a:lnTo>
                  <a:cubicBezTo>
                    <a:pt x="224" y="32"/>
                    <a:pt x="373" y="15"/>
                    <a:pt x="470" y="1"/>
                  </a:cubicBezTo>
                  <a:close/>
                  <a:moveTo>
                    <a:pt x="89" y="41"/>
                  </a:moveTo>
                  <a:cubicBezTo>
                    <a:pt x="59" y="43"/>
                    <a:pt x="29" y="45"/>
                    <a:pt x="1" y="46"/>
                  </a:cubicBezTo>
                  <a:cubicBezTo>
                    <a:pt x="29" y="45"/>
                    <a:pt x="59" y="43"/>
                    <a:pt x="89" y="4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6" name="Google Shape;7913;p64">
              <a:extLst>
                <a:ext uri="{FF2B5EF4-FFF2-40B4-BE49-F238E27FC236}">
                  <a16:creationId xmlns:a16="http://schemas.microsoft.com/office/drawing/2014/main" id="{C92F8B86-F124-BB08-0609-54F6425FFA9F}"/>
                </a:ext>
              </a:extLst>
            </p:cNvPr>
            <p:cNvSpPr/>
            <p:nvPr/>
          </p:nvSpPr>
          <p:spPr>
            <a:xfrm>
              <a:off x="2586121" y="17340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7" name="Google Shape;7914;p64">
              <a:extLst>
                <a:ext uri="{FF2B5EF4-FFF2-40B4-BE49-F238E27FC236}">
                  <a16:creationId xmlns:a16="http://schemas.microsoft.com/office/drawing/2014/main" id="{CDB48815-F5E1-8E4E-AE93-56B4695B182E}"/>
                </a:ext>
              </a:extLst>
            </p:cNvPr>
            <p:cNvSpPr/>
            <p:nvPr/>
          </p:nvSpPr>
          <p:spPr>
            <a:xfrm>
              <a:off x="2585075" y="1734080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0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8" name="Google Shape;7915;p64">
              <a:extLst>
                <a:ext uri="{FF2B5EF4-FFF2-40B4-BE49-F238E27FC236}">
                  <a16:creationId xmlns:a16="http://schemas.microsoft.com/office/drawing/2014/main" id="{E03236AE-2121-AB5E-D107-7AF370510C6E}"/>
                </a:ext>
              </a:extLst>
            </p:cNvPr>
            <p:cNvSpPr/>
            <p:nvPr/>
          </p:nvSpPr>
          <p:spPr>
            <a:xfrm>
              <a:off x="2553752" y="174913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9" name="Google Shape;7916;p64">
              <a:extLst>
                <a:ext uri="{FF2B5EF4-FFF2-40B4-BE49-F238E27FC236}">
                  <a16:creationId xmlns:a16="http://schemas.microsoft.com/office/drawing/2014/main" id="{8BC104D8-E067-98E2-19BC-46A7BFA5819D}"/>
                </a:ext>
              </a:extLst>
            </p:cNvPr>
            <p:cNvSpPr/>
            <p:nvPr/>
          </p:nvSpPr>
          <p:spPr>
            <a:xfrm>
              <a:off x="2553997" y="174871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0" name="Google Shape;7917;p64">
              <a:extLst>
                <a:ext uri="{FF2B5EF4-FFF2-40B4-BE49-F238E27FC236}">
                  <a16:creationId xmlns:a16="http://schemas.microsoft.com/office/drawing/2014/main" id="{79AD2F76-5F7A-A3FA-3A4A-BF0DFAC112D7}"/>
                </a:ext>
              </a:extLst>
            </p:cNvPr>
            <p:cNvSpPr/>
            <p:nvPr/>
          </p:nvSpPr>
          <p:spPr>
            <a:xfrm>
              <a:off x="2555612" y="1746720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18" y="0"/>
                  </a:moveTo>
                  <a:lnTo>
                    <a:pt x="0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1" name="Google Shape;7918;p64">
              <a:extLst>
                <a:ext uri="{FF2B5EF4-FFF2-40B4-BE49-F238E27FC236}">
                  <a16:creationId xmlns:a16="http://schemas.microsoft.com/office/drawing/2014/main" id="{B205790A-71BB-29A9-F913-BA33D1B669A5}"/>
                </a:ext>
              </a:extLst>
            </p:cNvPr>
            <p:cNvSpPr/>
            <p:nvPr/>
          </p:nvSpPr>
          <p:spPr>
            <a:xfrm>
              <a:off x="2554893" y="1747426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2" name="Google Shape;7919;p64">
              <a:extLst>
                <a:ext uri="{FF2B5EF4-FFF2-40B4-BE49-F238E27FC236}">
                  <a16:creationId xmlns:a16="http://schemas.microsoft.com/office/drawing/2014/main" id="{341AC676-2212-6B50-2109-7408C5B7A19A}"/>
                </a:ext>
              </a:extLst>
            </p:cNvPr>
            <p:cNvSpPr/>
            <p:nvPr/>
          </p:nvSpPr>
          <p:spPr>
            <a:xfrm>
              <a:off x="2554187" y="1748377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3" name="Google Shape;7920;p64">
              <a:extLst>
                <a:ext uri="{FF2B5EF4-FFF2-40B4-BE49-F238E27FC236}">
                  <a16:creationId xmlns:a16="http://schemas.microsoft.com/office/drawing/2014/main" id="{AE682C41-8D51-C527-C0A7-08DDA6618D9C}"/>
                </a:ext>
              </a:extLst>
            </p:cNvPr>
            <p:cNvSpPr/>
            <p:nvPr/>
          </p:nvSpPr>
          <p:spPr>
            <a:xfrm>
              <a:off x="2555368" y="1746951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4" name="Google Shape;7921;p64">
              <a:extLst>
                <a:ext uri="{FF2B5EF4-FFF2-40B4-BE49-F238E27FC236}">
                  <a16:creationId xmlns:a16="http://schemas.microsoft.com/office/drawing/2014/main" id="{7CCA34BC-2302-A24F-C7B0-D3AB778D1F08}"/>
                </a:ext>
              </a:extLst>
            </p:cNvPr>
            <p:cNvSpPr/>
            <p:nvPr/>
          </p:nvSpPr>
          <p:spPr>
            <a:xfrm>
              <a:off x="2554417" y="1747997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"/>
                  </a:moveTo>
                  <a:lnTo>
                    <a:pt x="1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5" name="Google Shape;7922;p64">
              <a:extLst>
                <a:ext uri="{FF2B5EF4-FFF2-40B4-BE49-F238E27FC236}">
                  <a16:creationId xmlns:a16="http://schemas.microsoft.com/office/drawing/2014/main" id="{3C48BBA3-6887-DBAC-1123-AFAB97B04B9B}"/>
                </a:ext>
              </a:extLst>
            </p:cNvPr>
            <p:cNvSpPr/>
            <p:nvPr/>
          </p:nvSpPr>
          <p:spPr>
            <a:xfrm>
              <a:off x="2553616" y="1749572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0"/>
                  </a:moveTo>
                  <a:lnTo>
                    <a:pt x="0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6" name="Google Shape;7923;p64">
              <a:extLst>
                <a:ext uri="{FF2B5EF4-FFF2-40B4-BE49-F238E27FC236}">
                  <a16:creationId xmlns:a16="http://schemas.microsoft.com/office/drawing/2014/main" id="{D2D034A7-2EF9-E45D-9909-BC03820105D1}"/>
                </a:ext>
              </a:extLst>
            </p:cNvPr>
            <p:cNvSpPr/>
            <p:nvPr/>
          </p:nvSpPr>
          <p:spPr>
            <a:xfrm>
              <a:off x="2553141" y="1752423"/>
              <a:ext cx="14" cy="353"/>
            </a:xfrm>
            <a:custGeom>
              <a:avLst/>
              <a:gdLst/>
              <a:ahLst/>
              <a:cxnLst/>
              <a:rect l="l" t="t" r="r" b="b"/>
              <a:pathLst>
                <a:path w="1" h="26" extrusionOk="0">
                  <a:moveTo>
                    <a:pt x="0" y="1"/>
                  </a:moveTo>
                  <a:lnTo>
                    <a:pt x="0" y="25"/>
                  </a:lnTo>
                  <a:cubicBezTo>
                    <a:pt x="0" y="18"/>
                    <a:pt x="0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7" name="Google Shape;7924;p64">
              <a:extLst>
                <a:ext uri="{FF2B5EF4-FFF2-40B4-BE49-F238E27FC236}">
                  <a16:creationId xmlns:a16="http://schemas.microsoft.com/office/drawing/2014/main" id="{2B908BE6-E317-84ED-7828-50307B110FCE}"/>
                </a:ext>
              </a:extLst>
            </p:cNvPr>
            <p:cNvSpPr/>
            <p:nvPr/>
          </p:nvSpPr>
          <p:spPr>
            <a:xfrm>
              <a:off x="2572679" y="1720950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0" y="11"/>
                  </a:moveTo>
                  <a:lnTo>
                    <a:pt x="0" y="4"/>
                  </a:lnTo>
                  <a:cubicBezTo>
                    <a:pt x="0" y="1"/>
                    <a:pt x="0" y="8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8" name="Google Shape;7925;p64">
              <a:extLst>
                <a:ext uri="{FF2B5EF4-FFF2-40B4-BE49-F238E27FC236}">
                  <a16:creationId xmlns:a16="http://schemas.microsoft.com/office/drawing/2014/main" id="{BC6B9EC5-F5AC-BDF4-4D04-F446E5C1900C}"/>
                </a:ext>
              </a:extLst>
            </p:cNvPr>
            <p:cNvSpPr/>
            <p:nvPr/>
          </p:nvSpPr>
          <p:spPr>
            <a:xfrm>
              <a:off x="2553087" y="1753143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9" name="Google Shape;7926;p64">
              <a:extLst>
                <a:ext uri="{FF2B5EF4-FFF2-40B4-BE49-F238E27FC236}">
                  <a16:creationId xmlns:a16="http://schemas.microsoft.com/office/drawing/2014/main" id="{091E8AB0-5EB3-D9DF-DE94-D110DFD8AA11}"/>
                </a:ext>
              </a:extLst>
            </p:cNvPr>
            <p:cNvSpPr/>
            <p:nvPr/>
          </p:nvSpPr>
          <p:spPr>
            <a:xfrm>
              <a:off x="2553141" y="1751758"/>
              <a:ext cx="54" cy="353"/>
            </a:xfrm>
            <a:custGeom>
              <a:avLst/>
              <a:gdLst/>
              <a:ahLst/>
              <a:cxnLst/>
              <a:rect l="l" t="t" r="r" b="b"/>
              <a:pathLst>
                <a:path w="4" h="26" extrusionOk="0">
                  <a:moveTo>
                    <a:pt x="4" y="1"/>
                  </a:moveTo>
                  <a:cubicBezTo>
                    <a:pt x="4" y="8"/>
                    <a:pt x="0" y="15"/>
                    <a:pt x="0" y="25"/>
                  </a:cubicBezTo>
                  <a:cubicBezTo>
                    <a:pt x="4" y="15"/>
                    <a:pt x="4" y="8"/>
                    <a:pt x="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0" name="Google Shape;7927;p64">
              <a:extLst>
                <a:ext uri="{FF2B5EF4-FFF2-40B4-BE49-F238E27FC236}">
                  <a16:creationId xmlns:a16="http://schemas.microsoft.com/office/drawing/2014/main" id="{A9463412-8B45-B027-8145-ECA2B929AE2F}"/>
                </a:ext>
              </a:extLst>
            </p:cNvPr>
            <p:cNvSpPr/>
            <p:nvPr/>
          </p:nvSpPr>
          <p:spPr>
            <a:xfrm>
              <a:off x="2555137" y="1747196"/>
              <a:ext cx="149" cy="149"/>
            </a:xfrm>
            <a:custGeom>
              <a:avLst/>
              <a:gdLst/>
              <a:ahLst/>
              <a:cxnLst/>
              <a:rect l="l" t="t" r="r" b="b"/>
              <a:pathLst>
                <a:path w="11" h="11" extrusionOk="0">
                  <a:moveTo>
                    <a:pt x="0" y="11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1" name="Google Shape;7928;p64">
              <a:extLst>
                <a:ext uri="{FF2B5EF4-FFF2-40B4-BE49-F238E27FC236}">
                  <a16:creationId xmlns:a16="http://schemas.microsoft.com/office/drawing/2014/main" id="{251BB0FE-A732-8BB3-7A05-A05B40B1D989}"/>
                </a:ext>
              </a:extLst>
            </p:cNvPr>
            <p:cNvSpPr/>
            <p:nvPr/>
          </p:nvSpPr>
          <p:spPr>
            <a:xfrm>
              <a:off x="2553467" y="1750047"/>
              <a:ext cx="68" cy="244"/>
            </a:xfrm>
            <a:custGeom>
              <a:avLst/>
              <a:gdLst/>
              <a:ahLst/>
              <a:cxnLst/>
              <a:rect l="l" t="t" r="r" b="b"/>
              <a:pathLst>
                <a:path w="5" h="18" extrusionOk="0">
                  <a:moveTo>
                    <a:pt x="4" y="0"/>
                  </a:moveTo>
                  <a:cubicBezTo>
                    <a:pt x="4" y="7"/>
                    <a:pt x="1" y="15"/>
                    <a:pt x="1" y="18"/>
                  </a:cubicBezTo>
                  <a:cubicBezTo>
                    <a:pt x="1" y="15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2" name="Google Shape;7929;p64">
              <a:extLst>
                <a:ext uri="{FF2B5EF4-FFF2-40B4-BE49-F238E27FC236}">
                  <a16:creationId xmlns:a16="http://schemas.microsoft.com/office/drawing/2014/main" id="{396C4369-E834-12C8-E7E9-BFC845F08531}"/>
                </a:ext>
              </a:extLst>
            </p:cNvPr>
            <p:cNvSpPr/>
            <p:nvPr/>
          </p:nvSpPr>
          <p:spPr>
            <a:xfrm>
              <a:off x="2553236" y="1751147"/>
              <a:ext cx="54" cy="299"/>
            </a:xfrm>
            <a:custGeom>
              <a:avLst/>
              <a:gdLst/>
              <a:ahLst/>
              <a:cxnLst/>
              <a:rect l="l" t="t" r="r" b="b"/>
              <a:pathLst>
                <a:path w="4" h="22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4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3" name="Google Shape;7930;p64">
              <a:extLst>
                <a:ext uri="{FF2B5EF4-FFF2-40B4-BE49-F238E27FC236}">
                  <a16:creationId xmlns:a16="http://schemas.microsoft.com/office/drawing/2014/main" id="{DC22E55F-2BB4-AA5B-F527-3A1625AB0995}"/>
                </a:ext>
              </a:extLst>
            </p:cNvPr>
            <p:cNvSpPr/>
            <p:nvPr/>
          </p:nvSpPr>
          <p:spPr>
            <a:xfrm>
              <a:off x="2553331" y="1750576"/>
              <a:ext cx="54" cy="285"/>
            </a:xfrm>
            <a:custGeom>
              <a:avLst/>
              <a:gdLst/>
              <a:ahLst/>
              <a:cxnLst/>
              <a:rect l="l" t="t" r="r" b="b"/>
              <a:pathLst>
                <a:path w="4" h="21" extrusionOk="0">
                  <a:moveTo>
                    <a:pt x="4" y="0"/>
                  </a:moveTo>
                  <a:cubicBezTo>
                    <a:pt x="4" y="7"/>
                    <a:pt x="0" y="14"/>
                    <a:pt x="0" y="21"/>
                  </a:cubicBezTo>
                  <a:cubicBezTo>
                    <a:pt x="0" y="14"/>
                    <a:pt x="4" y="7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4" name="Google Shape;7931;p64">
              <a:extLst>
                <a:ext uri="{FF2B5EF4-FFF2-40B4-BE49-F238E27FC236}">
                  <a16:creationId xmlns:a16="http://schemas.microsoft.com/office/drawing/2014/main" id="{A16E09FE-45CD-7B3B-8609-86E5443FE516}"/>
                </a:ext>
              </a:extLst>
            </p:cNvPr>
            <p:cNvSpPr/>
            <p:nvPr/>
          </p:nvSpPr>
          <p:spPr>
            <a:xfrm>
              <a:off x="2570398" y="1725716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4" y="0"/>
                  </a:move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5" name="Google Shape;7932;p64">
              <a:extLst>
                <a:ext uri="{FF2B5EF4-FFF2-40B4-BE49-F238E27FC236}">
                  <a16:creationId xmlns:a16="http://schemas.microsoft.com/office/drawing/2014/main" id="{840A8B1A-8FF6-78D6-3603-B47E3710FCBA}"/>
                </a:ext>
              </a:extLst>
            </p:cNvPr>
            <p:cNvSpPr/>
            <p:nvPr/>
          </p:nvSpPr>
          <p:spPr>
            <a:xfrm>
              <a:off x="2554662" y="1747712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6" name="Google Shape;7933;p64">
              <a:extLst>
                <a:ext uri="{FF2B5EF4-FFF2-40B4-BE49-F238E27FC236}">
                  <a16:creationId xmlns:a16="http://schemas.microsoft.com/office/drawing/2014/main" id="{05425902-274D-0E01-407A-99CD774230CF}"/>
                </a:ext>
              </a:extLst>
            </p:cNvPr>
            <p:cNvSpPr/>
            <p:nvPr/>
          </p:nvSpPr>
          <p:spPr>
            <a:xfrm>
              <a:off x="2572014" y="1722675"/>
              <a:ext cx="109" cy="190"/>
            </a:xfrm>
            <a:custGeom>
              <a:avLst/>
              <a:gdLst/>
              <a:ahLst/>
              <a:cxnLst/>
              <a:rect l="l" t="t" r="r" b="b"/>
              <a:pathLst>
                <a:path w="8" h="14" extrusionOk="0">
                  <a:moveTo>
                    <a:pt x="0" y="14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7" name="Google Shape;7934;p64">
              <a:extLst>
                <a:ext uri="{FF2B5EF4-FFF2-40B4-BE49-F238E27FC236}">
                  <a16:creationId xmlns:a16="http://schemas.microsoft.com/office/drawing/2014/main" id="{A457D951-C94B-1F96-B270-37810BCB3C09}"/>
                </a:ext>
              </a:extLst>
            </p:cNvPr>
            <p:cNvSpPr/>
            <p:nvPr/>
          </p:nvSpPr>
          <p:spPr>
            <a:xfrm>
              <a:off x="2572489" y="1721616"/>
              <a:ext cx="54" cy="163"/>
            </a:xfrm>
            <a:custGeom>
              <a:avLst/>
              <a:gdLst/>
              <a:ahLst/>
              <a:cxnLst/>
              <a:rect l="l" t="t" r="r" b="b"/>
              <a:pathLst>
                <a:path w="4" h="12" extrusionOk="0">
                  <a:moveTo>
                    <a:pt x="0" y="1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8" name="Google Shape;7935;p64">
              <a:extLst>
                <a:ext uri="{FF2B5EF4-FFF2-40B4-BE49-F238E27FC236}">
                  <a16:creationId xmlns:a16="http://schemas.microsoft.com/office/drawing/2014/main" id="{49C46054-A497-583B-C259-02E78AC4488C}"/>
                </a:ext>
              </a:extLst>
            </p:cNvPr>
            <p:cNvSpPr/>
            <p:nvPr/>
          </p:nvSpPr>
          <p:spPr>
            <a:xfrm>
              <a:off x="2572299" y="172205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9" name="Google Shape;7936;p64">
              <a:extLst>
                <a:ext uri="{FF2B5EF4-FFF2-40B4-BE49-F238E27FC236}">
                  <a16:creationId xmlns:a16="http://schemas.microsoft.com/office/drawing/2014/main" id="{BE87C84D-DCB8-2340-2881-E25B605C02BC}"/>
                </a:ext>
              </a:extLst>
            </p:cNvPr>
            <p:cNvSpPr/>
            <p:nvPr/>
          </p:nvSpPr>
          <p:spPr>
            <a:xfrm>
              <a:off x="2571824" y="1723001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15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0" name="Google Shape;7937;p64">
              <a:extLst>
                <a:ext uri="{FF2B5EF4-FFF2-40B4-BE49-F238E27FC236}">
                  <a16:creationId xmlns:a16="http://schemas.microsoft.com/office/drawing/2014/main" id="{99B49E19-5E03-84F8-8E2F-821ACB9314E3}"/>
                </a:ext>
              </a:extLst>
            </p:cNvPr>
            <p:cNvSpPr/>
            <p:nvPr/>
          </p:nvSpPr>
          <p:spPr>
            <a:xfrm>
              <a:off x="2572394" y="172186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7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1" name="Google Shape;7938;p64">
              <a:extLst>
                <a:ext uri="{FF2B5EF4-FFF2-40B4-BE49-F238E27FC236}">
                  <a16:creationId xmlns:a16="http://schemas.microsoft.com/office/drawing/2014/main" id="{96210E7D-7CB6-E05D-A0A9-6206074F23D5}"/>
                </a:ext>
              </a:extLst>
            </p:cNvPr>
            <p:cNvSpPr/>
            <p:nvPr/>
          </p:nvSpPr>
          <p:spPr>
            <a:xfrm>
              <a:off x="2572150" y="1722335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1" y="15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2" name="Google Shape;7939;p64">
              <a:extLst>
                <a:ext uri="{FF2B5EF4-FFF2-40B4-BE49-F238E27FC236}">
                  <a16:creationId xmlns:a16="http://schemas.microsoft.com/office/drawing/2014/main" id="{7AA339C0-FD6B-8F05-D66A-C3057BFD5954}"/>
                </a:ext>
              </a:extLst>
            </p:cNvPr>
            <p:cNvSpPr/>
            <p:nvPr/>
          </p:nvSpPr>
          <p:spPr>
            <a:xfrm>
              <a:off x="2570914" y="172467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8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3" name="Google Shape;7940;p64">
              <a:extLst>
                <a:ext uri="{FF2B5EF4-FFF2-40B4-BE49-F238E27FC236}">
                  <a16:creationId xmlns:a16="http://schemas.microsoft.com/office/drawing/2014/main" id="{AF695DEA-08FC-35D0-9EC8-ED23E16A858D}"/>
                </a:ext>
              </a:extLst>
            </p:cNvPr>
            <p:cNvSpPr/>
            <p:nvPr/>
          </p:nvSpPr>
          <p:spPr>
            <a:xfrm>
              <a:off x="2570588" y="172518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4" name="Google Shape;7941;p64">
              <a:extLst>
                <a:ext uri="{FF2B5EF4-FFF2-40B4-BE49-F238E27FC236}">
                  <a16:creationId xmlns:a16="http://schemas.microsoft.com/office/drawing/2014/main" id="{C2034D16-1625-74DE-2CF3-80596C409F24}"/>
                </a:ext>
              </a:extLst>
            </p:cNvPr>
            <p:cNvSpPr/>
            <p:nvPr/>
          </p:nvSpPr>
          <p:spPr>
            <a:xfrm>
              <a:off x="2571634" y="1723381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0" y="15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5" name="Google Shape;7942;p64">
              <a:extLst>
                <a:ext uri="{FF2B5EF4-FFF2-40B4-BE49-F238E27FC236}">
                  <a16:creationId xmlns:a16="http://schemas.microsoft.com/office/drawing/2014/main" id="{E6BDB906-E2F2-1276-CD7F-8392C3E4EE68}"/>
                </a:ext>
              </a:extLst>
            </p:cNvPr>
            <p:cNvSpPr/>
            <p:nvPr/>
          </p:nvSpPr>
          <p:spPr>
            <a:xfrm>
              <a:off x="2571159" y="1724195"/>
              <a:ext cx="149" cy="244"/>
            </a:xfrm>
            <a:custGeom>
              <a:avLst/>
              <a:gdLst/>
              <a:ahLst/>
              <a:cxnLst/>
              <a:rect l="l" t="t" r="r" b="b"/>
              <a:pathLst>
                <a:path w="11" h="18" extrusionOk="0">
                  <a:moveTo>
                    <a:pt x="0" y="18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6" name="Google Shape;7943;p64">
              <a:extLst>
                <a:ext uri="{FF2B5EF4-FFF2-40B4-BE49-F238E27FC236}">
                  <a16:creationId xmlns:a16="http://schemas.microsoft.com/office/drawing/2014/main" id="{FE4D0BEC-3E77-DE53-B9C3-912B8D201EE9}"/>
                </a:ext>
              </a:extLst>
            </p:cNvPr>
            <p:cNvSpPr/>
            <p:nvPr/>
          </p:nvSpPr>
          <p:spPr>
            <a:xfrm>
              <a:off x="2571389" y="1723761"/>
              <a:ext cx="163" cy="258"/>
            </a:xfrm>
            <a:custGeom>
              <a:avLst/>
              <a:gdLst/>
              <a:ahLst/>
              <a:cxnLst/>
              <a:rect l="l" t="t" r="r" b="b"/>
              <a:pathLst>
                <a:path w="12" h="19" extrusionOk="0">
                  <a:moveTo>
                    <a:pt x="1" y="18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7" name="Google Shape;7944;p64">
              <a:extLst>
                <a:ext uri="{FF2B5EF4-FFF2-40B4-BE49-F238E27FC236}">
                  <a16:creationId xmlns:a16="http://schemas.microsoft.com/office/drawing/2014/main" id="{37065623-470F-1D0A-9AC3-5296F22D012B}"/>
                </a:ext>
              </a:extLst>
            </p:cNvPr>
            <p:cNvSpPr/>
            <p:nvPr/>
          </p:nvSpPr>
          <p:spPr>
            <a:xfrm>
              <a:off x="2572679" y="172114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8" name="Google Shape;7945;p64">
              <a:extLst>
                <a:ext uri="{FF2B5EF4-FFF2-40B4-BE49-F238E27FC236}">
                  <a16:creationId xmlns:a16="http://schemas.microsoft.com/office/drawing/2014/main" id="{5CFC63F1-F04B-E408-EE9E-56D01E2E691B}"/>
                </a:ext>
              </a:extLst>
            </p:cNvPr>
            <p:cNvSpPr/>
            <p:nvPr/>
          </p:nvSpPr>
          <p:spPr>
            <a:xfrm>
              <a:off x="2572584" y="1721426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9" name="Google Shape;7946;p64">
              <a:extLst>
                <a:ext uri="{FF2B5EF4-FFF2-40B4-BE49-F238E27FC236}">
                  <a16:creationId xmlns:a16="http://schemas.microsoft.com/office/drawing/2014/main" id="{874CA47A-F90C-FD66-C7CC-29186D06F392}"/>
                </a:ext>
              </a:extLst>
            </p:cNvPr>
            <p:cNvSpPr/>
            <p:nvPr/>
          </p:nvSpPr>
          <p:spPr>
            <a:xfrm>
              <a:off x="2572625" y="1721235"/>
              <a:ext cx="14" cy="163"/>
            </a:xfrm>
            <a:custGeom>
              <a:avLst/>
              <a:gdLst/>
              <a:ahLst/>
              <a:cxnLst/>
              <a:rect l="l" t="t" r="r" b="b"/>
              <a:pathLst>
                <a:path w="1" h="12" extrusionOk="0">
                  <a:moveTo>
                    <a:pt x="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0" name="Google Shape;7947;p64">
              <a:extLst>
                <a:ext uri="{FF2B5EF4-FFF2-40B4-BE49-F238E27FC236}">
                  <a16:creationId xmlns:a16="http://schemas.microsoft.com/office/drawing/2014/main" id="{D7E554C9-06DB-25B2-626E-CF61FDBA0E0B}"/>
                </a:ext>
              </a:extLst>
            </p:cNvPr>
            <p:cNvSpPr/>
            <p:nvPr/>
          </p:nvSpPr>
          <p:spPr>
            <a:xfrm>
              <a:off x="2604994" y="1750237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1" name="Google Shape;7948;p64">
              <a:extLst>
                <a:ext uri="{FF2B5EF4-FFF2-40B4-BE49-F238E27FC236}">
                  <a16:creationId xmlns:a16="http://schemas.microsoft.com/office/drawing/2014/main" id="{BC624321-9B25-290F-AE3B-655023A16938}"/>
                </a:ext>
              </a:extLst>
            </p:cNvPr>
            <p:cNvSpPr/>
            <p:nvPr/>
          </p:nvSpPr>
          <p:spPr>
            <a:xfrm>
              <a:off x="2604003" y="1751242"/>
              <a:ext cx="1439" cy="2105"/>
            </a:xfrm>
            <a:custGeom>
              <a:avLst/>
              <a:gdLst/>
              <a:ahLst/>
              <a:cxnLst/>
              <a:rect l="l" t="t" r="r" b="b"/>
              <a:pathLst>
                <a:path w="106" h="155" extrusionOk="0">
                  <a:moveTo>
                    <a:pt x="84" y="0"/>
                  </a:moveTo>
                  <a:lnTo>
                    <a:pt x="102" y="137"/>
                  </a:lnTo>
                  <a:lnTo>
                    <a:pt x="7" y="144"/>
                  </a:lnTo>
                  <a:lnTo>
                    <a:pt x="0" y="147"/>
                  </a:lnTo>
                  <a:lnTo>
                    <a:pt x="7" y="151"/>
                  </a:lnTo>
                  <a:lnTo>
                    <a:pt x="14" y="154"/>
                  </a:lnTo>
                  <a:cubicBezTo>
                    <a:pt x="46" y="147"/>
                    <a:pt x="74" y="144"/>
                    <a:pt x="98" y="140"/>
                  </a:cubicBezTo>
                  <a:lnTo>
                    <a:pt x="105" y="140"/>
                  </a:lnTo>
                  <a:lnTo>
                    <a:pt x="8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2" name="Google Shape;7949;p64">
              <a:extLst>
                <a:ext uri="{FF2B5EF4-FFF2-40B4-BE49-F238E27FC236}">
                  <a16:creationId xmlns:a16="http://schemas.microsoft.com/office/drawing/2014/main" id="{41449CC4-F9E7-2058-2DF4-CA30F39BF435}"/>
                </a:ext>
              </a:extLst>
            </p:cNvPr>
            <p:cNvSpPr/>
            <p:nvPr/>
          </p:nvSpPr>
          <p:spPr>
            <a:xfrm>
              <a:off x="2605048" y="1750807"/>
              <a:ext cx="54" cy="244"/>
            </a:xfrm>
            <a:custGeom>
              <a:avLst/>
              <a:gdLst/>
              <a:ahLst/>
              <a:cxnLst/>
              <a:rect l="l" t="t" r="r" b="b"/>
              <a:pathLst>
                <a:path w="4" h="18" extrusionOk="0">
                  <a:moveTo>
                    <a:pt x="0" y="1"/>
                  </a:moveTo>
                  <a:lnTo>
                    <a:pt x="4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3" name="Google Shape;7950;p64">
              <a:extLst>
                <a:ext uri="{FF2B5EF4-FFF2-40B4-BE49-F238E27FC236}">
                  <a16:creationId xmlns:a16="http://schemas.microsoft.com/office/drawing/2014/main" id="{23522363-6B0A-2E6C-6481-2BEB73A8D7D9}"/>
                </a:ext>
              </a:extLst>
            </p:cNvPr>
            <p:cNvSpPr/>
            <p:nvPr/>
          </p:nvSpPr>
          <p:spPr>
            <a:xfrm>
              <a:off x="2604003" y="1743774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cubicBezTo>
                    <a:pt x="4" y="7"/>
                    <a:pt x="4" y="11"/>
                    <a:pt x="7" y="18"/>
                  </a:cubicBezTo>
                  <a:cubicBezTo>
                    <a:pt x="4" y="11"/>
                    <a:pt x="4" y="7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4" name="Google Shape;7951;p64">
              <a:extLst>
                <a:ext uri="{FF2B5EF4-FFF2-40B4-BE49-F238E27FC236}">
                  <a16:creationId xmlns:a16="http://schemas.microsoft.com/office/drawing/2014/main" id="{0211BBB5-6DD4-0793-7E29-982C50985013}"/>
                </a:ext>
              </a:extLst>
            </p:cNvPr>
            <p:cNvSpPr/>
            <p:nvPr/>
          </p:nvSpPr>
          <p:spPr>
            <a:xfrm>
              <a:off x="2604043" y="1744005"/>
              <a:ext cx="869" cy="5770"/>
            </a:xfrm>
            <a:custGeom>
              <a:avLst/>
              <a:gdLst/>
              <a:ahLst/>
              <a:cxnLst/>
              <a:rect l="l" t="t" r="r" b="b"/>
              <a:pathLst>
                <a:path w="64" h="425" extrusionOk="0">
                  <a:moveTo>
                    <a:pt x="1" y="1"/>
                  </a:moveTo>
                  <a:cubicBezTo>
                    <a:pt x="15" y="88"/>
                    <a:pt x="39" y="267"/>
                    <a:pt x="64" y="424"/>
                  </a:cubicBezTo>
                  <a:cubicBezTo>
                    <a:pt x="39" y="267"/>
                    <a:pt x="15" y="85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5" name="Google Shape;7952;p64">
              <a:extLst>
                <a:ext uri="{FF2B5EF4-FFF2-40B4-BE49-F238E27FC236}">
                  <a16:creationId xmlns:a16="http://schemas.microsoft.com/office/drawing/2014/main" id="{E231D745-936F-9779-8FE7-1EFE2558C686}"/>
                </a:ext>
              </a:extLst>
            </p:cNvPr>
            <p:cNvSpPr/>
            <p:nvPr/>
          </p:nvSpPr>
          <p:spPr>
            <a:xfrm>
              <a:off x="1464633" y="1859509"/>
              <a:ext cx="1344" cy="2009"/>
            </a:xfrm>
            <a:custGeom>
              <a:avLst/>
              <a:gdLst/>
              <a:ahLst/>
              <a:cxnLst/>
              <a:rect l="l" t="t" r="r" b="b"/>
              <a:pathLst>
                <a:path w="99" h="148" extrusionOk="0">
                  <a:moveTo>
                    <a:pt x="1" y="1"/>
                  </a:moveTo>
                  <a:lnTo>
                    <a:pt x="1" y="1"/>
                  </a:lnTo>
                  <a:cubicBezTo>
                    <a:pt x="18" y="60"/>
                    <a:pt x="53" y="109"/>
                    <a:pt x="99" y="148"/>
                  </a:cubicBezTo>
                  <a:cubicBezTo>
                    <a:pt x="81" y="102"/>
                    <a:pt x="57" y="64"/>
                    <a:pt x="25" y="29"/>
                  </a:cubicBez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6" name="Google Shape;7953;p64">
              <a:extLst>
                <a:ext uri="{FF2B5EF4-FFF2-40B4-BE49-F238E27FC236}">
                  <a16:creationId xmlns:a16="http://schemas.microsoft.com/office/drawing/2014/main" id="{07B06190-BBBC-E31B-16D8-21B5556CAC80}"/>
                </a:ext>
              </a:extLst>
            </p:cNvPr>
            <p:cNvSpPr/>
            <p:nvPr/>
          </p:nvSpPr>
          <p:spPr>
            <a:xfrm>
              <a:off x="1462026" y="1851905"/>
              <a:ext cx="2050" cy="5580"/>
            </a:xfrm>
            <a:custGeom>
              <a:avLst/>
              <a:gdLst/>
              <a:ahLst/>
              <a:cxnLst/>
              <a:rect l="l" t="t" r="r" b="b"/>
              <a:pathLst>
                <a:path w="151" h="411" extrusionOk="0">
                  <a:moveTo>
                    <a:pt x="42" y="1"/>
                  </a:moveTo>
                  <a:cubicBezTo>
                    <a:pt x="14" y="57"/>
                    <a:pt x="0" y="120"/>
                    <a:pt x="7" y="183"/>
                  </a:cubicBezTo>
                  <a:cubicBezTo>
                    <a:pt x="7" y="284"/>
                    <a:pt x="49" y="326"/>
                    <a:pt x="98" y="379"/>
                  </a:cubicBezTo>
                  <a:cubicBezTo>
                    <a:pt x="109" y="389"/>
                    <a:pt x="119" y="400"/>
                    <a:pt x="130" y="410"/>
                  </a:cubicBezTo>
                  <a:cubicBezTo>
                    <a:pt x="130" y="382"/>
                    <a:pt x="130" y="354"/>
                    <a:pt x="133" y="330"/>
                  </a:cubicBezTo>
                  <a:cubicBezTo>
                    <a:pt x="151" y="235"/>
                    <a:pt x="133" y="141"/>
                    <a:pt x="84" y="57"/>
                  </a:cubicBezTo>
                  <a:cubicBezTo>
                    <a:pt x="74" y="36"/>
                    <a:pt x="60" y="18"/>
                    <a:pt x="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7" name="Google Shape;7954;p64">
              <a:extLst>
                <a:ext uri="{FF2B5EF4-FFF2-40B4-BE49-F238E27FC236}">
                  <a16:creationId xmlns:a16="http://schemas.microsoft.com/office/drawing/2014/main" id="{B96E9E68-7DDC-6187-F83B-EDC9617C4A92}"/>
                </a:ext>
              </a:extLst>
            </p:cNvPr>
            <p:cNvSpPr/>
            <p:nvPr/>
          </p:nvSpPr>
          <p:spPr>
            <a:xfrm>
              <a:off x="1586043" y="1964015"/>
              <a:ext cx="5146" cy="4100"/>
            </a:xfrm>
            <a:custGeom>
              <a:avLst/>
              <a:gdLst/>
              <a:ahLst/>
              <a:cxnLst/>
              <a:rect l="l" t="t" r="r" b="b"/>
              <a:pathLst>
                <a:path w="379" h="302" extrusionOk="0">
                  <a:moveTo>
                    <a:pt x="214" y="1"/>
                  </a:moveTo>
                  <a:cubicBezTo>
                    <a:pt x="201" y="1"/>
                    <a:pt x="188" y="3"/>
                    <a:pt x="175" y="6"/>
                  </a:cubicBezTo>
                  <a:cubicBezTo>
                    <a:pt x="116" y="13"/>
                    <a:pt x="60" y="30"/>
                    <a:pt x="7" y="55"/>
                  </a:cubicBezTo>
                  <a:cubicBezTo>
                    <a:pt x="74" y="118"/>
                    <a:pt x="35" y="205"/>
                    <a:pt x="18" y="251"/>
                  </a:cubicBezTo>
                  <a:cubicBezTo>
                    <a:pt x="11" y="265"/>
                    <a:pt x="4" y="279"/>
                    <a:pt x="0" y="296"/>
                  </a:cubicBezTo>
                  <a:cubicBezTo>
                    <a:pt x="8" y="300"/>
                    <a:pt x="22" y="302"/>
                    <a:pt x="40" y="302"/>
                  </a:cubicBezTo>
                  <a:cubicBezTo>
                    <a:pt x="106" y="302"/>
                    <a:pt x="229" y="277"/>
                    <a:pt x="340" y="230"/>
                  </a:cubicBezTo>
                  <a:cubicBezTo>
                    <a:pt x="361" y="223"/>
                    <a:pt x="375" y="205"/>
                    <a:pt x="375" y="184"/>
                  </a:cubicBezTo>
                  <a:cubicBezTo>
                    <a:pt x="378" y="121"/>
                    <a:pt x="347" y="62"/>
                    <a:pt x="294" y="23"/>
                  </a:cubicBezTo>
                  <a:cubicBezTo>
                    <a:pt x="270" y="9"/>
                    <a:pt x="242" y="1"/>
                    <a:pt x="214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8" name="Google Shape;7955;p64">
              <a:extLst>
                <a:ext uri="{FF2B5EF4-FFF2-40B4-BE49-F238E27FC236}">
                  <a16:creationId xmlns:a16="http://schemas.microsoft.com/office/drawing/2014/main" id="{F70DA08F-CB57-C389-70ED-4CD010FFE962}"/>
                </a:ext>
              </a:extLst>
            </p:cNvPr>
            <p:cNvSpPr/>
            <p:nvPr/>
          </p:nvSpPr>
          <p:spPr>
            <a:xfrm>
              <a:off x="2367754" y="1716578"/>
              <a:ext cx="22213" cy="19226"/>
            </a:xfrm>
            <a:custGeom>
              <a:avLst/>
              <a:gdLst/>
              <a:ahLst/>
              <a:cxnLst/>
              <a:rect l="l" t="t" r="r" b="b"/>
              <a:pathLst>
                <a:path w="1636" h="1416" extrusionOk="0">
                  <a:moveTo>
                    <a:pt x="505" y="1"/>
                  </a:moveTo>
                  <a:cubicBezTo>
                    <a:pt x="488" y="1"/>
                    <a:pt x="474" y="1"/>
                    <a:pt x="460" y="4"/>
                  </a:cubicBezTo>
                  <a:cubicBezTo>
                    <a:pt x="362" y="15"/>
                    <a:pt x="264" y="36"/>
                    <a:pt x="166" y="60"/>
                  </a:cubicBezTo>
                  <a:lnTo>
                    <a:pt x="95" y="78"/>
                  </a:lnTo>
                  <a:lnTo>
                    <a:pt x="74" y="85"/>
                  </a:lnTo>
                  <a:lnTo>
                    <a:pt x="15" y="95"/>
                  </a:lnTo>
                  <a:lnTo>
                    <a:pt x="1" y="99"/>
                  </a:lnTo>
                  <a:cubicBezTo>
                    <a:pt x="25" y="148"/>
                    <a:pt x="43" y="200"/>
                    <a:pt x="46" y="253"/>
                  </a:cubicBezTo>
                  <a:cubicBezTo>
                    <a:pt x="50" y="326"/>
                    <a:pt x="67" y="396"/>
                    <a:pt x="95" y="463"/>
                  </a:cubicBezTo>
                  <a:cubicBezTo>
                    <a:pt x="141" y="572"/>
                    <a:pt x="215" y="579"/>
                    <a:pt x="327" y="579"/>
                  </a:cubicBezTo>
                  <a:cubicBezTo>
                    <a:pt x="390" y="579"/>
                    <a:pt x="449" y="579"/>
                    <a:pt x="495" y="614"/>
                  </a:cubicBezTo>
                  <a:lnTo>
                    <a:pt x="505" y="621"/>
                  </a:lnTo>
                  <a:lnTo>
                    <a:pt x="512" y="631"/>
                  </a:lnTo>
                  <a:lnTo>
                    <a:pt x="523" y="645"/>
                  </a:lnTo>
                  <a:lnTo>
                    <a:pt x="523" y="649"/>
                  </a:lnTo>
                  <a:lnTo>
                    <a:pt x="533" y="663"/>
                  </a:lnTo>
                  <a:lnTo>
                    <a:pt x="533" y="666"/>
                  </a:lnTo>
                  <a:cubicBezTo>
                    <a:pt x="537" y="673"/>
                    <a:pt x="540" y="680"/>
                    <a:pt x="544" y="687"/>
                  </a:cubicBezTo>
                  <a:cubicBezTo>
                    <a:pt x="547" y="694"/>
                    <a:pt x="554" y="705"/>
                    <a:pt x="558" y="715"/>
                  </a:cubicBezTo>
                  <a:lnTo>
                    <a:pt x="558" y="719"/>
                  </a:lnTo>
                  <a:cubicBezTo>
                    <a:pt x="561" y="726"/>
                    <a:pt x="565" y="736"/>
                    <a:pt x="572" y="750"/>
                  </a:cubicBezTo>
                  <a:lnTo>
                    <a:pt x="575" y="754"/>
                  </a:lnTo>
                  <a:cubicBezTo>
                    <a:pt x="579" y="768"/>
                    <a:pt x="582" y="778"/>
                    <a:pt x="589" y="792"/>
                  </a:cubicBezTo>
                  <a:lnTo>
                    <a:pt x="589" y="796"/>
                  </a:lnTo>
                  <a:lnTo>
                    <a:pt x="607" y="799"/>
                  </a:lnTo>
                  <a:cubicBezTo>
                    <a:pt x="617" y="799"/>
                    <a:pt x="628" y="803"/>
                    <a:pt x="638" y="806"/>
                  </a:cubicBezTo>
                  <a:lnTo>
                    <a:pt x="649" y="810"/>
                  </a:lnTo>
                  <a:lnTo>
                    <a:pt x="670" y="817"/>
                  </a:lnTo>
                  <a:lnTo>
                    <a:pt x="680" y="820"/>
                  </a:lnTo>
                  <a:lnTo>
                    <a:pt x="698" y="831"/>
                  </a:lnTo>
                  <a:lnTo>
                    <a:pt x="705" y="834"/>
                  </a:lnTo>
                  <a:cubicBezTo>
                    <a:pt x="712" y="838"/>
                    <a:pt x="719" y="845"/>
                    <a:pt x="722" y="848"/>
                  </a:cubicBezTo>
                  <a:lnTo>
                    <a:pt x="736" y="859"/>
                  </a:lnTo>
                  <a:lnTo>
                    <a:pt x="740" y="862"/>
                  </a:lnTo>
                  <a:cubicBezTo>
                    <a:pt x="761" y="883"/>
                    <a:pt x="775" y="904"/>
                    <a:pt x="785" y="929"/>
                  </a:cubicBezTo>
                  <a:lnTo>
                    <a:pt x="806" y="936"/>
                  </a:lnTo>
                  <a:lnTo>
                    <a:pt x="831" y="943"/>
                  </a:lnTo>
                  <a:lnTo>
                    <a:pt x="866" y="960"/>
                  </a:lnTo>
                  <a:lnTo>
                    <a:pt x="887" y="967"/>
                  </a:lnTo>
                  <a:lnTo>
                    <a:pt x="922" y="988"/>
                  </a:lnTo>
                  <a:lnTo>
                    <a:pt x="936" y="995"/>
                  </a:lnTo>
                  <a:lnTo>
                    <a:pt x="981" y="1020"/>
                  </a:lnTo>
                  <a:cubicBezTo>
                    <a:pt x="1002" y="1034"/>
                    <a:pt x="1020" y="1044"/>
                    <a:pt x="1034" y="1048"/>
                  </a:cubicBezTo>
                  <a:cubicBezTo>
                    <a:pt x="1035" y="1049"/>
                    <a:pt x="1037" y="1050"/>
                    <a:pt x="1039" y="1050"/>
                  </a:cubicBezTo>
                  <a:cubicBezTo>
                    <a:pt x="1040" y="1050"/>
                    <a:pt x="1041" y="1049"/>
                    <a:pt x="1041" y="1048"/>
                  </a:cubicBezTo>
                  <a:lnTo>
                    <a:pt x="1062" y="1048"/>
                  </a:lnTo>
                  <a:lnTo>
                    <a:pt x="1083" y="1044"/>
                  </a:lnTo>
                  <a:lnTo>
                    <a:pt x="1132" y="1044"/>
                  </a:lnTo>
                  <a:lnTo>
                    <a:pt x="1149" y="1048"/>
                  </a:lnTo>
                  <a:lnTo>
                    <a:pt x="1153" y="1048"/>
                  </a:lnTo>
                  <a:lnTo>
                    <a:pt x="1174" y="1051"/>
                  </a:lnTo>
                  <a:lnTo>
                    <a:pt x="1177" y="1051"/>
                  </a:lnTo>
                  <a:lnTo>
                    <a:pt x="1195" y="1062"/>
                  </a:lnTo>
                  <a:lnTo>
                    <a:pt x="1202" y="1062"/>
                  </a:lnTo>
                  <a:cubicBezTo>
                    <a:pt x="1209" y="1065"/>
                    <a:pt x="1216" y="1069"/>
                    <a:pt x="1223" y="1072"/>
                  </a:cubicBezTo>
                  <a:lnTo>
                    <a:pt x="1230" y="1076"/>
                  </a:lnTo>
                  <a:cubicBezTo>
                    <a:pt x="1237" y="1083"/>
                    <a:pt x="1244" y="1086"/>
                    <a:pt x="1251" y="1093"/>
                  </a:cubicBezTo>
                  <a:lnTo>
                    <a:pt x="1254" y="1093"/>
                  </a:lnTo>
                  <a:cubicBezTo>
                    <a:pt x="1261" y="1100"/>
                    <a:pt x="1268" y="1107"/>
                    <a:pt x="1279" y="1114"/>
                  </a:cubicBezTo>
                  <a:lnTo>
                    <a:pt x="1286" y="1121"/>
                  </a:lnTo>
                  <a:cubicBezTo>
                    <a:pt x="1293" y="1132"/>
                    <a:pt x="1303" y="1139"/>
                    <a:pt x="1314" y="1149"/>
                  </a:cubicBezTo>
                  <a:lnTo>
                    <a:pt x="1345" y="1188"/>
                  </a:lnTo>
                  <a:lnTo>
                    <a:pt x="1349" y="1195"/>
                  </a:lnTo>
                  <a:cubicBezTo>
                    <a:pt x="1359" y="1205"/>
                    <a:pt x="1366" y="1216"/>
                    <a:pt x="1377" y="1226"/>
                  </a:cubicBezTo>
                  <a:lnTo>
                    <a:pt x="1380" y="1230"/>
                  </a:lnTo>
                  <a:cubicBezTo>
                    <a:pt x="1387" y="1240"/>
                    <a:pt x="1394" y="1247"/>
                    <a:pt x="1398" y="1258"/>
                  </a:cubicBezTo>
                  <a:lnTo>
                    <a:pt x="1401" y="1261"/>
                  </a:lnTo>
                  <a:cubicBezTo>
                    <a:pt x="1408" y="1272"/>
                    <a:pt x="1412" y="1279"/>
                    <a:pt x="1419" y="1289"/>
                  </a:cubicBezTo>
                  <a:lnTo>
                    <a:pt x="1422" y="1296"/>
                  </a:lnTo>
                  <a:cubicBezTo>
                    <a:pt x="1426" y="1303"/>
                    <a:pt x="1429" y="1314"/>
                    <a:pt x="1433" y="1321"/>
                  </a:cubicBezTo>
                  <a:cubicBezTo>
                    <a:pt x="1436" y="1331"/>
                    <a:pt x="1440" y="1338"/>
                    <a:pt x="1440" y="1349"/>
                  </a:cubicBezTo>
                  <a:lnTo>
                    <a:pt x="1440" y="1352"/>
                  </a:lnTo>
                  <a:cubicBezTo>
                    <a:pt x="1443" y="1363"/>
                    <a:pt x="1443" y="1370"/>
                    <a:pt x="1447" y="1380"/>
                  </a:cubicBezTo>
                  <a:lnTo>
                    <a:pt x="1447" y="1387"/>
                  </a:lnTo>
                  <a:lnTo>
                    <a:pt x="1447" y="1412"/>
                  </a:lnTo>
                  <a:lnTo>
                    <a:pt x="1447" y="1415"/>
                  </a:lnTo>
                  <a:cubicBezTo>
                    <a:pt x="1510" y="1408"/>
                    <a:pt x="1573" y="1394"/>
                    <a:pt x="1636" y="1373"/>
                  </a:cubicBezTo>
                  <a:cubicBezTo>
                    <a:pt x="1625" y="1356"/>
                    <a:pt x="1618" y="1342"/>
                    <a:pt x="1611" y="1324"/>
                  </a:cubicBezTo>
                  <a:lnTo>
                    <a:pt x="1608" y="1317"/>
                  </a:lnTo>
                  <a:cubicBezTo>
                    <a:pt x="1601" y="1303"/>
                    <a:pt x="1594" y="1289"/>
                    <a:pt x="1590" y="1279"/>
                  </a:cubicBezTo>
                  <a:lnTo>
                    <a:pt x="1587" y="1272"/>
                  </a:lnTo>
                  <a:cubicBezTo>
                    <a:pt x="1583" y="1258"/>
                    <a:pt x="1580" y="1247"/>
                    <a:pt x="1576" y="1237"/>
                  </a:cubicBezTo>
                  <a:lnTo>
                    <a:pt x="1576" y="1233"/>
                  </a:lnTo>
                  <a:cubicBezTo>
                    <a:pt x="1573" y="1223"/>
                    <a:pt x="1569" y="1216"/>
                    <a:pt x="1566" y="1205"/>
                  </a:cubicBezTo>
                  <a:cubicBezTo>
                    <a:pt x="1562" y="1198"/>
                    <a:pt x="1562" y="1191"/>
                    <a:pt x="1562" y="1184"/>
                  </a:cubicBezTo>
                  <a:lnTo>
                    <a:pt x="1562" y="1181"/>
                  </a:lnTo>
                  <a:cubicBezTo>
                    <a:pt x="1562" y="1174"/>
                    <a:pt x="1562" y="1170"/>
                    <a:pt x="1559" y="1163"/>
                  </a:cubicBezTo>
                  <a:lnTo>
                    <a:pt x="1559" y="1160"/>
                  </a:lnTo>
                  <a:lnTo>
                    <a:pt x="1559" y="1149"/>
                  </a:lnTo>
                  <a:lnTo>
                    <a:pt x="1559" y="1142"/>
                  </a:lnTo>
                  <a:cubicBezTo>
                    <a:pt x="1559" y="1111"/>
                    <a:pt x="1478" y="1051"/>
                    <a:pt x="1426" y="1013"/>
                  </a:cubicBezTo>
                  <a:cubicBezTo>
                    <a:pt x="1328" y="939"/>
                    <a:pt x="1216" y="855"/>
                    <a:pt x="1216" y="736"/>
                  </a:cubicBezTo>
                  <a:cubicBezTo>
                    <a:pt x="1216" y="677"/>
                    <a:pt x="1170" y="614"/>
                    <a:pt x="1121" y="547"/>
                  </a:cubicBezTo>
                  <a:cubicBezTo>
                    <a:pt x="1062" y="467"/>
                    <a:pt x="1002" y="379"/>
                    <a:pt x="1023" y="284"/>
                  </a:cubicBezTo>
                  <a:cubicBezTo>
                    <a:pt x="1034" y="249"/>
                    <a:pt x="978" y="165"/>
                    <a:pt x="936" y="106"/>
                  </a:cubicBezTo>
                  <a:cubicBezTo>
                    <a:pt x="922" y="85"/>
                    <a:pt x="908" y="60"/>
                    <a:pt x="897" y="43"/>
                  </a:cubicBezTo>
                  <a:lnTo>
                    <a:pt x="873" y="36"/>
                  </a:lnTo>
                  <a:lnTo>
                    <a:pt x="841" y="29"/>
                  </a:lnTo>
                  <a:lnTo>
                    <a:pt x="803" y="22"/>
                  </a:lnTo>
                  <a:lnTo>
                    <a:pt x="778" y="18"/>
                  </a:lnTo>
                  <a:lnTo>
                    <a:pt x="740" y="11"/>
                  </a:lnTo>
                  <a:lnTo>
                    <a:pt x="715" y="8"/>
                  </a:lnTo>
                  <a:lnTo>
                    <a:pt x="677" y="4"/>
                  </a:lnTo>
                  <a:lnTo>
                    <a:pt x="659" y="4"/>
                  </a:lnTo>
                  <a:lnTo>
                    <a:pt x="61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9" name="Google Shape;7956;p64">
              <a:extLst>
                <a:ext uri="{FF2B5EF4-FFF2-40B4-BE49-F238E27FC236}">
                  <a16:creationId xmlns:a16="http://schemas.microsoft.com/office/drawing/2014/main" id="{71683499-BD57-3103-9D74-C8514A09754A}"/>
                </a:ext>
              </a:extLst>
            </p:cNvPr>
            <p:cNvSpPr/>
            <p:nvPr/>
          </p:nvSpPr>
          <p:spPr>
            <a:xfrm>
              <a:off x="2376321" y="1716673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0" name="Google Shape;7957;p64">
              <a:extLst>
                <a:ext uri="{FF2B5EF4-FFF2-40B4-BE49-F238E27FC236}">
                  <a16:creationId xmlns:a16="http://schemas.microsoft.com/office/drawing/2014/main" id="{B7965BEB-FB66-7A72-9E19-222649662018}"/>
                </a:ext>
              </a:extLst>
            </p:cNvPr>
            <p:cNvSpPr/>
            <p:nvPr/>
          </p:nvSpPr>
          <p:spPr>
            <a:xfrm>
              <a:off x="2377122" y="1716728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1" name="Google Shape;7958;p64">
              <a:extLst>
                <a:ext uri="{FF2B5EF4-FFF2-40B4-BE49-F238E27FC236}">
                  <a16:creationId xmlns:a16="http://schemas.microsoft.com/office/drawing/2014/main" id="{427E8F4A-45BE-8605-B98E-8212F04E9832}"/>
                </a:ext>
              </a:extLst>
            </p:cNvPr>
            <p:cNvSpPr/>
            <p:nvPr/>
          </p:nvSpPr>
          <p:spPr>
            <a:xfrm>
              <a:off x="2378833" y="1717013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1" y="0"/>
                  </a:moveTo>
                  <a:lnTo>
                    <a:pt x="39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2" name="Google Shape;7959;p64">
              <a:extLst>
                <a:ext uri="{FF2B5EF4-FFF2-40B4-BE49-F238E27FC236}">
                  <a16:creationId xmlns:a16="http://schemas.microsoft.com/office/drawing/2014/main" id="{B97ED8A2-B83E-1CF8-B2E3-3205D4A87E0E}"/>
                </a:ext>
              </a:extLst>
            </p:cNvPr>
            <p:cNvSpPr/>
            <p:nvPr/>
          </p:nvSpPr>
          <p:spPr>
            <a:xfrm>
              <a:off x="2377937" y="1716864"/>
              <a:ext cx="584" cy="68"/>
            </a:xfrm>
            <a:custGeom>
              <a:avLst/>
              <a:gdLst/>
              <a:ahLst/>
              <a:cxnLst/>
              <a:rect l="l" t="t" r="r" b="b"/>
              <a:pathLst>
                <a:path w="43" h="5" extrusionOk="0">
                  <a:moveTo>
                    <a:pt x="0" y="1"/>
                  </a:moveTo>
                  <a:lnTo>
                    <a:pt x="42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3" name="Google Shape;7960;p64">
              <a:extLst>
                <a:ext uri="{FF2B5EF4-FFF2-40B4-BE49-F238E27FC236}">
                  <a16:creationId xmlns:a16="http://schemas.microsoft.com/office/drawing/2014/main" id="{E0F00790-96E0-D4BD-D43E-65B8E63DCF25}"/>
                </a:ext>
              </a:extLst>
            </p:cNvPr>
            <p:cNvSpPr/>
            <p:nvPr/>
          </p:nvSpPr>
          <p:spPr>
            <a:xfrm>
              <a:off x="2375561" y="1716633"/>
              <a:ext cx="584" cy="14"/>
            </a:xfrm>
            <a:custGeom>
              <a:avLst/>
              <a:gdLst/>
              <a:ahLst/>
              <a:cxnLst/>
              <a:rect l="l" t="t" r="r" b="b"/>
              <a:pathLst>
                <a:path w="43" h="1" extrusionOk="0">
                  <a:moveTo>
                    <a:pt x="0" y="0"/>
                  </a:moveTo>
                  <a:lnTo>
                    <a:pt x="4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4" name="Google Shape;7961;p64">
              <a:extLst>
                <a:ext uri="{FF2B5EF4-FFF2-40B4-BE49-F238E27FC236}">
                  <a16:creationId xmlns:a16="http://schemas.microsoft.com/office/drawing/2014/main" id="{9D70DEC1-EA6C-439F-E384-A94A3BADD418}"/>
                </a:ext>
              </a:extLst>
            </p:cNvPr>
            <p:cNvSpPr/>
            <p:nvPr/>
          </p:nvSpPr>
          <p:spPr>
            <a:xfrm>
              <a:off x="2379784" y="1717203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5" name="Google Shape;7962;p64">
              <a:extLst>
                <a:ext uri="{FF2B5EF4-FFF2-40B4-BE49-F238E27FC236}">
                  <a16:creationId xmlns:a16="http://schemas.microsoft.com/office/drawing/2014/main" id="{E275800E-FC3F-AD64-5F02-AD39E0133189}"/>
                </a:ext>
              </a:extLst>
            </p:cNvPr>
            <p:cNvSpPr/>
            <p:nvPr/>
          </p:nvSpPr>
          <p:spPr>
            <a:xfrm>
              <a:off x="2368134" y="1717773"/>
              <a:ext cx="828" cy="149"/>
            </a:xfrm>
            <a:custGeom>
              <a:avLst/>
              <a:gdLst/>
              <a:ahLst/>
              <a:cxnLst/>
              <a:rect l="l" t="t" r="r" b="b"/>
              <a:pathLst>
                <a:path w="61" h="11" extrusionOk="0">
                  <a:moveTo>
                    <a:pt x="1" y="11"/>
                  </a:moveTo>
                  <a:lnTo>
                    <a:pt x="6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6" name="Google Shape;7963;p64">
              <a:extLst>
                <a:ext uri="{FF2B5EF4-FFF2-40B4-BE49-F238E27FC236}">
                  <a16:creationId xmlns:a16="http://schemas.microsoft.com/office/drawing/2014/main" id="{8245365F-20F3-01A3-8F2A-A131FB41BE83}"/>
                </a:ext>
              </a:extLst>
            </p:cNvPr>
            <p:cNvSpPr/>
            <p:nvPr/>
          </p:nvSpPr>
          <p:spPr>
            <a:xfrm>
              <a:off x="2374896" y="171663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7" name="Google Shape;7964;p64">
              <a:extLst>
                <a:ext uri="{FF2B5EF4-FFF2-40B4-BE49-F238E27FC236}">
                  <a16:creationId xmlns:a16="http://schemas.microsoft.com/office/drawing/2014/main" id="{03B44E0B-70F8-F726-36AC-FB9693595015}"/>
                </a:ext>
              </a:extLst>
            </p:cNvPr>
            <p:cNvSpPr/>
            <p:nvPr/>
          </p:nvSpPr>
          <p:spPr>
            <a:xfrm>
              <a:off x="2369234" y="1717488"/>
              <a:ext cx="964" cy="244"/>
            </a:xfrm>
            <a:custGeom>
              <a:avLst/>
              <a:gdLst/>
              <a:ahLst/>
              <a:cxnLst/>
              <a:rect l="l" t="t" r="r" b="b"/>
              <a:pathLst>
                <a:path w="71" h="18" extrusionOk="0">
                  <a:moveTo>
                    <a:pt x="0" y="18"/>
                  </a:moveTo>
                  <a:lnTo>
                    <a:pt x="7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8" name="Google Shape;7965;p64">
              <a:extLst>
                <a:ext uri="{FF2B5EF4-FFF2-40B4-BE49-F238E27FC236}">
                  <a16:creationId xmlns:a16="http://schemas.microsoft.com/office/drawing/2014/main" id="{B14FF55B-996A-90F5-3587-BE4B838E09C3}"/>
                </a:ext>
              </a:extLst>
            </p:cNvPr>
            <p:cNvSpPr/>
            <p:nvPr/>
          </p:nvSpPr>
          <p:spPr>
            <a:xfrm>
              <a:off x="2374176" y="1716633"/>
              <a:ext cx="638" cy="54"/>
            </a:xfrm>
            <a:custGeom>
              <a:avLst/>
              <a:gdLst/>
              <a:ahLst/>
              <a:cxnLst/>
              <a:rect l="l" t="t" r="r" b="b"/>
              <a:pathLst>
                <a:path w="47" h="4" extrusionOk="0">
                  <a:moveTo>
                    <a:pt x="46" y="0"/>
                  </a:moveTo>
                  <a:cubicBezTo>
                    <a:pt x="29" y="0"/>
                    <a:pt x="15" y="0"/>
                    <a:pt x="1" y="4"/>
                  </a:cubicBezTo>
                  <a:cubicBezTo>
                    <a:pt x="15" y="4"/>
                    <a:pt x="29" y="0"/>
                    <a:pt x="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9" name="Google Shape;7966;p64">
              <a:extLst>
                <a:ext uri="{FF2B5EF4-FFF2-40B4-BE49-F238E27FC236}">
                  <a16:creationId xmlns:a16="http://schemas.microsoft.com/office/drawing/2014/main" id="{79C5F34F-2BFD-6D9C-DF50-3B658A3712EE}"/>
                </a:ext>
              </a:extLst>
            </p:cNvPr>
            <p:cNvSpPr/>
            <p:nvPr/>
          </p:nvSpPr>
          <p:spPr>
            <a:xfrm>
              <a:off x="2374611" y="1725051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0" y="0"/>
                  </a:moveTo>
                  <a:lnTo>
                    <a:pt x="1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0" name="Google Shape;7967;p64">
              <a:extLst>
                <a:ext uri="{FF2B5EF4-FFF2-40B4-BE49-F238E27FC236}">
                  <a16:creationId xmlns:a16="http://schemas.microsoft.com/office/drawing/2014/main" id="{29B85013-5115-8A92-2421-029CE16682BC}"/>
                </a:ext>
              </a:extLst>
            </p:cNvPr>
            <p:cNvSpPr/>
            <p:nvPr/>
          </p:nvSpPr>
          <p:spPr>
            <a:xfrm>
              <a:off x="2375656" y="1726857"/>
              <a:ext cx="244" cy="530"/>
            </a:xfrm>
            <a:custGeom>
              <a:avLst/>
              <a:gdLst/>
              <a:ahLst/>
              <a:cxnLst/>
              <a:rect l="l" t="t" r="r" b="b"/>
              <a:pathLst>
                <a:path w="18" h="39" extrusionOk="0">
                  <a:moveTo>
                    <a:pt x="18" y="39"/>
                  </a:moveTo>
                  <a:cubicBezTo>
                    <a:pt x="11" y="25"/>
                    <a:pt x="7" y="14"/>
                    <a:pt x="0" y="0"/>
                  </a:cubicBezTo>
                  <a:cubicBezTo>
                    <a:pt x="7" y="14"/>
                    <a:pt x="11" y="25"/>
                    <a:pt x="18" y="3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1" name="Google Shape;7968;p64">
              <a:extLst>
                <a:ext uri="{FF2B5EF4-FFF2-40B4-BE49-F238E27FC236}">
                  <a16:creationId xmlns:a16="http://schemas.microsoft.com/office/drawing/2014/main" id="{0A43E38E-5F1F-9543-2F67-65B7F3232C3D}"/>
                </a:ext>
              </a:extLst>
            </p:cNvPr>
            <p:cNvSpPr/>
            <p:nvPr/>
          </p:nvSpPr>
          <p:spPr>
            <a:xfrm>
              <a:off x="2374461" y="1724901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2" name="Google Shape;7969;p64">
              <a:extLst>
                <a:ext uri="{FF2B5EF4-FFF2-40B4-BE49-F238E27FC236}">
                  <a16:creationId xmlns:a16="http://schemas.microsoft.com/office/drawing/2014/main" id="{B461C116-1E28-B133-3EBE-2A63F182DDEF}"/>
                </a:ext>
              </a:extLst>
            </p:cNvPr>
            <p:cNvSpPr/>
            <p:nvPr/>
          </p:nvSpPr>
          <p:spPr>
            <a:xfrm>
              <a:off x="2374896" y="1725377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11" y="1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3" name="Google Shape;7970;p64">
              <a:extLst>
                <a:ext uri="{FF2B5EF4-FFF2-40B4-BE49-F238E27FC236}">
                  <a16:creationId xmlns:a16="http://schemas.microsoft.com/office/drawing/2014/main" id="{6EC52FA4-934A-E205-670E-2F03D84C5A4D}"/>
                </a:ext>
              </a:extLst>
            </p:cNvPr>
            <p:cNvSpPr/>
            <p:nvPr/>
          </p:nvSpPr>
          <p:spPr>
            <a:xfrm>
              <a:off x="2374746" y="1725187"/>
              <a:ext cx="163" cy="163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11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4" name="Google Shape;7971;p64">
              <a:extLst>
                <a:ext uri="{FF2B5EF4-FFF2-40B4-BE49-F238E27FC236}">
                  <a16:creationId xmlns:a16="http://schemas.microsoft.com/office/drawing/2014/main" id="{5E1AD281-3C9C-83DD-88D9-5E84AA903C8A}"/>
                </a:ext>
              </a:extLst>
            </p:cNvPr>
            <p:cNvSpPr/>
            <p:nvPr/>
          </p:nvSpPr>
          <p:spPr>
            <a:xfrm>
              <a:off x="2375466" y="1726381"/>
              <a:ext cx="204" cy="434"/>
            </a:xfrm>
            <a:custGeom>
              <a:avLst/>
              <a:gdLst/>
              <a:ahLst/>
              <a:cxnLst/>
              <a:rect l="l" t="t" r="r" b="b"/>
              <a:pathLst>
                <a:path w="15" h="32" extrusionOk="0">
                  <a:moveTo>
                    <a:pt x="14" y="32"/>
                  </a:moveTo>
                  <a:cubicBezTo>
                    <a:pt x="7" y="18"/>
                    <a:pt x="4" y="7"/>
                    <a:pt x="0" y="0"/>
                  </a:cubicBezTo>
                  <a:cubicBezTo>
                    <a:pt x="4" y="7"/>
                    <a:pt x="7" y="18"/>
                    <a:pt x="1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5" name="Google Shape;7972;p64">
              <a:extLst>
                <a:ext uri="{FF2B5EF4-FFF2-40B4-BE49-F238E27FC236}">
                  <a16:creationId xmlns:a16="http://schemas.microsoft.com/office/drawing/2014/main" id="{C015E5B8-6C4A-1EBC-8CB2-375280C5209F}"/>
                </a:ext>
              </a:extLst>
            </p:cNvPr>
            <p:cNvSpPr/>
            <p:nvPr/>
          </p:nvSpPr>
          <p:spPr>
            <a:xfrm>
              <a:off x="2375276" y="1725947"/>
              <a:ext cx="149" cy="394"/>
            </a:xfrm>
            <a:custGeom>
              <a:avLst/>
              <a:gdLst/>
              <a:ahLst/>
              <a:cxnLst/>
              <a:rect l="l" t="t" r="r" b="b"/>
              <a:pathLst>
                <a:path w="11" h="29" extrusionOk="0">
                  <a:moveTo>
                    <a:pt x="11" y="29"/>
                  </a:moveTo>
                  <a:cubicBezTo>
                    <a:pt x="7" y="18"/>
                    <a:pt x="4" y="8"/>
                    <a:pt x="0" y="1"/>
                  </a:cubicBezTo>
                  <a:cubicBezTo>
                    <a:pt x="4" y="8"/>
                    <a:pt x="7" y="18"/>
                    <a:pt x="1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6" name="Google Shape;7973;p64">
              <a:extLst>
                <a:ext uri="{FF2B5EF4-FFF2-40B4-BE49-F238E27FC236}">
                  <a16:creationId xmlns:a16="http://schemas.microsoft.com/office/drawing/2014/main" id="{D7FABB84-5FEB-E0EE-C040-DBD8788D4004}"/>
                </a:ext>
              </a:extLst>
            </p:cNvPr>
            <p:cNvSpPr/>
            <p:nvPr/>
          </p:nvSpPr>
          <p:spPr>
            <a:xfrm>
              <a:off x="2375086" y="1725662"/>
              <a:ext cx="149" cy="299"/>
            </a:xfrm>
            <a:custGeom>
              <a:avLst/>
              <a:gdLst/>
              <a:ahLst/>
              <a:cxnLst/>
              <a:rect l="l" t="t" r="r" b="b"/>
              <a:pathLst>
                <a:path w="11" h="22" extrusionOk="0">
                  <a:moveTo>
                    <a:pt x="11" y="22"/>
                  </a:moveTo>
                  <a:cubicBezTo>
                    <a:pt x="7" y="11"/>
                    <a:pt x="4" y="4"/>
                    <a:pt x="0" y="1"/>
                  </a:cubicBezTo>
                  <a:cubicBezTo>
                    <a:pt x="4" y="4"/>
                    <a:pt x="7" y="11"/>
                    <a:pt x="11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7" name="Google Shape;7974;p64">
              <a:extLst>
                <a:ext uri="{FF2B5EF4-FFF2-40B4-BE49-F238E27FC236}">
                  <a16:creationId xmlns:a16="http://schemas.microsoft.com/office/drawing/2014/main" id="{A564D580-FBF5-1352-87A2-6B177C237D29}"/>
                </a:ext>
              </a:extLst>
            </p:cNvPr>
            <p:cNvSpPr/>
            <p:nvPr/>
          </p:nvSpPr>
          <p:spPr>
            <a:xfrm>
              <a:off x="2367944" y="1717963"/>
              <a:ext cx="1113" cy="4901"/>
            </a:xfrm>
            <a:custGeom>
              <a:avLst/>
              <a:gdLst/>
              <a:ahLst/>
              <a:cxnLst/>
              <a:rect l="l" t="t" r="r" b="b"/>
              <a:pathLst>
                <a:path w="82" h="361" extrusionOk="0">
                  <a:moveTo>
                    <a:pt x="1" y="0"/>
                  </a:moveTo>
                  <a:cubicBezTo>
                    <a:pt x="18" y="49"/>
                    <a:pt x="32" y="98"/>
                    <a:pt x="32" y="151"/>
                  </a:cubicBezTo>
                  <a:cubicBezTo>
                    <a:pt x="39" y="224"/>
                    <a:pt x="53" y="294"/>
                    <a:pt x="81" y="361"/>
                  </a:cubicBezTo>
                  <a:cubicBezTo>
                    <a:pt x="53" y="294"/>
                    <a:pt x="39" y="224"/>
                    <a:pt x="36" y="151"/>
                  </a:cubicBezTo>
                  <a:cubicBezTo>
                    <a:pt x="32" y="98"/>
                    <a:pt x="22" y="49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8" name="Google Shape;7975;p64">
              <a:extLst>
                <a:ext uri="{FF2B5EF4-FFF2-40B4-BE49-F238E27FC236}">
                  <a16:creationId xmlns:a16="http://schemas.microsoft.com/office/drawing/2014/main" id="{5487D1A1-ECBB-3C82-C2F1-D3B5C2334235}"/>
                </a:ext>
              </a:extLst>
            </p:cNvPr>
            <p:cNvSpPr/>
            <p:nvPr/>
          </p:nvSpPr>
          <p:spPr>
            <a:xfrm>
              <a:off x="2376702" y="1727617"/>
              <a:ext cx="339" cy="109"/>
            </a:xfrm>
            <a:custGeom>
              <a:avLst/>
              <a:gdLst/>
              <a:ahLst/>
              <a:cxnLst/>
              <a:rect l="l" t="t" r="r" b="b"/>
              <a:pathLst>
                <a:path w="25" h="8" extrusionOk="0">
                  <a:moveTo>
                    <a:pt x="25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9" name="Google Shape;7976;p64">
              <a:extLst>
                <a:ext uri="{FF2B5EF4-FFF2-40B4-BE49-F238E27FC236}">
                  <a16:creationId xmlns:a16="http://schemas.microsoft.com/office/drawing/2014/main" id="{DA8ADE33-2792-AC00-9276-3C8824138BE8}"/>
                </a:ext>
              </a:extLst>
            </p:cNvPr>
            <p:cNvSpPr/>
            <p:nvPr/>
          </p:nvSpPr>
          <p:spPr>
            <a:xfrm>
              <a:off x="2377177" y="1727753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0" name="Google Shape;7977;p64">
              <a:extLst>
                <a:ext uri="{FF2B5EF4-FFF2-40B4-BE49-F238E27FC236}">
                  <a16:creationId xmlns:a16="http://schemas.microsoft.com/office/drawing/2014/main" id="{AA09FC5C-AFFF-9459-3833-3BC67500ABB8}"/>
                </a:ext>
              </a:extLst>
            </p:cNvPr>
            <p:cNvSpPr/>
            <p:nvPr/>
          </p:nvSpPr>
          <p:spPr>
            <a:xfrm>
              <a:off x="2377462" y="17279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1" name="Google Shape;7978;p64">
              <a:extLst>
                <a:ext uri="{FF2B5EF4-FFF2-40B4-BE49-F238E27FC236}">
                  <a16:creationId xmlns:a16="http://schemas.microsoft.com/office/drawing/2014/main" id="{AC5B1814-AA75-9812-9CB2-7E774D335E11}"/>
                </a:ext>
              </a:extLst>
            </p:cNvPr>
            <p:cNvSpPr/>
            <p:nvPr/>
          </p:nvSpPr>
          <p:spPr>
            <a:xfrm>
              <a:off x="2376131" y="172746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0" y="1"/>
                  </a:moveTo>
                  <a:cubicBezTo>
                    <a:pt x="11" y="1"/>
                    <a:pt x="25" y="4"/>
                    <a:pt x="35" y="8"/>
                  </a:cubicBezTo>
                  <a:cubicBezTo>
                    <a:pt x="25" y="4"/>
                    <a:pt x="11" y="1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2" name="Google Shape;7979;p64">
              <a:extLst>
                <a:ext uri="{FF2B5EF4-FFF2-40B4-BE49-F238E27FC236}">
                  <a16:creationId xmlns:a16="http://schemas.microsoft.com/office/drawing/2014/main" id="{D4DB3C7A-C88A-F9E6-D3D8-B46C6540A2EA}"/>
                </a:ext>
              </a:extLst>
            </p:cNvPr>
            <p:cNvSpPr/>
            <p:nvPr/>
          </p:nvSpPr>
          <p:spPr>
            <a:xfrm>
              <a:off x="2377937" y="172832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3" name="Google Shape;7980;p64">
              <a:extLst>
                <a:ext uri="{FF2B5EF4-FFF2-40B4-BE49-F238E27FC236}">
                  <a16:creationId xmlns:a16="http://schemas.microsoft.com/office/drawing/2014/main" id="{CF26A762-8ECF-A672-238C-C4247D12EFD3}"/>
                </a:ext>
              </a:extLst>
            </p:cNvPr>
            <p:cNvSpPr/>
            <p:nvPr/>
          </p:nvSpPr>
          <p:spPr>
            <a:xfrm>
              <a:off x="2381169" y="1711881"/>
              <a:ext cx="32763" cy="27725"/>
            </a:xfrm>
            <a:custGeom>
              <a:avLst/>
              <a:gdLst/>
              <a:ahLst/>
              <a:cxnLst/>
              <a:rect l="l" t="t" r="r" b="b"/>
              <a:pathLst>
                <a:path w="2413" h="2042" extrusionOk="0">
                  <a:moveTo>
                    <a:pt x="676" y="0"/>
                  </a:moveTo>
                  <a:lnTo>
                    <a:pt x="665" y="14"/>
                  </a:lnTo>
                  <a:lnTo>
                    <a:pt x="662" y="21"/>
                  </a:lnTo>
                  <a:lnTo>
                    <a:pt x="648" y="35"/>
                  </a:lnTo>
                  <a:lnTo>
                    <a:pt x="648" y="39"/>
                  </a:lnTo>
                  <a:lnTo>
                    <a:pt x="637" y="56"/>
                  </a:lnTo>
                  <a:lnTo>
                    <a:pt x="634" y="60"/>
                  </a:lnTo>
                  <a:lnTo>
                    <a:pt x="630" y="67"/>
                  </a:lnTo>
                  <a:lnTo>
                    <a:pt x="627" y="70"/>
                  </a:lnTo>
                  <a:lnTo>
                    <a:pt x="623" y="77"/>
                  </a:lnTo>
                  <a:lnTo>
                    <a:pt x="623" y="81"/>
                  </a:lnTo>
                  <a:lnTo>
                    <a:pt x="620" y="88"/>
                  </a:lnTo>
                  <a:lnTo>
                    <a:pt x="620" y="91"/>
                  </a:lnTo>
                  <a:lnTo>
                    <a:pt x="616" y="95"/>
                  </a:lnTo>
                  <a:cubicBezTo>
                    <a:pt x="637" y="116"/>
                    <a:pt x="662" y="137"/>
                    <a:pt x="690" y="154"/>
                  </a:cubicBezTo>
                  <a:cubicBezTo>
                    <a:pt x="749" y="203"/>
                    <a:pt x="812" y="249"/>
                    <a:pt x="816" y="319"/>
                  </a:cubicBezTo>
                  <a:cubicBezTo>
                    <a:pt x="819" y="354"/>
                    <a:pt x="805" y="385"/>
                    <a:pt x="781" y="410"/>
                  </a:cubicBezTo>
                  <a:cubicBezTo>
                    <a:pt x="725" y="466"/>
                    <a:pt x="637" y="476"/>
                    <a:pt x="571" y="476"/>
                  </a:cubicBezTo>
                  <a:cubicBezTo>
                    <a:pt x="469" y="476"/>
                    <a:pt x="336" y="445"/>
                    <a:pt x="266" y="378"/>
                  </a:cubicBezTo>
                  <a:cubicBezTo>
                    <a:pt x="198" y="310"/>
                    <a:pt x="67" y="249"/>
                    <a:pt x="15" y="249"/>
                  </a:cubicBezTo>
                  <a:cubicBezTo>
                    <a:pt x="13" y="249"/>
                    <a:pt x="12" y="249"/>
                    <a:pt x="11" y="249"/>
                  </a:cubicBezTo>
                  <a:lnTo>
                    <a:pt x="0" y="249"/>
                  </a:lnTo>
                  <a:cubicBezTo>
                    <a:pt x="7" y="266"/>
                    <a:pt x="14" y="287"/>
                    <a:pt x="25" y="301"/>
                  </a:cubicBezTo>
                  <a:cubicBezTo>
                    <a:pt x="39" y="326"/>
                    <a:pt x="56" y="354"/>
                    <a:pt x="74" y="382"/>
                  </a:cubicBezTo>
                  <a:cubicBezTo>
                    <a:pt x="137" y="476"/>
                    <a:pt x="207" y="574"/>
                    <a:pt x="182" y="669"/>
                  </a:cubicBezTo>
                  <a:cubicBezTo>
                    <a:pt x="172" y="704"/>
                    <a:pt x="217" y="767"/>
                    <a:pt x="259" y="823"/>
                  </a:cubicBezTo>
                  <a:cubicBezTo>
                    <a:pt x="315" y="900"/>
                    <a:pt x="378" y="988"/>
                    <a:pt x="378" y="1089"/>
                  </a:cubicBezTo>
                  <a:cubicBezTo>
                    <a:pt x="378" y="1142"/>
                    <a:pt x="466" y="1208"/>
                    <a:pt x="536" y="1261"/>
                  </a:cubicBezTo>
                  <a:cubicBezTo>
                    <a:pt x="630" y="1334"/>
                    <a:pt x="718" y="1401"/>
                    <a:pt x="718" y="1495"/>
                  </a:cubicBezTo>
                  <a:cubicBezTo>
                    <a:pt x="718" y="1495"/>
                    <a:pt x="718" y="1499"/>
                    <a:pt x="718" y="1502"/>
                  </a:cubicBezTo>
                  <a:lnTo>
                    <a:pt x="718" y="1506"/>
                  </a:lnTo>
                  <a:lnTo>
                    <a:pt x="718" y="1513"/>
                  </a:lnTo>
                  <a:lnTo>
                    <a:pt x="718" y="1520"/>
                  </a:lnTo>
                  <a:lnTo>
                    <a:pt x="721" y="1530"/>
                  </a:lnTo>
                  <a:lnTo>
                    <a:pt x="721" y="1537"/>
                  </a:lnTo>
                  <a:lnTo>
                    <a:pt x="725" y="1551"/>
                  </a:lnTo>
                  <a:lnTo>
                    <a:pt x="732" y="1562"/>
                  </a:lnTo>
                  <a:lnTo>
                    <a:pt x="739" y="1579"/>
                  </a:lnTo>
                  <a:lnTo>
                    <a:pt x="742" y="1593"/>
                  </a:lnTo>
                  <a:lnTo>
                    <a:pt x="753" y="1618"/>
                  </a:lnTo>
                  <a:lnTo>
                    <a:pt x="760" y="1632"/>
                  </a:lnTo>
                  <a:cubicBezTo>
                    <a:pt x="767" y="1642"/>
                    <a:pt x="770" y="1656"/>
                    <a:pt x="777" y="1667"/>
                  </a:cubicBezTo>
                  <a:lnTo>
                    <a:pt x="784" y="1677"/>
                  </a:lnTo>
                  <a:lnTo>
                    <a:pt x="784" y="1681"/>
                  </a:lnTo>
                  <a:cubicBezTo>
                    <a:pt x="907" y="1618"/>
                    <a:pt x="1026" y="1541"/>
                    <a:pt x="1138" y="1457"/>
                  </a:cubicBezTo>
                  <a:cubicBezTo>
                    <a:pt x="1197" y="1418"/>
                    <a:pt x="1250" y="1380"/>
                    <a:pt x="1303" y="1345"/>
                  </a:cubicBezTo>
                  <a:cubicBezTo>
                    <a:pt x="1331" y="1331"/>
                    <a:pt x="1355" y="1313"/>
                    <a:pt x="1380" y="1303"/>
                  </a:cubicBezTo>
                  <a:cubicBezTo>
                    <a:pt x="1387" y="1299"/>
                    <a:pt x="1394" y="1296"/>
                    <a:pt x="1401" y="1292"/>
                  </a:cubicBezTo>
                  <a:cubicBezTo>
                    <a:pt x="1424" y="1280"/>
                    <a:pt x="1448" y="1274"/>
                    <a:pt x="1473" y="1274"/>
                  </a:cubicBezTo>
                  <a:cubicBezTo>
                    <a:pt x="1511" y="1274"/>
                    <a:pt x="1549" y="1289"/>
                    <a:pt x="1579" y="1317"/>
                  </a:cubicBezTo>
                  <a:cubicBezTo>
                    <a:pt x="1695" y="1432"/>
                    <a:pt x="1621" y="1772"/>
                    <a:pt x="1583" y="1870"/>
                  </a:cubicBezTo>
                  <a:cubicBezTo>
                    <a:pt x="1586" y="1877"/>
                    <a:pt x="1593" y="1880"/>
                    <a:pt x="1597" y="1887"/>
                  </a:cubicBezTo>
                  <a:lnTo>
                    <a:pt x="1604" y="1891"/>
                  </a:lnTo>
                  <a:lnTo>
                    <a:pt x="1618" y="1905"/>
                  </a:lnTo>
                  <a:lnTo>
                    <a:pt x="1628" y="1915"/>
                  </a:lnTo>
                  <a:lnTo>
                    <a:pt x="1649" y="1929"/>
                  </a:lnTo>
                  <a:lnTo>
                    <a:pt x="1660" y="1940"/>
                  </a:lnTo>
                  <a:lnTo>
                    <a:pt x="1688" y="1957"/>
                  </a:lnTo>
                  <a:lnTo>
                    <a:pt x="1702" y="1964"/>
                  </a:lnTo>
                  <a:lnTo>
                    <a:pt x="1740" y="1989"/>
                  </a:lnTo>
                  <a:lnTo>
                    <a:pt x="1747" y="1992"/>
                  </a:lnTo>
                  <a:cubicBezTo>
                    <a:pt x="1761" y="2003"/>
                    <a:pt x="1779" y="2010"/>
                    <a:pt x="1796" y="2020"/>
                  </a:cubicBezTo>
                  <a:lnTo>
                    <a:pt x="1814" y="2027"/>
                  </a:lnTo>
                  <a:lnTo>
                    <a:pt x="1845" y="2041"/>
                  </a:lnTo>
                  <a:cubicBezTo>
                    <a:pt x="1856" y="1943"/>
                    <a:pt x="1891" y="1852"/>
                    <a:pt x="1954" y="1775"/>
                  </a:cubicBezTo>
                  <a:cubicBezTo>
                    <a:pt x="2216" y="1450"/>
                    <a:pt x="2412" y="942"/>
                    <a:pt x="2269" y="683"/>
                  </a:cubicBezTo>
                  <a:cubicBezTo>
                    <a:pt x="2216" y="585"/>
                    <a:pt x="2052" y="382"/>
                    <a:pt x="1877" y="168"/>
                  </a:cubicBezTo>
                  <a:lnTo>
                    <a:pt x="1849" y="137"/>
                  </a:lnTo>
                  <a:lnTo>
                    <a:pt x="1849" y="140"/>
                  </a:lnTo>
                  <a:cubicBezTo>
                    <a:pt x="1842" y="147"/>
                    <a:pt x="1835" y="154"/>
                    <a:pt x="1831" y="158"/>
                  </a:cubicBezTo>
                  <a:lnTo>
                    <a:pt x="1824" y="165"/>
                  </a:lnTo>
                  <a:cubicBezTo>
                    <a:pt x="1817" y="172"/>
                    <a:pt x="1810" y="175"/>
                    <a:pt x="1803" y="182"/>
                  </a:cubicBezTo>
                  <a:lnTo>
                    <a:pt x="1800" y="186"/>
                  </a:lnTo>
                  <a:lnTo>
                    <a:pt x="1779" y="200"/>
                  </a:lnTo>
                  <a:lnTo>
                    <a:pt x="1775" y="200"/>
                  </a:lnTo>
                  <a:lnTo>
                    <a:pt x="1751" y="214"/>
                  </a:lnTo>
                  <a:lnTo>
                    <a:pt x="1747" y="214"/>
                  </a:lnTo>
                  <a:lnTo>
                    <a:pt x="1726" y="224"/>
                  </a:lnTo>
                  <a:lnTo>
                    <a:pt x="1719" y="228"/>
                  </a:lnTo>
                  <a:lnTo>
                    <a:pt x="1695" y="235"/>
                  </a:lnTo>
                  <a:lnTo>
                    <a:pt x="1674" y="245"/>
                  </a:lnTo>
                  <a:lnTo>
                    <a:pt x="1667" y="245"/>
                  </a:lnTo>
                  <a:lnTo>
                    <a:pt x="1646" y="252"/>
                  </a:lnTo>
                  <a:cubicBezTo>
                    <a:pt x="1604" y="266"/>
                    <a:pt x="1558" y="280"/>
                    <a:pt x="1548" y="301"/>
                  </a:cubicBezTo>
                  <a:cubicBezTo>
                    <a:pt x="1537" y="336"/>
                    <a:pt x="1509" y="364"/>
                    <a:pt x="1474" y="382"/>
                  </a:cubicBezTo>
                  <a:cubicBezTo>
                    <a:pt x="1467" y="385"/>
                    <a:pt x="1460" y="385"/>
                    <a:pt x="1453" y="389"/>
                  </a:cubicBezTo>
                  <a:lnTo>
                    <a:pt x="1397" y="389"/>
                  </a:lnTo>
                  <a:cubicBezTo>
                    <a:pt x="1387" y="385"/>
                    <a:pt x="1380" y="385"/>
                    <a:pt x="1373" y="382"/>
                  </a:cubicBezTo>
                  <a:lnTo>
                    <a:pt x="1366" y="382"/>
                  </a:lnTo>
                  <a:lnTo>
                    <a:pt x="1348" y="375"/>
                  </a:lnTo>
                  <a:lnTo>
                    <a:pt x="1338" y="371"/>
                  </a:lnTo>
                  <a:lnTo>
                    <a:pt x="1317" y="361"/>
                  </a:lnTo>
                  <a:lnTo>
                    <a:pt x="1303" y="357"/>
                  </a:lnTo>
                  <a:cubicBezTo>
                    <a:pt x="1292" y="350"/>
                    <a:pt x="1278" y="343"/>
                    <a:pt x="1264" y="343"/>
                  </a:cubicBezTo>
                  <a:cubicBezTo>
                    <a:pt x="1254" y="346"/>
                    <a:pt x="1245" y="348"/>
                    <a:pt x="1236" y="348"/>
                  </a:cubicBezTo>
                  <a:cubicBezTo>
                    <a:pt x="1177" y="348"/>
                    <a:pt x="1123" y="293"/>
                    <a:pt x="1050" y="221"/>
                  </a:cubicBezTo>
                  <a:cubicBezTo>
                    <a:pt x="984" y="151"/>
                    <a:pt x="896" y="63"/>
                    <a:pt x="823" y="53"/>
                  </a:cubicBezTo>
                  <a:cubicBezTo>
                    <a:pt x="812" y="49"/>
                    <a:pt x="798" y="49"/>
                    <a:pt x="788" y="46"/>
                  </a:cubicBezTo>
                  <a:lnTo>
                    <a:pt x="774" y="42"/>
                  </a:lnTo>
                  <a:lnTo>
                    <a:pt x="749" y="35"/>
                  </a:lnTo>
                  <a:lnTo>
                    <a:pt x="721" y="21"/>
                  </a:lnTo>
                  <a:lnTo>
                    <a:pt x="714" y="18"/>
                  </a:lnTo>
                  <a:cubicBezTo>
                    <a:pt x="704" y="14"/>
                    <a:pt x="690" y="7"/>
                    <a:pt x="67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4" name="Google Shape;7981;p64">
              <a:extLst>
                <a:ext uri="{FF2B5EF4-FFF2-40B4-BE49-F238E27FC236}">
                  <a16:creationId xmlns:a16="http://schemas.microsoft.com/office/drawing/2014/main" id="{5888EDE0-016E-13FF-EC8A-B032C6CC8709}"/>
                </a:ext>
              </a:extLst>
            </p:cNvPr>
            <p:cNvSpPr/>
            <p:nvPr/>
          </p:nvSpPr>
          <p:spPr>
            <a:xfrm>
              <a:off x="2379363" y="1731459"/>
              <a:ext cx="6517" cy="4535"/>
            </a:xfrm>
            <a:custGeom>
              <a:avLst/>
              <a:gdLst/>
              <a:ahLst/>
              <a:cxnLst/>
              <a:rect l="l" t="t" r="r" b="b"/>
              <a:pathLst>
                <a:path w="480" h="334" extrusionOk="0">
                  <a:moveTo>
                    <a:pt x="0" y="1"/>
                  </a:moveTo>
                  <a:cubicBezTo>
                    <a:pt x="0" y="8"/>
                    <a:pt x="4" y="15"/>
                    <a:pt x="7" y="22"/>
                  </a:cubicBezTo>
                  <a:lnTo>
                    <a:pt x="11" y="25"/>
                  </a:lnTo>
                  <a:cubicBezTo>
                    <a:pt x="11" y="32"/>
                    <a:pt x="14" y="36"/>
                    <a:pt x="18" y="43"/>
                  </a:cubicBezTo>
                  <a:lnTo>
                    <a:pt x="21" y="50"/>
                  </a:lnTo>
                  <a:cubicBezTo>
                    <a:pt x="25" y="53"/>
                    <a:pt x="28" y="60"/>
                    <a:pt x="32" y="64"/>
                  </a:cubicBezTo>
                  <a:lnTo>
                    <a:pt x="35" y="67"/>
                  </a:lnTo>
                  <a:cubicBezTo>
                    <a:pt x="39" y="74"/>
                    <a:pt x="46" y="81"/>
                    <a:pt x="53" y="85"/>
                  </a:cubicBezTo>
                  <a:lnTo>
                    <a:pt x="56" y="92"/>
                  </a:lnTo>
                  <a:lnTo>
                    <a:pt x="74" y="102"/>
                  </a:lnTo>
                  <a:lnTo>
                    <a:pt x="81" y="106"/>
                  </a:lnTo>
                  <a:cubicBezTo>
                    <a:pt x="88" y="113"/>
                    <a:pt x="98" y="116"/>
                    <a:pt x="105" y="120"/>
                  </a:cubicBezTo>
                  <a:cubicBezTo>
                    <a:pt x="158" y="137"/>
                    <a:pt x="203" y="176"/>
                    <a:pt x="228" y="225"/>
                  </a:cubicBezTo>
                  <a:cubicBezTo>
                    <a:pt x="238" y="246"/>
                    <a:pt x="242" y="267"/>
                    <a:pt x="238" y="288"/>
                  </a:cubicBezTo>
                  <a:cubicBezTo>
                    <a:pt x="308" y="309"/>
                    <a:pt x="382" y="326"/>
                    <a:pt x="455" y="330"/>
                  </a:cubicBezTo>
                  <a:lnTo>
                    <a:pt x="480" y="333"/>
                  </a:lnTo>
                  <a:cubicBezTo>
                    <a:pt x="480" y="326"/>
                    <a:pt x="476" y="323"/>
                    <a:pt x="476" y="319"/>
                  </a:cubicBezTo>
                  <a:lnTo>
                    <a:pt x="476" y="316"/>
                  </a:lnTo>
                  <a:cubicBezTo>
                    <a:pt x="473" y="302"/>
                    <a:pt x="469" y="291"/>
                    <a:pt x="466" y="281"/>
                  </a:cubicBezTo>
                  <a:lnTo>
                    <a:pt x="466" y="277"/>
                  </a:lnTo>
                  <a:cubicBezTo>
                    <a:pt x="459" y="267"/>
                    <a:pt x="452" y="253"/>
                    <a:pt x="445" y="242"/>
                  </a:cubicBezTo>
                  <a:lnTo>
                    <a:pt x="441" y="239"/>
                  </a:lnTo>
                  <a:cubicBezTo>
                    <a:pt x="431" y="225"/>
                    <a:pt x="420" y="207"/>
                    <a:pt x="403" y="190"/>
                  </a:cubicBezTo>
                  <a:lnTo>
                    <a:pt x="399" y="183"/>
                  </a:lnTo>
                  <a:lnTo>
                    <a:pt x="371" y="155"/>
                  </a:lnTo>
                  <a:cubicBezTo>
                    <a:pt x="316" y="94"/>
                    <a:pt x="287" y="83"/>
                    <a:pt x="261" y="83"/>
                  </a:cubicBezTo>
                  <a:cubicBezTo>
                    <a:pt x="255" y="83"/>
                    <a:pt x="248" y="84"/>
                    <a:pt x="242" y="85"/>
                  </a:cubicBezTo>
                  <a:cubicBezTo>
                    <a:pt x="228" y="89"/>
                    <a:pt x="214" y="91"/>
                    <a:pt x="201" y="91"/>
                  </a:cubicBezTo>
                  <a:cubicBezTo>
                    <a:pt x="180" y="91"/>
                    <a:pt x="159" y="86"/>
                    <a:pt x="140" y="78"/>
                  </a:cubicBezTo>
                  <a:cubicBezTo>
                    <a:pt x="123" y="71"/>
                    <a:pt x="98" y="57"/>
                    <a:pt x="74" y="43"/>
                  </a:cubicBezTo>
                  <a:lnTo>
                    <a:pt x="35" y="22"/>
                  </a:lnTo>
                  <a:lnTo>
                    <a:pt x="25" y="1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5" name="Google Shape;7982;p64">
              <a:extLst>
                <a:ext uri="{FF2B5EF4-FFF2-40B4-BE49-F238E27FC236}">
                  <a16:creationId xmlns:a16="http://schemas.microsoft.com/office/drawing/2014/main" id="{A787A58A-C46F-28EC-7602-BD06461869C3}"/>
                </a:ext>
              </a:extLst>
            </p:cNvPr>
            <p:cNvSpPr/>
            <p:nvPr/>
          </p:nvSpPr>
          <p:spPr>
            <a:xfrm>
              <a:off x="2389668" y="171268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8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6" name="Google Shape;7983;p64">
              <a:extLst>
                <a:ext uri="{FF2B5EF4-FFF2-40B4-BE49-F238E27FC236}">
                  <a16:creationId xmlns:a16="http://schemas.microsoft.com/office/drawing/2014/main" id="{83444879-AEBC-1E45-B903-339024625156}"/>
                </a:ext>
              </a:extLst>
            </p:cNvPr>
            <p:cNvSpPr/>
            <p:nvPr/>
          </p:nvSpPr>
          <p:spPr>
            <a:xfrm>
              <a:off x="2389953" y="1712111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7" name="Google Shape;7984;p64">
              <a:extLst>
                <a:ext uri="{FF2B5EF4-FFF2-40B4-BE49-F238E27FC236}">
                  <a16:creationId xmlns:a16="http://schemas.microsoft.com/office/drawing/2014/main" id="{1A22B37D-57EC-DED8-E757-25AFD6FC5F98}"/>
                </a:ext>
              </a:extLst>
            </p:cNvPr>
            <p:cNvSpPr/>
            <p:nvPr/>
          </p:nvSpPr>
          <p:spPr>
            <a:xfrm>
              <a:off x="2389532" y="1713021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0" y="4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8" name="Google Shape;7985;p64">
              <a:extLst>
                <a:ext uri="{FF2B5EF4-FFF2-40B4-BE49-F238E27FC236}">
                  <a16:creationId xmlns:a16="http://schemas.microsoft.com/office/drawing/2014/main" id="{90EC8576-DAD7-5608-9122-3656911B4B8D}"/>
                </a:ext>
              </a:extLst>
            </p:cNvPr>
            <p:cNvSpPr/>
            <p:nvPr/>
          </p:nvSpPr>
          <p:spPr>
            <a:xfrm>
              <a:off x="2389573" y="1712872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1" y="8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9" name="Google Shape;7986;p64">
              <a:extLst>
                <a:ext uri="{FF2B5EF4-FFF2-40B4-BE49-F238E27FC236}">
                  <a16:creationId xmlns:a16="http://schemas.microsoft.com/office/drawing/2014/main" id="{29CA0994-D87B-A013-AD7B-504E073F2FCC}"/>
                </a:ext>
              </a:extLst>
            </p:cNvPr>
            <p:cNvSpPr/>
            <p:nvPr/>
          </p:nvSpPr>
          <p:spPr>
            <a:xfrm>
              <a:off x="2389763" y="1712397"/>
              <a:ext cx="204" cy="258"/>
            </a:xfrm>
            <a:custGeom>
              <a:avLst/>
              <a:gdLst/>
              <a:ahLst/>
              <a:cxnLst/>
              <a:rect l="l" t="t" r="r" b="b"/>
              <a:pathLst>
                <a:path w="15" h="19" extrusionOk="0">
                  <a:moveTo>
                    <a:pt x="1" y="18"/>
                  </a:moveTo>
                  <a:lnTo>
                    <a:pt x="1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0" name="Google Shape;7987;p64">
              <a:extLst>
                <a:ext uri="{FF2B5EF4-FFF2-40B4-BE49-F238E27FC236}">
                  <a16:creationId xmlns:a16="http://schemas.microsoft.com/office/drawing/2014/main" id="{8247B400-85A2-63A3-334C-686463FAFDB6}"/>
                </a:ext>
              </a:extLst>
            </p:cNvPr>
            <p:cNvSpPr/>
            <p:nvPr/>
          </p:nvSpPr>
          <p:spPr>
            <a:xfrm>
              <a:off x="2389478" y="1713116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1" name="Google Shape;7988;p64">
              <a:extLst>
                <a:ext uri="{FF2B5EF4-FFF2-40B4-BE49-F238E27FC236}">
                  <a16:creationId xmlns:a16="http://schemas.microsoft.com/office/drawing/2014/main" id="{0C672DBE-9656-A016-3B34-7A5B69D64CEF}"/>
                </a:ext>
              </a:extLst>
            </p:cNvPr>
            <p:cNvSpPr/>
            <p:nvPr/>
          </p:nvSpPr>
          <p:spPr>
            <a:xfrm>
              <a:off x="2381114" y="1715248"/>
              <a:ext cx="353" cy="774"/>
            </a:xfrm>
            <a:custGeom>
              <a:avLst/>
              <a:gdLst/>
              <a:ahLst/>
              <a:cxnLst/>
              <a:rect l="l" t="t" r="r" b="b"/>
              <a:pathLst>
                <a:path w="26" h="57" extrusionOk="0">
                  <a:moveTo>
                    <a:pt x="1" y="1"/>
                  </a:moveTo>
                  <a:cubicBezTo>
                    <a:pt x="1" y="11"/>
                    <a:pt x="4" y="22"/>
                    <a:pt x="11" y="32"/>
                  </a:cubicBezTo>
                  <a:lnTo>
                    <a:pt x="13" y="35"/>
                  </a:lnTo>
                  <a:lnTo>
                    <a:pt x="13" y="35"/>
                  </a:lnTo>
                  <a:cubicBezTo>
                    <a:pt x="7" y="25"/>
                    <a:pt x="3" y="13"/>
                    <a:pt x="1" y="1"/>
                  </a:cubicBezTo>
                  <a:close/>
                  <a:moveTo>
                    <a:pt x="13" y="35"/>
                  </a:moveTo>
                  <a:lnTo>
                    <a:pt x="13" y="35"/>
                  </a:lnTo>
                  <a:cubicBezTo>
                    <a:pt x="17" y="43"/>
                    <a:pt x="21" y="50"/>
                    <a:pt x="25" y="57"/>
                  </a:cubicBezTo>
                  <a:lnTo>
                    <a:pt x="13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2" name="Google Shape;7989;p64">
              <a:extLst>
                <a:ext uri="{FF2B5EF4-FFF2-40B4-BE49-F238E27FC236}">
                  <a16:creationId xmlns:a16="http://schemas.microsoft.com/office/drawing/2014/main" id="{C0AFD87B-6BE3-D1DC-2475-C7C5CC9EF0B1}"/>
                </a:ext>
              </a:extLst>
            </p:cNvPr>
            <p:cNvSpPr/>
            <p:nvPr/>
          </p:nvSpPr>
          <p:spPr>
            <a:xfrm>
              <a:off x="2381114" y="171524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1"/>
                  </a:moveTo>
                  <a:lnTo>
                    <a:pt x="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3" name="Google Shape;7990;p64">
              <a:extLst>
                <a:ext uri="{FF2B5EF4-FFF2-40B4-BE49-F238E27FC236}">
                  <a16:creationId xmlns:a16="http://schemas.microsoft.com/office/drawing/2014/main" id="{AE0618B8-0218-E526-54E7-24F84514C6B5}"/>
                </a:ext>
              </a:extLst>
            </p:cNvPr>
            <p:cNvSpPr/>
            <p:nvPr/>
          </p:nvSpPr>
          <p:spPr>
            <a:xfrm>
              <a:off x="2381209" y="1715248"/>
              <a:ext cx="3530" cy="1779"/>
            </a:xfrm>
            <a:custGeom>
              <a:avLst/>
              <a:gdLst/>
              <a:ahLst/>
              <a:cxnLst/>
              <a:rect l="l" t="t" r="r" b="b"/>
              <a:pathLst>
                <a:path w="260" h="131" extrusionOk="0">
                  <a:moveTo>
                    <a:pt x="1" y="1"/>
                  </a:moveTo>
                  <a:cubicBezTo>
                    <a:pt x="53" y="1"/>
                    <a:pt x="193" y="64"/>
                    <a:pt x="260" y="130"/>
                  </a:cubicBezTo>
                  <a:cubicBezTo>
                    <a:pt x="193" y="64"/>
                    <a:pt x="53" y="1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4" name="Google Shape;7991;p64">
              <a:extLst>
                <a:ext uri="{FF2B5EF4-FFF2-40B4-BE49-F238E27FC236}">
                  <a16:creationId xmlns:a16="http://schemas.microsoft.com/office/drawing/2014/main" id="{9609E6D2-E549-E30D-0C63-70C181A94AE4}"/>
                </a:ext>
              </a:extLst>
            </p:cNvPr>
            <p:cNvSpPr/>
            <p:nvPr/>
          </p:nvSpPr>
          <p:spPr>
            <a:xfrm>
              <a:off x="2390198" y="1711921"/>
              <a:ext cx="149" cy="163"/>
            </a:xfrm>
            <a:custGeom>
              <a:avLst/>
              <a:gdLst/>
              <a:ahLst/>
              <a:cxnLst/>
              <a:rect l="l" t="t" r="r" b="b"/>
              <a:pathLst>
                <a:path w="11" h="12" extrusionOk="0">
                  <a:moveTo>
                    <a:pt x="11" y="1"/>
                  </a:moveTo>
                  <a:lnTo>
                    <a:pt x="0" y="11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5" name="Google Shape;7992;p64">
              <a:extLst>
                <a:ext uri="{FF2B5EF4-FFF2-40B4-BE49-F238E27FC236}">
                  <a16:creationId xmlns:a16="http://schemas.microsoft.com/office/drawing/2014/main" id="{E7AE9BC0-882D-950C-7FB9-A470F92112E4}"/>
                </a:ext>
              </a:extLst>
            </p:cNvPr>
            <p:cNvSpPr/>
            <p:nvPr/>
          </p:nvSpPr>
          <p:spPr>
            <a:xfrm>
              <a:off x="2379404" y="1731799"/>
              <a:ext cx="163" cy="244"/>
            </a:xfrm>
            <a:custGeom>
              <a:avLst/>
              <a:gdLst/>
              <a:ahLst/>
              <a:cxnLst/>
              <a:rect l="l" t="t" r="r" b="b"/>
              <a:pathLst>
                <a:path w="12" h="18" extrusionOk="0">
                  <a:moveTo>
                    <a:pt x="1" y="0"/>
                  </a:moveTo>
                  <a:cubicBezTo>
                    <a:pt x="4" y="7"/>
                    <a:pt x="8" y="14"/>
                    <a:pt x="11" y="18"/>
                  </a:cubicBezTo>
                  <a:cubicBezTo>
                    <a:pt x="8" y="11"/>
                    <a:pt x="4" y="7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6" name="Google Shape;7993;p64">
              <a:extLst>
                <a:ext uri="{FF2B5EF4-FFF2-40B4-BE49-F238E27FC236}">
                  <a16:creationId xmlns:a16="http://schemas.microsoft.com/office/drawing/2014/main" id="{08302D2D-C95D-7B29-8B97-DDA5ECAF3D81}"/>
                </a:ext>
              </a:extLst>
            </p:cNvPr>
            <p:cNvSpPr/>
            <p:nvPr/>
          </p:nvSpPr>
          <p:spPr>
            <a:xfrm>
              <a:off x="2379268" y="1731459"/>
              <a:ext cx="149" cy="258"/>
            </a:xfrm>
            <a:custGeom>
              <a:avLst/>
              <a:gdLst/>
              <a:ahLst/>
              <a:cxnLst/>
              <a:rect l="l" t="t" r="r" b="b"/>
              <a:pathLst>
                <a:path w="11" h="19" extrusionOk="0">
                  <a:moveTo>
                    <a:pt x="0" y="1"/>
                  </a:moveTo>
                  <a:cubicBezTo>
                    <a:pt x="4" y="8"/>
                    <a:pt x="7" y="15"/>
                    <a:pt x="11" y="18"/>
                  </a:cubicBezTo>
                  <a:cubicBezTo>
                    <a:pt x="7" y="11"/>
                    <a:pt x="4" y="8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7" name="Google Shape;7994;p64">
              <a:extLst>
                <a:ext uri="{FF2B5EF4-FFF2-40B4-BE49-F238E27FC236}">
                  <a16:creationId xmlns:a16="http://schemas.microsoft.com/office/drawing/2014/main" id="{76970EA8-31D5-B012-FF53-BB2B60A5543E}"/>
                </a:ext>
              </a:extLst>
            </p:cNvPr>
            <p:cNvSpPr/>
            <p:nvPr/>
          </p:nvSpPr>
          <p:spPr>
            <a:xfrm>
              <a:off x="2403748" y="17382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18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8" name="Google Shape;7995;p64">
              <a:extLst>
                <a:ext uri="{FF2B5EF4-FFF2-40B4-BE49-F238E27FC236}">
                  <a16:creationId xmlns:a16="http://schemas.microsoft.com/office/drawing/2014/main" id="{281BCF34-1BE6-3103-4E47-41A58B82AE27}"/>
                </a:ext>
              </a:extLst>
            </p:cNvPr>
            <p:cNvSpPr/>
            <p:nvPr/>
          </p:nvSpPr>
          <p:spPr>
            <a:xfrm>
              <a:off x="2404888" y="1738968"/>
              <a:ext cx="720" cy="394"/>
            </a:xfrm>
            <a:custGeom>
              <a:avLst/>
              <a:gdLst/>
              <a:ahLst/>
              <a:cxnLst/>
              <a:rect l="l" t="t" r="r" b="b"/>
              <a:pathLst>
                <a:path w="53" h="29" extrusionOk="0">
                  <a:moveTo>
                    <a:pt x="53" y="29"/>
                  </a:moveTo>
                  <a:cubicBezTo>
                    <a:pt x="35" y="18"/>
                    <a:pt x="18" y="11"/>
                    <a:pt x="0" y="1"/>
                  </a:cubicBezTo>
                  <a:cubicBezTo>
                    <a:pt x="18" y="11"/>
                    <a:pt x="35" y="18"/>
                    <a:pt x="53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9" name="Google Shape;7996;p64">
              <a:extLst>
                <a:ext uri="{FF2B5EF4-FFF2-40B4-BE49-F238E27FC236}">
                  <a16:creationId xmlns:a16="http://schemas.microsoft.com/office/drawing/2014/main" id="{C6D9397C-F8EB-A88F-916A-87162F7A0918}"/>
                </a:ext>
              </a:extLst>
            </p:cNvPr>
            <p:cNvSpPr/>
            <p:nvPr/>
          </p:nvSpPr>
          <p:spPr>
            <a:xfrm>
              <a:off x="2403273" y="1737922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0" name="Google Shape;7997;p64">
              <a:extLst>
                <a:ext uri="{FF2B5EF4-FFF2-40B4-BE49-F238E27FC236}">
                  <a16:creationId xmlns:a16="http://schemas.microsoft.com/office/drawing/2014/main" id="{149589EE-501E-39C5-C95E-3C0732FC326F}"/>
                </a:ext>
              </a:extLst>
            </p:cNvPr>
            <p:cNvSpPr/>
            <p:nvPr/>
          </p:nvSpPr>
          <p:spPr>
            <a:xfrm>
              <a:off x="2398901" y="1729613"/>
              <a:ext cx="1005" cy="584"/>
            </a:xfrm>
            <a:custGeom>
              <a:avLst/>
              <a:gdLst/>
              <a:ahLst/>
              <a:cxnLst/>
              <a:rect l="l" t="t" r="r" b="b"/>
              <a:pathLst>
                <a:path w="74" h="43" extrusionOk="0">
                  <a:moveTo>
                    <a:pt x="73" y="0"/>
                  </a:moveTo>
                  <a:cubicBezTo>
                    <a:pt x="49" y="11"/>
                    <a:pt x="25" y="25"/>
                    <a:pt x="0" y="42"/>
                  </a:cubicBezTo>
                  <a:cubicBezTo>
                    <a:pt x="25" y="28"/>
                    <a:pt x="49" y="11"/>
                    <a:pt x="73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1" name="Google Shape;7998;p64">
              <a:extLst>
                <a:ext uri="{FF2B5EF4-FFF2-40B4-BE49-F238E27FC236}">
                  <a16:creationId xmlns:a16="http://schemas.microsoft.com/office/drawing/2014/main" id="{1AEE39A1-2FB8-5DDD-7CCF-9DD021CE2893}"/>
                </a:ext>
              </a:extLst>
            </p:cNvPr>
            <p:cNvSpPr/>
            <p:nvPr/>
          </p:nvSpPr>
          <p:spPr>
            <a:xfrm>
              <a:off x="2405839" y="1739443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5"/>
                  </a:moveTo>
                  <a:lnTo>
                    <a:pt x="28" y="1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2" name="Google Shape;7999;p64">
              <a:extLst>
                <a:ext uri="{FF2B5EF4-FFF2-40B4-BE49-F238E27FC236}">
                  <a16:creationId xmlns:a16="http://schemas.microsoft.com/office/drawing/2014/main" id="{2D2288EE-39BC-945D-D9FE-40AEF2D59B9B}"/>
                </a:ext>
              </a:extLst>
            </p:cNvPr>
            <p:cNvSpPr/>
            <p:nvPr/>
          </p:nvSpPr>
          <p:spPr>
            <a:xfrm>
              <a:off x="2385486" y="1735981"/>
              <a:ext cx="353" cy="14"/>
            </a:xfrm>
            <a:custGeom>
              <a:avLst/>
              <a:gdLst/>
              <a:ahLst/>
              <a:cxnLst/>
              <a:rect l="l" t="t" r="r" b="b"/>
              <a:pathLst>
                <a:path w="26" h="1" extrusionOk="0">
                  <a:moveTo>
                    <a:pt x="25" y="0"/>
                  </a:moveTo>
                  <a:lnTo>
                    <a:pt x="1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3" name="Google Shape;8000;p64">
              <a:extLst>
                <a:ext uri="{FF2B5EF4-FFF2-40B4-BE49-F238E27FC236}">
                  <a16:creationId xmlns:a16="http://schemas.microsoft.com/office/drawing/2014/main" id="{CA141003-B3A1-C343-0AC5-90B65C949528}"/>
                </a:ext>
              </a:extLst>
            </p:cNvPr>
            <p:cNvSpPr/>
            <p:nvPr/>
          </p:nvSpPr>
          <p:spPr>
            <a:xfrm>
              <a:off x="2379784" y="1732369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4"/>
                    <a:pt x="4" y="7"/>
                    <a:pt x="1" y="0"/>
                  </a:cubicBezTo>
                  <a:cubicBezTo>
                    <a:pt x="4" y="7"/>
                    <a:pt x="11" y="14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4" name="Google Shape;8001;p64">
              <a:extLst>
                <a:ext uri="{FF2B5EF4-FFF2-40B4-BE49-F238E27FC236}">
                  <a16:creationId xmlns:a16="http://schemas.microsoft.com/office/drawing/2014/main" id="{C26D2274-D13F-592D-910A-BA8A494F54C7}"/>
                </a:ext>
              </a:extLst>
            </p:cNvPr>
            <p:cNvSpPr/>
            <p:nvPr/>
          </p:nvSpPr>
          <p:spPr>
            <a:xfrm>
              <a:off x="2402933" y="1737596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5" name="Google Shape;8002;p64">
              <a:extLst>
                <a:ext uri="{FF2B5EF4-FFF2-40B4-BE49-F238E27FC236}">
                  <a16:creationId xmlns:a16="http://schemas.microsoft.com/office/drawing/2014/main" id="{2210C448-3203-167F-DAE1-2CE83D095916}"/>
                </a:ext>
              </a:extLst>
            </p:cNvPr>
            <p:cNvSpPr/>
            <p:nvPr/>
          </p:nvSpPr>
          <p:spPr>
            <a:xfrm>
              <a:off x="2379594" y="173212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5"/>
                  </a:moveTo>
                  <a:cubicBezTo>
                    <a:pt x="8" y="11"/>
                    <a:pt x="4" y="4"/>
                    <a:pt x="1" y="1"/>
                  </a:cubicBezTo>
                  <a:cubicBezTo>
                    <a:pt x="4" y="4"/>
                    <a:pt x="8" y="11"/>
                    <a:pt x="11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6" name="Google Shape;8003;p64">
              <a:extLst>
                <a:ext uri="{FF2B5EF4-FFF2-40B4-BE49-F238E27FC236}">
                  <a16:creationId xmlns:a16="http://schemas.microsoft.com/office/drawing/2014/main" id="{691767D5-3E8B-621B-B764-EB2E3AE62781}"/>
                </a:ext>
              </a:extLst>
            </p:cNvPr>
            <p:cNvSpPr/>
            <p:nvPr/>
          </p:nvSpPr>
          <p:spPr>
            <a:xfrm>
              <a:off x="2380069" y="1732695"/>
              <a:ext cx="204" cy="163"/>
            </a:xfrm>
            <a:custGeom>
              <a:avLst/>
              <a:gdLst/>
              <a:ahLst/>
              <a:cxnLst/>
              <a:rect l="l" t="t" r="r" b="b"/>
              <a:pathLst>
                <a:path w="15" h="12" extrusionOk="0">
                  <a:moveTo>
                    <a:pt x="15" y="1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7" name="Google Shape;8004;p64">
              <a:extLst>
                <a:ext uri="{FF2B5EF4-FFF2-40B4-BE49-F238E27FC236}">
                  <a16:creationId xmlns:a16="http://schemas.microsoft.com/office/drawing/2014/main" id="{49A1FA1C-61F3-0893-DEFE-9F5781907A09}"/>
                </a:ext>
              </a:extLst>
            </p:cNvPr>
            <p:cNvSpPr/>
            <p:nvPr/>
          </p:nvSpPr>
          <p:spPr>
            <a:xfrm>
              <a:off x="2402648" y="1737311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11" y="11"/>
                    <a:pt x="8" y="7"/>
                    <a:pt x="1" y="0"/>
                  </a:cubicBezTo>
                  <a:cubicBezTo>
                    <a:pt x="8" y="7"/>
                    <a:pt x="11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8" name="Google Shape;8005;p64">
              <a:extLst>
                <a:ext uri="{FF2B5EF4-FFF2-40B4-BE49-F238E27FC236}">
                  <a16:creationId xmlns:a16="http://schemas.microsoft.com/office/drawing/2014/main" id="{481581E0-CA22-DD02-C456-D14CBCF9B4D6}"/>
                </a:ext>
              </a:extLst>
            </p:cNvPr>
            <p:cNvSpPr/>
            <p:nvPr/>
          </p:nvSpPr>
          <p:spPr>
            <a:xfrm>
              <a:off x="2380408" y="1732885"/>
              <a:ext cx="339" cy="204"/>
            </a:xfrm>
            <a:custGeom>
              <a:avLst/>
              <a:gdLst/>
              <a:ahLst/>
              <a:cxnLst/>
              <a:rect l="l" t="t" r="r" b="b"/>
              <a:pathLst>
                <a:path w="25" h="15" extrusionOk="0">
                  <a:moveTo>
                    <a:pt x="25" y="15"/>
                  </a:moveTo>
                  <a:cubicBezTo>
                    <a:pt x="14" y="11"/>
                    <a:pt x="7" y="8"/>
                    <a:pt x="0" y="1"/>
                  </a:cubicBezTo>
                  <a:cubicBezTo>
                    <a:pt x="7" y="8"/>
                    <a:pt x="14" y="11"/>
                    <a:pt x="25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9" name="Google Shape;8006;p64">
              <a:extLst>
                <a:ext uri="{FF2B5EF4-FFF2-40B4-BE49-F238E27FC236}">
                  <a16:creationId xmlns:a16="http://schemas.microsoft.com/office/drawing/2014/main" id="{A694391E-20B2-F582-F18E-F6EC681994E5}"/>
                </a:ext>
              </a:extLst>
            </p:cNvPr>
            <p:cNvSpPr/>
            <p:nvPr/>
          </p:nvSpPr>
          <p:spPr>
            <a:xfrm>
              <a:off x="2404264" y="1738588"/>
              <a:ext cx="543" cy="353"/>
            </a:xfrm>
            <a:custGeom>
              <a:avLst/>
              <a:gdLst/>
              <a:ahLst/>
              <a:cxnLst/>
              <a:rect l="l" t="t" r="r" b="b"/>
              <a:pathLst>
                <a:path w="40" h="26" extrusionOk="0">
                  <a:moveTo>
                    <a:pt x="39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0" name="Google Shape;8007;p64">
              <a:extLst>
                <a:ext uri="{FF2B5EF4-FFF2-40B4-BE49-F238E27FC236}">
                  <a16:creationId xmlns:a16="http://schemas.microsoft.com/office/drawing/2014/main" id="{D59678DF-1195-43F6-CD23-B75266E6A7B9}"/>
                </a:ext>
              </a:extLst>
            </p:cNvPr>
            <p:cNvSpPr/>
            <p:nvPr/>
          </p:nvSpPr>
          <p:spPr>
            <a:xfrm>
              <a:off x="2392329" y="1712641"/>
              <a:ext cx="3109" cy="2295"/>
            </a:xfrm>
            <a:custGeom>
              <a:avLst/>
              <a:gdLst/>
              <a:ahLst/>
              <a:cxnLst/>
              <a:rect l="l" t="t" r="r" b="b"/>
              <a:pathLst>
                <a:path w="229" h="169" extrusionOk="0">
                  <a:moveTo>
                    <a:pt x="228" y="168"/>
                  </a:moveTo>
                  <a:cubicBezTo>
                    <a:pt x="158" y="98"/>
                    <a:pt x="74" y="11"/>
                    <a:pt x="1" y="0"/>
                  </a:cubicBezTo>
                  <a:cubicBezTo>
                    <a:pt x="74" y="11"/>
                    <a:pt x="158" y="98"/>
                    <a:pt x="228" y="16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1" name="Google Shape;8008;p64">
              <a:extLst>
                <a:ext uri="{FF2B5EF4-FFF2-40B4-BE49-F238E27FC236}">
                  <a16:creationId xmlns:a16="http://schemas.microsoft.com/office/drawing/2014/main" id="{2F1A4725-2DFC-904E-0606-AE5622214EAB}"/>
                </a:ext>
              </a:extLst>
            </p:cNvPr>
            <p:cNvSpPr/>
            <p:nvPr/>
          </p:nvSpPr>
          <p:spPr>
            <a:xfrm>
              <a:off x="2405364" y="1714447"/>
              <a:ext cx="244" cy="204"/>
            </a:xfrm>
            <a:custGeom>
              <a:avLst/>
              <a:gdLst/>
              <a:ahLst/>
              <a:cxnLst/>
              <a:rect l="l" t="t" r="r" b="b"/>
              <a:pathLst>
                <a:path w="18" h="15" extrusionOk="0">
                  <a:moveTo>
                    <a:pt x="0" y="14"/>
                  </a:move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2" name="Google Shape;8009;p64">
              <a:extLst>
                <a:ext uri="{FF2B5EF4-FFF2-40B4-BE49-F238E27FC236}">
                  <a16:creationId xmlns:a16="http://schemas.microsoft.com/office/drawing/2014/main" id="{E22B6128-FB4B-096E-EF17-397CFE8789F6}"/>
                </a:ext>
              </a:extLst>
            </p:cNvPr>
            <p:cNvSpPr/>
            <p:nvPr/>
          </p:nvSpPr>
          <p:spPr>
            <a:xfrm>
              <a:off x="2400612" y="171729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3" name="Google Shape;8010;p64">
              <a:extLst>
                <a:ext uri="{FF2B5EF4-FFF2-40B4-BE49-F238E27FC236}">
                  <a16:creationId xmlns:a16="http://schemas.microsoft.com/office/drawing/2014/main" id="{B848EA24-FCD7-C556-1E15-48B1A447D7AF}"/>
                </a:ext>
              </a:extLst>
            </p:cNvPr>
            <p:cNvSpPr/>
            <p:nvPr/>
          </p:nvSpPr>
          <p:spPr>
            <a:xfrm>
              <a:off x="2403884" y="1715153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8"/>
                  </a:moveTo>
                  <a:lnTo>
                    <a:pt x="2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4" name="Google Shape;8011;p64">
              <a:extLst>
                <a:ext uri="{FF2B5EF4-FFF2-40B4-BE49-F238E27FC236}">
                  <a16:creationId xmlns:a16="http://schemas.microsoft.com/office/drawing/2014/main" id="{ED24CE6B-5B32-A10D-5339-1BADF2AE3A97}"/>
                </a:ext>
              </a:extLst>
            </p:cNvPr>
            <p:cNvSpPr/>
            <p:nvPr/>
          </p:nvSpPr>
          <p:spPr>
            <a:xfrm>
              <a:off x="2404603" y="1714868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0" y="8"/>
                  </a:moveTo>
                  <a:lnTo>
                    <a:pt x="2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5" name="Google Shape;8012;p64">
              <a:extLst>
                <a:ext uri="{FF2B5EF4-FFF2-40B4-BE49-F238E27FC236}">
                  <a16:creationId xmlns:a16="http://schemas.microsoft.com/office/drawing/2014/main" id="{25ED363D-9320-A2AE-BB68-C1D142202FE6}"/>
                </a:ext>
              </a:extLst>
            </p:cNvPr>
            <p:cNvSpPr/>
            <p:nvPr/>
          </p:nvSpPr>
          <p:spPr>
            <a:xfrm>
              <a:off x="2403504" y="1715302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1" y="7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6" name="Google Shape;8013;p64">
              <a:extLst>
                <a:ext uri="{FF2B5EF4-FFF2-40B4-BE49-F238E27FC236}">
                  <a16:creationId xmlns:a16="http://schemas.microsoft.com/office/drawing/2014/main" id="{B545F144-70EA-CC4D-9827-0329812C29E4}"/>
                </a:ext>
              </a:extLst>
            </p:cNvPr>
            <p:cNvSpPr/>
            <p:nvPr/>
          </p:nvSpPr>
          <p:spPr>
            <a:xfrm>
              <a:off x="2404929" y="1714637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1" y="14"/>
                  </a:move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7" name="Google Shape;8014;p64">
              <a:extLst>
                <a:ext uri="{FF2B5EF4-FFF2-40B4-BE49-F238E27FC236}">
                  <a16:creationId xmlns:a16="http://schemas.microsoft.com/office/drawing/2014/main" id="{748AA86E-8C36-2C1C-E9EA-6D9B490FF624}"/>
                </a:ext>
              </a:extLst>
            </p:cNvPr>
            <p:cNvSpPr/>
            <p:nvPr/>
          </p:nvSpPr>
          <p:spPr>
            <a:xfrm>
              <a:off x="2404223" y="1715017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0" y="11"/>
                  </a:moveTo>
                  <a:lnTo>
                    <a:pt x="2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8" name="Google Shape;8015;p64">
              <a:extLst>
                <a:ext uri="{FF2B5EF4-FFF2-40B4-BE49-F238E27FC236}">
                  <a16:creationId xmlns:a16="http://schemas.microsoft.com/office/drawing/2014/main" id="{8A297097-E700-2476-C787-530B8890F82C}"/>
                </a:ext>
              </a:extLst>
            </p:cNvPr>
            <p:cNvSpPr/>
            <p:nvPr/>
          </p:nvSpPr>
          <p:spPr>
            <a:xfrm>
              <a:off x="2390333" y="1711921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1" y="1"/>
                  </a:moveTo>
                  <a:cubicBezTo>
                    <a:pt x="11" y="8"/>
                    <a:pt x="25" y="15"/>
                    <a:pt x="39" y="22"/>
                  </a:cubicBezTo>
                  <a:cubicBezTo>
                    <a:pt x="29" y="15"/>
                    <a:pt x="15" y="8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9" name="Google Shape;8016;p64">
              <a:extLst>
                <a:ext uri="{FF2B5EF4-FFF2-40B4-BE49-F238E27FC236}">
                  <a16:creationId xmlns:a16="http://schemas.microsoft.com/office/drawing/2014/main" id="{19AB10BE-FD3A-7F19-B105-D82469C66DE3}"/>
                </a:ext>
              </a:extLst>
            </p:cNvPr>
            <p:cNvSpPr/>
            <p:nvPr/>
          </p:nvSpPr>
          <p:spPr>
            <a:xfrm>
              <a:off x="2390958" y="1712261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0" y="0"/>
                  </a:moveTo>
                  <a:lnTo>
                    <a:pt x="2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0" name="Google Shape;8017;p64">
              <a:extLst>
                <a:ext uri="{FF2B5EF4-FFF2-40B4-BE49-F238E27FC236}">
                  <a16:creationId xmlns:a16="http://schemas.microsoft.com/office/drawing/2014/main" id="{00EA8CC4-91F3-F96C-812A-487A0F0ADD14}"/>
                </a:ext>
              </a:extLst>
            </p:cNvPr>
            <p:cNvSpPr/>
            <p:nvPr/>
          </p:nvSpPr>
          <p:spPr>
            <a:xfrm>
              <a:off x="2391664" y="1712492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" y="1"/>
                  </a:moveTo>
                  <a:lnTo>
                    <a:pt x="15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1" name="Google Shape;8018;p64">
              <a:extLst>
                <a:ext uri="{FF2B5EF4-FFF2-40B4-BE49-F238E27FC236}">
                  <a16:creationId xmlns:a16="http://schemas.microsoft.com/office/drawing/2014/main" id="{0E34F93E-B243-FDCF-0020-A0B0A0CDAD78}"/>
                </a:ext>
              </a:extLst>
            </p:cNvPr>
            <p:cNvSpPr/>
            <p:nvPr/>
          </p:nvSpPr>
          <p:spPr>
            <a:xfrm>
              <a:off x="2400136" y="1717244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2" name="Google Shape;8019;p64">
              <a:extLst>
                <a:ext uri="{FF2B5EF4-FFF2-40B4-BE49-F238E27FC236}">
                  <a16:creationId xmlns:a16="http://schemas.microsoft.com/office/drawing/2014/main" id="{E254A0CE-19CA-6503-A1E7-FEDB9D7877B3}"/>
                </a:ext>
              </a:extLst>
            </p:cNvPr>
            <p:cNvSpPr/>
            <p:nvPr/>
          </p:nvSpPr>
          <p:spPr>
            <a:xfrm>
              <a:off x="2406029" y="1713822"/>
              <a:ext cx="244" cy="258"/>
            </a:xfrm>
            <a:custGeom>
              <a:avLst/>
              <a:gdLst/>
              <a:ahLst/>
              <a:cxnLst/>
              <a:rect l="l" t="t" r="r" b="b"/>
              <a:pathLst>
                <a:path w="18" h="19" extrusionOk="0">
                  <a:moveTo>
                    <a:pt x="18" y="1"/>
                  </a:moveTo>
                  <a:cubicBezTo>
                    <a:pt x="11" y="8"/>
                    <a:pt x="4" y="15"/>
                    <a:pt x="0" y="18"/>
                  </a:cubicBezTo>
                  <a:cubicBezTo>
                    <a:pt x="4" y="15"/>
                    <a:pt x="11" y="8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3" name="Google Shape;8020;p64">
              <a:extLst>
                <a:ext uri="{FF2B5EF4-FFF2-40B4-BE49-F238E27FC236}">
                  <a16:creationId xmlns:a16="http://schemas.microsoft.com/office/drawing/2014/main" id="{1BB4EE70-76E4-B057-5323-6DD0CB8B86D4}"/>
                </a:ext>
              </a:extLst>
            </p:cNvPr>
            <p:cNvSpPr/>
            <p:nvPr/>
          </p:nvSpPr>
          <p:spPr>
            <a:xfrm>
              <a:off x="2398331" y="1716578"/>
              <a:ext cx="530" cy="204"/>
            </a:xfrm>
            <a:custGeom>
              <a:avLst/>
              <a:gdLst/>
              <a:ahLst/>
              <a:cxnLst/>
              <a:rect l="l" t="t" r="r" b="b"/>
              <a:pathLst>
                <a:path w="39" h="15" extrusionOk="0">
                  <a:moveTo>
                    <a:pt x="0" y="1"/>
                  </a:moveTo>
                  <a:lnTo>
                    <a:pt x="0" y="1"/>
                  </a:lnTo>
                  <a:cubicBezTo>
                    <a:pt x="14" y="4"/>
                    <a:pt x="28" y="8"/>
                    <a:pt x="39" y="15"/>
                  </a:cubicBezTo>
                  <a:cubicBezTo>
                    <a:pt x="28" y="8"/>
                    <a:pt x="1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4" name="Google Shape;8021;p64">
              <a:extLst>
                <a:ext uri="{FF2B5EF4-FFF2-40B4-BE49-F238E27FC236}">
                  <a16:creationId xmlns:a16="http://schemas.microsoft.com/office/drawing/2014/main" id="{343DF098-94CC-0CEC-B966-49F7BB7DD659}"/>
                </a:ext>
              </a:extLst>
            </p:cNvPr>
            <p:cNvSpPr/>
            <p:nvPr/>
          </p:nvSpPr>
          <p:spPr>
            <a:xfrm>
              <a:off x="2399702" y="171710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5" name="Google Shape;8022;p64">
              <a:extLst>
                <a:ext uri="{FF2B5EF4-FFF2-40B4-BE49-F238E27FC236}">
                  <a16:creationId xmlns:a16="http://schemas.microsoft.com/office/drawing/2014/main" id="{7AF051E4-F842-808E-1A56-7996A044A27B}"/>
                </a:ext>
              </a:extLst>
            </p:cNvPr>
            <p:cNvSpPr/>
            <p:nvPr/>
          </p:nvSpPr>
          <p:spPr>
            <a:xfrm>
              <a:off x="2405649" y="1714162"/>
              <a:ext cx="339" cy="244"/>
            </a:xfrm>
            <a:custGeom>
              <a:avLst/>
              <a:gdLst/>
              <a:ahLst/>
              <a:cxnLst/>
              <a:rect l="l" t="t" r="r" b="b"/>
              <a:pathLst>
                <a:path w="25" h="18" extrusionOk="0">
                  <a:moveTo>
                    <a:pt x="25" y="0"/>
                  </a:moveTo>
                  <a:cubicBezTo>
                    <a:pt x="14" y="4"/>
                    <a:pt x="7" y="11"/>
                    <a:pt x="0" y="18"/>
                  </a:cubicBezTo>
                  <a:cubicBezTo>
                    <a:pt x="7" y="11"/>
                    <a:pt x="18" y="4"/>
                    <a:pt x="2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6" name="Google Shape;8023;p64">
              <a:extLst>
                <a:ext uri="{FF2B5EF4-FFF2-40B4-BE49-F238E27FC236}">
                  <a16:creationId xmlns:a16="http://schemas.microsoft.com/office/drawing/2014/main" id="{A40B8130-8897-11E2-BBE5-E415C984C620}"/>
                </a:ext>
              </a:extLst>
            </p:cNvPr>
            <p:cNvSpPr/>
            <p:nvPr/>
          </p:nvSpPr>
          <p:spPr>
            <a:xfrm>
              <a:off x="2400747" y="1717244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1"/>
                  </a:move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7" name="Google Shape;8024;p64">
              <a:extLst>
                <a:ext uri="{FF2B5EF4-FFF2-40B4-BE49-F238E27FC236}">
                  <a16:creationId xmlns:a16="http://schemas.microsoft.com/office/drawing/2014/main" id="{8BD20E76-75C5-BF93-4041-C144BC36A63C}"/>
                </a:ext>
              </a:extLst>
            </p:cNvPr>
            <p:cNvSpPr/>
            <p:nvPr/>
          </p:nvSpPr>
          <p:spPr>
            <a:xfrm>
              <a:off x="2399322" y="171695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1" y="1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8" name="Google Shape;8025;p64">
              <a:extLst>
                <a:ext uri="{FF2B5EF4-FFF2-40B4-BE49-F238E27FC236}">
                  <a16:creationId xmlns:a16="http://schemas.microsoft.com/office/drawing/2014/main" id="{30D77F09-6EEB-FCAC-0843-FA8DDD33D009}"/>
                </a:ext>
              </a:extLst>
            </p:cNvPr>
            <p:cNvSpPr/>
            <p:nvPr/>
          </p:nvSpPr>
          <p:spPr>
            <a:xfrm>
              <a:off x="2381454" y="1716008"/>
              <a:ext cx="2485" cy="5010"/>
            </a:xfrm>
            <a:custGeom>
              <a:avLst/>
              <a:gdLst/>
              <a:ahLst/>
              <a:cxnLst/>
              <a:rect l="l" t="t" r="r" b="b"/>
              <a:pathLst>
                <a:path w="183" h="369" extrusionOk="0">
                  <a:moveTo>
                    <a:pt x="0" y="1"/>
                  </a:moveTo>
                  <a:lnTo>
                    <a:pt x="18" y="32"/>
                  </a:lnTo>
                  <a:cubicBezTo>
                    <a:pt x="28" y="50"/>
                    <a:pt x="39" y="67"/>
                    <a:pt x="49" y="81"/>
                  </a:cubicBezTo>
                  <a:cubicBezTo>
                    <a:pt x="32" y="53"/>
                    <a:pt x="14" y="25"/>
                    <a:pt x="0" y="1"/>
                  </a:cubicBezTo>
                  <a:close/>
                  <a:moveTo>
                    <a:pt x="49" y="82"/>
                  </a:moveTo>
                  <a:cubicBezTo>
                    <a:pt x="112" y="176"/>
                    <a:pt x="179" y="274"/>
                    <a:pt x="154" y="368"/>
                  </a:cubicBezTo>
                  <a:cubicBezTo>
                    <a:pt x="182" y="274"/>
                    <a:pt x="112" y="176"/>
                    <a:pt x="49" y="8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9" name="Google Shape;8026;p64">
              <a:extLst>
                <a:ext uri="{FF2B5EF4-FFF2-40B4-BE49-F238E27FC236}">
                  <a16:creationId xmlns:a16="http://schemas.microsoft.com/office/drawing/2014/main" id="{03E44753-EEC3-FFF6-5F20-C4B33D426469}"/>
                </a:ext>
              </a:extLst>
            </p:cNvPr>
            <p:cNvSpPr/>
            <p:nvPr/>
          </p:nvSpPr>
          <p:spPr>
            <a:xfrm>
              <a:off x="2390863" y="1732315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"/>
                  </a:moveTo>
                  <a:lnTo>
                    <a:pt x="0" y="11"/>
                  </a:lnTo>
                  <a:cubicBezTo>
                    <a:pt x="0" y="15"/>
                    <a:pt x="0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0" name="Google Shape;8027;p64">
              <a:extLst>
                <a:ext uri="{FF2B5EF4-FFF2-40B4-BE49-F238E27FC236}">
                  <a16:creationId xmlns:a16="http://schemas.microsoft.com/office/drawing/2014/main" id="{FB6756A9-D2AC-24EF-F317-422FDFC0E454}"/>
                </a:ext>
              </a:extLst>
            </p:cNvPr>
            <p:cNvSpPr/>
            <p:nvPr/>
          </p:nvSpPr>
          <p:spPr>
            <a:xfrm>
              <a:off x="2390958" y="1732790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1" name="Google Shape;8028;p64">
              <a:extLst>
                <a:ext uri="{FF2B5EF4-FFF2-40B4-BE49-F238E27FC236}">
                  <a16:creationId xmlns:a16="http://schemas.microsoft.com/office/drawing/2014/main" id="{C98A86E7-217A-8CDF-9ECE-67F3D4470490}"/>
                </a:ext>
              </a:extLst>
            </p:cNvPr>
            <p:cNvSpPr/>
            <p:nvPr/>
          </p:nvSpPr>
          <p:spPr>
            <a:xfrm>
              <a:off x="2390809" y="1732179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0"/>
                  </a:moveTo>
                  <a:cubicBezTo>
                    <a:pt x="1" y="4"/>
                    <a:pt x="1" y="7"/>
                    <a:pt x="4" y="7"/>
                  </a:cubicBezTo>
                  <a:cubicBezTo>
                    <a:pt x="1" y="7"/>
                    <a:pt x="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2" name="Google Shape;8029;p64">
              <a:extLst>
                <a:ext uri="{FF2B5EF4-FFF2-40B4-BE49-F238E27FC236}">
                  <a16:creationId xmlns:a16="http://schemas.microsoft.com/office/drawing/2014/main" id="{186A8BA8-A5B8-BF46-500D-80BEE7D546D3}"/>
                </a:ext>
              </a:extLst>
            </p:cNvPr>
            <p:cNvSpPr/>
            <p:nvPr/>
          </p:nvSpPr>
          <p:spPr>
            <a:xfrm>
              <a:off x="2391243" y="1733550"/>
              <a:ext cx="149" cy="353"/>
            </a:xfrm>
            <a:custGeom>
              <a:avLst/>
              <a:gdLst/>
              <a:ahLst/>
              <a:cxnLst/>
              <a:rect l="l" t="t" r="r" b="b"/>
              <a:pathLst>
                <a:path w="11" h="26" extrusionOk="0">
                  <a:moveTo>
                    <a:pt x="0" y="1"/>
                  </a:moveTo>
                  <a:lnTo>
                    <a:pt x="11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3" name="Google Shape;8030;p64">
              <a:extLst>
                <a:ext uri="{FF2B5EF4-FFF2-40B4-BE49-F238E27FC236}">
                  <a16:creationId xmlns:a16="http://schemas.microsoft.com/office/drawing/2014/main" id="{795E1387-FF3B-1CDE-03C6-44A60DE4FCC5}"/>
                </a:ext>
              </a:extLst>
            </p:cNvPr>
            <p:cNvSpPr/>
            <p:nvPr/>
          </p:nvSpPr>
          <p:spPr>
            <a:xfrm>
              <a:off x="2391813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4" name="Google Shape;8031;p64">
              <a:extLst>
                <a:ext uri="{FF2B5EF4-FFF2-40B4-BE49-F238E27FC236}">
                  <a16:creationId xmlns:a16="http://schemas.microsoft.com/office/drawing/2014/main" id="{854C61E1-FACD-F7C3-B4F2-E760806777DB}"/>
                </a:ext>
              </a:extLst>
            </p:cNvPr>
            <p:cNvSpPr/>
            <p:nvPr/>
          </p:nvSpPr>
          <p:spPr>
            <a:xfrm>
              <a:off x="2391474" y="1734080"/>
              <a:ext cx="258" cy="489"/>
            </a:xfrm>
            <a:custGeom>
              <a:avLst/>
              <a:gdLst/>
              <a:ahLst/>
              <a:cxnLst/>
              <a:rect l="l" t="t" r="r" b="b"/>
              <a:pathLst>
                <a:path w="19" h="36" extrusionOk="0">
                  <a:moveTo>
                    <a:pt x="1" y="0"/>
                  </a:moveTo>
                  <a:cubicBezTo>
                    <a:pt x="4" y="11"/>
                    <a:pt x="11" y="21"/>
                    <a:pt x="18" y="35"/>
                  </a:cubicBezTo>
                  <a:cubicBezTo>
                    <a:pt x="11" y="21"/>
                    <a:pt x="4" y="11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5" name="Google Shape;8032;p64">
              <a:extLst>
                <a:ext uri="{FF2B5EF4-FFF2-40B4-BE49-F238E27FC236}">
                  <a16:creationId xmlns:a16="http://schemas.microsoft.com/office/drawing/2014/main" id="{94146686-C5C4-3CDA-EBCA-09E63F906526}"/>
                </a:ext>
              </a:extLst>
            </p:cNvPr>
            <p:cNvSpPr/>
            <p:nvPr/>
          </p:nvSpPr>
          <p:spPr>
            <a:xfrm>
              <a:off x="2390904" y="1732559"/>
              <a:ext cx="14" cy="149"/>
            </a:xfrm>
            <a:custGeom>
              <a:avLst/>
              <a:gdLst/>
              <a:ahLst/>
              <a:cxnLst/>
              <a:rect l="l" t="t" r="r" b="b"/>
              <a:pathLst>
                <a:path w="1" h="11" extrusionOk="0">
                  <a:moveTo>
                    <a:pt x="1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6" name="Google Shape;8033;p64">
              <a:extLst>
                <a:ext uri="{FF2B5EF4-FFF2-40B4-BE49-F238E27FC236}">
                  <a16:creationId xmlns:a16="http://schemas.microsoft.com/office/drawing/2014/main" id="{A61F7B7E-3772-D75B-04F6-0A2CAD1EA67F}"/>
                </a:ext>
              </a:extLst>
            </p:cNvPr>
            <p:cNvSpPr/>
            <p:nvPr/>
          </p:nvSpPr>
          <p:spPr>
            <a:xfrm>
              <a:off x="2391094" y="1733170"/>
              <a:ext cx="109" cy="258"/>
            </a:xfrm>
            <a:custGeom>
              <a:avLst/>
              <a:gdLst/>
              <a:ahLst/>
              <a:cxnLst/>
              <a:rect l="l" t="t" r="r" b="b"/>
              <a:pathLst>
                <a:path w="8" h="19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7" name="Google Shape;8034;p64">
              <a:extLst>
                <a:ext uri="{FF2B5EF4-FFF2-40B4-BE49-F238E27FC236}">
                  <a16:creationId xmlns:a16="http://schemas.microsoft.com/office/drawing/2014/main" id="{BE4C2F76-7897-DAA5-2296-9C318743848E}"/>
                </a:ext>
              </a:extLst>
            </p:cNvPr>
            <p:cNvSpPr/>
            <p:nvPr/>
          </p:nvSpPr>
          <p:spPr>
            <a:xfrm>
              <a:off x="2384726" y="1733930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8" name="Google Shape;8035;p64">
              <a:extLst>
                <a:ext uri="{FF2B5EF4-FFF2-40B4-BE49-F238E27FC236}">
                  <a16:creationId xmlns:a16="http://schemas.microsoft.com/office/drawing/2014/main" id="{AE85DBDD-7C48-A74C-B845-7B5F49C6BF61}"/>
                </a:ext>
              </a:extLst>
            </p:cNvPr>
            <p:cNvSpPr/>
            <p:nvPr/>
          </p:nvSpPr>
          <p:spPr>
            <a:xfrm>
              <a:off x="2379308" y="1731459"/>
              <a:ext cx="299" cy="163"/>
            </a:xfrm>
            <a:custGeom>
              <a:avLst/>
              <a:gdLst/>
              <a:ahLst/>
              <a:cxnLst/>
              <a:rect l="l" t="t" r="r" b="b"/>
              <a:pathLst>
                <a:path w="22" h="12" extrusionOk="0">
                  <a:moveTo>
                    <a:pt x="1" y="1"/>
                  </a:moveTo>
                  <a:lnTo>
                    <a:pt x="22" y="11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9" name="Google Shape;8036;p64">
              <a:extLst>
                <a:ext uri="{FF2B5EF4-FFF2-40B4-BE49-F238E27FC236}">
                  <a16:creationId xmlns:a16="http://schemas.microsoft.com/office/drawing/2014/main" id="{A96CC382-9614-F339-DA75-7D21592097C4}"/>
                </a:ext>
              </a:extLst>
            </p:cNvPr>
            <p:cNvSpPr/>
            <p:nvPr/>
          </p:nvSpPr>
          <p:spPr>
            <a:xfrm>
              <a:off x="2385350" y="1734691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0" name="Google Shape;8037;p64">
              <a:extLst>
                <a:ext uri="{FF2B5EF4-FFF2-40B4-BE49-F238E27FC236}">
                  <a16:creationId xmlns:a16="http://schemas.microsoft.com/office/drawing/2014/main" id="{E75C6138-C8A3-4AA9-F29C-B0D3CC37319E}"/>
                </a:ext>
              </a:extLst>
            </p:cNvPr>
            <p:cNvSpPr/>
            <p:nvPr/>
          </p:nvSpPr>
          <p:spPr>
            <a:xfrm>
              <a:off x="2379784" y="1731744"/>
              <a:ext cx="543" cy="299"/>
            </a:xfrm>
            <a:custGeom>
              <a:avLst/>
              <a:gdLst/>
              <a:ahLst/>
              <a:cxnLst/>
              <a:rect l="l" t="t" r="r" b="b"/>
              <a:pathLst>
                <a:path w="40" h="22" extrusionOk="0">
                  <a:moveTo>
                    <a:pt x="39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1" name="Google Shape;8038;p64">
              <a:extLst>
                <a:ext uri="{FF2B5EF4-FFF2-40B4-BE49-F238E27FC236}">
                  <a16:creationId xmlns:a16="http://schemas.microsoft.com/office/drawing/2014/main" id="{45873CA2-DB74-CD9A-1655-A867B31B1474}"/>
                </a:ext>
              </a:extLst>
            </p:cNvPr>
            <p:cNvSpPr/>
            <p:nvPr/>
          </p:nvSpPr>
          <p:spPr>
            <a:xfrm>
              <a:off x="2385826" y="173579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2" name="Google Shape;8039;p64">
              <a:extLst>
                <a:ext uri="{FF2B5EF4-FFF2-40B4-BE49-F238E27FC236}">
                  <a16:creationId xmlns:a16="http://schemas.microsoft.com/office/drawing/2014/main" id="{AF4335BA-DF31-8640-28FA-8D167AC4F3A2}"/>
                </a:ext>
              </a:extLst>
            </p:cNvPr>
            <p:cNvSpPr/>
            <p:nvPr/>
          </p:nvSpPr>
          <p:spPr>
            <a:xfrm>
              <a:off x="2385676" y="1735220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3" name="Google Shape;8040;p64">
              <a:extLst>
                <a:ext uri="{FF2B5EF4-FFF2-40B4-BE49-F238E27FC236}">
                  <a16:creationId xmlns:a16="http://schemas.microsoft.com/office/drawing/2014/main" id="{E5EDB969-95EE-501C-C13F-A02E37BB6F37}"/>
                </a:ext>
              </a:extLst>
            </p:cNvPr>
            <p:cNvSpPr/>
            <p:nvPr/>
          </p:nvSpPr>
          <p:spPr>
            <a:xfrm>
              <a:off x="2381264" y="1715682"/>
              <a:ext cx="434" cy="774"/>
            </a:xfrm>
            <a:custGeom>
              <a:avLst/>
              <a:gdLst/>
              <a:ahLst/>
              <a:cxnLst/>
              <a:rect l="l" t="t" r="r" b="b"/>
              <a:pathLst>
                <a:path w="32" h="57" extrusionOk="0">
                  <a:moveTo>
                    <a:pt x="0" y="0"/>
                  </a:moveTo>
                  <a:cubicBezTo>
                    <a:pt x="7" y="18"/>
                    <a:pt x="21" y="39"/>
                    <a:pt x="32" y="56"/>
                  </a:cubicBezTo>
                  <a:lnTo>
                    <a:pt x="14" y="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4" name="Google Shape;8041;p64">
              <a:extLst>
                <a:ext uri="{FF2B5EF4-FFF2-40B4-BE49-F238E27FC236}">
                  <a16:creationId xmlns:a16="http://schemas.microsoft.com/office/drawing/2014/main" id="{FBEF289E-0946-E883-2070-6BA86FA694BF}"/>
                </a:ext>
              </a:extLst>
            </p:cNvPr>
            <p:cNvSpPr/>
            <p:nvPr/>
          </p:nvSpPr>
          <p:spPr>
            <a:xfrm>
              <a:off x="2379404" y="1731324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0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5" name="Google Shape;8042;p64">
              <a:extLst>
                <a:ext uri="{FF2B5EF4-FFF2-40B4-BE49-F238E27FC236}">
                  <a16:creationId xmlns:a16="http://schemas.microsoft.com/office/drawing/2014/main" id="{9BC3C410-E688-4C8C-28B3-B5645BF38EFB}"/>
                </a:ext>
              </a:extLst>
            </p:cNvPr>
            <p:cNvSpPr/>
            <p:nvPr/>
          </p:nvSpPr>
          <p:spPr>
            <a:xfrm>
              <a:off x="2385826" y="17359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6" name="Google Shape;8043;p64">
              <a:extLst>
                <a:ext uri="{FF2B5EF4-FFF2-40B4-BE49-F238E27FC236}">
                  <a16:creationId xmlns:a16="http://schemas.microsoft.com/office/drawing/2014/main" id="{808269B0-863C-4761-EE9B-76BE1466A9DC}"/>
                </a:ext>
              </a:extLst>
            </p:cNvPr>
            <p:cNvSpPr/>
            <p:nvPr/>
          </p:nvSpPr>
          <p:spPr>
            <a:xfrm>
              <a:off x="2497528" y="1743000"/>
              <a:ext cx="87140" cy="73726"/>
            </a:xfrm>
            <a:custGeom>
              <a:avLst/>
              <a:gdLst/>
              <a:ahLst/>
              <a:cxnLst/>
              <a:rect l="l" t="t" r="r" b="b"/>
              <a:pathLst>
                <a:path w="6418" h="5430" extrusionOk="0">
                  <a:moveTo>
                    <a:pt x="5842" y="1"/>
                  </a:moveTo>
                  <a:cubicBezTo>
                    <a:pt x="5789" y="1"/>
                    <a:pt x="5711" y="42"/>
                    <a:pt x="5630" y="113"/>
                  </a:cubicBezTo>
                  <a:cubicBezTo>
                    <a:pt x="5511" y="218"/>
                    <a:pt x="5434" y="351"/>
                    <a:pt x="5434" y="411"/>
                  </a:cubicBezTo>
                  <a:cubicBezTo>
                    <a:pt x="5434" y="537"/>
                    <a:pt x="5273" y="572"/>
                    <a:pt x="5122" y="604"/>
                  </a:cubicBezTo>
                  <a:cubicBezTo>
                    <a:pt x="5052" y="618"/>
                    <a:pt x="4929" y="642"/>
                    <a:pt x="4912" y="670"/>
                  </a:cubicBezTo>
                  <a:cubicBezTo>
                    <a:pt x="4912" y="702"/>
                    <a:pt x="4901" y="733"/>
                    <a:pt x="4877" y="754"/>
                  </a:cubicBezTo>
                  <a:cubicBezTo>
                    <a:pt x="4835" y="796"/>
                    <a:pt x="4765" y="804"/>
                    <a:pt x="4680" y="804"/>
                  </a:cubicBezTo>
                  <a:cubicBezTo>
                    <a:pt x="4658" y="804"/>
                    <a:pt x="4635" y="804"/>
                    <a:pt x="4611" y="803"/>
                  </a:cubicBezTo>
                  <a:cubicBezTo>
                    <a:pt x="4590" y="803"/>
                    <a:pt x="4567" y="803"/>
                    <a:pt x="4543" y="803"/>
                  </a:cubicBezTo>
                  <a:cubicBezTo>
                    <a:pt x="4457" y="803"/>
                    <a:pt x="4367" y="807"/>
                    <a:pt x="4345" y="849"/>
                  </a:cubicBezTo>
                  <a:cubicBezTo>
                    <a:pt x="4341" y="856"/>
                    <a:pt x="4338" y="863"/>
                    <a:pt x="4334" y="870"/>
                  </a:cubicBezTo>
                  <a:cubicBezTo>
                    <a:pt x="4331" y="877"/>
                    <a:pt x="4327" y="880"/>
                    <a:pt x="4324" y="884"/>
                  </a:cubicBezTo>
                  <a:lnTo>
                    <a:pt x="4317" y="894"/>
                  </a:lnTo>
                  <a:lnTo>
                    <a:pt x="4310" y="898"/>
                  </a:lnTo>
                  <a:cubicBezTo>
                    <a:pt x="4296" y="915"/>
                    <a:pt x="4271" y="926"/>
                    <a:pt x="4250" y="933"/>
                  </a:cubicBezTo>
                  <a:cubicBezTo>
                    <a:pt x="4235" y="936"/>
                    <a:pt x="4220" y="937"/>
                    <a:pt x="4205" y="937"/>
                  </a:cubicBezTo>
                  <a:cubicBezTo>
                    <a:pt x="4168" y="937"/>
                    <a:pt x="4132" y="928"/>
                    <a:pt x="4100" y="908"/>
                  </a:cubicBezTo>
                  <a:lnTo>
                    <a:pt x="4100" y="915"/>
                  </a:lnTo>
                  <a:lnTo>
                    <a:pt x="3995" y="849"/>
                  </a:lnTo>
                  <a:lnTo>
                    <a:pt x="3967" y="831"/>
                  </a:lnTo>
                  <a:lnTo>
                    <a:pt x="3939" y="810"/>
                  </a:lnTo>
                  <a:lnTo>
                    <a:pt x="3925" y="803"/>
                  </a:lnTo>
                  <a:lnTo>
                    <a:pt x="3914" y="796"/>
                  </a:lnTo>
                  <a:lnTo>
                    <a:pt x="3907" y="793"/>
                  </a:lnTo>
                  <a:lnTo>
                    <a:pt x="3893" y="786"/>
                  </a:lnTo>
                  <a:lnTo>
                    <a:pt x="3886" y="782"/>
                  </a:lnTo>
                  <a:lnTo>
                    <a:pt x="3872" y="775"/>
                  </a:lnTo>
                  <a:lnTo>
                    <a:pt x="3865" y="775"/>
                  </a:lnTo>
                  <a:lnTo>
                    <a:pt x="3851" y="768"/>
                  </a:lnTo>
                  <a:lnTo>
                    <a:pt x="3844" y="768"/>
                  </a:lnTo>
                  <a:lnTo>
                    <a:pt x="3830" y="765"/>
                  </a:lnTo>
                  <a:lnTo>
                    <a:pt x="3816" y="765"/>
                  </a:lnTo>
                  <a:cubicBezTo>
                    <a:pt x="3732" y="765"/>
                    <a:pt x="3666" y="719"/>
                    <a:pt x="3599" y="677"/>
                  </a:cubicBezTo>
                  <a:cubicBezTo>
                    <a:pt x="3536" y="633"/>
                    <a:pt x="3489" y="603"/>
                    <a:pt x="3434" y="603"/>
                  </a:cubicBezTo>
                  <a:cubicBezTo>
                    <a:pt x="3419" y="603"/>
                    <a:pt x="3403" y="605"/>
                    <a:pt x="3386" y="611"/>
                  </a:cubicBezTo>
                  <a:lnTo>
                    <a:pt x="3347" y="618"/>
                  </a:lnTo>
                  <a:cubicBezTo>
                    <a:pt x="3330" y="625"/>
                    <a:pt x="3312" y="628"/>
                    <a:pt x="3291" y="628"/>
                  </a:cubicBezTo>
                  <a:lnTo>
                    <a:pt x="3260" y="635"/>
                  </a:lnTo>
                  <a:lnTo>
                    <a:pt x="3260" y="632"/>
                  </a:lnTo>
                  <a:cubicBezTo>
                    <a:pt x="3179" y="628"/>
                    <a:pt x="3102" y="607"/>
                    <a:pt x="3032" y="572"/>
                  </a:cubicBezTo>
                  <a:cubicBezTo>
                    <a:pt x="2990" y="551"/>
                    <a:pt x="2948" y="537"/>
                    <a:pt x="2906" y="526"/>
                  </a:cubicBezTo>
                  <a:lnTo>
                    <a:pt x="2899" y="526"/>
                  </a:lnTo>
                  <a:cubicBezTo>
                    <a:pt x="2874" y="526"/>
                    <a:pt x="2836" y="558"/>
                    <a:pt x="2801" y="597"/>
                  </a:cubicBezTo>
                  <a:cubicBezTo>
                    <a:pt x="2790" y="607"/>
                    <a:pt x="2776" y="621"/>
                    <a:pt x="2766" y="635"/>
                  </a:cubicBezTo>
                  <a:cubicBezTo>
                    <a:pt x="2703" y="707"/>
                    <a:pt x="2625" y="796"/>
                    <a:pt x="2524" y="796"/>
                  </a:cubicBezTo>
                  <a:cubicBezTo>
                    <a:pt x="2502" y="796"/>
                    <a:pt x="2479" y="791"/>
                    <a:pt x="2454" y="782"/>
                  </a:cubicBezTo>
                  <a:cubicBezTo>
                    <a:pt x="2451" y="780"/>
                    <a:pt x="2446" y="779"/>
                    <a:pt x="2442" y="779"/>
                  </a:cubicBezTo>
                  <a:cubicBezTo>
                    <a:pt x="2437" y="779"/>
                    <a:pt x="2432" y="780"/>
                    <a:pt x="2426" y="782"/>
                  </a:cubicBezTo>
                  <a:cubicBezTo>
                    <a:pt x="2349" y="824"/>
                    <a:pt x="2279" y="1059"/>
                    <a:pt x="2241" y="1199"/>
                  </a:cubicBezTo>
                  <a:cubicBezTo>
                    <a:pt x="2234" y="1230"/>
                    <a:pt x="2223" y="1255"/>
                    <a:pt x="2216" y="1279"/>
                  </a:cubicBezTo>
                  <a:cubicBezTo>
                    <a:pt x="2178" y="1416"/>
                    <a:pt x="1985" y="1472"/>
                    <a:pt x="1782" y="1535"/>
                  </a:cubicBezTo>
                  <a:cubicBezTo>
                    <a:pt x="1635" y="1577"/>
                    <a:pt x="1436" y="1636"/>
                    <a:pt x="1443" y="1710"/>
                  </a:cubicBezTo>
                  <a:cubicBezTo>
                    <a:pt x="1457" y="1881"/>
                    <a:pt x="1296" y="1990"/>
                    <a:pt x="1135" y="2021"/>
                  </a:cubicBezTo>
                  <a:cubicBezTo>
                    <a:pt x="1121" y="2025"/>
                    <a:pt x="1103" y="2025"/>
                    <a:pt x="1086" y="2028"/>
                  </a:cubicBezTo>
                  <a:lnTo>
                    <a:pt x="1023" y="2028"/>
                  </a:lnTo>
                  <a:cubicBezTo>
                    <a:pt x="1012" y="2025"/>
                    <a:pt x="1002" y="2025"/>
                    <a:pt x="991" y="2021"/>
                  </a:cubicBezTo>
                  <a:lnTo>
                    <a:pt x="981" y="2021"/>
                  </a:lnTo>
                  <a:cubicBezTo>
                    <a:pt x="956" y="2018"/>
                    <a:pt x="931" y="2007"/>
                    <a:pt x="907" y="1993"/>
                  </a:cubicBezTo>
                  <a:lnTo>
                    <a:pt x="900" y="1990"/>
                  </a:lnTo>
                  <a:cubicBezTo>
                    <a:pt x="893" y="1983"/>
                    <a:pt x="886" y="1979"/>
                    <a:pt x="879" y="1972"/>
                  </a:cubicBezTo>
                  <a:lnTo>
                    <a:pt x="872" y="1965"/>
                  </a:lnTo>
                  <a:cubicBezTo>
                    <a:pt x="865" y="1958"/>
                    <a:pt x="861" y="1955"/>
                    <a:pt x="858" y="1948"/>
                  </a:cubicBezTo>
                  <a:cubicBezTo>
                    <a:pt x="858" y="1944"/>
                    <a:pt x="854" y="1941"/>
                    <a:pt x="851" y="1937"/>
                  </a:cubicBezTo>
                  <a:cubicBezTo>
                    <a:pt x="844" y="1927"/>
                    <a:pt x="840" y="1916"/>
                    <a:pt x="837" y="1906"/>
                  </a:cubicBezTo>
                  <a:cubicBezTo>
                    <a:pt x="823" y="1860"/>
                    <a:pt x="742" y="1860"/>
                    <a:pt x="641" y="1860"/>
                  </a:cubicBezTo>
                  <a:cubicBezTo>
                    <a:pt x="571" y="1860"/>
                    <a:pt x="515" y="1860"/>
                    <a:pt x="476" y="1836"/>
                  </a:cubicBezTo>
                  <a:cubicBezTo>
                    <a:pt x="459" y="1836"/>
                    <a:pt x="441" y="1843"/>
                    <a:pt x="427" y="1850"/>
                  </a:cubicBezTo>
                  <a:cubicBezTo>
                    <a:pt x="389" y="1871"/>
                    <a:pt x="357" y="1909"/>
                    <a:pt x="347" y="1951"/>
                  </a:cubicBezTo>
                  <a:lnTo>
                    <a:pt x="347" y="1958"/>
                  </a:lnTo>
                  <a:cubicBezTo>
                    <a:pt x="343" y="1969"/>
                    <a:pt x="343" y="1976"/>
                    <a:pt x="343" y="1986"/>
                  </a:cubicBezTo>
                  <a:lnTo>
                    <a:pt x="343" y="1993"/>
                  </a:lnTo>
                  <a:cubicBezTo>
                    <a:pt x="340" y="2007"/>
                    <a:pt x="340" y="2021"/>
                    <a:pt x="343" y="2035"/>
                  </a:cubicBezTo>
                  <a:cubicBezTo>
                    <a:pt x="350" y="2147"/>
                    <a:pt x="312" y="2256"/>
                    <a:pt x="238" y="2340"/>
                  </a:cubicBezTo>
                  <a:cubicBezTo>
                    <a:pt x="228" y="2354"/>
                    <a:pt x="221" y="2364"/>
                    <a:pt x="210" y="2378"/>
                  </a:cubicBezTo>
                  <a:lnTo>
                    <a:pt x="182" y="2410"/>
                  </a:lnTo>
                  <a:cubicBezTo>
                    <a:pt x="161" y="2434"/>
                    <a:pt x="140" y="2459"/>
                    <a:pt x="126" y="2487"/>
                  </a:cubicBezTo>
                  <a:cubicBezTo>
                    <a:pt x="119" y="2508"/>
                    <a:pt x="109" y="2536"/>
                    <a:pt x="98" y="2567"/>
                  </a:cubicBezTo>
                  <a:cubicBezTo>
                    <a:pt x="63" y="2662"/>
                    <a:pt x="0" y="2834"/>
                    <a:pt x="53" y="2907"/>
                  </a:cubicBezTo>
                  <a:cubicBezTo>
                    <a:pt x="109" y="2991"/>
                    <a:pt x="84" y="3089"/>
                    <a:pt x="60" y="3187"/>
                  </a:cubicBezTo>
                  <a:cubicBezTo>
                    <a:pt x="35" y="3282"/>
                    <a:pt x="7" y="3394"/>
                    <a:pt x="60" y="3502"/>
                  </a:cubicBezTo>
                  <a:cubicBezTo>
                    <a:pt x="130" y="3660"/>
                    <a:pt x="133" y="3842"/>
                    <a:pt x="133" y="3971"/>
                  </a:cubicBezTo>
                  <a:cubicBezTo>
                    <a:pt x="130" y="4024"/>
                    <a:pt x="133" y="4073"/>
                    <a:pt x="144" y="4122"/>
                  </a:cubicBezTo>
                  <a:cubicBezTo>
                    <a:pt x="182" y="4136"/>
                    <a:pt x="224" y="4146"/>
                    <a:pt x="266" y="4153"/>
                  </a:cubicBezTo>
                  <a:cubicBezTo>
                    <a:pt x="413" y="4185"/>
                    <a:pt x="620" y="4230"/>
                    <a:pt x="686" y="4412"/>
                  </a:cubicBezTo>
                  <a:cubicBezTo>
                    <a:pt x="756" y="4601"/>
                    <a:pt x="522" y="4829"/>
                    <a:pt x="312" y="5025"/>
                  </a:cubicBezTo>
                  <a:cubicBezTo>
                    <a:pt x="238" y="5095"/>
                    <a:pt x="137" y="5193"/>
                    <a:pt x="130" y="5225"/>
                  </a:cubicBezTo>
                  <a:cubicBezTo>
                    <a:pt x="126" y="5228"/>
                    <a:pt x="126" y="5232"/>
                    <a:pt x="130" y="5235"/>
                  </a:cubicBezTo>
                  <a:cubicBezTo>
                    <a:pt x="147" y="5270"/>
                    <a:pt x="172" y="5305"/>
                    <a:pt x="200" y="5330"/>
                  </a:cubicBezTo>
                  <a:lnTo>
                    <a:pt x="245" y="5333"/>
                  </a:lnTo>
                  <a:lnTo>
                    <a:pt x="294" y="5337"/>
                  </a:lnTo>
                  <a:lnTo>
                    <a:pt x="350" y="5340"/>
                  </a:lnTo>
                  <a:lnTo>
                    <a:pt x="399" y="5344"/>
                  </a:lnTo>
                  <a:lnTo>
                    <a:pt x="459" y="5347"/>
                  </a:lnTo>
                  <a:lnTo>
                    <a:pt x="508" y="5351"/>
                  </a:lnTo>
                  <a:lnTo>
                    <a:pt x="564" y="5358"/>
                  </a:lnTo>
                  <a:lnTo>
                    <a:pt x="616" y="5361"/>
                  </a:lnTo>
                  <a:lnTo>
                    <a:pt x="672" y="5368"/>
                  </a:lnTo>
                  <a:lnTo>
                    <a:pt x="721" y="5375"/>
                  </a:lnTo>
                  <a:lnTo>
                    <a:pt x="777" y="5382"/>
                  </a:lnTo>
                  <a:lnTo>
                    <a:pt x="826" y="5389"/>
                  </a:lnTo>
                  <a:lnTo>
                    <a:pt x="882" y="5400"/>
                  </a:lnTo>
                  <a:lnTo>
                    <a:pt x="928" y="5403"/>
                  </a:lnTo>
                  <a:lnTo>
                    <a:pt x="1026" y="5421"/>
                  </a:lnTo>
                  <a:cubicBezTo>
                    <a:pt x="1059" y="5427"/>
                    <a:pt x="1106" y="5429"/>
                    <a:pt x="1165" y="5429"/>
                  </a:cubicBezTo>
                  <a:cubicBezTo>
                    <a:pt x="1657" y="5429"/>
                    <a:pt x="2951" y="5237"/>
                    <a:pt x="3155" y="5169"/>
                  </a:cubicBezTo>
                  <a:cubicBezTo>
                    <a:pt x="3148" y="5085"/>
                    <a:pt x="3137" y="5001"/>
                    <a:pt x="3123" y="4917"/>
                  </a:cubicBezTo>
                  <a:cubicBezTo>
                    <a:pt x="3102" y="4777"/>
                    <a:pt x="3092" y="4693"/>
                    <a:pt x="3099" y="4650"/>
                  </a:cubicBezTo>
                  <a:cubicBezTo>
                    <a:pt x="3122" y="4544"/>
                    <a:pt x="3353" y="4338"/>
                    <a:pt x="3575" y="4338"/>
                  </a:cubicBezTo>
                  <a:cubicBezTo>
                    <a:pt x="3585" y="4338"/>
                    <a:pt x="3596" y="4338"/>
                    <a:pt x="3606" y="4339"/>
                  </a:cubicBezTo>
                  <a:lnTo>
                    <a:pt x="3662" y="4342"/>
                  </a:lnTo>
                  <a:cubicBezTo>
                    <a:pt x="3710" y="4348"/>
                    <a:pt x="3764" y="4353"/>
                    <a:pt x="3809" y="4353"/>
                  </a:cubicBezTo>
                  <a:cubicBezTo>
                    <a:pt x="3850" y="4353"/>
                    <a:pt x="3883" y="4349"/>
                    <a:pt x="3897" y="4335"/>
                  </a:cubicBezTo>
                  <a:cubicBezTo>
                    <a:pt x="3897" y="4335"/>
                    <a:pt x="3907" y="4328"/>
                    <a:pt x="3907" y="4307"/>
                  </a:cubicBezTo>
                  <a:cubicBezTo>
                    <a:pt x="3907" y="4146"/>
                    <a:pt x="4208" y="4038"/>
                    <a:pt x="4348" y="4013"/>
                  </a:cubicBezTo>
                  <a:cubicBezTo>
                    <a:pt x="4388" y="4006"/>
                    <a:pt x="4421" y="4002"/>
                    <a:pt x="4450" y="4002"/>
                  </a:cubicBezTo>
                  <a:cubicBezTo>
                    <a:pt x="4556" y="4002"/>
                    <a:pt x="4598" y="4046"/>
                    <a:pt x="4614" y="4090"/>
                  </a:cubicBezTo>
                  <a:cubicBezTo>
                    <a:pt x="4620" y="4105"/>
                    <a:pt x="4628" y="4112"/>
                    <a:pt x="4637" y="4112"/>
                  </a:cubicBezTo>
                  <a:cubicBezTo>
                    <a:pt x="4639" y="4112"/>
                    <a:pt x="4641" y="4112"/>
                    <a:pt x="4642" y="4111"/>
                  </a:cubicBezTo>
                  <a:cubicBezTo>
                    <a:pt x="4677" y="4108"/>
                    <a:pt x="4737" y="4034"/>
                    <a:pt x="4747" y="3866"/>
                  </a:cubicBezTo>
                  <a:cubicBezTo>
                    <a:pt x="4747" y="3814"/>
                    <a:pt x="4751" y="3761"/>
                    <a:pt x="4751" y="3712"/>
                  </a:cubicBezTo>
                  <a:cubicBezTo>
                    <a:pt x="4758" y="3460"/>
                    <a:pt x="4765" y="3240"/>
                    <a:pt x="4985" y="3222"/>
                  </a:cubicBezTo>
                  <a:cubicBezTo>
                    <a:pt x="5118" y="3212"/>
                    <a:pt x="5245" y="3149"/>
                    <a:pt x="5287" y="3096"/>
                  </a:cubicBezTo>
                  <a:cubicBezTo>
                    <a:pt x="5297" y="3082"/>
                    <a:pt x="5297" y="3075"/>
                    <a:pt x="5297" y="3072"/>
                  </a:cubicBezTo>
                  <a:cubicBezTo>
                    <a:pt x="5276" y="3026"/>
                    <a:pt x="5248" y="2984"/>
                    <a:pt x="5217" y="2946"/>
                  </a:cubicBezTo>
                  <a:cubicBezTo>
                    <a:pt x="5143" y="2848"/>
                    <a:pt x="5059" y="2736"/>
                    <a:pt x="5136" y="2659"/>
                  </a:cubicBezTo>
                  <a:cubicBezTo>
                    <a:pt x="5159" y="2636"/>
                    <a:pt x="5190" y="2627"/>
                    <a:pt x="5230" y="2627"/>
                  </a:cubicBezTo>
                  <a:cubicBezTo>
                    <a:pt x="5283" y="2627"/>
                    <a:pt x="5350" y="2642"/>
                    <a:pt x="5434" y="2662"/>
                  </a:cubicBezTo>
                  <a:cubicBezTo>
                    <a:pt x="5559" y="2692"/>
                    <a:pt x="5645" y="2706"/>
                    <a:pt x="5694" y="2706"/>
                  </a:cubicBezTo>
                  <a:cubicBezTo>
                    <a:pt x="5720" y="2706"/>
                    <a:pt x="5734" y="2702"/>
                    <a:pt x="5738" y="2694"/>
                  </a:cubicBezTo>
                  <a:cubicBezTo>
                    <a:pt x="5759" y="2634"/>
                    <a:pt x="5763" y="2571"/>
                    <a:pt x="5752" y="2511"/>
                  </a:cubicBezTo>
                  <a:cubicBezTo>
                    <a:pt x="5745" y="2427"/>
                    <a:pt x="5738" y="2336"/>
                    <a:pt x="5791" y="2249"/>
                  </a:cubicBezTo>
                  <a:cubicBezTo>
                    <a:pt x="5826" y="2196"/>
                    <a:pt x="5868" y="2147"/>
                    <a:pt x="5910" y="2102"/>
                  </a:cubicBezTo>
                  <a:cubicBezTo>
                    <a:pt x="5976" y="2035"/>
                    <a:pt x="6046" y="1958"/>
                    <a:pt x="6043" y="1902"/>
                  </a:cubicBezTo>
                  <a:cubicBezTo>
                    <a:pt x="6039" y="1871"/>
                    <a:pt x="6036" y="1839"/>
                    <a:pt x="6036" y="1811"/>
                  </a:cubicBezTo>
                  <a:cubicBezTo>
                    <a:pt x="6032" y="1731"/>
                    <a:pt x="6032" y="1685"/>
                    <a:pt x="5966" y="1619"/>
                  </a:cubicBezTo>
                  <a:cubicBezTo>
                    <a:pt x="5896" y="1556"/>
                    <a:pt x="5868" y="1461"/>
                    <a:pt x="5892" y="1370"/>
                  </a:cubicBezTo>
                  <a:cubicBezTo>
                    <a:pt x="5924" y="1293"/>
                    <a:pt x="5997" y="1237"/>
                    <a:pt x="6085" y="1234"/>
                  </a:cubicBezTo>
                  <a:cubicBezTo>
                    <a:pt x="6102" y="1227"/>
                    <a:pt x="6123" y="1220"/>
                    <a:pt x="6137" y="1209"/>
                  </a:cubicBezTo>
                  <a:lnTo>
                    <a:pt x="6148" y="1202"/>
                  </a:lnTo>
                  <a:lnTo>
                    <a:pt x="6162" y="1199"/>
                  </a:lnTo>
                  <a:cubicBezTo>
                    <a:pt x="6267" y="1178"/>
                    <a:pt x="6354" y="1157"/>
                    <a:pt x="6417" y="1111"/>
                  </a:cubicBezTo>
                  <a:lnTo>
                    <a:pt x="6372" y="1111"/>
                  </a:lnTo>
                  <a:lnTo>
                    <a:pt x="6340" y="1118"/>
                  </a:lnTo>
                  <a:lnTo>
                    <a:pt x="6326" y="1122"/>
                  </a:lnTo>
                  <a:lnTo>
                    <a:pt x="6298" y="1129"/>
                  </a:lnTo>
                  <a:lnTo>
                    <a:pt x="6284" y="1132"/>
                  </a:lnTo>
                  <a:lnTo>
                    <a:pt x="6253" y="1136"/>
                  </a:lnTo>
                  <a:lnTo>
                    <a:pt x="6246" y="1136"/>
                  </a:lnTo>
                  <a:cubicBezTo>
                    <a:pt x="6232" y="1139"/>
                    <a:pt x="6218" y="1139"/>
                    <a:pt x="6207" y="1139"/>
                  </a:cubicBezTo>
                  <a:cubicBezTo>
                    <a:pt x="6203" y="1139"/>
                    <a:pt x="6198" y="1140"/>
                    <a:pt x="6194" y="1140"/>
                  </a:cubicBezTo>
                  <a:cubicBezTo>
                    <a:pt x="6146" y="1140"/>
                    <a:pt x="6102" y="1123"/>
                    <a:pt x="6067" y="1097"/>
                  </a:cubicBezTo>
                  <a:lnTo>
                    <a:pt x="6057" y="1087"/>
                  </a:lnTo>
                  <a:lnTo>
                    <a:pt x="6050" y="1080"/>
                  </a:lnTo>
                  <a:cubicBezTo>
                    <a:pt x="6018" y="1038"/>
                    <a:pt x="6001" y="985"/>
                    <a:pt x="6004" y="936"/>
                  </a:cubicBezTo>
                  <a:cubicBezTo>
                    <a:pt x="6004" y="912"/>
                    <a:pt x="6008" y="887"/>
                    <a:pt x="6015" y="863"/>
                  </a:cubicBezTo>
                  <a:cubicBezTo>
                    <a:pt x="6015" y="849"/>
                    <a:pt x="6022" y="831"/>
                    <a:pt x="6025" y="817"/>
                  </a:cubicBezTo>
                  <a:cubicBezTo>
                    <a:pt x="6032" y="782"/>
                    <a:pt x="6043" y="751"/>
                    <a:pt x="6053" y="716"/>
                  </a:cubicBezTo>
                  <a:cubicBezTo>
                    <a:pt x="6109" y="544"/>
                    <a:pt x="6116" y="477"/>
                    <a:pt x="6053" y="449"/>
                  </a:cubicBezTo>
                  <a:cubicBezTo>
                    <a:pt x="5889" y="372"/>
                    <a:pt x="5889" y="218"/>
                    <a:pt x="5889" y="113"/>
                  </a:cubicBezTo>
                  <a:cubicBezTo>
                    <a:pt x="5889" y="5"/>
                    <a:pt x="5878" y="1"/>
                    <a:pt x="5854" y="1"/>
                  </a:cubicBezTo>
                  <a:cubicBezTo>
                    <a:pt x="5850" y="1"/>
                    <a:pt x="5846" y="1"/>
                    <a:pt x="584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7" name="Google Shape;8044;p64">
              <a:extLst>
                <a:ext uri="{FF2B5EF4-FFF2-40B4-BE49-F238E27FC236}">
                  <a16:creationId xmlns:a16="http://schemas.microsoft.com/office/drawing/2014/main" id="{12A786A1-32C5-1795-D5CA-F63454A95491}"/>
                </a:ext>
              </a:extLst>
            </p:cNvPr>
            <p:cNvSpPr/>
            <p:nvPr/>
          </p:nvSpPr>
          <p:spPr>
            <a:xfrm>
              <a:off x="2595449" y="1751378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8" name="Google Shape;8045;p64">
              <a:extLst>
                <a:ext uri="{FF2B5EF4-FFF2-40B4-BE49-F238E27FC236}">
                  <a16:creationId xmlns:a16="http://schemas.microsoft.com/office/drawing/2014/main" id="{A41D101F-9C7E-A721-2E00-55E1D2973433}"/>
                </a:ext>
              </a:extLst>
            </p:cNvPr>
            <p:cNvSpPr/>
            <p:nvPr/>
          </p:nvSpPr>
          <p:spPr>
            <a:xfrm>
              <a:off x="2589692" y="1751432"/>
              <a:ext cx="11134" cy="4046"/>
            </a:xfrm>
            <a:custGeom>
              <a:avLst/>
              <a:gdLst/>
              <a:ahLst/>
              <a:cxnLst/>
              <a:rect l="l" t="t" r="r" b="b"/>
              <a:pathLst>
                <a:path w="820" h="298" extrusionOk="0">
                  <a:moveTo>
                    <a:pt x="420" y="0"/>
                  </a:moveTo>
                  <a:cubicBezTo>
                    <a:pt x="350" y="0"/>
                    <a:pt x="137" y="179"/>
                    <a:pt x="0" y="298"/>
                  </a:cubicBezTo>
                  <a:lnTo>
                    <a:pt x="18" y="294"/>
                  </a:lnTo>
                  <a:lnTo>
                    <a:pt x="42" y="287"/>
                  </a:lnTo>
                  <a:lnTo>
                    <a:pt x="77" y="277"/>
                  </a:lnTo>
                  <a:lnTo>
                    <a:pt x="98" y="270"/>
                  </a:lnTo>
                  <a:lnTo>
                    <a:pt x="133" y="263"/>
                  </a:lnTo>
                  <a:lnTo>
                    <a:pt x="158" y="259"/>
                  </a:lnTo>
                  <a:lnTo>
                    <a:pt x="189" y="252"/>
                  </a:lnTo>
                  <a:lnTo>
                    <a:pt x="210" y="249"/>
                  </a:lnTo>
                  <a:lnTo>
                    <a:pt x="242" y="245"/>
                  </a:lnTo>
                  <a:lnTo>
                    <a:pt x="361" y="245"/>
                  </a:lnTo>
                  <a:lnTo>
                    <a:pt x="382" y="249"/>
                  </a:lnTo>
                  <a:cubicBezTo>
                    <a:pt x="396" y="252"/>
                    <a:pt x="406" y="256"/>
                    <a:pt x="420" y="259"/>
                  </a:cubicBezTo>
                  <a:lnTo>
                    <a:pt x="435" y="266"/>
                  </a:lnTo>
                  <a:lnTo>
                    <a:pt x="582" y="266"/>
                  </a:lnTo>
                  <a:lnTo>
                    <a:pt x="599" y="263"/>
                  </a:lnTo>
                  <a:lnTo>
                    <a:pt x="613" y="263"/>
                  </a:lnTo>
                  <a:lnTo>
                    <a:pt x="631" y="259"/>
                  </a:lnTo>
                  <a:lnTo>
                    <a:pt x="645" y="256"/>
                  </a:lnTo>
                  <a:lnTo>
                    <a:pt x="662" y="249"/>
                  </a:lnTo>
                  <a:lnTo>
                    <a:pt x="676" y="245"/>
                  </a:lnTo>
                  <a:lnTo>
                    <a:pt x="701" y="238"/>
                  </a:lnTo>
                  <a:lnTo>
                    <a:pt x="708" y="235"/>
                  </a:lnTo>
                  <a:lnTo>
                    <a:pt x="739" y="221"/>
                  </a:lnTo>
                  <a:lnTo>
                    <a:pt x="750" y="217"/>
                  </a:lnTo>
                  <a:lnTo>
                    <a:pt x="771" y="207"/>
                  </a:lnTo>
                  <a:lnTo>
                    <a:pt x="785" y="200"/>
                  </a:lnTo>
                  <a:lnTo>
                    <a:pt x="802" y="189"/>
                  </a:lnTo>
                  <a:lnTo>
                    <a:pt x="816" y="182"/>
                  </a:lnTo>
                  <a:lnTo>
                    <a:pt x="820" y="179"/>
                  </a:lnTo>
                  <a:lnTo>
                    <a:pt x="820" y="172"/>
                  </a:lnTo>
                  <a:lnTo>
                    <a:pt x="781" y="165"/>
                  </a:lnTo>
                  <a:lnTo>
                    <a:pt x="771" y="165"/>
                  </a:lnTo>
                  <a:lnTo>
                    <a:pt x="743" y="161"/>
                  </a:lnTo>
                  <a:lnTo>
                    <a:pt x="708" y="161"/>
                  </a:lnTo>
                  <a:cubicBezTo>
                    <a:pt x="702" y="159"/>
                    <a:pt x="697" y="158"/>
                    <a:pt x="692" y="158"/>
                  </a:cubicBezTo>
                  <a:cubicBezTo>
                    <a:pt x="687" y="158"/>
                    <a:pt x="681" y="159"/>
                    <a:pt x="676" y="161"/>
                  </a:cubicBezTo>
                  <a:cubicBezTo>
                    <a:pt x="667" y="162"/>
                    <a:pt x="658" y="163"/>
                    <a:pt x="650" y="163"/>
                  </a:cubicBezTo>
                  <a:cubicBezTo>
                    <a:pt x="589" y="163"/>
                    <a:pt x="532" y="132"/>
                    <a:pt x="501" y="74"/>
                  </a:cubicBezTo>
                  <a:lnTo>
                    <a:pt x="487" y="56"/>
                  </a:lnTo>
                  <a:lnTo>
                    <a:pt x="484" y="53"/>
                  </a:lnTo>
                  <a:cubicBezTo>
                    <a:pt x="480" y="46"/>
                    <a:pt x="477" y="42"/>
                    <a:pt x="473" y="35"/>
                  </a:cubicBezTo>
                  <a:lnTo>
                    <a:pt x="463" y="28"/>
                  </a:lnTo>
                  <a:cubicBezTo>
                    <a:pt x="459" y="25"/>
                    <a:pt x="456" y="21"/>
                    <a:pt x="452" y="18"/>
                  </a:cubicBezTo>
                  <a:lnTo>
                    <a:pt x="438" y="7"/>
                  </a:lnTo>
                  <a:lnTo>
                    <a:pt x="42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9" name="Google Shape;8046;p64">
              <a:extLst>
                <a:ext uri="{FF2B5EF4-FFF2-40B4-BE49-F238E27FC236}">
                  <a16:creationId xmlns:a16="http://schemas.microsoft.com/office/drawing/2014/main" id="{FD513A2B-3AF7-0933-2C10-1A42000FCC40}"/>
                </a:ext>
              </a:extLst>
            </p:cNvPr>
            <p:cNvSpPr/>
            <p:nvPr/>
          </p:nvSpPr>
          <p:spPr>
            <a:xfrm>
              <a:off x="2541736" y="1751432"/>
              <a:ext cx="434" cy="109"/>
            </a:xfrm>
            <a:custGeom>
              <a:avLst/>
              <a:gdLst/>
              <a:ahLst/>
              <a:cxnLst/>
              <a:rect l="l" t="t" r="r" b="b"/>
              <a:pathLst>
                <a:path w="32" h="8" extrusionOk="0">
                  <a:moveTo>
                    <a:pt x="32" y="0"/>
                  </a:moveTo>
                  <a:cubicBezTo>
                    <a:pt x="21" y="0"/>
                    <a:pt x="11" y="4"/>
                    <a:pt x="0" y="4"/>
                  </a:cubicBezTo>
                  <a:lnTo>
                    <a:pt x="0" y="7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0" name="Google Shape;8047;p64">
              <a:extLst>
                <a:ext uri="{FF2B5EF4-FFF2-40B4-BE49-F238E27FC236}">
                  <a16:creationId xmlns:a16="http://schemas.microsoft.com/office/drawing/2014/main" id="{ADBBD72C-A1BA-EC50-97AA-FDA892339491}"/>
                </a:ext>
              </a:extLst>
            </p:cNvPr>
            <p:cNvSpPr/>
            <p:nvPr/>
          </p:nvSpPr>
          <p:spPr>
            <a:xfrm>
              <a:off x="2550955" y="1754039"/>
              <a:ext cx="394" cy="258"/>
            </a:xfrm>
            <a:custGeom>
              <a:avLst/>
              <a:gdLst/>
              <a:ahLst/>
              <a:cxnLst/>
              <a:rect l="l" t="t" r="r" b="b"/>
              <a:pathLst>
                <a:path w="29" h="19" extrusionOk="0">
                  <a:moveTo>
                    <a:pt x="0" y="1"/>
                  </a:moveTo>
                  <a:lnTo>
                    <a:pt x="28" y="18"/>
                  </a:lnTo>
                  <a:lnTo>
                    <a:pt x="2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1" name="Google Shape;8048;p64">
              <a:extLst>
                <a:ext uri="{FF2B5EF4-FFF2-40B4-BE49-F238E27FC236}">
                  <a16:creationId xmlns:a16="http://schemas.microsoft.com/office/drawing/2014/main" id="{C372E188-2F1A-0E3F-1116-01242F2B3AEC}"/>
                </a:ext>
              </a:extLst>
            </p:cNvPr>
            <p:cNvSpPr/>
            <p:nvPr/>
          </p:nvSpPr>
          <p:spPr>
            <a:xfrm>
              <a:off x="2549950" y="1753523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2" name="Google Shape;8049;p64">
              <a:extLst>
                <a:ext uri="{FF2B5EF4-FFF2-40B4-BE49-F238E27FC236}">
                  <a16:creationId xmlns:a16="http://schemas.microsoft.com/office/drawing/2014/main" id="{9BB47D17-C8E5-0118-69FB-F96AA29B9664}"/>
                </a:ext>
              </a:extLst>
            </p:cNvPr>
            <p:cNvSpPr/>
            <p:nvPr/>
          </p:nvSpPr>
          <p:spPr>
            <a:xfrm>
              <a:off x="2550236" y="175361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8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3" name="Google Shape;8050;p64">
              <a:extLst>
                <a:ext uri="{FF2B5EF4-FFF2-40B4-BE49-F238E27FC236}">
                  <a16:creationId xmlns:a16="http://schemas.microsoft.com/office/drawing/2014/main" id="{1064CBFF-1B6A-3755-9C54-522964E4D541}"/>
                </a:ext>
              </a:extLst>
            </p:cNvPr>
            <p:cNvSpPr/>
            <p:nvPr/>
          </p:nvSpPr>
          <p:spPr>
            <a:xfrm>
              <a:off x="2549244" y="1753278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cubicBezTo>
                    <a:pt x="11" y="1"/>
                    <a:pt x="7" y="1"/>
                    <a:pt x="0" y="1"/>
                  </a:cubicBezTo>
                  <a:cubicBezTo>
                    <a:pt x="7" y="1"/>
                    <a:pt x="11" y="1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4" name="Google Shape;8051;p64">
              <a:extLst>
                <a:ext uri="{FF2B5EF4-FFF2-40B4-BE49-F238E27FC236}">
                  <a16:creationId xmlns:a16="http://schemas.microsoft.com/office/drawing/2014/main" id="{75CA4EBB-E17C-F440-186C-798F9F9150BC}"/>
                </a:ext>
              </a:extLst>
            </p:cNvPr>
            <p:cNvSpPr/>
            <p:nvPr/>
          </p:nvSpPr>
          <p:spPr>
            <a:xfrm>
              <a:off x="2550480" y="1753754"/>
              <a:ext cx="149" cy="68"/>
            </a:xfrm>
            <a:custGeom>
              <a:avLst/>
              <a:gdLst/>
              <a:ahLst/>
              <a:cxnLst/>
              <a:rect l="l" t="t" r="r" b="b"/>
              <a:pathLst>
                <a:path w="11" h="5" extrusionOk="0">
                  <a:moveTo>
                    <a:pt x="11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5" name="Google Shape;8052;p64">
              <a:extLst>
                <a:ext uri="{FF2B5EF4-FFF2-40B4-BE49-F238E27FC236}">
                  <a16:creationId xmlns:a16="http://schemas.microsoft.com/office/drawing/2014/main" id="{4ECC9C55-A473-9CA9-8051-84AD688E5401}"/>
                </a:ext>
              </a:extLst>
            </p:cNvPr>
            <p:cNvSpPr/>
            <p:nvPr/>
          </p:nvSpPr>
          <p:spPr>
            <a:xfrm>
              <a:off x="2550711" y="1753903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6" name="Google Shape;8053;p64">
              <a:extLst>
                <a:ext uri="{FF2B5EF4-FFF2-40B4-BE49-F238E27FC236}">
                  <a16:creationId xmlns:a16="http://schemas.microsoft.com/office/drawing/2014/main" id="{42CF709E-3CC6-F691-5B8F-A11142712040}"/>
                </a:ext>
              </a:extLst>
            </p:cNvPr>
            <p:cNvSpPr/>
            <p:nvPr/>
          </p:nvSpPr>
          <p:spPr>
            <a:xfrm>
              <a:off x="2549625" y="175337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7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7" name="Google Shape;8054;p64">
              <a:extLst>
                <a:ext uri="{FF2B5EF4-FFF2-40B4-BE49-F238E27FC236}">
                  <a16:creationId xmlns:a16="http://schemas.microsoft.com/office/drawing/2014/main" id="{C8774F2A-8C03-BDC4-35C9-FD73C022AB77}"/>
                </a:ext>
              </a:extLst>
            </p:cNvPr>
            <p:cNvSpPr/>
            <p:nvPr/>
          </p:nvSpPr>
          <p:spPr>
            <a:xfrm>
              <a:off x="2551756" y="1754568"/>
              <a:ext cx="1439" cy="910"/>
            </a:xfrm>
            <a:custGeom>
              <a:avLst/>
              <a:gdLst/>
              <a:ahLst/>
              <a:cxnLst/>
              <a:rect l="l" t="t" r="r" b="b"/>
              <a:pathLst>
                <a:path w="106" h="67" extrusionOk="0">
                  <a:moveTo>
                    <a:pt x="1" y="0"/>
                  </a:moveTo>
                  <a:lnTo>
                    <a:pt x="106" y="67"/>
                  </a:lnTo>
                  <a:lnTo>
                    <a:pt x="106" y="60"/>
                  </a:lnTo>
                  <a:lnTo>
                    <a:pt x="88" y="53"/>
                  </a:lnTo>
                  <a:cubicBezTo>
                    <a:pt x="57" y="35"/>
                    <a:pt x="29" y="18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8" name="Google Shape;8055;p64">
              <a:extLst>
                <a:ext uri="{FF2B5EF4-FFF2-40B4-BE49-F238E27FC236}">
                  <a16:creationId xmlns:a16="http://schemas.microsoft.com/office/drawing/2014/main" id="{BE5123E5-6CF7-1777-2D7D-00C9F168F095}"/>
                </a:ext>
              </a:extLst>
            </p:cNvPr>
            <p:cNvSpPr/>
            <p:nvPr/>
          </p:nvSpPr>
          <p:spPr>
            <a:xfrm>
              <a:off x="2542917" y="1751147"/>
              <a:ext cx="543" cy="149"/>
            </a:xfrm>
            <a:custGeom>
              <a:avLst/>
              <a:gdLst/>
              <a:ahLst/>
              <a:cxnLst/>
              <a:rect l="l" t="t" r="r" b="b"/>
              <a:pathLst>
                <a:path w="40" h="11" extrusionOk="0">
                  <a:moveTo>
                    <a:pt x="36" y="0"/>
                  </a:moveTo>
                  <a:cubicBezTo>
                    <a:pt x="29" y="3"/>
                    <a:pt x="24" y="5"/>
                    <a:pt x="19" y="7"/>
                  </a:cubicBezTo>
                  <a:lnTo>
                    <a:pt x="19" y="7"/>
                  </a:lnTo>
                  <a:lnTo>
                    <a:pt x="39" y="4"/>
                  </a:lnTo>
                  <a:lnTo>
                    <a:pt x="39" y="0"/>
                  </a:lnTo>
                  <a:close/>
                  <a:moveTo>
                    <a:pt x="19" y="7"/>
                  </a:moveTo>
                  <a:lnTo>
                    <a:pt x="1" y="11"/>
                  </a:lnTo>
                  <a:cubicBezTo>
                    <a:pt x="7" y="11"/>
                    <a:pt x="12" y="9"/>
                    <a:pt x="19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9" name="Google Shape;8056;p64">
              <a:extLst>
                <a:ext uri="{FF2B5EF4-FFF2-40B4-BE49-F238E27FC236}">
                  <a16:creationId xmlns:a16="http://schemas.microsoft.com/office/drawing/2014/main" id="{EA6933B6-F3E2-25C8-DB12-474BE2E49130}"/>
                </a:ext>
              </a:extLst>
            </p:cNvPr>
            <p:cNvSpPr/>
            <p:nvPr/>
          </p:nvSpPr>
          <p:spPr>
            <a:xfrm>
              <a:off x="2508784" y="1768770"/>
              <a:ext cx="204" cy="394"/>
            </a:xfrm>
            <a:custGeom>
              <a:avLst/>
              <a:gdLst/>
              <a:ahLst/>
              <a:cxnLst/>
              <a:rect l="l" t="t" r="r" b="b"/>
              <a:pathLst>
                <a:path w="15" h="29" extrusionOk="0">
                  <a:moveTo>
                    <a:pt x="15" y="29"/>
                  </a:moveTo>
                  <a:cubicBezTo>
                    <a:pt x="11" y="22"/>
                    <a:pt x="4" y="11"/>
                    <a:pt x="1" y="1"/>
                  </a:cubicBezTo>
                  <a:cubicBezTo>
                    <a:pt x="4" y="11"/>
                    <a:pt x="11" y="22"/>
                    <a:pt x="15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0" name="Google Shape;8057;p64">
              <a:extLst>
                <a:ext uri="{FF2B5EF4-FFF2-40B4-BE49-F238E27FC236}">
                  <a16:creationId xmlns:a16="http://schemas.microsoft.com/office/drawing/2014/main" id="{138FB27C-FBF6-6937-58C4-FE5D9ADD7B04}"/>
                </a:ext>
              </a:extLst>
            </p:cNvPr>
            <p:cNvSpPr/>
            <p:nvPr/>
          </p:nvSpPr>
          <p:spPr>
            <a:xfrm>
              <a:off x="2511499" y="1770440"/>
              <a:ext cx="489" cy="14"/>
            </a:xfrm>
            <a:custGeom>
              <a:avLst/>
              <a:gdLst/>
              <a:ahLst/>
              <a:cxnLst/>
              <a:rect l="l" t="t" r="r" b="b"/>
              <a:pathLst>
                <a:path w="36" h="1" extrusionOk="0">
                  <a:moveTo>
                    <a:pt x="15" y="0"/>
                  </a:moveTo>
                  <a:lnTo>
                    <a:pt x="36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1" name="Google Shape;8058;p64">
              <a:extLst>
                <a:ext uri="{FF2B5EF4-FFF2-40B4-BE49-F238E27FC236}">
                  <a16:creationId xmlns:a16="http://schemas.microsoft.com/office/drawing/2014/main" id="{015F4037-3A9E-02FA-EA95-FEC09C92271C}"/>
                </a:ext>
              </a:extLst>
            </p:cNvPr>
            <p:cNvSpPr/>
            <p:nvPr/>
          </p:nvSpPr>
          <p:spPr>
            <a:xfrm>
              <a:off x="2509734" y="1769965"/>
              <a:ext cx="1018" cy="394"/>
            </a:xfrm>
            <a:custGeom>
              <a:avLst/>
              <a:gdLst/>
              <a:ahLst/>
              <a:cxnLst/>
              <a:rect l="l" t="t" r="r" b="b"/>
              <a:pathLst>
                <a:path w="75" h="29" extrusionOk="0">
                  <a:moveTo>
                    <a:pt x="74" y="28"/>
                  </a:moveTo>
                  <a:cubicBezTo>
                    <a:pt x="50" y="21"/>
                    <a:pt x="25" y="11"/>
                    <a:pt x="1" y="0"/>
                  </a:cubicBezTo>
                  <a:cubicBezTo>
                    <a:pt x="25" y="11"/>
                    <a:pt x="50" y="21"/>
                    <a:pt x="74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2" name="Google Shape;8059;p64">
              <a:extLst>
                <a:ext uri="{FF2B5EF4-FFF2-40B4-BE49-F238E27FC236}">
                  <a16:creationId xmlns:a16="http://schemas.microsoft.com/office/drawing/2014/main" id="{FE3AC3FB-614F-DCEA-F500-9EDC056917D4}"/>
                </a:ext>
              </a:extLst>
            </p:cNvPr>
            <p:cNvSpPr/>
            <p:nvPr/>
          </p:nvSpPr>
          <p:spPr>
            <a:xfrm>
              <a:off x="2510888" y="1770345"/>
              <a:ext cx="475" cy="54"/>
            </a:xfrm>
            <a:custGeom>
              <a:avLst/>
              <a:gdLst/>
              <a:ahLst/>
              <a:cxnLst/>
              <a:rect l="l" t="t" r="r" b="b"/>
              <a:pathLst>
                <a:path w="35" h="4" extrusionOk="0">
                  <a:moveTo>
                    <a:pt x="35" y="4"/>
                  </a:moveTo>
                  <a:cubicBezTo>
                    <a:pt x="21" y="4"/>
                    <a:pt x="11" y="4"/>
                    <a:pt x="0" y="0"/>
                  </a:cubicBezTo>
                  <a:cubicBezTo>
                    <a:pt x="11" y="4"/>
                    <a:pt x="21" y="4"/>
                    <a:pt x="35" y="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3" name="Google Shape;8060;p64">
              <a:extLst>
                <a:ext uri="{FF2B5EF4-FFF2-40B4-BE49-F238E27FC236}">
                  <a16:creationId xmlns:a16="http://schemas.microsoft.com/office/drawing/2014/main" id="{767ADE26-EE93-DC17-4F53-0B771F1F20E0}"/>
                </a:ext>
              </a:extLst>
            </p:cNvPr>
            <p:cNvSpPr/>
            <p:nvPr/>
          </p:nvSpPr>
          <p:spPr>
            <a:xfrm>
              <a:off x="2509354" y="1769680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2" y="14"/>
                  </a:moveTo>
                  <a:cubicBezTo>
                    <a:pt x="15" y="11"/>
                    <a:pt x="8" y="4"/>
                    <a:pt x="1" y="0"/>
                  </a:cubicBezTo>
                  <a:cubicBezTo>
                    <a:pt x="8" y="4"/>
                    <a:pt x="15" y="11"/>
                    <a:pt x="22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4" name="Google Shape;8061;p64">
              <a:extLst>
                <a:ext uri="{FF2B5EF4-FFF2-40B4-BE49-F238E27FC236}">
                  <a16:creationId xmlns:a16="http://schemas.microsoft.com/office/drawing/2014/main" id="{457B5B20-0A13-5DD1-2590-D46F224EC7A6}"/>
                </a:ext>
              </a:extLst>
            </p:cNvPr>
            <p:cNvSpPr/>
            <p:nvPr/>
          </p:nvSpPr>
          <p:spPr>
            <a:xfrm>
              <a:off x="2509069" y="1769300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5" y="18"/>
                  </a:moveTo>
                  <a:cubicBezTo>
                    <a:pt x="8" y="11"/>
                    <a:pt x="4" y="7"/>
                    <a:pt x="1" y="0"/>
                  </a:cubicBezTo>
                  <a:cubicBezTo>
                    <a:pt x="4" y="7"/>
                    <a:pt x="8" y="11"/>
                    <a:pt x="15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5" name="Google Shape;8062;p64">
              <a:extLst>
                <a:ext uri="{FF2B5EF4-FFF2-40B4-BE49-F238E27FC236}">
                  <a16:creationId xmlns:a16="http://schemas.microsoft.com/office/drawing/2014/main" id="{2B2CDCCA-98F3-3B19-996E-B7E9C8B701F7}"/>
                </a:ext>
              </a:extLst>
            </p:cNvPr>
            <p:cNvSpPr/>
            <p:nvPr/>
          </p:nvSpPr>
          <p:spPr>
            <a:xfrm>
              <a:off x="2534975" y="1750997"/>
              <a:ext cx="489" cy="543"/>
            </a:xfrm>
            <a:custGeom>
              <a:avLst/>
              <a:gdLst/>
              <a:ahLst/>
              <a:cxnLst/>
              <a:rect l="l" t="t" r="r" b="b"/>
              <a:pathLst>
                <a:path w="36" h="40" extrusionOk="0">
                  <a:moveTo>
                    <a:pt x="36" y="1"/>
                  </a:moveTo>
                  <a:cubicBezTo>
                    <a:pt x="25" y="11"/>
                    <a:pt x="11" y="25"/>
                    <a:pt x="1" y="39"/>
                  </a:cubicBezTo>
                  <a:cubicBezTo>
                    <a:pt x="11" y="25"/>
                    <a:pt x="25" y="11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6" name="Google Shape;8063;p64">
              <a:extLst>
                <a:ext uri="{FF2B5EF4-FFF2-40B4-BE49-F238E27FC236}">
                  <a16:creationId xmlns:a16="http://schemas.microsoft.com/office/drawing/2014/main" id="{2E12E7AB-A188-6E20-3A06-89B4C55F7B0D}"/>
                </a:ext>
              </a:extLst>
            </p:cNvPr>
            <p:cNvSpPr/>
            <p:nvPr/>
          </p:nvSpPr>
          <p:spPr>
            <a:xfrm>
              <a:off x="2536780" y="1750047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1" y="0"/>
                  </a:lnTo>
                  <a:lnTo>
                    <a:pt x="8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7" name="Google Shape;8064;p64">
              <a:extLst>
                <a:ext uri="{FF2B5EF4-FFF2-40B4-BE49-F238E27FC236}">
                  <a16:creationId xmlns:a16="http://schemas.microsoft.com/office/drawing/2014/main" id="{57F52392-00A6-8232-199F-0AAE7260325E}"/>
                </a:ext>
              </a:extLst>
            </p:cNvPr>
            <p:cNvSpPr/>
            <p:nvPr/>
          </p:nvSpPr>
          <p:spPr>
            <a:xfrm>
              <a:off x="2512219" y="1770291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49" y="1"/>
                  </a:moveTo>
                  <a:cubicBezTo>
                    <a:pt x="32" y="4"/>
                    <a:pt x="14" y="8"/>
                    <a:pt x="0" y="8"/>
                  </a:cubicBezTo>
                  <a:cubicBezTo>
                    <a:pt x="14" y="8"/>
                    <a:pt x="32" y="4"/>
                    <a:pt x="4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8" name="Google Shape;8065;p64">
              <a:extLst>
                <a:ext uri="{FF2B5EF4-FFF2-40B4-BE49-F238E27FC236}">
                  <a16:creationId xmlns:a16="http://schemas.microsoft.com/office/drawing/2014/main" id="{35BD9256-3A3E-1AEF-C930-6AEB1BC52B8F}"/>
                </a:ext>
              </a:extLst>
            </p:cNvPr>
            <p:cNvSpPr/>
            <p:nvPr/>
          </p:nvSpPr>
          <p:spPr>
            <a:xfrm>
              <a:off x="2503230" y="1767779"/>
              <a:ext cx="679" cy="204"/>
            </a:xfrm>
            <a:custGeom>
              <a:avLst/>
              <a:gdLst/>
              <a:ahLst/>
              <a:cxnLst/>
              <a:rect l="l" t="t" r="r" b="b"/>
              <a:pathLst>
                <a:path w="50" h="15" extrusionOk="0">
                  <a:moveTo>
                    <a:pt x="49" y="0"/>
                  </a:moveTo>
                  <a:cubicBezTo>
                    <a:pt x="35" y="0"/>
                    <a:pt x="25" y="4"/>
                    <a:pt x="14" y="7"/>
                  </a:cubicBezTo>
                  <a:lnTo>
                    <a:pt x="0" y="14"/>
                  </a:lnTo>
                  <a:cubicBezTo>
                    <a:pt x="14" y="7"/>
                    <a:pt x="32" y="0"/>
                    <a:pt x="49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9" name="Google Shape;8066;p64">
              <a:extLst>
                <a:ext uri="{FF2B5EF4-FFF2-40B4-BE49-F238E27FC236}">
                  <a16:creationId xmlns:a16="http://schemas.microsoft.com/office/drawing/2014/main" id="{DCAB1FF9-82B4-57C5-21DF-5B6D584829D1}"/>
                </a:ext>
              </a:extLst>
            </p:cNvPr>
            <p:cNvSpPr/>
            <p:nvPr/>
          </p:nvSpPr>
          <p:spPr>
            <a:xfrm>
              <a:off x="2542917" y="1751187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1"/>
                  </a:moveTo>
                  <a:lnTo>
                    <a:pt x="36" y="1"/>
                  </a:lnTo>
                  <a:cubicBezTo>
                    <a:pt x="22" y="4"/>
                    <a:pt x="11" y="4"/>
                    <a:pt x="1" y="8"/>
                  </a:cubicBezTo>
                  <a:cubicBezTo>
                    <a:pt x="11" y="8"/>
                    <a:pt x="22" y="4"/>
                    <a:pt x="3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0" name="Google Shape;8067;p64">
              <a:extLst>
                <a:ext uri="{FF2B5EF4-FFF2-40B4-BE49-F238E27FC236}">
                  <a16:creationId xmlns:a16="http://schemas.microsoft.com/office/drawing/2014/main" id="{0C7BF0F4-0887-B97B-CAF0-064F8B278878}"/>
                </a:ext>
              </a:extLst>
            </p:cNvPr>
            <p:cNvSpPr/>
            <p:nvPr/>
          </p:nvSpPr>
          <p:spPr>
            <a:xfrm>
              <a:off x="2502035" y="1769436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1" y="29"/>
                  </a:moveTo>
                  <a:cubicBezTo>
                    <a:pt x="1" y="18"/>
                    <a:pt x="4" y="11"/>
                    <a:pt x="4" y="1"/>
                  </a:cubicBezTo>
                  <a:cubicBezTo>
                    <a:pt x="4" y="11"/>
                    <a:pt x="1" y="18"/>
                    <a:pt x="1" y="2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1" name="Google Shape;8068;p64">
              <a:extLst>
                <a:ext uri="{FF2B5EF4-FFF2-40B4-BE49-F238E27FC236}">
                  <a16:creationId xmlns:a16="http://schemas.microsoft.com/office/drawing/2014/main" id="{690DAB85-34E8-98A6-FE85-87EB1A016C33}"/>
                </a:ext>
              </a:extLst>
            </p:cNvPr>
            <p:cNvSpPr/>
            <p:nvPr/>
          </p:nvSpPr>
          <p:spPr>
            <a:xfrm>
              <a:off x="2499143" y="1813793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4"/>
                  </a:moveTo>
                  <a:cubicBezTo>
                    <a:pt x="0" y="7"/>
                    <a:pt x="0" y="4"/>
                    <a:pt x="0" y="0"/>
                  </a:cubicBezTo>
                  <a:cubicBezTo>
                    <a:pt x="0" y="4"/>
                    <a:pt x="0" y="7"/>
                    <a:pt x="0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2" name="Google Shape;8069;p64">
              <a:extLst>
                <a:ext uri="{FF2B5EF4-FFF2-40B4-BE49-F238E27FC236}">
                  <a16:creationId xmlns:a16="http://schemas.microsoft.com/office/drawing/2014/main" id="{6542E100-28E2-FEC5-7697-1308D382612D}"/>
                </a:ext>
              </a:extLst>
            </p:cNvPr>
            <p:cNvSpPr/>
            <p:nvPr/>
          </p:nvSpPr>
          <p:spPr>
            <a:xfrm>
              <a:off x="2500230" y="1774663"/>
              <a:ext cx="448" cy="489"/>
            </a:xfrm>
            <a:custGeom>
              <a:avLst/>
              <a:gdLst/>
              <a:ahLst/>
              <a:cxnLst/>
              <a:rect l="l" t="t" r="r" b="b"/>
              <a:pathLst>
                <a:path w="33" h="36" extrusionOk="0">
                  <a:moveTo>
                    <a:pt x="32" y="1"/>
                  </a:moveTo>
                  <a:cubicBezTo>
                    <a:pt x="22" y="15"/>
                    <a:pt x="11" y="25"/>
                    <a:pt x="1" y="36"/>
                  </a:cubicBezTo>
                  <a:cubicBezTo>
                    <a:pt x="15" y="25"/>
                    <a:pt x="22" y="15"/>
                    <a:pt x="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3" name="Google Shape;8070;p64">
              <a:extLst>
                <a:ext uri="{FF2B5EF4-FFF2-40B4-BE49-F238E27FC236}">
                  <a16:creationId xmlns:a16="http://schemas.microsoft.com/office/drawing/2014/main" id="{BEF42D44-E780-F9E8-48AF-D7A63FC2E474}"/>
                </a:ext>
              </a:extLst>
            </p:cNvPr>
            <p:cNvSpPr/>
            <p:nvPr/>
          </p:nvSpPr>
          <p:spPr>
            <a:xfrm>
              <a:off x="2502131" y="1767969"/>
              <a:ext cx="1113" cy="1385"/>
            </a:xfrm>
            <a:custGeom>
              <a:avLst/>
              <a:gdLst/>
              <a:ahLst/>
              <a:cxnLst/>
              <a:rect l="l" t="t" r="r" b="b"/>
              <a:pathLst>
                <a:path w="82" h="102" extrusionOk="0">
                  <a:moveTo>
                    <a:pt x="81" y="0"/>
                  </a:moveTo>
                  <a:cubicBezTo>
                    <a:pt x="76" y="3"/>
                    <a:pt x="70" y="6"/>
                    <a:pt x="65" y="10"/>
                  </a:cubicBezTo>
                  <a:lnTo>
                    <a:pt x="65" y="10"/>
                  </a:lnTo>
                  <a:cubicBezTo>
                    <a:pt x="67" y="9"/>
                    <a:pt x="69" y="8"/>
                    <a:pt x="71" y="7"/>
                  </a:cubicBezTo>
                  <a:lnTo>
                    <a:pt x="81" y="0"/>
                  </a:lnTo>
                  <a:close/>
                  <a:moveTo>
                    <a:pt x="65" y="10"/>
                  </a:moveTo>
                  <a:lnTo>
                    <a:pt x="65" y="10"/>
                  </a:lnTo>
                  <a:cubicBezTo>
                    <a:pt x="62" y="11"/>
                    <a:pt x="59" y="12"/>
                    <a:pt x="57" y="14"/>
                  </a:cubicBezTo>
                  <a:cubicBezTo>
                    <a:pt x="29" y="39"/>
                    <a:pt x="8" y="67"/>
                    <a:pt x="1" y="102"/>
                  </a:cubicBezTo>
                  <a:cubicBezTo>
                    <a:pt x="10" y="66"/>
                    <a:pt x="32" y="32"/>
                    <a:pt x="65" y="1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4" name="Google Shape;8071;p64">
              <a:extLst>
                <a:ext uri="{FF2B5EF4-FFF2-40B4-BE49-F238E27FC236}">
                  <a16:creationId xmlns:a16="http://schemas.microsoft.com/office/drawing/2014/main" id="{8082DB9E-5F6A-4095-6B4A-184395985046}"/>
                </a:ext>
              </a:extLst>
            </p:cNvPr>
            <p:cNvSpPr/>
            <p:nvPr/>
          </p:nvSpPr>
          <p:spPr>
            <a:xfrm>
              <a:off x="2500664" y="1769911"/>
              <a:ext cx="1480" cy="4725"/>
            </a:xfrm>
            <a:custGeom>
              <a:avLst/>
              <a:gdLst/>
              <a:ahLst/>
              <a:cxnLst/>
              <a:rect l="l" t="t" r="r" b="b"/>
              <a:pathLst>
                <a:path w="109" h="348" extrusionOk="0">
                  <a:moveTo>
                    <a:pt x="102" y="43"/>
                  </a:moveTo>
                  <a:cubicBezTo>
                    <a:pt x="102" y="29"/>
                    <a:pt x="102" y="15"/>
                    <a:pt x="102" y="1"/>
                  </a:cubicBezTo>
                  <a:cubicBezTo>
                    <a:pt x="102" y="15"/>
                    <a:pt x="102" y="29"/>
                    <a:pt x="102" y="43"/>
                  </a:cubicBezTo>
                  <a:cubicBezTo>
                    <a:pt x="109" y="155"/>
                    <a:pt x="70" y="263"/>
                    <a:pt x="0" y="347"/>
                  </a:cubicBezTo>
                  <a:cubicBezTo>
                    <a:pt x="70" y="263"/>
                    <a:pt x="109" y="155"/>
                    <a:pt x="102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5" name="Google Shape;8072;p64">
              <a:extLst>
                <a:ext uri="{FF2B5EF4-FFF2-40B4-BE49-F238E27FC236}">
                  <a16:creationId xmlns:a16="http://schemas.microsoft.com/office/drawing/2014/main" id="{088F5C13-FBD3-148C-7073-7FA4EED692EF}"/>
                </a:ext>
              </a:extLst>
            </p:cNvPr>
            <p:cNvSpPr/>
            <p:nvPr/>
          </p:nvSpPr>
          <p:spPr>
            <a:xfrm>
              <a:off x="2503081" y="1767874"/>
              <a:ext cx="353" cy="204"/>
            </a:xfrm>
            <a:custGeom>
              <a:avLst/>
              <a:gdLst/>
              <a:ahLst/>
              <a:cxnLst/>
              <a:rect l="l" t="t" r="r" b="b"/>
              <a:pathLst>
                <a:path w="26" h="15" extrusionOk="0">
                  <a:moveTo>
                    <a:pt x="25" y="0"/>
                  </a:moveTo>
                  <a:cubicBezTo>
                    <a:pt x="15" y="4"/>
                    <a:pt x="8" y="7"/>
                    <a:pt x="1" y="14"/>
                  </a:cubicBezTo>
                  <a:lnTo>
                    <a:pt x="11" y="7"/>
                  </a:lnTo>
                  <a:lnTo>
                    <a:pt x="25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6" name="Google Shape;8073;p64">
              <a:extLst>
                <a:ext uri="{FF2B5EF4-FFF2-40B4-BE49-F238E27FC236}">
                  <a16:creationId xmlns:a16="http://schemas.microsoft.com/office/drawing/2014/main" id="{6E3DEA8A-8525-D7A4-FF79-61BDED95813F}"/>
                </a:ext>
              </a:extLst>
            </p:cNvPr>
            <p:cNvSpPr/>
            <p:nvPr/>
          </p:nvSpPr>
          <p:spPr>
            <a:xfrm>
              <a:off x="2579848" y="1757895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7" name="Google Shape;8074;p64">
              <a:extLst>
                <a:ext uri="{FF2B5EF4-FFF2-40B4-BE49-F238E27FC236}">
                  <a16:creationId xmlns:a16="http://schemas.microsoft.com/office/drawing/2014/main" id="{E7B08899-94B1-304E-DE9C-259C630C4D70}"/>
                </a:ext>
              </a:extLst>
            </p:cNvPr>
            <p:cNvSpPr/>
            <p:nvPr/>
          </p:nvSpPr>
          <p:spPr>
            <a:xfrm>
              <a:off x="2583419" y="1758221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4"/>
                  </a:moveTo>
                  <a:lnTo>
                    <a:pt x="1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8" name="Google Shape;8075;p64">
              <a:extLst>
                <a:ext uri="{FF2B5EF4-FFF2-40B4-BE49-F238E27FC236}">
                  <a16:creationId xmlns:a16="http://schemas.microsoft.com/office/drawing/2014/main" id="{2DCD5FAB-582F-605C-6E91-DEAA48EF176D}"/>
                </a:ext>
              </a:extLst>
            </p:cNvPr>
            <p:cNvSpPr/>
            <p:nvPr/>
          </p:nvSpPr>
          <p:spPr>
            <a:xfrm>
              <a:off x="2556318" y="1754568"/>
              <a:ext cx="204" cy="244"/>
            </a:xfrm>
            <a:custGeom>
              <a:avLst/>
              <a:gdLst/>
              <a:ahLst/>
              <a:cxnLst/>
              <a:rect l="l" t="t" r="r" b="b"/>
              <a:pathLst>
                <a:path w="15" h="18" extrusionOk="0">
                  <a:moveTo>
                    <a:pt x="1" y="18"/>
                  </a:moveTo>
                  <a:cubicBezTo>
                    <a:pt x="8" y="11"/>
                    <a:pt x="11" y="4"/>
                    <a:pt x="15" y="0"/>
                  </a:cubicBezTo>
                  <a:cubicBezTo>
                    <a:pt x="11" y="4"/>
                    <a:pt x="8" y="11"/>
                    <a:pt x="1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9" name="Google Shape;8076;p64">
              <a:extLst>
                <a:ext uri="{FF2B5EF4-FFF2-40B4-BE49-F238E27FC236}">
                  <a16:creationId xmlns:a16="http://schemas.microsoft.com/office/drawing/2014/main" id="{0808B8E2-9B91-A330-1CA7-E2686B3AE998}"/>
                </a:ext>
              </a:extLst>
            </p:cNvPr>
            <p:cNvSpPr/>
            <p:nvPr/>
          </p:nvSpPr>
          <p:spPr>
            <a:xfrm>
              <a:off x="2582319" y="1758465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0" name="Google Shape;8077;p64">
              <a:extLst>
                <a:ext uri="{FF2B5EF4-FFF2-40B4-BE49-F238E27FC236}">
                  <a16:creationId xmlns:a16="http://schemas.microsoft.com/office/drawing/2014/main" id="{E3F2776C-FF17-6C05-7CFA-6221FDC4E94D}"/>
                </a:ext>
              </a:extLst>
            </p:cNvPr>
            <p:cNvSpPr/>
            <p:nvPr/>
          </p:nvSpPr>
          <p:spPr>
            <a:xfrm>
              <a:off x="2584030" y="1758126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4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1" name="Google Shape;8078;p64">
              <a:extLst>
                <a:ext uri="{FF2B5EF4-FFF2-40B4-BE49-F238E27FC236}">
                  <a16:creationId xmlns:a16="http://schemas.microsoft.com/office/drawing/2014/main" id="{F14DFC11-5547-183D-47E3-73233113B6AD}"/>
                </a:ext>
              </a:extLst>
            </p:cNvPr>
            <p:cNvSpPr/>
            <p:nvPr/>
          </p:nvSpPr>
          <p:spPr>
            <a:xfrm>
              <a:off x="2551335" y="1754283"/>
              <a:ext cx="394" cy="244"/>
            </a:xfrm>
            <a:custGeom>
              <a:avLst/>
              <a:gdLst/>
              <a:ahLst/>
              <a:cxnLst/>
              <a:rect l="l" t="t" r="r" b="b"/>
              <a:pathLst>
                <a:path w="29" h="18" extrusionOk="0">
                  <a:moveTo>
                    <a:pt x="0" y="0"/>
                  </a:moveTo>
                  <a:lnTo>
                    <a:pt x="28" y="18"/>
                  </a:lnTo>
                  <a:lnTo>
                    <a:pt x="18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2" name="Google Shape;8079;p64">
              <a:extLst>
                <a:ext uri="{FF2B5EF4-FFF2-40B4-BE49-F238E27FC236}">
                  <a16:creationId xmlns:a16="http://schemas.microsoft.com/office/drawing/2014/main" id="{234C58B6-017C-5EBA-4943-40B64B5A8BD1}"/>
                </a:ext>
              </a:extLst>
            </p:cNvPr>
            <p:cNvSpPr/>
            <p:nvPr/>
          </p:nvSpPr>
          <p:spPr>
            <a:xfrm>
              <a:off x="2582890" y="1758370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3" name="Google Shape;8080;p64">
              <a:extLst>
                <a:ext uri="{FF2B5EF4-FFF2-40B4-BE49-F238E27FC236}">
                  <a16:creationId xmlns:a16="http://schemas.microsoft.com/office/drawing/2014/main" id="{7A963EDA-F0E0-BE46-02C5-7B9F10C2B9DB}"/>
                </a:ext>
              </a:extLst>
            </p:cNvPr>
            <p:cNvSpPr/>
            <p:nvPr/>
          </p:nvSpPr>
          <p:spPr>
            <a:xfrm>
              <a:off x="2581803" y="175850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4" name="Google Shape;8081;p64">
              <a:extLst>
                <a:ext uri="{FF2B5EF4-FFF2-40B4-BE49-F238E27FC236}">
                  <a16:creationId xmlns:a16="http://schemas.microsoft.com/office/drawing/2014/main" id="{ABF0A8B4-0795-66AC-E988-C611EE16AD99}"/>
                </a:ext>
              </a:extLst>
            </p:cNvPr>
            <p:cNvSpPr/>
            <p:nvPr/>
          </p:nvSpPr>
          <p:spPr>
            <a:xfrm>
              <a:off x="2596494" y="1752423"/>
              <a:ext cx="2811" cy="1344"/>
            </a:xfrm>
            <a:custGeom>
              <a:avLst/>
              <a:gdLst/>
              <a:ahLst/>
              <a:cxnLst/>
              <a:rect l="l" t="t" r="r" b="b"/>
              <a:pathLst>
                <a:path w="207" h="99" extrusionOk="0">
                  <a:moveTo>
                    <a:pt x="175" y="85"/>
                  </a:moveTo>
                  <a:cubicBezTo>
                    <a:pt x="186" y="85"/>
                    <a:pt x="196" y="85"/>
                    <a:pt x="207" y="85"/>
                  </a:cubicBezTo>
                  <a:cubicBezTo>
                    <a:pt x="196" y="85"/>
                    <a:pt x="186" y="85"/>
                    <a:pt x="175" y="85"/>
                  </a:cubicBezTo>
                  <a:cubicBezTo>
                    <a:pt x="105" y="99"/>
                    <a:pt x="35" y="64"/>
                    <a:pt x="0" y="1"/>
                  </a:cubicBezTo>
                  <a:cubicBezTo>
                    <a:pt x="35" y="64"/>
                    <a:pt x="105" y="99"/>
                    <a:pt x="175" y="8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5" name="Google Shape;8082;p64">
              <a:extLst>
                <a:ext uri="{FF2B5EF4-FFF2-40B4-BE49-F238E27FC236}">
                  <a16:creationId xmlns:a16="http://schemas.microsoft.com/office/drawing/2014/main" id="{DBF4E158-1F0B-6C92-38DE-B15E0F62A5B2}"/>
                </a:ext>
              </a:extLst>
            </p:cNvPr>
            <p:cNvSpPr/>
            <p:nvPr/>
          </p:nvSpPr>
          <p:spPr>
            <a:xfrm>
              <a:off x="2600147" y="1753618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6" name="Google Shape;8083;p64">
              <a:extLst>
                <a:ext uri="{FF2B5EF4-FFF2-40B4-BE49-F238E27FC236}">
                  <a16:creationId xmlns:a16="http://schemas.microsoft.com/office/drawing/2014/main" id="{38C65A04-781A-6825-8EDE-2D570B806781}"/>
                </a:ext>
              </a:extLst>
            </p:cNvPr>
            <p:cNvSpPr/>
            <p:nvPr/>
          </p:nvSpPr>
          <p:spPr>
            <a:xfrm>
              <a:off x="2596250" y="1752097"/>
              <a:ext cx="54" cy="54"/>
            </a:xfrm>
            <a:custGeom>
              <a:avLst/>
              <a:gdLst/>
              <a:ahLst/>
              <a:cxnLst/>
              <a:rect l="l" t="t" r="r" b="b"/>
              <a:pathLst>
                <a:path w="4" h="4" extrusionOk="0">
                  <a:moveTo>
                    <a:pt x="1" y="0"/>
                  </a:moveTo>
                  <a:lnTo>
                    <a:pt x="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7" name="Google Shape;8084;p64">
              <a:extLst>
                <a:ext uri="{FF2B5EF4-FFF2-40B4-BE49-F238E27FC236}">
                  <a16:creationId xmlns:a16="http://schemas.microsoft.com/office/drawing/2014/main" id="{F2C497D1-EC47-4743-694D-1DFF4EB280A2}"/>
                </a:ext>
              </a:extLst>
            </p:cNvPr>
            <p:cNvSpPr/>
            <p:nvPr/>
          </p:nvSpPr>
          <p:spPr>
            <a:xfrm>
              <a:off x="2599536" y="1753563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0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8" name="Google Shape;8085;p64">
              <a:extLst>
                <a:ext uri="{FF2B5EF4-FFF2-40B4-BE49-F238E27FC236}">
                  <a16:creationId xmlns:a16="http://schemas.microsoft.com/office/drawing/2014/main" id="{542C2906-8B87-720C-B43D-E05EBCD23827}"/>
                </a:ext>
              </a:extLst>
            </p:cNvPr>
            <p:cNvSpPr/>
            <p:nvPr/>
          </p:nvSpPr>
          <p:spPr>
            <a:xfrm>
              <a:off x="2595639" y="1751473"/>
              <a:ext cx="190" cy="163"/>
            </a:xfrm>
            <a:custGeom>
              <a:avLst/>
              <a:gdLst/>
              <a:ahLst/>
              <a:cxnLst/>
              <a:rect l="l" t="t" r="r" b="b"/>
              <a:pathLst>
                <a:path w="14" h="12" extrusionOk="0">
                  <a:moveTo>
                    <a:pt x="0" y="1"/>
                  </a:moveTo>
                  <a:lnTo>
                    <a:pt x="14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9" name="Google Shape;8086;p64">
              <a:extLst>
                <a:ext uri="{FF2B5EF4-FFF2-40B4-BE49-F238E27FC236}">
                  <a16:creationId xmlns:a16="http://schemas.microsoft.com/office/drawing/2014/main" id="{DE563FD5-FC9F-A876-C7CD-CB1FC614D4C6}"/>
                </a:ext>
              </a:extLst>
            </p:cNvPr>
            <p:cNvSpPr/>
            <p:nvPr/>
          </p:nvSpPr>
          <p:spPr>
            <a:xfrm>
              <a:off x="2595965" y="1751758"/>
              <a:ext cx="149" cy="109"/>
            </a:xfrm>
            <a:custGeom>
              <a:avLst/>
              <a:gdLst/>
              <a:ahLst/>
              <a:cxnLst/>
              <a:rect l="l" t="t" r="r" b="b"/>
              <a:pathLst>
                <a:path w="11" h="8" extrusionOk="0">
                  <a:moveTo>
                    <a:pt x="1" y="1"/>
                  </a:moveTo>
                  <a:lnTo>
                    <a:pt x="1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0" name="Google Shape;8087;p64">
              <a:extLst>
                <a:ext uri="{FF2B5EF4-FFF2-40B4-BE49-F238E27FC236}">
                  <a16:creationId xmlns:a16="http://schemas.microsoft.com/office/drawing/2014/main" id="{D17B5553-16E8-0FC2-509E-A29AD1A3A9C3}"/>
                </a:ext>
              </a:extLst>
            </p:cNvPr>
            <p:cNvSpPr/>
            <p:nvPr/>
          </p:nvSpPr>
          <p:spPr>
            <a:xfrm>
              <a:off x="2600812" y="1753754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1" name="Google Shape;8088;p64">
              <a:extLst>
                <a:ext uri="{FF2B5EF4-FFF2-40B4-BE49-F238E27FC236}">
                  <a16:creationId xmlns:a16="http://schemas.microsoft.com/office/drawing/2014/main" id="{E4871225-E2DF-D42C-1296-344F4CF69BC3}"/>
                </a:ext>
              </a:extLst>
            </p:cNvPr>
            <p:cNvSpPr/>
            <p:nvPr/>
          </p:nvSpPr>
          <p:spPr>
            <a:xfrm>
              <a:off x="2578952" y="1755709"/>
              <a:ext cx="774" cy="2050"/>
            </a:xfrm>
            <a:custGeom>
              <a:avLst/>
              <a:gdLst/>
              <a:ahLst/>
              <a:cxnLst/>
              <a:rect l="l" t="t" r="r" b="b"/>
              <a:pathLst>
                <a:path w="57" h="151" extrusionOk="0">
                  <a:moveTo>
                    <a:pt x="53" y="144"/>
                  </a:moveTo>
                  <a:lnTo>
                    <a:pt x="56" y="151"/>
                  </a:lnTo>
                  <a:lnTo>
                    <a:pt x="53" y="144"/>
                  </a:lnTo>
                  <a:cubicBezTo>
                    <a:pt x="18" y="105"/>
                    <a:pt x="0" y="53"/>
                    <a:pt x="7" y="0"/>
                  </a:cubicBezTo>
                  <a:cubicBezTo>
                    <a:pt x="0" y="53"/>
                    <a:pt x="18" y="105"/>
                    <a:pt x="53" y="14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2" name="Google Shape;8089;p64">
              <a:extLst>
                <a:ext uri="{FF2B5EF4-FFF2-40B4-BE49-F238E27FC236}">
                  <a16:creationId xmlns:a16="http://schemas.microsoft.com/office/drawing/2014/main" id="{B2B9C955-9160-BFDD-7723-0BDB702ACCD0}"/>
                </a:ext>
              </a:extLst>
            </p:cNvPr>
            <p:cNvSpPr/>
            <p:nvPr/>
          </p:nvSpPr>
          <p:spPr>
            <a:xfrm>
              <a:off x="2556183" y="1754853"/>
              <a:ext cx="149" cy="204"/>
            </a:xfrm>
            <a:custGeom>
              <a:avLst/>
              <a:gdLst/>
              <a:ahLst/>
              <a:cxnLst/>
              <a:rect l="l" t="t" r="r" b="b"/>
              <a:pathLst>
                <a:path w="11" h="15" extrusionOk="0">
                  <a:moveTo>
                    <a:pt x="11" y="0"/>
                  </a:moveTo>
                  <a:lnTo>
                    <a:pt x="11" y="0"/>
                  </a:lnTo>
                  <a:cubicBezTo>
                    <a:pt x="7" y="4"/>
                    <a:pt x="4" y="11"/>
                    <a:pt x="0" y="14"/>
                  </a:cubicBezTo>
                  <a:cubicBezTo>
                    <a:pt x="7" y="11"/>
                    <a:pt x="7" y="4"/>
                    <a:pt x="1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3" name="Google Shape;8090;p64">
              <a:extLst>
                <a:ext uri="{FF2B5EF4-FFF2-40B4-BE49-F238E27FC236}">
                  <a16:creationId xmlns:a16="http://schemas.microsoft.com/office/drawing/2014/main" id="{9A22AD15-1E5E-1174-24A3-3985BC6FC5E9}"/>
                </a:ext>
              </a:extLst>
            </p:cNvPr>
            <p:cNvSpPr/>
            <p:nvPr/>
          </p:nvSpPr>
          <p:spPr>
            <a:xfrm>
              <a:off x="2556033" y="1755138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4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4" name="Google Shape;8091;p64">
              <a:extLst>
                <a:ext uri="{FF2B5EF4-FFF2-40B4-BE49-F238E27FC236}">
                  <a16:creationId xmlns:a16="http://schemas.microsoft.com/office/drawing/2014/main" id="{82B85722-DEFA-D1E9-52BA-B1A287A6873F}"/>
                </a:ext>
              </a:extLst>
            </p:cNvPr>
            <p:cNvSpPr/>
            <p:nvPr/>
          </p:nvSpPr>
          <p:spPr>
            <a:xfrm>
              <a:off x="2589692" y="1751378"/>
              <a:ext cx="5716" cy="4100"/>
            </a:xfrm>
            <a:custGeom>
              <a:avLst/>
              <a:gdLst/>
              <a:ahLst/>
              <a:cxnLst/>
              <a:rect l="l" t="t" r="r" b="b"/>
              <a:pathLst>
                <a:path w="421" h="302" extrusionOk="0">
                  <a:moveTo>
                    <a:pt x="420" y="1"/>
                  </a:moveTo>
                  <a:cubicBezTo>
                    <a:pt x="350" y="1"/>
                    <a:pt x="140" y="179"/>
                    <a:pt x="0" y="302"/>
                  </a:cubicBezTo>
                  <a:cubicBezTo>
                    <a:pt x="144" y="179"/>
                    <a:pt x="354" y="1"/>
                    <a:pt x="42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5" name="Google Shape;8092;p64">
              <a:extLst>
                <a:ext uri="{FF2B5EF4-FFF2-40B4-BE49-F238E27FC236}">
                  <a16:creationId xmlns:a16="http://schemas.microsoft.com/office/drawing/2014/main" id="{4AEBA4EE-9A9F-0CB2-E6C3-43B7C238E63A}"/>
                </a:ext>
              </a:extLst>
            </p:cNvPr>
            <p:cNvSpPr/>
            <p:nvPr/>
          </p:nvSpPr>
          <p:spPr>
            <a:xfrm>
              <a:off x="2552951" y="1755274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0" y="1"/>
                  </a:moveTo>
                  <a:lnTo>
                    <a:pt x="14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6" name="Google Shape;8093;p64">
              <a:extLst>
                <a:ext uri="{FF2B5EF4-FFF2-40B4-BE49-F238E27FC236}">
                  <a16:creationId xmlns:a16="http://schemas.microsoft.com/office/drawing/2014/main" id="{C4A47883-E769-6D97-220E-11023AA033FA}"/>
                </a:ext>
              </a:extLst>
            </p:cNvPr>
            <p:cNvSpPr/>
            <p:nvPr/>
          </p:nvSpPr>
          <p:spPr>
            <a:xfrm>
              <a:off x="2551566" y="1754419"/>
              <a:ext cx="1398" cy="828"/>
            </a:xfrm>
            <a:custGeom>
              <a:avLst/>
              <a:gdLst/>
              <a:ahLst/>
              <a:cxnLst/>
              <a:rect l="l" t="t" r="r" b="b"/>
              <a:pathLst>
                <a:path w="103" h="61" extrusionOk="0">
                  <a:moveTo>
                    <a:pt x="1" y="1"/>
                  </a:moveTo>
                  <a:cubicBezTo>
                    <a:pt x="17" y="11"/>
                    <a:pt x="34" y="22"/>
                    <a:pt x="52" y="32"/>
                  </a:cubicBezTo>
                  <a:lnTo>
                    <a:pt x="52" y="32"/>
                  </a:lnTo>
                  <a:cubicBezTo>
                    <a:pt x="38" y="24"/>
                    <a:pt x="26" y="15"/>
                    <a:pt x="15" y="8"/>
                  </a:cubicBezTo>
                  <a:lnTo>
                    <a:pt x="1" y="1"/>
                  </a:lnTo>
                  <a:close/>
                  <a:moveTo>
                    <a:pt x="52" y="32"/>
                  </a:moveTo>
                  <a:lnTo>
                    <a:pt x="52" y="32"/>
                  </a:lnTo>
                  <a:cubicBezTo>
                    <a:pt x="68" y="43"/>
                    <a:pt x="85" y="52"/>
                    <a:pt x="102" y="60"/>
                  </a:cubicBezTo>
                  <a:cubicBezTo>
                    <a:pt x="85" y="52"/>
                    <a:pt x="68" y="42"/>
                    <a:pt x="52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7" name="Google Shape;8094;p64">
              <a:extLst>
                <a:ext uri="{FF2B5EF4-FFF2-40B4-BE49-F238E27FC236}">
                  <a16:creationId xmlns:a16="http://schemas.microsoft.com/office/drawing/2014/main" id="{261324BF-7186-1EBD-D24C-AC8A361F9A47}"/>
                </a:ext>
              </a:extLst>
            </p:cNvPr>
            <p:cNvSpPr/>
            <p:nvPr/>
          </p:nvSpPr>
          <p:spPr>
            <a:xfrm>
              <a:off x="2502185" y="1754514"/>
              <a:ext cx="119265" cy="108620"/>
            </a:xfrm>
            <a:custGeom>
              <a:avLst/>
              <a:gdLst/>
              <a:ahLst/>
              <a:cxnLst/>
              <a:rect l="l" t="t" r="r" b="b"/>
              <a:pathLst>
                <a:path w="8784" h="8000" extrusionOk="0">
                  <a:moveTo>
                    <a:pt x="7405" y="1"/>
                  </a:moveTo>
                  <a:lnTo>
                    <a:pt x="7398" y="8"/>
                  </a:lnTo>
                  <a:cubicBezTo>
                    <a:pt x="7387" y="18"/>
                    <a:pt x="7380" y="25"/>
                    <a:pt x="7370" y="32"/>
                  </a:cubicBezTo>
                  <a:lnTo>
                    <a:pt x="7352" y="43"/>
                  </a:lnTo>
                  <a:lnTo>
                    <a:pt x="7331" y="60"/>
                  </a:lnTo>
                  <a:lnTo>
                    <a:pt x="7310" y="71"/>
                  </a:lnTo>
                  <a:lnTo>
                    <a:pt x="7289" y="85"/>
                  </a:lnTo>
                  <a:lnTo>
                    <a:pt x="7268" y="95"/>
                  </a:lnTo>
                  <a:lnTo>
                    <a:pt x="7247" y="106"/>
                  </a:lnTo>
                  <a:lnTo>
                    <a:pt x="7226" y="113"/>
                  </a:lnTo>
                  <a:lnTo>
                    <a:pt x="7205" y="123"/>
                  </a:lnTo>
                  <a:lnTo>
                    <a:pt x="7184" y="130"/>
                  </a:lnTo>
                  <a:lnTo>
                    <a:pt x="7163" y="137"/>
                  </a:lnTo>
                  <a:lnTo>
                    <a:pt x="7142" y="144"/>
                  </a:lnTo>
                  <a:lnTo>
                    <a:pt x="7121" y="151"/>
                  </a:lnTo>
                  <a:lnTo>
                    <a:pt x="7100" y="155"/>
                  </a:lnTo>
                  <a:lnTo>
                    <a:pt x="7079" y="158"/>
                  </a:lnTo>
                  <a:lnTo>
                    <a:pt x="7058" y="162"/>
                  </a:lnTo>
                  <a:lnTo>
                    <a:pt x="7037" y="165"/>
                  </a:lnTo>
                  <a:lnTo>
                    <a:pt x="7020" y="169"/>
                  </a:lnTo>
                  <a:lnTo>
                    <a:pt x="6908" y="169"/>
                  </a:lnTo>
                  <a:lnTo>
                    <a:pt x="6890" y="165"/>
                  </a:lnTo>
                  <a:lnTo>
                    <a:pt x="6876" y="165"/>
                  </a:lnTo>
                  <a:lnTo>
                    <a:pt x="6855" y="162"/>
                  </a:lnTo>
                  <a:lnTo>
                    <a:pt x="6844" y="158"/>
                  </a:lnTo>
                  <a:cubicBezTo>
                    <a:pt x="6834" y="158"/>
                    <a:pt x="6827" y="155"/>
                    <a:pt x="6816" y="151"/>
                  </a:cubicBezTo>
                  <a:cubicBezTo>
                    <a:pt x="6799" y="145"/>
                    <a:pt x="6777" y="142"/>
                    <a:pt x="6750" y="142"/>
                  </a:cubicBezTo>
                  <a:cubicBezTo>
                    <a:pt x="6595" y="142"/>
                    <a:pt x="6302" y="241"/>
                    <a:pt x="6141" y="361"/>
                  </a:cubicBezTo>
                  <a:cubicBezTo>
                    <a:pt x="6060" y="421"/>
                    <a:pt x="5962" y="445"/>
                    <a:pt x="5843" y="470"/>
                  </a:cubicBezTo>
                  <a:cubicBezTo>
                    <a:pt x="5812" y="491"/>
                    <a:pt x="5780" y="501"/>
                    <a:pt x="5745" y="508"/>
                  </a:cubicBezTo>
                  <a:cubicBezTo>
                    <a:pt x="5707" y="508"/>
                    <a:pt x="5675" y="529"/>
                    <a:pt x="5661" y="561"/>
                  </a:cubicBezTo>
                  <a:cubicBezTo>
                    <a:pt x="5654" y="603"/>
                    <a:pt x="5668" y="645"/>
                    <a:pt x="5703" y="673"/>
                  </a:cubicBezTo>
                  <a:cubicBezTo>
                    <a:pt x="5777" y="743"/>
                    <a:pt x="5819" y="844"/>
                    <a:pt x="5812" y="953"/>
                  </a:cubicBezTo>
                  <a:cubicBezTo>
                    <a:pt x="5812" y="977"/>
                    <a:pt x="5812" y="1005"/>
                    <a:pt x="5819" y="1033"/>
                  </a:cubicBezTo>
                  <a:cubicBezTo>
                    <a:pt x="5833" y="1149"/>
                    <a:pt x="5742" y="1243"/>
                    <a:pt x="5654" y="1338"/>
                  </a:cubicBezTo>
                  <a:cubicBezTo>
                    <a:pt x="5616" y="1376"/>
                    <a:pt x="5581" y="1422"/>
                    <a:pt x="5549" y="1464"/>
                  </a:cubicBezTo>
                  <a:cubicBezTo>
                    <a:pt x="5518" y="1513"/>
                    <a:pt x="5525" y="1576"/>
                    <a:pt x="5532" y="1646"/>
                  </a:cubicBezTo>
                  <a:cubicBezTo>
                    <a:pt x="5542" y="1730"/>
                    <a:pt x="5535" y="1814"/>
                    <a:pt x="5507" y="1895"/>
                  </a:cubicBezTo>
                  <a:cubicBezTo>
                    <a:pt x="5476" y="1960"/>
                    <a:pt x="5410" y="1982"/>
                    <a:pt x="5328" y="1982"/>
                  </a:cubicBezTo>
                  <a:cubicBezTo>
                    <a:pt x="5245" y="1982"/>
                    <a:pt x="5146" y="1960"/>
                    <a:pt x="5052" y="1937"/>
                  </a:cubicBezTo>
                  <a:cubicBezTo>
                    <a:pt x="5000" y="1923"/>
                    <a:pt x="4947" y="1912"/>
                    <a:pt x="4895" y="1905"/>
                  </a:cubicBezTo>
                  <a:lnTo>
                    <a:pt x="4895" y="1905"/>
                  </a:lnTo>
                  <a:cubicBezTo>
                    <a:pt x="4916" y="1944"/>
                    <a:pt x="4944" y="1979"/>
                    <a:pt x="4968" y="2014"/>
                  </a:cubicBezTo>
                  <a:cubicBezTo>
                    <a:pt x="5017" y="2080"/>
                    <a:pt x="5066" y="2140"/>
                    <a:pt x="5073" y="2196"/>
                  </a:cubicBezTo>
                  <a:cubicBezTo>
                    <a:pt x="5080" y="2241"/>
                    <a:pt x="5066" y="2287"/>
                    <a:pt x="5038" y="2322"/>
                  </a:cubicBezTo>
                  <a:cubicBezTo>
                    <a:pt x="4965" y="2413"/>
                    <a:pt x="4804" y="2486"/>
                    <a:pt x="4642" y="2497"/>
                  </a:cubicBezTo>
                  <a:cubicBezTo>
                    <a:pt x="4548" y="2504"/>
                    <a:pt x="4537" y="2602"/>
                    <a:pt x="4530" y="2861"/>
                  </a:cubicBezTo>
                  <a:cubicBezTo>
                    <a:pt x="4530" y="2910"/>
                    <a:pt x="4527" y="2962"/>
                    <a:pt x="4523" y="3018"/>
                  </a:cubicBezTo>
                  <a:cubicBezTo>
                    <a:pt x="4513" y="3267"/>
                    <a:pt x="4401" y="3372"/>
                    <a:pt x="4310" y="3386"/>
                  </a:cubicBezTo>
                  <a:cubicBezTo>
                    <a:pt x="4302" y="3387"/>
                    <a:pt x="4295" y="3387"/>
                    <a:pt x="4287" y="3387"/>
                  </a:cubicBezTo>
                  <a:cubicBezTo>
                    <a:pt x="4222" y="3387"/>
                    <a:pt x="4161" y="3347"/>
                    <a:pt x="4142" y="3284"/>
                  </a:cubicBezTo>
                  <a:cubicBezTo>
                    <a:pt x="4131" y="3277"/>
                    <a:pt x="4117" y="3277"/>
                    <a:pt x="4107" y="3277"/>
                  </a:cubicBezTo>
                  <a:cubicBezTo>
                    <a:pt x="4019" y="3277"/>
                    <a:pt x="3932" y="3298"/>
                    <a:pt x="3855" y="3333"/>
                  </a:cubicBezTo>
                  <a:cubicBezTo>
                    <a:pt x="3729" y="3386"/>
                    <a:pt x="3687" y="3438"/>
                    <a:pt x="3683" y="3449"/>
                  </a:cubicBezTo>
                  <a:cubicBezTo>
                    <a:pt x="3687" y="3498"/>
                    <a:pt x="3669" y="3543"/>
                    <a:pt x="3634" y="3575"/>
                  </a:cubicBezTo>
                  <a:cubicBezTo>
                    <a:pt x="3589" y="3615"/>
                    <a:pt x="3527" y="3627"/>
                    <a:pt x="3452" y="3627"/>
                  </a:cubicBezTo>
                  <a:cubicBezTo>
                    <a:pt x="3404" y="3627"/>
                    <a:pt x="3351" y="3622"/>
                    <a:pt x="3295" y="3617"/>
                  </a:cubicBezTo>
                  <a:lnTo>
                    <a:pt x="3242" y="3613"/>
                  </a:lnTo>
                  <a:cubicBezTo>
                    <a:pt x="3236" y="3613"/>
                    <a:pt x="3230" y="3613"/>
                    <a:pt x="3223" y="3613"/>
                  </a:cubicBezTo>
                  <a:cubicBezTo>
                    <a:pt x="3069" y="3613"/>
                    <a:pt x="2888" y="3770"/>
                    <a:pt x="2875" y="3820"/>
                  </a:cubicBezTo>
                  <a:cubicBezTo>
                    <a:pt x="2878" y="3894"/>
                    <a:pt x="2885" y="3967"/>
                    <a:pt x="2899" y="4037"/>
                  </a:cubicBezTo>
                  <a:cubicBezTo>
                    <a:pt x="2931" y="4240"/>
                    <a:pt x="2945" y="4335"/>
                    <a:pt x="2917" y="4384"/>
                  </a:cubicBezTo>
                  <a:cubicBezTo>
                    <a:pt x="2903" y="4412"/>
                    <a:pt x="2875" y="4471"/>
                    <a:pt x="1891" y="4604"/>
                  </a:cubicBezTo>
                  <a:lnTo>
                    <a:pt x="1852" y="4611"/>
                  </a:lnTo>
                  <a:lnTo>
                    <a:pt x="1849" y="4611"/>
                  </a:lnTo>
                  <a:lnTo>
                    <a:pt x="1803" y="4615"/>
                  </a:lnTo>
                  <a:cubicBezTo>
                    <a:pt x="1614" y="4639"/>
                    <a:pt x="1289" y="4681"/>
                    <a:pt x="1023" y="4695"/>
                  </a:cubicBezTo>
                  <a:lnTo>
                    <a:pt x="1019" y="4695"/>
                  </a:lnTo>
                  <a:cubicBezTo>
                    <a:pt x="970" y="4699"/>
                    <a:pt x="925" y="4702"/>
                    <a:pt x="883" y="4702"/>
                  </a:cubicBezTo>
                  <a:lnTo>
                    <a:pt x="722" y="4702"/>
                  </a:lnTo>
                  <a:lnTo>
                    <a:pt x="690" y="4699"/>
                  </a:lnTo>
                  <a:lnTo>
                    <a:pt x="683" y="4699"/>
                  </a:lnTo>
                  <a:lnTo>
                    <a:pt x="652" y="4695"/>
                  </a:lnTo>
                  <a:lnTo>
                    <a:pt x="564" y="4681"/>
                  </a:lnTo>
                  <a:lnTo>
                    <a:pt x="539" y="4674"/>
                  </a:lnTo>
                  <a:lnTo>
                    <a:pt x="469" y="4667"/>
                  </a:lnTo>
                  <a:lnTo>
                    <a:pt x="441" y="4660"/>
                  </a:lnTo>
                  <a:lnTo>
                    <a:pt x="368" y="4653"/>
                  </a:lnTo>
                  <a:lnTo>
                    <a:pt x="347" y="4650"/>
                  </a:lnTo>
                  <a:lnTo>
                    <a:pt x="249" y="4636"/>
                  </a:lnTo>
                  <a:lnTo>
                    <a:pt x="238" y="4636"/>
                  </a:lnTo>
                  <a:lnTo>
                    <a:pt x="151" y="4629"/>
                  </a:lnTo>
                  <a:lnTo>
                    <a:pt x="123" y="4625"/>
                  </a:lnTo>
                  <a:lnTo>
                    <a:pt x="53" y="4618"/>
                  </a:lnTo>
                  <a:lnTo>
                    <a:pt x="0" y="4618"/>
                  </a:lnTo>
                  <a:cubicBezTo>
                    <a:pt x="39" y="4653"/>
                    <a:pt x="77" y="4695"/>
                    <a:pt x="105" y="4741"/>
                  </a:cubicBezTo>
                  <a:lnTo>
                    <a:pt x="109" y="4744"/>
                  </a:lnTo>
                  <a:cubicBezTo>
                    <a:pt x="116" y="4751"/>
                    <a:pt x="119" y="4762"/>
                    <a:pt x="126" y="4772"/>
                  </a:cubicBezTo>
                  <a:lnTo>
                    <a:pt x="130" y="4779"/>
                  </a:lnTo>
                  <a:cubicBezTo>
                    <a:pt x="133" y="4790"/>
                    <a:pt x="140" y="4800"/>
                    <a:pt x="144" y="4811"/>
                  </a:cubicBezTo>
                  <a:cubicBezTo>
                    <a:pt x="172" y="4877"/>
                    <a:pt x="214" y="4940"/>
                    <a:pt x="266" y="4989"/>
                  </a:cubicBezTo>
                  <a:cubicBezTo>
                    <a:pt x="291" y="5014"/>
                    <a:pt x="315" y="5038"/>
                    <a:pt x="343" y="5059"/>
                  </a:cubicBezTo>
                  <a:cubicBezTo>
                    <a:pt x="357" y="5070"/>
                    <a:pt x="371" y="5080"/>
                    <a:pt x="389" y="5094"/>
                  </a:cubicBezTo>
                  <a:cubicBezTo>
                    <a:pt x="406" y="5105"/>
                    <a:pt x="424" y="5119"/>
                    <a:pt x="441" y="5129"/>
                  </a:cubicBezTo>
                  <a:cubicBezTo>
                    <a:pt x="515" y="5175"/>
                    <a:pt x="588" y="5217"/>
                    <a:pt x="669" y="5248"/>
                  </a:cubicBezTo>
                  <a:cubicBezTo>
                    <a:pt x="690" y="5259"/>
                    <a:pt x="711" y="5269"/>
                    <a:pt x="732" y="5283"/>
                  </a:cubicBezTo>
                  <a:cubicBezTo>
                    <a:pt x="862" y="5378"/>
                    <a:pt x="879" y="5560"/>
                    <a:pt x="893" y="5693"/>
                  </a:cubicBezTo>
                  <a:lnTo>
                    <a:pt x="897" y="5717"/>
                  </a:lnTo>
                  <a:lnTo>
                    <a:pt x="897" y="5738"/>
                  </a:lnTo>
                  <a:cubicBezTo>
                    <a:pt x="897" y="5749"/>
                    <a:pt x="897" y="5756"/>
                    <a:pt x="900" y="5763"/>
                  </a:cubicBezTo>
                  <a:lnTo>
                    <a:pt x="900" y="5766"/>
                  </a:lnTo>
                  <a:cubicBezTo>
                    <a:pt x="900" y="5773"/>
                    <a:pt x="900" y="5780"/>
                    <a:pt x="904" y="5787"/>
                  </a:cubicBezTo>
                  <a:lnTo>
                    <a:pt x="904" y="5794"/>
                  </a:lnTo>
                  <a:cubicBezTo>
                    <a:pt x="904" y="5798"/>
                    <a:pt x="904" y="5805"/>
                    <a:pt x="907" y="5808"/>
                  </a:cubicBezTo>
                  <a:lnTo>
                    <a:pt x="907" y="5815"/>
                  </a:lnTo>
                  <a:cubicBezTo>
                    <a:pt x="907" y="5819"/>
                    <a:pt x="907" y="5822"/>
                    <a:pt x="911" y="5826"/>
                  </a:cubicBezTo>
                  <a:lnTo>
                    <a:pt x="911" y="5833"/>
                  </a:lnTo>
                  <a:cubicBezTo>
                    <a:pt x="911" y="5836"/>
                    <a:pt x="911" y="5840"/>
                    <a:pt x="914" y="5840"/>
                  </a:cubicBezTo>
                  <a:cubicBezTo>
                    <a:pt x="914" y="5843"/>
                    <a:pt x="918" y="5843"/>
                    <a:pt x="918" y="5847"/>
                  </a:cubicBezTo>
                  <a:cubicBezTo>
                    <a:pt x="918" y="5847"/>
                    <a:pt x="918" y="5847"/>
                    <a:pt x="921" y="5850"/>
                  </a:cubicBezTo>
                  <a:cubicBezTo>
                    <a:pt x="928" y="5854"/>
                    <a:pt x="939" y="5857"/>
                    <a:pt x="949" y="5861"/>
                  </a:cubicBezTo>
                  <a:cubicBezTo>
                    <a:pt x="1033" y="5906"/>
                    <a:pt x="1117" y="6026"/>
                    <a:pt x="1149" y="6138"/>
                  </a:cubicBezTo>
                  <a:cubicBezTo>
                    <a:pt x="1152" y="6148"/>
                    <a:pt x="1156" y="6159"/>
                    <a:pt x="1159" y="6166"/>
                  </a:cubicBezTo>
                  <a:cubicBezTo>
                    <a:pt x="1159" y="6176"/>
                    <a:pt x="1159" y="6176"/>
                    <a:pt x="1159" y="6183"/>
                  </a:cubicBezTo>
                  <a:cubicBezTo>
                    <a:pt x="1163" y="6187"/>
                    <a:pt x="1159" y="6190"/>
                    <a:pt x="1163" y="6197"/>
                  </a:cubicBezTo>
                  <a:cubicBezTo>
                    <a:pt x="1166" y="6201"/>
                    <a:pt x="1163" y="6211"/>
                    <a:pt x="1163" y="6218"/>
                  </a:cubicBezTo>
                  <a:lnTo>
                    <a:pt x="1163" y="6225"/>
                  </a:lnTo>
                  <a:cubicBezTo>
                    <a:pt x="1163" y="6232"/>
                    <a:pt x="1163" y="6243"/>
                    <a:pt x="1163" y="6253"/>
                  </a:cubicBezTo>
                  <a:cubicBezTo>
                    <a:pt x="1159" y="6323"/>
                    <a:pt x="1103" y="6379"/>
                    <a:pt x="1033" y="6386"/>
                  </a:cubicBezTo>
                  <a:cubicBezTo>
                    <a:pt x="865" y="6404"/>
                    <a:pt x="704" y="6453"/>
                    <a:pt x="557" y="6530"/>
                  </a:cubicBezTo>
                  <a:cubicBezTo>
                    <a:pt x="420" y="6596"/>
                    <a:pt x="228" y="6785"/>
                    <a:pt x="245" y="7027"/>
                  </a:cubicBezTo>
                  <a:cubicBezTo>
                    <a:pt x="245" y="7037"/>
                    <a:pt x="245" y="7048"/>
                    <a:pt x="249" y="7062"/>
                  </a:cubicBezTo>
                  <a:lnTo>
                    <a:pt x="249" y="7065"/>
                  </a:lnTo>
                  <a:lnTo>
                    <a:pt x="252" y="7104"/>
                  </a:lnTo>
                  <a:cubicBezTo>
                    <a:pt x="302" y="7105"/>
                    <a:pt x="351" y="7105"/>
                    <a:pt x="398" y="7105"/>
                  </a:cubicBezTo>
                  <a:cubicBezTo>
                    <a:pt x="805" y="7105"/>
                    <a:pt x="1116" y="7079"/>
                    <a:pt x="1170" y="7048"/>
                  </a:cubicBezTo>
                  <a:cubicBezTo>
                    <a:pt x="1239" y="6973"/>
                    <a:pt x="1364" y="6922"/>
                    <a:pt x="1486" y="6922"/>
                  </a:cubicBezTo>
                  <a:cubicBezTo>
                    <a:pt x="1553" y="6922"/>
                    <a:pt x="1619" y="6938"/>
                    <a:pt x="1674" y="6974"/>
                  </a:cubicBezTo>
                  <a:cubicBezTo>
                    <a:pt x="1726" y="7010"/>
                    <a:pt x="1897" y="7036"/>
                    <a:pt x="2075" y="7036"/>
                  </a:cubicBezTo>
                  <a:cubicBezTo>
                    <a:pt x="2231" y="7036"/>
                    <a:pt x="2393" y="7016"/>
                    <a:pt x="2486" y="6964"/>
                  </a:cubicBezTo>
                  <a:cubicBezTo>
                    <a:pt x="2556" y="6922"/>
                    <a:pt x="2640" y="6897"/>
                    <a:pt x="2724" y="6894"/>
                  </a:cubicBezTo>
                  <a:cubicBezTo>
                    <a:pt x="2777" y="6894"/>
                    <a:pt x="2829" y="6908"/>
                    <a:pt x="2878" y="6932"/>
                  </a:cubicBezTo>
                  <a:cubicBezTo>
                    <a:pt x="2959" y="6974"/>
                    <a:pt x="3011" y="7055"/>
                    <a:pt x="3018" y="7149"/>
                  </a:cubicBezTo>
                  <a:cubicBezTo>
                    <a:pt x="3022" y="7212"/>
                    <a:pt x="3067" y="7251"/>
                    <a:pt x="3155" y="7324"/>
                  </a:cubicBezTo>
                  <a:cubicBezTo>
                    <a:pt x="3183" y="7345"/>
                    <a:pt x="3218" y="7373"/>
                    <a:pt x="3249" y="7401"/>
                  </a:cubicBezTo>
                  <a:cubicBezTo>
                    <a:pt x="3337" y="7485"/>
                    <a:pt x="3340" y="7576"/>
                    <a:pt x="3344" y="7650"/>
                  </a:cubicBezTo>
                  <a:cubicBezTo>
                    <a:pt x="3340" y="7699"/>
                    <a:pt x="3351" y="7744"/>
                    <a:pt x="3372" y="7790"/>
                  </a:cubicBezTo>
                  <a:cubicBezTo>
                    <a:pt x="3407" y="7842"/>
                    <a:pt x="3459" y="7860"/>
                    <a:pt x="3571" y="7891"/>
                  </a:cubicBezTo>
                  <a:cubicBezTo>
                    <a:pt x="3659" y="7909"/>
                    <a:pt x="3739" y="7937"/>
                    <a:pt x="3820" y="7972"/>
                  </a:cubicBezTo>
                  <a:cubicBezTo>
                    <a:pt x="3837" y="7983"/>
                    <a:pt x="3855" y="7990"/>
                    <a:pt x="3869" y="8000"/>
                  </a:cubicBezTo>
                  <a:lnTo>
                    <a:pt x="3872" y="7997"/>
                  </a:lnTo>
                  <a:cubicBezTo>
                    <a:pt x="3886" y="7979"/>
                    <a:pt x="3897" y="7965"/>
                    <a:pt x="3907" y="7947"/>
                  </a:cubicBezTo>
                  <a:lnTo>
                    <a:pt x="3911" y="7944"/>
                  </a:lnTo>
                  <a:cubicBezTo>
                    <a:pt x="3921" y="7926"/>
                    <a:pt x="3932" y="7905"/>
                    <a:pt x="3942" y="7888"/>
                  </a:cubicBezTo>
                  <a:cubicBezTo>
                    <a:pt x="4012" y="7770"/>
                    <a:pt x="4092" y="7628"/>
                    <a:pt x="4311" y="7628"/>
                  </a:cubicBezTo>
                  <a:cubicBezTo>
                    <a:pt x="4346" y="7628"/>
                    <a:pt x="4384" y="7632"/>
                    <a:pt x="4425" y="7639"/>
                  </a:cubicBezTo>
                  <a:cubicBezTo>
                    <a:pt x="4491" y="7651"/>
                    <a:pt x="4542" y="7655"/>
                    <a:pt x="4582" y="7655"/>
                  </a:cubicBezTo>
                  <a:cubicBezTo>
                    <a:pt x="4652" y="7655"/>
                    <a:pt x="4692" y="7642"/>
                    <a:pt x="4730" y="7629"/>
                  </a:cubicBezTo>
                  <a:cubicBezTo>
                    <a:pt x="4769" y="7614"/>
                    <a:pt x="4811" y="7607"/>
                    <a:pt x="4853" y="7607"/>
                  </a:cubicBezTo>
                  <a:cubicBezTo>
                    <a:pt x="4871" y="7607"/>
                    <a:pt x="4890" y="7608"/>
                    <a:pt x="4909" y="7611"/>
                  </a:cubicBezTo>
                  <a:cubicBezTo>
                    <a:pt x="4919" y="7611"/>
                    <a:pt x="4933" y="7615"/>
                    <a:pt x="4944" y="7615"/>
                  </a:cubicBezTo>
                  <a:cubicBezTo>
                    <a:pt x="5001" y="7627"/>
                    <a:pt x="5049" y="7633"/>
                    <a:pt x="5089" y="7633"/>
                  </a:cubicBezTo>
                  <a:cubicBezTo>
                    <a:pt x="5194" y="7633"/>
                    <a:pt x="5246" y="7594"/>
                    <a:pt x="5287" y="7538"/>
                  </a:cubicBezTo>
                  <a:cubicBezTo>
                    <a:pt x="5339" y="7457"/>
                    <a:pt x="5210" y="7233"/>
                    <a:pt x="5101" y="7121"/>
                  </a:cubicBezTo>
                  <a:cubicBezTo>
                    <a:pt x="5014" y="7034"/>
                    <a:pt x="4863" y="6827"/>
                    <a:pt x="4842" y="6603"/>
                  </a:cubicBezTo>
                  <a:cubicBezTo>
                    <a:pt x="4839" y="6572"/>
                    <a:pt x="4839" y="6540"/>
                    <a:pt x="4842" y="6509"/>
                  </a:cubicBezTo>
                  <a:cubicBezTo>
                    <a:pt x="4849" y="6442"/>
                    <a:pt x="4800" y="6411"/>
                    <a:pt x="4695" y="6351"/>
                  </a:cubicBezTo>
                  <a:cubicBezTo>
                    <a:pt x="4607" y="6306"/>
                    <a:pt x="4495" y="6246"/>
                    <a:pt x="4495" y="6124"/>
                  </a:cubicBezTo>
                  <a:cubicBezTo>
                    <a:pt x="4495" y="5973"/>
                    <a:pt x="4681" y="5784"/>
                    <a:pt x="4881" y="5605"/>
                  </a:cubicBezTo>
                  <a:cubicBezTo>
                    <a:pt x="4902" y="5584"/>
                    <a:pt x="4916" y="5570"/>
                    <a:pt x="4926" y="5560"/>
                  </a:cubicBezTo>
                  <a:cubicBezTo>
                    <a:pt x="4948" y="5538"/>
                    <a:pt x="4975" y="5529"/>
                    <a:pt x="5004" y="5529"/>
                  </a:cubicBezTo>
                  <a:cubicBezTo>
                    <a:pt x="5053" y="5529"/>
                    <a:pt x="5111" y="5553"/>
                    <a:pt x="5168" y="5577"/>
                  </a:cubicBezTo>
                  <a:cubicBezTo>
                    <a:pt x="5208" y="5593"/>
                    <a:pt x="5281" y="5625"/>
                    <a:pt x="5312" y="5625"/>
                  </a:cubicBezTo>
                  <a:cubicBezTo>
                    <a:pt x="5316" y="5625"/>
                    <a:pt x="5319" y="5624"/>
                    <a:pt x="5322" y="5623"/>
                  </a:cubicBezTo>
                  <a:cubicBezTo>
                    <a:pt x="5365" y="5539"/>
                    <a:pt x="5437" y="5515"/>
                    <a:pt x="5512" y="5515"/>
                  </a:cubicBezTo>
                  <a:cubicBezTo>
                    <a:pt x="5578" y="5515"/>
                    <a:pt x="5646" y="5533"/>
                    <a:pt x="5700" y="5546"/>
                  </a:cubicBezTo>
                  <a:cubicBezTo>
                    <a:pt x="5721" y="5553"/>
                    <a:pt x="5742" y="5560"/>
                    <a:pt x="5763" y="5563"/>
                  </a:cubicBezTo>
                  <a:cubicBezTo>
                    <a:pt x="5766" y="5563"/>
                    <a:pt x="5773" y="5563"/>
                    <a:pt x="5777" y="5560"/>
                  </a:cubicBezTo>
                  <a:lnTo>
                    <a:pt x="5787" y="5556"/>
                  </a:lnTo>
                  <a:cubicBezTo>
                    <a:pt x="5794" y="5553"/>
                    <a:pt x="5801" y="5549"/>
                    <a:pt x="5805" y="5546"/>
                  </a:cubicBezTo>
                  <a:cubicBezTo>
                    <a:pt x="5903" y="5458"/>
                    <a:pt x="5969" y="5339"/>
                    <a:pt x="5987" y="5210"/>
                  </a:cubicBezTo>
                  <a:cubicBezTo>
                    <a:pt x="6008" y="5035"/>
                    <a:pt x="6207" y="4975"/>
                    <a:pt x="6347" y="4930"/>
                  </a:cubicBezTo>
                  <a:cubicBezTo>
                    <a:pt x="6386" y="4919"/>
                    <a:pt x="6424" y="4905"/>
                    <a:pt x="6459" y="4888"/>
                  </a:cubicBezTo>
                  <a:cubicBezTo>
                    <a:pt x="6473" y="4863"/>
                    <a:pt x="6487" y="4839"/>
                    <a:pt x="6494" y="4814"/>
                  </a:cubicBezTo>
                  <a:cubicBezTo>
                    <a:pt x="6526" y="4737"/>
                    <a:pt x="6564" y="4615"/>
                    <a:pt x="6589" y="4538"/>
                  </a:cubicBezTo>
                  <a:cubicBezTo>
                    <a:pt x="6620" y="4440"/>
                    <a:pt x="6641" y="4377"/>
                    <a:pt x="6655" y="4338"/>
                  </a:cubicBezTo>
                  <a:lnTo>
                    <a:pt x="6662" y="4321"/>
                  </a:lnTo>
                  <a:cubicBezTo>
                    <a:pt x="6694" y="4265"/>
                    <a:pt x="6757" y="4247"/>
                    <a:pt x="6820" y="4233"/>
                  </a:cubicBezTo>
                  <a:cubicBezTo>
                    <a:pt x="6932" y="4205"/>
                    <a:pt x="6981" y="4184"/>
                    <a:pt x="6981" y="4093"/>
                  </a:cubicBezTo>
                  <a:cubicBezTo>
                    <a:pt x="6981" y="3816"/>
                    <a:pt x="7139" y="3750"/>
                    <a:pt x="7296" y="3725"/>
                  </a:cubicBezTo>
                  <a:cubicBezTo>
                    <a:pt x="7331" y="3718"/>
                    <a:pt x="7338" y="3638"/>
                    <a:pt x="7338" y="3526"/>
                  </a:cubicBezTo>
                  <a:cubicBezTo>
                    <a:pt x="7338" y="3473"/>
                    <a:pt x="7342" y="3424"/>
                    <a:pt x="7349" y="3372"/>
                  </a:cubicBezTo>
                  <a:cubicBezTo>
                    <a:pt x="7370" y="3183"/>
                    <a:pt x="7471" y="2959"/>
                    <a:pt x="7678" y="2906"/>
                  </a:cubicBezTo>
                  <a:lnTo>
                    <a:pt x="7685" y="2903"/>
                  </a:lnTo>
                  <a:cubicBezTo>
                    <a:pt x="7671" y="2882"/>
                    <a:pt x="7653" y="2861"/>
                    <a:pt x="7632" y="2847"/>
                  </a:cubicBezTo>
                  <a:cubicBezTo>
                    <a:pt x="7590" y="2813"/>
                    <a:pt x="7538" y="2795"/>
                    <a:pt x="7484" y="2795"/>
                  </a:cubicBezTo>
                  <a:cubicBezTo>
                    <a:pt x="7472" y="2795"/>
                    <a:pt x="7459" y="2796"/>
                    <a:pt x="7447" y="2798"/>
                  </a:cubicBezTo>
                  <a:cubicBezTo>
                    <a:pt x="7434" y="2801"/>
                    <a:pt x="7422" y="2802"/>
                    <a:pt x="7410" y="2802"/>
                  </a:cubicBezTo>
                  <a:cubicBezTo>
                    <a:pt x="7202" y="2802"/>
                    <a:pt x="7087" y="2394"/>
                    <a:pt x="7051" y="2245"/>
                  </a:cubicBezTo>
                  <a:lnTo>
                    <a:pt x="7048" y="2231"/>
                  </a:lnTo>
                  <a:lnTo>
                    <a:pt x="7048" y="2220"/>
                  </a:lnTo>
                  <a:lnTo>
                    <a:pt x="7048" y="2213"/>
                  </a:lnTo>
                  <a:cubicBezTo>
                    <a:pt x="7055" y="2000"/>
                    <a:pt x="7030" y="1783"/>
                    <a:pt x="6992" y="1754"/>
                  </a:cubicBezTo>
                  <a:cubicBezTo>
                    <a:pt x="6932" y="1716"/>
                    <a:pt x="6908" y="1646"/>
                    <a:pt x="6932" y="1579"/>
                  </a:cubicBezTo>
                  <a:cubicBezTo>
                    <a:pt x="6964" y="1457"/>
                    <a:pt x="7114" y="1327"/>
                    <a:pt x="7307" y="1327"/>
                  </a:cubicBezTo>
                  <a:cubicBezTo>
                    <a:pt x="7415" y="1327"/>
                    <a:pt x="7555" y="1376"/>
                    <a:pt x="7688" y="1422"/>
                  </a:cubicBezTo>
                  <a:cubicBezTo>
                    <a:pt x="7803" y="1459"/>
                    <a:pt x="7941" y="1507"/>
                    <a:pt x="8026" y="1507"/>
                  </a:cubicBezTo>
                  <a:cubicBezTo>
                    <a:pt x="8052" y="1507"/>
                    <a:pt x="8073" y="1503"/>
                    <a:pt x="8087" y="1492"/>
                  </a:cubicBezTo>
                  <a:cubicBezTo>
                    <a:pt x="8196" y="1415"/>
                    <a:pt x="8364" y="1362"/>
                    <a:pt x="8497" y="1317"/>
                  </a:cubicBezTo>
                  <a:cubicBezTo>
                    <a:pt x="8546" y="1303"/>
                    <a:pt x="8591" y="1289"/>
                    <a:pt x="8637" y="1268"/>
                  </a:cubicBezTo>
                  <a:cubicBezTo>
                    <a:pt x="8661" y="1264"/>
                    <a:pt x="8714" y="1187"/>
                    <a:pt x="8784" y="1023"/>
                  </a:cubicBezTo>
                  <a:lnTo>
                    <a:pt x="8745" y="998"/>
                  </a:lnTo>
                  <a:lnTo>
                    <a:pt x="8735" y="991"/>
                  </a:lnTo>
                  <a:lnTo>
                    <a:pt x="8696" y="974"/>
                  </a:lnTo>
                  <a:lnTo>
                    <a:pt x="8679" y="963"/>
                  </a:lnTo>
                  <a:lnTo>
                    <a:pt x="8647" y="946"/>
                  </a:lnTo>
                  <a:lnTo>
                    <a:pt x="8626" y="935"/>
                  </a:lnTo>
                  <a:lnTo>
                    <a:pt x="8595" y="918"/>
                  </a:lnTo>
                  <a:lnTo>
                    <a:pt x="8570" y="907"/>
                  </a:lnTo>
                  <a:lnTo>
                    <a:pt x="8542" y="893"/>
                  </a:lnTo>
                  <a:lnTo>
                    <a:pt x="8518" y="879"/>
                  </a:lnTo>
                  <a:lnTo>
                    <a:pt x="8483" y="865"/>
                  </a:lnTo>
                  <a:lnTo>
                    <a:pt x="8462" y="855"/>
                  </a:lnTo>
                  <a:lnTo>
                    <a:pt x="8409" y="830"/>
                  </a:lnTo>
                  <a:cubicBezTo>
                    <a:pt x="8224" y="750"/>
                    <a:pt x="8101" y="571"/>
                    <a:pt x="8094" y="368"/>
                  </a:cubicBezTo>
                  <a:cubicBezTo>
                    <a:pt x="8070" y="330"/>
                    <a:pt x="7937" y="235"/>
                    <a:pt x="7839" y="165"/>
                  </a:cubicBezTo>
                  <a:lnTo>
                    <a:pt x="7751" y="106"/>
                  </a:lnTo>
                  <a:lnTo>
                    <a:pt x="7737" y="92"/>
                  </a:lnTo>
                  <a:cubicBezTo>
                    <a:pt x="7706" y="71"/>
                    <a:pt x="7678" y="50"/>
                    <a:pt x="7650" y="29"/>
                  </a:cubicBezTo>
                  <a:lnTo>
                    <a:pt x="7643" y="22"/>
                  </a:lnTo>
                  <a:lnTo>
                    <a:pt x="7615" y="29"/>
                  </a:lnTo>
                  <a:cubicBezTo>
                    <a:pt x="7583" y="32"/>
                    <a:pt x="7548" y="39"/>
                    <a:pt x="7510" y="50"/>
                  </a:cubicBezTo>
                  <a:lnTo>
                    <a:pt x="7475" y="60"/>
                  </a:lnTo>
                  <a:lnTo>
                    <a:pt x="7447" y="32"/>
                  </a:lnTo>
                  <a:lnTo>
                    <a:pt x="7443" y="29"/>
                  </a:lnTo>
                  <a:cubicBezTo>
                    <a:pt x="7436" y="22"/>
                    <a:pt x="7429" y="18"/>
                    <a:pt x="7422" y="15"/>
                  </a:cubicBezTo>
                  <a:lnTo>
                    <a:pt x="7405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8" name="Google Shape;8095;p64">
              <a:extLst>
                <a:ext uri="{FF2B5EF4-FFF2-40B4-BE49-F238E27FC236}">
                  <a16:creationId xmlns:a16="http://schemas.microsoft.com/office/drawing/2014/main" id="{BEE90ED0-219B-9DF6-EA39-CA26DB15682C}"/>
                </a:ext>
              </a:extLst>
            </p:cNvPr>
            <p:cNvSpPr/>
            <p:nvPr/>
          </p:nvSpPr>
          <p:spPr>
            <a:xfrm>
              <a:off x="2562306" y="1858137"/>
              <a:ext cx="4155" cy="353"/>
            </a:xfrm>
            <a:custGeom>
              <a:avLst/>
              <a:gdLst/>
              <a:ahLst/>
              <a:cxnLst/>
              <a:rect l="l" t="t" r="r" b="b"/>
              <a:pathLst>
                <a:path w="306" h="26" extrusionOk="0">
                  <a:moveTo>
                    <a:pt x="305" y="0"/>
                  </a:moveTo>
                  <a:cubicBezTo>
                    <a:pt x="268" y="11"/>
                    <a:pt x="228" y="24"/>
                    <a:pt x="160" y="24"/>
                  </a:cubicBezTo>
                  <a:cubicBezTo>
                    <a:pt x="119" y="24"/>
                    <a:pt x="68" y="19"/>
                    <a:pt x="1" y="7"/>
                  </a:cubicBezTo>
                  <a:lnTo>
                    <a:pt x="1" y="7"/>
                  </a:lnTo>
                  <a:cubicBezTo>
                    <a:pt x="67" y="20"/>
                    <a:pt x="118" y="25"/>
                    <a:pt x="159" y="25"/>
                  </a:cubicBezTo>
                  <a:cubicBezTo>
                    <a:pt x="228" y="25"/>
                    <a:pt x="268" y="1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9" name="Google Shape;8096;p64">
              <a:extLst>
                <a:ext uri="{FF2B5EF4-FFF2-40B4-BE49-F238E27FC236}">
                  <a16:creationId xmlns:a16="http://schemas.microsoft.com/office/drawing/2014/main" id="{94CE4541-9749-04DC-3139-D85FD6BA8C27}"/>
                </a:ext>
              </a:extLst>
            </p:cNvPr>
            <p:cNvSpPr/>
            <p:nvPr/>
          </p:nvSpPr>
          <p:spPr>
            <a:xfrm>
              <a:off x="2597961" y="1785077"/>
              <a:ext cx="5431" cy="8187"/>
            </a:xfrm>
            <a:custGeom>
              <a:avLst/>
              <a:gdLst/>
              <a:ahLst/>
              <a:cxnLst/>
              <a:rect l="l" t="t" r="r" b="b"/>
              <a:pathLst>
                <a:path w="400" h="603" extrusionOk="0">
                  <a:moveTo>
                    <a:pt x="400" y="554"/>
                  </a:moveTo>
                  <a:cubicBezTo>
                    <a:pt x="169" y="603"/>
                    <a:pt x="39" y="158"/>
                    <a:pt x="1" y="1"/>
                  </a:cubicBezTo>
                  <a:cubicBezTo>
                    <a:pt x="39" y="158"/>
                    <a:pt x="169" y="603"/>
                    <a:pt x="400" y="55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0" name="Google Shape;8097;p64">
              <a:extLst>
                <a:ext uri="{FF2B5EF4-FFF2-40B4-BE49-F238E27FC236}">
                  <a16:creationId xmlns:a16="http://schemas.microsoft.com/office/drawing/2014/main" id="{741AF230-3DC4-C05F-3694-C43EF1C7D778}"/>
                </a:ext>
              </a:extLst>
            </p:cNvPr>
            <p:cNvSpPr/>
            <p:nvPr/>
          </p:nvSpPr>
          <p:spPr>
            <a:xfrm>
              <a:off x="2605903" y="1793210"/>
              <a:ext cx="720" cy="815"/>
            </a:xfrm>
            <a:custGeom>
              <a:avLst/>
              <a:gdLst/>
              <a:ahLst/>
              <a:cxnLst/>
              <a:rect l="l" t="t" r="r" b="b"/>
              <a:pathLst>
                <a:path w="53" h="60" extrusionOk="0">
                  <a:moveTo>
                    <a:pt x="53" y="60"/>
                  </a:moveTo>
                  <a:cubicBezTo>
                    <a:pt x="39" y="35"/>
                    <a:pt x="21" y="14"/>
                    <a:pt x="0" y="0"/>
                  </a:cubicBezTo>
                  <a:cubicBezTo>
                    <a:pt x="21" y="14"/>
                    <a:pt x="39" y="35"/>
                    <a:pt x="53" y="6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1" name="Google Shape;8098;p64">
              <a:extLst>
                <a:ext uri="{FF2B5EF4-FFF2-40B4-BE49-F238E27FC236}">
                  <a16:creationId xmlns:a16="http://schemas.microsoft.com/office/drawing/2014/main" id="{BAEFDDED-7AE6-98AB-ACF9-64A37DE3DDC4}"/>
                </a:ext>
              </a:extLst>
            </p:cNvPr>
            <p:cNvSpPr/>
            <p:nvPr/>
          </p:nvSpPr>
          <p:spPr>
            <a:xfrm>
              <a:off x="2580663" y="1829951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4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2" name="Google Shape;8099;p64">
              <a:extLst>
                <a:ext uri="{FF2B5EF4-FFF2-40B4-BE49-F238E27FC236}">
                  <a16:creationId xmlns:a16="http://schemas.microsoft.com/office/drawing/2014/main" id="{970467F7-EA28-F438-AE43-220CAFC09000}"/>
                </a:ext>
              </a:extLst>
            </p:cNvPr>
            <p:cNvSpPr/>
            <p:nvPr/>
          </p:nvSpPr>
          <p:spPr>
            <a:xfrm>
              <a:off x="2555273" y="1862360"/>
              <a:ext cx="68" cy="68"/>
            </a:xfrm>
            <a:custGeom>
              <a:avLst/>
              <a:gdLst/>
              <a:ahLst/>
              <a:cxnLst/>
              <a:rect l="l" t="t" r="r" b="b"/>
              <a:pathLst>
                <a:path w="5" h="5" extrusionOk="0">
                  <a:moveTo>
                    <a:pt x="4" y="1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3" name="Google Shape;8100;p64">
              <a:extLst>
                <a:ext uri="{FF2B5EF4-FFF2-40B4-BE49-F238E27FC236}">
                  <a16:creationId xmlns:a16="http://schemas.microsoft.com/office/drawing/2014/main" id="{DDC33970-E6F8-858D-9DC3-4B6D5A3A336C}"/>
                </a:ext>
              </a:extLst>
            </p:cNvPr>
            <p:cNvSpPr/>
            <p:nvPr/>
          </p:nvSpPr>
          <p:spPr>
            <a:xfrm>
              <a:off x="2554798" y="1863080"/>
              <a:ext cx="68" cy="54"/>
            </a:xfrm>
            <a:custGeom>
              <a:avLst/>
              <a:gdLst/>
              <a:ahLst/>
              <a:cxnLst/>
              <a:rect l="l" t="t" r="r" b="b"/>
              <a:pathLst>
                <a:path w="5" h="4" extrusionOk="0">
                  <a:moveTo>
                    <a:pt x="1" y="4"/>
                  </a:moveTo>
                  <a:lnTo>
                    <a:pt x="4" y="1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4" name="Google Shape;8101;p64">
              <a:extLst>
                <a:ext uri="{FF2B5EF4-FFF2-40B4-BE49-F238E27FC236}">
                  <a16:creationId xmlns:a16="http://schemas.microsoft.com/office/drawing/2014/main" id="{4A665094-04F3-8CB8-1BE6-C4E2AE4C9480}"/>
                </a:ext>
              </a:extLst>
            </p:cNvPr>
            <p:cNvSpPr/>
            <p:nvPr/>
          </p:nvSpPr>
          <p:spPr>
            <a:xfrm>
              <a:off x="2580853" y="1829801"/>
              <a:ext cx="244" cy="163"/>
            </a:xfrm>
            <a:custGeom>
              <a:avLst/>
              <a:gdLst/>
              <a:ahLst/>
              <a:cxnLst/>
              <a:rect l="l" t="t" r="r" b="b"/>
              <a:pathLst>
                <a:path w="18" h="12" extrusionOk="0">
                  <a:moveTo>
                    <a:pt x="18" y="1"/>
                  </a:moveTo>
                  <a:cubicBezTo>
                    <a:pt x="11" y="4"/>
                    <a:pt x="4" y="8"/>
                    <a:pt x="0" y="11"/>
                  </a:cubicBezTo>
                  <a:cubicBezTo>
                    <a:pt x="4" y="8"/>
                    <a:pt x="11" y="4"/>
                    <a:pt x="1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5" name="Google Shape;8102;p64">
              <a:extLst>
                <a:ext uri="{FF2B5EF4-FFF2-40B4-BE49-F238E27FC236}">
                  <a16:creationId xmlns:a16="http://schemas.microsoft.com/office/drawing/2014/main" id="{276AA81A-A5DB-B7AF-E789-9775DD4DAE5B}"/>
                </a:ext>
              </a:extLst>
            </p:cNvPr>
            <p:cNvSpPr/>
            <p:nvPr/>
          </p:nvSpPr>
          <p:spPr>
            <a:xfrm>
              <a:off x="2620255" y="1767725"/>
              <a:ext cx="530" cy="258"/>
            </a:xfrm>
            <a:custGeom>
              <a:avLst/>
              <a:gdLst/>
              <a:ahLst/>
              <a:cxnLst/>
              <a:rect l="l" t="t" r="r" b="b"/>
              <a:pathLst>
                <a:path w="39" h="19" extrusionOk="0">
                  <a:moveTo>
                    <a:pt x="0" y="1"/>
                  </a:moveTo>
                  <a:lnTo>
                    <a:pt x="39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6" name="Google Shape;8103;p64">
              <a:extLst>
                <a:ext uri="{FF2B5EF4-FFF2-40B4-BE49-F238E27FC236}">
                  <a16:creationId xmlns:a16="http://schemas.microsoft.com/office/drawing/2014/main" id="{E4950A6B-EE6E-FF83-BD78-CA180204978C}"/>
                </a:ext>
              </a:extLst>
            </p:cNvPr>
            <p:cNvSpPr/>
            <p:nvPr/>
          </p:nvSpPr>
          <p:spPr>
            <a:xfrm>
              <a:off x="2619589" y="1767345"/>
              <a:ext cx="434" cy="258"/>
            </a:xfrm>
            <a:custGeom>
              <a:avLst/>
              <a:gdLst/>
              <a:ahLst/>
              <a:cxnLst/>
              <a:rect l="l" t="t" r="r" b="b"/>
              <a:pathLst>
                <a:path w="32" h="19" extrusionOk="0">
                  <a:moveTo>
                    <a:pt x="0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7" name="Google Shape;8104;p64">
              <a:extLst>
                <a:ext uri="{FF2B5EF4-FFF2-40B4-BE49-F238E27FC236}">
                  <a16:creationId xmlns:a16="http://schemas.microsoft.com/office/drawing/2014/main" id="{AB392B45-63FB-984C-C3EC-31D9552C3930}"/>
                </a:ext>
              </a:extLst>
            </p:cNvPr>
            <p:cNvSpPr/>
            <p:nvPr/>
          </p:nvSpPr>
          <p:spPr>
            <a:xfrm>
              <a:off x="2612081" y="1759510"/>
              <a:ext cx="4290" cy="6286"/>
            </a:xfrm>
            <a:custGeom>
              <a:avLst/>
              <a:gdLst/>
              <a:ahLst/>
              <a:cxnLst/>
              <a:rect l="l" t="t" r="r" b="b"/>
              <a:pathLst>
                <a:path w="316" h="463" extrusionOk="0">
                  <a:moveTo>
                    <a:pt x="315" y="462"/>
                  </a:moveTo>
                  <a:lnTo>
                    <a:pt x="315" y="462"/>
                  </a:lnTo>
                  <a:cubicBezTo>
                    <a:pt x="130" y="382"/>
                    <a:pt x="7" y="203"/>
                    <a:pt x="0" y="0"/>
                  </a:cubicBezTo>
                  <a:cubicBezTo>
                    <a:pt x="7" y="203"/>
                    <a:pt x="130" y="382"/>
                    <a:pt x="315" y="46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8" name="Google Shape;8105;p64">
              <a:extLst>
                <a:ext uri="{FF2B5EF4-FFF2-40B4-BE49-F238E27FC236}">
                  <a16:creationId xmlns:a16="http://schemas.microsoft.com/office/drawing/2014/main" id="{D9550EB5-37F5-1D8D-76F2-9DC3657C8D0C}"/>
                </a:ext>
              </a:extLst>
            </p:cNvPr>
            <p:cNvSpPr/>
            <p:nvPr/>
          </p:nvSpPr>
          <p:spPr>
            <a:xfrm>
              <a:off x="2620920" y="1768064"/>
              <a:ext cx="530" cy="339"/>
            </a:xfrm>
            <a:custGeom>
              <a:avLst/>
              <a:gdLst/>
              <a:ahLst/>
              <a:cxnLst/>
              <a:rect l="l" t="t" r="r" b="b"/>
              <a:pathLst>
                <a:path w="39" h="25" extrusionOk="0">
                  <a:moveTo>
                    <a:pt x="39" y="25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9" name="Google Shape;8106;p64">
              <a:extLst>
                <a:ext uri="{FF2B5EF4-FFF2-40B4-BE49-F238E27FC236}">
                  <a16:creationId xmlns:a16="http://schemas.microsoft.com/office/drawing/2014/main" id="{BB1F02A8-7672-3DA9-539E-22DB68498609}"/>
                </a:ext>
              </a:extLst>
            </p:cNvPr>
            <p:cNvSpPr/>
            <p:nvPr/>
          </p:nvSpPr>
          <p:spPr>
            <a:xfrm>
              <a:off x="2618870" y="1766964"/>
              <a:ext cx="448" cy="258"/>
            </a:xfrm>
            <a:custGeom>
              <a:avLst/>
              <a:gdLst/>
              <a:ahLst/>
              <a:cxnLst/>
              <a:rect l="l" t="t" r="r" b="b"/>
              <a:pathLst>
                <a:path w="33" h="19" extrusionOk="0">
                  <a:moveTo>
                    <a:pt x="1" y="1"/>
                  </a:moveTo>
                  <a:lnTo>
                    <a:pt x="32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0" name="Google Shape;8107;p64">
              <a:extLst>
                <a:ext uri="{FF2B5EF4-FFF2-40B4-BE49-F238E27FC236}">
                  <a16:creationId xmlns:a16="http://schemas.microsoft.com/office/drawing/2014/main" id="{5DA0AB6B-99CA-6D3F-33EE-D579802B1BF5}"/>
                </a:ext>
              </a:extLst>
            </p:cNvPr>
            <p:cNvSpPr/>
            <p:nvPr/>
          </p:nvSpPr>
          <p:spPr>
            <a:xfrm>
              <a:off x="2608660" y="1756754"/>
              <a:ext cx="3476" cy="2770"/>
            </a:xfrm>
            <a:custGeom>
              <a:avLst/>
              <a:gdLst/>
              <a:ahLst/>
              <a:cxnLst/>
              <a:rect l="l" t="t" r="r" b="b"/>
              <a:pathLst>
                <a:path w="256" h="204" extrusionOk="0">
                  <a:moveTo>
                    <a:pt x="0" y="0"/>
                  </a:moveTo>
                  <a:lnTo>
                    <a:pt x="0" y="0"/>
                  </a:lnTo>
                  <a:cubicBezTo>
                    <a:pt x="95" y="70"/>
                    <a:pt x="228" y="165"/>
                    <a:pt x="256" y="203"/>
                  </a:cubicBezTo>
                  <a:cubicBezTo>
                    <a:pt x="228" y="165"/>
                    <a:pt x="98" y="70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1" name="Google Shape;8108;p64">
              <a:extLst>
                <a:ext uri="{FF2B5EF4-FFF2-40B4-BE49-F238E27FC236}">
                  <a16:creationId xmlns:a16="http://schemas.microsoft.com/office/drawing/2014/main" id="{A7158782-6901-295E-F5AF-6051F4C29BEC}"/>
                </a:ext>
              </a:extLst>
            </p:cNvPr>
            <p:cNvSpPr/>
            <p:nvPr/>
          </p:nvSpPr>
          <p:spPr>
            <a:xfrm>
              <a:off x="2606093" y="1754894"/>
              <a:ext cx="1154" cy="869"/>
            </a:xfrm>
            <a:custGeom>
              <a:avLst/>
              <a:gdLst/>
              <a:ahLst/>
              <a:cxnLst/>
              <a:rect l="l" t="t" r="r" b="b"/>
              <a:pathLst>
                <a:path w="85" h="64" extrusionOk="0">
                  <a:moveTo>
                    <a:pt x="0" y="1"/>
                  </a:moveTo>
                  <a:cubicBezTo>
                    <a:pt x="28" y="22"/>
                    <a:pt x="56" y="43"/>
                    <a:pt x="84" y="64"/>
                  </a:cubicBezTo>
                  <a:cubicBezTo>
                    <a:pt x="56" y="43"/>
                    <a:pt x="28" y="22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2" name="Google Shape;8109;p64">
              <a:extLst>
                <a:ext uri="{FF2B5EF4-FFF2-40B4-BE49-F238E27FC236}">
                  <a16:creationId xmlns:a16="http://schemas.microsoft.com/office/drawing/2014/main" id="{B581DADB-A1D2-4C5E-41B0-B9A5DE68B7EC}"/>
                </a:ext>
              </a:extLst>
            </p:cNvPr>
            <p:cNvSpPr/>
            <p:nvPr/>
          </p:nvSpPr>
          <p:spPr>
            <a:xfrm>
              <a:off x="2616358" y="1765783"/>
              <a:ext cx="720" cy="339"/>
            </a:xfrm>
            <a:custGeom>
              <a:avLst/>
              <a:gdLst/>
              <a:ahLst/>
              <a:cxnLst/>
              <a:rect l="l" t="t" r="r" b="b"/>
              <a:pathLst>
                <a:path w="53" h="25" extrusionOk="0">
                  <a:moveTo>
                    <a:pt x="0" y="0"/>
                  </a:moveTo>
                  <a:lnTo>
                    <a:pt x="53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3" name="Google Shape;8110;p64">
              <a:extLst>
                <a:ext uri="{FF2B5EF4-FFF2-40B4-BE49-F238E27FC236}">
                  <a16:creationId xmlns:a16="http://schemas.microsoft.com/office/drawing/2014/main" id="{C82FE5C3-8A50-D0A1-59E2-45AF8C121735}"/>
                </a:ext>
              </a:extLst>
            </p:cNvPr>
            <p:cNvSpPr/>
            <p:nvPr/>
          </p:nvSpPr>
          <p:spPr>
            <a:xfrm>
              <a:off x="2618164" y="1766639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0" y="0"/>
                  </a:moveTo>
                  <a:lnTo>
                    <a:pt x="28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4" name="Google Shape;8111;p64">
              <a:extLst>
                <a:ext uri="{FF2B5EF4-FFF2-40B4-BE49-F238E27FC236}">
                  <a16:creationId xmlns:a16="http://schemas.microsoft.com/office/drawing/2014/main" id="{1E2E6097-004C-B4B2-CC5B-EDF0FC756E07}"/>
                </a:ext>
              </a:extLst>
            </p:cNvPr>
            <p:cNvSpPr/>
            <p:nvPr/>
          </p:nvSpPr>
          <p:spPr>
            <a:xfrm>
              <a:off x="2607465" y="1755940"/>
              <a:ext cx="1208" cy="828"/>
            </a:xfrm>
            <a:custGeom>
              <a:avLst/>
              <a:gdLst/>
              <a:ahLst/>
              <a:cxnLst/>
              <a:rect l="l" t="t" r="r" b="b"/>
              <a:pathLst>
                <a:path w="89" h="61" extrusionOk="0">
                  <a:moveTo>
                    <a:pt x="1" y="1"/>
                  </a:moveTo>
                  <a:lnTo>
                    <a:pt x="88" y="6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5" name="Google Shape;8112;p64">
              <a:extLst>
                <a:ext uri="{FF2B5EF4-FFF2-40B4-BE49-F238E27FC236}">
                  <a16:creationId xmlns:a16="http://schemas.microsoft.com/office/drawing/2014/main" id="{C6C9EEF2-D616-7063-9A4E-F823CC15C433}"/>
                </a:ext>
              </a:extLst>
            </p:cNvPr>
            <p:cNvSpPr/>
            <p:nvPr/>
          </p:nvSpPr>
          <p:spPr>
            <a:xfrm>
              <a:off x="2617349" y="1766258"/>
              <a:ext cx="489" cy="204"/>
            </a:xfrm>
            <a:custGeom>
              <a:avLst/>
              <a:gdLst/>
              <a:ahLst/>
              <a:cxnLst/>
              <a:rect l="l" t="t" r="r" b="b"/>
              <a:pathLst>
                <a:path w="36" h="15" extrusionOk="0">
                  <a:moveTo>
                    <a:pt x="1" y="0"/>
                  </a:moveTo>
                  <a:lnTo>
                    <a:pt x="36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6" name="Google Shape;8113;p64">
              <a:extLst>
                <a:ext uri="{FF2B5EF4-FFF2-40B4-BE49-F238E27FC236}">
                  <a16:creationId xmlns:a16="http://schemas.microsoft.com/office/drawing/2014/main" id="{1A6E7A6A-CBE5-CD40-B0E4-9DBDAEFB9FA1}"/>
                </a:ext>
              </a:extLst>
            </p:cNvPr>
            <p:cNvSpPr/>
            <p:nvPr/>
          </p:nvSpPr>
          <p:spPr>
            <a:xfrm>
              <a:off x="2514350" y="183280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7" name="Google Shape;8114;p64">
              <a:extLst>
                <a:ext uri="{FF2B5EF4-FFF2-40B4-BE49-F238E27FC236}">
                  <a16:creationId xmlns:a16="http://schemas.microsoft.com/office/drawing/2014/main" id="{6097EF51-88D5-7BCC-8621-B6AAD7A9D802}"/>
                </a:ext>
              </a:extLst>
            </p:cNvPr>
            <p:cNvSpPr/>
            <p:nvPr/>
          </p:nvSpPr>
          <p:spPr>
            <a:xfrm>
              <a:off x="2505742" y="1822252"/>
              <a:ext cx="1059" cy="910"/>
            </a:xfrm>
            <a:custGeom>
              <a:avLst/>
              <a:gdLst/>
              <a:ahLst/>
              <a:cxnLst/>
              <a:rect l="l" t="t" r="r" b="b"/>
              <a:pathLst>
                <a:path w="78" h="67" extrusionOk="0">
                  <a:moveTo>
                    <a:pt x="78" y="67"/>
                  </a:moveTo>
                  <a:cubicBezTo>
                    <a:pt x="50" y="46"/>
                    <a:pt x="22" y="25"/>
                    <a:pt x="1" y="0"/>
                  </a:cubicBezTo>
                  <a:cubicBezTo>
                    <a:pt x="22" y="25"/>
                    <a:pt x="50" y="46"/>
                    <a:pt x="78" y="6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8" name="Google Shape;8115;p64">
              <a:extLst>
                <a:ext uri="{FF2B5EF4-FFF2-40B4-BE49-F238E27FC236}">
                  <a16:creationId xmlns:a16="http://schemas.microsoft.com/office/drawing/2014/main" id="{C0EE96D4-CC1A-C54F-191E-EBAE78CC0200}"/>
                </a:ext>
              </a:extLst>
            </p:cNvPr>
            <p:cNvSpPr/>
            <p:nvPr/>
          </p:nvSpPr>
          <p:spPr>
            <a:xfrm>
              <a:off x="2514635" y="1833942"/>
              <a:ext cx="394" cy="149"/>
            </a:xfrm>
            <a:custGeom>
              <a:avLst/>
              <a:gdLst/>
              <a:ahLst/>
              <a:cxnLst/>
              <a:rect l="l" t="t" r="r" b="b"/>
              <a:pathLst>
                <a:path w="29" h="11" extrusionOk="0">
                  <a:moveTo>
                    <a:pt x="1" y="0"/>
                  </a:moveTo>
                  <a:cubicBezTo>
                    <a:pt x="11" y="4"/>
                    <a:pt x="22" y="7"/>
                    <a:pt x="29" y="11"/>
                  </a:cubicBezTo>
                  <a:cubicBezTo>
                    <a:pt x="22" y="7"/>
                    <a:pt x="11" y="4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9" name="Google Shape;8116;p64">
              <a:extLst>
                <a:ext uri="{FF2B5EF4-FFF2-40B4-BE49-F238E27FC236}">
                  <a16:creationId xmlns:a16="http://schemas.microsoft.com/office/drawing/2014/main" id="{87E1A723-0F2B-97FE-C9E0-8B528C65B339}"/>
                </a:ext>
              </a:extLst>
            </p:cNvPr>
            <p:cNvSpPr/>
            <p:nvPr/>
          </p:nvSpPr>
          <p:spPr>
            <a:xfrm>
              <a:off x="2517772" y="18378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0" name="Google Shape;8117;p64">
              <a:extLst>
                <a:ext uri="{FF2B5EF4-FFF2-40B4-BE49-F238E27FC236}">
                  <a16:creationId xmlns:a16="http://schemas.microsoft.com/office/drawing/2014/main" id="{876BDFA2-CEF0-CD30-C8A9-488E9799D1D7}"/>
                </a:ext>
              </a:extLst>
            </p:cNvPr>
            <p:cNvSpPr/>
            <p:nvPr/>
          </p:nvSpPr>
          <p:spPr>
            <a:xfrm>
              <a:off x="2518016" y="183903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0" y="0"/>
                  </a:moveTo>
                  <a:cubicBezTo>
                    <a:pt x="0" y="11"/>
                    <a:pt x="0" y="18"/>
                    <a:pt x="0" y="28"/>
                  </a:cubicBezTo>
                  <a:cubicBezTo>
                    <a:pt x="0" y="18"/>
                    <a:pt x="0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1" name="Google Shape;8118;p64">
              <a:extLst>
                <a:ext uri="{FF2B5EF4-FFF2-40B4-BE49-F238E27FC236}">
                  <a16:creationId xmlns:a16="http://schemas.microsoft.com/office/drawing/2014/main" id="{AE15C713-3018-2D9C-9649-BC7199A08DC5}"/>
                </a:ext>
              </a:extLst>
            </p:cNvPr>
            <p:cNvSpPr/>
            <p:nvPr/>
          </p:nvSpPr>
          <p:spPr>
            <a:xfrm>
              <a:off x="2517962" y="1838654"/>
              <a:ext cx="14" cy="299"/>
            </a:xfrm>
            <a:custGeom>
              <a:avLst/>
              <a:gdLst/>
              <a:ahLst/>
              <a:cxnLst/>
              <a:rect l="l" t="t" r="r" b="b"/>
              <a:pathLst>
                <a:path w="1" h="22" extrusionOk="0">
                  <a:moveTo>
                    <a:pt x="1" y="21"/>
                  </a:moveTo>
                  <a:lnTo>
                    <a:pt x="1" y="0"/>
                  </a:lnTo>
                  <a:cubicBezTo>
                    <a:pt x="1" y="7"/>
                    <a:pt x="1" y="14"/>
                    <a:pt x="1" y="2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2" name="Google Shape;8119;p64">
              <a:extLst>
                <a:ext uri="{FF2B5EF4-FFF2-40B4-BE49-F238E27FC236}">
                  <a16:creationId xmlns:a16="http://schemas.microsoft.com/office/drawing/2014/main" id="{DD30E7FC-6126-8D2C-6F5C-49E77EEF2E3C}"/>
                </a:ext>
              </a:extLst>
            </p:cNvPr>
            <p:cNvSpPr/>
            <p:nvPr/>
          </p:nvSpPr>
          <p:spPr>
            <a:xfrm>
              <a:off x="2517867" y="1838219"/>
              <a:ext cx="68" cy="258"/>
            </a:xfrm>
            <a:custGeom>
              <a:avLst/>
              <a:gdLst/>
              <a:ahLst/>
              <a:cxnLst/>
              <a:rect l="l" t="t" r="r" b="b"/>
              <a:pathLst>
                <a:path w="5" h="19" extrusionOk="0">
                  <a:moveTo>
                    <a:pt x="4" y="18"/>
                  </a:moveTo>
                  <a:cubicBezTo>
                    <a:pt x="4" y="11"/>
                    <a:pt x="4" y="8"/>
                    <a:pt x="1" y="1"/>
                  </a:cubicBezTo>
                  <a:cubicBezTo>
                    <a:pt x="4" y="8"/>
                    <a:pt x="4" y="11"/>
                    <a:pt x="4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3" name="Google Shape;8120;p64">
              <a:extLst>
                <a:ext uri="{FF2B5EF4-FFF2-40B4-BE49-F238E27FC236}">
                  <a16:creationId xmlns:a16="http://schemas.microsoft.com/office/drawing/2014/main" id="{C205D5FA-6A93-84F5-6942-B105608A051D}"/>
                </a:ext>
              </a:extLst>
            </p:cNvPr>
            <p:cNvSpPr/>
            <p:nvPr/>
          </p:nvSpPr>
          <p:spPr>
            <a:xfrm>
              <a:off x="2514500" y="183360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0" y="1"/>
                  </a:moveTo>
                  <a:lnTo>
                    <a:pt x="4" y="8"/>
                  </a:lnTo>
                  <a:cubicBezTo>
                    <a:pt x="4" y="4"/>
                    <a:pt x="4" y="4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4" name="Google Shape;8121;p64">
              <a:extLst>
                <a:ext uri="{FF2B5EF4-FFF2-40B4-BE49-F238E27FC236}">
                  <a16:creationId xmlns:a16="http://schemas.microsoft.com/office/drawing/2014/main" id="{792E29EA-59A1-7957-F231-3B688115717F}"/>
                </a:ext>
              </a:extLst>
            </p:cNvPr>
            <p:cNvSpPr/>
            <p:nvPr/>
          </p:nvSpPr>
          <p:spPr>
            <a:xfrm>
              <a:off x="2514500" y="183337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5" name="Google Shape;8122;p64">
              <a:extLst>
                <a:ext uri="{FF2B5EF4-FFF2-40B4-BE49-F238E27FC236}">
                  <a16:creationId xmlns:a16="http://schemas.microsoft.com/office/drawing/2014/main" id="{4231B01F-7B15-C435-A41D-E2C3791DD3C6}"/>
                </a:ext>
              </a:extLst>
            </p:cNvPr>
            <p:cNvSpPr/>
            <p:nvPr/>
          </p:nvSpPr>
          <p:spPr>
            <a:xfrm>
              <a:off x="2503556" y="1818831"/>
              <a:ext cx="14" cy="54"/>
            </a:xfrm>
            <a:custGeom>
              <a:avLst/>
              <a:gdLst/>
              <a:ahLst/>
              <a:cxnLst/>
              <a:rect l="l" t="t" r="r" b="b"/>
              <a:pathLst>
                <a:path w="1" h="4" extrusionOk="0">
                  <a:moveTo>
                    <a:pt x="1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6" name="Google Shape;8123;p64">
              <a:extLst>
                <a:ext uri="{FF2B5EF4-FFF2-40B4-BE49-F238E27FC236}">
                  <a16:creationId xmlns:a16="http://schemas.microsoft.com/office/drawing/2014/main" id="{2904F14C-86E0-E4AE-B6A0-841297A6E9FE}"/>
                </a:ext>
              </a:extLst>
            </p:cNvPr>
            <p:cNvSpPr/>
            <p:nvPr/>
          </p:nvSpPr>
          <p:spPr>
            <a:xfrm>
              <a:off x="2514310" y="1832422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7" name="Google Shape;8124;p64">
              <a:extLst>
                <a:ext uri="{FF2B5EF4-FFF2-40B4-BE49-F238E27FC236}">
                  <a16:creationId xmlns:a16="http://schemas.microsoft.com/office/drawing/2014/main" id="{86A14618-9714-56E0-5D08-EAA94DE2D8EF}"/>
                </a:ext>
              </a:extLst>
            </p:cNvPr>
            <p:cNvSpPr/>
            <p:nvPr/>
          </p:nvSpPr>
          <p:spPr>
            <a:xfrm>
              <a:off x="2505606" y="185043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8" name="Google Shape;8125;p64">
              <a:extLst>
                <a:ext uri="{FF2B5EF4-FFF2-40B4-BE49-F238E27FC236}">
                  <a16:creationId xmlns:a16="http://schemas.microsoft.com/office/drawing/2014/main" id="{5CDD69E0-82CC-8034-F90F-A5F724B7D7C4}"/>
                </a:ext>
              </a:extLst>
            </p:cNvPr>
            <p:cNvSpPr/>
            <p:nvPr/>
          </p:nvSpPr>
          <p:spPr>
            <a:xfrm>
              <a:off x="2503801" y="1819251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9" name="Google Shape;8126;p64">
              <a:extLst>
                <a:ext uri="{FF2B5EF4-FFF2-40B4-BE49-F238E27FC236}">
                  <a16:creationId xmlns:a16="http://schemas.microsoft.com/office/drawing/2014/main" id="{051FBD5B-25E6-C41A-68CC-5A10BD4BE806}"/>
                </a:ext>
              </a:extLst>
            </p:cNvPr>
            <p:cNvSpPr/>
            <p:nvPr/>
          </p:nvSpPr>
          <p:spPr>
            <a:xfrm>
              <a:off x="2514595" y="1833793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cubicBezTo>
                    <a:pt x="0" y="4"/>
                    <a:pt x="0" y="4"/>
                    <a:pt x="0" y="1"/>
                  </a:cubicBezTo>
                  <a:cubicBezTo>
                    <a:pt x="0" y="4"/>
                    <a:pt x="0" y="4"/>
                    <a:pt x="4" y="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0" name="Google Shape;8127;p64">
              <a:extLst>
                <a:ext uri="{FF2B5EF4-FFF2-40B4-BE49-F238E27FC236}">
                  <a16:creationId xmlns:a16="http://schemas.microsoft.com/office/drawing/2014/main" id="{69C6CAF8-56C1-2B6C-A60B-E68FBFF16AC3}"/>
                </a:ext>
              </a:extLst>
            </p:cNvPr>
            <p:cNvSpPr/>
            <p:nvPr/>
          </p:nvSpPr>
          <p:spPr>
            <a:xfrm>
              <a:off x="2514405" y="1833087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1" name="Google Shape;8128;p64">
              <a:extLst>
                <a:ext uri="{FF2B5EF4-FFF2-40B4-BE49-F238E27FC236}">
                  <a16:creationId xmlns:a16="http://schemas.microsoft.com/office/drawing/2014/main" id="{D40E3B06-CC45-1248-CE38-374369F742C5}"/>
                </a:ext>
              </a:extLst>
            </p:cNvPr>
            <p:cNvSpPr/>
            <p:nvPr/>
          </p:nvSpPr>
          <p:spPr>
            <a:xfrm>
              <a:off x="2514255" y="183213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2" name="Google Shape;8129;p64">
              <a:extLst>
                <a:ext uri="{FF2B5EF4-FFF2-40B4-BE49-F238E27FC236}">
                  <a16:creationId xmlns:a16="http://schemas.microsoft.com/office/drawing/2014/main" id="{7080787B-8A59-BFD8-AE8D-0E04DB6C0353}"/>
                </a:ext>
              </a:extLst>
            </p:cNvPr>
            <p:cNvSpPr/>
            <p:nvPr/>
          </p:nvSpPr>
          <p:spPr>
            <a:xfrm>
              <a:off x="2507412" y="1823623"/>
              <a:ext cx="720" cy="543"/>
            </a:xfrm>
            <a:custGeom>
              <a:avLst/>
              <a:gdLst/>
              <a:ahLst/>
              <a:cxnLst/>
              <a:rect l="l" t="t" r="r" b="b"/>
              <a:pathLst>
                <a:path w="53" h="40" extrusionOk="0">
                  <a:moveTo>
                    <a:pt x="0" y="1"/>
                  </a:moveTo>
                  <a:cubicBezTo>
                    <a:pt x="14" y="15"/>
                    <a:pt x="32" y="25"/>
                    <a:pt x="53" y="39"/>
                  </a:cubicBezTo>
                  <a:cubicBezTo>
                    <a:pt x="35" y="25"/>
                    <a:pt x="18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3" name="Google Shape;8130;p64">
              <a:extLst>
                <a:ext uri="{FF2B5EF4-FFF2-40B4-BE49-F238E27FC236}">
                  <a16:creationId xmlns:a16="http://schemas.microsoft.com/office/drawing/2014/main" id="{F9AB139B-49A7-9FD6-1FF4-94C5C1055E91}"/>
                </a:ext>
              </a:extLst>
            </p:cNvPr>
            <p:cNvSpPr/>
            <p:nvPr/>
          </p:nvSpPr>
          <p:spPr>
            <a:xfrm>
              <a:off x="2602998" y="1754704"/>
              <a:ext cx="258" cy="204"/>
            </a:xfrm>
            <a:custGeom>
              <a:avLst/>
              <a:gdLst/>
              <a:ahLst/>
              <a:cxnLst/>
              <a:rect l="l" t="t" r="r" b="b"/>
              <a:pathLst>
                <a:path w="19" h="15" extrusionOk="0">
                  <a:moveTo>
                    <a:pt x="18" y="15"/>
                  </a:moveTo>
                  <a:cubicBezTo>
                    <a:pt x="15" y="8"/>
                    <a:pt x="8" y="4"/>
                    <a:pt x="1" y="1"/>
                  </a:cubicBezTo>
                  <a:cubicBezTo>
                    <a:pt x="8" y="4"/>
                    <a:pt x="15" y="8"/>
                    <a:pt x="18" y="15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4" name="Google Shape;8131;p64">
              <a:extLst>
                <a:ext uri="{FF2B5EF4-FFF2-40B4-BE49-F238E27FC236}">
                  <a16:creationId xmlns:a16="http://schemas.microsoft.com/office/drawing/2014/main" id="{A7083828-71F5-1398-72CC-49B93E490EA2}"/>
                </a:ext>
              </a:extLst>
            </p:cNvPr>
            <p:cNvSpPr/>
            <p:nvPr/>
          </p:nvSpPr>
          <p:spPr>
            <a:xfrm>
              <a:off x="2605564" y="1754799"/>
              <a:ext cx="394" cy="109"/>
            </a:xfrm>
            <a:custGeom>
              <a:avLst/>
              <a:gdLst/>
              <a:ahLst/>
              <a:cxnLst/>
              <a:rect l="l" t="t" r="r" b="b"/>
              <a:pathLst>
                <a:path w="29" h="8" extrusionOk="0">
                  <a:moveTo>
                    <a:pt x="1" y="8"/>
                  </a:moveTo>
                  <a:lnTo>
                    <a:pt x="29" y="1"/>
                  </a:lnTo>
                  <a:lnTo>
                    <a:pt x="29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5" name="Google Shape;8132;p64">
              <a:extLst>
                <a:ext uri="{FF2B5EF4-FFF2-40B4-BE49-F238E27FC236}">
                  <a16:creationId xmlns:a16="http://schemas.microsoft.com/office/drawing/2014/main" id="{F43D933C-60ED-C31C-F64B-DD36BE7091F2}"/>
                </a:ext>
              </a:extLst>
            </p:cNvPr>
            <p:cNvSpPr/>
            <p:nvPr/>
          </p:nvSpPr>
          <p:spPr>
            <a:xfrm>
              <a:off x="2554513" y="1799007"/>
              <a:ext cx="3435" cy="774"/>
            </a:xfrm>
            <a:custGeom>
              <a:avLst/>
              <a:gdLst/>
              <a:ahLst/>
              <a:cxnLst/>
              <a:rect l="l" t="t" r="r" b="b"/>
              <a:pathLst>
                <a:path w="253" h="57" extrusionOk="0">
                  <a:moveTo>
                    <a:pt x="1" y="56"/>
                  </a:moveTo>
                  <a:cubicBezTo>
                    <a:pt x="81" y="21"/>
                    <a:pt x="165" y="0"/>
                    <a:pt x="253" y="0"/>
                  </a:cubicBezTo>
                  <a:cubicBezTo>
                    <a:pt x="165" y="0"/>
                    <a:pt x="81" y="21"/>
                    <a:pt x="1" y="56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6" name="Google Shape;8133;p64">
              <a:extLst>
                <a:ext uri="{FF2B5EF4-FFF2-40B4-BE49-F238E27FC236}">
                  <a16:creationId xmlns:a16="http://schemas.microsoft.com/office/drawing/2014/main" id="{12140B4A-C73C-C23C-86F5-B85043123F30}"/>
                </a:ext>
              </a:extLst>
            </p:cNvPr>
            <p:cNvSpPr/>
            <p:nvPr/>
          </p:nvSpPr>
          <p:spPr>
            <a:xfrm>
              <a:off x="2599196" y="175637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7" name="Google Shape;8134;p64">
              <a:extLst>
                <a:ext uri="{FF2B5EF4-FFF2-40B4-BE49-F238E27FC236}">
                  <a16:creationId xmlns:a16="http://schemas.microsoft.com/office/drawing/2014/main" id="{E5F967A8-EFA4-47D4-0C80-4CE1C1AF8890}"/>
                </a:ext>
              </a:extLst>
            </p:cNvPr>
            <p:cNvSpPr/>
            <p:nvPr/>
          </p:nvSpPr>
          <p:spPr>
            <a:xfrm>
              <a:off x="2502796" y="1817215"/>
              <a:ext cx="964" cy="109"/>
            </a:xfrm>
            <a:custGeom>
              <a:avLst/>
              <a:gdLst/>
              <a:ahLst/>
              <a:cxnLst/>
              <a:rect l="l" t="t" r="r" b="b"/>
              <a:pathLst>
                <a:path w="71" h="8" extrusionOk="0">
                  <a:moveTo>
                    <a:pt x="71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8" name="Google Shape;8135;p64">
              <a:extLst>
                <a:ext uri="{FF2B5EF4-FFF2-40B4-BE49-F238E27FC236}">
                  <a16:creationId xmlns:a16="http://schemas.microsoft.com/office/drawing/2014/main" id="{40FBC70E-E122-0A78-9B3F-8A081839BAE2}"/>
                </a:ext>
              </a:extLst>
            </p:cNvPr>
            <p:cNvSpPr/>
            <p:nvPr/>
          </p:nvSpPr>
          <p:spPr>
            <a:xfrm>
              <a:off x="2513264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9" name="Google Shape;8136;p64">
              <a:extLst>
                <a:ext uri="{FF2B5EF4-FFF2-40B4-BE49-F238E27FC236}">
                  <a16:creationId xmlns:a16="http://schemas.microsoft.com/office/drawing/2014/main" id="{0F115C01-48AD-BF78-33DD-E664480B3065}"/>
                </a:ext>
              </a:extLst>
            </p:cNvPr>
            <p:cNvSpPr/>
            <p:nvPr/>
          </p:nvSpPr>
          <p:spPr>
            <a:xfrm>
              <a:off x="2516020" y="181830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0" name="Google Shape;8137;p64">
              <a:extLst>
                <a:ext uri="{FF2B5EF4-FFF2-40B4-BE49-F238E27FC236}">
                  <a16:creationId xmlns:a16="http://schemas.microsoft.com/office/drawing/2014/main" id="{34C305BB-6260-C47C-C778-5A6305E80F5B}"/>
                </a:ext>
              </a:extLst>
            </p:cNvPr>
            <p:cNvSpPr/>
            <p:nvPr/>
          </p:nvSpPr>
          <p:spPr>
            <a:xfrm>
              <a:off x="2514119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1" name="Google Shape;8138;p64">
              <a:extLst>
                <a:ext uri="{FF2B5EF4-FFF2-40B4-BE49-F238E27FC236}">
                  <a16:creationId xmlns:a16="http://schemas.microsoft.com/office/drawing/2014/main" id="{3E0B9381-181F-0D6C-80A0-F55D6BBBFCC2}"/>
                </a:ext>
              </a:extLst>
            </p:cNvPr>
            <p:cNvSpPr/>
            <p:nvPr/>
          </p:nvSpPr>
          <p:spPr>
            <a:xfrm>
              <a:off x="2596725" y="175684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2" name="Google Shape;8139;p64">
              <a:extLst>
                <a:ext uri="{FF2B5EF4-FFF2-40B4-BE49-F238E27FC236}">
                  <a16:creationId xmlns:a16="http://schemas.microsoft.com/office/drawing/2014/main" id="{D87B27DE-6C7E-CF00-42DD-5BBEF0E8C9D9}"/>
                </a:ext>
              </a:extLst>
            </p:cNvPr>
            <p:cNvSpPr/>
            <p:nvPr/>
          </p:nvSpPr>
          <p:spPr>
            <a:xfrm>
              <a:off x="2599766" y="1756184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3" name="Google Shape;8140;p64">
              <a:extLst>
                <a:ext uri="{FF2B5EF4-FFF2-40B4-BE49-F238E27FC236}">
                  <a16:creationId xmlns:a16="http://schemas.microsoft.com/office/drawing/2014/main" id="{1F8A4206-93E4-21D9-3E12-72B3992FB49E}"/>
                </a:ext>
              </a:extLst>
            </p:cNvPr>
            <p:cNvSpPr/>
            <p:nvPr/>
          </p:nvSpPr>
          <p:spPr>
            <a:xfrm>
              <a:off x="2502131" y="1817161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" y="1"/>
                  </a:moveTo>
                  <a:lnTo>
                    <a:pt x="18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4" name="Google Shape;8141;p64">
              <a:extLst>
                <a:ext uri="{FF2B5EF4-FFF2-40B4-BE49-F238E27FC236}">
                  <a16:creationId xmlns:a16="http://schemas.microsoft.com/office/drawing/2014/main" id="{4662578D-5FA0-29FF-2413-591A182AF2D5}"/>
                </a:ext>
              </a:extLst>
            </p:cNvPr>
            <p:cNvSpPr/>
            <p:nvPr/>
          </p:nvSpPr>
          <p:spPr>
            <a:xfrm>
              <a:off x="2595109" y="1756659"/>
              <a:ext cx="149" cy="54"/>
            </a:xfrm>
            <a:custGeom>
              <a:avLst/>
              <a:gdLst/>
              <a:ahLst/>
              <a:cxnLst/>
              <a:rect l="l" t="t" r="r" b="b"/>
              <a:pathLst>
                <a:path w="11" h="4" extrusionOk="0">
                  <a:moveTo>
                    <a:pt x="11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5" name="Google Shape;8142;p64">
              <a:extLst>
                <a:ext uri="{FF2B5EF4-FFF2-40B4-BE49-F238E27FC236}">
                  <a16:creationId xmlns:a16="http://schemas.microsoft.com/office/drawing/2014/main" id="{8B599BCB-1BA6-92F0-5062-E815C35086E4}"/>
                </a:ext>
              </a:extLst>
            </p:cNvPr>
            <p:cNvSpPr/>
            <p:nvPr/>
          </p:nvSpPr>
          <p:spPr>
            <a:xfrm>
              <a:off x="2602672" y="1754568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7" y="0"/>
                  </a:moveTo>
                  <a:lnTo>
                    <a:pt x="0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6" name="Google Shape;8143;p64">
              <a:extLst>
                <a:ext uri="{FF2B5EF4-FFF2-40B4-BE49-F238E27FC236}">
                  <a16:creationId xmlns:a16="http://schemas.microsoft.com/office/drawing/2014/main" id="{EEA1C88F-3580-DDD2-51B2-1EA20E27993C}"/>
                </a:ext>
              </a:extLst>
            </p:cNvPr>
            <p:cNvSpPr/>
            <p:nvPr/>
          </p:nvSpPr>
          <p:spPr>
            <a:xfrm>
              <a:off x="2595544" y="1756795"/>
              <a:ext cx="190" cy="14"/>
            </a:xfrm>
            <a:custGeom>
              <a:avLst/>
              <a:gdLst/>
              <a:ahLst/>
              <a:cxnLst/>
              <a:rect l="l" t="t" r="r" b="b"/>
              <a:pathLst>
                <a:path w="14" h="1" extrusionOk="0">
                  <a:moveTo>
                    <a:pt x="14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7" name="Google Shape;8144;p64">
              <a:extLst>
                <a:ext uri="{FF2B5EF4-FFF2-40B4-BE49-F238E27FC236}">
                  <a16:creationId xmlns:a16="http://schemas.microsoft.com/office/drawing/2014/main" id="{E4D0A45B-E107-758A-0A9B-EB4C6665B6C7}"/>
                </a:ext>
              </a:extLst>
            </p:cNvPr>
            <p:cNvSpPr/>
            <p:nvPr/>
          </p:nvSpPr>
          <p:spPr>
            <a:xfrm>
              <a:off x="2595965" y="1756849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8" name="Google Shape;8145;p64">
              <a:extLst>
                <a:ext uri="{FF2B5EF4-FFF2-40B4-BE49-F238E27FC236}">
                  <a16:creationId xmlns:a16="http://schemas.microsoft.com/office/drawing/2014/main" id="{CFE1251D-F6C4-7E46-87FD-D84724649FAA}"/>
                </a:ext>
              </a:extLst>
            </p:cNvPr>
            <p:cNvSpPr/>
            <p:nvPr/>
          </p:nvSpPr>
          <p:spPr>
            <a:xfrm>
              <a:off x="2602047" y="1754948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15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9" name="Google Shape;8146;p64">
              <a:extLst>
                <a:ext uri="{FF2B5EF4-FFF2-40B4-BE49-F238E27FC236}">
                  <a16:creationId xmlns:a16="http://schemas.microsoft.com/office/drawing/2014/main" id="{68A023A5-0534-C3F8-892D-20DF4A593016}"/>
                </a:ext>
              </a:extLst>
            </p:cNvPr>
            <p:cNvSpPr/>
            <p:nvPr/>
          </p:nvSpPr>
          <p:spPr>
            <a:xfrm>
              <a:off x="2507127" y="1817690"/>
              <a:ext cx="1005" cy="109"/>
            </a:xfrm>
            <a:custGeom>
              <a:avLst/>
              <a:gdLst/>
              <a:ahLst/>
              <a:cxnLst/>
              <a:rect l="l" t="t" r="r" b="b"/>
              <a:pathLst>
                <a:path w="74" h="8" extrusionOk="0">
                  <a:moveTo>
                    <a:pt x="74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0" name="Google Shape;8147;p64">
              <a:extLst>
                <a:ext uri="{FF2B5EF4-FFF2-40B4-BE49-F238E27FC236}">
                  <a16:creationId xmlns:a16="http://schemas.microsoft.com/office/drawing/2014/main" id="{3CED7D75-CFDC-BA31-AFA2-C38474A648B5}"/>
                </a:ext>
              </a:extLst>
            </p:cNvPr>
            <p:cNvSpPr/>
            <p:nvPr/>
          </p:nvSpPr>
          <p:spPr>
            <a:xfrm>
              <a:off x="2526665" y="181721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1" name="Google Shape;8148;p64">
              <a:extLst>
                <a:ext uri="{FF2B5EF4-FFF2-40B4-BE49-F238E27FC236}">
                  <a16:creationId xmlns:a16="http://schemas.microsoft.com/office/drawing/2014/main" id="{77E41FA0-0BC9-A370-CEE9-ABB14B956277}"/>
                </a:ext>
              </a:extLst>
            </p:cNvPr>
            <p:cNvSpPr/>
            <p:nvPr/>
          </p:nvSpPr>
          <p:spPr>
            <a:xfrm>
              <a:off x="2597010" y="1756795"/>
              <a:ext cx="258" cy="14"/>
            </a:xfrm>
            <a:custGeom>
              <a:avLst/>
              <a:gdLst/>
              <a:ahLst/>
              <a:cxnLst/>
              <a:rect l="l" t="t" r="r" b="b"/>
              <a:pathLst>
                <a:path w="19" h="1" extrusionOk="0">
                  <a:moveTo>
                    <a:pt x="18" y="1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2" name="Google Shape;8149;p64">
              <a:extLst>
                <a:ext uri="{FF2B5EF4-FFF2-40B4-BE49-F238E27FC236}">
                  <a16:creationId xmlns:a16="http://schemas.microsoft.com/office/drawing/2014/main" id="{4F56D1FE-9098-DAA5-6141-DB9D82BB3A4F}"/>
                </a:ext>
              </a:extLst>
            </p:cNvPr>
            <p:cNvSpPr/>
            <p:nvPr/>
          </p:nvSpPr>
          <p:spPr>
            <a:xfrm>
              <a:off x="2527330" y="181712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3" name="Google Shape;8150;p64">
              <a:extLst>
                <a:ext uri="{FF2B5EF4-FFF2-40B4-BE49-F238E27FC236}">
                  <a16:creationId xmlns:a16="http://schemas.microsoft.com/office/drawing/2014/main" id="{72D407C4-D183-584B-F7B5-BEC28113FE42}"/>
                </a:ext>
              </a:extLst>
            </p:cNvPr>
            <p:cNvSpPr/>
            <p:nvPr/>
          </p:nvSpPr>
          <p:spPr>
            <a:xfrm>
              <a:off x="2598626" y="175656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4" name="Google Shape;8151;p64">
              <a:extLst>
                <a:ext uri="{FF2B5EF4-FFF2-40B4-BE49-F238E27FC236}">
                  <a16:creationId xmlns:a16="http://schemas.microsoft.com/office/drawing/2014/main" id="{8625AB0E-75F9-408B-DAFD-6858ECCDE7C0}"/>
                </a:ext>
              </a:extLst>
            </p:cNvPr>
            <p:cNvSpPr/>
            <p:nvPr/>
          </p:nvSpPr>
          <p:spPr>
            <a:xfrm>
              <a:off x="2600337" y="1755940"/>
              <a:ext cx="299" cy="109"/>
            </a:xfrm>
            <a:custGeom>
              <a:avLst/>
              <a:gdLst/>
              <a:ahLst/>
              <a:cxnLst/>
              <a:rect l="l" t="t" r="r" b="b"/>
              <a:pathLst>
                <a:path w="22" h="8" extrusionOk="0">
                  <a:moveTo>
                    <a:pt x="22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5" name="Google Shape;8152;p64">
              <a:extLst>
                <a:ext uri="{FF2B5EF4-FFF2-40B4-BE49-F238E27FC236}">
                  <a16:creationId xmlns:a16="http://schemas.microsoft.com/office/drawing/2014/main" id="{14C8696B-AC9A-7D1A-A499-D8B1EDD2EE8D}"/>
                </a:ext>
              </a:extLst>
            </p:cNvPr>
            <p:cNvSpPr/>
            <p:nvPr/>
          </p:nvSpPr>
          <p:spPr>
            <a:xfrm>
              <a:off x="2598056" y="1756659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6" name="Google Shape;8153;p64">
              <a:extLst>
                <a:ext uri="{FF2B5EF4-FFF2-40B4-BE49-F238E27FC236}">
                  <a16:creationId xmlns:a16="http://schemas.microsoft.com/office/drawing/2014/main" id="{E50D7691-8F34-9145-0FE5-4C4D93EC94CC}"/>
                </a:ext>
              </a:extLst>
            </p:cNvPr>
            <p:cNvSpPr/>
            <p:nvPr/>
          </p:nvSpPr>
          <p:spPr>
            <a:xfrm>
              <a:off x="2597485" y="1756754"/>
              <a:ext cx="299" cy="54"/>
            </a:xfrm>
            <a:custGeom>
              <a:avLst/>
              <a:gdLst/>
              <a:ahLst/>
              <a:cxnLst/>
              <a:rect l="l" t="t" r="r" b="b"/>
              <a:pathLst>
                <a:path w="22" h="4" extrusionOk="0">
                  <a:moveTo>
                    <a:pt x="22" y="0"/>
                  </a:moveTo>
                  <a:lnTo>
                    <a:pt x="1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7" name="Google Shape;8154;p64">
              <a:extLst>
                <a:ext uri="{FF2B5EF4-FFF2-40B4-BE49-F238E27FC236}">
                  <a16:creationId xmlns:a16="http://schemas.microsoft.com/office/drawing/2014/main" id="{56FF8B54-D7A9-6624-9265-4ABA6EDDAD10}"/>
                </a:ext>
              </a:extLst>
            </p:cNvPr>
            <p:cNvSpPr/>
            <p:nvPr/>
          </p:nvSpPr>
          <p:spPr>
            <a:xfrm>
              <a:off x="2601477" y="1755329"/>
              <a:ext cx="258" cy="149"/>
            </a:xfrm>
            <a:custGeom>
              <a:avLst/>
              <a:gdLst/>
              <a:ahLst/>
              <a:cxnLst/>
              <a:rect l="l" t="t" r="r" b="b"/>
              <a:pathLst>
                <a:path w="19" h="11" extrusionOk="0">
                  <a:moveTo>
                    <a:pt x="18" y="0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8" name="Google Shape;8155;p64">
              <a:extLst>
                <a:ext uri="{FF2B5EF4-FFF2-40B4-BE49-F238E27FC236}">
                  <a16:creationId xmlns:a16="http://schemas.microsoft.com/office/drawing/2014/main" id="{73A71AC4-154A-14ED-8D16-09A2259B56FF}"/>
                </a:ext>
              </a:extLst>
            </p:cNvPr>
            <p:cNvSpPr/>
            <p:nvPr/>
          </p:nvSpPr>
          <p:spPr>
            <a:xfrm>
              <a:off x="2508498" y="1817880"/>
              <a:ext cx="923" cy="109"/>
            </a:xfrm>
            <a:custGeom>
              <a:avLst/>
              <a:gdLst/>
              <a:ahLst/>
              <a:cxnLst/>
              <a:rect l="l" t="t" r="r" b="b"/>
              <a:pathLst>
                <a:path w="68" h="8" extrusionOk="0">
                  <a:moveTo>
                    <a:pt x="67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9" name="Google Shape;8156;p64">
              <a:extLst>
                <a:ext uri="{FF2B5EF4-FFF2-40B4-BE49-F238E27FC236}">
                  <a16:creationId xmlns:a16="http://schemas.microsoft.com/office/drawing/2014/main" id="{85C8F658-86A7-DD5C-818C-BCC7ED6BB565}"/>
                </a:ext>
              </a:extLst>
            </p:cNvPr>
            <p:cNvSpPr/>
            <p:nvPr/>
          </p:nvSpPr>
          <p:spPr>
            <a:xfrm>
              <a:off x="2600907" y="1755654"/>
              <a:ext cx="258" cy="163"/>
            </a:xfrm>
            <a:custGeom>
              <a:avLst/>
              <a:gdLst/>
              <a:ahLst/>
              <a:cxnLst/>
              <a:rect l="l" t="t" r="r" b="b"/>
              <a:pathLst>
                <a:path w="19" h="12" extrusionOk="0">
                  <a:moveTo>
                    <a:pt x="18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0" name="Google Shape;8157;p64">
              <a:extLst>
                <a:ext uri="{FF2B5EF4-FFF2-40B4-BE49-F238E27FC236}">
                  <a16:creationId xmlns:a16="http://schemas.microsoft.com/office/drawing/2014/main" id="{BA14E2B5-D78B-754C-AF03-BA0301F1D65E}"/>
                </a:ext>
              </a:extLst>
            </p:cNvPr>
            <p:cNvSpPr/>
            <p:nvPr/>
          </p:nvSpPr>
          <p:spPr>
            <a:xfrm>
              <a:off x="2504181" y="1817310"/>
              <a:ext cx="1195" cy="149"/>
            </a:xfrm>
            <a:custGeom>
              <a:avLst/>
              <a:gdLst/>
              <a:ahLst/>
              <a:cxnLst/>
              <a:rect l="l" t="t" r="r" b="b"/>
              <a:pathLst>
                <a:path w="88" h="11" extrusionOk="0">
                  <a:moveTo>
                    <a:pt x="88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1" name="Google Shape;8158;p64">
              <a:extLst>
                <a:ext uri="{FF2B5EF4-FFF2-40B4-BE49-F238E27FC236}">
                  <a16:creationId xmlns:a16="http://schemas.microsoft.com/office/drawing/2014/main" id="{4EA0C3A3-2578-28D5-38A5-CB7D44F6BDBF}"/>
                </a:ext>
              </a:extLst>
            </p:cNvPr>
            <p:cNvSpPr/>
            <p:nvPr/>
          </p:nvSpPr>
          <p:spPr>
            <a:xfrm>
              <a:off x="2512640" y="1818396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2" name="Google Shape;8159;p64">
              <a:extLst>
                <a:ext uri="{FF2B5EF4-FFF2-40B4-BE49-F238E27FC236}">
                  <a16:creationId xmlns:a16="http://schemas.microsoft.com/office/drawing/2014/main" id="{6D22F0F8-1C88-1CCE-01B2-399AB8B4439E}"/>
                </a:ext>
              </a:extLst>
            </p:cNvPr>
            <p:cNvSpPr/>
            <p:nvPr/>
          </p:nvSpPr>
          <p:spPr>
            <a:xfrm>
              <a:off x="2505457" y="1817446"/>
              <a:ext cx="1344" cy="204"/>
            </a:xfrm>
            <a:custGeom>
              <a:avLst/>
              <a:gdLst/>
              <a:ahLst/>
              <a:cxnLst/>
              <a:rect l="l" t="t" r="r" b="b"/>
              <a:pathLst>
                <a:path w="99" h="15" extrusionOk="0">
                  <a:moveTo>
                    <a:pt x="99" y="1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3" name="Google Shape;8160;p64">
              <a:extLst>
                <a:ext uri="{FF2B5EF4-FFF2-40B4-BE49-F238E27FC236}">
                  <a16:creationId xmlns:a16="http://schemas.microsoft.com/office/drawing/2014/main" id="{A861FD82-C1F3-70B0-3527-D37F5395234F}"/>
                </a:ext>
              </a:extLst>
            </p:cNvPr>
            <p:cNvSpPr/>
            <p:nvPr/>
          </p:nvSpPr>
          <p:spPr>
            <a:xfrm>
              <a:off x="2509788" y="1818070"/>
              <a:ext cx="1195" cy="204"/>
            </a:xfrm>
            <a:custGeom>
              <a:avLst/>
              <a:gdLst/>
              <a:ahLst/>
              <a:cxnLst/>
              <a:rect l="l" t="t" r="r" b="b"/>
              <a:pathLst>
                <a:path w="88" h="15" extrusionOk="0">
                  <a:moveTo>
                    <a:pt x="88" y="1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4" name="Google Shape;8161;p64">
              <a:extLst>
                <a:ext uri="{FF2B5EF4-FFF2-40B4-BE49-F238E27FC236}">
                  <a16:creationId xmlns:a16="http://schemas.microsoft.com/office/drawing/2014/main" id="{7E873812-8EEC-3A13-2373-D0F717E325A7}"/>
                </a:ext>
              </a:extLst>
            </p:cNvPr>
            <p:cNvSpPr/>
            <p:nvPr/>
          </p:nvSpPr>
          <p:spPr>
            <a:xfrm>
              <a:off x="2511404" y="1818355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5" name="Google Shape;8162;p64">
              <a:extLst>
                <a:ext uri="{FF2B5EF4-FFF2-40B4-BE49-F238E27FC236}">
                  <a16:creationId xmlns:a16="http://schemas.microsoft.com/office/drawing/2014/main" id="{40B33C26-29EC-9DF1-4C2B-4E644A991522}"/>
                </a:ext>
              </a:extLst>
            </p:cNvPr>
            <p:cNvSpPr/>
            <p:nvPr/>
          </p:nvSpPr>
          <p:spPr>
            <a:xfrm>
              <a:off x="2512029" y="181835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6" name="Google Shape;8163;p64">
              <a:extLst>
                <a:ext uri="{FF2B5EF4-FFF2-40B4-BE49-F238E27FC236}">
                  <a16:creationId xmlns:a16="http://schemas.microsoft.com/office/drawing/2014/main" id="{F5993C30-796E-726D-1BA7-EF4C5D6F4CF1}"/>
                </a:ext>
              </a:extLst>
            </p:cNvPr>
            <p:cNvSpPr/>
            <p:nvPr/>
          </p:nvSpPr>
          <p:spPr>
            <a:xfrm>
              <a:off x="2991016" y="2067204"/>
              <a:ext cx="18968" cy="6409"/>
            </a:xfrm>
            <a:custGeom>
              <a:avLst/>
              <a:gdLst/>
              <a:ahLst/>
              <a:cxnLst/>
              <a:rect l="l" t="t" r="r" b="b"/>
              <a:pathLst>
                <a:path w="1397" h="472" extrusionOk="0">
                  <a:moveTo>
                    <a:pt x="585" y="1"/>
                  </a:moveTo>
                  <a:cubicBezTo>
                    <a:pt x="334" y="1"/>
                    <a:pt x="94" y="53"/>
                    <a:pt x="18" y="129"/>
                  </a:cubicBezTo>
                  <a:cubicBezTo>
                    <a:pt x="0" y="150"/>
                    <a:pt x="4" y="157"/>
                    <a:pt x="4" y="164"/>
                  </a:cubicBezTo>
                  <a:cubicBezTo>
                    <a:pt x="28" y="227"/>
                    <a:pt x="110" y="246"/>
                    <a:pt x="242" y="246"/>
                  </a:cubicBezTo>
                  <a:cubicBezTo>
                    <a:pt x="300" y="246"/>
                    <a:pt x="368" y="243"/>
                    <a:pt x="445" y="237"/>
                  </a:cubicBezTo>
                  <a:cubicBezTo>
                    <a:pt x="525" y="234"/>
                    <a:pt x="606" y="230"/>
                    <a:pt x="686" y="230"/>
                  </a:cubicBezTo>
                  <a:cubicBezTo>
                    <a:pt x="903" y="230"/>
                    <a:pt x="1054" y="318"/>
                    <a:pt x="1180" y="388"/>
                  </a:cubicBezTo>
                  <a:cubicBezTo>
                    <a:pt x="1257" y="433"/>
                    <a:pt x="1327" y="472"/>
                    <a:pt x="1383" y="472"/>
                  </a:cubicBezTo>
                  <a:lnTo>
                    <a:pt x="1390" y="472"/>
                  </a:lnTo>
                  <a:cubicBezTo>
                    <a:pt x="1397" y="451"/>
                    <a:pt x="1397" y="426"/>
                    <a:pt x="1386" y="405"/>
                  </a:cubicBezTo>
                  <a:cubicBezTo>
                    <a:pt x="1351" y="283"/>
                    <a:pt x="1211" y="122"/>
                    <a:pt x="991" y="55"/>
                  </a:cubicBezTo>
                  <a:cubicBezTo>
                    <a:pt x="871" y="17"/>
                    <a:pt x="726" y="1"/>
                    <a:pt x="585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7" name="Google Shape;8164;p64">
              <a:extLst>
                <a:ext uri="{FF2B5EF4-FFF2-40B4-BE49-F238E27FC236}">
                  <a16:creationId xmlns:a16="http://schemas.microsoft.com/office/drawing/2014/main" id="{42EA3697-4F61-B5D2-3C67-57E2A1F4F03A}"/>
                </a:ext>
              </a:extLst>
            </p:cNvPr>
            <p:cNvSpPr/>
            <p:nvPr/>
          </p:nvSpPr>
          <p:spPr>
            <a:xfrm>
              <a:off x="3012726" y="2048969"/>
              <a:ext cx="73699" cy="62008"/>
            </a:xfrm>
            <a:custGeom>
              <a:avLst/>
              <a:gdLst/>
              <a:ahLst/>
              <a:cxnLst/>
              <a:rect l="l" t="t" r="r" b="b"/>
              <a:pathLst>
                <a:path w="5428" h="4567" extrusionOk="0">
                  <a:moveTo>
                    <a:pt x="760" y="0"/>
                  </a:moveTo>
                  <a:cubicBezTo>
                    <a:pt x="716" y="0"/>
                    <a:pt x="675" y="3"/>
                    <a:pt x="638" y="8"/>
                  </a:cubicBezTo>
                  <a:cubicBezTo>
                    <a:pt x="547" y="22"/>
                    <a:pt x="491" y="50"/>
                    <a:pt x="477" y="89"/>
                  </a:cubicBezTo>
                  <a:cubicBezTo>
                    <a:pt x="414" y="264"/>
                    <a:pt x="270" y="302"/>
                    <a:pt x="162" y="330"/>
                  </a:cubicBezTo>
                  <a:cubicBezTo>
                    <a:pt x="57" y="358"/>
                    <a:pt x="18" y="376"/>
                    <a:pt x="11" y="435"/>
                  </a:cubicBezTo>
                  <a:cubicBezTo>
                    <a:pt x="1" y="495"/>
                    <a:pt x="11" y="512"/>
                    <a:pt x="11" y="512"/>
                  </a:cubicBezTo>
                  <a:cubicBezTo>
                    <a:pt x="21" y="513"/>
                    <a:pt x="30" y="514"/>
                    <a:pt x="40" y="514"/>
                  </a:cubicBezTo>
                  <a:cubicBezTo>
                    <a:pt x="63" y="514"/>
                    <a:pt x="88" y="511"/>
                    <a:pt x="113" y="509"/>
                  </a:cubicBezTo>
                  <a:cubicBezTo>
                    <a:pt x="148" y="505"/>
                    <a:pt x="190" y="505"/>
                    <a:pt x="239" y="505"/>
                  </a:cubicBezTo>
                  <a:cubicBezTo>
                    <a:pt x="446" y="505"/>
                    <a:pt x="498" y="642"/>
                    <a:pt x="551" y="785"/>
                  </a:cubicBezTo>
                  <a:cubicBezTo>
                    <a:pt x="568" y="828"/>
                    <a:pt x="582" y="870"/>
                    <a:pt x="603" y="915"/>
                  </a:cubicBezTo>
                  <a:cubicBezTo>
                    <a:pt x="630" y="970"/>
                    <a:pt x="726" y="988"/>
                    <a:pt x="841" y="988"/>
                  </a:cubicBezTo>
                  <a:cubicBezTo>
                    <a:pt x="981" y="988"/>
                    <a:pt x="1149" y="962"/>
                    <a:pt x="1254" y="947"/>
                  </a:cubicBezTo>
                  <a:cubicBezTo>
                    <a:pt x="1317" y="936"/>
                    <a:pt x="1373" y="929"/>
                    <a:pt x="1412" y="926"/>
                  </a:cubicBezTo>
                  <a:cubicBezTo>
                    <a:pt x="1421" y="924"/>
                    <a:pt x="1430" y="924"/>
                    <a:pt x="1439" y="924"/>
                  </a:cubicBezTo>
                  <a:cubicBezTo>
                    <a:pt x="1513" y="924"/>
                    <a:pt x="1581" y="962"/>
                    <a:pt x="1618" y="1027"/>
                  </a:cubicBezTo>
                  <a:cubicBezTo>
                    <a:pt x="1646" y="1080"/>
                    <a:pt x="1639" y="1143"/>
                    <a:pt x="1604" y="1188"/>
                  </a:cubicBezTo>
                  <a:cubicBezTo>
                    <a:pt x="1583" y="1209"/>
                    <a:pt x="1545" y="1238"/>
                    <a:pt x="1476" y="1238"/>
                  </a:cubicBezTo>
                  <a:cubicBezTo>
                    <a:pt x="1441" y="1238"/>
                    <a:pt x="1400" y="1231"/>
                    <a:pt x="1349" y="1213"/>
                  </a:cubicBezTo>
                  <a:cubicBezTo>
                    <a:pt x="1307" y="1198"/>
                    <a:pt x="1275" y="1193"/>
                    <a:pt x="1248" y="1193"/>
                  </a:cubicBezTo>
                  <a:cubicBezTo>
                    <a:pt x="1194" y="1193"/>
                    <a:pt x="1161" y="1215"/>
                    <a:pt x="1121" y="1241"/>
                  </a:cubicBezTo>
                  <a:cubicBezTo>
                    <a:pt x="1074" y="1282"/>
                    <a:pt x="1012" y="1305"/>
                    <a:pt x="948" y="1305"/>
                  </a:cubicBezTo>
                  <a:cubicBezTo>
                    <a:pt x="926" y="1305"/>
                    <a:pt x="905" y="1302"/>
                    <a:pt x="883" y="1297"/>
                  </a:cubicBezTo>
                  <a:cubicBezTo>
                    <a:pt x="823" y="1281"/>
                    <a:pt x="760" y="1273"/>
                    <a:pt x="698" y="1273"/>
                  </a:cubicBezTo>
                  <a:cubicBezTo>
                    <a:pt x="677" y="1273"/>
                    <a:pt x="656" y="1274"/>
                    <a:pt x="635" y="1276"/>
                  </a:cubicBezTo>
                  <a:cubicBezTo>
                    <a:pt x="652" y="1290"/>
                    <a:pt x="670" y="1304"/>
                    <a:pt x="687" y="1321"/>
                  </a:cubicBezTo>
                  <a:cubicBezTo>
                    <a:pt x="813" y="1419"/>
                    <a:pt x="981" y="1552"/>
                    <a:pt x="981" y="1797"/>
                  </a:cubicBezTo>
                  <a:cubicBezTo>
                    <a:pt x="978" y="1832"/>
                    <a:pt x="988" y="1864"/>
                    <a:pt x="1013" y="1885"/>
                  </a:cubicBezTo>
                  <a:cubicBezTo>
                    <a:pt x="1034" y="1902"/>
                    <a:pt x="1062" y="1913"/>
                    <a:pt x="1086" y="1913"/>
                  </a:cubicBezTo>
                  <a:cubicBezTo>
                    <a:pt x="1142" y="1913"/>
                    <a:pt x="1223" y="1878"/>
                    <a:pt x="1223" y="1801"/>
                  </a:cubicBezTo>
                  <a:cubicBezTo>
                    <a:pt x="1223" y="1773"/>
                    <a:pt x="1223" y="1703"/>
                    <a:pt x="1279" y="1668"/>
                  </a:cubicBezTo>
                  <a:cubicBezTo>
                    <a:pt x="1293" y="1660"/>
                    <a:pt x="1307" y="1656"/>
                    <a:pt x="1323" y="1656"/>
                  </a:cubicBezTo>
                  <a:cubicBezTo>
                    <a:pt x="1371" y="1656"/>
                    <a:pt x="1430" y="1689"/>
                    <a:pt x="1506" y="1731"/>
                  </a:cubicBezTo>
                  <a:cubicBezTo>
                    <a:pt x="1618" y="1804"/>
                    <a:pt x="1741" y="1860"/>
                    <a:pt x="1870" y="1899"/>
                  </a:cubicBezTo>
                  <a:cubicBezTo>
                    <a:pt x="2063" y="1948"/>
                    <a:pt x="2112" y="2014"/>
                    <a:pt x="2150" y="2084"/>
                  </a:cubicBezTo>
                  <a:cubicBezTo>
                    <a:pt x="2171" y="2123"/>
                    <a:pt x="2185" y="2147"/>
                    <a:pt x="2343" y="2154"/>
                  </a:cubicBezTo>
                  <a:cubicBezTo>
                    <a:pt x="2718" y="2172"/>
                    <a:pt x="3579" y="2448"/>
                    <a:pt x="3915" y="2700"/>
                  </a:cubicBezTo>
                  <a:cubicBezTo>
                    <a:pt x="4118" y="2854"/>
                    <a:pt x="4132" y="2988"/>
                    <a:pt x="4139" y="3103"/>
                  </a:cubicBezTo>
                  <a:cubicBezTo>
                    <a:pt x="4139" y="3191"/>
                    <a:pt x="4170" y="3275"/>
                    <a:pt x="4230" y="3341"/>
                  </a:cubicBezTo>
                  <a:cubicBezTo>
                    <a:pt x="4394" y="3516"/>
                    <a:pt x="4464" y="3691"/>
                    <a:pt x="4412" y="3810"/>
                  </a:cubicBezTo>
                  <a:cubicBezTo>
                    <a:pt x="4387" y="3866"/>
                    <a:pt x="4324" y="3936"/>
                    <a:pt x="4167" y="3936"/>
                  </a:cubicBezTo>
                  <a:cubicBezTo>
                    <a:pt x="3988" y="3943"/>
                    <a:pt x="3827" y="4034"/>
                    <a:pt x="3726" y="4181"/>
                  </a:cubicBezTo>
                  <a:cubicBezTo>
                    <a:pt x="3705" y="4206"/>
                    <a:pt x="3698" y="4237"/>
                    <a:pt x="3705" y="4269"/>
                  </a:cubicBezTo>
                  <a:cubicBezTo>
                    <a:pt x="3725" y="4285"/>
                    <a:pt x="3776" y="4291"/>
                    <a:pt x="3846" y="4291"/>
                  </a:cubicBezTo>
                  <a:cubicBezTo>
                    <a:pt x="4032" y="4291"/>
                    <a:pt x="4348" y="4245"/>
                    <a:pt x="4524" y="4220"/>
                  </a:cubicBezTo>
                  <a:cubicBezTo>
                    <a:pt x="4650" y="4199"/>
                    <a:pt x="4780" y="4181"/>
                    <a:pt x="4909" y="4174"/>
                  </a:cubicBezTo>
                  <a:cubicBezTo>
                    <a:pt x="5021" y="4174"/>
                    <a:pt x="5112" y="4265"/>
                    <a:pt x="5231" y="4384"/>
                  </a:cubicBezTo>
                  <a:cubicBezTo>
                    <a:pt x="5287" y="4440"/>
                    <a:pt x="5354" y="4503"/>
                    <a:pt x="5427" y="4566"/>
                  </a:cubicBezTo>
                  <a:lnTo>
                    <a:pt x="5427" y="1290"/>
                  </a:lnTo>
                  <a:cubicBezTo>
                    <a:pt x="5165" y="1202"/>
                    <a:pt x="4874" y="1087"/>
                    <a:pt x="4594" y="978"/>
                  </a:cubicBezTo>
                  <a:cubicBezTo>
                    <a:pt x="4179" y="820"/>
                    <a:pt x="3743" y="652"/>
                    <a:pt x="3627" y="652"/>
                  </a:cubicBezTo>
                  <a:cubicBezTo>
                    <a:pt x="3625" y="652"/>
                    <a:pt x="3623" y="652"/>
                    <a:pt x="3621" y="652"/>
                  </a:cubicBezTo>
                  <a:cubicBezTo>
                    <a:pt x="3530" y="659"/>
                    <a:pt x="3474" y="754"/>
                    <a:pt x="3414" y="852"/>
                  </a:cubicBezTo>
                  <a:cubicBezTo>
                    <a:pt x="3348" y="964"/>
                    <a:pt x="3271" y="1090"/>
                    <a:pt x="3131" y="1090"/>
                  </a:cubicBezTo>
                  <a:cubicBezTo>
                    <a:pt x="3054" y="1090"/>
                    <a:pt x="2935" y="1192"/>
                    <a:pt x="2809" y="1297"/>
                  </a:cubicBezTo>
                  <a:cubicBezTo>
                    <a:pt x="2651" y="1430"/>
                    <a:pt x="2472" y="1580"/>
                    <a:pt x="2262" y="1654"/>
                  </a:cubicBezTo>
                  <a:cubicBezTo>
                    <a:pt x="2240" y="1662"/>
                    <a:pt x="2216" y="1666"/>
                    <a:pt x="2192" y="1666"/>
                  </a:cubicBezTo>
                  <a:cubicBezTo>
                    <a:pt x="2153" y="1666"/>
                    <a:pt x="2115" y="1656"/>
                    <a:pt x="2080" y="1636"/>
                  </a:cubicBezTo>
                  <a:cubicBezTo>
                    <a:pt x="1898" y="1531"/>
                    <a:pt x="1821" y="1150"/>
                    <a:pt x="1748" y="782"/>
                  </a:cubicBezTo>
                  <a:cubicBezTo>
                    <a:pt x="1706" y="568"/>
                    <a:pt x="1660" y="344"/>
                    <a:pt x="1608" y="271"/>
                  </a:cubicBezTo>
                  <a:cubicBezTo>
                    <a:pt x="1507" y="133"/>
                    <a:pt x="1069" y="0"/>
                    <a:pt x="76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8" name="Google Shape;8165;p64">
              <a:extLst>
                <a:ext uri="{FF2B5EF4-FFF2-40B4-BE49-F238E27FC236}">
                  <a16:creationId xmlns:a16="http://schemas.microsoft.com/office/drawing/2014/main" id="{6DA5B8B2-1A20-37BC-D689-E1022DE7FBE8}"/>
                </a:ext>
              </a:extLst>
            </p:cNvPr>
            <p:cNvSpPr/>
            <p:nvPr/>
          </p:nvSpPr>
          <p:spPr>
            <a:xfrm>
              <a:off x="2746593" y="2003634"/>
              <a:ext cx="83583" cy="84330"/>
            </a:xfrm>
            <a:custGeom>
              <a:avLst/>
              <a:gdLst/>
              <a:ahLst/>
              <a:cxnLst/>
              <a:rect l="l" t="t" r="r" b="b"/>
              <a:pathLst>
                <a:path w="6156" h="6211" extrusionOk="0">
                  <a:moveTo>
                    <a:pt x="116" y="0"/>
                  </a:moveTo>
                  <a:cubicBezTo>
                    <a:pt x="116" y="0"/>
                    <a:pt x="109" y="7"/>
                    <a:pt x="102" y="22"/>
                  </a:cubicBezTo>
                  <a:cubicBezTo>
                    <a:pt x="1" y="235"/>
                    <a:pt x="533" y="820"/>
                    <a:pt x="820" y="988"/>
                  </a:cubicBezTo>
                  <a:cubicBezTo>
                    <a:pt x="953" y="1065"/>
                    <a:pt x="1051" y="1222"/>
                    <a:pt x="1149" y="1373"/>
                  </a:cubicBezTo>
                  <a:cubicBezTo>
                    <a:pt x="1264" y="1555"/>
                    <a:pt x="1384" y="1740"/>
                    <a:pt x="1538" y="1754"/>
                  </a:cubicBezTo>
                  <a:cubicBezTo>
                    <a:pt x="1755" y="1779"/>
                    <a:pt x="1849" y="2098"/>
                    <a:pt x="1940" y="2409"/>
                  </a:cubicBezTo>
                  <a:cubicBezTo>
                    <a:pt x="1996" y="2591"/>
                    <a:pt x="2070" y="2843"/>
                    <a:pt x="2143" y="2857"/>
                  </a:cubicBezTo>
                  <a:cubicBezTo>
                    <a:pt x="2423" y="2913"/>
                    <a:pt x="2952" y="3743"/>
                    <a:pt x="3036" y="4170"/>
                  </a:cubicBezTo>
                  <a:cubicBezTo>
                    <a:pt x="3078" y="4398"/>
                    <a:pt x="3277" y="4562"/>
                    <a:pt x="3474" y="4727"/>
                  </a:cubicBezTo>
                  <a:cubicBezTo>
                    <a:pt x="3610" y="4842"/>
                    <a:pt x="3743" y="4954"/>
                    <a:pt x="3824" y="5087"/>
                  </a:cubicBezTo>
                  <a:cubicBezTo>
                    <a:pt x="3929" y="5269"/>
                    <a:pt x="4258" y="5511"/>
                    <a:pt x="4496" y="5686"/>
                  </a:cubicBezTo>
                  <a:cubicBezTo>
                    <a:pt x="4667" y="5812"/>
                    <a:pt x="4765" y="5885"/>
                    <a:pt x="4804" y="5938"/>
                  </a:cubicBezTo>
                  <a:cubicBezTo>
                    <a:pt x="4835" y="5983"/>
                    <a:pt x="4863" y="6029"/>
                    <a:pt x="4891" y="6081"/>
                  </a:cubicBezTo>
                  <a:cubicBezTo>
                    <a:pt x="4912" y="6127"/>
                    <a:pt x="4940" y="6169"/>
                    <a:pt x="4972" y="6211"/>
                  </a:cubicBezTo>
                  <a:cubicBezTo>
                    <a:pt x="5014" y="6143"/>
                    <a:pt x="5088" y="6120"/>
                    <a:pt x="5174" y="6120"/>
                  </a:cubicBezTo>
                  <a:cubicBezTo>
                    <a:pt x="5264" y="6120"/>
                    <a:pt x="5367" y="6146"/>
                    <a:pt x="5458" y="6169"/>
                  </a:cubicBezTo>
                  <a:cubicBezTo>
                    <a:pt x="5511" y="6179"/>
                    <a:pt x="5560" y="6193"/>
                    <a:pt x="5613" y="6200"/>
                  </a:cubicBezTo>
                  <a:cubicBezTo>
                    <a:pt x="5683" y="6183"/>
                    <a:pt x="5756" y="5749"/>
                    <a:pt x="5735" y="5465"/>
                  </a:cubicBezTo>
                  <a:cubicBezTo>
                    <a:pt x="5732" y="5329"/>
                    <a:pt x="5749" y="5189"/>
                    <a:pt x="5788" y="5056"/>
                  </a:cubicBezTo>
                  <a:cubicBezTo>
                    <a:pt x="5802" y="5003"/>
                    <a:pt x="5812" y="4951"/>
                    <a:pt x="5816" y="4895"/>
                  </a:cubicBezTo>
                  <a:cubicBezTo>
                    <a:pt x="5812" y="4835"/>
                    <a:pt x="5837" y="4776"/>
                    <a:pt x="5886" y="4737"/>
                  </a:cubicBezTo>
                  <a:cubicBezTo>
                    <a:pt x="5923" y="4707"/>
                    <a:pt x="5970" y="4692"/>
                    <a:pt x="6029" y="4692"/>
                  </a:cubicBezTo>
                  <a:cubicBezTo>
                    <a:pt x="6058" y="4692"/>
                    <a:pt x="6089" y="4695"/>
                    <a:pt x="6124" y="4702"/>
                  </a:cubicBezTo>
                  <a:lnTo>
                    <a:pt x="6127" y="4702"/>
                  </a:lnTo>
                  <a:cubicBezTo>
                    <a:pt x="6148" y="4667"/>
                    <a:pt x="6155" y="4629"/>
                    <a:pt x="6145" y="4590"/>
                  </a:cubicBezTo>
                  <a:cubicBezTo>
                    <a:pt x="6145" y="4552"/>
                    <a:pt x="6131" y="4517"/>
                    <a:pt x="6106" y="4489"/>
                  </a:cubicBezTo>
                  <a:cubicBezTo>
                    <a:pt x="6040" y="4471"/>
                    <a:pt x="5998" y="4394"/>
                    <a:pt x="5949" y="4310"/>
                  </a:cubicBezTo>
                  <a:cubicBezTo>
                    <a:pt x="5882" y="4191"/>
                    <a:pt x="5805" y="4054"/>
                    <a:pt x="5672" y="4054"/>
                  </a:cubicBezTo>
                  <a:cubicBezTo>
                    <a:pt x="5585" y="4054"/>
                    <a:pt x="5543" y="4082"/>
                    <a:pt x="5539" y="4107"/>
                  </a:cubicBezTo>
                  <a:cubicBezTo>
                    <a:pt x="5539" y="4131"/>
                    <a:pt x="5564" y="4163"/>
                    <a:pt x="5613" y="4167"/>
                  </a:cubicBezTo>
                  <a:cubicBezTo>
                    <a:pt x="5714" y="4174"/>
                    <a:pt x="5805" y="4230"/>
                    <a:pt x="5861" y="4314"/>
                  </a:cubicBezTo>
                  <a:cubicBezTo>
                    <a:pt x="5900" y="4377"/>
                    <a:pt x="5903" y="4450"/>
                    <a:pt x="5875" y="4517"/>
                  </a:cubicBezTo>
                  <a:cubicBezTo>
                    <a:pt x="5865" y="4548"/>
                    <a:pt x="5840" y="4576"/>
                    <a:pt x="5805" y="4587"/>
                  </a:cubicBezTo>
                  <a:cubicBezTo>
                    <a:pt x="5798" y="4588"/>
                    <a:pt x="5792" y="4589"/>
                    <a:pt x="5786" y="4589"/>
                  </a:cubicBezTo>
                  <a:cubicBezTo>
                    <a:pt x="5746" y="4589"/>
                    <a:pt x="5713" y="4562"/>
                    <a:pt x="5683" y="4538"/>
                  </a:cubicBezTo>
                  <a:cubicBezTo>
                    <a:pt x="5630" y="4485"/>
                    <a:pt x="5557" y="4457"/>
                    <a:pt x="5483" y="4457"/>
                  </a:cubicBezTo>
                  <a:cubicBezTo>
                    <a:pt x="5474" y="4458"/>
                    <a:pt x="5464" y="4458"/>
                    <a:pt x="5456" y="4458"/>
                  </a:cubicBezTo>
                  <a:cubicBezTo>
                    <a:pt x="5314" y="4458"/>
                    <a:pt x="5282" y="4355"/>
                    <a:pt x="5259" y="4282"/>
                  </a:cubicBezTo>
                  <a:cubicBezTo>
                    <a:pt x="5234" y="4209"/>
                    <a:pt x="5220" y="4170"/>
                    <a:pt x="5133" y="4167"/>
                  </a:cubicBezTo>
                  <a:cubicBezTo>
                    <a:pt x="4968" y="4156"/>
                    <a:pt x="4898" y="4005"/>
                    <a:pt x="4846" y="3886"/>
                  </a:cubicBezTo>
                  <a:cubicBezTo>
                    <a:pt x="4786" y="3760"/>
                    <a:pt x="4744" y="3680"/>
                    <a:pt x="4653" y="3680"/>
                  </a:cubicBezTo>
                  <a:cubicBezTo>
                    <a:pt x="4510" y="3680"/>
                    <a:pt x="4408" y="3624"/>
                    <a:pt x="4370" y="3529"/>
                  </a:cubicBezTo>
                  <a:cubicBezTo>
                    <a:pt x="4331" y="3421"/>
                    <a:pt x="4380" y="3284"/>
                    <a:pt x="4496" y="3179"/>
                  </a:cubicBezTo>
                  <a:cubicBezTo>
                    <a:pt x="4503" y="3169"/>
                    <a:pt x="4517" y="3158"/>
                    <a:pt x="4513" y="3148"/>
                  </a:cubicBezTo>
                  <a:cubicBezTo>
                    <a:pt x="4513" y="3116"/>
                    <a:pt x="4443" y="3053"/>
                    <a:pt x="4391" y="3008"/>
                  </a:cubicBezTo>
                  <a:cubicBezTo>
                    <a:pt x="4300" y="2931"/>
                    <a:pt x="4198" y="2840"/>
                    <a:pt x="4198" y="2724"/>
                  </a:cubicBezTo>
                  <a:cubicBezTo>
                    <a:pt x="4198" y="2682"/>
                    <a:pt x="4184" y="2675"/>
                    <a:pt x="4093" y="2654"/>
                  </a:cubicBezTo>
                  <a:cubicBezTo>
                    <a:pt x="4023" y="2640"/>
                    <a:pt x="3908" y="2612"/>
                    <a:pt x="3908" y="2483"/>
                  </a:cubicBezTo>
                  <a:cubicBezTo>
                    <a:pt x="3908" y="2441"/>
                    <a:pt x="3904" y="2437"/>
                    <a:pt x="3852" y="2413"/>
                  </a:cubicBezTo>
                  <a:cubicBezTo>
                    <a:pt x="3771" y="2378"/>
                    <a:pt x="3698" y="2322"/>
                    <a:pt x="3645" y="2248"/>
                  </a:cubicBezTo>
                  <a:cubicBezTo>
                    <a:pt x="3594" y="2177"/>
                    <a:pt x="3566" y="2174"/>
                    <a:pt x="3527" y="2174"/>
                  </a:cubicBezTo>
                  <a:cubicBezTo>
                    <a:pt x="3523" y="2174"/>
                    <a:pt x="3519" y="2175"/>
                    <a:pt x="3516" y="2175"/>
                  </a:cubicBezTo>
                  <a:cubicBezTo>
                    <a:pt x="3505" y="2176"/>
                    <a:pt x="3495" y="2177"/>
                    <a:pt x="3485" y="2177"/>
                  </a:cubicBezTo>
                  <a:cubicBezTo>
                    <a:pt x="3416" y="2177"/>
                    <a:pt x="3352" y="2146"/>
                    <a:pt x="3309" y="2091"/>
                  </a:cubicBezTo>
                  <a:cubicBezTo>
                    <a:pt x="3216" y="1986"/>
                    <a:pt x="3098" y="1920"/>
                    <a:pt x="3012" y="1920"/>
                  </a:cubicBezTo>
                  <a:cubicBezTo>
                    <a:pt x="2994" y="1920"/>
                    <a:pt x="2977" y="1923"/>
                    <a:pt x="2962" y="1929"/>
                  </a:cubicBezTo>
                  <a:cubicBezTo>
                    <a:pt x="2943" y="1937"/>
                    <a:pt x="2922" y="1941"/>
                    <a:pt x="2902" y="1941"/>
                  </a:cubicBezTo>
                  <a:cubicBezTo>
                    <a:pt x="2875" y="1941"/>
                    <a:pt x="2848" y="1934"/>
                    <a:pt x="2822" y="1922"/>
                  </a:cubicBezTo>
                  <a:cubicBezTo>
                    <a:pt x="2672" y="1856"/>
                    <a:pt x="2486" y="1635"/>
                    <a:pt x="2406" y="1422"/>
                  </a:cubicBezTo>
                  <a:cubicBezTo>
                    <a:pt x="2378" y="1348"/>
                    <a:pt x="2192" y="1215"/>
                    <a:pt x="2028" y="1100"/>
                  </a:cubicBezTo>
                  <a:cubicBezTo>
                    <a:pt x="1790" y="935"/>
                    <a:pt x="1545" y="764"/>
                    <a:pt x="1485" y="596"/>
                  </a:cubicBezTo>
                  <a:cubicBezTo>
                    <a:pt x="1407" y="375"/>
                    <a:pt x="1202" y="268"/>
                    <a:pt x="842" y="268"/>
                  </a:cubicBezTo>
                  <a:cubicBezTo>
                    <a:pt x="815" y="268"/>
                    <a:pt x="786" y="269"/>
                    <a:pt x="757" y="270"/>
                  </a:cubicBezTo>
                  <a:cubicBezTo>
                    <a:pt x="750" y="270"/>
                    <a:pt x="744" y="270"/>
                    <a:pt x="737" y="270"/>
                  </a:cubicBezTo>
                  <a:cubicBezTo>
                    <a:pt x="499" y="270"/>
                    <a:pt x="334" y="149"/>
                    <a:pt x="221" y="67"/>
                  </a:cubicBezTo>
                  <a:cubicBezTo>
                    <a:pt x="190" y="39"/>
                    <a:pt x="155" y="15"/>
                    <a:pt x="11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9" name="Google Shape;8166;p64">
              <a:extLst>
                <a:ext uri="{FF2B5EF4-FFF2-40B4-BE49-F238E27FC236}">
                  <a16:creationId xmlns:a16="http://schemas.microsoft.com/office/drawing/2014/main" id="{65D234CC-11FA-CBE3-1E64-07290181D9D9}"/>
                </a:ext>
              </a:extLst>
            </p:cNvPr>
            <p:cNvSpPr/>
            <p:nvPr/>
          </p:nvSpPr>
          <p:spPr>
            <a:xfrm>
              <a:off x="2846320" y="2013450"/>
              <a:ext cx="74445" cy="60949"/>
            </a:xfrm>
            <a:custGeom>
              <a:avLst/>
              <a:gdLst/>
              <a:ahLst/>
              <a:cxnLst/>
              <a:rect l="l" t="t" r="r" b="b"/>
              <a:pathLst>
                <a:path w="5483" h="4489" extrusionOk="0">
                  <a:moveTo>
                    <a:pt x="4422" y="1"/>
                  </a:moveTo>
                  <a:cubicBezTo>
                    <a:pt x="4235" y="1"/>
                    <a:pt x="4018" y="15"/>
                    <a:pt x="3921" y="118"/>
                  </a:cubicBezTo>
                  <a:cubicBezTo>
                    <a:pt x="3879" y="167"/>
                    <a:pt x="3858" y="226"/>
                    <a:pt x="3869" y="289"/>
                  </a:cubicBezTo>
                  <a:cubicBezTo>
                    <a:pt x="3890" y="580"/>
                    <a:pt x="3732" y="643"/>
                    <a:pt x="3627" y="688"/>
                  </a:cubicBezTo>
                  <a:cubicBezTo>
                    <a:pt x="3543" y="723"/>
                    <a:pt x="3540" y="730"/>
                    <a:pt x="3543" y="772"/>
                  </a:cubicBezTo>
                  <a:cubicBezTo>
                    <a:pt x="3564" y="905"/>
                    <a:pt x="3508" y="979"/>
                    <a:pt x="3456" y="1045"/>
                  </a:cubicBezTo>
                  <a:cubicBezTo>
                    <a:pt x="3396" y="1108"/>
                    <a:pt x="3368" y="1199"/>
                    <a:pt x="3382" y="1290"/>
                  </a:cubicBezTo>
                  <a:cubicBezTo>
                    <a:pt x="3389" y="1339"/>
                    <a:pt x="3386" y="1389"/>
                    <a:pt x="3375" y="1438"/>
                  </a:cubicBezTo>
                  <a:cubicBezTo>
                    <a:pt x="3344" y="1550"/>
                    <a:pt x="3242" y="1567"/>
                    <a:pt x="3141" y="1592"/>
                  </a:cubicBezTo>
                  <a:cubicBezTo>
                    <a:pt x="3071" y="1602"/>
                    <a:pt x="3004" y="1620"/>
                    <a:pt x="2938" y="1644"/>
                  </a:cubicBezTo>
                  <a:cubicBezTo>
                    <a:pt x="2913" y="1655"/>
                    <a:pt x="2889" y="1665"/>
                    <a:pt x="2861" y="1679"/>
                  </a:cubicBezTo>
                  <a:cubicBezTo>
                    <a:pt x="2773" y="1722"/>
                    <a:pt x="2711" y="1739"/>
                    <a:pt x="2662" y="1739"/>
                  </a:cubicBezTo>
                  <a:cubicBezTo>
                    <a:pt x="2596" y="1739"/>
                    <a:pt x="2555" y="1707"/>
                    <a:pt x="2511" y="1665"/>
                  </a:cubicBezTo>
                  <a:cubicBezTo>
                    <a:pt x="2466" y="1615"/>
                    <a:pt x="2403" y="1587"/>
                    <a:pt x="2334" y="1587"/>
                  </a:cubicBezTo>
                  <a:cubicBezTo>
                    <a:pt x="2327" y="1587"/>
                    <a:pt x="2319" y="1587"/>
                    <a:pt x="2311" y="1588"/>
                  </a:cubicBezTo>
                  <a:cubicBezTo>
                    <a:pt x="2302" y="1588"/>
                    <a:pt x="2293" y="1587"/>
                    <a:pt x="2285" y="1587"/>
                  </a:cubicBezTo>
                  <a:cubicBezTo>
                    <a:pt x="2171" y="1587"/>
                    <a:pt x="2059" y="1629"/>
                    <a:pt x="1971" y="1707"/>
                  </a:cubicBezTo>
                  <a:cubicBezTo>
                    <a:pt x="1915" y="1753"/>
                    <a:pt x="1852" y="1788"/>
                    <a:pt x="1782" y="1812"/>
                  </a:cubicBezTo>
                  <a:cubicBezTo>
                    <a:pt x="1715" y="1834"/>
                    <a:pt x="1630" y="1839"/>
                    <a:pt x="1541" y="1839"/>
                  </a:cubicBezTo>
                  <a:cubicBezTo>
                    <a:pt x="1499" y="1839"/>
                    <a:pt x="1457" y="1838"/>
                    <a:pt x="1415" y="1837"/>
                  </a:cubicBezTo>
                  <a:cubicBezTo>
                    <a:pt x="1372" y="1835"/>
                    <a:pt x="1327" y="1834"/>
                    <a:pt x="1284" y="1834"/>
                  </a:cubicBezTo>
                  <a:cubicBezTo>
                    <a:pt x="1200" y="1834"/>
                    <a:pt x="1124" y="1840"/>
                    <a:pt x="1089" y="1868"/>
                  </a:cubicBezTo>
                  <a:cubicBezTo>
                    <a:pt x="1082" y="1872"/>
                    <a:pt x="1075" y="1875"/>
                    <a:pt x="1068" y="1882"/>
                  </a:cubicBezTo>
                  <a:lnTo>
                    <a:pt x="1058" y="1886"/>
                  </a:lnTo>
                  <a:lnTo>
                    <a:pt x="1044" y="1889"/>
                  </a:lnTo>
                  <a:lnTo>
                    <a:pt x="1033" y="1893"/>
                  </a:lnTo>
                  <a:lnTo>
                    <a:pt x="1023" y="1896"/>
                  </a:lnTo>
                  <a:lnTo>
                    <a:pt x="995" y="1896"/>
                  </a:lnTo>
                  <a:cubicBezTo>
                    <a:pt x="984" y="1896"/>
                    <a:pt x="977" y="1896"/>
                    <a:pt x="970" y="1893"/>
                  </a:cubicBezTo>
                  <a:lnTo>
                    <a:pt x="960" y="1893"/>
                  </a:lnTo>
                  <a:cubicBezTo>
                    <a:pt x="953" y="1893"/>
                    <a:pt x="942" y="1889"/>
                    <a:pt x="932" y="1886"/>
                  </a:cubicBezTo>
                  <a:lnTo>
                    <a:pt x="928" y="1886"/>
                  </a:lnTo>
                  <a:cubicBezTo>
                    <a:pt x="921" y="1882"/>
                    <a:pt x="911" y="1879"/>
                    <a:pt x="904" y="1875"/>
                  </a:cubicBezTo>
                  <a:lnTo>
                    <a:pt x="897" y="1872"/>
                  </a:lnTo>
                  <a:cubicBezTo>
                    <a:pt x="886" y="1865"/>
                    <a:pt x="876" y="1861"/>
                    <a:pt x="869" y="1854"/>
                  </a:cubicBezTo>
                  <a:lnTo>
                    <a:pt x="862" y="1851"/>
                  </a:lnTo>
                  <a:lnTo>
                    <a:pt x="837" y="1833"/>
                  </a:lnTo>
                  <a:lnTo>
                    <a:pt x="830" y="1830"/>
                  </a:lnTo>
                  <a:lnTo>
                    <a:pt x="806" y="1809"/>
                  </a:lnTo>
                  <a:lnTo>
                    <a:pt x="802" y="1805"/>
                  </a:lnTo>
                  <a:lnTo>
                    <a:pt x="778" y="1784"/>
                  </a:lnTo>
                  <a:lnTo>
                    <a:pt x="771" y="1777"/>
                  </a:lnTo>
                  <a:lnTo>
                    <a:pt x="746" y="1756"/>
                  </a:lnTo>
                  <a:cubicBezTo>
                    <a:pt x="697" y="1718"/>
                    <a:pt x="627" y="1655"/>
                    <a:pt x="599" y="1655"/>
                  </a:cubicBezTo>
                  <a:cubicBezTo>
                    <a:pt x="596" y="1656"/>
                    <a:pt x="593" y="1657"/>
                    <a:pt x="590" y="1657"/>
                  </a:cubicBezTo>
                  <a:cubicBezTo>
                    <a:pt x="588" y="1657"/>
                    <a:pt x="585" y="1656"/>
                    <a:pt x="582" y="1655"/>
                  </a:cubicBezTo>
                  <a:lnTo>
                    <a:pt x="564" y="1655"/>
                  </a:lnTo>
                  <a:lnTo>
                    <a:pt x="557" y="1651"/>
                  </a:lnTo>
                  <a:lnTo>
                    <a:pt x="550" y="1648"/>
                  </a:lnTo>
                  <a:lnTo>
                    <a:pt x="543" y="1644"/>
                  </a:lnTo>
                  <a:lnTo>
                    <a:pt x="533" y="1637"/>
                  </a:lnTo>
                  <a:lnTo>
                    <a:pt x="526" y="1634"/>
                  </a:lnTo>
                  <a:lnTo>
                    <a:pt x="519" y="1627"/>
                  </a:lnTo>
                  <a:lnTo>
                    <a:pt x="512" y="1620"/>
                  </a:lnTo>
                  <a:lnTo>
                    <a:pt x="505" y="1609"/>
                  </a:lnTo>
                  <a:lnTo>
                    <a:pt x="498" y="1602"/>
                  </a:lnTo>
                  <a:lnTo>
                    <a:pt x="491" y="1592"/>
                  </a:lnTo>
                  <a:lnTo>
                    <a:pt x="484" y="1581"/>
                  </a:lnTo>
                  <a:lnTo>
                    <a:pt x="477" y="1571"/>
                  </a:lnTo>
                  <a:lnTo>
                    <a:pt x="470" y="1560"/>
                  </a:lnTo>
                  <a:lnTo>
                    <a:pt x="463" y="1546"/>
                  </a:lnTo>
                  <a:lnTo>
                    <a:pt x="456" y="1532"/>
                  </a:lnTo>
                  <a:lnTo>
                    <a:pt x="452" y="1518"/>
                  </a:lnTo>
                  <a:lnTo>
                    <a:pt x="445" y="1504"/>
                  </a:lnTo>
                  <a:lnTo>
                    <a:pt x="438" y="1487"/>
                  </a:lnTo>
                  <a:lnTo>
                    <a:pt x="431" y="1469"/>
                  </a:lnTo>
                  <a:lnTo>
                    <a:pt x="424" y="1452"/>
                  </a:lnTo>
                  <a:lnTo>
                    <a:pt x="417" y="1434"/>
                  </a:lnTo>
                  <a:lnTo>
                    <a:pt x="414" y="1417"/>
                  </a:lnTo>
                  <a:lnTo>
                    <a:pt x="407" y="1396"/>
                  </a:lnTo>
                  <a:lnTo>
                    <a:pt x="400" y="1375"/>
                  </a:lnTo>
                  <a:lnTo>
                    <a:pt x="393" y="1353"/>
                  </a:lnTo>
                  <a:lnTo>
                    <a:pt x="389" y="1329"/>
                  </a:lnTo>
                  <a:lnTo>
                    <a:pt x="382" y="1304"/>
                  </a:lnTo>
                  <a:lnTo>
                    <a:pt x="386" y="1294"/>
                  </a:lnTo>
                  <a:lnTo>
                    <a:pt x="386" y="1294"/>
                  </a:lnTo>
                  <a:cubicBezTo>
                    <a:pt x="298" y="1301"/>
                    <a:pt x="126" y="1483"/>
                    <a:pt x="56" y="1686"/>
                  </a:cubicBezTo>
                  <a:cubicBezTo>
                    <a:pt x="39" y="1742"/>
                    <a:pt x="0" y="1879"/>
                    <a:pt x="70" y="1942"/>
                  </a:cubicBezTo>
                  <a:cubicBezTo>
                    <a:pt x="235" y="2096"/>
                    <a:pt x="270" y="2302"/>
                    <a:pt x="302" y="2467"/>
                  </a:cubicBezTo>
                  <a:cubicBezTo>
                    <a:pt x="319" y="2565"/>
                    <a:pt x="333" y="2656"/>
                    <a:pt x="372" y="2712"/>
                  </a:cubicBezTo>
                  <a:cubicBezTo>
                    <a:pt x="417" y="2768"/>
                    <a:pt x="473" y="2813"/>
                    <a:pt x="540" y="2848"/>
                  </a:cubicBezTo>
                  <a:cubicBezTo>
                    <a:pt x="676" y="2936"/>
                    <a:pt x="851" y="3044"/>
                    <a:pt x="851" y="3296"/>
                  </a:cubicBezTo>
                  <a:cubicBezTo>
                    <a:pt x="851" y="3538"/>
                    <a:pt x="1023" y="3888"/>
                    <a:pt x="1177" y="3969"/>
                  </a:cubicBezTo>
                  <a:cubicBezTo>
                    <a:pt x="1189" y="3977"/>
                    <a:pt x="1204" y="3982"/>
                    <a:pt x="1219" y="3982"/>
                  </a:cubicBezTo>
                  <a:cubicBezTo>
                    <a:pt x="1234" y="3982"/>
                    <a:pt x="1250" y="3977"/>
                    <a:pt x="1264" y="3969"/>
                  </a:cubicBezTo>
                  <a:cubicBezTo>
                    <a:pt x="1315" y="3931"/>
                    <a:pt x="1378" y="3909"/>
                    <a:pt x="1440" y="3909"/>
                  </a:cubicBezTo>
                  <a:cubicBezTo>
                    <a:pt x="1465" y="3909"/>
                    <a:pt x="1489" y="3913"/>
                    <a:pt x="1513" y="3920"/>
                  </a:cubicBezTo>
                  <a:cubicBezTo>
                    <a:pt x="1677" y="3962"/>
                    <a:pt x="1772" y="4151"/>
                    <a:pt x="1796" y="4207"/>
                  </a:cubicBezTo>
                  <a:cubicBezTo>
                    <a:pt x="1803" y="4212"/>
                    <a:pt x="1816" y="4214"/>
                    <a:pt x="1833" y="4214"/>
                  </a:cubicBezTo>
                  <a:cubicBezTo>
                    <a:pt x="1905" y="4214"/>
                    <a:pt x="2052" y="4173"/>
                    <a:pt x="2129" y="4147"/>
                  </a:cubicBezTo>
                  <a:cubicBezTo>
                    <a:pt x="2227" y="4116"/>
                    <a:pt x="2329" y="4095"/>
                    <a:pt x="2434" y="4084"/>
                  </a:cubicBezTo>
                  <a:cubicBezTo>
                    <a:pt x="2448" y="4084"/>
                    <a:pt x="2462" y="4084"/>
                    <a:pt x="2476" y="4088"/>
                  </a:cubicBezTo>
                  <a:lnTo>
                    <a:pt x="2486" y="4088"/>
                  </a:lnTo>
                  <a:cubicBezTo>
                    <a:pt x="2812" y="4154"/>
                    <a:pt x="3190" y="4256"/>
                    <a:pt x="3225" y="4462"/>
                  </a:cubicBezTo>
                  <a:cubicBezTo>
                    <a:pt x="3225" y="4476"/>
                    <a:pt x="3228" y="4476"/>
                    <a:pt x="3232" y="4480"/>
                  </a:cubicBezTo>
                  <a:cubicBezTo>
                    <a:pt x="3243" y="4486"/>
                    <a:pt x="3260" y="4489"/>
                    <a:pt x="3280" y="4489"/>
                  </a:cubicBezTo>
                  <a:cubicBezTo>
                    <a:pt x="3393" y="4489"/>
                    <a:pt x="3624" y="4399"/>
                    <a:pt x="3785" y="4336"/>
                  </a:cubicBezTo>
                  <a:cubicBezTo>
                    <a:pt x="3834" y="4319"/>
                    <a:pt x="3883" y="4301"/>
                    <a:pt x="3928" y="4284"/>
                  </a:cubicBezTo>
                  <a:cubicBezTo>
                    <a:pt x="4047" y="4238"/>
                    <a:pt x="4079" y="3972"/>
                    <a:pt x="4103" y="3738"/>
                  </a:cubicBezTo>
                  <a:cubicBezTo>
                    <a:pt x="4135" y="3465"/>
                    <a:pt x="4166" y="3181"/>
                    <a:pt x="4338" y="3076"/>
                  </a:cubicBezTo>
                  <a:cubicBezTo>
                    <a:pt x="4625" y="2901"/>
                    <a:pt x="4653" y="2554"/>
                    <a:pt x="4629" y="2299"/>
                  </a:cubicBezTo>
                  <a:cubicBezTo>
                    <a:pt x="4601" y="2036"/>
                    <a:pt x="4937" y="1945"/>
                    <a:pt x="5206" y="1872"/>
                  </a:cubicBezTo>
                  <a:cubicBezTo>
                    <a:pt x="5311" y="1844"/>
                    <a:pt x="5441" y="1809"/>
                    <a:pt x="5469" y="1781"/>
                  </a:cubicBezTo>
                  <a:cubicBezTo>
                    <a:pt x="5479" y="1770"/>
                    <a:pt x="5483" y="1756"/>
                    <a:pt x="5479" y="1742"/>
                  </a:cubicBezTo>
                  <a:cubicBezTo>
                    <a:pt x="5462" y="1662"/>
                    <a:pt x="5301" y="1529"/>
                    <a:pt x="5119" y="1445"/>
                  </a:cubicBezTo>
                  <a:cubicBezTo>
                    <a:pt x="4965" y="1375"/>
                    <a:pt x="4968" y="1248"/>
                    <a:pt x="4968" y="1157"/>
                  </a:cubicBezTo>
                  <a:cubicBezTo>
                    <a:pt x="4968" y="1084"/>
                    <a:pt x="4968" y="1035"/>
                    <a:pt x="4923" y="1000"/>
                  </a:cubicBezTo>
                  <a:cubicBezTo>
                    <a:pt x="4832" y="916"/>
                    <a:pt x="4597" y="650"/>
                    <a:pt x="4650" y="492"/>
                  </a:cubicBezTo>
                  <a:cubicBezTo>
                    <a:pt x="4671" y="433"/>
                    <a:pt x="4723" y="398"/>
                    <a:pt x="4786" y="398"/>
                  </a:cubicBezTo>
                  <a:lnTo>
                    <a:pt x="4793" y="398"/>
                  </a:lnTo>
                  <a:cubicBezTo>
                    <a:pt x="4783" y="373"/>
                    <a:pt x="4772" y="345"/>
                    <a:pt x="4758" y="321"/>
                  </a:cubicBezTo>
                  <a:cubicBezTo>
                    <a:pt x="4723" y="244"/>
                    <a:pt x="4660" y="107"/>
                    <a:pt x="4758" y="27"/>
                  </a:cubicBezTo>
                  <a:lnTo>
                    <a:pt x="4755" y="27"/>
                  </a:lnTo>
                  <a:lnTo>
                    <a:pt x="4720" y="13"/>
                  </a:lnTo>
                  <a:lnTo>
                    <a:pt x="4713" y="13"/>
                  </a:lnTo>
                  <a:lnTo>
                    <a:pt x="4688" y="6"/>
                  </a:lnTo>
                  <a:lnTo>
                    <a:pt x="4681" y="6"/>
                  </a:lnTo>
                  <a:lnTo>
                    <a:pt x="4664" y="2"/>
                  </a:lnTo>
                  <a:lnTo>
                    <a:pt x="4545" y="2"/>
                  </a:lnTo>
                  <a:cubicBezTo>
                    <a:pt x="4506" y="2"/>
                    <a:pt x="4465" y="1"/>
                    <a:pt x="442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0" name="Google Shape;8167;p64">
              <a:extLst>
                <a:ext uri="{FF2B5EF4-FFF2-40B4-BE49-F238E27FC236}">
                  <a16:creationId xmlns:a16="http://schemas.microsoft.com/office/drawing/2014/main" id="{180D8AF1-5290-B7EF-E311-280D60BB299E}"/>
                </a:ext>
              </a:extLst>
            </p:cNvPr>
            <p:cNvSpPr/>
            <p:nvPr/>
          </p:nvSpPr>
          <p:spPr>
            <a:xfrm>
              <a:off x="2823415" y="2090109"/>
              <a:ext cx="73061" cy="19457"/>
            </a:xfrm>
            <a:custGeom>
              <a:avLst/>
              <a:gdLst/>
              <a:ahLst/>
              <a:cxnLst/>
              <a:rect l="l" t="t" r="r" b="b"/>
              <a:pathLst>
                <a:path w="5381" h="1433" extrusionOk="0">
                  <a:moveTo>
                    <a:pt x="626" y="1"/>
                  </a:moveTo>
                  <a:cubicBezTo>
                    <a:pt x="563" y="1"/>
                    <a:pt x="503" y="6"/>
                    <a:pt x="448" y="17"/>
                  </a:cubicBezTo>
                  <a:cubicBezTo>
                    <a:pt x="357" y="38"/>
                    <a:pt x="294" y="73"/>
                    <a:pt x="266" y="126"/>
                  </a:cubicBezTo>
                  <a:cubicBezTo>
                    <a:pt x="165" y="301"/>
                    <a:pt x="56" y="318"/>
                    <a:pt x="0" y="325"/>
                  </a:cubicBezTo>
                  <a:cubicBezTo>
                    <a:pt x="4" y="350"/>
                    <a:pt x="7" y="378"/>
                    <a:pt x="14" y="402"/>
                  </a:cubicBezTo>
                  <a:cubicBezTo>
                    <a:pt x="25" y="445"/>
                    <a:pt x="44" y="463"/>
                    <a:pt x="96" y="463"/>
                  </a:cubicBezTo>
                  <a:cubicBezTo>
                    <a:pt x="125" y="463"/>
                    <a:pt x="164" y="458"/>
                    <a:pt x="217" y="448"/>
                  </a:cubicBezTo>
                  <a:cubicBezTo>
                    <a:pt x="263" y="441"/>
                    <a:pt x="308" y="434"/>
                    <a:pt x="354" y="434"/>
                  </a:cubicBezTo>
                  <a:cubicBezTo>
                    <a:pt x="469" y="434"/>
                    <a:pt x="504" y="528"/>
                    <a:pt x="529" y="598"/>
                  </a:cubicBezTo>
                  <a:cubicBezTo>
                    <a:pt x="560" y="679"/>
                    <a:pt x="581" y="731"/>
                    <a:pt x="655" y="738"/>
                  </a:cubicBezTo>
                  <a:cubicBezTo>
                    <a:pt x="704" y="749"/>
                    <a:pt x="770" y="763"/>
                    <a:pt x="854" y="780"/>
                  </a:cubicBezTo>
                  <a:cubicBezTo>
                    <a:pt x="990" y="810"/>
                    <a:pt x="1302" y="876"/>
                    <a:pt x="1463" y="876"/>
                  </a:cubicBezTo>
                  <a:cubicBezTo>
                    <a:pt x="1510" y="876"/>
                    <a:pt x="1544" y="871"/>
                    <a:pt x="1558" y="857"/>
                  </a:cubicBezTo>
                  <a:cubicBezTo>
                    <a:pt x="1579" y="812"/>
                    <a:pt x="1624" y="780"/>
                    <a:pt x="1673" y="773"/>
                  </a:cubicBezTo>
                  <a:cubicBezTo>
                    <a:pt x="1702" y="767"/>
                    <a:pt x="1737" y="763"/>
                    <a:pt x="1775" y="763"/>
                  </a:cubicBezTo>
                  <a:cubicBezTo>
                    <a:pt x="2021" y="763"/>
                    <a:pt x="2444" y="893"/>
                    <a:pt x="2692" y="1095"/>
                  </a:cubicBezTo>
                  <a:cubicBezTo>
                    <a:pt x="2903" y="1265"/>
                    <a:pt x="3347" y="1327"/>
                    <a:pt x="3687" y="1327"/>
                  </a:cubicBezTo>
                  <a:cubicBezTo>
                    <a:pt x="3810" y="1327"/>
                    <a:pt x="3918" y="1319"/>
                    <a:pt x="3998" y="1305"/>
                  </a:cubicBezTo>
                  <a:cubicBezTo>
                    <a:pt x="4026" y="1301"/>
                    <a:pt x="4055" y="1299"/>
                    <a:pt x="4084" y="1299"/>
                  </a:cubicBezTo>
                  <a:cubicBezTo>
                    <a:pt x="4199" y="1299"/>
                    <a:pt x="4314" y="1329"/>
                    <a:pt x="4415" y="1354"/>
                  </a:cubicBezTo>
                  <a:cubicBezTo>
                    <a:pt x="4500" y="1379"/>
                    <a:pt x="4566" y="1397"/>
                    <a:pt x="4613" y="1397"/>
                  </a:cubicBezTo>
                  <a:cubicBezTo>
                    <a:pt x="4645" y="1397"/>
                    <a:pt x="4668" y="1388"/>
                    <a:pt x="4681" y="1368"/>
                  </a:cubicBezTo>
                  <a:cubicBezTo>
                    <a:pt x="4705" y="1326"/>
                    <a:pt x="4751" y="1302"/>
                    <a:pt x="4800" y="1302"/>
                  </a:cubicBezTo>
                  <a:cubicBezTo>
                    <a:pt x="4856" y="1305"/>
                    <a:pt x="4915" y="1326"/>
                    <a:pt x="4964" y="1361"/>
                  </a:cubicBezTo>
                  <a:cubicBezTo>
                    <a:pt x="5030" y="1397"/>
                    <a:pt x="5097" y="1433"/>
                    <a:pt x="5172" y="1433"/>
                  </a:cubicBezTo>
                  <a:cubicBezTo>
                    <a:pt x="5223" y="1433"/>
                    <a:pt x="5279" y="1416"/>
                    <a:pt x="5342" y="1368"/>
                  </a:cubicBezTo>
                  <a:cubicBezTo>
                    <a:pt x="5356" y="1358"/>
                    <a:pt x="5370" y="1347"/>
                    <a:pt x="5381" y="1337"/>
                  </a:cubicBezTo>
                  <a:cubicBezTo>
                    <a:pt x="5311" y="1312"/>
                    <a:pt x="5237" y="1298"/>
                    <a:pt x="5167" y="1288"/>
                  </a:cubicBezTo>
                  <a:cubicBezTo>
                    <a:pt x="4975" y="1256"/>
                    <a:pt x="4779" y="1225"/>
                    <a:pt x="4768" y="1085"/>
                  </a:cubicBezTo>
                  <a:cubicBezTo>
                    <a:pt x="4766" y="1053"/>
                    <a:pt x="4631" y="1049"/>
                    <a:pt x="4517" y="1049"/>
                  </a:cubicBezTo>
                  <a:cubicBezTo>
                    <a:pt x="4478" y="1049"/>
                    <a:pt x="4443" y="1050"/>
                    <a:pt x="4415" y="1050"/>
                  </a:cubicBezTo>
                  <a:cubicBezTo>
                    <a:pt x="4360" y="1052"/>
                    <a:pt x="4304" y="1053"/>
                    <a:pt x="4248" y="1053"/>
                  </a:cubicBezTo>
                  <a:cubicBezTo>
                    <a:pt x="4105" y="1053"/>
                    <a:pt x="3962" y="1042"/>
                    <a:pt x="3854" y="997"/>
                  </a:cubicBezTo>
                  <a:cubicBezTo>
                    <a:pt x="3823" y="983"/>
                    <a:pt x="3728" y="945"/>
                    <a:pt x="3732" y="861"/>
                  </a:cubicBezTo>
                  <a:cubicBezTo>
                    <a:pt x="3735" y="759"/>
                    <a:pt x="3868" y="707"/>
                    <a:pt x="4110" y="623"/>
                  </a:cubicBezTo>
                  <a:cubicBezTo>
                    <a:pt x="4205" y="595"/>
                    <a:pt x="4296" y="556"/>
                    <a:pt x="4383" y="511"/>
                  </a:cubicBezTo>
                  <a:cubicBezTo>
                    <a:pt x="4371" y="510"/>
                    <a:pt x="4356" y="509"/>
                    <a:pt x="4340" y="509"/>
                  </a:cubicBezTo>
                  <a:cubicBezTo>
                    <a:pt x="4239" y="509"/>
                    <a:pt x="4058" y="530"/>
                    <a:pt x="3802" y="609"/>
                  </a:cubicBezTo>
                  <a:cubicBezTo>
                    <a:pt x="3721" y="634"/>
                    <a:pt x="3639" y="645"/>
                    <a:pt x="3558" y="645"/>
                  </a:cubicBezTo>
                  <a:cubicBezTo>
                    <a:pt x="3329" y="645"/>
                    <a:pt x="3110" y="560"/>
                    <a:pt x="2934" y="493"/>
                  </a:cubicBezTo>
                  <a:cubicBezTo>
                    <a:pt x="2864" y="462"/>
                    <a:pt x="2794" y="441"/>
                    <a:pt x="2717" y="423"/>
                  </a:cubicBezTo>
                  <a:cubicBezTo>
                    <a:pt x="2713" y="476"/>
                    <a:pt x="2682" y="518"/>
                    <a:pt x="2636" y="535"/>
                  </a:cubicBezTo>
                  <a:cubicBezTo>
                    <a:pt x="2601" y="552"/>
                    <a:pt x="2554" y="559"/>
                    <a:pt x="2498" y="559"/>
                  </a:cubicBezTo>
                  <a:cubicBezTo>
                    <a:pt x="2190" y="559"/>
                    <a:pt x="1621" y="335"/>
                    <a:pt x="1449" y="213"/>
                  </a:cubicBezTo>
                  <a:cubicBezTo>
                    <a:pt x="1324" y="123"/>
                    <a:pt x="939" y="1"/>
                    <a:pt x="62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1" name="Google Shape;8168;p64">
              <a:extLst>
                <a:ext uri="{FF2B5EF4-FFF2-40B4-BE49-F238E27FC236}">
                  <a16:creationId xmlns:a16="http://schemas.microsoft.com/office/drawing/2014/main" id="{6AB73EBF-E201-0D8D-FEE4-1A03430C463C}"/>
                </a:ext>
              </a:extLst>
            </p:cNvPr>
            <p:cNvSpPr/>
            <p:nvPr/>
          </p:nvSpPr>
          <p:spPr>
            <a:xfrm>
              <a:off x="2838907" y="2066647"/>
              <a:ext cx="2675" cy="2281"/>
            </a:xfrm>
            <a:custGeom>
              <a:avLst/>
              <a:gdLst/>
              <a:ahLst/>
              <a:cxnLst/>
              <a:rect l="l" t="t" r="r" b="b"/>
              <a:pathLst>
                <a:path w="197" h="168" extrusionOk="0">
                  <a:moveTo>
                    <a:pt x="157" y="0"/>
                  </a:moveTo>
                  <a:cubicBezTo>
                    <a:pt x="153" y="0"/>
                    <a:pt x="148" y="1"/>
                    <a:pt x="144" y="2"/>
                  </a:cubicBezTo>
                  <a:cubicBezTo>
                    <a:pt x="105" y="2"/>
                    <a:pt x="70" y="12"/>
                    <a:pt x="35" y="33"/>
                  </a:cubicBezTo>
                  <a:cubicBezTo>
                    <a:pt x="11" y="51"/>
                    <a:pt x="0" y="68"/>
                    <a:pt x="25" y="107"/>
                  </a:cubicBezTo>
                  <a:cubicBezTo>
                    <a:pt x="44" y="132"/>
                    <a:pt x="71" y="168"/>
                    <a:pt x="99" y="168"/>
                  </a:cubicBezTo>
                  <a:cubicBezTo>
                    <a:pt x="102" y="168"/>
                    <a:pt x="105" y="167"/>
                    <a:pt x="109" y="166"/>
                  </a:cubicBezTo>
                  <a:cubicBezTo>
                    <a:pt x="151" y="156"/>
                    <a:pt x="196" y="75"/>
                    <a:pt x="196" y="12"/>
                  </a:cubicBezTo>
                  <a:cubicBezTo>
                    <a:pt x="183" y="4"/>
                    <a:pt x="170" y="0"/>
                    <a:pt x="15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2" name="Google Shape;8169;p64">
              <a:extLst>
                <a:ext uri="{FF2B5EF4-FFF2-40B4-BE49-F238E27FC236}">
                  <a16:creationId xmlns:a16="http://schemas.microsoft.com/office/drawing/2014/main" id="{FB18C4A9-E3C1-1502-02C1-924B24CD14D1}"/>
                </a:ext>
              </a:extLst>
            </p:cNvPr>
            <p:cNvSpPr/>
            <p:nvPr/>
          </p:nvSpPr>
          <p:spPr>
            <a:xfrm>
              <a:off x="2928980" y="2107991"/>
              <a:ext cx="29246" cy="3842"/>
            </a:xfrm>
            <a:custGeom>
              <a:avLst/>
              <a:gdLst/>
              <a:ahLst/>
              <a:cxnLst/>
              <a:rect l="l" t="t" r="r" b="b"/>
              <a:pathLst>
                <a:path w="2154" h="283" extrusionOk="0">
                  <a:moveTo>
                    <a:pt x="1999" y="1"/>
                  </a:moveTo>
                  <a:cubicBezTo>
                    <a:pt x="1864" y="1"/>
                    <a:pt x="1740" y="37"/>
                    <a:pt x="1611" y="76"/>
                  </a:cubicBezTo>
                  <a:cubicBezTo>
                    <a:pt x="1482" y="113"/>
                    <a:pt x="1352" y="151"/>
                    <a:pt x="1209" y="151"/>
                  </a:cubicBezTo>
                  <a:cubicBezTo>
                    <a:pt x="1122" y="151"/>
                    <a:pt x="1031" y="137"/>
                    <a:pt x="932" y="100"/>
                  </a:cubicBezTo>
                  <a:cubicBezTo>
                    <a:pt x="808" y="56"/>
                    <a:pt x="672" y="39"/>
                    <a:pt x="543" y="39"/>
                  </a:cubicBezTo>
                  <a:cubicBezTo>
                    <a:pt x="276" y="39"/>
                    <a:pt x="38" y="111"/>
                    <a:pt x="0" y="163"/>
                  </a:cubicBezTo>
                  <a:cubicBezTo>
                    <a:pt x="67" y="254"/>
                    <a:pt x="505" y="268"/>
                    <a:pt x="827" y="282"/>
                  </a:cubicBezTo>
                  <a:cubicBezTo>
                    <a:pt x="837" y="283"/>
                    <a:pt x="848" y="283"/>
                    <a:pt x="858" y="283"/>
                  </a:cubicBezTo>
                  <a:cubicBezTo>
                    <a:pt x="1092" y="283"/>
                    <a:pt x="1315" y="210"/>
                    <a:pt x="1513" y="146"/>
                  </a:cubicBezTo>
                  <a:cubicBezTo>
                    <a:pt x="1663" y="93"/>
                    <a:pt x="1807" y="48"/>
                    <a:pt x="1936" y="41"/>
                  </a:cubicBezTo>
                  <a:cubicBezTo>
                    <a:pt x="2010" y="34"/>
                    <a:pt x="2083" y="27"/>
                    <a:pt x="2153" y="16"/>
                  </a:cubicBezTo>
                  <a:lnTo>
                    <a:pt x="2111" y="9"/>
                  </a:lnTo>
                  <a:cubicBezTo>
                    <a:pt x="2073" y="3"/>
                    <a:pt x="2036" y="1"/>
                    <a:pt x="1999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3" name="Google Shape;8170;p64">
              <a:extLst>
                <a:ext uri="{FF2B5EF4-FFF2-40B4-BE49-F238E27FC236}">
                  <a16:creationId xmlns:a16="http://schemas.microsoft.com/office/drawing/2014/main" id="{CECAEEE2-850B-D685-F539-7695CE1C1E9C}"/>
                </a:ext>
              </a:extLst>
            </p:cNvPr>
            <p:cNvSpPr/>
            <p:nvPr/>
          </p:nvSpPr>
          <p:spPr>
            <a:xfrm>
              <a:off x="2771508" y="2053260"/>
              <a:ext cx="2240" cy="3666"/>
            </a:xfrm>
            <a:custGeom>
              <a:avLst/>
              <a:gdLst/>
              <a:ahLst/>
              <a:cxnLst/>
              <a:rect l="l" t="t" r="r" b="b"/>
              <a:pathLst>
                <a:path w="165" h="270" extrusionOk="0">
                  <a:moveTo>
                    <a:pt x="21" y="0"/>
                  </a:moveTo>
                  <a:cubicBezTo>
                    <a:pt x="11" y="11"/>
                    <a:pt x="4" y="21"/>
                    <a:pt x="0" y="35"/>
                  </a:cubicBezTo>
                  <a:cubicBezTo>
                    <a:pt x="14" y="112"/>
                    <a:pt x="49" y="182"/>
                    <a:pt x="105" y="242"/>
                  </a:cubicBezTo>
                  <a:cubicBezTo>
                    <a:pt x="119" y="256"/>
                    <a:pt x="133" y="266"/>
                    <a:pt x="151" y="270"/>
                  </a:cubicBezTo>
                  <a:cubicBezTo>
                    <a:pt x="165" y="259"/>
                    <a:pt x="165" y="203"/>
                    <a:pt x="126" y="123"/>
                  </a:cubicBezTo>
                  <a:cubicBezTo>
                    <a:pt x="88" y="42"/>
                    <a:pt x="35" y="0"/>
                    <a:pt x="2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4" name="Google Shape;8171;p64">
              <a:extLst>
                <a:ext uri="{FF2B5EF4-FFF2-40B4-BE49-F238E27FC236}">
                  <a16:creationId xmlns:a16="http://schemas.microsoft.com/office/drawing/2014/main" id="{8D5A9BC3-D66D-2345-FAE1-EF33F1442EAE}"/>
                </a:ext>
              </a:extLst>
            </p:cNvPr>
            <p:cNvSpPr/>
            <p:nvPr/>
          </p:nvSpPr>
          <p:spPr>
            <a:xfrm>
              <a:off x="2920182" y="2034251"/>
              <a:ext cx="46788" cy="53482"/>
            </a:xfrm>
            <a:custGeom>
              <a:avLst/>
              <a:gdLst/>
              <a:ahLst/>
              <a:cxnLst/>
              <a:rect l="l" t="t" r="r" b="b"/>
              <a:pathLst>
                <a:path w="3446" h="3939" extrusionOk="0">
                  <a:moveTo>
                    <a:pt x="3446" y="0"/>
                  </a:moveTo>
                  <a:cubicBezTo>
                    <a:pt x="3316" y="70"/>
                    <a:pt x="3190" y="147"/>
                    <a:pt x="3071" y="231"/>
                  </a:cubicBezTo>
                  <a:lnTo>
                    <a:pt x="2962" y="301"/>
                  </a:lnTo>
                  <a:cubicBezTo>
                    <a:pt x="2872" y="360"/>
                    <a:pt x="2742" y="383"/>
                    <a:pt x="2596" y="383"/>
                  </a:cubicBezTo>
                  <a:cubicBezTo>
                    <a:pt x="2190" y="383"/>
                    <a:pt x="1662" y="207"/>
                    <a:pt x="1531" y="161"/>
                  </a:cubicBezTo>
                  <a:cubicBezTo>
                    <a:pt x="1481" y="145"/>
                    <a:pt x="1441" y="137"/>
                    <a:pt x="1407" y="137"/>
                  </a:cubicBezTo>
                  <a:cubicBezTo>
                    <a:pt x="1318" y="137"/>
                    <a:pt x="1271" y="187"/>
                    <a:pt x="1205" y="256"/>
                  </a:cubicBezTo>
                  <a:cubicBezTo>
                    <a:pt x="1135" y="329"/>
                    <a:pt x="1051" y="417"/>
                    <a:pt x="897" y="441"/>
                  </a:cubicBezTo>
                  <a:cubicBezTo>
                    <a:pt x="760" y="462"/>
                    <a:pt x="711" y="704"/>
                    <a:pt x="676" y="893"/>
                  </a:cubicBezTo>
                  <a:cubicBezTo>
                    <a:pt x="641" y="1061"/>
                    <a:pt x="617" y="1194"/>
                    <a:pt x="533" y="1243"/>
                  </a:cubicBezTo>
                  <a:cubicBezTo>
                    <a:pt x="487" y="1267"/>
                    <a:pt x="449" y="1407"/>
                    <a:pt x="410" y="1544"/>
                  </a:cubicBezTo>
                  <a:cubicBezTo>
                    <a:pt x="358" y="1743"/>
                    <a:pt x="281" y="2013"/>
                    <a:pt x="123" y="2272"/>
                  </a:cubicBezTo>
                  <a:cubicBezTo>
                    <a:pt x="60" y="2367"/>
                    <a:pt x="1" y="2503"/>
                    <a:pt x="43" y="2587"/>
                  </a:cubicBezTo>
                  <a:cubicBezTo>
                    <a:pt x="102" y="2699"/>
                    <a:pt x="333" y="2717"/>
                    <a:pt x="410" y="2720"/>
                  </a:cubicBezTo>
                  <a:cubicBezTo>
                    <a:pt x="484" y="2720"/>
                    <a:pt x="550" y="2759"/>
                    <a:pt x="596" y="2818"/>
                  </a:cubicBezTo>
                  <a:cubicBezTo>
                    <a:pt x="704" y="2965"/>
                    <a:pt x="666" y="3235"/>
                    <a:pt x="631" y="3382"/>
                  </a:cubicBezTo>
                  <a:cubicBezTo>
                    <a:pt x="536" y="3791"/>
                    <a:pt x="571" y="3924"/>
                    <a:pt x="589" y="3938"/>
                  </a:cubicBezTo>
                  <a:cubicBezTo>
                    <a:pt x="596" y="3938"/>
                    <a:pt x="603" y="3938"/>
                    <a:pt x="610" y="3935"/>
                  </a:cubicBezTo>
                  <a:cubicBezTo>
                    <a:pt x="767" y="3875"/>
                    <a:pt x="876" y="3725"/>
                    <a:pt x="893" y="3613"/>
                  </a:cubicBezTo>
                  <a:cubicBezTo>
                    <a:pt x="904" y="3578"/>
                    <a:pt x="893" y="3539"/>
                    <a:pt x="869" y="3515"/>
                  </a:cubicBezTo>
                  <a:cubicBezTo>
                    <a:pt x="680" y="3368"/>
                    <a:pt x="718" y="2608"/>
                    <a:pt x="781" y="2437"/>
                  </a:cubicBezTo>
                  <a:cubicBezTo>
                    <a:pt x="806" y="2370"/>
                    <a:pt x="872" y="2321"/>
                    <a:pt x="946" y="2314"/>
                  </a:cubicBezTo>
                  <a:cubicBezTo>
                    <a:pt x="957" y="2313"/>
                    <a:pt x="967" y="2313"/>
                    <a:pt x="978" y="2313"/>
                  </a:cubicBezTo>
                  <a:cubicBezTo>
                    <a:pt x="1085" y="2313"/>
                    <a:pt x="1187" y="2361"/>
                    <a:pt x="1251" y="2447"/>
                  </a:cubicBezTo>
                  <a:cubicBezTo>
                    <a:pt x="1307" y="2528"/>
                    <a:pt x="1307" y="2636"/>
                    <a:pt x="1254" y="2720"/>
                  </a:cubicBezTo>
                  <a:cubicBezTo>
                    <a:pt x="1209" y="2811"/>
                    <a:pt x="1233" y="2836"/>
                    <a:pt x="1335" y="2909"/>
                  </a:cubicBezTo>
                  <a:cubicBezTo>
                    <a:pt x="1422" y="2972"/>
                    <a:pt x="1538" y="3060"/>
                    <a:pt x="1538" y="3238"/>
                  </a:cubicBezTo>
                  <a:cubicBezTo>
                    <a:pt x="1538" y="3319"/>
                    <a:pt x="1555" y="3340"/>
                    <a:pt x="1566" y="3347"/>
                  </a:cubicBezTo>
                  <a:cubicBezTo>
                    <a:pt x="1573" y="3352"/>
                    <a:pt x="1583" y="3354"/>
                    <a:pt x="1595" y="3354"/>
                  </a:cubicBezTo>
                  <a:cubicBezTo>
                    <a:pt x="1645" y="3354"/>
                    <a:pt x="1734" y="3319"/>
                    <a:pt x="1807" y="3291"/>
                  </a:cubicBezTo>
                  <a:cubicBezTo>
                    <a:pt x="1856" y="3273"/>
                    <a:pt x="1905" y="3256"/>
                    <a:pt x="1954" y="3242"/>
                  </a:cubicBezTo>
                  <a:cubicBezTo>
                    <a:pt x="2031" y="3217"/>
                    <a:pt x="2077" y="3186"/>
                    <a:pt x="2084" y="3154"/>
                  </a:cubicBezTo>
                  <a:cubicBezTo>
                    <a:pt x="2094" y="3119"/>
                    <a:pt x="2077" y="3060"/>
                    <a:pt x="1958" y="2927"/>
                  </a:cubicBezTo>
                  <a:cubicBezTo>
                    <a:pt x="1849" y="2811"/>
                    <a:pt x="1881" y="2671"/>
                    <a:pt x="1905" y="2559"/>
                  </a:cubicBezTo>
                  <a:cubicBezTo>
                    <a:pt x="1933" y="2433"/>
                    <a:pt x="1944" y="2363"/>
                    <a:pt x="1856" y="2307"/>
                  </a:cubicBezTo>
                  <a:cubicBezTo>
                    <a:pt x="1695" y="2199"/>
                    <a:pt x="1513" y="2020"/>
                    <a:pt x="1545" y="1873"/>
                  </a:cubicBezTo>
                  <a:cubicBezTo>
                    <a:pt x="1552" y="1831"/>
                    <a:pt x="1583" y="1761"/>
                    <a:pt x="1699" y="1736"/>
                  </a:cubicBezTo>
                  <a:cubicBezTo>
                    <a:pt x="1947" y="1680"/>
                    <a:pt x="2493" y="1327"/>
                    <a:pt x="2479" y="1229"/>
                  </a:cubicBezTo>
                  <a:cubicBezTo>
                    <a:pt x="2469" y="1219"/>
                    <a:pt x="2424" y="1208"/>
                    <a:pt x="2348" y="1208"/>
                  </a:cubicBezTo>
                  <a:cubicBezTo>
                    <a:pt x="2269" y="1208"/>
                    <a:pt x="2157" y="1219"/>
                    <a:pt x="2014" y="1253"/>
                  </a:cubicBezTo>
                  <a:cubicBezTo>
                    <a:pt x="1737" y="1320"/>
                    <a:pt x="1513" y="1439"/>
                    <a:pt x="1485" y="1540"/>
                  </a:cubicBezTo>
                  <a:cubicBezTo>
                    <a:pt x="1457" y="1643"/>
                    <a:pt x="1372" y="1700"/>
                    <a:pt x="1258" y="1700"/>
                  </a:cubicBezTo>
                  <a:cubicBezTo>
                    <a:pt x="1232" y="1700"/>
                    <a:pt x="1205" y="1697"/>
                    <a:pt x="1177" y="1691"/>
                  </a:cubicBezTo>
                  <a:cubicBezTo>
                    <a:pt x="935" y="1638"/>
                    <a:pt x="617" y="1355"/>
                    <a:pt x="680" y="980"/>
                  </a:cubicBezTo>
                  <a:cubicBezTo>
                    <a:pt x="701" y="844"/>
                    <a:pt x="799" y="728"/>
                    <a:pt x="970" y="634"/>
                  </a:cubicBezTo>
                  <a:cubicBezTo>
                    <a:pt x="1225" y="499"/>
                    <a:pt x="1630" y="434"/>
                    <a:pt x="1984" y="434"/>
                  </a:cubicBezTo>
                  <a:cubicBezTo>
                    <a:pt x="2229" y="434"/>
                    <a:pt x="2449" y="465"/>
                    <a:pt x="2581" y="525"/>
                  </a:cubicBezTo>
                  <a:cubicBezTo>
                    <a:pt x="2631" y="548"/>
                    <a:pt x="2683" y="558"/>
                    <a:pt x="2734" y="558"/>
                  </a:cubicBezTo>
                  <a:cubicBezTo>
                    <a:pt x="3034" y="558"/>
                    <a:pt x="3332" y="206"/>
                    <a:pt x="344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5" name="Google Shape;8172;p64">
              <a:extLst>
                <a:ext uri="{FF2B5EF4-FFF2-40B4-BE49-F238E27FC236}">
                  <a16:creationId xmlns:a16="http://schemas.microsoft.com/office/drawing/2014/main" id="{2F524528-C5AA-A663-AEE6-3872EA82D1F7}"/>
                </a:ext>
              </a:extLst>
            </p:cNvPr>
            <p:cNvSpPr/>
            <p:nvPr/>
          </p:nvSpPr>
          <p:spPr>
            <a:xfrm>
              <a:off x="2975850" y="2069105"/>
              <a:ext cx="7658" cy="4046"/>
            </a:xfrm>
            <a:custGeom>
              <a:avLst/>
              <a:gdLst/>
              <a:ahLst/>
              <a:cxnLst/>
              <a:rect l="l" t="t" r="r" b="b"/>
              <a:pathLst>
                <a:path w="564" h="298" extrusionOk="0">
                  <a:moveTo>
                    <a:pt x="103" y="1"/>
                  </a:moveTo>
                  <a:cubicBezTo>
                    <a:pt x="67" y="1"/>
                    <a:pt x="37" y="6"/>
                    <a:pt x="18" y="17"/>
                  </a:cubicBezTo>
                  <a:cubicBezTo>
                    <a:pt x="7" y="24"/>
                    <a:pt x="0" y="27"/>
                    <a:pt x="7" y="59"/>
                  </a:cubicBezTo>
                  <a:cubicBezTo>
                    <a:pt x="39" y="181"/>
                    <a:pt x="196" y="276"/>
                    <a:pt x="329" y="293"/>
                  </a:cubicBezTo>
                  <a:cubicBezTo>
                    <a:pt x="344" y="295"/>
                    <a:pt x="363" y="297"/>
                    <a:pt x="384" y="297"/>
                  </a:cubicBezTo>
                  <a:cubicBezTo>
                    <a:pt x="441" y="297"/>
                    <a:pt x="514" y="283"/>
                    <a:pt x="550" y="220"/>
                  </a:cubicBezTo>
                  <a:cubicBezTo>
                    <a:pt x="553" y="213"/>
                    <a:pt x="564" y="195"/>
                    <a:pt x="525" y="153"/>
                  </a:cubicBezTo>
                  <a:cubicBezTo>
                    <a:pt x="433" y="63"/>
                    <a:pt x="229" y="1"/>
                    <a:pt x="103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6" name="Google Shape;8173;p64">
              <a:extLst>
                <a:ext uri="{FF2B5EF4-FFF2-40B4-BE49-F238E27FC236}">
                  <a16:creationId xmlns:a16="http://schemas.microsoft.com/office/drawing/2014/main" id="{3BE5B64C-0A39-60D2-64C8-484812C7BD83}"/>
                </a:ext>
              </a:extLst>
            </p:cNvPr>
            <p:cNvSpPr/>
            <p:nvPr/>
          </p:nvSpPr>
          <p:spPr>
            <a:xfrm>
              <a:off x="2759899" y="2034536"/>
              <a:ext cx="923" cy="204"/>
            </a:xfrm>
            <a:custGeom>
              <a:avLst/>
              <a:gdLst/>
              <a:ahLst/>
              <a:cxnLst/>
              <a:rect l="l" t="t" r="r" b="b"/>
              <a:pathLst>
                <a:path w="68" h="15" extrusionOk="0">
                  <a:moveTo>
                    <a:pt x="67" y="14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6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7" name="Google Shape;8174;p64">
              <a:extLst>
                <a:ext uri="{FF2B5EF4-FFF2-40B4-BE49-F238E27FC236}">
                  <a16:creationId xmlns:a16="http://schemas.microsoft.com/office/drawing/2014/main" id="{6F8A5F65-213F-7EC2-2602-B0CA0C8147A5}"/>
                </a:ext>
              </a:extLst>
            </p:cNvPr>
            <p:cNvSpPr/>
            <p:nvPr/>
          </p:nvSpPr>
          <p:spPr>
            <a:xfrm>
              <a:off x="2760660" y="2035011"/>
              <a:ext cx="3870" cy="5227"/>
            </a:xfrm>
            <a:custGeom>
              <a:avLst/>
              <a:gdLst/>
              <a:ahLst/>
              <a:cxnLst/>
              <a:rect l="l" t="t" r="r" b="b"/>
              <a:pathLst>
                <a:path w="285" h="385" extrusionOk="0">
                  <a:moveTo>
                    <a:pt x="8" y="0"/>
                  </a:moveTo>
                  <a:lnTo>
                    <a:pt x="8" y="0"/>
                  </a:lnTo>
                  <a:cubicBezTo>
                    <a:pt x="1" y="105"/>
                    <a:pt x="78" y="329"/>
                    <a:pt x="169" y="378"/>
                  </a:cubicBezTo>
                  <a:cubicBezTo>
                    <a:pt x="174" y="381"/>
                    <a:pt x="180" y="385"/>
                    <a:pt x="189" y="385"/>
                  </a:cubicBezTo>
                  <a:cubicBezTo>
                    <a:pt x="201" y="385"/>
                    <a:pt x="217" y="379"/>
                    <a:pt x="239" y="357"/>
                  </a:cubicBezTo>
                  <a:cubicBezTo>
                    <a:pt x="249" y="347"/>
                    <a:pt x="284" y="312"/>
                    <a:pt x="246" y="224"/>
                  </a:cubicBezTo>
                  <a:cubicBezTo>
                    <a:pt x="193" y="126"/>
                    <a:pt x="109" y="46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8" name="Google Shape;8175;p64">
              <a:extLst>
                <a:ext uri="{FF2B5EF4-FFF2-40B4-BE49-F238E27FC236}">
                  <a16:creationId xmlns:a16="http://schemas.microsoft.com/office/drawing/2014/main" id="{415C20E6-8BF5-87C1-CFB0-6DFF32E66FD2}"/>
                </a:ext>
              </a:extLst>
            </p:cNvPr>
            <p:cNvSpPr/>
            <p:nvPr/>
          </p:nvSpPr>
          <p:spPr>
            <a:xfrm>
              <a:off x="2956787" y="2113666"/>
              <a:ext cx="11093" cy="8595"/>
            </a:xfrm>
            <a:custGeom>
              <a:avLst/>
              <a:gdLst/>
              <a:ahLst/>
              <a:cxnLst/>
              <a:rect l="l" t="t" r="r" b="b"/>
              <a:pathLst>
                <a:path w="817" h="633" extrusionOk="0">
                  <a:moveTo>
                    <a:pt x="732" y="1"/>
                  </a:moveTo>
                  <a:cubicBezTo>
                    <a:pt x="694" y="22"/>
                    <a:pt x="655" y="39"/>
                    <a:pt x="613" y="50"/>
                  </a:cubicBezTo>
                  <a:lnTo>
                    <a:pt x="610" y="50"/>
                  </a:lnTo>
                  <a:cubicBezTo>
                    <a:pt x="603" y="64"/>
                    <a:pt x="599" y="78"/>
                    <a:pt x="592" y="92"/>
                  </a:cubicBezTo>
                  <a:lnTo>
                    <a:pt x="592" y="95"/>
                  </a:lnTo>
                  <a:cubicBezTo>
                    <a:pt x="585" y="109"/>
                    <a:pt x="578" y="120"/>
                    <a:pt x="575" y="134"/>
                  </a:cubicBezTo>
                  <a:lnTo>
                    <a:pt x="571" y="141"/>
                  </a:lnTo>
                  <a:cubicBezTo>
                    <a:pt x="564" y="151"/>
                    <a:pt x="557" y="162"/>
                    <a:pt x="550" y="172"/>
                  </a:cubicBezTo>
                  <a:lnTo>
                    <a:pt x="547" y="176"/>
                  </a:lnTo>
                  <a:cubicBezTo>
                    <a:pt x="540" y="186"/>
                    <a:pt x="529" y="197"/>
                    <a:pt x="519" y="204"/>
                  </a:cubicBezTo>
                  <a:cubicBezTo>
                    <a:pt x="512" y="208"/>
                    <a:pt x="505" y="215"/>
                    <a:pt x="498" y="218"/>
                  </a:cubicBezTo>
                  <a:lnTo>
                    <a:pt x="491" y="218"/>
                  </a:lnTo>
                  <a:cubicBezTo>
                    <a:pt x="484" y="222"/>
                    <a:pt x="477" y="225"/>
                    <a:pt x="470" y="225"/>
                  </a:cubicBezTo>
                  <a:lnTo>
                    <a:pt x="438" y="225"/>
                  </a:lnTo>
                  <a:lnTo>
                    <a:pt x="421" y="222"/>
                  </a:lnTo>
                  <a:lnTo>
                    <a:pt x="414" y="222"/>
                  </a:lnTo>
                  <a:cubicBezTo>
                    <a:pt x="403" y="218"/>
                    <a:pt x="396" y="215"/>
                    <a:pt x="389" y="211"/>
                  </a:cubicBezTo>
                  <a:lnTo>
                    <a:pt x="385" y="211"/>
                  </a:lnTo>
                  <a:cubicBezTo>
                    <a:pt x="375" y="204"/>
                    <a:pt x="364" y="200"/>
                    <a:pt x="357" y="193"/>
                  </a:cubicBezTo>
                  <a:lnTo>
                    <a:pt x="347" y="186"/>
                  </a:lnTo>
                  <a:lnTo>
                    <a:pt x="326" y="169"/>
                  </a:lnTo>
                  <a:lnTo>
                    <a:pt x="315" y="162"/>
                  </a:lnTo>
                  <a:lnTo>
                    <a:pt x="291" y="141"/>
                  </a:lnTo>
                  <a:lnTo>
                    <a:pt x="284" y="134"/>
                  </a:lnTo>
                  <a:cubicBezTo>
                    <a:pt x="119" y="222"/>
                    <a:pt x="14" y="379"/>
                    <a:pt x="7" y="495"/>
                  </a:cubicBezTo>
                  <a:cubicBezTo>
                    <a:pt x="0" y="544"/>
                    <a:pt x="25" y="593"/>
                    <a:pt x="70" y="617"/>
                  </a:cubicBezTo>
                  <a:cubicBezTo>
                    <a:pt x="91" y="628"/>
                    <a:pt x="114" y="633"/>
                    <a:pt x="139" y="633"/>
                  </a:cubicBezTo>
                  <a:cubicBezTo>
                    <a:pt x="292" y="633"/>
                    <a:pt x="510" y="441"/>
                    <a:pt x="676" y="239"/>
                  </a:cubicBezTo>
                  <a:cubicBezTo>
                    <a:pt x="704" y="208"/>
                    <a:pt x="729" y="176"/>
                    <a:pt x="750" y="148"/>
                  </a:cubicBezTo>
                  <a:cubicBezTo>
                    <a:pt x="767" y="127"/>
                    <a:pt x="792" y="106"/>
                    <a:pt x="816" y="88"/>
                  </a:cubicBezTo>
                  <a:lnTo>
                    <a:pt x="813" y="85"/>
                  </a:lnTo>
                  <a:cubicBezTo>
                    <a:pt x="802" y="71"/>
                    <a:pt x="788" y="57"/>
                    <a:pt x="774" y="43"/>
                  </a:cubicBezTo>
                  <a:lnTo>
                    <a:pt x="771" y="36"/>
                  </a:lnTo>
                  <a:cubicBezTo>
                    <a:pt x="757" y="25"/>
                    <a:pt x="746" y="11"/>
                    <a:pt x="73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9" name="Google Shape;8176;p64">
              <a:extLst>
                <a:ext uri="{FF2B5EF4-FFF2-40B4-BE49-F238E27FC236}">
                  <a16:creationId xmlns:a16="http://schemas.microsoft.com/office/drawing/2014/main" id="{B8D30DA6-DD81-17AD-411D-B939E68D8908}"/>
                </a:ext>
              </a:extLst>
            </p:cNvPr>
            <p:cNvSpPr/>
            <p:nvPr/>
          </p:nvSpPr>
          <p:spPr>
            <a:xfrm>
              <a:off x="2901173" y="2106945"/>
              <a:ext cx="20312" cy="6490"/>
            </a:xfrm>
            <a:custGeom>
              <a:avLst/>
              <a:gdLst/>
              <a:ahLst/>
              <a:cxnLst/>
              <a:rect l="l" t="t" r="r" b="b"/>
              <a:pathLst>
                <a:path w="1496" h="478" extrusionOk="0">
                  <a:moveTo>
                    <a:pt x="887" y="1"/>
                  </a:moveTo>
                  <a:cubicBezTo>
                    <a:pt x="843" y="1"/>
                    <a:pt x="810" y="6"/>
                    <a:pt x="795" y="16"/>
                  </a:cubicBezTo>
                  <a:cubicBezTo>
                    <a:pt x="757" y="93"/>
                    <a:pt x="683" y="149"/>
                    <a:pt x="599" y="167"/>
                  </a:cubicBezTo>
                  <a:cubicBezTo>
                    <a:pt x="555" y="179"/>
                    <a:pt x="510" y="186"/>
                    <a:pt x="465" y="186"/>
                  </a:cubicBezTo>
                  <a:cubicBezTo>
                    <a:pt x="372" y="186"/>
                    <a:pt x="280" y="158"/>
                    <a:pt x="200" y="104"/>
                  </a:cubicBezTo>
                  <a:cubicBezTo>
                    <a:pt x="186" y="97"/>
                    <a:pt x="172" y="90"/>
                    <a:pt x="154" y="90"/>
                  </a:cubicBezTo>
                  <a:cubicBezTo>
                    <a:pt x="123" y="93"/>
                    <a:pt x="91" y="111"/>
                    <a:pt x="70" y="135"/>
                  </a:cubicBezTo>
                  <a:cubicBezTo>
                    <a:pt x="28" y="181"/>
                    <a:pt x="0" y="258"/>
                    <a:pt x="32" y="303"/>
                  </a:cubicBezTo>
                  <a:cubicBezTo>
                    <a:pt x="153" y="418"/>
                    <a:pt x="311" y="477"/>
                    <a:pt x="469" y="477"/>
                  </a:cubicBezTo>
                  <a:cubicBezTo>
                    <a:pt x="562" y="477"/>
                    <a:pt x="656" y="457"/>
                    <a:pt x="743" y="415"/>
                  </a:cubicBezTo>
                  <a:cubicBezTo>
                    <a:pt x="904" y="338"/>
                    <a:pt x="1079" y="300"/>
                    <a:pt x="1257" y="300"/>
                  </a:cubicBezTo>
                  <a:cubicBezTo>
                    <a:pt x="1408" y="293"/>
                    <a:pt x="1457" y="286"/>
                    <a:pt x="1488" y="219"/>
                  </a:cubicBezTo>
                  <a:cubicBezTo>
                    <a:pt x="1495" y="198"/>
                    <a:pt x="1457" y="167"/>
                    <a:pt x="1446" y="160"/>
                  </a:cubicBezTo>
                  <a:cubicBezTo>
                    <a:pt x="1312" y="58"/>
                    <a:pt x="1036" y="1"/>
                    <a:pt x="88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0" name="Google Shape;8177;p64">
              <a:extLst>
                <a:ext uri="{FF2B5EF4-FFF2-40B4-BE49-F238E27FC236}">
                  <a16:creationId xmlns:a16="http://schemas.microsoft.com/office/drawing/2014/main" id="{20378C73-1006-0124-6AB8-E38672EF0D01}"/>
                </a:ext>
              </a:extLst>
            </p:cNvPr>
            <p:cNvSpPr/>
            <p:nvPr/>
          </p:nvSpPr>
          <p:spPr>
            <a:xfrm>
              <a:off x="2923413" y="2117536"/>
              <a:ext cx="11527" cy="4711"/>
            </a:xfrm>
            <a:custGeom>
              <a:avLst/>
              <a:gdLst/>
              <a:ahLst/>
              <a:cxnLst/>
              <a:rect l="l" t="t" r="r" b="b"/>
              <a:pathLst>
                <a:path w="849" h="347" extrusionOk="0">
                  <a:moveTo>
                    <a:pt x="52" y="1"/>
                  </a:moveTo>
                  <a:cubicBezTo>
                    <a:pt x="33" y="1"/>
                    <a:pt x="16" y="2"/>
                    <a:pt x="1" y="3"/>
                  </a:cubicBezTo>
                  <a:cubicBezTo>
                    <a:pt x="64" y="42"/>
                    <a:pt x="137" y="73"/>
                    <a:pt x="211" y="91"/>
                  </a:cubicBezTo>
                  <a:cubicBezTo>
                    <a:pt x="291" y="108"/>
                    <a:pt x="368" y="143"/>
                    <a:pt x="438" y="192"/>
                  </a:cubicBezTo>
                  <a:cubicBezTo>
                    <a:pt x="517" y="261"/>
                    <a:pt x="688" y="346"/>
                    <a:pt x="784" y="346"/>
                  </a:cubicBezTo>
                  <a:cubicBezTo>
                    <a:pt x="799" y="346"/>
                    <a:pt x="813" y="344"/>
                    <a:pt x="824" y="339"/>
                  </a:cubicBezTo>
                  <a:cubicBezTo>
                    <a:pt x="831" y="336"/>
                    <a:pt x="848" y="329"/>
                    <a:pt x="848" y="276"/>
                  </a:cubicBezTo>
                  <a:cubicBezTo>
                    <a:pt x="848" y="245"/>
                    <a:pt x="813" y="210"/>
                    <a:pt x="750" y="171"/>
                  </a:cubicBezTo>
                  <a:cubicBezTo>
                    <a:pt x="558" y="58"/>
                    <a:pt x="224" y="1"/>
                    <a:pt x="52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1" name="Google Shape;8178;p64">
              <a:extLst>
                <a:ext uri="{FF2B5EF4-FFF2-40B4-BE49-F238E27FC236}">
                  <a16:creationId xmlns:a16="http://schemas.microsoft.com/office/drawing/2014/main" id="{5FF07346-37BC-0CA9-519B-5A7F09111E96}"/>
                </a:ext>
              </a:extLst>
            </p:cNvPr>
            <p:cNvSpPr/>
            <p:nvPr/>
          </p:nvSpPr>
          <p:spPr>
            <a:xfrm>
              <a:off x="2984729" y="2031441"/>
              <a:ext cx="10713" cy="16320"/>
            </a:xfrm>
            <a:custGeom>
              <a:avLst/>
              <a:gdLst/>
              <a:ahLst/>
              <a:cxnLst/>
              <a:rect l="l" t="t" r="r" b="b"/>
              <a:pathLst>
                <a:path w="789" h="1202" extrusionOk="0">
                  <a:moveTo>
                    <a:pt x="295" y="0"/>
                  </a:moveTo>
                  <a:cubicBezTo>
                    <a:pt x="263" y="0"/>
                    <a:pt x="218" y="39"/>
                    <a:pt x="169" y="106"/>
                  </a:cubicBezTo>
                  <a:cubicBezTo>
                    <a:pt x="1" y="337"/>
                    <a:pt x="120" y="837"/>
                    <a:pt x="274" y="1082"/>
                  </a:cubicBezTo>
                  <a:cubicBezTo>
                    <a:pt x="330" y="1172"/>
                    <a:pt x="377" y="1202"/>
                    <a:pt x="391" y="1202"/>
                  </a:cubicBezTo>
                  <a:cubicBezTo>
                    <a:pt x="392" y="1202"/>
                    <a:pt x="392" y="1201"/>
                    <a:pt x="393" y="1201"/>
                  </a:cubicBezTo>
                  <a:cubicBezTo>
                    <a:pt x="400" y="1163"/>
                    <a:pt x="396" y="1124"/>
                    <a:pt x="386" y="1086"/>
                  </a:cubicBezTo>
                  <a:cubicBezTo>
                    <a:pt x="372" y="995"/>
                    <a:pt x="354" y="890"/>
                    <a:pt x="421" y="820"/>
                  </a:cubicBezTo>
                  <a:cubicBezTo>
                    <a:pt x="459" y="782"/>
                    <a:pt x="509" y="761"/>
                    <a:pt x="577" y="761"/>
                  </a:cubicBezTo>
                  <a:cubicBezTo>
                    <a:pt x="590" y="761"/>
                    <a:pt x="605" y="762"/>
                    <a:pt x="621" y="764"/>
                  </a:cubicBezTo>
                  <a:cubicBezTo>
                    <a:pt x="644" y="766"/>
                    <a:pt x="663" y="767"/>
                    <a:pt x="680" y="767"/>
                  </a:cubicBezTo>
                  <a:cubicBezTo>
                    <a:pt x="750" y="767"/>
                    <a:pt x="769" y="752"/>
                    <a:pt x="775" y="746"/>
                  </a:cubicBezTo>
                  <a:cubicBezTo>
                    <a:pt x="789" y="729"/>
                    <a:pt x="778" y="662"/>
                    <a:pt x="768" y="606"/>
                  </a:cubicBezTo>
                  <a:cubicBezTo>
                    <a:pt x="754" y="543"/>
                    <a:pt x="747" y="484"/>
                    <a:pt x="747" y="421"/>
                  </a:cubicBezTo>
                  <a:cubicBezTo>
                    <a:pt x="747" y="407"/>
                    <a:pt x="743" y="393"/>
                    <a:pt x="736" y="382"/>
                  </a:cubicBezTo>
                  <a:cubicBezTo>
                    <a:pt x="727" y="373"/>
                    <a:pt x="707" y="371"/>
                    <a:pt x="684" y="371"/>
                  </a:cubicBezTo>
                  <a:cubicBezTo>
                    <a:pt x="661" y="371"/>
                    <a:pt x="635" y="373"/>
                    <a:pt x="614" y="375"/>
                  </a:cubicBezTo>
                  <a:cubicBezTo>
                    <a:pt x="590" y="378"/>
                    <a:pt x="567" y="381"/>
                    <a:pt x="545" y="381"/>
                  </a:cubicBezTo>
                  <a:cubicBezTo>
                    <a:pt x="510" y="381"/>
                    <a:pt x="478" y="374"/>
                    <a:pt x="453" y="351"/>
                  </a:cubicBezTo>
                  <a:cubicBezTo>
                    <a:pt x="432" y="333"/>
                    <a:pt x="421" y="305"/>
                    <a:pt x="421" y="277"/>
                  </a:cubicBezTo>
                  <a:cubicBezTo>
                    <a:pt x="421" y="197"/>
                    <a:pt x="368" y="21"/>
                    <a:pt x="30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2" name="Google Shape;8179;p64">
              <a:extLst>
                <a:ext uri="{FF2B5EF4-FFF2-40B4-BE49-F238E27FC236}">
                  <a16:creationId xmlns:a16="http://schemas.microsoft.com/office/drawing/2014/main" id="{6DADC9A1-DA59-7426-B8FE-453076E3153A}"/>
                </a:ext>
              </a:extLst>
            </p:cNvPr>
            <p:cNvSpPr/>
            <p:nvPr/>
          </p:nvSpPr>
          <p:spPr>
            <a:xfrm>
              <a:off x="2859015" y="2039003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0"/>
                  </a:moveTo>
                  <a:lnTo>
                    <a:pt x="7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3" name="Google Shape;8180;p64">
              <a:extLst>
                <a:ext uri="{FF2B5EF4-FFF2-40B4-BE49-F238E27FC236}">
                  <a16:creationId xmlns:a16="http://schemas.microsoft.com/office/drawing/2014/main" id="{0F5A9D4F-A6F3-D683-C510-57D840282347}"/>
                </a:ext>
              </a:extLst>
            </p:cNvPr>
            <p:cNvSpPr/>
            <p:nvPr/>
          </p:nvSpPr>
          <p:spPr>
            <a:xfrm>
              <a:off x="2860481" y="2039098"/>
              <a:ext cx="163" cy="54"/>
            </a:xfrm>
            <a:custGeom>
              <a:avLst/>
              <a:gdLst/>
              <a:ahLst/>
              <a:cxnLst/>
              <a:rect l="l" t="t" r="r" b="b"/>
              <a:pathLst>
                <a:path w="12" h="4" extrusionOk="0">
                  <a:moveTo>
                    <a:pt x="1" y="4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4" name="Google Shape;8181;p64">
              <a:extLst>
                <a:ext uri="{FF2B5EF4-FFF2-40B4-BE49-F238E27FC236}">
                  <a16:creationId xmlns:a16="http://schemas.microsoft.com/office/drawing/2014/main" id="{6E886D65-1888-7CC4-A17A-3E42EA9F0BD6}"/>
                </a:ext>
              </a:extLst>
            </p:cNvPr>
            <p:cNvSpPr/>
            <p:nvPr/>
          </p:nvSpPr>
          <p:spPr>
            <a:xfrm>
              <a:off x="2860156" y="2039193"/>
              <a:ext cx="149" cy="14"/>
            </a:xfrm>
            <a:custGeom>
              <a:avLst/>
              <a:gdLst/>
              <a:ahLst/>
              <a:cxnLst/>
              <a:rect l="l" t="t" r="r" b="b"/>
              <a:pathLst>
                <a:path w="11" h="1" extrusionOk="0">
                  <a:moveTo>
                    <a:pt x="0" y="0"/>
                  </a:moveTo>
                  <a:lnTo>
                    <a:pt x="1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5" name="Google Shape;8182;p64">
              <a:extLst>
                <a:ext uri="{FF2B5EF4-FFF2-40B4-BE49-F238E27FC236}">
                  <a16:creationId xmlns:a16="http://schemas.microsoft.com/office/drawing/2014/main" id="{CF59095F-E786-E40C-CE9C-C551AB821A07}"/>
                </a:ext>
              </a:extLst>
            </p:cNvPr>
            <p:cNvSpPr/>
            <p:nvPr/>
          </p:nvSpPr>
          <p:spPr>
            <a:xfrm>
              <a:off x="2858160" y="2038569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6" name="Google Shape;8183;p64">
              <a:extLst>
                <a:ext uri="{FF2B5EF4-FFF2-40B4-BE49-F238E27FC236}">
                  <a16:creationId xmlns:a16="http://schemas.microsoft.com/office/drawing/2014/main" id="{C7FE51CF-33F6-1854-438C-47EEBAB9300B}"/>
                </a:ext>
              </a:extLst>
            </p:cNvPr>
            <p:cNvSpPr/>
            <p:nvPr/>
          </p:nvSpPr>
          <p:spPr>
            <a:xfrm>
              <a:off x="2858581" y="203875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7" name="Google Shape;8184;p64">
              <a:extLst>
                <a:ext uri="{FF2B5EF4-FFF2-40B4-BE49-F238E27FC236}">
                  <a16:creationId xmlns:a16="http://schemas.microsoft.com/office/drawing/2014/main" id="{7FF3468A-53DE-C053-008F-70277F7E4491}"/>
                </a:ext>
              </a:extLst>
            </p:cNvPr>
            <p:cNvSpPr/>
            <p:nvPr/>
          </p:nvSpPr>
          <p:spPr>
            <a:xfrm>
              <a:off x="2860821" y="2038949"/>
              <a:ext cx="109" cy="68"/>
            </a:xfrm>
            <a:custGeom>
              <a:avLst/>
              <a:gdLst/>
              <a:ahLst/>
              <a:cxnLst/>
              <a:rect l="l" t="t" r="r" b="b"/>
              <a:pathLst>
                <a:path w="8" h="5" extrusionOk="0">
                  <a:moveTo>
                    <a:pt x="0" y="4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8" name="Google Shape;8185;p64">
              <a:extLst>
                <a:ext uri="{FF2B5EF4-FFF2-40B4-BE49-F238E27FC236}">
                  <a16:creationId xmlns:a16="http://schemas.microsoft.com/office/drawing/2014/main" id="{2BA55195-BF0C-7CDC-DD61-5D5BD38B04CC}"/>
                </a:ext>
              </a:extLst>
            </p:cNvPr>
            <p:cNvSpPr/>
            <p:nvPr/>
          </p:nvSpPr>
          <p:spPr>
            <a:xfrm>
              <a:off x="2852457" y="203377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9" name="Google Shape;8186;p64">
              <a:extLst>
                <a:ext uri="{FF2B5EF4-FFF2-40B4-BE49-F238E27FC236}">
                  <a16:creationId xmlns:a16="http://schemas.microsoft.com/office/drawing/2014/main" id="{F3B1276D-F907-CC3F-8D81-7C99BFCF8B4D}"/>
                </a:ext>
              </a:extLst>
            </p:cNvPr>
            <p:cNvSpPr/>
            <p:nvPr/>
          </p:nvSpPr>
          <p:spPr>
            <a:xfrm>
              <a:off x="2852267" y="2033301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0" y="0"/>
                  </a:moveTo>
                  <a:lnTo>
                    <a:pt x="7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0" name="Google Shape;8187;p64">
              <a:extLst>
                <a:ext uri="{FF2B5EF4-FFF2-40B4-BE49-F238E27FC236}">
                  <a16:creationId xmlns:a16="http://schemas.microsoft.com/office/drawing/2014/main" id="{AA4B11A9-07F3-32F3-C36F-7F3F5057AA3F}"/>
                </a:ext>
              </a:extLst>
            </p:cNvPr>
            <p:cNvSpPr/>
            <p:nvPr/>
          </p:nvSpPr>
          <p:spPr>
            <a:xfrm>
              <a:off x="2852647" y="2034156"/>
              <a:ext cx="109" cy="204"/>
            </a:xfrm>
            <a:custGeom>
              <a:avLst/>
              <a:gdLst/>
              <a:ahLst/>
              <a:cxnLst/>
              <a:rect l="l" t="t" r="r" b="b"/>
              <a:pathLst>
                <a:path w="8" h="15" extrusionOk="0">
                  <a:moveTo>
                    <a:pt x="0" y="0"/>
                  </a:moveTo>
                  <a:lnTo>
                    <a:pt x="7" y="1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1" name="Google Shape;8188;p64">
              <a:extLst>
                <a:ext uri="{FF2B5EF4-FFF2-40B4-BE49-F238E27FC236}">
                  <a16:creationId xmlns:a16="http://schemas.microsoft.com/office/drawing/2014/main" id="{AA977A0F-6027-C4FB-D5E7-FEC20A1F9086}"/>
                </a:ext>
              </a:extLst>
            </p:cNvPr>
            <p:cNvSpPr/>
            <p:nvPr/>
          </p:nvSpPr>
          <p:spPr>
            <a:xfrm>
              <a:off x="2852118" y="203282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0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2" name="Google Shape;8189;p64">
              <a:extLst>
                <a:ext uri="{FF2B5EF4-FFF2-40B4-BE49-F238E27FC236}">
                  <a16:creationId xmlns:a16="http://schemas.microsoft.com/office/drawing/2014/main" id="{1C98D713-5BA2-C37F-8718-8DA7201D36B5}"/>
                </a:ext>
              </a:extLst>
            </p:cNvPr>
            <p:cNvSpPr/>
            <p:nvPr/>
          </p:nvSpPr>
          <p:spPr>
            <a:xfrm>
              <a:off x="2851602" y="2031060"/>
              <a:ext cx="109" cy="339"/>
            </a:xfrm>
            <a:custGeom>
              <a:avLst/>
              <a:gdLst/>
              <a:ahLst/>
              <a:cxnLst/>
              <a:rect l="l" t="t" r="r" b="b"/>
              <a:pathLst>
                <a:path w="8" h="25" extrusionOk="0">
                  <a:moveTo>
                    <a:pt x="0" y="0"/>
                  </a:moveTo>
                  <a:lnTo>
                    <a:pt x="7" y="2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3" name="Google Shape;8190;p64">
              <a:extLst>
                <a:ext uri="{FF2B5EF4-FFF2-40B4-BE49-F238E27FC236}">
                  <a16:creationId xmlns:a16="http://schemas.microsoft.com/office/drawing/2014/main" id="{27647627-E51C-4777-C42E-533C3E10F406}"/>
                </a:ext>
              </a:extLst>
            </p:cNvPr>
            <p:cNvSpPr/>
            <p:nvPr/>
          </p:nvSpPr>
          <p:spPr>
            <a:xfrm>
              <a:off x="2851928" y="2032296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1" y="1"/>
                  </a:moveTo>
                  <a:lnTo>
                    <a:pt x="8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4" name="Google Shape;8191;p64">
              <a:extLst>
                <a:ext uri="{FF2B5EF4-FFF2-40B4-BE49-F238E27FC236}">
                  <a16:creationId xmlns:a16="http://schemas.microsoft.com/office/drawing/2014/main" id="{C678F589-9492-B242-C25B-048844DEBA6A}"/>
                </a:ext>
              </a:extLst>
            </p:cNvPr>
            <p:cNvSpPr/>
            <p:nvPr/>
          </p:nvSpPr>
          <p:spPr>
            <a:xfrm>
              <a:off x="2857725" y="2038189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5" name="Google Shape;8192;p64">
              <a:extLst>
                <a:ext uri="{FF2B5EF4-FFF2-40B4-BE49-F238E27FC236}">
                  <a16:creationId xmlns:a16="http://schemas.microsoft.com/office/drawing/2014/main" id="{C6A9F22C-0501-6C26-DA41-8C67ED5D40D1}"/>
                </a:ext>
              </a:extLst>
            </p:cNvPr>
            <p:cNvSpPr/>
            <p:nvPr/>
          </p:nvSpPr>
          <p:spPr>
            <a:xfrm>
              <a:off x="2851792" y="2031671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1"/>
                  </a:moveTo>
                  <a:lnTo>
                    <a:pt x="7" y="22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6" name="Google Shape;8193;p64">
              <a:extLst>
                <a:ext uri="{FF2B5EF4-FFF2-40B4-BE49-F238E27FC236}">
                  <a16:creationId xmlns:a16="http://schemas.microsoft.com/office/drawing/2014/main" id="{2DDD9C10-1B50-87BF-ABA3-7DCF658DAB59}"/>
                </a:ext>
              </a:extLst>
            </p:cNvPr>
            <p:cNvSpPr/>
            <p:nvPr/>
          </p:nvSpPr>
          <p:spPr>
            <a:xfrm>
              <a:off x="2852837" y="2034482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"/>
                  </a:moveTo>
                  <a:lnTo>
                    <a:pt x="4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7" name="Google Shape;8194;p64">
              <a:extLst>
                <a:ext uri="{FF2B5EF4-FFF2-40B4-BE49-F238E27FC236}">
                  <a16:creationId xmlns:a16="http://schemas.microsoft.com/office/drawing/2014/main" id="{E06DFB88-4813-01EE-1F6D-D5CCA534FBFC}"/>
                </a:ext>
              </a:extLst>
            </p:cNvPr>
            <p:cNvSpPr/>
            <p:nvPr/>
          </p:nvSpPr>
          <p:spPr>
            <a:xfrm>
              <a:off x="2856870" y="2037523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1"/>
                  </a:moveTo>
                  <a:lnTo>
                    <a:pt x="8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8" name="Google Shape;8195;p64">
              <a:extLst>
                <a:ext uri="{FF2B5EF4-FFF2-40B4-BE49-F238E27FC236}">
                  <a16:creationId xmlns:a16="http://schemas.microsoft.com/office/drawing/2014/main" id="{87697F20-11EC-D916-25F8-A31E05CC5DFF}"/>
                </a:ext>
              </a:extLst>
            </p:cNvPr>
            <p:cNvSpPr/>
            <p:nvPr/>
          </p:nvSpPr>
          <p:spPr>
            <a:xfrm>
              <a:off x="2852973" y="2034821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0"/>
                  </a:moveTo>
                  <a:lnTo>
                    <a:pt x="8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9" name="Google Shape;8196;p64">
              <a:extLst>
                <a:ext uri="{FF2B5EF4-FFF2-40B4-BE49-F238E27FC236}">
                  <a16:creationId xmlns:a16="http://schemas.microsoft.com/office/drawing/2014/main" id="{43C744AE-416E-C720-4A12-CE05828F30B0}"/>
                </a:ext>
              </a:extLst>
            </p:cNvPr>
            <p:cNvSpPr/>
            <p:nvPr/>
          </p:nvSpPr>
          <p:spPr>
            <a:xfrm>
              <a:off x="2854019" y="2035772"/>
              <a:ext cx="109" cy="54"/>
            </a:xfrm>
            <a:custGeom>
              <a:avLst/>
              <a:gdLst/>
              <a:ahLst/>
              <a:cxnLst/>
              <a:rect l="l" t="t" r="r" b="b"/>
              <a:pathLst>
                <a:path w="8" h="4" extrusionOk="0">
                  <a:moveTo>
                    <a:pt x="1" y="0"/>
                  </a:moveTo>
                  <a:lnTo>
                    <a:pt x="8" y="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0" name="Google Shape;8197;p64">
              <a:extLst>
                <a:ext uri="{FF2B5EF4-FFF2-40B4-BE49-F238E27FC236}">
                  <a16:creationId xmlns:a16="http://schemas.microsoft.com/office/drawing/2014/main" id="{1E5E71F1-0370-3102-E76B-9BE563B1BC18}"/>
                </a:ext>
              </a:extLst>
            </p:cNvPr>
            <p:cNvSpPr/>
            <p:nvPr/>
          </p:nvSpPr>
          <p:spPr>
            <a:xfrm>
              <a:off x="2857304" y="203790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1" name="Google Shape;8198;p64">
              <a:extLst>
                <a:ext uri="{FF2B5EF4-FFF2-40B4-BE49-F238E27FC236}">
                  <a16:creationId xmlns:a16="http://schemas.microsoft.com/office/drawing/2014/main" id="{3A83DD21-6732-0080-4FE4-A8FD81577B0B}"/>
                </a:ext>
              </a:extLst>
            </p:cNvPr>
            <p:cNvSpPr/>
            <p:nvPr/>
          </p:nvSpPr>
          <p:spPr>
            <a:xfrm>
              <a:off x="2854263" y="2035813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0" y="1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2" name="Google Shape;8199;p64">
              <a:extLst>
                <a:ext uri="{FF2B5EF4-FFF2-40B4-BE49-F238E27FC236}">
                  <a16:creationId xmlns:a16="http://schemas.microsoft.com/office/drawing/2014/main" id="{03CB6421-F651-0E86-2EF1-CE7C74CEE298}"/>
                </a:ext>
              </a:extLst>
            </p:cNvPr>
            <p:cNvSpPr/>
            <p:nvPr/>
          </p:nvSpPr>
          <p:spPr>
            <a:xfrm>
              <a:off x="2853163" y="203510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1" y="0"/>
                  </a:moveTo>
                  <a:lnTo>
                    <a:pt x="8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3" name="Google Shape;8200;p64">
              <a:extLst>
                <a:ext uri="{FF2B5EF4-FFF2-40B4-BE49-F238E27FC236}">
                  <a16:creationId xmlns:a16="http://schemas.microsoft.com/office/drawing/2014/main" id="{4E10274E-AA19-7475-9A08-04AADF90AEC2}"/>
                </a:ext>
              </a:extLst>
            </p:cNvPr>
            <p:cNvSpPr/>
            <p:nvPr/>
          </p:nvSpPr>
          <p:spPr>
            <a:xfrm>
              <a:off x="2853598" y="203548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0"/>
                  </a:moveTo>
                  <a:lnTo>
                    <a:pt x="7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4" name="Google Shape;8201;p64">
              <a:extLst>
                <a:ext uri="{FF2B5EF4-FFF2-40B4-BE49-F238E27FC236}">
                  <a16:creationId xmlns:a16="http://schemas.microsoft.com/office/drawing/2014/main" id="{8D7453BF-F4AA-539C-EFA5-7B1DADF0F6A3}"/>
                </a:ext>
              </a:extLst>
            </p:cNvPr>
            <p:cNvSpPr/>
            <p:nvPr/>
          </p:nvSpPr>
          <p:spPr>
            <a:xfrm>
              <a:off x="2853788" y="2035622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0" y="1"/>
                  </a:moveTo>
                  <a:lnTo>
                    <a:pt x="7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5" name="Google Shape;8202;p64">
              <a:extLst>
                <a:ext uri="{FF2B5EF4-FFF2-40B4-BE49-F238E27FC236}">
                  <a16:creationId xmlns:a16="http://schemas.microsoft.com/office/drawing/2014/main" id="{EA326751-327C-303A-44E7-BA54C96CA751}"/>
                </a:ext>
              </a:extLst>
            </p:cNvPr>
            <p:cNvSpPr/>
            <p:nvPr/>
          </p:nvSpPr>
          <p:spPr>
            <a:xfrm>
              <a:off x="2859490" y="2039139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6" name="Google Shape;8203;p64">
              <a:extLst>
                <a:ext uri="{FF2B5EF4-FFF2-40B4-BE49-F238E27FC236}">
                  <a16:creationId xmlns:a16="http://schemas.microsoft.com/office/drawing/2014/main" id="{A06ABB56-0AE0-74BF-F317-0A6D2051D0BB}"/>
                </a:ext>
              </a:extLst>
            </p:cNvPr>
            <p:cNvSpPr/>
            <p:nvPr/>
          </p:nvSpPr>
          <p:spPr>
            <a:xfrm>
              <a:off x="2889049" y="2032921"/>
              <a:ext cx="3204" cy="2105"/>
            </a:xfrm>
            <a:custGeom>
              <a:avLst/>
              <a:gdLst/>
              <a:ahLst/>
              <a:cxnLst/>
              <a:rect l="l" t="t" r="r" b="b"/>
              <a:pathLst>
                <a:path w="236" h="155" extrusionOk="0">
                  <a:moveTo>
                    <a:pt x="235" y="0"/>
                  </a:moveTo>
                  <a:cubicBezTo>
                    <a:pt x="204" y="112"/>
                    <a:pt x="102" y="130"/>
                    <a:pt x="1" y="154"/>
                  </a:cubicBezTo>
                  <a:cubicBezTo>
                    <a:pt x="106" y="133"/>
                    <a:pt x="204" y="112"/>
                    <a:pt x="235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7" name="Google Shape;8204;p64">
              <a:extLst>
                <a:ext uri="{FF2B5EF4-FFF2-40B4-BE49-F238E27FC236}">
                  <a16:creationId xmlns:a16="http://schemas.microsoft.com/office/drawing/2014/main" id="{9CBC507A-4098-3391-BA22-36046FE4F3EF}"/>
                </a:ext>
              </a:extLst>
            </p:cNvPr>
            <p:cNvSpPr/>
            <p:nvPr/>
          </p:nvSpPr>
          <p:spPr>
            <a:xfrm>
              <a:off x="2861242" y="2038243"/>
              <a:ext cx="4440" cy="530"/>
            </a:xfrm>
            <a:custGeom>
              <a:avLst/>
              <a:gdLst/>
              <a:ahLst/>
              <a:cxnLst/>
              <a:rect l="l" t="t" r="r" b="b"/>
              <a:pathLst>
                <a:path w="327" h="39" extrusionOk="0">
                  <a:moveTo>
                    <a:pt x="326" y="7"/>
                  </a:moveTo>
                  <a:cubicBezTo>
                    <a:pt x="197" y="4"/>
                    <a:pt x="53" y="0"/>
                    <a:pt x="1" y="39"/>
                  </a:cubicBezTo>
                  <a:cubicBezTo>
                    <a:pt x="53" y="0"/>
                    <a:pt x="197" y="4"/>
                    <a:pt x="326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8" name="Google Shape;8205;p64">
              <a:extLst>
                <a:ext uri="{FF2B5EF4-FFF2-40B4-BE49-F238E27FC236}">
                  <a16:creationId xmlns:a16="http://schemas.microsoft.com/office/drawing/2014/main" id="{33654226-702A-29F8-85A3-A9921F3A8DAC}"/>
                </a:ext>
              </a:extLst>
            </p:cNvPr>
            <p:cNvSpPr/>
            <p:nvPr/>
          </p:nvSpPr>
          <p:spPr>
            <a:xfrm>
              <a:off x="2910922" y="2013858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9" name="Google Shape;8206;p64">
              <a:extLst>
                <a:ext uri="{FF2B5EF4-FFF2-40B4-BE49-F238E27FC236}">
                  <a16:creationId xmlns:a16="http://schemas.microsoft.com/office/drawing/2014/main" id="{2191D5EA-43C1-85DB-D311-D807808257FD}"/>
                </a:ext>
              </a:extLst>
            </p:cNvPr>
            <p:cNvSpPr/>
            <p:nvPr/>
          </p:nvSpPr>
          <p:spPr>
            <a:xfrm>
              <a:off x="2853353" y="2035297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0" name="Google Shape;8207;p64">
              <a:extLst>
                <a:ext uri="{FF2B5EF4-FFF2-40B4-BE49-F238E27FC236}">
                  <a16:creationId xmlns:a16="http://schemas.microsoft.com/office/drawing/2014/main" id="{C4FBA81D-14FE-4994-5776-486AB3CDBBD6}"/>
                </a:ext>
              </a:extLst>
            </p:cNvPr>
            <p:cNvSpPr/>
            <p:nvPr/>
          </p:nvSpPr>
          <p:spPr>
            <a:xfrm>
              <a:off x="2860006" y="2039193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1" name="Google Shape;8208;p64">
              <a:extLst>
                <a:ext uri="{FF2B5EF4-FFF2-40B4-BE49-F238E27FC236}">
                  <a16:creationId xmlns:a16="http://schemas.microsoft.com/office/drawing/2014/main" id="{76569D82-C297-6EB9-4F53-4A7502DF2770}"/>
                </a:ext>
              </a:extLst>
            </p:cNvPr>
            <p:cNvSpPr/>
            <p:nvPr/>
          </p:nvSpPr>
          <p:spPr>
            <a:xfrm>
              <a:off x="2899598" y="2013287"/>
              <a:ext cx="8486" cy="1765"/>
            </a:xfrm>
            <a:custGeom>
              <a:avLst/>
              <a:gdLst/>
              <a:ahLst/>
              <a:cxnLst/>
              <a:rect l="l" t="t" r="r" b="b"/>
              <a:pathLst>
                <a:path w="625" h="130" extrusionOk="0">
                  <a:moveTo>
                    <a:pt x="624" y="11"/>
                  </a:moveTo>
                  <a:cubicBezTo>
                    <a:pt x="424" y="7"/>
                    <a:pt x="120" y="0"/>
                    <a:pt x="1" y="130"/>
                  </a:cubicBezTo>
                  <a:cubicBezTo>
                    <a:pt x="120" y="0"/>
                    <a:pt x="424" y="7"/>
                    <a:pt x="624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2" name="Google Shape;8209;p64">
              <a:extLst>
                <a:ext uri="{FF2B5EF4-FFF2-40B4-BE49-F238E27FC236}">
                  <a16:creationId xmlns:a16="http://schemas.microsoft.com/office/drawing/2014/main" id="{6E1D7410-973C-1467-8FBD-0ABD0803B8A3}"/>
                </a:ext>
              </a:extLst>
            </p:cNvPr>
            <p:cNvSpPr/>
            <p:nvPr/>
          </p:nvSpPr>
          <p:spPr>
            <a:xfrm>
              <a:off x="2909971" y="201351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0" y="1"/>
                  </a:moveTo>
                  <a:lnTo>
                    <a:pt x="7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3" name="Google Shape;8210;p64">
              <a:extLst>
                <a:ext uri="{FF2B5EF4-FFF2-40B4-BE49-F238E27FC236}">
                  <a16:creationId xmlns:a16="http://schemas.microsoft.com/office/drawing/2014/main" id="{4460D936-4228-584E-48F8-B991C86A9F03}"/>
                </a:ext>
              </a:extLst>
            </p:cNvPr>
            <p:cNvSpPr/>
            <p:nvPr/>
          </p:nvSpPr>
          <p:spPr>
            <a:xfrm>
              <a:off x="2909632" y="2013478"/>
              <a:ext cx="109" cy="14"/>
            </a:xfrm>
            <a:custGeom>
              <a:avLst/>
              <a:gdLst/>
              <a:ahLst/>
              <a:cxnLst/>
              <a:rect l="l" t="t" r="r" b="b"/>
              <a:pathLst>
                <a:path w="8" h="1" extrusionOk="0">
                  <a:moveTo>
                    <a:pt x="1" y="0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4" name="Google Shape;8211;p64">
              <a:extLst>
                <a:ext uri="{FF2B5EF4-FFF2-40B4-BE49-F238E27FC236}">
                  <a16:creationId xmlns:a16="http://schemas.microsoft.com/office/drawing/2014/main" id="{A0EC0F22-B94F-66DA-AA13-682741F459C5}"/>
                </a:ext>
              </a:extLst>
            </p:cNvPr>
            <p:cNvSpPr/>
            <p:nvPr/>
          </p:nvSpPr>
          <p:spPr>
            <a:xfrm>
              <a:off x="2910392" y="2013668"/>
              <a:ext cx="68" cy="14"/>
            </a:xfrm>
            <a:custGeom>
              <a:avLst/>
              <a:gdLst/>
              <a:ahLst/>
              <a:cxnLst/>
              <a:rect l="l" t="t" r="r" b="b"/>
              <a:pathLst>
                <a:path w="5" h="1" extrusionOk="0">
                  <a:moveTo>
                    <a:pt x="1" y="0"/>
                  </a:moveTo>
                  <a:lnTo>
                    <a:pt x="4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5" name="Google Shape;8212;p64">
              <a:extLst>
                <a:ext uri="{FF2B5EF4-FFF2-40B4-BE49-F238E27FC236}">
                  <a16:creationId xmlns:a16="http://schemas.microsoft.com/office/drawing/2014/main" id="{BF20EA1B-9127-45C8-3AFD-E94668CECBE1}"/>
                </a:ext>
              </a:extLst>
            </p:cNvPr>
            <p:cNvSpPr/>
            <p:nvPr/>
          </p:nvSpPr>
          <p:spPr>
            <a:xfrm>
              <a:off x="2962544" y="2114711"/>
              <a:ext cx="394" cy="204"/>
            </a:xfrm>
            <a:custGeom>
              <a:avLst/>
              <a:gdLst/>
              <a:ahLst/>
              <a:cxnLst/>
              <a:rect l="l" t="t" r="r" b="b"/>
              <a:pathLst>
                <a:path w="29" h="15" extrusionOk="0">
                  <a:moveTo>
                    <a:pt x="28" y="1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21" y="15"/>
                  </a:lnTo>
                  <a:cubicBezTo>
                    <a:pt x="21" y="11"/>
                    <a:pt x="25" y="4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6" name="Google Shape;8213;p64">
              <a:extLst>
                <a:ext uri="{FF2B5EF4-FFF2-40B4-BE49-F238E27FC236}">
                  <a16:creationId xmlns:a16="http://schemas.microsoft.com/office/drawing/2014/main" id="{A4DDB989-AA0C-6A72-A2ED-266221634CED}"/>
                </a:ext>
              </a:extLst>
            </p:cNvPr>
            <p:cNvSpPr/>
            <p:nvPr/>
          </p:nvSpPr>
          <p:spPr>
            <a:xfrm>
              <a:off x="2968192" y="2108113"/>
              <a:ext cx="14895" cy="5757"/>
            </a:xfrm>
            <a:custGeom>
              <a:avLst/>
              <a:gdLst/>
              <a:ahLst/>
              <a:cxnLst/>
              <a:rect l="l" t="t" r="r" b="b"/>
              <a:pathLst>
                <a:path w="1097" h="424" extrusionOk="0">
                  <a:moveTo>
                    <a:pt x="1096" y="0"/>
                  </a:moveTo>
                  <a:cubicBezTo>
                    <a:pt x="1030" y="4"/>
                    <a:pt x="946" y="14"/>
                    <a:pt x="876" y="25"/>
                  </a:cubicBezTo>
                  <a:cubicBezTo>
                    <a:pt x="722" y="53"/>
                    <a:pt x="564" y="63"/>
                    <a:pt x="407" y="63"/>
                  </a:cubicBezTo>
                  <a:cubicBezTo>
                    <a:pt x="401" y="63"/>
                    <a:pt x="396" y="63"/>
                    <a:pt x="391" y="63"/>
                  </a:cubicBezTo>
                  <a:cubicBezTo>
                    <a:pt x="274" y="63"/>
                    <a:pt x="203" y="137"/>
                    <a:pt x="113" y="228"/>
                  </a:cubicBezTo>
                  <a:cubicBezTo>
                    <a:pt x="78" y="263"/>
                    <a:pt x="43" y="298"/>
                    <a:pt x="1" y="333"/>
                  </a:cubicBezTo>
                  <a:cubicBezTo>
                    <a:pt x="15" y="347"/>
                    <a:pt x="29" y="361"/>
                    <a:pt x="39" y="371"/>
                  </a:cubicBezTo>
                  <a:lnTo>
                    <a:pt x="46" y="378"/>
                  </a:lnTo>
                  <a:cubicBezTo>
                    <a:pt x="57" y="392"/>
                    <a:pt x="71" y="406"/>
                    <a:pt x="85" y="424"/>
                  </a:cubicBezTo>
                  <a:cubicBezTo>
                    <a:pt x="267" y="336"/>
                    <a:pt x="456" y="256"/>
                    <a:pt x="648" y="186"/>
                  </a:cubicBezTo>
                  <a:cubicBezTo>
                    <a:pt x="802" y="126"/>
                    <a:pt x="995" y="53"/>
                    <a:pt x="1096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7" name="Google Shape;8214;p64">
              <a:extLst>
                <a:ext uri="{FF2B5EF4-FFF2-40B4-BE49-F238E27FC236}">
                  <a16:creationId xmlns:a16="http://schemas.microsoft.com/office/drawing/2014/main" id="{1E788679-5E3D-5D6F-D25A-DDC9D785783F}"/>
                </a:ext>
              </a:extLst>
            </p:cNvPr>
            <p:cNvSpPr/>
            <p:nvPr/>
          </p:nvSpPr>
          <p:spPr>
            <a:xfrm>
              <a:off x="2962679" y="2114861"/>
              <a:ext cx="54" cy="14"/>
            </a:xfrm>
            <a:custGeom>
              <a:avLst/>
              <a:gdLst/>
              <a:ahLst/>
              <a:cxnLst/>
              <a:rect l="l" t="t" r="r" b="b"/>
              <a:pathLst>
                <a:path w="4" h="1" extrusionOk="0">
                  <a:moveTo>
                    <a:pt x="4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8" name="Google Shape;8215;p64">
              <a:extLst>
                <a:ext uri="{FF2B5EF4-FFF2-40B4-BE49-F238E27FC236}">
                  <a16:creationId xmlns:a16="http://schemas.microsoft.com/office/drawing/2014/main" id="{83E74B77-0F24-11C6-9D41-37B063CF56C3}"/>
                </a:ext>
              </a:extLst>
            </p:cNvPr>
            <p:cNvSpPr/>
            <p:nvPr/>
          </p:nvSpPr>
          <p:spPr>
            <a:xfrm>
              <a:off x="2968246" y="2112675"/>
              <a:ext cx="530" cy="530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0" y="0"/>
                  </a:moveTo>
                  <a:cubicBezTo>
                    <a:pt x="11" y="11"/>
                    <a:pt x="25" y="25"/>
                    <a:pt x="39" y="39"/>
                  </a:cubicBezTo>
                  <a:cubicBezTo>
                    <a:pt x="25" y="25"/>
                    <a:pt x="11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9" name="Google Shape;8216;p64">
              <a:extLst>
                <a:ext uri="{FF2B5EF4-FFF2-40B4-BE49-F238E27FC236}">
                  <a16:creationId xmlns:a16="http://schemas.microsoft.com/office/drawing/2014/main" id="{13F9FCBA-28A4-3516-8434-25CD76E5FBBE}"/>
                </a:ext>
              </a:extLst>
            </p:cNvPr>
            <p:cNvSpPr/>
            <p:nvPr/>
          </p:nvSpPr>
          <p:spPr>
            <a:xfrm>
              <a:off x="2962544" y="2114806"/>
              <a:ext cx="0" cy="14"/>
            </a:xfrm>
            <a:custGeom>
              <a:avLst/>
              <a:gdLst/>
              <a:ahLst/>
              <a:cxnLst/>
              <a:rect l="l" t="t" r="r" b="b"/>
              <a:pathLst>
                <a:path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0" name="Google Shape;8217;p64">
              <a:extLst>
                <a:ext uri="{FF2B5EF4-FFF2-40B4-BE49-F238E27FC236}">
                  <a16:creationId xmlns:a16="http://schemas.microsoft.com/office/drawing/2014/main" id="{235B8C1B-E5CA-2025-8528-510C29AF6417}"/>
                </a:ext>
              </a:extLst>
            </p:cNvPr>
            <p:cNvSpPr/>
            <p:nvPr/>
          </p:nvSpPr>
          <p:spPr>
            <a:xfrm>
              <a:off x="2962924" y="211471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1" name="Google Shape;8218;p64">
              <a:extLst>
                <a:ext uri="{FF2B5EF4-FFF2-40B4-BE49-F238E27FC236}">
                  <a16:creationId xmlns:a16="http://schemas.microsoft.com/office/drawing/2014/main" id="{34294D0F-45BA-3524-9624-C12331AD8EBE}"/>
                </a:ext>
              </a:extLst>
            </p:cNvPr>
            <p:cNvSpPr/>
            <p:nvPr/>
          </p:nvSpPr>
          <p:spPr>
            <a:xfrm>
              <a:off x="2968816" y="2113286"/>
              <a:ext cx="530" cy="584"/>
            </a:xfrm>
            <a:custGeom>
              <a:avLst/>
              <a:gdLst/>
              <a:ahLst/>
              <a:cxnLst/>
              <a:rect l="l" t="t" r="r" b="b"/>
              <a:pathLst>
                <a:path w="39" h="43" extrusionOk="0">
                  <a:moveTo>
                    <a:pt x="39" y="43"/>
                  </a:moveTo>
                  <a:cubicBezTo>
                    <a:pt x="25" y="29"/>
                    <a:pt x="14" y="15"/>
                    <a:pt x="0" y="1"/>
                  </a:cubicBezTo>
                  <a:cubicBezTo>
                    <a:pt x="14" y="15"/>
                    <a:pt x="25" y="29"/>
                    <a:pt x="39" y="4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2" name="Google Shape;8219;p64">
              <a:extLst>
                <a:ext uri="{FF2B5EF4-FFF2-40B4-BE49-F238E27FC236}">
                  <a16:creationId xmlns:a16="http://schemas.microsoft.com/office/drawing/2014/main" id="{88C2BED9-A9CE-6C66-2C63-92CE7E791559}"/>
                </a:ext>
              </a:extLst>
            </p:cNvPr>
            <p:cNvSpPr/>
            <p:nvPr/>
          </p:nvSpPr>
          <p:spPr>
            <a:xfrm>
              <a:off x="2109605" y="1718303"/>
              <a:ext cx="11147" cy="17827"/>
            </a:xfrm>
            <a:custGeom>
              <a:avLst/>
              <a:gdLst/>
              <a:ahLst/>
              <a:cxnLst/>
              <a:rect l="l" t="t" r="r" b="b"/>
              <a:pathLst>
                <a:path w="821" h="1313" extrusionOk="0">
                  <a:moveTo>
                    <a:pt x="571" y="0"/>
                  </a:moveTo>
                  <a:cubicBezTo>
                    <a:pt x="510" y="0"/>
                    <a:pt x="450" y="16"/>
                    <a:pt x="407" y="52"/>
                  </a:cubicBezTo>
                  <a:cubicBezTo>
                    <a:pt x="344" y="107"/>
                    <a:pt x="265" y="137"/>
                    <a:pt x="183" y="137"/>
                  </a:cubicBezTo>
                  <a:cubicBezTo>
                    <a:pt x="155" y="137"/>
                    <a:pt x="127" y="133"/>
                    <a:pt x="99" y="126"/>
                  </a:cubicBezTo>
                  <a:cubicBezTo>
                    <a:pt x="81" y="122"/>
                    <a:pt x="64" y="119"/>
                    <a:pt x="46" y="119"/>
                  </a:cubicBezTo>
                  <a:cubicBezTo>
                    <a:pt x="36" y="119"/>
                    <a:pt x="25" y="122"/>
                    <a:pt x="22" y="133"/>
                  </a:cubicBezTo>
                  <a:cubicBezTo>
                    <a:pt x="1" y="171"/>
                    <a:pt x="46" y="245"/>
                    <a:pt x="95" y="326"/>
                  </a:cubicBezTo>
                  <a:cubicBezTo>
                    <a:pt x="176" y="459"/>
                    <a:pt x="277" y="620"/>
                    <a:pt x="232" y="819"/>
                  </a:cubicBezTo>
                  <a:cubicBezTo>
                    <a:pt x="179" y="1043"/>
                    <a:pt x="232" y="1274"/>
                    <a:pt x="295" y="1309"/>
                  </a:cubicBezTo>
                  <a:cubicBezTo>
                    <a:pt x="298" y="1311"/>
                    <a:pt x="301" y="1312"/>
                    <a:pt x="304" y="1312"/>
                  </a:cubicBezTo>
                  <a:cubicBezTo>
                    <a:pt x="318" y="1312"/>
                    <a:pt x="336" y="1296"/>
                    <a:pt x="347" y="1285"/>
                  </a:cubicBezTo>
                  <a:cubicBezTo>
                    <a:pt x="417" y="1208"/>
                    <a:pt x="505" y="1155"/>
                    <a:pt x="603" y="1131"/>
                  </a:cubicBezTo>
                  <a:cubicBezTo>
                    <a:pt x="652" y="1120"/>
                    <a:pt x="694" y="1096"/>
                    <a:pt x="722" y="1057"/>
                  </a:cubicBezTo>
                  <a:cubicBezTo>
                    <a:pt x="764" y="998"/>
                    <a:pt x="764" y="809"/>
                    <a:pt x="764" y="644"/>
                  </a:cubicBezTo>
                  <a:cubicBezTo>
                    <a:pt x="764" y="476"/>
                    <a:pt x="764" y="308"/>
                    <a:pt x="803" y="189"/>
                  </a:cubicBezTo>
                  <a:cubicBezTo>
                    <a:pt x="820" y="133"/>
                    <a:pt x="792" y="70"/>
                    <a:pt x="740" y="45"/>
                  </a:cubicBezTo>
                  <a:cubicBezTo>
                    <a:pt x="695" y="17"/>
                    <a:pt x="633" y="0"/>
                    <a:pt x="57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3" name="Google Shape;8220;p64">
              <a:extLst>
                <a:ext uri="{FF2B5EF4-FFF2-40B4-BE49-F238E27FC236}">
                  <a16:creationId xmlns:a16="http://schemas.microsoft.com/office/drawing/2014/main" id="{8ED01C99-6D52-FD2E-A142-FAE1A1EDDC15}"/>
                </a:ext>
              </a:extLst>
            </p:cNvPr>
            <p:cNvSpPr/>
            <p:nvPr/>
          </p:nvSpPr>
          <p:spPr>
            <a:xfrm>
              <a:off x="2142544" y="1743706"/>
              <a:ext cx="19171" cy="11066"/>
            </a:xfrm>
            <a:custGeom>
              <a:avLst/>
              <a:gdLst/>
              <a:ahLst/>
              <a:cxnLst/>
              <a:rect l="l" t="t" r="r" b="b"/>
              <a:pathLst>
                <a:path w="1412" h="815" extrusionOk="0">
                  <a:moveTo>
                    <a:pt x="1338" y="1"/>
                  </a:moveTo>
                  <a:cubicBezTo>
                    <a:pt x="1278" y="1"/>
                    <a:pt x="1194" y="8"/>
                    <a:pt x="1079" y="33"/>
                  </a:cubicBezTo>
                  <a:cubicBezTo>
                    <a:pt x="902" y="72"/>
                    <a:pt x="774" y="98"/>
                    <a:pt x="661" y="98"/>
                  </a:cubicBezTo>
                  <a:cubicBezTo>
                    <a:pt x="561" y="98"/>
                    <a:pt x="473" y="78"/>
                    <a:pt x="372" y="26"/>
                  </a:cubicBezTo>
                  <a:cubicBezTo>
                    <a:pt x="349" y="15"/>
                    <a:pt x="321" y="8"/>
                    <a:pt x="294" y="8"/>
                  </a:cubicBezTo>
                  <a:cubicBezTo>
                    <a:pt x="288" y="8"/>
                    <a:pt x="283" y="8"/>
                    <a:pt x="278" y="9"/>
                  </a:cubicBezTo>
                  <a:cubicBezTo>
                    <a:pt x="194" y="9"/>
                    <a:pt x="109" y="40"/>
                    <a:pt x="43" y="96"/>
                  </a:cubicBezTo>
                  <a:cubicBezTo>
                    <a:pt x="11" y="124"/>
                    <a:pt x="1" y="152"/>
                    <a:pt x="4" y="163"/>
                  </a:cubicBezTo>
                  <a:cubicBezTo>
                    <a:pt x="22" y="215"/>
                    <a:pt x="116" y="324"/>
                    <a:pt x="523" y="429"/>
                  </a:cubicBezTo>
                  <a:cubicBezTo>
                    <a:pt x="705" y="474"/>
                    <a:pt x="866" y="576"/>
                    <a:pt x="992" y="716"/>
                  </a:cubicBezTo>
                  <a:cubicBezTo>
                    <a:pt x="1055" y="779"/>
                    <a:pt x="1090" y="814"/>
                    <a:pt x="1132" y="814"/>
                  </a:cubicBezTo>
                  <a:cubicBezTo>
                    <a:pt x="1137" y="814"/>
                    <a:pt x="1141" y="815"/>
                    <a:pt x="1145" y="815"/>
                  </a:cubicBezTo>
                  <a:cubicBezTo>
                    <a:pt x="1180" y="815"/>
                    <a:pt x="1192" y="802"/>
                    <a:pt x="1202" y="793"/>
                  </a:cubicBezTo>
                  <a:cubicBezTo>
                    <a:pt x="1219" y="772"/>
                    <a:pt x="1244" y="706"/>
                    <a:pt x="1212" y="520"/>
                  </a:cubicBezTo>
                  <a:cubicBezTo>
                    <a:pt x="1174" y="317"/>
                    <a:pt x="1331" y="107"/>
                    <a:pt x="1412" y="5"/>
                  </a:cubicBezTo>
                  <a:cubicBezTo>
                    <a:pt x="1394" y="3"/>
                    <a:pt x="1369" y="1"/>
                    <a:pt x="133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4" name="Google Shape;8221;p64">
              <a:extLst>
                <a:ext uri="{FF2B5EF4-FFF2-40B4-BE49-F238E27FC236}">
                  <a16:creationId xmlns:a16="http://schemas.microsoft.com/office/drawing/2014/main" id="{EE95BFE8-5286-F4E5-1025-A326E6DC0EE4}"/>
                </a:ext>
              </a:extLst>
            </p:cNvPr>
            <p:cNvSpPr/>
            <p:nvPr/>
          </p:nvSpPr>
          <p:spPr>
            <a:xfrm>
              <a:off x="2099300" y="1663436"/>
              <a:ext cx="82904" cy="79917"/>
            </a:xfrm>
            <a:custGeom>
              <a:avLst/>
              <a:gdLst/>
              <a:ahLst/>
              <a:cxnLst/>
              <a:rect l="l" t="t" r="r" b="b"/>
              <a:pathLst>
                <a:path w="6106" h="5886" extrusionOk="0">
                  <a:moveTo>
                    <a:pt x="3259" y="267"/>
                  </a:moveTo>
                  <a:lnTo>
                    <a:pt x="3258" y="277"/>
                  </a:lnTo>
                  <a:lnTo>
                    <a:pt x="3258" y="277"/>
                  </a:lnTo>
                  <a:lnTo>
                    <a:pt x="3259" y="278"/>
                  </a:lnTo>
                  <a:lnTo>
                    <a:pt x="3259" y="267"/>
                  </a:lnTo>
                  <a:close/>
                  <a:moveTo>
                    <a:pt x="2881" y="1"/>
                  </a:moveTo>
                  <a:cubicBezTo>
                    <a:pt x="2703" y="4"/>
                    <a:pt x="2584" y="22"/>
                    <a:pt x="2559" y="43"/>
                  </a:cubicBezTo>
                  <a:cubicBezTo>
                    <a:pt x="2513" y="92"/>
                    <a:pt x="2372" y="190"/>
                    <a:pt x="2244" y="190"/>
                  </a:cubicBezTo>
                  <a:cubicBezTo>
                    <a:pt x="2207" y="190"/>
                    <a:pt x="2171" y="182"/>
                    <a:pt x="2139" y="162"/>
                  </a:cubicBezTo>
                  <a:lnTo>
                    <a:pt x="2118" y="148"/>
                  </a:lnTo>
                  <a:lnTo>
                    <a:pt x="2062" y="197"/>
                  </a:lnTo>
                  <a:cubicBezTo>
                    <a:pt x="2045" y="281"/>
                    <a:pt x="2003" y="362"/>
                    <a:pt x="1919" y="362"/>
                  </a:cubicBezTo>
                  <a:cubicBezTo>
                    <a:pt x="1901" y="362"/>
                    <a:pt x="1880" y="358"/>
                    <a:pt x="1863" y="355"/>
                  </a:cubicBezTo>
                  <a:cubicBezTo>
                    <a:pt x="1849" y="355"/>
                    <a:pt x="1838" y="351"/>
                    <a:pt x="1824" y="351"/>
                  </a:cubicBezTo>
                  <a:lnTo>
                    <a:pt x="1824" y="362"/>
                  </a:lnTo>
                  <a:cubicBezTo>
                    <a:pt x="1828" y="400"/>
                    <a:pt x="1807" y="442"/>
                    <a:pt x="1775" y="467"/>
                  </a:cubicBezTo>
                  <a:cubicBezTo>
                    <a:pt x="1739" y="497"/>
                    <a:pt x="1688" y="508"/>
                    <a:pt x="1632" y="508"/>
                  </a:cubicBezTo>
                  <a:cubicBezTo>
                    <a:pt x="1585" y="508"/>
                    <a:pt x="1536" y="501"/>
                    <a:pt x="1488" y="491"/>
                  </a:cubicBezTo>
                  <a:cubicBezTo>
                    <a:pt x="1477" y="488"/>
                    <a:pt x="1466" y="486"/>
                    <a:pt x="1455" y="486"/>
                  </a:cubicBezTo>
                  <a:cubicBezTo>
                    <a:pt x="1430" y="486"/>
                    <a:pt x="1406" y="494"/>
                    <a:pt x="1387" y="509"/>
                  </a:cubicBezTo>
                  <a:cubicBezTo>
                    <a:pt x="1376" y="516"/>
                    <a:pt x="1373" y="526"/>
                    <a:pt x="1373" y="537"/>
                  </a:cubicBezTo>
                  <a:cubicBezTo>
                    <a:pt x="1373" y="775"/>
                    <a:pt x="1296" y="810"/>
                    <a:pt x="1271" y="820"/>
                  </a:cubicBezTo>
                  <a:cubicBezTo>
                    <a:pt x="1259" y="825"/>
                    <a:pt x="1243" y="830"/>
                    <a:pt x="1225" y="830"/>
                  </a:cubicBezTo>
                  <a:cubicBezTo>
                    <a:pt x="1195" y="830"/>
                    <a:pt x="1158" y="818"/>
                    <a:pt x="1117" y="782"/>
                  </a:cubicBezTo>
                  <a:cubicBezTo>
                    <a:pt x="1047" y="712"/>
                    <a:pt x="984" y="631"/>
                    <a:pt x="931" y="544"/>
                  </a:cubicBezTo>
                  <a:cubicBezTo>
                    <a:pt x="914" y="516"/>
                    <a:pt x="889" y="477"/>
                    <a:pt x="872" y="453"/>
                  </a:cubicBezTo>
                  <a:cubicBezTo>
                    <a:pt x="861" y="470"/>
                    <a:pt x="851" y="495"/>
                    <a:pt x="840" y="512"/>
                  </a:cubicBezTo>
                  <a:cubicBezTo>
                    <a:pt x="770" y="652"/>
                    <a:pt x="693" y="813"/>
                    <a:pt x="578" y="813"/>
                  </a:cubicBezTo>
                  <a:lnTo>
                    <a:pt x="392" y="813"/>
                  </a:lnTo>
                  <a:lnTo>
                    <a:pt x="186" y="831"/>
                  </a:lnTo>
                  <a:lnTo>
                    <a:pt x="165" y="831"/>
                  </a:lnTo>
                  <a:cubicBezTo>
                    <a:pt x="158" y="866"/>
                    <a:pt x="158" y="901"/>
                    <a:pt x="172" y="932"/>
                  </a:cubicBezTo>
                  <a:cubicBezTo>
                    <a:pt x="175" y="936"/>
                    <a:pt x="179" y="939"/>
                    <a:pt x="179" y="946"/>
                  </a:cubicBezTo>
                  <a:lnTo>
                    <a:pt x="186" y="950"/>
                  </a:lnTo>
                  <a:lnTo>
                    <a:pt x="193" y="957"/>
                  </a:lnTo>
                  <a:cubicBezTo>
                    <a:pt x="196" y="964"/>
                    <a:pt x="200" y="967"/>
                    <a:pt x="207" y="971"/>
                  </a:cubicBezTo>
                  <a:cubicBezTo>
                    <a:pt x="231" y="985"/>
                    <a:pt x="249" y="1006"/>
                    <a:pt x="252" y="1034"/>
                  </a:cubicBezTo>
                  <a:cubicBezTo>
                    <a:pt x="256" y="1044"/>
                    <a:pt x="256" y="1058"/>
                    <a:pt x="256" y="1069"/>
                  </a:cubicBezTo>
                  <a:cubicBezTo>
                    <a:pt x="252" y="1156"/>
                    <a:pt x="165" y="1265"/>
                    <a:pt x="91" y="1303"/>
                  </a:cubicBezTo>
                  <a:cubicBezTo>
                    <a:pt x="67" y="1314"/>
                    <a:pt x="39" y="1324"/>
                    <a:pt x="7" y="1328"/>
                  </a:cubicBezTo>
                  <a:lnTo>
                    <a:pt x="0" y="1328"/>
                  </a:lnTo>
                  <a:lnTo>
                    <a:pt x="11" y="1342"/>
                  </a:lnTo>
                  <a:cubicBezTo>
                    <a:pt x="35" y="1377"/>
                    <a:pt x="67" y="1408"/>
                    <a:pt x="102" y="1433"/>
                  </a:cubicBezTo>
                  <a:cubicBezTo>
                    <a:pt x="161" y="1482"/>
                    <a:pt x="252" y="1555"/>
                    <a:pt x="168" y="1692"/>
                  </a:cubicBezTo>
                  <a:cubicBezTo>
                    <a:pt x="144" y="1723"/>
                    <a:pt x="137" y="1765"/>
                    <a:pt x="154" y="1800"/>
                  </a:cubicBezTo>
                  <a:cubicBezTo>
                    <a:pt x="172" y="1832"/>
                    <a:pt x="203" y="1853"/>
                    <a:pt x="242" y="1856"/>
                  </a:cubicBezTo>
                  <a:cubicBezTo>
                    <a:pt x="266" y="1860"/>
                    <a:pt x="294" y="1860"/>
                    <a:pt x="322" y="1860"/>
                  </a:cubicBezTo>
                  <a:cubicBezTo>
                    <a:pt x="330" y="1859"/>
                    <a:pt x="338" y="1859"/>
                    <a:pt x="346" y="1859"/>
                  </a:cubicBezTo>
                  <a:cubicBezTo>
                    <a:pt x="400" y="1859"/>
                    <a:pt x="452" y="1870"/>
                    <a:pt x="504" y="1891"/>
                  </a:cubicBezTo>
                  <a:cubicBezTo>
                    <a:pt x="553" y="1916"/>
                    <a:pt x="574" y="1979"/>
                    <a:pt x="550" y="2031"/>
                  </a:cubicBezTo>
                  <a:cubicBezTo>
                    <a:pt x="543" y="2045"/>
                    <a:pt x="539" y="2059"/>
                    <a:pt x="532" y="2077"/>
                  </a:cubicBezTo>
                  <a:lnTo>
                    <a:pt x="522" y="2101"/>
                  </a:lnTo>
                  <a:cubicBezTo>
                    <a:pt x="567" y="2094"/>
                    <a:pt x="616" y="2080"/>
                    <a:pt x="662" y="2059"/>
                  </a:cubicBezTo>
                  <a:cubicBezTo>
                    <a:pt x="704" y="2035"/>
                    <a:pt x="742" y="1996"/>
                    <a:pt x="763" y="1951"/>
                  </a:cubicBezTo>
                  <a:cubicBezTo>
                    <a:pt x="805" y="1877"/>
                    <a:pt x="861" y="1786"/>
                    <a:pt x="1054" y="1730"/>
                  </a:cubicBezTo>
                  <a:cubicBezTo>
                    <a:pt x="1096" y="1716"/>
                    <a:pt x="1145" y="1713"/>
                    <a:pt x="1190" y="1713"/>
                  </a:cubicBezTo>
                  <a:cubicBezTo>
                    <a:pt x="1471" y="1713"/>
                    <a:pt x="1782" y="1912"/>
                    <a:pt x="1891" y="2080"/>
                  </a:cubicBezTo>
                  <a:cubicBezTo>
                    <a:pt x="1915" y="2119"/>
                    <a:pt x="1936" y="2147"/>
                    <a:pt x="1954" y="2175"/>
                  </a:cubicBezTo>
                  <a:cubicBezTo>
                    <a:pt x="2017" y="2245"/>
                    <a:pt x="2055" y="2336"/>
                    <a:pt x="2073" y="2431"/>
                  </a:cubicBezTo>
                  <a:cubicBezTo>
                    <a:pt x="2090" y="2532"/>
                    <a:pt x="2174" y="2798"/>
                    <a:pt x="2559" y="3047"/>
                  </a:cubicBezTo>
                  <a:cubicBezTo>
                    <a:pt x="2738" y="3166"/>
                    <a:pt x="2899" y="3306"/>
                    <a:pt x="3042" y="3463"/>
                  </a:cubicBezTo>
                  <a:cubicBezTo>
                    <a:pt x="3140" y="3561"/>
                    <a:pt x="3217" y="3642"/>
                    <a:pt x="3298" y="3680"/>
                  </a:cubicBezTo>
                  <a:cubicBezTo>
                    <a:pt x="3372" y="3715"/>
                    <a:pt x="3445" y="3743"/>
                    <a:pt x="3526" y="3761"/>
                  </a:cubicBezTo>
                  <a:cubicBezTo>
                    <a:pt x="3645" y="3792"/>
                    <a:pt x="3757" y="3820"/>
                    <a:pt x="3844" y="3925"/>
                  </a:cubicBezTo>
                  <a:cubicBezTo>
                    <a:pt x="3956" y="4058"/>
                    <a:pt x="4110" y="4135"/>
                    <a:pt x="4299" y="4223"/>
                  </a:cubicBezTo>
                  <a:cubicBezTo>
                    <a:pt x="4383" y="4265"/>
                    <a:pt x="4457" y="4332"/>
                    <a:pt x="4509" y="4416"/>
                  </a:cubicBezTo>
                  <a:cubicBezTo>
                    <a:pt x="4565" y="4489"/>
                    <a:pt x="4597" y="4531"/>
                    <a:pt x="4667" y="4542"/>
                  </a:cubicBezTo>
                  <a:cubicBezTo>
                    <a:pt x="4824" y="4563"/>
                    <a:pt x="4835" y="4671"/>
                    <a:pt x="4842" y="4748"/>
                  </a:cubicBezTo>
                  <a:cubicBezTo>
                    <a:pt x="4842" y="4797"/>
                    <a:pt x="4856" y="4846"/>
                    <a:pt x="4887" y="4888"/>
                  </a:cubicBezTo>
                  <a:cubicBezTo>
                    <a:pt x="5013" y="5042"/>
                    <a:pt x="5052" y="5368"/>
                    <a:pt x="4912" y="5560"/>
                  </a:cubicBezTo>
                  <a:cubicBezTo>
                    <a:pt x="4849" y="5655"/>
                    <a:pt x="4838" y="5777"/>
                    <a:pt x="4887" y="5886"/>
                  </a:cubicBezTo>
                  <a:cubicBezTo>
                    <a:pt x="4947" y="5840"/>
                    <a:pt x="5073" y="5627"/>
                    <a:pt x="5094" y="5494"/>
                  </a:cubicBezTo>
                  <a:cubicBezTo>
                    <a:pt x="5111" y="5371"/>
                    <a:pt x="5188" y="5322"/>
                    <a:pt x="5265" y="5273"/>
                  </a:cubicBezTo>
                  <a:cubicBezTo>
                    <a:pt x="5325" y="5242"/>
                    <a:pt x="5377" y="5196"/>
                    <a:pt x="5423" y="5140"/>
                  </a:cubicBezTo>
                  <a:cubicBezTo>
                    <a:pt x="5448" y="5105"/>
                    <a:pt x="5455" y="5098"/>
                    <a:pt x="5353" y="5014"/>
                  </a:cubicBezTo>
                  <a:cubicBezTo>
                    <a:pt x="5279" y="4958"/>
                    <a:pt x="5192" y="4885"/>
                    <a:pt x="5160" y="4769"/>
                  </a:cubicBezTo>
                  <a:cubicBezTo>
                    <a:pt x="5132" y="4650"/>
                    <a:pt x="5178" y="4524"/>
                    <a:pt x="5279" y="4458"/>
                  </a:cubicBezTo>
                  <a:cubicBezTo>
                    <a:pt x="5349" y="4407"/>
                    <a:pt x="5433" y="4382"/>
                    <a:pt x="5520" y="4382"/>
                  </a:cubicBezTo>
                  <a:cubicBezTo>
                    <a:pt x="5609" y="4382"/>
                    <a:pt x="5701" y="4408"/>
                    <a:pt x="5784" y="4461"/>
                  </a:cubicBezTo>
                  <a:cubicBezTo>
                    <a:pt x="5826" y="4486"/>
                    <a:pt x="5861" y="4510"/>
                    <a:pt x="5896" y="4535"/>
                  </a:cubicBezTo>
                  <a:cubicBezTo>
                    <a:pt x="5952" y="4577"/>
                    <a:pt x="6015" y="4612"/>
                    <a:pt x="6078" y="4636"/>
                  </a:cubicBezTo>
                  <a:cubicBezTo>
                    <a:pt x="6092" y="4605"/>
                    <a:pt x="6095" y="4573"/>
                    <a:pt x="6095" y="4538"/>
                  </a:cubicBezTo>
                  <a:cubicBezTo>
                    <a:pt x="6106" y="4367"/>
                    <a:pt x="5546" y="4086"/>
                    <a:pt x="5276" y="3953"/>
                  </a:cubicBezTo>
                  <a:cubicBezTo>
                    <a:pt x="5174" y="3901"/>
                    <a:pt x="5094" y="3859"/>
                    <a:pt x="5045" y="3831"/>
                  </a:cubicBezTo>
                  <a:cubicBezTo>
                    <a:pt x="4968" y="3782"/>
                    <a:pt x="4908" y="3708"/>
                    <a:pt x="4880" y="3624"/>
                  </a:cubicBezTo>
                  <a:cubicBezTo>
                    <a:pt x="4848" y="3551"/>
                    <a:pt x="4834" y="3515"/>
                    <a:pt x="4713" y="3515"/>
                  </a:cubicBezTo>
                  <a:cubicBezTo>
                    <a:pt x="4702" y="3515"/>
                    <a:pt x="4690" y="3515"/>
                    <a:pt x="4677" y="3516"/>
                  </a:cubicBezTo>
                  <a:cubicBezTo>
                    <a:pt x="4669" y="3516"/>
                    <a:pt x="4660" y="3517"/>
                    <a:pt x="4652" y="3517"/>
                  </a:cubicBezTo>
                  <a:cubicBezTo>
                    <a:pt x="4297" y="3517"/>
                    <a:pt x="3887" y="3091"/>
                    <a:pt x="3760" y="2592"/>
                  </a:cubicBezTo>
                  <a:cubicBezTo>
                    <a:pt x="3697" y="2340"/>
                    <a:pt x="3512" y="2227"/>
                    <a:pt x="3330" y="2119"/>
                  </a:cubicBezTo>
                  <a:cubicBezTo>
                    <a:pt x="3189" y="2035"/>
                    <a:pt x="3060" y="1958"/>
                    <a:pt x="2997" y="1821"/>
                  </a:cubicBezTo>
                  <a:cubicBezTo>
                    <a:pt x="2937" y="1709"/>
                    <a:pt x="2937" y="1573"/>
                    <a:pt x="2997" y="1464"/>
                  </a:cubicBezTo>
                  <a:cubicBezTo>
                    <a:pt x="3025" y="1398"/>
                    <a:pt x="3046" y="1356"/>
                    <a:pt x="3004" y="1272"/>
                  </a:cubicBezTo>
                  <a:cubicBezTo>
                    <a:pt x="2979" y="1219"/>
                    <a:pt x="2976" y="1156"/>
                    <a:pt x="2997" y="1104"/>
                  </a:cubicBezTo>
                  <a:cubicBezTo>
                    <a:pt x="3039" y="999"/>
                    <a:pt x="3151" y="929"/>
                    <a:pt x="3238" y="890"/>
                  </a:cubicBezTo>
                  <a:lnTo>
                    <a:pt x="3238" y="859"/>
                  </a:lnTo>
                  <a:lnTo>
                    <a:pt x="3238" y="820"/>
                  </a:lnTo>
                  <a:lnTo>
                    <a:pt x="3238" y="757"/>
                  </a:lnTo>
                  <a:lnTo>
                    <a:pt x="3238" y="729"/>
                  </a:lnTo>
                  <a:lnTo>
                    <a:pt x="3238" y="638"/>
                  </a:lnTo>
                  <a:lnTo>
                    <a:pt x="3238" y="621"/>
                  </a:lnTo>
                  <a:cubicBezTo>
                    <a:pt x="3238" y="596"/>
                    <a:pt x="3238" y="572"/>
                    <a:pt x="3242" y="547"/>
                  </a:cubicBezTo>
                  <a:lnTo>
                    <a:pt x="3242" y="516"/>
                  </a:lnTo>
                  <a:cubicBezTo>
                    <a:pt x="3242" y="498"/>
                    <a:pt x="3242" y="477"/>
                    <a:pt x="3242" y="460"/>
                  </a:cubicBezTo>
                  <a:cubicBezTo>
                    <a:pt x="3242" y="449"/>
                    <a:pt x="3242" y="439"/>
                    <a:pt x="3245" y="428"/>
                  </a:cubicBezTo>
                  <a:cubicBezTo>
                    <a:pt x="3249" y="414"/>
                    <a:pt x="3249" y="393"/>
                    <a:pt x="3249" y="376"/>
                  </a:cubicBezTo>
                  <a:cubicBezTo>
                    <a:pt x="3252" y="362"/>
                    <a:pt x="3249" y="355"/>
                    <a:pt x="3252" y="344"/>
                  </a:cubicBezTo>
                  <a:cubicBezTo>
                    <a:pt x="3256" y="334"/>
                    <a:pt x="3256" y="313"/>
                    <a:pt x="3256" y="295"/>
                  </a:cubicBezTo>
                  <a:lnTo>
                    <a:pt x="3258" y="277"/>
                  </a:lnTo>
                  <a:lnTo>
                    <a:pt x="3258" y="277"/>
                  </a:lnTo>
                  <a:lnTo>
                    <a:pt x="3200" y="267"/>
                  </a:lnTo>
                  <a:cubicBezTo>
                    <a:pt x="3140" y="264"/>
                    <a:pt x="3081" y="246"/>
                    <a:pt x="3025" y="222"/>
                  </a:cubicBezTo>
                  <a:cubicBezTo>
                    <a:pt x="2972" y="187"/>
                    <a:pt x="2948" y="109"/>
                    <a:pt x="2930" y="39"/>
                  </a:cubicBezTo>
                  <a:cubicBezTo>
                    <a:pt x="2927" y="29"/>
                    <a:pt x="2923" y="11"/>
                    <a:pt x="2916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5" name="Google Shape;8222;p64">
              <a:extLst>
                <a:ext uri="{FF2B5EF4-FFF2-40B4-BE49-F238E27FC236}">
                  <a16:creationId xmlns:a16="http://schemas.microsoft.com/office/drawing/2014/main" id="{E43E5C02-8880-32A1-E9CE-04778C5AF784}"/>
                </a:ext>
              </a:extLst>
            </p:cNvPr>
            <p:cNvSpPr/>
            <p:nvPr/>
          </p:nvSpPr>
          <p:spPr>
            <a:xfrm>
              <a:off x="2139082" y="1663966"/>
              <a:ext cx="1344" cy="2485"/>
            </a:xfrm>
            <a:custGeom>
              <a:avLst/>
              <a:gdLst/>
              <a:ahLst/>
              <a:cxnLst/>
              <a:rect l="l" t="t" r="r" b="b"/>
              <a:pathLst>
                <a:path w="99" h="183" extrusionOk="0">
                  <a:moveTo>
                    <a:pt x="98" y="183"/>
                  </a:moveTo>
                  <a:lnTo>
                    <a:pt x="98" y="183"/>
                  </a:lnTo>
                  <a:cubicBezTo>
                    <a:pt x="42" y="148"/>
                    <a:pt x="21" y="70"/>
                    <a:pt x="0" y="0"/>
                  </a:cubicBezTo>
                  <a:cubicBezTo>
                    <a:pt x="21" y="70"/>
                    <a:pt x="42" y="148"/>
                    <a:pt x="98" y="18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6" name="Google Shape;8223;p64">
              <a:extLst>
                <a:ext uri="{FF2B5EF4-FFF2-40B4-BE49-F238E27FC236}">
                  <a16:creationId xmlns:a16="http://schemas.microsoft.com/office/drawing/2014/main" id="{4CBBD37A-E69E-3829-F9B3-461AE48F996E}"/>
                </a:ext>
              </a:extLst>
            </p:cNvPr>
            <p:cNvSpPr/>
            <p:nvPr/>
          </p:nvSpPr>
          <p:spPr>
            <a:xfrm>
              <a:off x="2128057" y="1665391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4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7" name="Google Shape;8224;p64">
              <a:extLst>
                <a:ext uri="{FF2B5EF4-FFF2-40B4-BE49-F238E27FC236}">
                  <a16:creationId xmlns:a16="http://schemas.microsoft.com/office/drawing/2014/main" id="{8CC308FB-D030-F99D-E330-0E0E78CBB3FA}"/>
                </a:ext>
              </a:extLst>
            </p:cNvPr>
            <p:cNvSpPr/>
            <p:nvPr/>
          </p:nvSpPr>
          <p:spPr>
            <a:xfrm>
              <a:off x="2142734" y="1667061"/>
              <a:ext cx="923" cy="149"/>
            </a:xfrm>
            <a:custGeom>
              <a:avLst/>
              <a:gdLst/>
              <a:ahLst/>
              <a:cxnLst/>
              <a:rect l="l" t="t" r="r" b="b"/>
              <a:pathLst>
                <a:path w="68" h="11" extrusionOk="0">
                  <a:moveTo>
                    <a:pt x="67" y="11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8" name="Google Shape;8225;p64">
              <a:extLst>
                <a:ext uri="{FF2B5EF4-FFF2-40B4-BE49-F238E27FC236}">
                  <a16:creationId xmlns:a16="http://schemas.microsoft.com/office/drawing/2014/main" id="{22E94026-3366-AF88-E7E0-C48726EE0A06}"/>
                </a:ext>
              </a:extLst>
            </p:cNvPr>
            <p:cNvSpPr/>
            <p:nvPr/>
          </p:nvSpPr>
          <p:spPr>
            <a:xfrm>
              <a:off x="2105477" y="167451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9" name="Google Shape;8226;p64">
              <a:extLst>
                <a:ext uri="{FF2B5EF4-FFF2-40B4-BE49-F238E27FC236}">
                  <a16:creationId xmlns:a16="http://schemas.microsoft.com/office/drawing/2014/main" id="{286266EF-950A-A422-60A9-1BF3F051C2D4}"/>
                </a:ext>
              </a:extLst>
            </p:cNvPr>
            <p:cNvSpPr/>
            <p:nvPr/>
          </p:nvSpPr>
          <p:spPr>
            <a:xfrm>
              <a:off x="2105097" y="1674570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21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0" name="Google Shape;8227;p64">
              <a:extLst>
                <a:ext uri="{FF2B5EF4-FFF2-40B4-BE49-F238E27FC236}">
                  <a16:creationId xmlns:a16="http://schemas.microsoft.com/office/drawing/2014/main" id="{700F6771-C130-ADA7-F98F-F33BB24B3D7A}"/>
                </a:ext>
              </a:extLst>
            </p:cNvPr>
            <p:cNvSpPr/>
            <p:nvPr/>
          </p:nvSpPr>
          <p:spPr>
            <a:xfrm>
              <a:off x="2101866" y="1674610"/>
              <a:ext cx="2770" cy="204"/>
            </a:xfrm>
            <a:custGeom>
              <a:avLst/>
              <a:gdLst/>
              <a:ahLst/>
              <a:cxnLst/>
              <a:rect l="l" t="t" r="r" b="b"/>
              <a:pathLst>
                <a:path w="204" h="15" extrusionOk="0">
                  <a:moveTo>
                    <a:pt x="203" y="1"/>
                  </a:moveTo>
                  <a:lnTo>
                    <a:pt x="0" y="1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1" name="Google Shape;8228;p64">
              <a:extLst>
                <a:ext uri="{FF2B5EF4-FFF2-40B4-BE49-F238E27FC236}">
                  <a16:creationId xmlns:a16="http://schemas.microsoft.com/office/drawing/2014/main" id="{3D1BD86D-9F34-44EF-3E89-0130DBCA651D}"/>
                </a:ext>
              </a:extLst>
            </p:cNvPr>
            <p:cNvSpPr/>
            <p:nvPr/>
          </p:nvSpPr>
          <p:spPr>
            <a:xfrm>
              <a:off x="2104622" y="1674570"/>
              <a:ext cx="394" cy="14"/>
            </a:xfrm>
            <a:custGeom>
              <a:avLst/>
              <a:gdLst/>
              <a:ahLst/>
              <a:cxnLst/>
              <a:rect l="l" t="t" r="r" b="b"/>
              <a:pathLst>
                <a:path w="29" h="1" extrusionOk="0">
                  <a:moveTo>
                    <a:pt x="28" y="0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2" name="Google Shape;8229;p64">
              <a:extLst>
                <a:ext uri="{FF2B5EF4-FFF2-40B4-BE49-F238E27FC236}">
                  <a16:creationId xmlns:a16="http://schemas.microsoft.com/office/drawing/2014/main" id="{6206FF20-EAA2-7963-8B92-9D12A18E5A12}"/>
                </a:ext>
              </a:extLst>
            </p:cNvPr>
            <p:cNvSpPr/>
            <p:nvPr/>
          </p:nvSpPr>
          <p:spPr>
            <a:xfrm>
              <a:off x="2101526" y="1674855"/>
              <a:ext cx="299" cy="14"/>
            </a:xfrm>
            <a:custGeom>
              <a:avLst/>
              <a:gdLst/>
              <a:ahLst/>
              <a:cxnLst/>
              <a:rect l="l" t="t" r="r" b="b"/>
              <a:pathLst>
                <a:path w="22" h="1" extrusionOk="0">
                  <a:moveTo>
                    <a:pt x="1" y="0"/>
                  </a:moveTo>
                  <a:lnTo>
                    <a:pt x="22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3" name="Google Shape;8230;p64">
              <a:extLst>
                <a:ext uri="{FF2B5EF4-FFF2-40B4-BE49-F238E27FC236}">
                  <a16:creationId xmlns:a16="http://schemas.microsoft.com/office/drawing/2014/main" id="{472CD263-4868-7772-63AA-442FA43BFF28}"/>
                </a:ext>
              </a:extLst>
            </p:cNvPr>
            <p:cNvSpPr/>
            <p:nvPr/>
          </p:nvSpPr>
          <p:spPr>
            <a:xfrm>
              <a:off x="2127296" y="1665391"/>
              <a:ext cx="774" cy="720"/>
            </a:xfrm>
            <a:custGeom>
              <a:avLst/>
              <a:gdLst/>
              <a:ahLst/>
              <a:cxnLst/>
              <a:rect l="l" t="t" r="r" b="b"/>
              <a:pathLst>
                <a:path w="57" h="53" extrusionOk="0">
                  <a:moveTo>
                    <a:pt x="0" y="53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4" name="Google Shape;8231;p64">
              <a:extLst>
                <a:ext uri="{FF2B5EF4-FFF2-40B4-BE49-F238E27FC236}">
                  <a16:creationId xmlns:a16="http://schemas.microsoft.com/office/drawing/2014/main" id="{8EC66768-5D82-5C89-D405-4A1E4F317852}"/>
                </a:ext>
              </a:extLst>
            </p:cNvPr>
            <p:cNvSpPr/>
            <p:nvPr/>
          </p:nvSpPr>
          <p:spPr>
            <a:xfrm>
              <a:off x="2106903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5" name="Google Shape;8232;p64">
              <a:extLst>
                <a:ext uri="{FF2B5EF4-FFF2-40B4-BE49-F238E27FC236}">
                  <a16:creationId xmlns:a16="http://schemas.microsoft.com/office/drawing/2014/main" id="{666A6827-9DD2-731A-278A-03ECB76550D7}"/>
                </a:ext>
              </a:extLst>
            </p:cNvPr>
            <p:cNvSpPr/>
            <p:nvPr/>
          </p:nvSpPr>
          <p:spPr>
            <a:xfrm>
              <a:off x="2106659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6" name="Google Shape;8233;p64">
              <a:extLst>
                <a:ext uri="{FF2B5EF4-FFF2-40B4-BE49-F238E27FC236}">
                  <a16:creationId xmlns:a16="http://schemas.microsoft.com/office/drawing/2014/main" id="{4858DBB9-621B-56BC-922C-41044E853127}"/>
                </a:ext>
              </a:extLst>
            </p:cNvPr>
            <p:cNvSpPr/>
            <p:nvPr/>
          </p:nvSpPr>
          <p:spPr>
            <a:xfrm>
              <a:off x="2105858" y="1674515"/>
              <a:ext cx="244" cy="14"/>
            </a:xfrm>
            <a:custGeom>
              <a:avLst/>
              <a:gdLst/>
              <a:ahLst/>
              <a:cxnLst/>
              <a:rect l="l" t="t" r="r" b="b"/>
              <a:pathLst>
                <a:path w="18" h="1" extrusionOk="0">
                  <a:moveTo>
                    <a:pt x="18" y="1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7" name="Google Shape;8234;p64">
              <a:extLst>
                <a:ext uri="{FF2B5EF4-FFF2-40B4-BE49-F238E27FC236}">
                  <a16:creationId xmlns:a16="http://schemas.microsoft.com/office/drawing/2014/main" id="{F1649E01-5116-FD69-8D6F-AF2E11007629}"/>
                </a:ext>
              </a:extLst>
            </p:cNvPr>
            <p:cNvSpPr/>
            <p:nvPr/>
          </p:nvSpPr>
          <p:spPr>
            <a:xfrm>
              <a:off x="2107134" y="1674475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8" name="Google Shape;8235;p64">
              <a:extLst>
                <a:ext uri="{FF2B5EF4-FFF2-40B4-BE49-F238E27FC236}">
                  <a16:creationId xmlns:a16="http://schemas.microsoft.com/office/drawing/2014/main" id="{8857CFA2-79AC-4AE3-0BE8-D5074A2F7D11}"/>
                </a:ext>
              </a:extLst>
            </p:cNvPr>
            <p:cNvSpPr/>
            <p:nvPr/>
          </p:nvSpPr>
          <p:spPr>
            <a:xfrm>
              <a:off x="2106183" y="1674475"/>
              <a:ext cx="204" cy="14"/>
            </a:xfrm>
            <a:custGeom>
              <a:avLst/>
              <a:gdLst/>
              <a:ahLst/>
              <a:cxnLst/>
              <a:rect l="l" t="t" r="r" b="b"/>
              <a:pathLst>
                <a:path w="15" h="1" extrusionOk="0">
                  <a:moveTo>
                    <a:pt x="15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9" name="Google Shape;8236;p64">
              <a:extLst>
                <a:ext uri="{FF2B5EF4-FFF2-40B4-BE49-F238E27FC236}">
                  <a16:creationId xmlns:a16="http://schemas.microsoft.com/office/drawing/2014/main" id="{9AAE5169-9B22-70B8-FD21-B2B6BA212257}"/>
                </a:ext>
              </a:extLst>
            </p:cNvPr>
            <p:cNvSpPr/>
            <p:nvPr/>
          </p:nvSpPr>
          <p:spPr>
            <a:xfrm>
              <a:off x="2102762" y="1677652"/>
              <a:ext cx="68" cy="448"/>
            </a:xfrm>
            <a:custGeom>
              <a:avLst/>
              <a:gdLst/>
              <a:ahLst/>
              <a:cxnLst/>
              <a:rect l="l" t="t" r="r" b="b"/>
              <a:pathLst>
                <a:path w="5" h="33" extrusionOk="0">
                  <a:moveTo>
                    <a:pt x="4" y="32"/>
                  </a:moveTo>
                  <a:cubicBezTo>
                    <a:pt x="4" y="22"/>
                    <a:pt x="4" y="11"/>
                    <a:pt x="1" y="1"/>
                  </a:cubicBezTo>
                  <a:cubicBezTo>
                    <a:pt x="4" y="11"/>
                    <a:pt x="4" y="22"/>
                    <a:pt x="4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0" name="Google Shape;8237;p64">
              <a:extLst>
                <a:ext uri="{FF2B5EF4-FFF2-40B4-BE49-F238E27FC236}">
                  <a16:creationId xmlns:a16="http://schemas.microsoft.com/office/drawing/2014/main" id="{C56E9F18-C947-B3A2-F4D2-23073709B8DF}"/>
                </a:ext>
              </a:extLst>
            </p:cNvPr>
            <p:cNvSpPr/>
            <p:nvPr/>
          </p:nvSpPr>
          <p:spPr>
            <a:xfrm>
              <a:off x="2101771" y="1676416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1" name="Google Shape;8238;p64">
              <a:extLst>
                <a:ext uri="{FF2B5EF4-FFF2-40B4-BE49-F238E27FC236}">
                  <a16:creationId xmlns:a16="http://schemas.microsoft.com/office/drawing/2014/main" id="{7FA0BE15-4ABD-F921-6D5D-8FCFC641E923}"/>
                </a:ext>
              </a:extLst>
            </p:cNvPr>
            <p:cNvSpPr/>
            <p:nvPr/>
          </p:nvSpPr>
          <p:spPr>
            <a:xfrm>
              <a:off x="2102572" y="1688826"/>
              <a:ext cx="3584" cy="434"/>
            </a:xfrm>
            <a:custGeom>
              <a:avLst/>
              <a:gdLst/>
              <a:ahLst/>
              <a:cxnLst/>
              <a:rect l="l" t="t" r="r" b="b"/>
              <a:pathLst>
                <a:path w="264" h="32" extrusionOk="0">
                  <a:moveTo>
                    <a:pt x="1" y="0"/>
                  </a:moveTo>
                  <a:cubicBezTo>
                    <a:pt x="25" y="4"/>
                    <a:pt x="53" y="4"/>
                    <a:pt x="81" y="4"/>
                  </a:cubicBezTo>
                  <a:cubicBezTo>
                    <a:pt x="144" y="0"/>
                    <a:pt x="207" y="11"/>
                    <a:pt x="263" y="32"/>
                  </a:cubicBezTo>
                  <a:cubicBezTo>
                    <a:pt x="207" y="11"/>
                    <a:pt x="144" y="0"/>
                    <a:pt x="81" y="4"/>
                  </a:cubicBezTo>
                  <a:cubicBezTo>
                    <a:pt x="53" y="4"/>
                    <a:pt x="25" y="4"/>
                    <a:pt x="1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2" name="Google Shape;8239;p64">
              <a:extLst>
                <a:ext uri="{FF2B5EF4-FFF2-40B4-BE49-F238E27FC236}">
                  <a16:creationId xmlns:a16="http://schemas.microsoft.com/office/drawing/2014/main" id="{DF4FB5A4-9545-CE8A-F529-B4F1E5665466}"/>
                </a:ext>
              </a:extLst>
            </p:cNvPr>
            <p:cNvSpPr/>
            <p:nvPr/>
          </p:nvSpPr>
          <p:spPr>
            <a:xfrm>
              <a:off x="2106374" y="1691813"/>
              <a:ext cx="163" cy="353"/>
            </a:xfrm>
            <a:custGeom>
              <a:avLst/>
              <a:gdLst/>
              <a:ahLst/>
              <a:cxnLst/>
              <a:rect l="l" t="t" r="r" b="b"/>
              <a:pathLst>
                <a:path w="12" h="26" extrusionOk="0">
                  <a:moveTo>
                    <a:pt x="1" y="25"/>
                  </a:moveTo>
                  <a:lnTo>
                    <a:pt x="1" y="25"/>
                  </a:lnTo>
                  <a:lnTo>
                    <a:pt x="1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3" name="Google Shape;8240;p64">
              <a:extLst>
                <a:ext uri="{FF2B5EF4-FFF2-40B4-BE49-F238E27FC236}">
                  <a16:creationId xmlns:a16="http://schemas.microsoft.com/office/drawing/2014/main" id="{B1E0527B-8F75-D76B-D2A3-8A2B708EBD73}"/>
                </a:ext>
              </a:extLst>
            </p:cNvPr>
            <p:cNvSpPr/>
            <p:nvPr/>
          </p:nvSpPr>
          <p:spPr>
            <a:xfrm>
              <a:off x="2101676" y="1676280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4" name="Google Shape;8241;p64">
              <a:extLst>
                <a:ext uri="{FF2B5EF4-FFF2-40B4-BE49-F238E27FC236}">
                  <a16:creationId xmlns:a16="http://schemas.microsoft.com/office/drawing/2014/main" id="{5C5DBD2E-5673-3DF6-1DCE-EE8E53100474}"/>
                </a:ext>
              </a:extLst>
            </p:cNvPr>
            <p:cNvSpPr/>
            <p:nvPr/>
          </p:nvSpPr>
          <p:spPr>
            <a:xfrm>
              <a:off x="2101907" y="1676606"/>
              <a:ext cx="543" cy="394"/>
            </a:xfrm>
            <a:custGeom>
              <a:avLst/>
              <a:gdLst/>
              <a:ahLst/>
              <a:cxnLst/>
              <a:rect l="l" t="t" r="r" b="b"/>
              <a:pathLst>
                <a:path w="40" h="29" extrusionOk="0">
                  <a:moveTo>
                    <a:pt x="15" y="11"/>
                  </a:moveTo>
                  <a:cubicBezTo>
                    <a:pt x="11" y="8"/>
                    <a:pt x="4" y="4"/>
                    <a:pt x="1" y="1"/>
                  </a:cubicBezTo>
                  <a:cubicBezTo>
                    <a:pt x="4" y="4"/>
                    <a:pt x="11" y="8"/>
                    <a:pt x="15" y="11"/>
                  </a:cubicBezTo>
                  <a:cubicBezTo>
                    <a:pt x="25" y="18"/>
                    <a:pt x="32" y="22"/>
                    <a:pt x="39" y="29"/>
                  </a:cubicBezTo>
                  <a:cubicBezTo>
                    <a:pt x="32" y="22"/>
                    <a:pt x="25" y="18"/>
                    <a:pt x="15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5" name="Google Shape;8242;p64">
              <a:extLst>
                <a:ext uri="{FF2B5EF4-FFF2-40B4-BE49-F238E27FC236}">
                  <a16:creationId xmlns:a16="http://schemas.microsoft.com/office/drawing/2014/main" id="{2045DEDF-F9D5-C487-8904-10EBFF4117DA}"/>
                </a:ext>
              </a:extLst>
            </p:cNvPr>
            <p:cNvSpPr/>
            <p:nvPr/>
          </p:nvSpPr>
          <p:spPr>
            <a:xfrm>
              <a:off x="2143359" y="1670619"/>
              <a:ext cx="54" cy="448"/>
            </a:xfrm>
            <a:custGeom>
              <a:avLst/>
              <a:gdLst/>
              <a:ahLst/>
              <a:cxnLst/>
              <a:rect l="l" t="t" r="r" b="b"/>
              <a:pathLst>
                <a:path w="4" h="33" extrusionOk="0">
                  <a:moveTo>
                    <a:pt x="4" y="1"/>
                  </a:moveTo>
                  <a:cubicBezTo>
                    <a:pt x="4" y="11"/>
                    <a:pt x="0" y="22"/>
                    <a:pt x="4" y="32"/>
                  </a:cubicBez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6" name="Google Shape;8243;p64">
              <a:extLst>
                <a:ext uri="{FF2B5EF4-FFF2-40B4-BE49-F238E27FC236}">
                  <a16:creationId xmlns:a16="http://schemas.microsoft.com/office/drawing/2014/main" id="{4DD23FD1-FB90-3597-628A-450791F1124D}"/>
                </a:ext>
              </a:extLst>
            </p:cNvPr>
            <p:cNvSpPr/>
            <p:nvPr/>
          </p:nvSpPr>
          <p:spPr>
            <a:xfrm>
              <a:off x="2143304" y="1674760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1" y="0"/>
                  </a:moveTo>
                  <a:lnTo>
                    <a:pt x="1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7" name="Google Shape;8244;p64">
              <a:extLst>
                <a:ext uri="{FF2B5EF4-FFF2-40B4-BE49-F238E27FC236}">
                  <a16:creationId xmlns:a16="http://schemas.microsoft.com/office/drawing/2014/main" id="{78E301D2-FB7B-B493-1E88-931F142AB430}"/>
                </a:ext>
              </a:extLst>
            </p:cNvPr>
            <p:cNvSpPr/>
            <p:nvPr/>
          </p:nvSpPr>
          <p:spPr>
            <a:xfrm>
              <a:off x="2143454" y="1669383"/>
              <a:ext cx="14" cy="489"/>
            </a:xfrm>
            <a:custGeom>
              <a:avLst/>
              <a:gdLst/>
              <a:ahLst/>
              <a:cxnLst/>
              <a:rect l="l" t="t" r="r" b="b"/>
              <a:pathLst>
                <a:path w="1" h="36" extrusionOk="0">
                  <a:moveTo>
                    <a:pt x="0" y="1"/>
                  </a:moveTo>
                  <a:cubicBezTo>
                    <a:pt x="0" y="15"/>
                    <a:pt x="0" y="25"/>
                    <a:pt x="0" y="36"/>
                  </a:cubicBezTo>
                  <a:cubicBezTo>
                    <a:pt x="0" y="25"/>
                    <a:pt x="0" y="15"/>
                    <a:pt x="0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8" name="Google Shape;8245;p64">
              <a:extLst>
                <a:ext uri="{FF2B5EF4-FFF2-40B4-BE49-F238E27FC236}">
                  <a16:creationId xmlns:a16="http://schemas.microsoft.com/office/drawing/2014/main" id="{4588E540-9994-E615-D0D0-5989EA6138AC}"/>
                </a:ext>
              </a:extLst>
            </p:cNvPr>
            <p:cNvSpPr/>
            <p:nvPr/>
          </p:nvSpPr>
          <p:spPr>
            <a:xfrm>
              <a:off x="2143304" y="1672044"/>
              <a:ext cx="14" cy="258"/>
            </a:xfrm>
            <a:custGeom>
              <a:avLst/>
              <a:gdLst/>
              <a:ahLst/>
              <a:cxnLst/>
              <a:rect l="l" t="t" r="r" b="b"/>
              <a:pathLst>
                <a:path w="1" h="19" extrusionOk="0">
                  <a:moveTo>
                    <a:pt x="1" y="1"/>
                  </a:moveTo>
                  <a:lnTo>
                    <a:pt x="1" y="1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9" name="Google Shape;8246;p64">
              <a:extLst>
                <a:ext uri="{FF2B5EF4-FFF2-40B4-BE49-F238E27FC236}">
                  <a16:creationId xmlns:a16="http://schemas.microsoft.com/office/drawing/2014/main" id="{7778B570-89FA-69FE-C2DF-0D706B78FEBF}"/>
                </a:ext>
              </a:extLst>
            </p:cNvPr>
            <p:cNvSpPr/>
            <p:nvPr/>
          </p:nvSpPr>
          <p:spPr>
            <a:xfrm>
              <a:off x="2143304" y="1673524"/>
              <a:ext cx="14" cy="394"/>
            </a:xfrm>
            <a:custGeom>
              <a:avLst/>
              <a:gdLst/>
              <a:ahLst/>
              <a:cxnLst/>
              <a:rect l="l" t="t" r="r" b="b"/>
              <a:pathLst>
                <a:path w="1" h="29" extrusionOk="0">
                  <a:moveTo>
                    <a:pt x="1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0" name="Google Shape;8247;p64">
              <a:extLst>
                <a:ext uri="{FF2B5EF4-FFF2-40B4-BE49-F238E27FC236}">
                  <a16:creationId xmlns:a16="http://schemas.microsoft.com/office/drawing/2014/main" id="{FF50FCB7-29CD-26E7-2908-0539843EF4EB}"/>
                </a:ext>
              </a:extLst>
            </p:cNvPr>
            <p:cNvSpPr/>
            <p:nvPr/>
          </p:nvSpPr>
          <p:spPr>
            <a:xfrm>
              <a:off x="2143494" y="1668297"/>
              <a:ext cx="68" cy="434"/>
            </a:xfrm>
            <a:custGeom>
              <a:avLst/>
              <a:gdLst/>
              <a:ahLst/>
              <a:cxnLst/>
              <a:rect l="l" t="t" r="r" b="b"/>
              <a:pathLst>
                <a:path w="5" h="32" extrusionOk="0">
                  <a:moveTo>
                    <a:pt x="4" y="0"/>
                  </a:moveTo>
                  <a:cubicBezTo>
                    <a:pt x="4" y="11"/>
                    <a:pt x="4" y="21"/>
                    <a:pt x="1" y="32"/>
                  </a:cubicBezTo>
                  <a:cubicBezTo>
                    <a:pt x="4" y="21"/>
                    <a:pt x="4" y="11"/>
                    <a:pt x="4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1" name="Google Shape;8248;p64">
              <a:extLst>
                <a:ext uri="{FF2B5EF4-FFF2-40B4-BE49-F238E27FC236}">
                  <a16:creationId xmlns:a16="http://schemas.microsoft.com/office/drawing/2014/main" id="{523280D7-BA4E-DF53-6113-153C92992CE7}"/>
                </a:ext>
              </a:extLst>
            </p:cNvPr>
            <p:cNvSpPr/>
            <p:nvPr/>
          </p:nvSpPr>
          <p:spPr>
            <a:xfrm>
              <a:off x="2143589" y="1667251"/>
              <a:ext cx="68" cy="394"/>
            </a:xfrm>
            <a:custGeom>
              <a:avLst/>
              <a:gdLst/>
              <a:ahLst/>
              <a:cxnLst/>
              <a:rect l="l" t="t" r="r" b="b"/>
              <a:pathLst>
                <a:path w="5" h="29" extrusionOk="0">
                  <a:moveTo>
                    <a:pt x="4" y="0"/>
                  </a:moveTo>
                  <a:lnTo>
                    <a:pt x="1" y="2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2" name="Google Shape;8249;p64">
              <a:extLst>
                <a:ext uri="{FF2B5EF4-FFF2-40B4-BE49-F238E27FC236}">
                  <a16:creationId xmlns:a16="http://schemas.microsoft.com/office/drawing/2014/main" id="{185E90BF-7981-CB08-81DF-581A0D9E4F0A}"/>
                </a:ext>
              </a:extLst>
            </p:cNvPr>
            <p:cNvSpPr/>
            <p:nvPr/>
          </p:nvSpPr>
          <p:spPr>
            <a:xfrm>
              <a:off x="2184186" y="1698140"/>
              <a:ext cx="6626" cy="9138"/>
            </a:xfrm>
            <a:custGeom>
              <a:avLst/>
              <a:gdLst/>
              <a:ahLst/>
              <a:cxnLst/>
              <a:rect l="l" t="t" r="r" b="b"/>
              <a:pathLst>
                <a:path w="488" h="673" extrusionOk="0">
                  <a:moveTo>
                    <a:pt x="162" y="1"/>
                  </a:moveTo>
                  <a:lnTo>
                    <a:pt x="137" y="36"/>
                  </a:lnTo>
                  <a:cubicBezTo>
                    <a:pt x="127" y="53"/>
                    <a:pt x="116" y="71"/>
                    <a:pt x="109" y="85"/>
                  </a:cubicBezTo>
                  <a:lnTo>
                    <a:pt x="99" y="99"/>
                  </a:lnTo>
                  <a:lnTo>
                    <a:pt x="92" y="113"/>
                  </a:lnTo>
                  <a:cubicBezTo>
                    <a:pt x="53" y="165"/>
                    <a:pt x="25" y="228"/>
                    <a:pt x="11" y="295"/>
                  </a:cubicBezTo>
                  <a:lnTo>
                    <a:pt x="11" y="298"/>
                  </a:lnTo>
                  <a:lnTo>
                    <a:pt x="11" y="302"/>
                  </a:lnTo>
                  <a:lnTo>
                    <a:pt x="11" y="316"/>
                  </a:lnTo>
                  <a:lnTo>
                    <a:pt x="11" y="330"/>
                  </a:lnTo>
                  <a:lnTo>
                    <a:pt x="11" y="347"/>
                  </a:lnTo>
                  <a:lnTo>
                    <a:pt x="11" y="351"/>
                  </a:lnTo>
                  <a:lnTo>
                    <a:pt x="11" y="368"/>
                  </a:lnTo>
                  <a:lnTo>
                    <a:pt x="11" y="379"/>
                  </a:lnTo>
                  <a:cubicBezTo>
                    <a:pt x="11" y="382"/>
                    <a:pt x="11" y="389"/>
                    <a:pt x="8" y="396"/>
                  </a:cubicBezTo>
                  <a:lnTo>
                    <a:pt x="8" y="407"/>
                  </a:lnTo>
                  <a:cubicBezTo>
                    <a:pt x="8" y="414"/>
                    <a:pt x="4" y="421"/>
                    <a:pt x="4" y="428"/>
                  </a:cubicBezTo>
                  <a:lnTo>
                    <a:pt x="1" y="445"/>
                  </a:lnTo>
                  <a:lnTo>
                    <a:pt x="18" y="459"/>
                  </a:lnTo>
                  <a:cubicBezTo>
                    <a:pt x="109" y="536"/>
                    <a:pt x="204" y="606"/>
                    <a:pt x="302" y="673"/>
                  </a:cubicBezTo>
                  <a:cubicBezTo>
                    <a:pt x="333" y="557"/>
                    <a:pt x="400" y="449"/>
                    <a:pt x="487" y="368"/>
                  </a:cubicBezTo>
                  <a:lnTo>
                    <a:pt x="477" y="351"/>
                  </a:lnTo>
                  <a:lnTo>
                    <a:pt x="438" y="316"/>
                  </a:lnTo>
                  <a:lnTo>
                    <a:pt x="417" y="291"/>
                  </a:lnTo>
                  <a:lnTo>
                    <a:pt x="386" y="256"/>
                  </a:lnTo>
                  <a:lnTo>
                    <a:pt x="368" y="232"/>
                  </a:lnTo>
                  <a:lnTo>
                    <a:pt x="319" y="176"/>
                  </a:lnTo>
                  <a:lnTo>
                    <a:pt x="305" y="162"/>
                  </a:lnTo>
                  <a:lnTo>
                    <a:pt x="267" y="116"/>
                  </a:lnTo>
                  <a:lnTo>
                    <a:pt x="253" y="99"/>
                  </a:lnTo>
                  <a:lnTo>
                    <a:pt x="214" y="57"/>
                  </a:lnTo>
                  <a:lnTo>
                    <a:pt x="204" y="46"/>
                  </a:lnTo>
                  <a:lnTo>
                    <a:pt x="162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3" name="Google Shape;8250;p64">
              <a:extLst>
                <a:ext uri="{FF2B5EF4-FFF2-40B4-BE49-F238E27FC236}">
                  <a16:creationId xmlns:a16="http://schemas.microsoft.com/office/drawing/2014/main" id="{F71D56C2-ACA8-41D1-19CA-80D52F41D47D}"/>
                </a:ext>
              </a:extLst>
            </p:cNvPr>
            <p:cNvSpPr/>
            <p:nvPr/>
          </p:nvSpPr>
          <p:spPr>
            <a:xfrm>
              <a:off x="2184336" y="170228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4" name="Google Shape;8251;p64">
              <a:extLst>
                <a:ext uri="{FF2B5EF4-FFF2-40B4-BE49-F238E27FC236}">
                  <a16:creationId xmlns:a16="http://schemas.microsoft.com/office/drawing/2014/main" id="{ACB1AE91-0841-C2B5-F329-3002BAB02A5E}"/>
                </a:ext>
              </a:extLst>
            </p:cNvPr>
            <p:cNvSpPr/>
            <p:nvPr/>
          </p:nvSpPr>
          <p:spPr>
            <a:xfrm>
              <a:off x="2184376" y="1702661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5" name="Google Shape;8252;p64">
              <a:extLst>
                <a:ext uri="{FF2B5EF4-FFF2-40B4-BE49-F238E27FC236}">
                  <a16:creationId xmlns:a16="http://schemas.microsoft.com/office/drawing/2014/main" id="{BE1F3301-43B1-85CB-872E-FC7E7C8B083C}"/>
                </a:ext>
              </a:extLst>
            </p:cNvPr>
            <p:cNvSpPr/>
            <p:nvPr/>
          </p:nvSpPr>
          <p:spPr>
            <a:xfrm>
              <a:off x="2184376" y="170241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6" name="Google Shape;8253;p64">
              <a:extLst>
                <a:ext uri="{FF2B5EF4-FFF2-40B4-BE49-F238E27FC236}">
                  <a16:creationId xmlns:a16="http://schemas.microsoft.com/office/drawing/2014/main" id="{A06666D2-DE4D-9484-4663-A07CFF16787E}"/>
                </a:ext>
              </a:extLst>
            </p:cNvPr>
            <p:cNvSpPr/>
            <p:nvPr/>
          </p:nvSpPr>
          <p:spPr>
            <a:xfrm>
              <a:off x="2184336" y="1702132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0" y="1"/>
                  </a:moveTo>
                  <a:lnTo>
                    <a:pt x="0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7" name="Google Shape;8254;p64">
              <a:extLst>
                <a:ext uri="{FF2B5EF4-FFF2-40B4-BE49-F238E27FC236}">
                  <a16:creationId xmlns:a16="http://schemas.microsoft.com/office/drawing/2014/main" id="{CA536193-06F5-CF0D-9235-A8DD4C07C379}"/>
                </a:ext>
              </a:extLst>
            </p:cNvPr>
            <p:cNvSpPr/>
            <p:nvPr/>
          </p:nvSpPr>
          <p:spPr>
            <a:xfrm>
              <a:off x="2185666" y="1698615"/>
              <a:ext cx="394" cy="679"/>
            </a:xfrm>
            <a:custGeom>
              <a:avLst/>
              <a:gdLst/>
              <a:ahLst/>
              <a:cxnLst/>
              <a:rect l="l" t="t" r="r" b="b"/>
              <a:pathLst>
                <a:path w="29" h="50" extrusionOk="0">
                  <a:moveTo>
                    <a:pt x="28" y="1"/>
                  </a:moveTo>
                  <a:lnTo>
                    <a:pt x="28" y="1"/>
                  </a:lnTo>
                  <a:cubicBezTo>
                    <a:pt x="18" y="18"/>
                    <a:pt x="7" y="32"/>
                    <a:pt x="0" y="50"/>
                  </a:cubicBezTo>
                  <a:cubicBezTo>
                    <a:pt x="7" y="36"/>
                    <a:pt x="18" y="18"/>
                    <a:pt x="28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8" name="Google Shape;8255;p64">
              <a:extLst>
                <a:ext uri="{FF2B5EF4-FFF2-40B4-BE49-F238E27FC236}">
                  <a16:creationId xmlns:a16="http://schemas.microsoft.com/office/drawing/2014/main" id="{56AA808F-ED23-EF83-26B1-6F2F942C531E}"/>
                </a:ext>
              </a:extLst>
            </p:cNvPr>
            <p:cNvSpPr/>
            <p:nvPr/>
          </p:nvSpPr>
          <p:spPr>
            <a:xfrm>
              <a:off x="2184241" y="1703558"/>
              <a:ext cx="14" cy="204"/>
            </a:xfrm>
            <a:custGeom>
              <a:avLst/>
              <a:gdLst/>
              <a:ahLst/>
              <a:cxnLst/>
              <a:rect l="l" t="t" r="r" b="b"/>
              <a:pathLst>
                <a:path w="1" h="15" extrusionOk="0">
                  <a:moveTo>
                    <a:pt x="0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9" name="Google Shape;8256;p64">
              <a:extLst>
                <a:ext uri="{FF2B5EF4-FFF2-40B4-BE49-F238E27FC236}">
                  <a16:creationId xmlns:a16="http://schemas.microsoft.com/office/drawing/2014/main" id="{5DF277BD-06D2-7EBA-E602-705235C8344D}"/>
                </a:ext>
              </a:extLst>
            </p:cNvPr>
            <p:cNvSpPr/>
            <p:nvPr/>
          </p:nvSpPr>
          <p:spPr>
            <a:xfrm>
              <a:off x="2184145" y="1704033"/>
              <a:ext cx="54" cy="204"/>
            </a:xfrm>
            <a:custGeom>
              <a:avLst/>
              <a:gdLst/>
              <a:ahLst/>
              <a:cxnLst/>
              <a:rect l="l" t="t" r="r" b="b"/>
              <a:pathLst>
                <a:path w="4" h="15" extrusionOk="0">
                  <a:moveTo>
                    <a:pt x="0" y="15"/>
                  </a:moveTo>
                  <a:lnTo>
                    <a:pt x="4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0" name="Google Shape;8257;p64">
              <a:extLst>
                <a:ext uri="{FF2B5EF4-FFF2-40B4-BE49-F238E27FC236}">
                  <a16:creationId xmlns:a16="http://schemas.microsoft.com/office/drawing/2014/main" id="{B62D8054-2F19-9FE4-068C-A28C80CDEF1D}"/>
                </a:ext>
              </a:extLst>
            </p:cNvPr>
            <p:cNvSpPr/>
            <p:nvPr/>
          </p:nvSpPr>
          <p:spPr>
            <a:xfrm>
              <a:off x="2185422" y="1699525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1" y="11"/>
                  </a:moveTo>
                  <a:lnTo>
                    <a:pt x="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1" name="Google Shape;8258;p64">
              <a:extLst>
                <a:ext uri="{FF2B5EF4-FFF2-40B4-BE49-F238E27FC236}">
                  <a16:creationId xmlns:a16="http://schemas.microsoft.com/office/drawing/2014/main" id="{16AE7850-5EFF-062B-EE99-2CB45462011C}"/>
                </a:ext>
              </a:extLst>
            </p:cNvPr>
            <p:cNvSpPr/>
            <p:nvPr/>
          </p:nvSpPr>
          <p:spPr>
            <a:xfrm>
              <a:off x="2184336" y="1702987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2" name="Google Shape;8259;p64">
              <a:extLst>
                <a:ext uri="{FF2B5EF4-FFF2-40B4-BE49-F238E27FC236}">
                  <a16:creationId xmlns:a16="http://schemas.microsoft.com/office/drawing/2014/main" id="{F6A3CCEC-2C69-A578-D91F-B605BA61E7EA}"/>
                </a:ext>
              </a:extLst>
            </p:cNvPr>
            <p:cNvSpPr/>
            <p:nvPr/>
          </p:nvSpPr>
          <p:spPr>
            <a:xfrm>
              <a:off x="2184336" y="1703232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7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3" name="Google Shape;8260;p64">
              <a:extLst>
                <a:ext uri="{FF2B5EF4-FFF2-40B4-BE49-F238E27FC236}">
                  <a16:creationId xmlns:a16="http://schemas.microsoft.com/office/drawing/2014/main" id="{1A447058-59F5-674B-71D5-5D31FA5C8054}"/>
                </a:ext>
              </a:extLst>
            </p:cNvPr>
            <p:cNvSpPr/>
            <p:nvPr/>
          </p:nvSpPr>
          <p:spPr>
            <a:xfrm>
              <a:off x="2188178" y="1703177"/>
              <a:ext cx="2580" cy="4195"/>
            </a:xfrm>
            <a:custGeom>
              <a:avLst/>
              <a:gdLst/>
              <a:ahLst/>
              <a:cxnLst/>
              <a:rect l="l" t="t" r="r" b="b"/>
              <a:pathLst>
                <a:path w="190" h="309" extrusionOk="0">
                  <a:moveTo>
                    <a:pt x="1" y="309"/>
                  </a:moveTo>
                  <a:cubicBezTo>
                    <a:pt x="36" y="190"/>
                    <a:pt x="102" y="85"/>
                    <a:pt x="190" y="1"/>
                  </a:cubicBezTo>
                  <a:lnTo>
                    <a:pt x="190" y="1"/>
                  </a:lnTo>
                  <a:cubicBezTo>
                    <a:pt x="102" y="85"/>
                    <a:pt x="36" y="190"/>
                    <a:pt x="1" y="30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4" name="Google Shape;8261;p64">
              <a:extLst>
                <a:ext uri="{FF2B5EF4-FFF2-40B4-BE49-F238E27FC236}">
                  <a16:creationId xmlns:a16="http://schemas.microsoft.com/office/drawing/2014/main" id="{927B65E1-BDEB-0D92-E6C5-C5568C417A42}"/>
                </a:ext>
              </a:extLst>
            </p:cNvPr>
            <p:cNvSpPr/>
            <p:nvPr/>
          </p:nvSpPr>
          <p:spPr>
            <a:xfrm>
              <a:off x="2186372" y="1671338"/>
              <a:ext cx="27820" cy="35044"/>
            </a:xfrm>
            <a:custGeom>
              <a:avLst/>
              <a:gdLst/>
              <a:ahLst/>
              <a:cxnLst/>
              <a:rect l="l" t="t" r="r" b="b"/>
              <a:pathLst>
                <a:path w="2049" h="2581" extrusionOk="0">
                  <a:moveTo>
                    <a:pt x="498" y="0"/>
                  </a:moveTo>
                  <a:cubicBezTo>
                    <a:pt x="424" y="21"/>
                    <a:pt x="190" y="98"/>
                    <a:pt x="1" y="158"/>
                  </a:cubicBezTo>
                  <a:lnTo>
                    <a:pt x="1" y="161"/>
                  </a:lnTo>
                  <a:cubicBezTo>
                    <a:pt x="1" y="168"/>
                    <a:pt x="4" y="175"/>
                    <a:pt x="4" y="182"/>
                  </a:cubicBezTo>
                  <a:cubicBezTo>
                    <a:pt x="4" y="189"/>
                    <a:pt x="8" y="203"/>
                    <a:pt x="11" y="214"/>
                  </a:cubicBezTo>
                  <a:cubicBezTo>
                    <a:pt x="15" y="224"/>
                    <a:pt x="15" y="228"/>
                    <a:pt x="15" y="235"/>
                  </a:cubicBezTo>
                  <a:cubicBezTo>
                    <a:pt x="18" y="238"/>
                    <a:pt x="18" y="252"/>
                    <a:pt x="22" y="259"/>
                  </a:cubicBezTo>
                  <a:lnTo>
                    <a:pt x="29" y="277"/>
                  </a:lnTo>
                  <a:cubicBezTo>
                    <a:pt x="29" y="284"/>
                    <a:pt x="32" y="291"/>
                    <a:pt x="36" y="298"/>
                  </a:cubicBezTo>
                  <a:lnTo>
                    <a:pt x="39" y="312"/>
                  </a:lnTo>
                  <a:cubicBezTo>
                    <a:pt x="43" y="315"/>
                    <a:pt x="46" y="322"/>
                    <a:pt x="46" y="326"/>
                  </a:cubicBezTo>
                  <a:lnTo>
                    <a:pt x="53" y="336"/>
                  </a:lnTo>
                  <a:cubicBezTo>
                    <a:pt x="57" y="343"/>
                    <a:pt x="60" y="347"/>
                    <a:pt x="60" y="350"/>
                  </a:cubicBezTo>
                  <a:lnTo>
                    <a:pt x="67" y="357"/>
                  </a:lnTo>
                  <a:cubicBezTo>
                    <a:pt x="71" y="361"/>
                    <a:pt x="71" y="364"/>
                    <a:pt x="74" y="368"/>
                  </a:cubicBezTo>
                  <a:lnTo>
                    <a:pt x="81" y="371"/>
                  </a:lnTo>
                  <a:cubicBezTo>
                    <a:pt x="85" y="375"/>
                    <a:pt x="88" y="378"/>
                    <a:pt x="92" y="378"/>
                  </a:cubicBezTo>
                  <a:cubicBezTo>
                    <a:pt x="246" y="434"/>
                    <a:pt x="260" y="560"/>
                    <a:pt x="274" y="662"/>
                  </a:cubicBezTo>
                  <a:cubicBezTo>
                    <a:pt x="277" y="711"/>
                    <a:pt x="288" y="760"/>
                    <a:pt x="305" y="805"/>
                  </a:cubicBezTo>
                  <a:cubicBezTo>
                    <a:pt x="305" y="812"/>
                    <a:pt x="309" y="816"/>
                    <a:pt x="312" y="823"/>
                  </a:cubicBezTo>
                  <a:cubicBezTo>
                    <a:pt x="319" y="851"/>
                    <a:pt x="326" y="882"/>
                    <a:pt x="330" y="910"/>
                  </a:cubicBezTo>
                  <a:lnTo>
                    <a:pt x="333" y="938"/>
                  </a:lnTo>
                  <a:lnTo>
                    <a:pt x="351" y="1085"/>
                  </a:lnTo>
                  <a:lnTo>
                    <a:pt x="344" y="1078"/>
                  </a:lnTo>
                  <a:lnTo>
                    <a:pt x="344" y="1078"/>
                  </a:lnTo>
                  <a:cubicBezTo>
                    <a:pt x="351" y="1246"/>
                    <a:pt x="344" y="1411"/>
                    <a:pt x="316" y="1572"/>
                  </a:cubicBezTo>
                  <a:lnTo>
                    <a:pt x="316" y="1575"/>
                  </a:lnTo>
                  <a:cubicBezTo>
                    <a:pt x="309" y="1617"/>
                    <a:pt x="298" y="1659"/>
                    <a:pt x="277" y="1698"/>
                  </a:cubicBezTo>
                  <a:cubicBezTo>
                    <a:pt x="277" y="1702"/>
                    <a:pt x="274" y="1702"/>
                    <a:pt x="270" y="1705"/>
                  </a:cubicBezTo>
                  <a:cubicBezTo>
                    <a:pt x="267" y="1709"/>
                    <a:pt x="267" y="1709"/>
                    <a:pt x="267" y="1712"/>
                  </a:cubicBezTo>
                  <a:lnTo>
                    <a:pt x="260" y="1716"/>
                  </a:lnTo>
                  <a:lnTo>
                    <a:pt x="256" y="1719"/>
                  </a:lnTo>
                  <a:cubicBezTo>
                    <a:pt x="253" y="1726"/>
                    <a:pt x="249" y="1726"/>
                    <a:pt x="242" y="1730"/>
                  </a:cubicBezTo>
                  <a:lnTo>
                    <a:pt x="239" y="1733"/>
                  </a:lnTo>
                  <a:cubicBezTo>
                    <a:pt x="235" y="1737"/>
                    <a:pt x="228" y="1737"/>
                    <a:pt x="225" y="1740"/>
                  </a:cubicBezTo>
                  <a:cubicBezTo>
                    <a:pt x="218" y="1740"/>
                    <a:pt x="214" y="1744"/>
                    <a:pt x="207" y="1744"/>
                  </a:cubicBezTo>
                  <a:cubicBezTo>
                    <a:pt x="158" y="1782"/>
                    <a:pt x="116" y="1824"/>
                    <a:pt x="81" y="1873"/>
                  </a:cubicBezTo>
                  <a:lnTo>
                    <a:pt x="85" y="1880"/>
                  </a:lnTo>
                  <a:lnTo>
                    <a:pt x="99" y="1894"/>
                  </a:lnTo>
                  <a:lnTo>
                    <a:pt x="134" y="1929"/>
                  </a:lnTo>
                  <a:lnTo>
                    <a:pt x="155" y="1950"/>
                  </a:lnTo>
                  <a:lnTo>
                    <a:pt x="186" y="1989"/>
                  </a:lnTo>
                  <a:lnTo>
                    <a:pt x="207" y="2010"/>
                  </a:lnTo>
                  <a:lnTo>
                    <a:pt x="239" y="2048"/>
                  </a:lnTo>
                  <a:lnTo>
                    <a:pt x="260" y="2073"/>
                  </a:lnTo>
                  <a:lnTo>
                    <a:pt x="295" y="2118"/>
                  </a:lnTo>
                  <a:lnTo>
                    <a:pt x="319" y="2146"/>
                  </a:lnTo>
                  <a:lnTo>
                    <a:pt x="365" y="2195"/>
                  </a:lnTo>
                  <a:lnTo>
                    <a:pt x="386" y="2223"/>
                  </a:lnTo>
                  <a:lnTo>
                    <a:pt x="414" y="2258"/>
                  </a:lnTo>
                  <a:lnTo>
                    <a:pt x="435" y="2283"/>
                  </a:lnTo>
                  <a:lnTo>
                    <a:pt x="452" y="2304"/>
                  </a:lnTo>
                  <a:cubicBezTo>
                    <a:pt x="459" y="2300"/>
                    <a:pt x="463" y="2300"/>
                    <a:pt x="470" y="2297"/>
                  </a:cubicBezTo>
                  <a:lnTo>
                    <a:pt x="480" y="2300"/>
                  </a:lnTo>
                  <a:lnTo>
                    <a:pt x="508" y="2307"/>
                  </a:lnTo>
                  <a:lnTo>
                    <a:pt x="529" y="2318"/>
                  </a:lnTo>
                  <a:lnTo>
                    <a:pt x="543" y="2321"/>
                  </a:lnTo>
                  <a:cubicBezTo>
                    <a:pt x="557" y="2328"/>
                    <a:pt x="575" y="2339"/>
                    <a:pt x="592" y="2346"/>
                  </a:cubicBezTo>
                  <a:lnTo>
                    <a:pt x="603" y="2353"/>
                  </a:lnTo>
                  <a:lnTo>
                    <a:pt x="652" y="2377"/>
                  </a:lnTo>
                  <a:lnTo>
                    <a:pt x="683" y="2395"/>
                  </a:lnTo>
                  <a:lnTo>
                    <a:pt x="704" y="2409"/>
                  </a:lnTo>
                  <a:cubicBezTo>
                    <a:pt x="802" y="2468"/>
                    <a:pt x="904" y="2538"/>
                    <a:pt x="960" y="2580"/>
                  </a:cubicBezTo>
                  <a:lnTo>
                    <a:pt x="1016" y="2566"/>
                  </a:lnTo>
                  <a:lnTo>
                    <a:pt x="1198" y="2531"/>
                  </a:lnTo>
                  <a:lnTo>
                    <a:pt x="1202" y="2531"/>
                  </a:lnTo>
                  <a:lnTo>
                    <a:pt x="1247" y="2524"/>
                  </a:lnTo>
                  <a:lnTo>
                    <a:pt x="1261" y="2524"/>
                  </a:lnTo>
                  <a:lnTo>
                    <a:pt x="1307" y="2514"/>
                  </a:lnTo>
                  <a:lnTo>
                    <a:pt x="1321" y="2510"/>
                  </a:lnTo>
                  <a:lnTo>
                    <a:pt x="1370" y="2503"/>
                  </a:lnTo>
                  <a:lnTo>
                    <a:pt x="1384" y="2500"/>
                  </a:lnTo>
                  <a:lnTo>
                    <a:pt x="1433" y="2489"/>
                  </a:lnTo>
                  <a:lnTo>
                    <a:pt x="1450" y="2486"/>
                  </a:lnTo>
                  <a:lnTo>
                    <a:pt x="1496" y="2479"/>
                  </a:lnTo>
                  <a:lnTo>
                    <a:pt x="1517" y="2475"/>
                  </a:lnTo>
                  <a:lnTo>
                    <a:pt x="1562" y="2468"/>
                  </a:lnTo>
                  <a:lnTo>
                    <a:pt x="1583" y="2461"/>
                  </a:lnTo>
                  <a:lnTo>
                    <a:pt x="1629" y="2454"/>
                  </a:lnTo>
                  <a:lnTo>
                    <a:pt x="1653" y="2451"/>
                  </a:lnTo>
                  <a:lnTo>
                    <a:pt x="1695" y="2444"/>
                  </a:lnTo>
                  <a:lnTo>
                    <a:pt x="1723" y="2440"/>
                  </a:lnTo>
                  <a:lnTo>
                    <a:pt x="1758" y="2433"/>
                  </a:lnTo>
                  <a:lnTo>
                    <a:pt x="1790" y="2430"/>
                  </a:lnTo>
                  <a:lnTo>
                    <a:pt x="1825" y="2423"/>
                  </a:lnTo>
                  <a:lnTo>
                    <a:pt x="1828" y="2423"/>
                  </a:lnTo>
                  <a:cubicBezTo>
                    <a:pt x="1835" y="2391"/>
                    <a:pt x="1835" y="2360"/>
                    <a:pt x="1835" y="2328"/>
                  </a:cubicBezTo>
                  <a:cubicBezTo>
                    <a:pt x="1835" y="2318"/>
                    <a:pt x="1835" y="2311"/>
                    <a:pt x="1835" y="2304"/>
                  </a:cubicBezTo>
                  <a:cubicBezTo>
                    <a:pt x="1835" y="2258"/>
                    <a:pt x="1849" y="2213"/>
                    <a:pt x="1874" y="2171"/>
                  </a:cubicBezTo>
                  <a:cubicBezTo>
                    <a:pt x="1884" y="2153"/>
                    <a:pt x="1895" y="2136"/>
                    <a:pt x="1909" y="2122"/>
                  </a:cubicBezTo>
                  <a:cubicBezTo>
                    <a:pt x="1944" y="2076"/>
                    <a:pt x="1993" y="2048"/>
                    <a:pt x="2049" y="2034"/>
                  </a:cubicBezTo>
                  <a:cubicBezTo>
                    <a:pt x="2003" y="1943"/>
                    <a:pt x="1944" y="1863"/>
                    <a:pt x="1870" y="1793"/>
                  </a:cubicBezTo>
                  <a:cubicBezTo>
                    <a:pt x="1793" y="1726"/>
                    <a:pt x="1755" y="1628"/>
                    <a:pt x="1762" y="1526"/>
                  </a:cubicBezTo>
                  <a:cubicBezTo>
                    <a:pt x="1765" y="1442"/>
                    <a:pt x="1807" y="1362"/>
                    <a:pt x="1877" y="1313"/>
                  </a:cubicBezTo>
                  <a:cubicBezTo>
                    <a:pt x="1884" y="1309"/>
                    <a:pt x="1891" y="1302"/>
                    <a:pt x="1895" y="1292"/>
                  </a:cubicBezTo>
                  <a:cubicBezTo>
                    <a:pt x="1898" y="1264"/>
                    <a:pt x="1895" y="1236"/>
                    <a:pt x="1884" y="1211"/>
                  </a:cubicBezTo>
                  <a:cubicBezTo>
                    <a:pt x="1870" y="1169"/>
                    <a:pt x="1863" y="1127"/>
                    <a:pt x="1860" y="1085"/>
                  </a:cubicBezTo>
                  <a:cubicBezTo>
                    <a:pt x="1814" y="1036"/>
                    <a:pt x="1527" y="994"/>
                    <a:pt x="1433" y="980"/>
                  </a:cubicBezTo>
                  <a:cubicBezTo>
                    <a:pt x="1387" y="977"/>
                    <a:pt x="1345" y="970"/>
                    <a:pt x="1300" y="959"/>
                  </a:cubicBezTo>
                  <a:cubicBezTo>
                    <a:pt x="1209" y="931"/>
                    <a:pt x="1223" y="823"/>
                    <a:pt x="1233" y="735"/>
                  </a:cubicBezTo>
                  <a:cubicBezTo>
                    <a:pt x="1237" y="697"/>
                    <a:pt x="1240" y="658"/>
                    <a:pt x="1237" y="623"/>
                  </a:cubicBezTo>
                  <a:cubicBezTo>
                    <a:pt x="1093" y="616"/>
                    <a:pt x="998" y="518"/>
                    <a:pt x="998" y="361"/>
                  </a:cubicBezTo>
                  <a:cubicBezTo>
                    <a:pt x="998" y="336"/>
                    <a:pt x="935" y="263"/>
                    <a:pt x="904" y="221"/>
                  </a:cubicBezTo>
                  <a:lnTo>
                    <a:pt x="883" y="200"/>
                  </a:lnTo>
                  <a:lnTo>
                    <a:pt x="876" y="193"/>
                  </a:lnTo>
                  <a:lnTo>
                    <a:pt x="865" y="175"/>
                  </a:lnTo>
                  <a:lnTo>
                    <a:pt x="858" y="168"/>
                  </a:lnTo>
                  <a:lnTo>
                    <a:pt x="844" y="151"/>
                  </a:lnTo>
                  <a:lnTo>
                    <a:pt x="841" y="147"/>
                  </a:lnTo>
                  <a:cubicBezTo>
                    <a:pt x="837" y="140"/>
                    <a:pt x="834" y="130"/>
                    <a:pt x="827" y="126"/>
                  </a:cubicBezTo>
                  <a:lnTo>
                    <a:pt x="823" y="119"/>
                  </a:lnTo>
                  <a:cubicBezTo>
                    <a:pt x="820" y="112"/>
                    <a:pt x="820" y="109"/>
                    <a:pt x="816" y="105"/>
                  </a:cubicBezTo>
                  <a:lnTo>
                    <a:pt x="813" y="98"/>
                  </a:lnTo>
                  <a:cubicBezTo>
                    <a:pt x="809" y="91"/>
                    <a:pt x="809" y="88"/>
                    <a:pt x="809" y="81"/>
                  </a:cubicBezTo>
                  <a:lnTo>
                    <a:pt x="809" y="77"/>
                  </a:lnTo>
                  <a:lnTo>
                    <a:pt x="788" y="77"/>
                  </a:lnTo>
                  <a:lnTo>
                    <a:pt x="774" y="74"/>
                  </a:lnTo>
                  <a:lnTo>
                    <a:pt x="753" y="70"/>
                  </a:lnTo>
                  <a:lnTo>
                    <a:pt x="732" y="70"/>
                  </a:lnTo>
                  <a:lnTo>
                    <a:pt x="718" y="67"/>
                  </a:lnTo>
                  <a:cubicBezTo>
                    <a:pt x="645" y="49"/>
                    <a:pt x="568" y="25"/>
                    <a:pt x="49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5" name="Google Shape;8262;p64">
              <a:extLst>
                <a:ext uri="{FF2B5EF4-FFF2-40B4-BE49-F238E27FC236}">
                  <a16:creationId xmlns:a16="http://schemas.microsoft.com/office/drawing/2014/main" id="{D3F050B8-A384-1766-AFA0-E228396876E9}"/>
                </a:ext>
              </a:extLst>
            </p:cNvPr>
            <p:cNvSpPr/>
            <p:nvPr/>
          </p:nvSpPr>
          <p:spPr>
            <a:xfrm>
              <a:off x="2189889" y="1694393"/>
              <a:ext cx="109" cy="149"/>
            </a:xfrm>
            <a:custGeom>
              <a:avLst/>
              <a:gdLst/>
              <a:ahLst/>
              <a:cxnLst/>
              <a:rect l="l" t="t" r="r" b="b"/>
              <a:pathLst>
                <a:path w="8" h="11" extrusionOk="0">
                  <a:moveTo>
                    <a:pt x="8" y="0"/>
                  </a:moveTo>
                  <a:cubicBezTo>
                    <a:pt x="8" y="4"/>
                    <a:pt x="4" y="7"/>
                    <a:pt x="1" y="11"/>
                  </a:cubicBezTo>
                  <a:lnTo>
                    <a:pt x="4" y="7"/>
                  </a:lnTo>
                  <a:cubicBezTo>
                    <a:pt x="4" y="7"/>
                    <a:pt x="8" y="4"/>
                    <a:pt x="8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6" name="Google Shape;8263;p64">
              <a:extLst>
                <a:ext uri="{FF2B5EF4-FFF2-40B4-BE49-F238E27FC236}">
                  <a16:creationId xmlns:a16="http://schemas.microsoft.com/office/drawing/2014/main" id="{783FCE0C-1D96-8B8A-758E-3CA79D927E7A}"/>
                </a:ext>
              </a:extLst>
            </p:cNvPr>
            <p:cNvSpPr/>
            <p:nvPr/>
          </p:nvSpPr>
          <p:spPr>
            <a:xfrm>
              <a:off x="2189373" y="1694773"/>
              <a:ext cx="244" cy="109"/>
            </a:xfrm>
            <a:custGeom>
              <a:avLst/>
              <a:gdLst/>
              <a:ahLst/>
              <a:cxnLst/>
              <a:rect l="l" t="t" r="r" b="b"/>
              <a:pathLst>
                <a:path w="18" h="8" extrusionOk="0">
                  <a:moveTo>
                    <a:pt x="0" y="7"/>
                  </a:moveTo>
                  <a:cubicBezTo>
                    <a:pt x="7" y="4"/>
                    <a:pt x="11" y="4"/>
                    <a:pt x="18" y="0"/>
                  </a:cubicBezTo>
                  <a:cubicBezTo>
                    <a:pt x="11" y="4"/>
                    <a:pt x="7" y="4"/>
                    <a:pt x="0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7" name="Google Shape;8264;p64">
              <a:extLst>
                <a:ext uri="{FF2B5EF4-FFF2-40B4-BE49-F238E27FC236}">
                  <a16:creationId xmlns:a16="http://schemas.microsoft.com/office/drawing/2014/main" id="{E3375AC1-3E21-FE85-C65B-B9CFFD843A61}"/>
                </a:ext>
              </a:extLst>
            </p:cNvPr>
            <p:cNvSpPr/>
            <p:nvPr/>
          </p:nvSpPr>
          <p:spPr>
            <a:xfrm>
              <a:off x="2189658" y="1694583"/>
              <a:ext cx="204" cy="149"/>
            </a:xfrm>
            <a:custGeom>
              <a:avLst/>
              <a:gdLst/>
              <a:ahLst/>
              <a:cxnLst/>
              <a:rect l="l" t="t" r="r" b="b"/>
              <a:pathLst>
                <a:path w="15" h="11" extrusionOk="0">
                  <a:moveTo>
                    <a:pt x="0" y="11"/>
                  </a:moveTo>
                  <a:cubicBezTo>
                    <a:pt x="4" y="7"/>
                    <a:pt x="11" y="4"/>
                    <a:pt x="14" y="0"/>
                  </a:cubicBezTo>
                  <a:cubicBezTo>
                    <a:pt x="11" y="4"/>
                    <a:pt x="4" y="7"/>
                    <a:pt x="0" y="1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8" name="Google Shape;8265;p64">
              <a:extLst>
                <a:ext uri="{FF2B5EF4-FFF2-40B4-BE49-F238E27FC236}">
                  <a16:creationId xmlns:a16="http://schemas.microsoft.com/office/drawing/2014/main" id="{29B7ED64-738A-2AA3-468D-273119DF1477}"/>
                </a:ext>
              </a:extLst>
            </p:cNvPr>
            <p:cNvSpPr/>
            <p:nvPr/>
          </p:nvSpPr>
          <p:spPr>
            <a:xfrm>
              <a:off x="2190798" y="1683599"/>
              <a:ext cx="54" cy="434"/>
            </a:xfrm>
            <a:custGeom>
              <a:avLst/>
              <a:gdLst/>
              <a:ahLst/>
              <a:cxnLst/>
              <a:rect l="l" t="t" r="r" b="b"/>
              <a:pathLst>
                <a:path w="4" h="32" extrusionOk="0">
                  <a:moveTo>
                    <a:pt x="0" y="0"/>
                  </a:moveTo>
                  <a:cubicBezTo>
                    <a:pt x="0" y="8"/>
                    <a:pt x="2" y="16"/>
                    <a:pt x="3" y="24"/>
                  </a:cubicBezTo>
                  <a:lnTo>
                    <a:pt x="0" y="0"/>
                  </a:lnTo>
                  <a:close/>
                  <a:moveTo>
                    <a:pt x="3" y="24"/>
                  </a:moveTo>
                  <a:lnTo>
                    <a:pt x="3" y="24"/>
                  </a:lnTo>
                  <a:cubicBezTo>
                    <a:pt x="4" y="27"/>
                    <a:pt x="4" y="29"/>
                    <a:pt x="4" y="32"/>
                  </a:cubicBezTo>
                  <a:lnTo>
                    <a:pt x="4" y="28"/>
                  </a:lnTo>
                  <a:lnTo>
                    <a:pt x="3" y="24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9" name="Google Shape;8266;p64">
              <a:extLst>
                <a:ext uri="{FF2B5EF4-FFF2-40B4-BE49-F238E27FC236}">
                  <a16:creationId xmlns:a16="http://schemas.microsoft.com/office/drawing/2014/main" id="{17A6DA02-F8D3-550D-6780-42E8491A82C6}"/>
                </a:ext>
              </a:extLst>
            </p:cNvPr>
            <p:cNvSpPr/>
            <p:nvPr/>
          </p:nvSpPr>
          <p:spPr>
            <a:xfrm>
              <a:off x="2190649" y="1692628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0" name="Google Shape;8267;p64">
              <a:extLst>
                <a:ext uri="{FF2B5EF4-FFF2-40B4-BE49-F238E27FC236}">
                  <a16:creationId xmlns:a16="http://schemas.microsoft.com/office/drawing/2014/main" id="{B80E216C-402F-F8BD-022E-8C6134D5F1FB}"/>
                </a:ext>
              </a:extLst>
            </p:cNvPr>
            <p:cNvSpPr/>
            <p:nvPr/>
          </p:nvSpPr>
          <p:spPr>
            <a:xfrm>
              <a:off x="2190894" y="1684020"/>
              <a:ext cx="204" cy="1969"/>
            </a:xfrm>
            <a:custGeom>
              <a:avLst/>
              <a:gdLst/>
              <a:ahLst/>
              <a:cxnLst/>
              <a:rect l="l" t="t" r="r" b="b"/>
              <a:pathLst>
                <a:path w="15" h="145" extrusionOk="0">
                  <a:moveTo>
                    <a:pt x="0" y="1"/>
                  </a:moveTo>
                  <a:lnTo>
                    <a:pt x="0" y="1"/>
                  </a:lnTo>
                  <a:cubicBezTo>
                    <a:pt x="0" y="22"/>
                    <a:pt x="4" y="46"/>
                    <a:pt x="7" y="78"/>
                  </a:cubicBezTo>
                  <a:lnTo>
                    <a:pt x="7" y="81"/>
                  </a:lnTo>
                  <a:cubicBezTo>
                    <a:pt x="7" y="102"/>
                    <a:pt x="7" y="120"/>
                    <a:pt x="7" y="137"/>
                  </a:cubicBezTo>
                  <a:lnTo>
                    <a:pt x="14" y="14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1" name="Google Shape;8268;p64">
              <a:extLst>
                <a:ext uri="{FF2B5EF4-FFF2-40B4-BE49-F238E27FC236}">
                  <a16:creationId xmlns:a16="http://schemas.microsoft.com/office/drawing/2014/main" id="{6EB87C7A-E13C-CCA3-252D-CBE15E81C29C}"/>
                </a:ext>
              </a:extLst>
            </p:cNvPr>
            <p:cNvSpPr/>
            <p:nvPr/>
          </p:nvSpPr>
          <p:spPr>
            <a:xfrm>
              <a:off x="2190554" y="1682404"/>
              <a:ext cx="258" cy="1208"/>
            </a:xfrm>
            <a:custGeom>
              <a:avLst/>
              <a:gdLst/>
              <a:ahLst/>
              <a:cxnLst/>
              <a:rect l="l" t="t" r="r" b="b"/>
              <a:pathLst>
                <a:path w="19" h="89" extrusionOk="0">
                  <a:moveTo>
                    <a:pt x="1" y="1"/>
                  </a:moveTo>
                  <a:cubicBezTo>
                    <a:pt x="8" y="29"/>
                    <a:pt x="15" y="57"/>
                    <a:pt x="18" y="88"/>
                  </a:cubicBezTo>
                  <a:lnTo>
                    <a:pt x="18" y="88"/>
                  </a:lnTo>
                  <a:cubicBezTo>
                    <a:pt x="15" y="57"/>
                    <a:pt x="8" y="29"/>
                    <a:pt x="1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2" name="Google Shape;8269;p64">
              <a:extLst>
                <a:ext uri="{FF2B5EF4-FFF2-40B4-BE49-F238E27FC236}">
                  <a16:creationId xmlns:a16="http://schemas.microsoft.com/office/drawing/2014/main" id="{2754537D-973C-6341-57E8-0CE71CBCD16A}"/>
                </a:ext>
              </a:extLst>
            </p:cNvPr>
            <p:cNvSpPr/>
            <p:nvPr/>
          </p:nvSpPr>
          <p:spPr>
            <a:xfrm>
              <a:off x="2186331" y="1673334"/>
              <a:ext cx="14" cy="109"/>
            </a:xfrm>
            <a:custGeom>
              <a:avLst/>
              <a:gdLst/>
              <a:ahLst/>
              <a:cxnLst/>
              <a:rect l="l" t="t" r="r" b="b"/>
              <a:pathLst>
                <a:path w="1" h="8" extrusionOk="0">
                  <a:moveTo>
                    <a:pt x="0" y="0"/>
                  </a:moveTo>
                  <a:lnTo>
                    <a:pt x="0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3" name="Google Shape;8270;p64">
              <a:extLst>
                <a:ext uri="{FF2B5EF4-FFF2-40B4-BE49-F238E27FC236}">
                  <a16:creationId xmlns:a16="http://schemas.microsoft.com/office/drawing/2014/main" id="{1FCEB407-3EAE-AE5A-8AC3-40851333F17C}"/>
                </a:ext>
              </a:extLst>
            </p:cNvPr>
            <p:cNvSpPr/>
            <p:nvPr/>
          </p:nvSpPr>
          <p:spPr>
            <a:xfrm>
              <a:off x="2187418" y="1676280"/>
              <a:ext cx="204" cy="109"/>
            </a:xfrm>
            <a:custGeom>
              <a:avLst/>
              <a:gdLst/>
              <a:ahLst/>
              <a:cxnLst/>
              <a:rect l="l" t="t" r="r" b="b"/>
              <a:pathLst>
                <a:path w="15" h="8" extrusionOk="0">
                  <a:moveTo>
                    <a:pt x="15" y="7"/>
                  </a:moveTo>
                  <a:cubicBezTo>
                    <a:pt x="8" y="4"/>
                    <a:pt x="4" y="4"/>
                    <a:pt x="1" y="0"/>
                  </a:cubicBezTo>
                  <a:cubicBezTo>
                    <a:pt x="4" y="4"/>
                    <a:pt x="8" y="4"/>
                    <a:pt x="15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4" name="Google Shape;8271;p64">
              <a:extLst>
                <a:ext uri="{FF2B5EF4-FFF2-40B4-BE49-F238E27FC236}">
                  <a16:creationId xmlns:a16="http://schemas.microsoft.com/office/drawing/2014/main" id="{3E9DF682-C32C-4B4E-B7B8-EE035FE2EF3F}"/>
                </a:ext>
              </a:extLst>
            </p:cNvPr>
            <p:cNvSpPr/>
            <p:nvPr/>
          </p:nvSpPr>
          <p:spPr>
            <a:xfrm>
              <a:off x="2186522" y="1674380"/>
              <a:ext cx="109" cy="394"/>
            </a:xfrm>
            <a:custGeom>
              <a:avLst/>
              <a:gdLst/>
              <a:ahLst/>
              <a:cxnLst/>
              <a:rect l="l" t="t" r="r" b="b"/>
              <a:pathLst>
                <a:path w="8" h="29" extrusionOk="0">
                  <a:moveTo>
                    <a:pt x="7" y="28"/>
                  </a:moveTo>
                  <a:cubicBezTo>
                    <a:pt x="7" y="18"/>
                    <a:pt x="4" y="11"/>
                    <a:pt x="0" y="0"/>
                  </a:cubicBezTo>
                  <a:cubicBezTo>
                    <a:pt x="4" y="11"/>
                    <a:pt x="7" y="18"/>
                    <a:pt x="7" y="2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5" name="Google Shape;8272;p64">
              <a:extLst>
                <a:ext uri="{FF2B5EF4-FFF2-40B4-BE49-F238E27FC236}">
                  <a16:creationId xmlns:a16="http://schemas.microsoft.com/office/drawing/2014/main" id="{C13FD743-1738-F9A0-F24D-9422C6C11D8F}"/>
                </a:ext>
              </a:extLst>
            </p:cNvPr>
            <p:cNvSpPr/>
            <p:nvPr/>
          </p:nvSpPr>
          <p:spPr>
            <a:xfrm>
              <a:off x="2187228" y="1676090"/>
              <a:ext cx="163" cy="109"/>
            </a:xfrm>
            <a:custGeom>
              <a:avLst/>
              <a:gdLst/>
              <a:ahLst/>
              <a:cxnLst/>
              <a:rect l="l" t="t" r="r" b="b"/>
              <a:pathLst>
                <a:path w="12" h="8" extrusionOk="0">
                  <a:moveTo>
                    <a:pt x="11" y="7"/>
                  </a:moveTo>
                  <a:cubicBezTo>
                    <a:pt x="8" y="7"/>
                    <a:pt x="4" y="4"/>
                    <a:pt x="1" y="0"/>
                  </a:cubicBezTo>
                  <a:cubicBezTo>
                    <a:pt x="4" y="4"/>
                    <a:pt x="8" y="7"/>
                    <a:pt x="11" y="7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6" name="Google Shape;8273;p64">
              <a:extLst>
                <a:ext uri="{FF2B5EF4-FFF2-40B4-BE49-F238E27FC236}">
                  <a16:creationId xmlns:a16="http://schemas.microsoft.com/office/drawing/2014/main" id="{D0C21AC7-E8F2-A23C-3014-6AC4C7BEA3FE}"/>
                </a:ext>
              </a:extLst>
            </p:cNvPr>
            <p:cNvSpPr/>
            <p:nvPr/>
          </p:nvSpPr>
          <p:spPr>
            <a:xfrm>
              <a:off x="2187037" y="1675805"/>
              <a:ext cx="163" cy="204"/>
            </a:xfrm>
            <a:custGeom>
              <a:avLst/>
              <a:gdLst/>
              <a:ahLst/>
              <a:cxnLst/>
              <a:rect l="l" t="t" r="r" b="b"/>
              <a:pathLst>
                <a:path w="12" h="15" extrusionOk="0">
                  <a:moveTo>
                    <a:pt x="11" y="14"/>
                  </a:moveTo>
                  <a:cubicBezTo>
                    <a:pt x="8" y="11"/>
                    <a:pt x="4" y="4"/>
                    <a:pt x="1" y="0"/>
                  </a:cubicBezTo>
                  <a:cubicBezTo>
                    <a:pt x="4" y="4"/>
                    <a:pt x="8" y="11"/>
                    <a:pt x="11" y="14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7" name="Google Shape;8274;p64">
              <a:extLst>
                <a:ext uri="{FF2B5EF4-FFF2-40B4-BE49-F238E27FC236}">
                  <a16:creationId xmlns:a16="http://schemas.microsoft.com/office/drawing/2014/main" id="{79B4F2A1-A771-7556-D24F-17DAD666958E}"/>
                </a:ext>
              </a:extLst>
            </p:cNvPr>
            <p:cNvSpPr/>
            <p:nvPr/>
          </p:nvSpPr>
          <p:spPr>
            <a:xfrm>
              <a:off x="2186372" y="1673714"/>
              <a:ext cx="109" cy="434"/>
            </a:xfrm>
            <a:custGeom>
              <a:avLst/>
              <a:gdLst/>
              <a:ahLst/>
              <a:cxnLst/>
              <a:rect l="l" t="t" r="r" b="b"/>
              <a:pathLst>
                <a:path w="8" h="32" extrusionOk="0">
                  <a:moveTo>
                    <a:pt x="8" y="32"/>
                  </a:moveTo>
                  <a:cubicBezTo>
                    <a:pt x="8" y="21"/>
                    <a:pt x="4" y="11"/>
                    <a:pt x="1" y="0"/>
                  </a:cubicBezTo>
                  <a:cubicBezTo>
                    <a:pt x="4" y="11"/>
                    <a:pt x="8" y="21"/>
                    <a:pt x="8" y="3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8" name="Google Shape;8275;p64">
              <a:extLst>
                <a:ext uri="{FF2B5EF4-FFF2-40B4-BE49-F238E27FC236}">
                  <a16:creationId xmlns:a16="http://schemas.microsoft.com/office/drawing/2014/main" id="{DD609662-21AC-DB23-B6F1-03635BFCDC8B}"/>
                </a:ext>
              </a:extLst>
            </p:cNvPr>
            <p:cNvSpPr/>
            <p:nvPr/>
          </p:nvSpPr>
          <p:spPr>
            <a:xfrm>
              <a:off x="2186902" y="1675425"/>
              <a:ext cx="109" cy="244"/>
            </a:xfrm>
            <a:custGeom>
              <a:avLst/>
              <a:gdLst/>
              <a:ahLst/>
              <a:cxnLst/>
              <a:rect l="l" t="t" r="r" b="b"/>
              <a:pathLst>
                <a:path w="8" h="18" extrusionOk="0">
                  <a:moveTo>
                    <a:pt x="7" y="18"/>
                  </a:moveTo>
                  <a:cubicBezTo>
                    <a:pt x="4" y="14"/>
                    <a:pt x="0" y="7"/>
                    <a:pt x="0" y="0"/>
                  </a:cubicBezTo>
                  <a:cubicBezTo>
                    <a:pt x="0" y="7"/>
                    <a:pt x="4" y="14"/>
                    <a:pt x="7" y="1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9" name="Google Shape;8276;p64">
              <a:extLst>
                <a:ext uri="{FF2B5EF4-FFF2-40B4-BE49-F238E27FC236}">
                  <a16:creationId xmlns:a16="http://schemas.microsoft.com/office/drawing/2014/main" id="{648F71AF-1817-04A5-1F88-1C50F1FBECBF}"/>
                </a:ext>
              </a:extLst>
            </p:cNvPr>
            <p:cNvSpPr/>
            <p:nvPr/>
          </p:nvSpPr>
          <p:spPr>
            <a:xfrm>
              <a:off x="2186712" y="1674950"/>
              <a:ext cx="109" cy="299"/>
            </a:xfrm>
            <a:custGeom>
              <a:avLst/>
              <a:gdLst/>
              <a:ahLst/>
              <a:cxnLst/>
              <a:rect l="l" t="t" r="r" b="b"/>
              <a:pathLst>
                <a:path w="8" h="22" extrusionOk="0">
                  <a:moveTo>
                    <a:pt x="0" y="0"/>
                  </a:moveTo>
                  <a:cubicBezTo>
                    <a:pt x="0" y="11"/>
                    <a:pt x="4" y="18"/>
                    <a:pt x="7" y="21"/>
                  </a:cubicBezTo>
                  <a:cubicBezTo>
                    <a:pt x="4" y="18"/>
                    <a:pt x="4" y="11"/>
                    <a:pt x="0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0" name="Google Shape;8277;p64">
              <a:extLst>
                <a:ext uri="{FF2B5EF4-FFF2-40B4-BE49-F238E27FC236}">
                  <a16:creationId xmlns:a16="http://schemas.microsoft.com/office/drawing/2014/main" id="{C380A41E-C625-1FC8-989D-CF5D3B732B20}"/>
                </a:ext>
              </a:extLst>
            </p:cNvPr>
            <p:cNvSpPr/>
            <p:nvPr/>
          </p:nvSpPr>
          <p:spPr>
            <a:xfrm>
              <a:off x="2190989" y="1685119"/>
              <a:ext cx="14" cy="14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0"/>
                  </a:move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1" name="Google Shape;8278;p64">
              <a:extLst>
                <a:ext uri="{FF2B5EF4-FFF2-40B4-BE49-F238E27FC236}">
                  <a16:creationId xmlns:a16="http://schemas.microsoft.com/office/drawing/2014/main" id="{F74929CA-ADF0-84C4-CD2E-C71AA5A2ED80}"/>
                </a:ext>
              </a:extLst>
            </p:cNvPr>
            <p:cNvSpPr/>
            <p:nvPr/>
          </p:nvSpPr>
          <p:spPr>
            <a:xfrm>
              <a:off x="2190839" y="1683599"/>
              <a:ext cx="163" cy="1480"/>
            </a:xfrm>
            <a:custGeom>
              <a:avLst/>
              <a:gdLst/>
              <a:ahLst/>
              <a:cxnLst/>
              <a:rect l="l" t="t" r="r" b="b"/>
              <a:pathLst>
                <a:path w="12" h="109" extrusionOk="0">
                  <a:moveTo>
                    <a:pt x="1" y="0"/>
                  </a:moveTo>
                  <a:cubicBezTo>
                    <a:pt x="1" y="11"/>
                    <a:pt x="1" y="18"/>
                    <a:pt x="4" y="31"/>
                  </a:cubicBezTo>
                  <a:lnTo>
                    <a:pt x="4" y="31"/>
                  </a:lnTo>
                  <a:cubicBezTo>
                    <a:pt x="3" y="20"/>
                    <a:pt x="2" y="10"/>
                    <a:pt x="1" y="0"/>
                  </a:cubicBezTo>
                  <a:close/>
                  <a:moveTo>
                    <a:pt x="4" y="31"/>
                  </a:moveTo>
                  <a:cubicBezTo>
                    <a:pt x="7" y="54"/>
                    <a:pt x="9" y="80"/>
                    <a:pt x="11" y="109"/>
                  </a:cubicBezTo>
                  <a:cubicBezTo>
                    <a:pt x="11" y="77"/>
                    <a:pt x="8" y="53"/>
                    <a:pt x="4" y="32"/>
                  </a:cubicBezTo>
                  <a:cubicBezTo>
                    <a:pt x="4" y="32"/>
                    <a:pt x="4" y="31"/>
                    <a:pt x="4" y="3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2" name="Google Shape;8279;p64">
              <a:extLst>
                <a:ext uri="{FF2B5EF4-FFF2-40B4-BE49-F238E27FC236}">
                  <a16:creationId xmlns:a16="http://schemas.microsoft.com/office/drawing/2014/main" id="{E6233FE0-5BD0-9D3A-554F-4A89513ECFBB}"/>
                </a:ext>
              </a:extLst>
            </p:cNvPr>
            <p:cNvSpPr/>
            <p:nvPr/>
          </p:nvSpPr>
          <p:spPr>
            <a:xfrm>
              <a:off x="2193745" y="1702892"/>
              <a:ext cx="679" cy="299"/>
            </a:xfrm>
            <a:custGeom>
              <a:avLst/>
              <a:gdLst/>
              <a:ahLst/>
              <a:cxnLst/>
              <a:rect l="l" t="t" r="r" b="b"/>
              <a:pathLst>
                <a:path w="50" h="22" extrusionOk="0">
                  <a:moveTo>
                    <a:pt x="49" y="22"/>
                  </a:moveTo>
                  <a:cubicBezTo>
                    <a:pt x="32" y="15"/>
                    <a:pt x="14" y="4"/>
                    <a:pt x="0" y="1"/>
                  </a:cubicBezTo>
                  <a:cubicBezTo>
                    <a:pt x="14" y="4"/>
                    <a:pt x="32" y="15"/>
                    <a:pt x="49" y="22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3" name="Google Shape;8280;p64">
              <a:extLst>
                <a:ext uri="{FF2B5EF4-FFF2-40B4-BE49-F238E27FC236}">
                  <a16:creationId xmlns:a16="http://schemas.microsoft.com/office/drawing/2014/main" id="{10AC9322-7AB9-93D2-61CB-3EDAF151AB05}"/>
                </a:ext>
              </a:extLst>
            </p:cNvPr>
            <p:cNvSpPr/>
            <p:nvPr/>
          </p:nvSpPr>
          <p:spPr>
            <a:xfrm>
              <a:off x="2192740" y="1702512"/>
              <a:ext cx="163" cy="68"/>
            </a:xfrm>
            <a:custGeom>
              <a:avLst/>
              <a:gdLst/>
              <a:ahLst/>
              <a:cxnLst/>
              <a:rect l="l" t="t" r="r" b="b"/>
              <a:pathLst>
                <a:path w="12" h="5" extrusionOk="0">
                  <a:moveTo>
                    <a:pt x="1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4" name="Google Shape;8281;p64">
              <a:extLst>
                <a:ext uri="{FF2B5EF4-FFF2-40B4-BE49-F238E27FC236}">
                  <a16:creationId xmlns:a16="http://schemas.microsoft.com/office/drawing/2014/main" id="{C7180BE9-1ED2-37AF-D96F-31404463F4AD}"/>
                </a:ext>
              </a:extLst>
            </p:cNvPr>
            <p:cNvSpPr/>
            <p:nvPr/>
          </p:nvSpPr>
          <p:spPr>
            <a:xfrm>
              <a:off x="2194546" y="1703272"/>
              <a:ext cx="679" cy="353"/>
            </a:xfrm>
            <a:custGeom>
              <a:avLst/>
              <a:gdLst/>
              <a:ahLst/>
              <a:cxnLst/>
              <a:rect l="l" t="t" r="r" b="b"/>
              <a:pathLst>
                <a:path w="50" h="26" extrusionOk="0">
                  <a:moveTo>
                    <a:pt x="50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5" name="Google Shape;8282;p64">
              <a:extLst>
                <a:ext uri="{FF2B5EF4-FFF2-40B4-BE49-F238E27FC236}">
                  <a16:creationId xmlns:a16="http://schemas.microsoft.com/office/drawing/2014/main" id="{05ABE179-95DC-775D-AD85-0153224271DB}"/>
                </a:ext>
              </a:extLst>
            </p:cNvPr>
            <p:cNvSpPr/>
            <p:nvPr/>
          </p:nvSpPr>
          <p:spPr>
            <a:xfrm>
              <a:off x="2193270" y="1702661"/>
              <a:ext cx="299" cy="149"/>
            </a:xfrm>
            <a:custGeom>
              <a:avLst/>
              <a:gdLst/>
              <a:ahLst/>
              <a:cxnLst/>
              <a:rect l="l" t="t" r="r" b="b"/>
              <a:pathLst>
                <a:path w="22" h="11" extrusionOk="0">
                  <a:moveTo>
                    <a:pt x="21" y="11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6" name="Google Shape;8283;p64">
              <a:extLst>
                <a:ext uri="{FF2B5EF4-FFF2-40B4-BE49-F238E27FC236}">
                  <a16:creationId xmlns:a16="http://schemas.microsoft.com/office/drawing/2014/main" id="{B09DC475-3C58-E5EB-C414-1CD8F4218089}"/>
                </a:ext>
              </a:extLst>
            </p:cNvPr>
            <p:cNvSpPr/>
            <p:nvPr/>
          </p:nvSpPr>
          <p:spPr>
            <a:xfrm>
              <a:off x="2195646" y="1703843"/>
              <a:ext cx="299" cy="204"/>
            </a:xfrm>
            <a:custGeom>
              <a:avLst/>
              <a:gdLst/>
              <a:ahLst/>
              <a:cxnLst/>
              <a:rect l="l" t="t" r="r" b="b"/>
              <a:pathLst>
                <a:path w="22" h="15" extrusionOk="0">
                  <a:moveTo>
                    <a:pt x="21" y="15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7" name="Google Shape;8284;p64">
              <a:extLst>
                <a:ext uri="{FF2B5EF4-FFF2-40B4-BE49-F238E27FC236}">
                  <a16:creationId xmlns:a16="http://schemas.microsoft.com/office/drawing/2014/main" id="{EBAC4C80-579F-F034-ECE6-C850268ACB71}"/>
                </a:ext>
              </a:extLst>
            </p:cNvPr>
            <p:cNvSpPr/>
            <p:nvPr/>
          </p:nvSpPr>
          <p:spPr>
            <a:xfrm>
              <a:off x="2196067" y="1672098"/>
              <a:ext cx="204" cy="54"/>
            </a:xfrm>
            <a:custGeom>
              <a:avLst/>
              <a:gdLst/>
              <a:ahLst/>
              <a:cxnLst/>
              <a:rect l="l" t="t" r="r" b="b"/>
              <a:pathLst>
                <a:path w="15" h="4" extrusionOk="0">
                  <a:moveTo>
                    <a:pt x="15" y="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8" name="Google Shape;8285;p64">
              <a:extLst>
                <a:ext uri="{FF2B5EF4-FFF2-40B4-BE49-F238E27FC236}">
                  <a16:creationId xmlns:a16="http://schemas.microsoft.com/office/drawing/2014/main" id="{6A5970CA-2E40-D392-4FF1-CC5D40EAA813}"/>
                </a:ext>
              </a:extLst>
            </p:cNvPr>
            <p:cNvSpPr/>
            <p:nvPr/>
          </p:nvSpPr>
          <p:spPr>
            <a:xfrm>
              <a:off x="2197017" y="1672289"/>
              <a:ext cx="163" cy="14"/>
            </a:xfrm>
            <a:custGeom>
              <a:avLst/>
              <a:gdLst/>
              <a:ahLst/>
              <a:cxnLst/>
              <a:rect l="l" t="t" r="r" b="b"/>
              <a:pathLst>
                <a:path w="12" h="1" extrusionOk="0">
                  <a:moveTo>
                    <a:pt x="11" y="0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9" name="Google Shape;8286;p64">
              <a:extLst>
                <a:ext uri="{FF2B5EF4-FFF2-40B4-BE49-F238E27FC236}">
                  <a16:creationId xmlns:a16="http://schemas.microsoft.com/office/drawing/2014/main" id="{6B8BCADB-8953-43E2-8040-CA289DD41439}"/>
                </a:ext>
              </a:extLst>
            </p:cNvPr>
            <p:cNvSpPr/>
            <p:nvPr/>
          </p:nvSpPr>
          <p:spPr>
            <a:xfrm>
              <a:off x="2196596" y="1672194"/>
              <a:ext cx="244" cy="54"/>
            </a:xfrm>
            <a:custGeom>
              <a:avLst/>
              <a:gdLst/>
              <a:ahLst/>
              <a:cxnLst/>
              <a:rect l="l" t="t" r="r" b="b"/>
              <a:pathLst>
                <a:path w="18" h="4" extrusionOk="0">
                  <a:moveTo>
                    <a:pt x="18" y="4"/>
                  </a:moveTo>
                  <a:lnTo>
                    <a:pt x="0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0" name="Google Shape;8287;p64">
              <a:extLst>
                <a:ext uri="{FF2B5EF4-FFF2-40B4-BE49-F238E27FC236}">
                  <a16:creationId xmlns:a16="http://schemas.microsoft.com/office/drawing/2014/main" id="{095AC4A7-43A3-361A-EB50-B5598AE99B73}"/>
                </a:ext>
              </a:extLst>
            </p:cNvPr>
            <p:cNvSpPr/>
            <p:nvPr/>
          </p:nvSpPr>
          <p:spPr>
            <a:xfrm>
              <a:off x="2186331" y="1671189"/>
              <a:ext cx="6762" cy="2159"/>
            </a:xfrm>
            <a:custGeom>
              <a:avLst/>
              <a:gdLst/>
              <a:ahLst/>
              <a:cxnLst/>
              <a:rect l="l" t="t" r="r" b="b"/>
              <a:pathLst>
                <a:path w="498" h="159" extrusionOk="0">
                  <a:moveTo>
                    <a:pt x="497" y="1"/>
                  </a:moveTo>
                  <a:cubicBezTo>
                    <a:pt x="424" y="25"/>
                    <a:pt x="189" y="99"/>
                    <a:pt x="0" y="158"/>
                  </a:cubicBezTo>
                  <a:cubicBezTo>
                    <a:pt x="193" y="102"/>
                    <a:pt x="424" y="25"/>
                    <a:pt x="49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1" name="Google Shape;8288;p64">
              <a:extLst>
                <a:ext uri="{FF2B5EF4-FFF2-40B4-BE49-F238E27FC236}">
                  <a16:creationId xmlns:a16="http://schemas.microsoft.com/office/drawing/2014/main" id="{15C876EC-C4C3-78BC-59D5-B997DA09D698}"/>
                </a:ext>
              </a:extLst>
            </p:cNvPr>
            <p:cNvSpPr/>
            <p:nvPr/>
          </p:nvSpPr>
          <p:spPr>
            <a:xfrm>
              <a:off x="2196311" y="1672139"/>
              <a:ext cx="204" cy="68"/>
            </a:xfrm>
            <a:custGeom>
              <a:avLst/>
              <a:gdLst/>
              <a:ahLst/>
              <a:cxnLst/>
              <a:rect l="l" t="t" r="r" b="b"/>
              <a:pathLst>
                <a:path w="15" h="5" extrusionOk="0">
                  <a:moveTo>
                    <a:pt x="14" y="4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2" name="Google Shape;8289;p64">
              <a:extLst>
                <a:ext uri="{FF2B5EF4-FFF2-40B4-BE49-F238E27FC236}">
                  <a16:creationId xmlns:a16="http://schemas.microsoft.com/office/drawing/2014/main" id="{887DB4DA-BE1B-3D48-87F6-2A7B45CB3F14}"/>
                </a:ext>
              </a:extLst>
            </p:cNvPr>
            <p:cNvSpPr/>
            <p:nvPr/>
          </p:nvSpPr>
          <p:spPr>
            <a:xfrm>
              <a:off x="2197397" y="1672614"/>
              <a:ext cx="68" cy="109"/>
            </a:xfrm>
            <a:custGeom>
              <a:avLst/>
              <a:gdLst/>
              <a:ahLst/>
              <a:cxnLst/>
              <a:rect l="l" t="t" r="r" b="b"/>
              <a:pathLst>
                <a:path w="5" h="8" extrusionOk="0">
                  <a:moveTo>
                    <a:pt x="4" y="8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3" name="Google Shape;8290;p64">
              <a:extLst>
                <a:ext uri="{FF2B5EF4-FFF2-40B4-BE49-F238E27FC236}">
                  <a16:creationId xmlns:a16="http://schemas.microsoft.com/office/drawing/2014/main" id="{003D1F93-D5CA-F3C8-301B-F65F2BD4841D}"/>
                </a:ext>
              </a:extLst>
            </p:cNvPr>
            <p:cNvSpPr/>
            <p:nvPr/>
          </p:nvSpPr>
          <p:spPr>
            <a:xfrm>
              <a:off x="2197546" y="1672900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4" name="Google Shape;8291;p64">
              <a:extLst>
                <a:ext uri="{FF2B5EF4-FFF2-40B4-BE49-F238E27FC236}">
                  <a16:creationId xmlns:a16="http://schemas.microsoft.com/office/drawing/2014/main" id="{86472A2C-7051-434E-2F0F-FFF9E18A9F51}"/>
                </a:ext>
              </a:extLst>
            </p:cNvPr>
            <p:cNvSpPr/>
            <p:nvPr/>
          </p:nvSpPr>
          <p:spPr>
            <a:xfrm>
              <a:off x="2197302" y="1672329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5" name="Google Shape;8292;p64">
              <a:extLst>
                <a:ext uri="{FF2B5EF4-FFF2-40B4-BE49-F238E27FC236}">
                  <a16:creationId xmlns:a16="http://schemas.microsoft.com/office/drawing/2014/main" id="{DE24B928-F244-0621-8606-CA5D8FB64224}"/>
                </a:ext>
              </a:extLst>
            </p:cNvPr>
            <p:cNvSpPr/>
            <p:nvPr/>
          </p:nvSpPr>
          <p:spPr>
            <a:xfrm>
              <a:off x="2211572" y="1686029"/>
              <a:ext cx="584" cy="2811"/>
            </a:xfrm>
            <a:custGeom>
              <a:avLst/>
              <a:gdLst/>
              <a:ahLst/>
              <a:cxnLst/>
              <a:rect l="l" t="t" r="r" b="b"/>
              <a:pathLst>
                <a:path w="43" h="207" extrusionOk="0">
                  <a:moveTo>
                    <a:pt x="0" y="0"/>
                  </a:moveTo>
                  <a:cubicBezTo>
                    <a:pt x="1" y="13"/>
                    <a:pt x="3" y="25"/>
                    <a:pt x="4" y="38"/>
                  </a:cubicBezTo>
                  <a:lnTo>
                    <a:pt x="4" y="38"/>
                  </a:lnTo>
                  <a:cubicBezTo>
                    <a:pt x="3" y="25"/>
                    <a:pt x="1" y="13"/>
                    <a:pt x="0" y="0"/>
                  </a:cubicBezTo>
                  <a:close/>
                  <a:moveTo>
                    <a:pt x="4" y="38"/>
                  </a:moveTo>
                  <a:lnTo>
                    <a:pt x="4" y="38"/>
                  </a:lnTo>
                  <a:cubicBezTo>
                    <a:pt x="9" y="67"/>
                    <a:pt x="15" y="97"/>
                    <a:pt x="25" y="126"/>
                  </a:cubicBezTo>
                  <a:cubicBezTo>
                    <a:pt x="35" y="150"/>
                    <a:pt x="42" y="178"/>
                    <a:pt x="39" y="206"/>
                  </a:cubicBezTo>
                  <a:lnTo>
                    <a:pt x="42" y="203"/>
                  </a:lnTo>
                  <a:cubicBezTo>
                    <a:pt x="42" y="175"/>
                    <a:pt x="35" y="150"/>
                    <a:pt x="28" y="126"/>
                  </a:cubicBezTo>
                  <a:cubicBezTo>
                    <a:pt x="16" y="99"/>
                    <a:pt x="9" y="68"/>
                    <a:pt x="4" y="38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6" name="Google Shape;8293;p64">
              <a:extLst>
                <a:ext uri="{FF2B5EF4-FFF2-40B4-BE49-F238E27FC236}">
                  <a16:creationId xmlns:a16="http://schemas.microsoft.com/office/drawing/2014/main" id="{98655804-D440-7BFE-0F8F-95F8461D5709}"/>
                </a:ext>
              </a:extLst>
            </p:cNvPr>
            <p:cNvSpPr/>
            <p:nvPr/>
          </p:nvSpPr>
          <p:spPr>
            <a:xfrm>
              <a:off x="2198253" y="1673904"/>
              <a:ext cx="109" cy="109"/>
            </a:xfrm>
            <a:custGeom>
              <a:avLst/>
              <a:gdLst/>
              <a:ahLst/>
              <a:cxnLst/>
              <a:rect l="l" t="t" r="r" b="b"/>
              <a:pathLst>
                <a:path w="8" h="8" extrusionOk="0">
                  <a:moveTo>
                    <a:pt x="8" y="7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7" name="Google Shape;8294;p64">
              <a:extLst>
                <a:ext uri="{FF2B5EF4-FFF2-40B4-BE49-F238E27FC236}">
                  <a16:creationId xmlns:a16="http://schemas.microsoft.com/office/drawing/2014/main" id="{14BD4DB0-AF5E-083D-3816-926225610FCD}"/>
                </a:ext>
              </a:extLst>
            </p:cNvPr>
            <p:cNvSpPr/>
            <p:nvPr/>
          </p:nvSpPr>
          <p:spPr>
            <a:xfrm>
              <a:off x="2198022" y="1673565"/>
              <a:ext cx="54" cy="109"/>
            </a:xfrm>
            <a:custGeom>
              <a:avLst/>
              <a:gdLst/>
              <a:ahLst/>
              <a:cxnLst/>
              <a:rect l="l" t="t" r="r" b="b"/>
              <a:pathLst>
                <a:path w="4" h="8" extrusionOk="0">
                  <a:moveTo>
                    <a:pt x="4" y="8"/>
                  </a:moveTo>
                  <a:lnTo>
                    <a:pt x="0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8" name="Google Shape;8295;p64">
              <a:extLst>
                <a:ext uri="{FF2B5EF4-FFF2-40B4-BE49-F238E27FC236}">
                  <a16:creationId xmlns:a16="http://schemas.microsoft.com/office/drawing/2014/main" id="{9352E851-542C-80FB-E8FC-0295735F0EDF}"/>
                </a:ext>
              </a:extLst>
            </p:cNvPr>
            <p:cNvSpPr/>
            <p:nvPr/>
          </p:nvSpPr>
          <p:spPr>
            <a:xfrm>
              <a:off x="2197777" y="1673280"/>
              <a:ext cx="14" cy="68"/>
            </a:xfrm>
            <a:custGeom>
              <a:avLst/>
              <a:gdLst/>
              <a:ahLst/>
              <a:cxnLst/>
              <a:rect l="l" t="t" r="r" b="b"/>
              <a:pathLst>
                <a:path w="1" h="5" extrusionOk="0">
                  <a:moveTo>
                    <a:pt x="1" y="4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9" name="Google Shape;8296;p64">
              <a:extLst>
                <a:ext uri="{FF2B5EF4-FFF2-40B4-BE49-F238E27FC236}">
                  <a16:creationId xmlns:a16="http://schemas.microsoft.com/office/drawing/2014/main" id="{507BFFC7-EB36-2747-41E9-0EFF6C0BC758}"/>
                </a:ext>
              </a:extLst>
            </p:cNvPr>
            <p:cNvSpPr/>
            <p:nvPr/>
          </p:nvSpPr>
          <p:spPr>
            <a:xfrm>
              <a:off x="2211803" y="1688826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0"/>
                  </a:moveTo>
                  <a:cubicBezTo>
                    <a:pt x="15" y="11"/>
                    <a:pt x="8" y="18"/>
                    <a:pt x="1" y="21"/>
                  </a:cubicBezTo>
                  <a:cubicBezTo>
                    <a:pt x="8" y="18"/>
                    <a:pt x="15" y="14"/>
                    <a:pt x="18" y="7"/>
                  </a:cubicBezTo>
                  <a:lnTo>
                    <a:pt x="18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0" name="Google Shape;8297;p64">
              <a:extLst>
                <a:ext uri="{FF2B5EF4-FFF2-40B4-BE49-F238E27FC236}">
                  <a16:creationId xmlns:a16="http://schemas.microsoft.com/office/drawing/2014/main" id="{79680C49-5774-B39F-DD02-700C7D627272}"/>
                </a:ext>
              </a:extLst>
            </p:cNvPr>
            <p:cNvSpPr/>
            <p:nvPr/>
          </p:nvSpPr>
          <p:spPr>
            <a:xfrm>
              <a:off x="2211762" y="1700095"/>
              <a:ext cx="489" cy="679"/>
            </a:xfrm>
            <a:custGeom>
              <a:avLst/>
              <a:gdLst/>
              <a:ahLst/>
              <a:cxnLst/>
              <a:rect l="l" t="t" r="r" b="b"/>
              <a:pathLst>
                <a:path w="36" h="50" extrusionOk="0">
                  <a:moveTo>
                    <a:pt x="0" y="49"/>
                  </a:moveTo>
                  <a:cubicBezTo>
                    <a:pt x="11" y="32"/>
                    <a:pt x="21" y="14"/>
                    <a:pt x="35" y="0"/>
                  </a:cubicBezTo>
                  <a:cubicBezTo>
                    <a:pt x="21" y="14"/>
                    <a:pt x="11" y="32"/>
                    <a:pt x="0" y="49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1" name="Google Shape;8298;p64">
              <a:extLst>
                <a:ext uri="{FF2B5EF4-FFF2-40B4-BE49-F238E27FC236}">
                  <a16:creationId xmlns:a16="http://schemas.microsoft.com/office/drawing/2014/main" id="{C12E3691-3F97-D90C-E8B5-6CFD4297EA88}"/>
                </a:ext>
              </a:extLst>
            </p:cNvPr>
            <p:cNvSpPr/>
            <p:nvPr/>
          </p:nvSpPr>
          <p:spPr>
            <a:xfrm>
              <a:off x="2211233" y="1700761"/>
              <a:ext cx="543" cy="1819"/>
            </a:xfrm>
            <a:custGeom>
              <a:avLst/>
              <a:gdLst/>
              <a:ahLst/>
              <a:cxnLst/>
              <a:rect l="l" t="t" r="r" b="b"/>
              <a:pathLst>
                <a:path w="40" h="134" extrusionOk="0">
                  <a:moveTo>
                    <a:pt x="1" y="133"/>
                  </a:moveTo>
                  <a:cubicBezTo>
                    <a:pt x="1" y="84"/>
                    <a:pt x="15" y="39"/>
                    <a:pt x="39" y="0"/>
                  </a:cubicBezTo>
                  <a:cubicBezTo>
                    <a:pt x="15" y="39"/>
                    <a:pt x="1" y="84"/>
                    <a:pt x="1" y="133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2" name="Google Shape;8299;p64">
              <a:extLst>
                <a:ext uri="{FF2B5EF4-FFF2-40B4-BE49-F238E27FC236}">
                  <a16:creationId xmlns:a16="http://schemas.microsoft.com/office/drawing/2014/main" id="{9A752865-189A-5E18-7442-5543915384A2}"/>
                </a:ext>
              </a:extLst>
            </p:cNvPr>
            <p:cNvSpPr/>
            <p:nvPr/>
          </p:nvSpPr>
          <p:spPr>
            <a:xfrm>
              <a:off x="2211192" y="1702852"/>
              <a:ext cx="109" cy="1344"/>
            </a:xfrm>
            <a:custGeom>
              <a:avLst/>
              <a:gdLst/>
              <a:ahLst/>
              <a:cxnLst/>
              <a:rect l="l" t="t" r="r" b="b"/>
              <a:pathLst>
                <a:path w="8" h="99" extrusionOk="0">
                  <a:moveTo>
                    <a:pt x="7" y="0"/>
                  </a:moveTo>
                  <a:cubicBezTo>
                    <a:pt x="7" y="32"/>
                    <a:pt x="7" y="63"/>
                    <a:pt x="0" y="98"/>
                  </a:cubicBezTo>
                  <a:lnTo>
                    <a:pt x="0" y="98"/>
                  </a:lnTo>
                  <a:cubicBezTo>
                    <a:pt x="7" y="63"/>
                    <a:pt x="7" y="32"/>
                    <a:pt x="7" y="0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3" name="Google Shape;8300;p64">
              <a:extLst>
                <a:ext uri="{FF2B5EF4-FFF2-40B4-BE49-F238E27FC236}">
                  <a16:creationId xmlns:a16="http://schemas.microsoft.com/office/drawing/2014/main" id="{6F57FD9F-F169-A136-D02B-92EF5F37A538}"/>
                </a:ext>
              </a:extLst>
            </p:cNvPr>
            <p:cNvSpPr/>
            <p:nvPr/>
          </p:nvSpPr>
          <p:spPr>
            <a:xfrm>
              <a:off x="2212047" y="1688772"/>
              <a:ext cx="109" cy="163"/>
            </a:xfrm>
            <a:custGeom>
              <a:avLst/>
              <a:gdLst/>
              <a:ahLst/>
              <a:cxnLst/>
              <a:rect l="l" t="t" r="r" b="b"/>
              <a:pathLst>
                <a:path w="8" h="12" extrusionOk="0">
                  <a:moveTo>
                    <a:pt x="7" y="1"/>
                  </a:moveTo>
                  <a:lnTo>
                    <a:pt x="4" y="4"/>
                  </a:lnTo>
                  <a:lnTo>
                    <a:pt x="0" y="11"/>
                  </a:lnTo>
                  <a:cubicBezTo>
                    <a:pt x="4" y="8"/>
                    <a:pt x="4" y="4"/>
                    <a:pt x="7" y="1"/>
                  </a:cubicBez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4" name="Google Shape;8301;p64">
              <a:extLst>
                <a:ext uri="{FF2B5EF4-FFF2-40B4-BE49-F238E27FC236}">
                  <a16:creationId xmlns:a16="http://schemas.microsoft.com/office/drawing/2014/main" id="{4443BCB4-89A4-8713-BC3D-32086E433FE4}"/>
                </a:ext>
              </a:extLst>
            </p:cNvPr>
            <p:cNvSpPr/>
            <p:nvPr/>
          </p:nvSpPr>
          <p:spPr>
            <a:xfrm>
              <a:off x="2200208" y="1705703"/>
              <a:ext cx="2444" cy="489"/>
            </a:xfrm>
            <a:custGeom>
              <a:avLst/>
              <a:gdLst/>
              <a:ahLst/>
              <a:cxnLst/>
              <a:rect l="l" t="t" r="r" b="b"/>
              <a:pathLst>
                <a:path w="180" h="36" extrusionOk="0">
                  <a:moveTo>
                    <a:pt x="179" y="0"/>
                  </a:moveTo>
                  <a:lnTo>
                    <a:pt x="0" y="35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5" name="Google Shape;8302;p64">
              <a:extLst>
                <a:ext uri="{FF2B5EF4-FFF2-40B4-BE49-F238E27FC236}">
                  <a16:creationId xmlns:a16="http://schemas.microsoft.com/office/drawing/2014/main" id="{5570CBE2-02BD-FCEF-9A6F-7B51AA18FB76}"/>
                </a:ext>
              </a:extLst>
            </p:cNvPr>
            <p:cNvSpPr/>
            <p:nvPr/>
          </p:nvSpPr>
          <p:spPr>
            <a:xfrm>
              <a:off x="2207906" y="1704657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6" name="Google Shape;8303;p64">
              <a:extLst>
                <a:ext uri="{FF2B5EF4-FFF2-40B4-BE49-F238E27FC236}">
                  <a16:creationId xmlns:a16="http://schemas.microsoft.com/office/drawing/2014/main" id="{1B9F646F-6711-302A-3E75-3447F84ADCD0}"/>
                </a:ext>
              </a:extLst>
            </p:cNvPr>
            <p:cNvSpPr/>
            <p:nvPr/>
          </p:nvSpPr>
          <p:spPr>
            <a:xfrm>
              <a:off x="2208857" y="1704467"/>
              <a:ext cx="543" cy="109"/>
            </a:xfrm>
            <a:custGeom>
              <a:avLst/>
              <a:gdLst/>
              <a:ahLst/>
              <a:cxnLst/>
              <a:rect l="l" t="t" r="r" b="b"/>
              <a:pathLst>
                <a:path w="40" h="8" extrusionOk="0">
                  <a:moveTo>
                    <a:pt x="39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7" name="Google Shape;8304;p64">
              <a:extLst>
                <a:ext uri="{FF2B5EF4-FFF2-40B4-BE49-F238E27FC236}">
                  <a16:creationId xmlns:a16="http://schemas.microsoft.com/office/drawing/2014/main" id="{D78ED980-7F1A-2292-8A67-D2826CC70F96}"/>
                </a:ext>
              </a:extLst>
            </p:cNvPr>
            <p:cNvSpPr/>
            <p:nvPr/>
          </p:nvSpPr>
          <p:spPr>
            <a:xfrm>
              <a:off x="2206100" y="1704942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3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8" name="Google Shape;8305;p64">
              <a:extLst>
                <a:ext uri="{FF2B5EF4-FFF2-40B4-BE49-F238E27FC236}">
                  <a16:creationId xmlns:a16="http://schemas.microsoft.com/office/drawing/2014/main" id="{6E237EF4-84AB-2806-70CA-AFFFD73E7177}"/>
                </a:ext>
              </a:extLst>
            </p:cNvPr>
            <p:cNvSpPr/>
            <p:nvPr/>
          </p:nvSpPr>
          <p:spPr>
            <a:xfrm>
              <a:off x="2209766" y="1704318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5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9" name="Google Shape;8306;p64">
              <a:extLst>
                <a:ext uri="{FF2B5EF4-FFF2-40B4-BE49-F238E27FC236}">
                  <a16:creationId xmlns:a16="http://schemas.microsoft.com/office/drawing/2014/main" id="{CCE7F6D0-A453-87DC-9822-B48AABAC6ABD}"/>
                </a:ext>
              </a:extLst>
            </p:cNvPr>
            <p:cNvSpPr/>
            <p:nvPr/>
          </p:nvSpPr>
          <p:spPr>
            <a:xfrm>
              <a:off x="2203493" y="1705418"/>
              <a:ext cx="625" cy="149"/>
            </a:xfrm>
            <a:custGeom>
              <a:avLst/>
              <a:gdLst/>
              <a:ahLst/>
              <a:cxnLst/>
              <a:rect l="l" t="t" r="r" b="b"/>
              <a:pathLst>
                <a:path w="46" h="11" extrusionOk="0">
                  <a:moveTo>
                    <a:pt x="46" y="0"/>
                  </a:moveTo>
                  <a:lnTo>
                    <a:pt x="0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0" name="Google Shape;8307;p64">
              <a:extLst>
                <a:ext uri="{FF2B5EF4-FFF2-40B4-BE49-F238E27FC236}">
                  <a16:creationId xmlns:a16="http://schemas.microsoft.com/office/drawing/2014/main" id="{638AF9D5-6E7A-9F46-47AB-D2185D3DE947}"/>
                </a:ext>
              </a:extLst>
            </p:cNvPr>
            <p:cNvSpPr/>
            <p:nvPr/>
          </p:nvSpPr>
          <p:spPr>
            <a:xfrm>
              <a:off x="2210662" y="1704182"/>
              <a:ext cx="489" cy="109"/>
            </a:xfrm>
            <a:custGeom>
              <a:avLst/>
              <a:gdLst/>
              <a:ahLst/>
              <a:cxnLst/>
              <a:rect l="l" t="t" r="r" b="b"/>
              <a:pathLst>
                <a:path w="36" h="8" extrusionOk="0">
                  <a:moveTo>
                    <a:pt x="36" y="0"/>
                  </a:moveTo>
                  <a:lnTo>
                    <a:pt x="1" y="7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1" name="Google Shape;8308;p64">
              <a:extLst>
                <a:ext uri="{FF2B5EF4-FFF2-40B4-BE49-F238E27FC236}">
                  <a16:creationId xmlns:a16="http://schemas.microsoft.com/office/drawing/2014/main" id="{CC042141-B930-7336-6B31-B79284570AA7}"/>
                </a:ext>
              </a:extLst>
            </p:cNvPr>
            <p:cNvSpPr/>
            <p:nvPr/>
          </p:nvSpPr>
          <p:spPr>
            <a:xfrm>
              <a:off x="2205150" y="1705078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2" name="Google Shape;8309;p64">
              <a:extLst>
                <a:ext uri="{FF2B5EF4-FFF2-40B4-BE49-F238E27FC236}">
                  <a16:creationId xmlns:a16="http://schemas.microsoft.com/office/drawing/2014/main" id="{6B6F2441-E912-76C7-83A0-89A89ABCC692}"/>
                </a:ext>
              </a:extLst>
            </p:cNvPr>
            <p:cNvSpPr/>
            <p:nvPr/>
          </p:nvSpPr>
          <p:spPr>
            <a:xfrm>
              <a:off x="2202679" y="1705553"/>
              <a:ext cx="679" cy="163"/>
            </a:xfrm>
            <a:custGeom>
              <a:avLst/>
              <a:gdLst/>
              <a:ahLst/>
              <a:cxnLst/>
              <a:rect l="l" t="t" r="r" b="b"/>
              <a:pathLst>
                <a:path w="50" h="12" extrusionOk="0">
                  <a:moveTo>
                    <a:pt x="50" y="1"/>
                  </a:moveTo>
                  <a:lnTo>
                    <a:pt x="1" y="1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3" name="Google Shape;8310;p64">
              <a:extLst>
                <a:ext uri="{FF2B5EF4-FFF2-40B4-BE49-F238E27FC236}">
                  <a16:creationId xmlns:a16="http://schemas.microsoft.com/office/drawing/2014/main" id="{8939FD48-8CE8-5648-CB5F-9F15A22B3F37}"/>
                </a:ext>
              </a:extLst>
            </p:cNvPr>
            <p:cNvSpPr/>
            <p:nvPr/>
          </p:nvSpPr>
          <p:spPr>
            <a:xfrm>
              <a:off x="2204295" y="1705268"/>
              <a:ext cx="679" cy="109"/>
            </a:xfrm>
            <a:custGeom>
              <a:avLst/>
              <a:gdLst/>
              <a:ahLst/>
              <a:cxnLst/>
              <a:rect l="l" t="t" r="r" b="b"/>
              <a:pathLst>
                <a:path w="50" h="8" extrusionOk="0">
                  <a:moveTo>
                    <a:pt x="50" y="1"/>
                  </a:moveTo>
                  <a:lnTo>
                    <a:pt x="1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4" name="Google Shape;8311;p64">
              <a:extLst>
                <a:ext uri="{FF2B5EF4-FFF2-40B4-BE49-F238E27FC236}">
                  <a16:creationId xmlns:a16="http://schemas.microsoft.com/office/drawing/2014/main" id="{E64B233A-8221-EF62-B840-E61D5DCAA7B3}"/>
                </a:ext>
              </a:extLst>
            </p:cNvPr>
            <p:cNvSpPr/>
            <p:nvPr/>
          </p:nvSpPr>
          <p:spPr>
            <a:xfrm>
              <a:off x="2207010" y="1704793"/>
              <a:ext cx="584" cy="109"/>
            </a:xfrm>
            <a:custGeom>
              <a:avLst/>
              <a:gdLst/>
              <a:ahLst/>
              <a:cxnLst/>
              <a:rect l="l" t="t" r="r" b="b"/>
              <a:pathLst>
                <a:path w="43" h="8" extrusionOk="0">
                  <a:moveTo>
                    <a:pt x="42" y="1"/>
                  </a:moveTo>
                  <a:lnTo>
                    <a:pt x="0" y="8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5" name="Google Shape;8312;p64">
              <a:extLst>
                <a:ext uri="{FF2B5EF4-FFF2-40B4-BE49-F238E27FC236}">
                  <a16:creationId xmlns:a16="http://schemas.microsoft.com/office/drawing/2014/main" id="{3AA3485B-7E3B-624A-3C95-BFB5C493BFF4}"/>
                </a:ext>
              </a:extLst>
            </p:cNvPr>
            <p:cNvSpPr/>
            <p:nvPr/>
          </p:nvSpPr>
          <p:spPr>
            <a:xfrm>
              <a:off x="2189604" y="1699050"/>
              <a:ext cx="299" cy="339"/>
            </a:xfrm>
            <a:custGeom>
              <a:avLst/>
              <a:gdLst/>
              <a:ahLst/>
              <a:cxnLst/>
              <a:rect l="l" t="t" r="r" b="b"/>
              <a:pathLst>
                <a:path w="22" h="25" extrusionOk="0">
                  <a:moveTo>
                    <a:pt x="22" y="25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6" name="Google Shape;8313;p64">
              <a:extLst>
                <a:ext uri="{FF2B5EF4-FFF2-40B4-BE49-F238E27FC236}">
                  <a16:creationId xmlns:a16="http://schemas.microsoft.com/office/drawing/2014/main" id="{EA9F09AC-9967-2405-41EE-009528C0A875}"/>
                </a:ext>
              </a:extLst>
            </p:cNvPr>
            <p:cNvSpPr/>
            <p:nvPr/>
          </p:nvSpPr>
          <p:spPr>
            <a:xfrm>
              <a:off x="2190364" y="1699946"/>
              <a:ext cx="353" cy="39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25" y="29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7" name="Google Shape;8314;p64">
              <a:extLst>
                <a:ext uri="{FF2B5EF4-FFF2-40B4-BE49-F238E27FC236}">
                  <a16:creationId xmlns:a16="http://schemas.microsoft.com/office/drawing/2014/main" id="{31711F64-8291-144E-22F8-EF79FBBE0E1B}"/>
                </a:ext>
              </a:extLst>
            </p:cNvPr>
            <p:cNvSpPr/>
            <p:nvPr/>
          </p:nvSpPr>
          <p:spPr>
            <a:xfrm>
              <a:off x="2191314" y="1701046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8" name="Google Shape;8315;p64">
              <a:extLst>
                <a:ext uri="{FF2B5EF4-FFF2-40B4-BE49-F238E27FC236}">
                  <a16:creationId xmlns:a16="http://schemas.microsoft.com/office/drawing/2014/main" id="{A7A6D631-DAB8-2EE4-AFA2-DF709FB02867}"/>
                </a:ext>
              </a:extLst>
            </p:cNvPr>
            <p:cNvSpPr/>
            <p:nvPr/>
          </p:nvSpPr>
          <p:spPr>
            <a:xfrm>
              <a:off x="2188178" y="1697475"/>
              <a:ext cx="258" cy="299"/>
            </a:xfrm>
            <a:custGeom>
              <a:avLst/>
              <a:gdLst/>
              <a:ahLst/>
              <a:cxnLst/>
              <a:rect l="l" t="t" r="r" b="b"/>
              <a:pathLst>
                <a:path w="19" h="22" extrusionOk="0">
                  <a:moveTo>
                    <a:pt x="18" y="22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9" name="Google Shape;8316;p64">
              <a:extLst>
                <a:ext uri="{FF2B5EF4-FFF2-40B4-BE49-F238E27FC236}">
                  <a16:creationId xmlns:a16="http://schemas.microsoft.com/office/drawing/2014/main" id="{95C2E52F-A598-CE54-76B7-1BB461510A8A}"/>
                </a:ext>
              </a:extLst>
            </p:cNvPr>
            <p:cNvSpPr/>
            <p:nvPr/>
          </p:nvSpPr>
          <p:spPr>
            <a:xfrm>
              <a:off x="2188843" y="1698235"/>
              <a:ext cx="299" cy="353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22" y="25"/>
                  </a:moveTo>
                  <a:lnTo>
                    <a:pt x="1" y="1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80" name="Google Shape;8317;p64">
              <a:extLst>
                <a:ext uri="{FF2B5EF4-FFF2-40B4-BE49-F238E27FC236}">
                  <a16:creationId xmlns:a16="http://schemas.microsoft.com/office/drawing/2014/main" id="{C9EEBDCD-83A4-8068-5CBB-EAC274B89489}"/>
                </a:ext>
              </a:extLst>
            </p:cNvPr>
            <p:cNvSpPr/>
            <p:nvPr/>
          </p:nvSpPr>
          <p:spPr>
            <a:xfrm>
              <a:off x="2191980" y="1701901"/>
              <a:ext cx="299" cy="394"/>
            </a:xfrm>
            <a:custGeom>
              <a:avLst/>
              <a:gdLst/>
              <a:ahLst/>
              <a:cxnLst/>
              <a:rect l="l" t="t" r="r" b="b"/>
              <a:pathLst>
                <a:path w="22" h="29" extrusionOk="0">
                  <a:moveTo>
                    <a:pt x="22" y="28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81" name="Google Shape;8318;p64">
              <a:extLst>
                <a:ext uri="{FF2B5EF4-FFF2-40B4-BE49-F238E27FC236}">
                  <a16:creationId xmlns:a16="http://schemas.microsoft.com/office/drawing/2014/main" id="{A4A9617C-FE82-4D80-E0C6-223AB487DE3B}"/>
                </a:ext>
              </a:extLst>
            </p:cNvPr>
            <p:cNvSpPr/>
            <p:nvPr/>
          </p:nvSpPr>
          <p:spPr>
            <a:xfrm>
              <a:off x="2187513" y="1696769"/>
              <a:ext cx="204" cy="204"/>
            </a:xfrm>
            <a:custGeom>
              <a:avLst/>
              <a:gdLst/>
              <a:ahLst/>
              <a:cxnLst/>
              <a:rect l="l" t="t" r="r" b="b"/>
              <a:pathLst>
                <a:path w="15" h="15" extrusionOk="0">
                  <a:moveTo>
                    <a:pt x="15" y="14"/>
                  </a:moveTo>
                  <a:lnTo>
                    <a:pt x="1" y="0"/>
                  </a:lnTo>
                  <a:close/>
                </a:path>
              </a:pathLst>
            </a:custGeom>
            <a:noFill/>
            <a:ln w="9525" cap="flat" cmpd="sng">
              <a:solidFill>
                <a:srgbClr val="5F7D9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12182" name="Google Shape;8319;p64">
            <a:extLst>
              <a:ext uri="{FF2B5EF4-FFF2-40B4-BE49-F238E27FC236}">
                <a16:creationId xmlns:a16="http://schemas.microsoft.com/office/drawing/2014/main" id="{077376AB-32E9-B4F1-1840-B4BE7DB1FE71}"/>
              </a:ext>
            </a:extLst>
          </p:cNvPr>
          <p:cNvGrpSpPr/>
          <p:nvPr/>
        </p:nvGrpSpPr>
        <p:grpSpPr>
          <a:xfrm>
            <a:off x="4797047" y="4087843"/>
            <a:ext cx="2988459" cy="1774208"/>
            <a:chOff x="3597785" y="3065882"/>
            <a:chExt cx="2241344" cy="1330656"/>
          </a:xfrm>
        </p:grpSpPr>
        <p:grpSp>
          <p:nvGrpSpPr>
            <p:cNvPr id="12183" name="Google Shape;8320;p64">
              <a:extLst>
                <a:ext uri="{FF2B5EF4-FFF2-40B4-BE49-F238E27FC236}">
                  <a16:creationId xmlns:a16="http://schemas.microsoft.com/office/drawing/2014/main" id="{F05D460B-682F-5D9D-BF7C-013001281ED7}"/>
                </a:ext>
              </a:extLst>
            </p:cNvPr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12987" name="Google Shape;8321;p64">
                <a:extLst>
                  <a:ext uri="{FF2B5EF4-FFF2-40B4-BE49-F238E27FC236}">
                    <a16:creationId xmlns:a16="http://schemas.microsoft.com/office/drawing/2014/main" id="{42E382E9-4D42-0634-BED9-B97E6B58AF5D}"/>
                  </a:ext>
                </a:extLst>
              </p:cNvPr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12988" name="Google Shape;8322;p64">
                <a:extLst>
                  <a:ext uri="{FF2B5EF4-FFF2-40B4-BE49-F238E27FC236}">
                    <a16:creationId xmlns:a16="http://schemas.microsoft.com/office/drawing/2014/main" id="{F6C881F8-9002-6E6B-485B-A945B59C1EEB}"/>
                  </a:ext>
                </a:extLst>
              </p:cNvPr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12992" name="Google Shape;8323;p64">
                  <a:extLst>
                    <a:ext uri="{FF2B5EF4-FFF2-40B4-BE49-F238E27FC236}">
                      <a16:creationId xmlns:a16="http://schemas.microsoft.com/office/drawing/2014/main" id="{2D9A159F-A168-478A-8E1C-B7D0530652F7}"/>
                    </a:ext>
                  </a:extLst>
                </p:cNvPr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93" name="Google Shape;8324;p64">
                  <a:extLst>
                    <a:ext uri="{FF2B5EF4-FFF2-40B4-BE49-F238E27FC236}">
                      <a16:creationId xmlns:a16="http://schemas.microsoft.com/office/drawing/2014/main" id="{CA0DDDC5-3EBC-5F8B-DC50-D1075DD4632A}"/>
                    </a:ext>
                  </a:extLst>
                </p:cNvPr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89" name="Google Shape;8325;p64">
                <a:extLst>
                  <a:ext uri="{FF2B5EF4-FFF2-40B4-BE49-F238E27FC236}">
                    <a16:creationId xmlns:a16="http://schemas.microsoft.com/office/drawing/2014/main" id="{FC3E3E9B-0279-DD3F-EC54-E2B624479605}"/>
                  </a:ext>
                </a:extLst>
              </p:cNvPr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12990" name="Google Shape;8326;p64">
                  <a:extLst>
                    <a:ext uri="{FF2B5EF4-FFF2-40B4-BE49-F238E27FC236}">
                      <a16:creationId xmlns:a16="http://schemas.microsoft.com/office/drawing/2014/main" id="{15EBC3F7-0F07-D47F-6E25-51F09FD3AEAB}"/>
                    </a:ext>
                  </a:extLst>
                </p:cNvPr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91" name="Google Shape;8327;p64">
                  <a:extLst>
                    <a:ext uri="{FF2B5EF4-FFF2-40B4-BE49-F238E27FC236}">
                      <a16:creationId xmlns:a16="http://schemas.microsoft.com/office/drawing/2014/main" id="{CB31DADA-6C01-C964-99DC-21B3BCA32CBF}"/>
                    </a:ext>
                  </a:extLst>
                </p:cNvPr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184" name="Google Shape;8328;p64">
              <a:extLst>
                <a:ext uri="{FF2B5EF4-FFF2-40B4-BE49-F238E27FC236}">
                  <a16:creationId xmlns:a16="http://schemas.microsoft.com/office/drawing/2014/main" id="{44635834-9FE2-91D8-FFA8-7FE328B10E1F}"/>
                </a:ext>
              </a:extLst>
            </p:cNvPr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12972" name="Google Shape;8329;p64">
                <a:extLst>
                  <a:ext uri="{FF2B5EF4-FFF2-40B4-BE49-F238E27FC236}">
                    <a16:creationId xmlns:a16="http://schemas.microsoft.com/office/drawing/2014/main" id="{5F8B59BD-E4EC-DA68-38D9-B23BE1A35043}"/>
                  </a:ext>
                </a:extLst>
              </p:cNvPr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12985" name="Google Shape;8330;p64">
                  <a:extLst>
                    <a:ext uri="{FF2B5EF4-FFF2-40B4-BE49-F238E27FC236}">
                      <a16:creationId xmlns:a16="http://schemas.microsoft.com/office/drawing/2014/main" id="{E3E63587-07D1-187A-E901-6D5912C3804A}"/>
                    </a:ext>
                  </a:extLst>
                </p:cNvPr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86" name="Google Shape;8331;p64">
                  <a:extLst>
                    <a:ext uri="{FF2B5EF4-FFF2-40B4-BE49-F238E27FC236}">
                      <a16:creationId xmlns:a16="http://schemas.microsoft.com/office/drawing/2014/main" id="{533CF7F8-2AB8-41F0-EB09-9C9F46AFA38A}"/>
                    </a:ext>
                  </a:extLst>
                </p:cNvPr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73" name="Google Shape;8332;p64">
                <a:extLst>
                  <a:ext uri="{FF2B5EF4-FFF2-40B4-BE49-F238E27FC236}">
                    <a16:creationId xmlns:a16="http://schemas.microsoft.com/office/drawing/2014/main" id="{D5277DE9-A10D-2E2F-64C0-F30CB058CF50}"/>
                  </a:ext>
                </a:extLst>
              </p:cNvPr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12983" name="Google Shape;8333;p64">
                  <a:extLst>
                    <a:ext uri="{FF2B5EF4-FFF2-40B4-BE49-F238E27FC236}">
                      <a16:creationId xmlns:a16="http://schemas.microsoft.com/office/drawing/2014/main" id="{2EFF5D8E-8B9F-5A05-364B-E3B34D1CD835}"/>
                    </a:ext>
                  </a:extLst>
                </p:cNvPr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84" name="Google Shape;8334;p64">
                  <a:extLst>
                    <a:ext uri="{FF2B5EF4-FFF2-40B4-BE49-F238E27FC236}">
                      <a16:creationId xmlns:a16="http://schemas.microsoft.com/office/drawing/2014/main" id="{757D71BD-B63F-AAFD-0F9F-1FD0A418D857}"/>
                    </a:ext>
                  </a:extLst>
                </p:cNvPr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74" name="Google Shape;8335;p64">
                <a:extLst>
                  <a:ext uri="{FF2B5EF4-FFF2-40B4-BE49-F238E27FC236}">
                    <a16:creationId xmlns:a16="http://schemas.microsoft.com/office/drawing/2014/main" id="{95B851FA-64E8-8B86-4A18-39C9EBE04816}"/>
                  </a:ext>
                </a:extLst>
              </p:cNvPr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12981" name="Google Shape;8336;p64">
                  <a:extLst>
                    <a:ext uri="{FF2B5EF4-FFF2-40B4-BE49-F238E27FC236}">
                      <a16:creationId xmlns:a16="http://schemas.microsoft.com/office/drawing/2014/main" id="{80E0DAA4-80D8-067E-EBDB-0CDCE654F8C8}"/>
                    </a:ext>
                  </a:extLst>
                </p:cNvPr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82" name="Google Shape;8337;p64">
                  <a:extLst>
                    <a:ext uri="{FF2B5EF4-FFF2-40B4-BE49-F238E27FC236}">
                      <a16:creationId xmlns:a16="http://schemas.microsoft.com/office/drawing/2014/main" id="{7D193ED8-D623-68DE-22A3-8CD2E2EA74BE}"/>
                    </a:ext>
                  </a:extLst>
                </p:cNvPr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75" name="Google Shape;8338;p64">
                <a:extLst>
                  <a:ext uri="{FF2B5EF4-FFF2-40B4-BE49-F238E27FC236}">
                    <a16:creationId xmlns:a16="http://schemas.microsoft.com/office/drawing/2014/main" id="{3949A741-976A-3AB6-D1C3-E268E7B30A01}"/>
                  </a:ext>
                </a:extLst>
              </p:cNvPr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12979" name="Google Shape;8339;p64">
                  <a:extLst>
                    <a:ext uri="{FF2B5EF4-FFF2-40B4-BE49-F238E27FC236}">
                      <a16:creationId xmlns:a16="http://schemas.microsoft.com/office/drawing/2014/main" id="{7EA1F398-A49A-952B-EE47-D5D11C672FD5}"/>
                    </a:ext>
                  </a:extLst>
                </p:cNvPr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80" name="Google Shape;8340;p64">
                  <a:extLst>
                    <a:ext uri="{FF2B5EF4-FFF2-40B4-BE49-F238E27FC236}">
                      <a16:creationId xmlns:a16="http://schemas.microsoft.com/office/drawing/2014/main" id="{5FDC1A73-C976-5A04-BE78-AB0DD86ED715}"/>
                    </a:ext>
                  </a:extLst>
                </p:cNvPr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76" name="Google Shape;8341;p64">
                <a:extLst>
                  <a:ext uri="{FF2B5EF4-FFF2-40B4-BE49-F238E27FC236}">
                    <a16:creationId xmlns:a16="http://schemas.microsoft.com/office/drawing/2014/main" id="{C6FAFFA6-8F32-4C3B-7292-9BD1298F375E}"/>
                  </a:ext>
                </a:extLst>
              </p:cNvPr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12977" name="Google Shape;8342;p64">
                  <a:extLst>
                    <a:ext uri="{FF2B5EF4-FFF2-40B4-BE49-F238E27FC236}">
                      <a16:creationId xmlns:a16="http://schemas.microsoft.com/office/drawing/2014/main" id="{FB6A3F96-9A0B-422D-5D64-EBD7EDAE47B3}"/>
                    </a:ext>
                  </a:extLst>
                </p:cNvPr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78" name="Google Shape;8343;p64">
                  <a:extLst>
                    <a:ext uri="{FF2B5EF4-FFF2-40B4-BE49-F238E27FC236}">
                      <a16:creationId xmlns:a16="http://schemas.microsoft.com/office/drawing/2014/main" id="{79E9B3B9-DE09-A8F9-F6C6-9E743AB7B6E0}"/>
                    </a:ext>
                  </a:extLst>
                </p:cNvPr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185" name="Google Shape;8344;p64">
              <a:extLst>
                <a:ext uri="{FF2B5EF4-FFF2-40B4-BE49-F238E27FC236}">
                  <a16:creationId xmlns:a16="http://schemas.microsoft.com/office/drawing/2014/main" id="{8D3C8F3B-11FC-5F15-1E99-561EABBDBA6B}"/>
                </a:ext>
              </a:extLst>
            </p:cNvPr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12944" name="Google Shape;8345;p64">
                <a:extLst>
                  <a:ext uri="{FF2B5EF4-FFF2-40B4-BE49-F238E27FC236}">
                    <a16:creationId xmlns:a16="http://schemas.microsoft.com/office/drawing/2014/main" id="{4909CC6E-B956-A63F-8D30-41965D802502}"/>
                  </a:ext>
                </a:extLst>
              </p:cNvPr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12966" name="Google Shape;8346;p64">
                  <a:extLst>
                    <a:ext uri="{FF2B5EF4-FFF2-40B4-BE49-F238E27FC236}">
                      <a16:creationId xmlns:a16="http://schemas.microsoft.com/office/drawing/2014/main" id="{2B3D2CB5-AC10-B986-8837-B880C7EB4ECA}"/>
                    </a:ext>
                  </a:extLst>
                </p:cNvPr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67" name="Google Shape;8347;p64">
                  <a:extLst>
                    <a:ext uri="{FF2B5EF4-FFF2-40B4-BE49-F238E27FC236}">
                      <a16:creationId xmlns:a16="http://schemas.microsoft.com/office/drawing/2014/main" id="{5CABD1E3-5D8F-02C3-FB75-BD8F5884D874}"/>
                    </a:ext>
                  </a:extLst>
                </p:cNvPr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68" name="Google Shape;8348;p64">
                  <a:extLst>
                    <a:ext uri="{FF2B5EF4-FFF2-40B4-BE49-F238E27FC236}">
                      <a16:creationId xmlns:a16="http://schemas.microsoft.com/office/drawing/2014/main" id="{B8AAC316-C9A2-482E-2F64-709AF1083AB2}"/>
                    </a:ext>
                  </a:extLst>
                </p:cNvPr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69" name="Google Shape;8349;p64">
                  <a:extLst>
                    <a:ext uri="{FF2B5EF4-FFF2-40B4-BE49-F238E27FC236}">
                      <a16:creationId xmlns:a16="http://schemas.microsoft.com/office/drawing/2014/main" id="{4596A0F7-2A0A-3B11-6523-E2869DA44EC9}"/>
                    </a:ext>
                  </a:extLst>
                </p:cNvPr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70" name="Google Shape;8350;p64">
                  <a:extLst>
                    <a:ext uri="{FF2B5EF4-FFF2-40B4-BE49-F238E27FC236}">
                      <a16:creationId xmlns:a16="http://schemas.microsoft.com/office/drawing/2014/main" id="{40CC2497-29CA-E758-1B33-A70B3E9E6F24}"/>
                    </a:ext>
                  </a:extLst>
                </p:cNvPr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71" name="Google Shape;8351;p64">
                  <a:extLst>
                    <a:ext uri="{FF2B5EF4-FFF2-40B4-BE49-F238E27FC236}">
                      <a16:creationId xmlns:a16="http://schemas.microsoft.com/office/drawing/2014/main" id="{33B81104-2A8F-2544-908E-4CBA4321BB10}"/>
                    </a:ext>
                  </a:extLst>
                </p:cNvPr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45" name="Google Shape;8352;p64">
                <a:extLst>
                  <a:ext uri="{FF2B5EF4-FFF2-40B4-BE49-F238E27FC236}">
                    <a16:creationId xmlns:a16="http://schemas.microsoft.com/office/drawing/2014/main" id="{F4A7661B-90CA-0C94-AC3A-C842D16DA7AD}"/>
                  </a:ext>
                </a:extLst>
              </p:cNvPr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12964" name="Google Shape;8353;p64">
                  <a:extLst>
                    <a:ext uri="{FF2B5EF4-FFF2-40B4-BE49-F238E27FC236}">
                      <a16:creationId xmlns:a16="http://schemas.microsoft.com/office/drawing/2014/main" id="{AABD0299-BB22-D69B-046E-9FF5B8069261}"/>
                    </a:ext>
                  </a:extLst>
                </p:cNvPr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65" name="Google Shape;8354;p64">
                  <a:extLst>
                    <a:ext uri="{FF2B5EF4-FFF2-40B4-BE49-F238E27FC236}">
                      <a16:creationId xmlns:a16="http://schemas.microsoft.com/office/drawing/2014/main" id="{7E93B0E7-2D5C-F683-581D-942FEB318FAA}"/>
                    </a:ext>
                  </a:extLst>
                </p:cNvPr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46" name="Google Shape;8355;p64">
                <a:extLst>
                  <a:ext uri="{FF2B5EF4-FFF2-40B4-BE49-F238E27FC236}">
                    <a16:creationId xmlns:a16="http://schemas.microsoft.com/office/drawing/2014/main" id="{30C4E049-6725-B681-EA12-213C0246293C}"/>
                  </a:ext>
                </a:extLst>
              </p:cNvPr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12962" name="Google Shape;8356;p64">
                  <a:extLst>
                    <a:ext uri="{FF2B5EF4-FFF2-40B4-BE49-F238E27FC236}">
                      <a16:creationId xmlns:a16="http://schemas.microsoft.com/office/drawing/2014/main" id="{854D41FB-13F2-DC32-E5EB-7B2A23AEC95A}"/>
                    </a:ext>
                  </a:extLst>
                </p:cNvPr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63" name="Google Shape;8357;p64">
                  <a:extLst>
                    <a:ext uri="{FF2B5EF4-FFF2-40B4-BE49-F238E27FC236}">
                      <a16:creationId xmlns:a16="http://schemas.microsoft.com/office/drawing/2014/main" id="{CC5F9528-9E1B-ABCF-A5AE-1771AE7B2633}"/>
                    </a:ext>
                  </a:extLst>
                </p:cNvPr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47" name="Google Shape;8358;p64">
                <a:extLst>
                  <a:ext uri="{FF2B5EF4-FFF2-40B4-BE49-F238E27FC236}">
                    <a16:creationId xmlns:a16="http://schemas.microsoft.com/office/drawing/2014/main" id="{72D7244D-F89D-62DB-99B7-5A8C05D926C9}"/>
                  </a:ext>
                </a:extLst>
              </p:cNvPr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12960" name="Google Shape;8359;p64">
                  <a:extLst>
                    <a:ext uri="{FF2B5EF4-FFF2-40B4-BE49-F238E27FC236}">
                      <a16:creationId xmlns:a16="http://schemas.microsoft.com/office/drawing/2014/main" id="{1100ECBC-B06D-9D0C-DA03-A2A849E5E103}"/>
                    </a:ext>
                  </a:extLst>
                </p:cNvPr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61" name="Google Shape;8360;p64">
                  <a:extLst>
                    <a:ext uri="{FF2B5EF4-FFF2-40B4-BE49-F238E27FC236}">
                      <a16:creationId xmlns:a16="http://schemas.microsoft.com/office/drawing/2014/main" id="{C79E1D6A-842A-8309-DE6E-57EF733CCCE4}"/>
                    </a:ext>
                  </a:extLst>
                </p:cNvPr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48" name="Google Shape;8361;p64">
                <a:extLst>
                  <a:ext uri="{FF2B5EF4-FFF2-40B4-BE49-F238E27FC236}">
                    <a16:creationId xmlns:a16="http://schemas.microsoft.com/office/drawing/2014/main" id="{C80FB416-0813-8B4B-31FA-6A97CFCAB370}"/>
                  </a:ext>
                </a:extLst>
              </p:cNvPr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12958" name="Google Shape;8362;p64">
                  <a:extLst>
                    <a:ext uri="{FF2B5EF4-FFF2-40B4-BE49-F238E27FC236}">
                      <a16:creationId xmlns:a16="http://schemas.microsoft.com/office/drawing/2014/main" id="{B4A14A91-2016-53E5-CACD-4DB3502DC691}"/>
                    </a:ext>
                  </a:extLst>
                </p:cNvPr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59" name="Google Shape;8363;p64">
                  <a:extLst>
                    <a:ext uri="{FF2B5EF4-FFF2-40B4-BE49-F238E27FC236}">
                      <a16:creationId xmlns:a16="http://schemas.microsoft.com/office/drawing/2014/main" id="{8130A199-3CCD-782A-4A96-49F55790C147}"/>
                    </a:ext>
                  </a:extLst>
                </p:cNvPr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49" name="Google Shape;8364;p64">
                <a:extLst>
                  <a:ext uri="{FF2B5EF4-FFF2-40B4-BE49-F238E27FC236}">
                    <a16:creationId xmlns:a16="http://schemas.microsoft.com/office/drawing/2014/main" id="{D0EC3EB4-225B-3939-2795-8B58886B811C}"/>
                  </a:ext>
                </a:extLst>
              </p:cNvPr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12956" name="Google Shape;8365;p64">
                  <a:extLst>
                    <a:ext uri="{FF2B5EF4-FFF2-40B4-BE49-F238E27FC236}">
                      <a16:creationId xmlns:a16="http://schemas.microsoft.com/office/drawing/2014/main" id="{D0E4B500-959D-958E-A05D-F1AA0FAD0048}"/>
                    </a:ext>
                  </a:extLst>
                </p:cNvPr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57" name="Google Shape;8366;p64">
                  <a:extLst>
                    <a:ext uri="{FF2B5EF4-FFF2-40B4-BE49-F238E27FC236}">
                      <a16:creationId xmlns:a16="http://schemas.microsoft.com/office/drawing/2014/main" id="{69C6FA31-ABCD-4795-F9A6-891D57828DA1}"/>
                    </a:ext>
                  </a:extLst>
                </p:cNvPr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50" name="Google Shape;8367;p64">
                <a:extLst>
                  <a:ext uri="{FF2B5EF4-FFF2-40B4-BE49-F238E27FC236}">
                    <a16:creationId xmlns:a16="http://schemas.microsoft.com/office/drawing/2014/main" id="{F3CAE3C8-B3B6-C0B4-337C-807D9BD4FF71}"/>
                  </a:ext>
                </a:extLst>
              </p:cNvPr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12954" name="Google Shape;8368;p64">
                  <a:extLst>
                    <a:ext uri="{FF2B5EF4-FFF2-40B4-BE49-F238E27FC236}">
                      <a16:creationId xmlns:a16="http://schemas.microsoft.com/office/drawing/2014/main" id="{58EC0728-1415-9677-ED1D-5288F8880C45}"/>
                    </a:ext>
                  </a:extLst>
                </p:cNvPr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55" name="Google Shape;8369;p64">
                  <a:extLst>
                    <a:ext uri="{FF2B5EF4-FFF2-40B4-BE49-F238E27FC236}">
                      <a16:creationId xmlns:a16="http://schemas.microsoft.com/office/drawing/2014/main" id="{EE665C7A-F63F-F05F-3384-15E9CE8621A9}"/>
                    </a:ext>
                  </a:extLst>
                </p:cNvPr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51" name="Google Shape;8370;p64">
                <a:extLst>
                  <a:ext uri="{FF2B5EF4-FFF2-40B4-BE49-F238E27FC236}">
                    <a16:creationId xmlns:a16="http://schemas.microsoft.com/office/drawing/2014/main" id="{04A8BE88-895A-3355-3D8F-822141B84FF1}"/>
                  </a:ext>
                </a:extLst>
              </p:cNvPr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12952" name="Google Shape;8371;p64">
                  <a:extLst>
                    <a:ext uri="{FF2B5EF4-FFF2-40B4-BE49-F238E27FC236}">
                      <a16:creationId xmlns:a16="http://schemas.microsoft.com/office/drawing/2014/main" id="{89D44AAB-C7E5-5EA6-1866-195747DC7A73}"/>
                    </a:ext>
                  </a:extLst>
                </p:cNvPr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53" name="Google Shape;8372;p64">
                  <a:extLst>
                    <a:ext uri="{FF2B5EF4-FFF2-40B4-BE49-F238E27FC236}">
                      <a16:creationId xmlns:a16="http://schemas.microsoft.com/office/drawing/2014/main" id="{16CB0689-6371-A52C-E5DA-F79EFC60AADA}"/>
                    </a:ext>
                  </a:extLst>
                </p:cNvPr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186" name="Google Shape;8373;p64">
              <a:extLst>
                <a:ext uri="{FF2B5EF4-FFF2-40B4-BE49-F238E27FC236}">
                  <a16:creationId xmlns:a16="http://schemas.microsoft.com/office/drawing/2014/main" id="{0C05E682-48E8-50D0-6C99-144F7E3796C7}"/>
                </a:ext>
              </a:extLst>
            </p:cNvPr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12928" name="Google Shape;8374;p64">
                <a:extLst>
                  <a:ext uri="{FF2B5EF4-FFF2-40B4-BE49-F238E27FC236}">
                    <a16:creationId xmlns:a16="http://schemas.microsoft.com/office/drawing/2014/main" id="{4093F668-6AD7-5A40-C66B-E01A9457135D}"/>
                  </a:ext>
                </a:extLst>
              </p:cNvPr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12941" name="Google Shape;8375;p64">
                  <a:extLst>
                    <a:ext uri="{FF2B5EF4-FFF2-40B4-BE49-F238E27FC236}">
                      <a16:creationId xmlns:a16="http://schemas.microsoft.com/office/drawing/2014/main" id="{A05917C5-7BE4-AF28-28E2-AA9C33D53F05}"/>
                    </a:ext>
                  </a:extLst>
                </p:cNvPr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42" name="Google Shape;8376;p64">
                  <a:extLst>
                    <a:ext uri="{FF2B5EF4-FFF2-40B4-BE49-F238E27FC236}">
                      <a16:creationId xmlns:a16="http://schemas.microsoft.com/office/drawing/2014/main" id="{6D75D9C5-0DF7-B190-2CC0-41D1CDA6EDF5}"/>
                    </a:ext>
                  </a:extLst>
                </p:cNvPr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43" name="Google Shape;8377;p64">
                  <a:extLst>
                    <a:ext uri="{FF2B5EF4-FFF2-40B4-BE49-F238E27FC236}">
                      <a16:creationId xmlns:a16="http://schemas.microsoft.com/office/drawing/2014/main" id="{869E76AA-0DAB-7C04-1E99-C46E473F9059}"/>
                    </a:ext>
                  </a:extLst>
                </p:cNvPr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29" name="Google Shape;8378;p64">
                <a:extLst>
                  <a:ext uri="{FF2B5EF4-FFF2-40B4-BE49-F238E27FC236}">
                    <a16:creationId xmlns:a16="http://schemas.microsoft.com/office/drawing/2014/main" id="{3E0FF49C-2325-EC78-2085-C6CF7BA83281}"/>
                  </a:ext>
                </a:extLst>
              </p:cNvPr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12939" name="Google Shape;8379;p64">
                  <a:extLst>
                    <a:ext uri="{FF2B5EF4-FFF2-40B4-BE49-F238E27FC236}">
                      <a16:creationId xmlns:a16="http://schemas.microsoft.com/office/drawing/2014/main" id="{959D0918-3480-2AFE-3496-2210AA4D8F13}"/>
                    </a:ext>
                  </a:extLst>
                </p:cNvPr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40" name="Google Shape;8380;p64">
                  <a:extLst>
                    <a:ext uri="{FF2B5EF4-FFF2-40B4-BE49-F238E27FC236}">
                      <a16:creationId xmlns:a16="http://schemas.microsoft.com/office/drawing/2014/main" id="{13FE413F-449F-026E-9406-9CA120DD63A9}"/>
                    </a:ext>
                  </a:extLst>
                </p:cNvPr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30" name="Google Shape;8381;p64">
                <a:extLst>
                  <a:ext uri="{FF2B5EF4-FFF2-40B4-BE49-F238E27FC236}">
                    <a16:creationId xmlns:a16="http://schemas.microsoft.com/office/drawing/2014/main" id="{C5D96B79-F7E8-95C4-4A77-6B5FD19DE008}"/>
                  </a:ext>
                </a:extLst>
              </p:cNvPr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12937" name="Google Shape;8382;p64">
                  <a:extLst>
                    <a:ext uri="{FF2B5EF4-FFF2-40B4-BE49-F238E27FC236}">
                      <a16:creationId xmlns:a16="http://schemas.microsoft.com/office/drawing/2014/main" id="{264F31F3-342E-5F06-F764-29BF5EB772D5}"/>
                    </a:ext>
                  </a:extLst>
                </p:cNvPr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38" name="Google Shape;8383;p64">
                  <a:extLst>
                    <a:ext uri="{FF2B5EF4-FFF2-40B4-BE49-F238E27FC236}">
                      <a16:creationId xmlns:a16="http://schemas.microsoft.com/office/drawing/2014/main" id="{93B93B17-0CFD-669C-8023-429B1F78F9BF}"/>
                    </a:ext>
                  </a:extLst>
                </p:cNvPr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31" name="Google Shape;8384;p64">
                <a:extLst>
                  <a:ext uri="{FF2B5EF4-FFF2-40B4-BE49-F238E27FC236}">
                    <a16:creationId xmlns:a16="http://schemas.microsoft.com/office/drawing/2014/main" id="{8187C82C-A8E4-C2AF-226D-58062132FBC1}"/>
                  </a:ext>
                </a:extLst>
              </p:cNvPr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12935" name="Google Shape;8385;p64">
                  <a:extLst>
                    <a:ext uri="{FF2B5EF4-FFF2-40B4-BE49-F238E27FC236}">
                      <a16:creationId xmlns:a16="http://schemas.microsoft.com/office/drawing/2014/main" id="{609FCF5A-FE43-1BD8-7518-EEA5565E00E6}"/>
                    </a:ext>
                  </a:extLst>
                </p:cNvPr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36" name="Google Shape;8386;p64">
                  <a:extLst>
                    <a:ext uri="{FF2B5EF4-FFF2-40B4-BE49-F238E27FC236}">
                      <a16:creationId xmlns:a16="http://schemas.microsoft.com/office/drawing/2014/main" id="{CAD87156-BEEF-A07E-AF97-A3CD23B1422F}"/>
                    </a:ext>
                  </a:extLst>
                </p:cNvPr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32" name="Google Shape;8387;p64">
                <a:extLst>
                  <a:ext uri="{FF2B5EF4-FFF2-40B4-BE49-F238E27FC236}">
                    <a16:creationId xmlns:a16="http://schemas.microsoft.com/office/drawing/2014/main" id="{423E9C86-C65A-47DC-88F1-5C5A7F60D996}"/>
                  </a:ext>
                </a:extLst>
              </p:cNvPr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12933" name="Google Shape;8388;p64">
                  <a:extLst>
                    <a:ext uri="{FF2B5EF4-FFF2-40B4-BE49-F238E27FC236}">
                      <a16:creationId xmlns:a16="http://schemas.microsoft.com/office/drawing/2014/main" id="{D9E7C010-2A17-148A-25BA-1B977AF266D3}"/>
                    </a:ext>
                  </a:extLst>
                </p:cNvPr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34" name="Google Shape;8389;p64">
                  <a:extLst>
                    <a:ext uri="{FF2B5EF4-FFF2-40B4-BE49-F238E27FC236}">
                      <a16:creationId xmlns:a16="http://schemas.microsoft.com/office/drawing/2014/main" id="{65BB5148-374E-17ED-5B6D-E3039B8797CA}"/>
                    </a:ext>
                  </a:extLst>
                </p:cNvPr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187" name="Google Shape;8390;p64">
              <a:extLst>
                <a:ext uri="{FF2B5EF4-FFF2-40B4-BE49-F238E27FC236}">
                  <a16:creationId xmlns:a16="http://schemas.microsoft.com/office/drawing/2014/main" id="{B02404FF-1A3A-5BBD-7AD6-10FDEE2C0C3F}"/>
                </a:ext>
              </a:extLst>
            </p:cNvPr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12905" name="Google Shape;8391;p64">
                <a:extLst>
                  <a:ext uri="{FF2B5EF4-FFF2-40B4-BE49-F238E27FC236}">
                    <a16:creationId xmlns:a16="http://schemas.microsoft.com/office/drawing/2014/main" id="{A6F6472C-BED2-B8F8-6ED7-E661851F37AA}"/>
                  </a:ext>
                </a:extLst>
              </p:cNvPr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12924" name="Google Shape;8392;p64">
                  <a:extLst>
                    <a:ext uri="{FF2B5EF4-FFF2-40B4-BE49-F238E27FC236}">
                      <a16:creationId xmlns:a16="http://schemas.microsoft.com/office/drawing/2014/main" id="{C17EE328-DB03-637C-C544-2E2EDCDBCCE4}"/>
                    </a:ext>
                  </a:extLst>
                </p:cNvPr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25" name="Google Shape;8393;p64">
                  <a:extLst>
                    <a:ext uri="{FF2B5EF4-FFF2-40B4-BE49-F238E27FC236}">
                      <a16:creationId xmlns:a16="http://schemas.microsoft.com/office/drawing/2014/main" id="{56286889-1F78-C4D1-1CE2-232D50577F45}"/>
                    </a:ext>
                  </a:extLst>
                </p:cNvPr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26" name="Google Shape;8394;p64">
                  <a:extLst>
                    <a:ext uri="{FF2B5EF4-FFF2-40B4-BE49-F238E27FC236}">
                      <a16:creationId xmlns:a16="http://schemas.microsoft.com/office/drawing/2014/main" id="{648A3045-0AE4-BCF6-3058-F95FC8B84B49}"/>
                    </a:ext>
                  </a:extLst>
                </p:cNvPr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27" name="Google Shape;8395;p64">
                  <a:extLst>
                    <a:ext uri="{FF2B5EF4-FFF2-40B4-BE49-F238E27FC236}">
                      <a16:creationId xmlns:a16="http://schemas.microsoft.com/office/drawing/2014/main" id="{97C27EEF-5C91-8668-3861-91AC9054FCC3}"/>
                    </a:ext>
                  </a:extLst>
                </p:cNvPr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06" name="Google Shape;8396;p64">
                <a:extLst>
                  <a:ext uri="{FF2B5EF4-FFF2-40B4-BE49-F238E27FC236}">
                    <a16:creationId xmlns:a16="http://schemas.microsoft.com/office/drawing/2014/main" id="{10987342-DA42-09BB-9184-C53208B03D7F}"/>
                  </a:ext>
                </a:extLst>
              </p:cNvPr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12922" name="Google Shape;8397;p64">
                  <a:extLst>
                    <a:ext uri="{FF2B5EF4-FFF2-40B4-BE49-F238E27FC236}">
                      <a16:creationId xmlns:a16="http://schemas.microsoft.com/office/drawing/2014/main" id="{0F6FD4F4-7CEC-15C1-0EB7-50A9BC591377}"/>
                    </a:ext>
                  </a:extLst>
                </p:cNvPr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23" name="Google Shape;8398;p64">
                  <a:extLst>
                    <a:ext uri="{FF2B5EF4-FFF2-40B4-BE49-F238E27FC236}">
                      <a16:creationId xmlns:a16="http://schemas.microsoft.com/office/drawing/2014/main" id="{9A53A818-49D9-FA4D-7F26-ACDE035E0BAC}"/>
                    </a:ext>
                  </a:extLst>
                </p:cNvPr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07" name="Google Shape;8399;p64">
                <a:extLst>
                  <a:ext uri="{FF2B5EF4-FFF2-40B4-BE49-F238E27FC236}">
                    <a16:creationId xmlns:a16="http://schemas.microsoft.com/office/drawing/2014/main" id="{D6BAB6BF-7B1A-10C8-A859-1949C9ECF3AE}"/>
                  </a:ext>
                </a:extLst>
              </p:cNvPr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12920" name="Google Shape;8400;p64">
                  <a:extLst>
                    <a:ext uri="{FF2B5EF4-FFF2-40B4-BE49-F238E27FC236}">
                      <a16:creationId xmlns:a16="http://schemas.microsoft.com/office/drawing/2014/main" id="{3D69F32E-037A-DD17-6D8A-709FB1E03D02}"/>
                    </a:ext>
                  </a:extLst>
                </p:cNvPr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21" name="Google Shape;8401;p64">
                  <a:extLst>
                    <a:ext uri="{FF2B5EF4-FFF2-40B4-BE49-F238E27FC236}">
                      <a16:creationId xmlns:a16="http://schemas.microsoft.com/office/drawing/2014/main" id="{88D5FC7F-D45E-7D60-4775-A1748F07C9C2}"/>
                    </a:ext>
                  </a:extLst>
                </p:cNvPr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08" name="Google Shape;8402;p64">
                <a:extLst>
                  <a:ext uri="{FF2B5EF4-FFF2-40B4-BE49-F238E27FC236}">
                    <a16:creationId xmlns:a16="http://schemas.microsoft.com/office/drawing/2014/main" id="{0906D141-9EAE-B47A-F41E-F41960FCCEC9}"/>
                  </a:ext>
                </a:extLst>
              </p:cNvPr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12918" name="Google Shape;8403;p64">
                  <a:extLst>
                    <a:ext uri="{FF2B5EF4-FFF2-40B4-BE49-F238E27FC236}">
                      <a16:creationId xmlns:a16="http://schemas.microsoft.com/office/drawing/2014/main" id="{089DAF60-A67A-ED50-BBF9-D5CA9561CE90}"/>
                    </a:ext>
                  </a:extLst>
                </p:cNvPr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19" name="Google Shape;8404;p64">
                  <a:extLst>
                    <a:ext uri="{FF2B5EF4-FFF2-40B4-BE49-F238E27FC236}">
                      <a16:creationId xmlns:a16="http://schemas.microsoft.com/office/drawing/2014/main" id="{E819E294-6E61-E562-D549-9264F93D4ED3}"/>
                    </a:ext>
                  </a:extLst>
                </p:cNvPr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09" name="Google Shape;8405;p64">
                <a:extLst>
                  <a:ext uri="{FF2B5EF4-FFF2-40B4-BE49-F238E27FC236}">
                    <a16:creationId xmlns:a16="http://schemas.microsoft.com/office/drawing/2014/main" id="{B35A530D-8DD6-AEE3-E1AB-3C901DF47B44}"/>
                  </a:ext>
                </a:extLst>
              </p:cNvPr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12916" name="Google Shape;8406;p64">
                  <a:extLst>
                    <a:ext uri="{FF2B5EF4-FFF2-40B4-BE49-F238E27FC236}">
                      <a16:creationId xmlns:a16="http://schemas.microsoft.com/office/drawing/2014/main" id="{E6468DB2-CF5C-01F1-3F7A-DC59CEE5DB99}"/>
                    </a:ext>
                  </a:extLst>
                </p:cNvPr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17" name="Google Shape;8407;p64">
                  <a:extLst>
                    <a:ext uri="{FF2B5EF4-FFF2-40B4-BE49-F238E27FC236}">
                      <a16:creationId xmlns:a16="http://schemas.microsoft.com/office/drawing/2014/main" id="{B1E4B27B-29BF-7E72-8248-B43E30F38877}"/>
                    </a:ext>
                  </a:extLst>
                </p:cNvPr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10" name="Google Shape;8408;p64">
                <a:extLst>
                  <a:ext uri="{FF2B5EF4-FFF2-40B4-BE49-F238E27FC236}">
                    <a16:creationId xmlns:a16="http://schemas.microsoft.com/office/drawing/2014/main" id="{86F35E01-6724-27CE-DBF1-47175B3FF3AA}"/>
                  </a:ext>
                </a:extLst>
              </p:cNvPr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12914" name="Google Shape;8409;p64">
                  <a:extLst>
                    <a:ext uri="{FF2B5EF4-FFF2-40B4-BE49-F238E27FC236}">
                      <a16:creationId xmlns:a16="http://schemas.microsoft.com/office/drawing/2014/main" id="{1F298202-019C-7E4D-05A1-AE9C387BE65F}"/>
                    </a:ext>
                  </a:extLst>
                </p:cNvPr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15" name="Google Shape;8410;p64">
                  <a:extLst>
                    <a:ext uri="{FF2B5EF4-FFF2-40B4-BE49-F238E27FC236}">
                      <a16:creationId xmlns:a16="http://schemas.microsoft.com/office/drawing/2014/main" id="{31037CDA-716A-B0E2-73CA-8C0ADA8418A2}"/>
                    </a:ext>
                  </a:extLst>
                </p:cNvPr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11" name="Google Shape;8411;p64">
                <a:extLst>
                  <a:ext uri="{FF2B5EF4-FFF2-40B4-BE49-F238E27FC236}">
                    <a16:creationId xmlns:a16="http://schemas.microsoft.com/office/drawing/2014/main" id="{0A6A6F83-489B-E226-64D6-C5EEEC203086}"/>
                  </a:ext>
                </a:extLst>
              </p:cNvPr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12912" name="Google Shape;8412;p64">
                  <a:extLst>
                    <a:ext uri="{FF2B5EF4-FFF2-40B4-BE49-F238E27FC236}">
                      <a16:creationId xmlns:a16="http://schemas.microsoft.com/office/drawing/2014/main" id="{A17EB9B3-236C-4BB8-34AE-89D756969994}"/>
                    </a:ext>
                  </a:extLst>
                </p:cNvPr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13" name="Google Shape;8413;p64">
                  <a:extLst>
                    <a:ext uri="{FF2B5EF4-FFF2-40B4-BE49-F238E27FC236}">
                      <a16:creationId xmlns:a16="http://schemas.microsoft.com/office/drawing/2014/main" id="{BC9455DD-DA77-77FB-7259-441B6ED25482}"/>
                    </a:ext>
                  </a:extLst>
                </p:cNvPr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188" name="Google Shape;8414;p64">
              <a:extLst>
                <a:ext uri="{FF2B5EF4-FFF2-40B4-BE49-F238E27FC236}">
                  <a16:creationId xmlns:a16="http://schemas.microsoft.com/office/drawing/2014/main" id="{FCE87AE1-26A6-01C4-74F4-4AB224091666}"/>
                </a:ext>
              </a:extLst>
            </p:cNvPr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12898" name="Google Shape;8415;p64">
                <a:extLst>
                  <a:ext uri="{FF2B5EF4-FFF2-40B4-BE49-F238E27FC236}">
                    <a16:creationId xmlns:a16="http://schemas.microsoft.com/office/drawing/2014/main" id="{DD2A9EFA-7AF5-49B4-A412-A36C761B4234}"/>
                  </a:ext>
                </a:extLst>
              </p:cNvPr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12899" name="Google Shape;8416;p64">
                <a:extLst>
                  <a:ext uri="{FF2B5EF4-FFF2-40B4-BE49-F238E27FC236}">
                    <a16:creationId xmlns:a16="http://schemas.microsoft.com/office/drawing/2014/main" id="{2C5EF018-C140-ADEE-3A77-49C43004C643}"/>
                  </a:ext>
                </a:extLst>
              </p:cNvPr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12903" name="Google Shape;8417;p64">
                  <a:extLst>
                    <a:ext uri="{FF2B5EF4-FFF2-40B4-BE49-F238E27FC236}">
                      <a16:creationId xmlns:a16="http://schemas.microsoft.com/office/drawing/2014/main" id="{686BABD7-D66F-937A-617C-D923008B420F}"/>
                    </a:ext>
                  </a:extLst>
                </p:cNvPr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04" name="Google Shape;8418;p64">
                  <a:extLst>
                    <a:ext uri="{FF2B5EF4-FFF2-40B4-BE49-F238E27FC236}">
                      <a16:creationId xmlns:a16="http://schemas.microsoft.com/office/drawing/2014/main" id="{805F976E-5DB3-E3FA-43F3-51846A98E97B}"/>
                    </a:ext>
                  </a:extLst>
                </p:cNvPr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900" name="Google Shape;8419;p64">
                <a:extLst>
                  <a:ext uri="{FF2B5EF4-FFF2-40B4-BE49-F238E27FC236}">
                    <a16:creationId xmlns:a16="http://schemas.microsoft.com/office/drawing/2014/main" id="{9B42C7EE-B565-FC0F-A533-A55560B60936}"/>
                  </a:ext>
                </a:extLst>
              </p:cNvPr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12901" name="Google Shape;8420;p64">
                  <a:extLst>
                    <a:ext uri="{FF2B5EF4-FFF2-40B4-BE49-F238E27FC236}">
                      <a16:creationId xmlns:a16="http://schemas.microsoft.com/office/drawing/2014/main" id="{B30ACD40-5275-8803-F7FB-F70B45C021AF}"/>
                    </a:ext>
                  </a:extLst>
                </p:cNvPr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902" name="Google Shape;8421;p64">
                  <a:extLst>
                    <a:ext uri="{FF2B5EF4-FFF2-40B4-BE49-F238E27FC236}">
                      <a16:creationId xmlns:a16="http://schemas.microsoft.com/office/drawing/2014/main" id="{8EA1AFE6-BD69-BA65-BB12-F999572A9CD8}"/>
                    </a:ext>
                  </a:extLst>
                </p:cNvPr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189" name="Google Shape;8422;p64">
              <a:extLst>
                <a:ext uri="{FF2B5EF4-FFF2-40B4-BE49-F238E27FC236}">
                  <a16:creationId xmlns:a16="http://schemas.microsoft.com/office/drawing/2014/main" id="{A45BC3E5-24F1-2B57-7289-44F1A6E8DD7A}"/>
                </a:ext>
              </a:extLst>
            </p:cNvPr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12864" name="Google Shape;8423;p64">
                <a:extLst>
                  <a:ext uri="{FF2B5EF4-FFF2-40B4-BE49-F238E27FC236}">
                    <a16:creationId xmlns:a16="http://schemas.microsoft.com/office/drawing/2014/main" id="{04D1E7EB-183B-7694-134C-44048A0F8DED}"/>
                  </a:ext>
                </a:extLst>
              </p:cNvPr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12892" name="Google Shape;8424;p64">
                  <a:extLst>
                    <a:ext uri="{FF2B5EF4-FFF2-40B4-BE49-F238E27FC236}">
                      <a16:creationId xmlns:a16="http://schemas.microsoft.com/office/drawing/2014/main" id="{F3E832EB-72EF-1BD6-6D69-9EFDC7260463}"/>
                    </a:ext>
                  </a:extLst>
                </p:cNvPr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93" name="Google Shape;8425;p64">
                  <a:extLst>
                    <a:ext uri="{FF2B5EF4-FFF2-40B4-BE49-F238E27FC236}">
                      <a16:creationId xmlns:a16="http://schemas.microsoft.com/office/drawing/2014/main" id="{1903E88B-4342-EB52-B922-6D9887E6E5B4}"/>
                    </a:ext>
                  </a:extLst>
                </p:cNvPr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94" name="Google Shape;8426;p64">
                  <a:extLst>
                    <a:ext uri="{FF2B5EF4-FFF2-40B4-BE49-F238E27FC236}">
                      <a16:creationId xmlns:a16="http://schemas.microsoft.com/office/drawing/2014/main" id="{EAD1FBE9-CC76-D80B-1531-8F5EDEDE7B70}"/>
                    </a:ext>
                  </a:extLst>
                </p:cNvPr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95" name="Google Shape;8427;p64">
                  <a:extLst>
                    <a:ext uri="{FF2B5EF4-FFF2-40B4-BE49-F238E27FC236}">
                      <a16:creationId xmlns:a16="http://schemas.microsoft.com/office/drawing/2014/main" id="{6CC61821-26C3-2F3D-6694-B45D2B382D21}"/>
                    </a:ext>
                  </a:extLst>
                </p:cNvPr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96" name="Google Shape;8428;p64">
                  <a:extLst>
                    <a:ext uri="{FF2B5EF4-FFF2-40B4-BE49-F238E27FC236}">
                      <a16:creationId xmlns:a16="http://schemas.microsoft.com/office/drawing/2014/main" id="{247C9D14-9D31-1C5F-2C89-944562200F7C}"/>
                    </a:ext>
                  </a:extLst>
                </p:cNvPr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97" name="Google Shape;8429;p64">
                  <a:extLst>
                    <a:ext uri="{FF2B5EF4-FFF2-40B4-BE49-F238E27FC236}">
                      <a16:creationId xmlns:a16="http://schemas.microsoft.com/office/drawing/2014/main" id="{747D0EA3-AC5D-95B9-66B5-12DF04203F2D}"/>
                    </a:ext>
                  </a:extLst>
                </p:cNvPr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65" name="Google Shape;8430;p64">
                <a:extLst>
                  <a:ext uri="{FF2B5EF4-FFF2-40B4-BE49-F238E27FC236}">
                    <a16:creationId xmlns:a16="http://schemas.microsoft.com/office/drawing/2014/main" id="{3E25A67D-F978-FF68-8C52-2B567C54A2E5}"/>
                  </a:ext>
                </a:extLst>
              </p:cNvPr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12890" name="Google Shape;8431;p64">
                  <a:extLst>
                    <a:ext uri="{FF2B5EF4-FFF2-40B4-BE49-F238E27FC236}">
                      <a16:creationId xmlns:a16="http://schemas.microsoft.com/office/drawing/2014/main" id="{8882C529-1F80-4605-8C7B-5519625AE80A}"/>
                    </a:ext>
                  </a:extLst>
                </p:cNvPr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91" name="Google Shape;8432;p64">
                  <a:extLst>
                    <a:ext uri="{FF2B5EF4-FFF2-40B4-BE49-F238E27FC236}">
                      <a16:creationId xmlns:a16="http://schemas.microsoft.com/office/drawing/2014/main" id="{90C8B9A6-CE8F-BB9E-E73B-FF6EF55F4679}"/>
                    </a:ext>
                  </a:extLst>
                </p:cNvPr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66" name="Google Shape;8433;p64">
                <a:extLst>
                  <a:ext uri="{FF2B5EF4-FFF2-40B4-BE49-F238E27FC236}">
                    <a16:creationId xmlns:a16="http://schemas.microsoft.com/office/drawing/2014/main" id="{FF4241C8-6FD6-D6D7-E3F8-07300717CA56}"/>
                  </a:ext>
                </a:extLst>
              </p:cNvPr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12888" name="Google Shape;8434;p64">
                  <a:extLst>
                    <a:ext uri="{FF2B5EF4-FFF2-40B4-BE49-F238E27FC236}">
                      <a16:creationId xmlns:a16="http://schemas.microsoft.com/office/drawing/2014/main" id="{CA32545B-6669-DBD2-9B8D-0A170E100119}"/>
                    </a:ext>
                  </a:extLst>
                </p:cNvPr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89" name="Google Shape;8435;p64">
                  <a:extLst>
                    <a:ext uri="{FF2B5EF4-FFF2-40B4-BE49-F238E27FC236}">
                      <a16:creationId xmlns:a16="http://schemas.microsoft.com/office/drawing/2014/main" id="{5175D49F-71AC-9F8A-9CB2-279224F986DC}"/>
                    </a:ext>
                  </a:extLst>
                </p:cNvPr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67" name="Google Shape;8436;p64">
                <a:extLst>
                  <a:ext uri="{FF2B5EF4-FFF2-40B4-BE49-F238E27FC236}">
                    <a16:creationId xmlns:a16="http://schemas.microsoft.com/office/drawing/2014/main" id="{4E614458-2E5E-7333-04B5-9D20D037DD61}"/>
                  </a:ext>
                </a:extLst>
              </p:cNvPr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12886" name="Google Shape;8437;p64">
                  <a:extLst>
                    <a:ext uri="{FF2B5EF4-FFF2-40B4-BE49-F238E27FC236}">
                      <a16:creationId xmlns:a16="http://schemas.microsoft.com/office/drawing/2014/main" id="{351F8465-ADFC-7FB0-BDC8-D58041FE761B}"/>
                    </a:ext>
                  </a:extLst>
                </p:cNvPr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87" name="Google Shape;8438;p64">
                  <a:extLst>
                    <a:ext uri="{FF2B5EF4-FFF2-40B4-BE49-F238E27FC236}">
                      <a16:creationId xmlns:a16="http://schemas.microsoft.com/office/drawing/2014/main" id="{0A6E038E-8254-7D98-4128-A5CC9EB2196E}"/>
                    </a:ext>
                  </a:extLst>
                </p:cNvPr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68" name="Google Shape;8439;p64">
                <a:extLst>
                  <a:ext uri="{FF2B5EF4-FFF2-40B4-BE49-F238E27FC236}">
                    <a16:creationId xmlns:a16="http://schemas.microsoft.com/office/drawing/2014/main" id="{8759DBD8-4200-1D2D-1101-3BD7F65F1B66}"/>
                  </a:ext>
                </a:extLst>
              </p:cNvPr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12884" name="Google Shape;8440;p64">
                  <a:extLst>
                    <a:ext uri="{FF2B5EF4-FFF2-40B4-BE49-F238E27FC236}">
                      <a16:creationId xmlns:a16="http://schemas.microsoft.com/office/drawing/2014/main" id="{EEBB74C2-1185-8929-F6BC-29A935ACF926}"/>
                    </a:ext>
                  </a:extLst>
                </p:cNvPr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85" name="Google Shape;8441;p64">
                  <a:extLst>
                    <a:ext uri="{FF2B5EF4-FFF2-40B4-BE49-F238E27FC236}">
                      <a16:creationId xmlns:a16="http://schemas.microsoft.com/office/drawing/2014/main" id="{58ABC86B-A340-88FB-F472-5B9F1D57E0B8}"/>
                    </a:ext>
                  </a:extLst>
                </p:cNvPr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69" name="Google Shape;8442;p64">
                <a:extLst>
                  <a:ext uri="{FF2B5EF4-FFF2-40B4-BE49-F238E27FC236}">
                    <a16:creationId xmlns:a16="http://schemas.microsoft.com/office/drawing/2014/main" id="{93AFCE53-EAE0-8EAC-2446-06ABC7F4639C}"/>
                  </a:ext>
                </a:extLst>
              </p:cNvPr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12882" name="Google Shape;8443;p64">
                  <a:extLst>
                    <a:ext uri="{FF2B5EF4-FFF2-40B4-BE49-F238E27FC236}">
                      <a16:creationId xmlns:a16="http://schemas.microsoft.com/office/drawing/2014/main" id="{E2DD5F65-8061-9B7E-DD10-A5124F8469E1}"/>
                    </a:ext>
                  </a:extLst>
                </p:cNvPr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83" name="Google Shape;8444;p64">
                  <a:extLst>
                    <a:ext uri="{FF2B5EF4-FFF2-40B4-BE49-F238E27FC236}">
                      <a16:creationId xmlns:a16="http://schemas.microsoft.com/office/drawing/2014/main" id="{15CA1F1A-B56F-68EB-143B-B6B542593D28}"/>
                    </a:ext>
                  </a:extLst>
                </p:cNvPr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70" name="Google Shape;8445;p64">
                <a:extLst>
                  <a:ext uri="{FF2B5EF4-FFF2-40B4-BE49-F238E27FC236}">
                    <a16:creationId xmlns:a16="http://schemas.microsoft.com/office/drawing/2014/main" id="{55DB5E9D-8CD8-B1C3-AFFC-35768D067FA7}"/>
                  </a:ext>
                </a:extLst>
              </p:cNvPr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12880" name="Google Shape;8446;p64">
                  <a:extLst>
                    <a:ext uri="{FF2B5EF4-FFF2-40B4-BE49-F238E27FC236}">
                      <a16:creationId xmlns:a16="http://schemas.microsoft.com/office/drawing/2014/main" id="{63D03B76-9F50-B85B-7B55-506569E8B6E4}"/>
                    </a:ext>
                  </a:extLst>
                </p:cNvPr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81" name="Google Shape;8447;p64">
                  <a:extLst>
                    <a:ext uri="{FF2B5EF4-FFF2-40B4-BE49-F238E27FC236}">
                      <a16:creationId xmlns:a16="http://schemas.microsoft.com/office/drawing/2014/main" id="{C890E519-7AA1-A470-6B1B-CB02FB5D3507}"/>
                    </a:ext>
                  </a:extLst>
                </p:cNvPr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71" name="Google Shape;8448;p64">
                <a:extLst>
                  <a:ext uri="{FF2B5EF4-FFF2-40B4-BE49-F238E27FC236}">
                    <a16:creationId xmlns:a16="http://schemas.microsoft.com/office/drawing/2014/main" id="{501BB6DF-C954-4BF2-6B82-FC0CFBD480B5}"/>
                  </a:ext>
                </a:extLst>
              </p:cNvPr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12878" name="Google Shape;8449;p64">
                  <a:extLst>
                    <a:ext uri="{FF2B5EF4-FFF2-40B4-BE49-F238E27FC236}">
                      <a16:creationId xmlns:a16="http://schemas.microsoft.com/office/drawing/2014/main" id="{049379FD-AB15-7A1D-4B04-29AD06153A42}"/>
                    </a:ext>
                  </a:extLst>
                </p:cNvPr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79" name="Google Shape;8450;p64">
                  <a:extLst>
                    <a:ext uri="{FF2B5EF4-FFF2-40B4-BE49-F238E27FC236}">
                      <a16:creationId xmlns:a16="http://schemas.microsoft.com/office/drawing/2014/main" id="{076B6BEA-7D87-31B6-7570-3A6858BFB774}"/>
                    </a:ext>
                  </a:extLst>
                </p:cNvPr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72" name="Google Shape;8451;p64">
                <a:extLst>
                  <a:ext uri="{FF2B5EF4-FFF2-40B4-BE49-F238E27FC236}">
                    <a16:creationId xmlns:a16="http://schemas.microsoft.com/office/drawing/2014/main" id="{882F9AB0-48FD-38D9-393F-C5D55DEA2DA7}"/>
                  </a:ext>
                </a:extLst>
              </p:cNvPr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12876" name="Google Shape;8452;p64">
                  <a:extLst>
                    <a:ext uri="{FF2B5EF4-FFF2-40B4-BE49-F238E27FC236}">
                      <a16:creationId xmlns:a16="http://schemas.microsoft.com/office/drawing/2014/main" id="{E0E57F0C-0416-666E-17D0-3349EBD811D2}"/>
                    </a:ext>
                  </a:extLst>
                </p:cNvPr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77" name="Google Shape;8453;p64">
                  <a:extLst>
                    <a:ext uri="{FF2B5EF4-FFF2-40B4-BE49-F238E27FC236}">
                      <a16:creationId xmlns:a16="http://schemas.microsoft.com/office/drawing/2014/main" id="{FECDB514-A359-2708-DAC4-EA5BA9F9A2CD}"/>
                    </a:ext>
                  </a:extLst>
                </p:cNvPr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73" name="Google Shape;8454;p64">
                <a:extLst>
                  <a:ext uri="{FF2B5EF4-FFF2-40B4-BE49-F238E27FC236}">
                    <a16:creationId xmlns:a16="http://schemas.microsoft.com/office/drawing/2014/main" id="{B4B047EF-E830-F48A-B0E3-B06EB3C6B873}"/>
                  </a:ext>
                </a:extLst>
              </p:cNvPr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12874" name="Google Shape;8455;p64">
                  <a:extLst>
                    <a:ext uri="{FF2B5EF4-FFF2-40B4-BE49-F238E27FC236}">
                      <a16:creationId xmlns:a16="http://schemas.microsoft.com/office/drawing/2014/main" id="{F68339EB-05C1-C5BB-E45A-C1DDFC30C241}"/>
                    </a:ext>
                  </a:extLst>
                </p:cNvPr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75" name="Google Shape;8456;p64">
                  <a:extLst>
                    <a:ext uri="{FF2B5EF4-FFF2-40B4-BE49-F238E27FC236}">
                      <a16:creationId xmlns:a16="http://schemas.microsoft.com/office/drawing/2014/main" id="{9E06ED7A-2F7C-1FC4-869D-CB2312AACB9E}"/>
                    </a:ext>
                  </a:extLst>
                </p:cNvPr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190" name="Google Shape;8457;p64">
              <a:extLst>
                <a:ext uri="{FF2B5EF4-FFF2-40B4-BE49-F238E27FC236}">
                  <a16:creationId xmlns:a16="http://schemas.microsoft.com/office/drawing/2014/main" id="{17B3FB74-AD83-4B84-630F-79FC8B4012DD}"/>
                </a:ext>
              </a:extLst>
            </p:cNvPr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12807" name="Google Shape;8458;p64">
                <a:extLst>
                  <a:ext uri="{FF2B5EF4-FFF2-40B4-BE49-F238E27FC236}">
                    <a16:creationId xmlns:a16="http://schemas.microsoft.com/office/drawing/2014/main" id="{B68BDAA9-61E9-FB30-BB24-945FD75EB6CD}"/>
                  </a:ext>
                </a:extLst>
              </p:cNvPr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12847" name="Google Shape;8459;p64">
                  <a:extLst>
                    <a:ext uri="{FF2B5EF4-FFF2-40B4-BE49-F238E27FC236}">
                      <a16:creationId xmlns:a16="http://schemas.microsoft.com/office/drawing/2014/main" id="{333D2D2D-2848-BEDD-7B41-EA60F5D538D2}"/>
                    </a:ext>
                  </a:extLst>
                </p:cNvPr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48" name="Google Shape;8460;p64">
                  <a:extLst>
                    <a:ext uri="{FF2B5EF4-FFF2-40B4-BE49-F238E27FC236}">
                      <a16:creationId xmlns:a16="http://schemas.microsoft.com/office/drawing/2014/main" id="{A73C145B-4FB6-9CB9-8234-6B846CD1AD86}"/>
                    </a:ext>
                  </a:extLst>
                </p:cNvPr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49" name="Google Shape;8461;p64">
                  <a:extLst>
                    <a:ext uri="{FF2B5EF4-FFF2-40B4-BE49-F238E27FC236}">
                      <a16:creationId xmlns:a16="http://schemas.microsoft.com/office/drawing/2014/main" id="{141BD0B7-C4F2-41BF-4DF1-23A422440D25}"/>
                    </a:ext>
                  </a:extLst>
                </p:cNvPr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0" name="Google Shape;8462;p64">
                  <a:extLst>
                    <a:ext uri="{FF2B5EF4-FFF2-40B4-BE49-F238E27FC236}">
                      <a16:creationId xmlns:a16="http://schemas.microsoft.com/office/drawing/2014/main" id="{F5F06417-06C0-69FE-C595-5F57B96F52EA}"/>
                    </a:ext>
                  </a:extLst>
                </p:cNvPr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1" name="Google Shape;8463;p64">
                  <a:extLst>
                    <a:ext uri="{FF2B5EF4-FFF2-40B4-BE49-F238E27FC236}">
                      <a16:creationId xmlns:a16="http://schemas.microsoft.com/office/drawing/2014/main" id="{C5B01015-20D8-749D-B9A6-BD9F3DA8AE04}"/>
                    </a:ext>
                  </a:extLst>
                </p:cNvPr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2" name="Google Shape;8464;p64">
                  <a:extLst>
                    <a:ext uri="{FF2B5EF4-FFF2-40B4-BE49-F238E27FC236}">
                      <a16:creationId xmlns:a16="http://schemas.microsoft.com/office/drawing/2014/main" id="{29B8FE80-3D1B-1019-E78D-5A358AFF5455}"/>
                    </a:ext>
                  </a:extLst>
                </p:cNvPr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3" name="Google Shape;8465;p64">
                  <a:extLst>
                    <a:ext uri="{FF2B5EF4-FFF2-40B4-BE49-F238E27FC236}">
                      <a16:creationId xmlns:a16="http://schemas.microsoft.com/office/drawing/2014/main" id="{F7BA4449-9150-08A2-A4AF-6921837AA24F}"/>
                    </a:ext>
                  </a:extLst>
                </p:cNvPr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4" name="Google Shape;8466;p64">
                  <a:extLst>
                    <a:ext uri="{FF2B5EF4-FFF2-40B4-BE49-F238E27FC236}">
                      <a16:creationId xmlns:a16="http://schemas.microsoft.com/office/drawing/2014/main" id="{13C77662-5DA8-0129-634E-118F31479C5A}"/>
                    </a:ext>
                  </a:extLst>
                </p:cNvPr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5" name="Google Shape;8467;p64">
                  <a:extLst>
                    <a:ext uri="{FF2B5EF4-FFF2-40B4-BE49-F238E27FC236}">
                      <a16:creationId xmlns:a16="http://schemas.microsoft.com/office/drawing/2014/main" id="{F7F62067-21F0-12CA-25BF-768FFA2C03EA}"/>
                    </a:ext>
                  </a:extLst>
                </p:cNvPr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6" name="Google Shape;8468;p64">
                  <a:extLst>
                    <a:ext uri="{FF2B5EF4-FFF2-40B4-BE49-F238E27FC236}">
                      <a16:creationId xmlns:a16="http://schemas.microsoft.com/office/drawing/2014/main" id="{AE20570A-91B0-68FA-67F6-FD2711121C74}"/>
                    </a:ext>
                  </a:extLst>
                </p:cNvPr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7" name="Google Shape;8469;p64">
                  <a:extLst>
                    <a:ext uri="{FF2B5EF4-FFF2-40B4-BE49-F238E27FC236}">
                      <a16:creationId xmlns:a16="http://schemas.microsoft.com/office/drawing/2014/main" id="{710F7A17-A727-6967-54ED-6F84518AD99C}"/>
                    </a:ext>
                  </a:extLst>
                </p:cNvPr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8" name="Google Shape;8470;p64">
                  <a:extLst>
                    <a:ext uri="{FF2B5EF4-FFF2-40B4-BE49-F238E27FC236}">
                      <a16:creationId xmlns:a16="http://schemas.microsoft.com/office/drawing/2014/main" id="{81B5E212-DB28-CB03-6C15-1979893F79AC}"/>
                    </a:ext>
                  </a:extLst>
                </p:cNvPr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59" name="Google Shape;8471;p64">
                  <a:extLst>
                    <a:ext uri="{FF2B5EF4-FFF2-40B4-BE49-F238E27FC236}">
                      <a16:creationId xmlns:a16="http://schemas.microsoft.com/office/drawing/2014/main" id="{2118F918-F665-7838-5028-ED515404EE08}"/>
                    </a:ext>
                  </a:extLst>
                </p:cNvPr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60" name="Google Shape;8472;p64">
                  <a:extLst>
                    <a:ext uri="{FF2B5EF4-FFF2-40B4-BE49-F238E27FC236}">
                      <a16:creationId xmlns:a16="http://schemas.microsoft.com/office/drawing/2014/main" id="{0CC2CF9D-DB56-CCF7-BC45-D75A9FB99790}"/>
                    </a:ext>
                  </a:extLst>
                </p:cNvPr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61" name="Google Shape;8473;p64">
                  <a:extLst>
                    <a:ext uri="{FF2B5EF4-FFF2-40B4-BE49-F238E27FC236}">
                      <a16:creationId xmlns:a16="http://schemas.microsoft.com/office/drawing/2014/main" id="{545745D1-DD9B-91C4-3716-809B170E9AA7}"/>
                    </a:ext>
                  </a:extLst>
                </p:cNvPr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62" name="Google Shape;8474;p64">
                  <a:extLst>
                    <a:ext uri="{FF2B5EF4-FFF2-40B4-BE49-F238E27FC236}">
                      <a16:creationId xmlns:a16="http://schemas.microsoft.com/office/drawing/2014/main" id="{B9365DF7-97B2-9D3D-6CAA-27A808ADD1CF}"/>
                    </a:ext>
                  </a:extLst>
                </p:cNvPr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63" name="Google Shape;8475;p64">
                  <a:extLst>
                    <a:ext uri="{FF2B5EF4-FFF2-40B4-BE49-F238E27FC236}">
                      <a16:creationId xmlns:a16="http://schemas.microsoft.com/office/drawing/2014/main" id="{EECACE4A-D56F-0CC8-6F95-1E291CCD0E94}"/>
                    </a:ext>
                  </a:extLst>
                </p:cNvPr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08" name="Google Shape;8476;p64">
                <a:extLst>
                  <a:ext uri="{FF2B5EF4-FFF2-40B4-BE49-F238E27FC236}">
                    <a16:creationId xmlns:a16="http://schemas.microsoft.com/office/drawing/2014/main" id="{3EDE30C5-BA68-2153-8009-FDC55344518A}"/>
                  </a:ext>
                </a:extLst>
              </p:cNvPr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12845" name="Google Shape;8477;p64">
                  <a:extLst>
                    <a:ext uri="{FF2B5EF4-FFF2-40B4-BE49-F238E27FC236}">
                      <a16:creationId xmlns:a16="http://schemas.microsoft.com/office/drawing/2014/main" id="{A67D0343-95CA-5436-86DA-A8167D46B02A}"/>
                    </a:ext>
                  </a:extLst>
                </p:cNvPr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46" name="Google Shape;8478;p64">
                  <a:extLst>
                    <a:ext uri="{FF2B5EF4-FFF2-40B4-BE49-F238E27FC236}">
                      <a16:creationId xmlns:a16="http://schemas.microsoft.com/office/drawing/2014/main" id="{9A2D3484-F404-2D7F-31D2-44F7E3A665E4}"/>
                    </a:ext>
                  </a:extLst>
                </p:cNvPr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09" name="Google Shape;8479;p64">
                <a:extLst>
                  <a:ext uri="{FF2B5EF4-FFF2-40B4-BE49-F238E27FC236}">
                    <a16:creationId xmlns:a16="http://schemas.microsoft.com/office/drawing/2014/main" id="{8746AB1B-5CED-EB85-4FD9-C2AA96608CBA}"/>
                  </a:ext>
                </a:extLst>
              </p:cNvPr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12843" name="Google Shape;8480;p64">
                  <a:extLst>
                    <a:ext uri="{FF2B5EF4-FFF2-40B4-BE49-F238E27FC236}">
                      <a16:creationId xmlns:a16="http://schemas.microsoft.com/office/drawing/2014/main" id="{BB947D1E-CE2A-9586-3ED8-5717C8254D8C}"/>
                    </a:ext>
                  </a:extLst>
                </p:cNvPr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44" name="Google Shape;8481;p64">
                  <a:extLst>
                    <a:ext uri="{FF2B5EF4-FFF2-40B4-BE49-F238E27FC236}">
                      <a16:creationId xmlns:a16="http://schemas.microsoft.com/office/drawing/2014/main" id="{97F885C9-0092-77B6-7222-21E7E45C1B45}"/>
                    </a:ext>
                  </a:extLst>
                </p:cNvPr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0" name="Google Shape;8482;p64">
                <a:extLst>
                  <a:ext uri="{FF2B5EF4-FFF2-40B4-BE49-F238E27FC236}">
                    <a16:creationId xmlns:a16="http://schemas.microsoft.com/office/drawing/2014/main" id="{42A5F5F3-587D-BAF8-4C5C-5DAC38922D06}"/>
                  </a:ext>
                </a:extLst>
              </p:cNvPr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12841" name="Google Shape;8483;p64">
                  <a:extLst>
                    <a:ext uri="{FF2B5EF4-FFF2-40B4-BE49-F238E27FC236}">
                      <a16:creationId xmlns:a16="http://schemas.microsoft.com/office/drawing/2014/main" id="{832FB808-0532-5EBD-E110-08DA39356259}"/>
                    </a:ext>
                  </a:extLst>
                </p:cNvPr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42" name="Google Shape;8484;p64">
                  <a:extLst>
                    <a:ext uri="{FF2B5EF4-FFF2-40B4-BE49-F238E27FC236}">
                      <a16:creationId xmlns:a16="http://schemas.microsoft.com/office/drawing/2014/main" id="{F87EF79F-37E9-BCD7-6F7D-626ABA085C27}"/>
                    </a:ext>
                  </a:extLst>
                </p:cNvPr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1" name="Google Shape;8485;p64">
                <a:extLst>
                  <a:ext uri="{FF2B5EF4-FFF2-40B4-BE49-F238E27FC236}">
                    <a16:creationId xmlns:a16="http://schemas.microsoft.com/office/drawing/2014/main" id="{D1F6A348-E31A-17C1-5F5D-059F1687993F}"/>
                  </a:ext>
                </a:extLst>
              </p:cNvPr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12839" name="Google Shape;8486;p64">
                  <a:extLst>
                    <a:ext uri="{FF2B5EF4-FFF2-40B4-BE49-F238E27FC236}">
                      <a16:creationId xmlns:a16="http://schemas.microsoft.com/office/drawing/2014/main" id="{AE47C8EF-4E4B-DB45-410C-A43B880B66A3}"/>
                    </a:ext>
                  </a:extLst>
                </p:cNvPr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40" name="Google Shape;8487;p64">
                  <a:extLst>
                    <a:ext uri="{FF2B5EF4-FFF2-40B4-BE49-F238E27FC236}">
                      <a16:creationId xmlns:a16="http://schemas.microsoft.com/office/drawing/2014/main" id="{5C595909-D819-DAA5-8F91-BEDE6A02541C}"/>
                    </a:ext>
                  </a:extLst>
                </p:cNvPr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2" name="Google Shape;8488;p64">
                <a:extLst>
                  <a:ext uri="{FF2B5EF4-FFF2-40B4-BE49-F238E27FC236}">
                    <a16:creationId xmlns:a16="http://schemas.microsoft.com/office/drawing/2014/main" id="{A4C5D737-09B3-250A-5C36-F46AEF3906B9}"/>
                  </a:ext>
                </a:extLst>
              </p:cNvPr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12837" name="Google Shape;8489;p64">
                  <a:extLst>
                    <a:ext uri="{FF2B5EF4-FFF2-40B4-BE49-F238E27FC236}">
                      <a16:creationId xmlns:a16="http://schemas.microsoft.com/office/drawing/2014/main" id="{2FC72745-A33B-E49C-EF4E-74F0DA36F58A}"/>
                    </a:ext>
                  </a:extLst>
                </p:cNvPr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38" name="Google Shape;8490;p64">
                  <a:extLst>
                    <a:ext uri="{FF2B5EF4-FFF2-40B4-BE49-F238E27FC236}">
                      <a16:creationId xmlns:a16="http://schemas.microsoft.com/office/drawing/2014/main" id="{3CD5A552-A9CF-887A-73F2-5951917F3F99}"/>
                    </a:ext>
                  </a:extLst>
                </p:cNvPr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3" name="Google Shape;8491;p64">
                <a:extLst>
                  <a:ext uri="{FF2B5EF4-FFF2-40B4-BE49-F238E27FC236}">
                    <a16:creationId xmlns:a16="http://schemas.microsoft.com/office/drawing/2014/main" id="{F7B57435-E2FE-F9DE-8B65-44D1A65F231B}"/>
                  </a:ext>
                </a:extLst>
              </p:cNvPr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12835" name="Google Shape;8492;p64">
                  <a:extLst>
                    <a:ext uri="{FF2B5EF4-FFF2-40B4-BE49-F238E27FC236}">
                      <a16:creationId xmlns:a16="http://schemas.microsoft.com/office/drawing/2014/main" id="{BD2FC0BF-FFEE-E708-0BDE-5992B3BE5A82}"/>
                    </a:ext>
                  </a:extLst>
                </p:cNvPr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36" name="Google Shape;8493;p64">
                  <a:extLst>
                    <a:ext uri="{FF2B5EF4-FFF2-40B4-BE49-F238E27FC236}">
                      <a16:creationId xmlns:a16="http://schemas.microsoft.com/office/drawing/2014/main" id="{6A134551-AA7B-21C3-DC7C-A166824BBFA4}"/>
                    </a:ext>
                  </a:extLst>
                </p:cNvPr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4" name="Google Shape;8494;p64">
                <a:extLst>
                  <a:ext uri="{FF2B5EF4-FFF2-40B4-BE49-F238E27FC236}">
                    <a16:creationId xmlns:a16="http://schemas.microsoft.com/office/drawing/2014/main" id="{C1C3EA26-F606-90FD-FC62-07EADCABDE3A}"/>
                  </a:ext>
                </a:extLst>
              </p:cNvPr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12833" name="Google Shape;8495;p64">
                  <a:extLst>
                    <a:ext uri="{FF2B5EF4-FFF2-40B4-BE49-F238E27FC236}">
                      <a16:creationId xmlns:a16="http://schemas.microsoft.com/office/drawing/2014/main" id="{F514C49F-DDD5-9991-329E-E9C79849DBE4}"/>
                    </a:ext>
                  </a:extLst>
                </p:cNvPr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34" name="Google Shape;8496;p64">
                  <a:extLst>
                    <a:ext uri="{FF2B5EF4-FFF2-40B4-BE49-F238E27FC236}">
                      <a16:creationId xmlns:a16="http://schemas.microsoft.com/office/drawing/2014/main" id="{D788FB7C-DEA4-6A87-7498-91823E71C0E2}"/>
                    </a:ext>
                  </a:extLst>
                </p:cNvPr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5" name="Google Shape;8497;p64">
                <a:extLst>
                  <a:ext uri="{FF2B5EF4-FFF2-40B4-BE49-F238E27FC236}">
                    <a16:creationId xmlns:a16="http://schemas.microsoft.com/office/drawing/2014/main" id="{9CF6377B-1B15-72F1-C0EA-3939B4BE899B}"/>
                  </a:ext>
                </a:extLst>
              </p:cNvPr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12831" name="Google Shape;8498;p64">
                  <a:extLst>
                    <a:ext uri="{FF2B5EF4-FFF2-40B4-BE49-F238E27FC236}">
                      <a16:creationId xmlns:a16="http://schemas.microsoft.com/office/drawing/2014/main" id="{8CD5ABBB-4E1D-1E73-4988-AAC8CF3AA118}"/>
                    </a:ext>
                  </a:extLst>
                </p:cNvPr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32" name="Google Shape;8499;p64">
                  <a:extLst>
                    <a:ext uri="{FF2B5EF4-FFF2-40B4-BE49-F238E27FC236}">
                      <a16:creationId xmlns:a16="http://schemas.microsoft.com/office/drawing/2014/main" id="{D7F5953B-3AB5-A9F9-4924-671C045B569C}"/>
                    </a:ext>
                  </a:extLst>
                </p:cNvPr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6" name="Google Shape;8500;p64">
                <a:extLst>
                  <a:ext uri="{FF2B5EF4-FFF2-40B4-BE49-F238E27FC236}">
                    <a16:creationId xmlns:a16="http://schemas.microsoft.com/office/drawing/2014/main" id="{71ACA9DD-7C23-E924-18EE-351DC91F1CDC}"/>
                  </a:ext>
                </a:extLst>
              </p:cNvPr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12829" name="Google Shape;8501;p64">
                  <a:extLst>
                    <a:ext uri="{FF2B5EF4-FFF2-40B4-BE49-F238E27FC236}">
                      <a16:creationId xmlns:a16="http://schemas.microsoft.com/office/drawing/2014/main" id="{C28F612F-E749-D921-2A38-56ECA98CCE9B}"/>
                    </a:ext>
                  </a:extLst>
                </p:cNvPr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30" name="Google Shape;8502;p64">
                  <a:extLst>
                    <a:ext uri="{FF2B5EF4-FFF2-40B4-BE49-F238E27FC236}">
                      <a16:creationId xmlns:a16="http://schemas.microsoft.com/office/drawing/2014/main" id="{07D24DC8-D8DB-86D5-44BA-A18C06DAD8F0}"/>
                    </a:ext>
                  </a:extLst>
                </p:cNvPr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7" name="Google Shape;8503;p64">
                <a:extLst>
                  <a:ext uri="{FF2B5EF4-FFF2-40B4-BE49-F238E27FC236}">
                    <a16:creationId xmlns:a16="http://schemas.microsoft.com/office/drawing/2014/main" id="{1F43A99B-2701-EA34-2AFD-862D3B2E79A7}"/>
                  </a:ext>
                </a:extLst>
              </p:cNvPr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12827" name="Google Shape;8504;p64">
                  <a:extLst>
                    <a:ext uri="{FF2B5EF4-FFF2-40B4-BE49-F238E27FC236}">
                      <a16:creationId xmlns:a16="http://schemas.microsoft.com/office/drawing/2014/main" id="{747AFA88-6D88-9CD5-9468-53BE72BDDA8A}"/>
                    </a:ext>
                  </a:extLst>
                </p:cNvPr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28" name="Google Shape;8505;p64">
                  <a:extLst>
                    <a:ext uri="{FF2B5EF4-FFF2-40B4-BE49-F238E27FC236}">
                      <a16:creationId xmlns:a16="http://schemas.microsoft.com/office/drawing/2014/main" id="{63561042-CECE-C4E1-A509-B4D2BE8706D1}"/>
                    </a:ext>
                  </a:extLst>
                </p:cNvPr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8" name="Google Shape;8506;p64">
                <a:extLst>
                  <a:ext uri="{FF2B5EF4-FFF2-40B4-BE49-F238E27FC236}">
                    <a16:creationId xmlns:a16="http://schemas.microsoft.com/office/drawing/2014/main" id="{E7ED4B4B-57AC-D09D-F1BB-4A0598839A58}"/>
                  </a:ext>
                </a:extLst>
              </p:cNvPr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12825" name="Google Shape;8507;p64">
                  <a:extLst>
                    <a:ext uri="{FF2B5EF4-FFF2-40B4-BE49-F238E27FC236}">
                      <a16:creationId xmlns:a16="http://schemas.microsoft.com/office/drawing/2014/main" id="{A4C2174A-8E7A-B077-9D99-889BF0D35277}"/>
                    </a:ext>
                  </a:extLst>
                </p:cNvPr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26" name="Google Shape;8508;p64">
                  <a:extLst>
                    <a:ext uri="{FF2B5EF4-FFF2-40B4-BE49-F238E27FC236}">
                      <a16:creationId xmlns:a16="http://schemas.microsoft.com/office/drawing/2014/main" id="{8594CEC1-0A52-9860-1302-A0C37D9BBE65}"/>
                    </a:ext>
                  </a:extLst>
                </p:cNvPr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19" name="Google Shape;8509;p64">
                <a:extLst>
                  <a:ext uri="{FF2B5EF4-FFF2-40B4-BE49-F238E27FC236}">
                    <a16:creationId xmlns:a16="http://schemas.microsoft.com/office/drawing/2014/main" id="{452C1FA2-DD00-8D30-FA36-36D782280325}"/>
                  </a:ext>
                </a:extLst>
              </p:cNvPr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12823" name="Google Shape;8510;p64">
                  <a:extLst>
                    <a:ext uri="{FF2B5EF4-FFF2-40B4-BE49-F238E27FC236}">
                      <a16:creationId xmlns:a16="http://schemas.microsoft.com/office/drawing/2014/main" id="{8AFB509F-9C53-5287-48C0-928F3629934F}"/>
                    </a:ext>
                  </a:extLst>
                </p:cNvPr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24" name="Google Shape;8511;p64">
                  <a:extLst>
                    <a:ext uri="{FF2B5EF4-FFF2-40B4-BE49-F238E27FC236}">
                      <a16:creationId xmlns:a16="http://schemas.microsoft.com/office/drawing/2014/main" id="{35C4ED4D-3634-A7BE-BAF1-93C56A8E4D21}"/>
                    </a:ext>
                  </a:extLst>
                </p:cNvPr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820" name="Google Shape;8512;p64">
                <a:extLst>
                  <a:ext uri="{FF2B5EF4-FFF2-40B4-BE49-F238E27FC236}">
                    <a16:creationId xmlns:a16="http://schemas.microsoft.com/office/drawing/2014/main" id="{737D9CE6-1333-71B7-7677-C78204B2D53A}"/>
                  </a:ext>
                </a:extLst>
              </p:cNvPr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12821" name="Google Shape;8513;p64">
                  <a:extLst>
                    <a:ext uri="{FF2B5EF4-FFF2-40B4-BE49-F238E27FC236}">
                      <a16:creationId xmlns:a16="http://schemas.microsoft.com/office/drawing/2014/main" id="{70B4B1E5-5F08-1CC9-BCCC-4F854030AAB6}"/>
                    </a:ext>
                  </a:extLst>
                </p:cNvPr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822" name="Google Shape;8514;p64">
                  <a:extLst>
                    <a:ext uri="{FF2B5EF4-FFF2-40B4-BE49-F238E27FC236}">
                      <a16:creationId xmlns:a16="http://schemas.microsoft.com/office/drawing/2014/main" id="{91443A36-90DB-0D51-8B6E-51C26A75497D}"/>
                    </a:ext>
                  </a:extLst>
                </p:cNvPr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191" name="Google Shape;8515;p64">
              <a:extLst>
                <a:ext uri="{FF2B5EF4-FFF2-40B4-BE49-F238E27FC236}">
                  <a16:creationId xmlns:a16="http://schemas.microsoft.com/office/drawing/2014/main" id="{20C83D09-29CD-715E-5002-C38F3E0ABF29}"/>
                </a:ext>
              </a:extLst>
            </p:cNvPr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12387" name="Google Shape;8516;p64">
                <a:extLst>
                  <a:ext uri="{FF2B5EF4-FFF2-40B4-BE49-F238E27FC236}">
                    <a16:creationId xmlns:a16="http://schemas.microsoft.com/office/drawing/2014/main" id="{7F0D72B6-3035-8D45-9080-6EEF30786745}"/>
                  </a:ext>
                </a:extLst>
              </p:cNvPr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12388" name="Google Shape;8517;p64">
                <a:extLst>
                  <a:ext uri="{FF2B5EF4-FFF2-40B4-BE49-F238E27FC236}">
                    <a16:creationId xmlns:a16="http://schemas.microsoft.com/office/drawing/2014/main" id="{BCB834B6-AFF8-9CAF-321D-FFFCC87E77AD}"/>
                  </a:ext>
                </a:extLst>
              </p:cNvPr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12706" name="Google Shape;8518;p64">
                  <a:extLst>
                    <a:ext uri="{FF2B5EF4-FFF2-40B4-BE49-F238E27FC236}">
                      <a16:creationId xmlns:a16="http://schemas.microsoft.com/office/drawing/2014/main" id="{1628DE04-6C8B-7E78-7422-4D9FDCD2B6D8}"/>
                    </a:ext>
                  </a:extLst>
                </p:cNvPr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707" name="Google Shape;8519;p64">
                  <a:extLst>
                    <a:ext uri="{FF2B5EF4-FFF2-40B4-BE49-F238E27FC236}">
                      <a16:creationId xmlns:a16="http://schemas.microsoft.com/office/drawing/2014/main" id="{FBCCD4C3-D0FD-B194-86B0-BF1B2771ACDD}"/>
                    </a:ext>
                  </a:extLst>
                </p:cNvPr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grpSp>
              <p:nvGrpSpPr>
                <p:cNvPr id="12708" name="Google Shape;8520;p64">
                  <a:extLst>
                    <a:ext uri="{FF2B5EF4-FFF2-40B4-BE49-F238E27FC236}">
                      <a16:creationId xmlns:a16="http://schemas.microsoft.com/office/drawing/2014/main" id="{E1505057-EF56-307C-22BE-D8328096ED05}"/>
                    </a:ext>
                  </a:extLst>
                </p:cNvPr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12709" name="Google Shape;8521;p64">
                    <a:extLst>
                      <a:ext uri="{FF2B5EF4-FFF2-40B4-BE49-F238E27FC236}">
                        <a16:creationId xmlns:a16="http://schemas.microsoft.com/office/drawing/2014/main" id="{6CBE1687-2E07-1793-73A8-0CBDB78F316F}"/>
                      </a:ext>
                    </a:extLst>
                  </p:cNvPr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 marL="0" marR="0" lvl="0" indent="0" algn="l" defTabSz="1219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sz="1865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/>
                      <a:sym typeface="Arial" panose="020B0604020202020204"/>
                    </a:endParaRPr>
                  </a:p>
                </p:txBody>
              </p:sp>
              <p:sp>
                <p:nvSpPr>
                  <p:cNvPr id="12710" name="Google Shape;8522;p64">
                    <a:extLst>
                      <a:ext uri="{FF2B5EF4-FFF2-40B4-BE49-F238E27FC236}">
                        <a16:creationId xmlns:a16="http://schemas.microsoft.com/office/drawing/2014/main" id="{91FE4AC6-B8CF-ABA1-5C7A-D5E246993A59}"/>
                      </a:ext>
                    </a:extLst>
                  </p:cNvPr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 marL="0" marR="0" lvl="0" indent="0" algn="l" defTabSz="1219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sz="1865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/>
                      <a:sym typeface="Arial" panose="020B0604020202020204"/>
                    </a:endParaRPr>
                  </a:p>
                </p:txBody>
              </p:sp>
              <p:grpSp>
                <p:nvGrpSpPr>
                  <p:cNvPr id="12711" name="Google Shape;8523;p64">
                    <a:extLst>
                      <a:ext uri="{FF2B5EF4-FFF2-40B4-BE49-F238E27FC236}">
                        <a16:creationId xmlns:a16="http://schemas.microsoft.com/office/drawing/2014/main" id="{0CDFF49B-503C-BE58-A286-C6FAF667C9A9}"/>
                      </a:ext>
                    </a:extLst>
                  </p:cNvPr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12712" name="Google Shape;8524;p64">
                      <a:extLst>
                        <a:ext uri="{FF2B5EF4-FFF2-40B4-BE49-F238E27FC236}">
                          <a16:creationId xmlns:a16="http://schemas.microsoft.com/office/drawing/2014/main" id="{45986413-335C-FB23-0311-D4F7C3583A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12713" name="Google Shape;8525;p64">
                      <a:extLst>
                        <a:ext uri="{FF2B5EF4-FFF2-40B4-BE49-F238E27FC236}">
                          <a16:creationId xmlns:a16="http://schemas.microsoft.com/office/drawing/2014/main" id="{418FD861-3406-B11B-C0E5-BD41F2F989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12714" name="Google Shape;8526;p64">
                      <a:extLst>
                        <a:ext uri="{FF2B5EF4-FFF2-40B4-BE49-F238E27FC236}">
                          <a16:creationId xmlns:a16="http://schemas.microsoft.com/office/drawing/2014/main" id="{6CE2A74D-CFCD-F72B-3945-6A896D4D91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12715" name="Google Shape;8527;p64">
                      <a:extLst>
                        <a:ext uri="{FF2B5EF4-FFF2-40B4-BE49-F238E27FC236}">
                          <a16:creationId xmlns:a16="http://schemas.microsoft.com/office/drawing/2014/main" id="{D2DE9137-D957-611D-BF65-811A701688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12716" name="Google Shape;8528;p64">
                      <a:extLst>
                        <a:ext uri="{FF2B5EF4-FFF2-40B4-BE49-F238E27FC236}">
                          <a16:creationId xmlns:a16="http://schemas.microsoft.com/office/drawing/2014/main" id="{168777EF-5852-1A25-714D-1AD96362E9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12717" name="Google Shape;8529;p64">
                      <a:extLst>
                        <a:ext uri="{FF2B5EF4-FFF2-40B4-BE49-F238E27FC236}">
                          <a16:creationId xmlns:a16="http://schemas.microsoft.com/office/drawing/2014/main" id="{35D615DB-D574-00EA-4F7B-9E58212CD9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12718" name="Google Shape;8530;p64">
                      <a:extLst>
                        <a:ext uri="{FF2B5EF4-FFF2-40B4-BE49-F238E27FC236}">
                          <a16:creationId xmlns:a16="http://schemas.microsoft.com/office/drawing/2014/main" id="{897A11BC-ED28-C140-EBD1-BDF423B7A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12719" name="Google Shape;8531;p64">
                      <a:extLst>
                        <a:ext uri="{FF2B5EF4-FFF2-40B4-BE49-F238E27FC236}">
                          <a16:creationId xmlns:a16="http://schemas.microsoft.com/office/drawing/2014/main" id="{0A82E058-B51A-0FC7-85DF-EB4B577E38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grpSp>
                  <p:nvGrpSpPr>
                    <p:cNvPr id="12720" name="Google Shape;8532;p64">
                      <a:extLst>
                        <a:ext uri="{FF2B5EF4-FFF2-40B4-BE49-F238E27FC236}">
                          <a16:creationId xmlns:a16="http://schemas.microsoft.com/office/drawing/2014/main" id="{BF94379C-BBF0-7FF5-E1E4-4B001928366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12721" name="Google Shape;8533;p64">
                        <a:extLst>
                          <a:ext uri="{FF2B5EF4-FFF2-40B4-BE49-F238E27FC236}">
                            <a16:creationId xmlns:a16="http://schemas.microsoft.com/office/drawing/2014/main" id="{66FC21E4-62F2-9E31-D8B9-CBD1859C57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22" name="Google Shape;8534;p64">
                        <a:extLst>
                          <a:ext uri="{FF2B5EF4-FFF2-40B4-BE49-F238E27FC236}">
                            <a16:creationId xmlns:a16="http://schemas.microsoft.com/office/drawing/2014/main" id="{FE53AB21-96E9-A87E-EC97-2693D536A1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23" name="Google Shape;8535;p64">
                        <a:extLst>
                          <a:ext uri="{FF2B5EF4-FFF2-40B4-BE49-F238E27FC236}">
                            <a16:creationId xmlns:a16="http://schemas.microsoft.com/office/drawing/2014/main" id="{B3346A5E-3670-1F84-C202-41C8C09BBF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24" name="Google Shape;8536;p64">
                        <a:extLst>
                          <a:ext uri="{FF2B5EF4-FFF2-40B4-BE49-F238E27FC236}">
                            <a16:creationId xmlns:a16="http://schemas.microsoft.com/office/drawing/2014/main" id="{B162524E-D986-4CCD-69B1-B4F0121AD1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25" name="Google Shape;8537;p64">
                        <a:extLst>
                          <a:ext uri="{FF2B5EF4-FFF2-40B4-BE49-F238E27FC236}">
                            <a16:creationId xmlns:a16="http://schemas.microsoft.com/office/drawing/2014/main" id="{F6932825-0FE1-3711-3652-DB477808A7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26" name="Google Shape;8538;p64">
                        <a:extLst>
                          <a:ext uri="{FF2B5EF4-FFF2-40B4-BE49-F238E27FC236}">
                            <a16:creationId xmlns:a16="http://schemas.microsoft.com/office/drawing/2014/main" id="{E7BEC42F-FFD5-291D-1B4E-7F2ADCFF37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27" name="Google Shape;8539;p64">
                        <a:extLst>
                          <a:ext uri="{FF2B5EF4-FFF2-40B4-BE49-F238E27FC236}">
                            <a16:creationId xmlns:a16="http://schemas.microsoft.com/office/drawing/2014/main" id="{70DAFC9D-6DF9-E8C8-9F1B-E3A42768DB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28" name="Google Shape;8540;p64">
                        <a:extLst>
                          <a:ext uri="{FF2B5EF4-FFF2-40B4-BE49-F238E27FC236}">
                            <a16:creationId xmlns:a16="http://schemas.microsoft.com/office/drawing/2014/main" id="{4C35EC90-D116-E37E-F5FD-F73CDA6E06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29" name="Google Shape;8541;p64">
                        <a:extLst>
                          <a:ext uri="{FF2B5EF4-FFF2-40B4-BE49-F238E27FC236}">
                            <a16:creationId xmlns:a16="http://schemas.microsoft.com/office/drawing/2014/main" id="{95ADA671-42E0-A526-2141-CBFD7B92B2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30" name="Google Shape;8542;p64">
                        <a:extLst>
                          <a:ext uri="{FF2B5EF4-FFF2-40B4-BE49-F238E27FC236}">
                            <a16:creationId xmlns:a16="http://schemas.microsoft.com/office/drawing/2014/main" id="{780BC229-99E7-B88B-789F-56EE51CDFA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31" name="Google Shape;8543;p64">
                        <a:extLst>
                          <a:ext uri="{FF2B5EF4-FFF2-40B4-BE49-F238E27FC236}">
                            <a16:creationId xmlns:a16="http://schemas.microsoft.com/office/drawing/2014/main" id="{06AE678A-2271-D35F-0DF7-8DE41613DF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32" name="Google Shape;8544;p64">
                        <a:extLst>
                          <a:ext uri="{FF2B5EF4-FFF2-40B4-BE49-F238E27FC236}">
                            <a16:creationId xmlns:a16="http://schemas.microsoft.com/office/drawing/2014/main" id="{CCA708D4-490C-77EC-CDE6-5EDC7F0A32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33" name="Google Shape;8545;p64">
                        <a:extLst>
                          <a:ext uri="{FF2B5EF4-FFF2-40B4-BE49-F238E27FC236}">
                            <a16:creationId xmlns:a16="http://schemas.microsoft.com/office/drawing/2014/main" id="{20138431-C26C-1405-544A-D48BE1B944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12734" name="Google Shape;8546;p64">
                        <a:extLst>
                          <a:ext uri="{FF2B5EF4-FFF2-40B4-BE49-F238E27FC236}">
                            <a16:creationId xmlns:a16="http://schemas.microsoft.com/office/drawing/2014/main" id="{8759CF81-7592-388B-FE1B-F8FEB357D4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grpSp>
                    <p:nvGrpSpPr>
                      <p:cNvPr id="12735" name="Google Shape;8547;p64">
                        <a:extLst>
                          <a:ext uri="{FF2B5EF4-FFF2-40B4-BE49-F238E27FC236}">
                            <a16:creationId xmlns:a16="http://schemas.microsoft.com/office/drawing/2014/main" id="{51B30B47-D65B-FA06-1452-223EDA5571CF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12736" name="Google Shape;8548;p64">
                          <a:extLst>
                            <a:ext uri="{FF2B5EF4-FFF2-40B4-BE49-F238E27FC236}">
                              <a16:creationId xmlns:a16="http://schemas.microsoft.com/office/drawing/2014/main" id="{A90A79CB-DFB6-183A-6790-E2238C4DDCB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37" name="Google Shape;8549;p64">
                          <a:extLst>
                            <a:ext uri="{FF2B5EF4-FFF2-40B4-BE49-F238E27FC236}">
                              <a16:creationId xmlns:a16="http://schemas.microsoft.com/office/drawing/2014/main" id="{E9C940BC-E5A1-32EF-F227-1ECF7069320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38" name="Google Shape;8550;p64">
                          <a:extLst>
                            <a:ext uri="{FF2B5EF4-FFF2-40B4-BE49-F238E27FC236}">
                              <a16:creationId xmlns:a16="http://schemas.microsoft.com/office/drawing/2014/main" id="{FA8B3E12-F378-5DFD-45B0-077C03AE14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39" name="Google Shape;8551;p64">
                          <a:extLst>
                            <a:ext uri="{FF2B5EF4-FFF2-40B4-BE49-F238E27FC236}">
                              <a16:creationId xmlns:a16="http://schemas.microsoft.com/office/drawing/2014/main" id="{EC525769-C9CC-F5E4-FF7C-C175CCFA1D0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0" name="Google Shape;8552;p64">
                          <a:extLst>
                            <a:ext uri="{FF2B5EF4-FFF2-40B4-BE49-F238E27FC236}">
                              <a16:creationId xmlns:a16="http://schemas.microsoft.com/office/drawing/2014/main" id="{BB2FD6FD-CF4D-6FC5-A516-B3CE04B4E85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1" name="Google Shape;8553;p64">
                          <a:extLst>
                            <a:ext uri="{FF2B5EF4-FFF2-40B4-BE49-F238E27FC236}">
                              <a16:creationId xmlns:a16="http://schemas.microsoft.com/office/drawing/2014/main" id="{7F5842DC-4D8C-DE30-DEA5-23C3F8D09DB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2" name="Google Shape;8554;p64">
                          <a:extLst>
                            <a:ext uri="{FF2B5EF4-FFF2-40B4-BE49-F238E27FC236}">
                              <a16:creationId xmlns:a16="http://schemas.microsoft.com/office/drawing/2014/main" id="{A3640B45-4679-E685-791B-3FB64CCE4C1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3" name="Google Shape;8555;p64">
                          <a:extLst>
                            <a:ext uri="{FF2B5EF4-FFF2-40B4-BE49-F238E27FC236}">
                              <a16:creationId xmlns:a16="http://schemas.microsoft.com/office/drawing/2014/main" id="{E7F28EA4-15B3-B9BE-053F-183D234F135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4" name="Google Shape;8556;p64">
                          <a:extLst>
                            <a:ext uri="{FF2B5EF4-FFF2-40B4-BE49-F238E27FC236}">
                              <a16:creationId xmlns:a16="http://schemas.microsoft.com/office/drawing/2014/main" id="{D39141E0-D564-160B-BB67-30D09F79DDC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5" name="Google Shape;8557;p64">
                          <a:extLst>
                            <a:ext uri="{FF2B5EF4-FFF2-40B4-BE49-F238E27FC236}">
                              <a16:creationId xmlns:a16="http://schemas.microsoft.com/office/drawing/2014/main" id="{64ED1526-B69D-A340-4A74-679FA065B03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6" name="Google Shape;8558;p64">
                          <a:extLst>
                            <a:ext uri="{FF2B5EF4-FFF2-40B4-BE49-F238E27FC236}">
                              <a16:creationId xmlns:a16="http://schemas.microsoft.com/office/drawing/2014/main" id="{567D08AC-0F50-6EA4-BE2B-438C926916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7" name="Google Shape;8559;p64">
                          <a:extLst>
                            <a:ext uri="{FF2B5EF4-FFF2-40B4-BE49-F238E27FC236}">
                              <a16:creationId xmlns:a16="http://schemas.microsoft.com/office/drawing/2014/main" id="{3D2B78BF-59D0-8FD7-1810-2874A733C48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8" name="Google Shape;8560;p64">
                          <a:extLst>
                            <a:ext uri="{FF2B5EF4-FFF2-40B4-BE49-F238E27FC236}">
                              <a16:creationId xmlns:a16="http://schemas.microsoft.com/office/drawing/2014/main" id="{30D40875-A5DE-5918-EC14-84FB86FD6B8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49" name="Google Shape;8561;p64">
                          <a:extLst>
                            <a:ext uri="{FF2B5EF4-FFF2-40B4-BE49-F238E27FC236}">
                              <a16:creationId xmlns:a16="http://schemas.microsoft.com/office/drawing/2014/main" id="{BE2C2CA5-4BB9-4F47-CE88-6CCE7E3B62E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0" name="Google Shape;8562;p64">
                          <a:extLst>
                            <a:ext uri="{FF2B5EF4-FFF2-40B4-BE49-F238E27FC236}">
                              <a16:creationId xmlns:a16="http://schemas.microsoft.com/office/drawing/2014/main" id="{9C7B248E-3E91-50B8-E6F9-57B262AB487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1" name="Google Shape;8563;p64">
                          <a:extLst>
                            <a:ext uri="{FF2B5EF4-FFF2-40B4-BE49-F238E27FC236}">
                              <a16:creationId xmlns:a16="http://schemas.microsoft.com/office/drawing/2014/main" id="{D9CA0114-E4EF-B38B-114D-24BDBD2DFBE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2" name="Google Shape;8564;p64">
                          <a:extLst>
                            <a:ext uri="{FF2B5EF4-FFF2-40B4-BE49-F238E27FC236}">
                              <a16:creationId xmlns:a16="http://schemas.microsoft.com/office/drawing/2014/main" id="{5214DCF8-8F40-8019-9CB5-8308727ECD7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3" name="Google Shape;8565;p64">
                          <a:extLst>
                            <a:ext uri="{FF2B5EF4-FFF2-40B4-BE49-F238E27FC236}">
                              <a16:creationId xmlns:a16="http://schemas.microsoft.com/office/drawing/2014/main" id="{AACB7221-C05C-3FD2-3CE7-6DBA84A0925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4" name="Google Shape;8566;p64">
                          <a:extLst>
                            <a:ext uri="{FF2B5EF4-FFF2-40B4-BE49-F238E27FC236}">
                              <a16:creationId xmlns:a16="http://schemas.microsoft.com/office/drawing/2014/main" id="{E0C98632-14CE-117D-22AA-64FD8B5D8B8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5" name="Google Shape;8567;p64">
                          <a:extLst>
                            <a:ext uri="{FF2B5EF4-FFF2-40B4-BE49-F238E27FC236}">
                              <a16:creationId xmlns:a16="http://schemas.microsoft.com/office/drawing/2014/main" id="{2A80C2BC-B141-567B-6217-2023BE4B905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6" name="Google Shape;8568;p64">
                          <a:extLst>
                            <a:ext uri="{FF2B5EF4-FFF2-40B4-BE49-F238E27FC236}">
                              <a16:creationId xmlns:a16="http://schemas.microsoft.com/office/drawing/2014/main" id="{0FB9CE17-CEF6-8483-FF23-EC93E2BA2B5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7" name="Google Shape;8569;p64">
                          <a:extLst>
                            <a:ext uri="{FF2B5EF4-FFF2-40B4-BE49-F238E27FC236}">
                              <a16:creationId xmlns:a16="http://schemas.microsoft.com/office/drawing/2014/main" id="{18788233-D5C7-2AB1-1AE6-D7026399693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8" name="Google Shape;8570;p64">
                          <a:extLst>
                            <a:ext uri="{FF2B5EF4-FFF2-40B4-BE49-F238E27FC236}">
                              <a16:creationId xmlns:a16="http://schemas.microsoft.com/office/drawing/2014/main" id="{14D2C1C7-A93E-CA61-5E70-799CA0428E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12759" name="Google Shape;8571;p64">
                          <a:extLst>
                            <a:ext uri="{FF2B5EF4-FFF2-40B4-BE49-F238E27FC236}">
                              <a16:creationId xmlns:a16="http://schemas.microsoft.com/office/drawing/2014/main" id="{F705FAE2-D821-F2F7-82C7-8800BD7D55D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grpSp>
                      <p:nvGrpSpPr>
                        <p:cNvPr id="12760" name="Google Shape;8572;p64">
                          <a:extLst>
                            <a:ext uri="{FF2B5EF4-FFF2-40B4-BE49-F238E27FC236}">
                              <a16:creationId xmlns:a16="http://schemas.microsoft.com/office/drawing/2014/main" id="{D4F9DBA8-08B3-885E-1593-B492A6921BB8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12762" name="Google Shape;8573;p64">
                            <a:extLst>
                              <a:ext uri="{FF2B5EF4-FFF2-40B4-BE49-F238E27FC236}">
                                <a16:creationId xmlns:a16="http://schemas.microsoft.com/office/drawing/2014/main" id="{AD248B5C-7A71-3165-F208-65E1F9C728F6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121900" tIns="121900" rIns="121900" bIns="121900" anchor="ctr" anchorCtr="0">
                            <a:noAutofit/>
                          </a:bodyPr>
                          <a:lstStyle/>
                          <a:p>
                            <a:pPr marL="0" marR="0" lvl="0" indent="0" algn="l" defTabSz="12192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>
                                <a:srgbClr val="000000"/>
                              </a:buClr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sz="1865" b="0" i="0" u="none" strike="noStrike" kern="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 panose="020B0604020202020204"/>
                              <a:ea typeface="+mn-ea"/>
                              <a:cs typeface="Arial" panose="020B0604020202020204"/>
                              <a:sym typeface="Arial" panose="020B0604020202020204"/>
                            </a:endParaRPr>
                          </a:p>
                        </p:txBody>
                      </p:sp>
                      <p:grpSp>
                        <p:nvGrpSpPr>
                          <p:cNvPr id="12763" name="Google Shape;8574;p64">
                            <a:extLst>
                              <a:ext uri="{FF2B5EF4-FFF2-40B4-BE49-F238E27FC236}">
                                <a16:creationId xmlns:a16="http://schemas.microsoft.com/office/drawing/2014/main" id="{A342D85B-0B4D-310D-2375-8034ED7E5209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12764" name="Google Shape;8575;p64">
                              <a:extLst>
                                <a:ext uri="{FF2B5EF4-FFF2-40B4-BE49-F238E27FC236}">
                                  <a16:creationId xmlns:a16="http://schemas.microsoft.com/office/drawing/2014/main" id="{34BDC5EC-4F69-CF64-6FB1-589D6A41AF78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12765" name="Google Shape;8576;p64">
                              <a:extLst>
                                <a:ext uri="{FF2B5EF4-FFF2-40B4-BE49-F238E27FC236}">
                                  <a16:creationId xmlns:a16="http://schemas.microsoft.com/office/drawing/2014/main" id="{6348CFE8-8968-1A62-6DE2-34AC8FBA9478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12766" name="Google Shape;8577;p64">
                              <a:extLst>
                                <a:ext uri="{FF2B5EF4-FFF2-40B4-BE49-F238E27FC236}">
                                  <a16:creationId xmlns:a16="http://schemas.microsoft.com/office/drawing/2014/main" id="{CDF70F57-5696-629E-50A7-9F0C6EC6E927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12767" name="Google Shape;8578;p64">
                              <a:extLst>
                                <a:ext uri="{FF2B5EF4-FFF2-40B4-BE49-F238E27FC236}">
                                  <a16:creationId xmlns:a16="http://schemas.microsoft.com/office/drawing/2014/main" id="{7359DF07-0FEE-3328-A9CE-72E8D14167B2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12768" name="Google Shape;8579;p64">
                              <a:extLst>
                                <a:ext uri="{FF2B5EF4-FFF2-40B4-BE49-F238E27FC236}">
                                  <a16:creationId xmlns:a16="http://schemas.microsoft.com/office/drawing/2014/main" id="{89DE68F9-8066-D254-58D7-ECC46723D995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12769" name="Google Shape;8580;p64">
                              <a:extLst>
                                <a:ext uri="{FF2B5EF4-FFF2-40B4-BE49-F238E27FC236}">
                                  <a16:creationId xmlns:a16="http://schemas.microsoft.com/office/drawing/2014/main" id="{065BAA71-44A7-9583-C73F-778087EE7509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12770" name="Google Shape;8581;p64">
                              <a:extLst>
                                <a:ext uri="{FF2B5EF4-FFF2-40B4-BE49-F238E27FC236}">
                                  <a16:creationId xmlns:a16="http://schemas.microsoft.com/office/drawing/2014/main" id="{06B49057-4748-6CDD-7004-AC2D08623955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grpSp>
                          <p:nvGrpSpPr>
                            <p:cNvPr id="12771" name="Google Shape;8582;p64">
                              <a:extLst>
                                <a:ext uri="{FF2B5EF4-FFF2-40B4-BE49-F238E27FC236}">
                                  <a16:creationId xmlns:a16="http://schemas.microsoft.com/office/drawing/2014/main" id="{D2741738-A58F-A05A-721E-3F27975720F0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12775" name="Google Shape;8583;p64">
                                <a:extLst>
                                  <a:ext uri="{FF2B5EF4-FFF2-40B4-BE49-F238E27FC236}">
                                    <a16:creationId xmlns:a16="http://schemas.microsoft.com/office/drawing/2014/main" id="{162646FF-221F-FB19-575E-69A6D9A27D64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76" name="Google Shape;8584;p64">
                                <a:extLst>
                                  <a:ext uri="{FF2B5EF4-FFF2-40B4-BE49-F238E27FC236}">
                                    <a16:creationId xmlns:a16="http://schemas.microsoft.com/office/drawing/2014/main" id="{880B386E-8147-215E-0424-166A8D7BB084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77" name="Google Shape;8585;p64">
                                <a:extLst>
                                  <a:ext uri="{FF2B5EF4-FFF2-40B4-BE49-F238E27FC236}">
                                    <a16:creationId xmlns:a16="http://schemas.microsoft.com/office/drawing/2014/main" id="{CF7B98CB-CCC3-47A7-1DD9-10395271434C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78" name="Google Shape;8586;p64">
                                <a:extLst>
                                  <a:ext uri="{FF2B5EF4-FFF2-40B4-BE49-F238E27FC236}">
                                    <a16:creationId xmlns:a16="http://schemas.microsoft.com/office/drawing/2014/main" id="{16DCE4CE-CB73-B119-8263-915A324FE48F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79" name="Google Shape;8587;p64">
                                <a:extLst>
                                  <a:ext uri="{FF2B5EF4-FFF2-40B4-BE49-F238E27FC236}">
                                    <a16:creationId xmlns:a16="http://schemas.microsoft.com/office/drawing/2014/main" id="{13084749-0B56-6B9E-FBD8-1925585B6C31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80" name="Google Shape;8588;p64">
                                <a:extLst>
                                  <a:ext uri="{FF2B5EF4-FFF2-40B4-BE49-F238E27FC236}">
                                    <a16:creationId xmlns:a16="http://schemas.microsoft.com/office/drawing/2014/main" id="{9F9CA23B-F59A-A4D9-519C-8B893C2674F1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81" name="Google Shape;8589;p64">
                                <a:extLst>
                                  <a:ext uri="{FF2B5EF4-FFF2-40B4-BE49-F238E27FC236}">
                                    <a16:creationId xmlns:a16="http://schemas.microsoft.com/office/drawing/2014/main" id="{298CAB9A-EB08-AE22-8546-80DA44CF3472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82" name="Google Shape;8590;p64">
                                <a:extLst>
                                  <a:ext uri="{FF2B5EF4-FFF2-40B4-BE49-F238E27FC236}">
                                    <a16:creationId xmlns:a16="http://schemas.microsoft.com/office/drawing/2014/main" id="{9541742A-18B1-3409-2116-74B243919205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83" name="Google Shape;8591;p64">
                                <a:extLst>
                                  <a:ext uri="{FF2B5EF4-FFF2-40B4-BE49-F238E27FC236}">
                                    <a16:creationId xmlns:a16="http://schemas.microsoft.com/office/drawing/2014/main" id="{97CF0837-2453-B196-CB0E-73FDEB17E159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84" name="Google Shape;8592;p64">
                                <a:extLst>
                                  <a:ext uri="{FF2B5EF4-FFF2-40B4-BE49-F238E27FC236}">
                                    <a16:creationId xmlns:a16="http://schemas.microsoft.com/office/drawing/2014/main" id="{37AF54B1-1696-5F3F-36F3-779CE28F8DE5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85" name="Google Shape;8593;p64">
                                <a:extLst>
                                  <a:ext uri="{FF2B5EF4-FFF2-40B4-BE49-F238E27FC236}">
                                    <a16:creationId xmlns:a16="http://schemas.microsoft.com/office/drawing/2014/main" id="{057AC753-398E-6734-3075-099C3BD3D401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86" name="Google Shape;8594;p64">
                                <a:extLst>
                                  <a:ext uri="{FF2B5EF4-FFF2-40B4-BE49-F238E27FC236}">
                                    <a16:creationId xmlns:a16="http://schemas.microsoft.com/office/drawing/2014/main" id="{9A371E0F-A851-D9B2-E6E2-2FAF1E3D123C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787" name="Google Shape;8595;p64">
                                <a:extLst>
                                  <a:ext uri="{FF2B5EF4-FFF2-40B4-BE49-F238E27FC236}">
                                    <a16:creationId xmlns:a16="http://schemas.microsoft.com/office/drawing/2014/main" id="{4D6879B4-6DA7-BDD9-E519-A395732841E1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grpSp>
                            <p:nvGrpSpPr>
                              <p:cNvPr id="12788" name="Google Shape;8596;p64">
                                <a:extLst>
                                  <a:ext uri="{FF2B5EF4-FFF2-40B4-BE49-F238E27FC236}">
                                    <a16:creationId xmlns:a16="http://schemas.microsoft.com/office/drawing/2014/main" id="{6F930FB9-C0BC-666C-1F42-953A8A501880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12789" name="Google Shape;8597;p64">
                                  <a:extLst>
                                    <a:ext uri="{FF2B5EF4-FFF2-40B4-BE49-F238E27FC236}">
                                      <a16:creationId xmlns:a16="http://schemas.microsoft.com/office/drawing/2014/main" id="{AD5F3C07-27A0-5A0B-FD52-A7C15533619D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12790" name="Google Shape;8598;p64">
                                  <a:extLst>
                                    <a:ext uri="{FF2B5EF4-FFF2-40B4-BE49-F238E27FC236}">
                                      <a16:creationId xmlns:a16="http://schemas.microsoft.com/office/drawing/2014/main" id="{73EF85B5-F691-3BC2-F0BE-BD689EC96085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12791" name="Google Shape;8599;p64">
                                  <a:extLst>
                                    <a:ext uri="{FF2B5EF4-FFF2-40B4-BE49-F238E27FC236}">
                                      <a16:creationId xmlns:a16="http://schemas.microsoft.com/office/drawing/2014/main" id="{D576D559-9096-948E-2D20-AD677BE2066E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12792" name="Google Shape;8600;p64">
                                  <a:extLst>
                                    <a:ext uri="{FF2B5EF4-FFF2-40B4-BE49-F238E27FC236}">
                                      <a16:creationId xmlns:a16="http://schemas.microsoft.com/office/drawing/2014/main" id="{0EAFFD9C-C2E9-11E6-2862-6F33FFB22F1E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12793" name="Google Shape;8601;p64">
                                  <a:extLst>
                                    <a:ext uri="{FF2B5EF4-FFF2-40B4-BE49-F238E27FC236}">
                                      <a16:creationId xmlns:a16="http://schemas.microsoft.com/office/drawing/2014/main" id="{BD634F0E-24AD-95CA-99F9-0FFD13BC35B1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12794" name="Google Shape;8602;p64">
                                  <a:extLst>
                                    <a:ext uri="{FF2B5EF4-FFF2-40B4-BE49-F238E27FC236}">
                                      <a16:creationId xmlns:a16="http://schemas.microsoft.com/office/drawing/2014/main" id="{6EAD4C3F-2046-0F8A-6079-AAF1FB251557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12795" name="Google Shape;8603;p64">
                                  <a:extLst>
                                    <a:ext uri="{FF2B5EF4-FFF2-40B4-BE49-F238E27FC236}">
                                      <a16:creationId xmlns:a16="http://schemas.microsoft.com/office/drawing/2014/main" id="{4FA5966E-67C7-F469-D2B6-C620276C4D37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grpSp>
                              <p:nvGrpSpPr>
                                <p:cNvPr id="12796" name="Google Shape;8604;p64">
                                  <a:extLst>
                                    <a:ext uri="{FF2B5EF4-FFF2-40B4-BE49-F238E27FC236}">
                                      <a16:creationId xmlns:a16="http://schemas.microsoft.com/office/drawing/2014/main" id="{208CEAF4-FA31-3532-243F-3205CDDFE14A}"/>
                                    </a:ext>
                                  </a:extLst>
                                </p:cNvPr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12797" name="Google Shape;8605;p64">
                                    <a:extLst>
                                      <a:ext uri="{FF2B5EF4-FFF2-40B4-BE49-F238E27FC236}">
                                        <a16:creationId xmlns:a16="http://schemas.microsoft.com/office/drawing/2014/main" id="{EA48025C-6B15-A7BA-B2A6-82AB10D59B2C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12798" name="Google Shape;8606;p64">
                                    <a:extLst>
                                      <a:ext uri="{FF2B5EF4-FFF2-40B4-BE49-F238E27FC236}">
                                        <a16:creationId xmlns:a16="http://schemas.microsoft.com/office/drawing/2014/main" id="{B858FEB2-623B-B068-5808-C460CB57D8EE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12799" name="Google Shape;8607;p64">
                                    <a:extLst>
                                      <a:ext uri="{FF2B5EF4-FFF2-40B4-BE49-F238E27FC236}">
                                        <a16:creationId xmlns:a16="http://schemas.microsoft.com/office/drawing/2014/main" id="{1AB05C6A-D4BB-FBFF-22B8-DBE716D3A80B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12800" name="Google Shape;8608;p64">
                                    <a:extLst>
                                      <a:ext uri="{FF2B5EF4-FFF2-40B4-BE49-F238E27FC236}">
                                        <a16:creationId xmlns:a16="http://schemas.microsoft.com/office/drawing/2014/main" id="{326AB600-73BF-EF42-B257-7B083D8FF6F4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12801" name="Google Shape;8609;p64">
                                    <a:extLst>
                                      <a:ext uri="{FF2B5EF4-FFF2-40B4-BE49-F238E27FC236}">
                                        <a16:creationId xmlns:a16="http://schemas.microsoft.com/office/drawing/2014/main" id="{3D3574F7-85F5-8D85-9A73-8CE56E63D7B6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grpSp>
                                <p:nvGrpSpPr>
                                  <p:cNvPr id="12802" name="Google Shape;8610;p64">
                                    <a:extLst>
                                      <a:ext uri="{FF2B5EF4-FFF2-40B4-BE49-F238E27FC236}">
                                        <a16:creationId xmlns:a16="http://schemas.microsoft.com/office/drawing/2014/main" id="{75F89F67-40C2-B0DD-DBDE-40FD96331688}"/>
                                      </a:ext>
                                    </a:extLst>
                                  </p:cNvPr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12803" name="Google Shape;8611;p64">
                                      <a:extLst>
                                        <a:ext uri="{FF2B5EF4-FFF2-40B4-BE49-F238E27FC236}">
                                          <a16:creationId xmlns:a16="http://schemas.microsoft.com/office/drawing/2014/main" id="{54D31926-D6A3-AFC3-1AE7-2921ADC68B58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121900" tIns="121900" rIns="121900" bIns="121900" anchor="ctr" anchorCtr="0">
                                      <a:noAutofit/>
                                    </a:bodyPr>
                                    <a:lstStyle/>
                                    <a:p>
                                      <a:pPr marL="0" marR="0" lvl="0" indent="0" algn="l" defTabSz="1219200" rtl="0" eaLnBrk="1" fontAlgn="auto" latinLnBrk="0" hangingPunct="1">
                                        <a:lnSpc>
                                          <a:spcPct val="100000"/>
                                        </a:lnSpc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Clr>
                                          <a:srgbClr val="000000"/>
                                        </a:buClr>
                                        <a:buSzTx/>
                                        <a:buFontTx/>
                                        <a:buNone/>
                                        <a:tabLst/>
                                        <a:defRPr/>
                                      </a:pPr>
                                      <a:endParaRPr kumimoji="0" sz="1865" b="0" i="0" u="none" strike="noStrike" kern="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Arial" panose="020B0604020202020204"/>
                                        <a:ea typeface="+mn-ea"/>
                                        <a:cs typeface="Arial" panose="020B0604020202020204"/>
                                        <a:sym typeface="Arial" panose="020B0604020202020204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2804" name="Google Shape;8612;p64">
                                      <a:extLst>
                                        <a:ext uri="{FF2B5EF4-FFF2-40B4-BE49-F238E27FC236}">
                                          <a16:creationId xmlns:a16="http://schemas.microsoft.com/office/drawing/2014/main" id="{1DD46DDB-F76F-5574-BF3D-995A733442E9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121900" tIns="121900" rIns="121900" bIns="121900" anchor="ctr" anchorCtr="0">
                                      <a:noAutofit/>
                                    </a:bodyPr>
                                    <a:lstStyle/>
                                    <a:p>
                                      <a:pPr marL="0" marR="0" lvl="0" indent="0" algn="l" defTabSz="1219200" rtl="0" eaLnBrk="1" fontAlgn="auto" latinLnBrk="0" hangingPunct="1">
                                        <a:lnSpc>
                                          <a:spcPct val="100000"/>
                                        </a:lnSpc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Clr>
                                          <a:srgbClr val="000000"/>
                                        </a:buClr>
                                        <a:buSzTx/>
                                        <a:buFontTx/>
                                        <a:buNone/>
                                        <a:tabLst/>
                                        <a:defRPr/>
                                      </a:pPr>
                                      <a:endParaRPr kumimoji="0" sz="1865" b="0" i="0" u="none" strike="noStrike" kern="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Arial" panose="020B0604020202020204"/>
                                        <a:ea typeface="+mn-ea"/>
                                        <a:cs typeface="Arial" panose="020B0604020202020204"/>
                                        <a:sym typeface="Arial" panose="020B0604020202020204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2805" name="Google Shape;8613;p64">
                                      <a:extLst>
                                        <a:ext uri="{FF2B5EF4-FFF2-40B4-BE49-F238E27FC236}">
                                          <a16:creationId xmlns:a16="http://schemas.microsoft.com/office/drawing/2014/main" id="{A153E4A8-1F2D-084F-5A62-284CC2AC3456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121900" tIns="121900" rIns="121900" bIns="121900" anchor="ctr" anchorCtr="0">
                                      <a:noAutofit/>
                                    </a:bodyPr>
                                    <a:lstStyle/>
                                    <a:p>
                                      <a:pPr marL="0" marR="0" lvl="0" indent="0" algn="l" defTabSz="1219200" rtl="0" eaLnBrk="1" fontAlgn="auto" latinLnBrk="0" hangingPunct="1">
                                        <a:lnSpc>
                                          <a:spcPct val="100000"/>
                                        </a:lnSpc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Clr>
                                          <a:srgbClr val="000000"/>
                                        </a:buClr>
                                        <a:buSzTx/>
                                        <a:buFontTx/>
                                        <a:buNone/>
                                        <a:tabLst/>
                                        <a:defRPr/>
                                      </a:pPr>
                                      <a:endParaRPr kumimoji="0" sz="1865" b="0" i="0" u="none" strike="noStrike" kern="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Arial" panose="020B0604020202020204"/>
                                        <a:ea typeface="+mn-ea"/>
                                        <a:cs typeface="Arial" panose="020B0604020202020204"/>
                                        <a:sym typeface="Arial" panose="020B0604020202020204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12806" name="Google Shape;8614;p64">
                                      <a:extLst>
                                        <a:ext uri="{FF2B5EF4-FFF2-40B4-BE49-F238E27FC236}">
                                          <a16:creationId xmlns:a16="http://schemas.microsoft.com/office/drawing/2014/main" id="{AEE96185-D790-39E9-7EF5-2F798C0BF7C6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121900" tIns="121900" rIns="121900" bIns="121900" anchor="ctr" anchorCtr="0">
                                      <a:noAutofit/>
                                    </a:bodyPr>
                                    <a:lstStyle/>
                                    <a:p>
                                      <a:pPr marL="0" marR="0" lvl="0" indent="0" algn="l" defTabSz="1219200" rtl="0" eaLnBrk="1" fontAlgn="auto" latinLnBrk="0" hangingPunct="1">
                                        <a:lnSpc>
                                          <a:spcPct val="100000"/>
                                        </a:lnSpc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Clr>
                                          <a:srgbClr val="000000"/>
                                        </a:buClr>
                                        <a:buSzTx/>
                                        <a:buFontTx/>
                                        <a:buNone/>
                                        <a:tabLst/>
                                        <a:defRPr/>
                                      </a:pPr>
                                      <a:endParaRPr kumimoji="0" sz="1865" b="0" i="0" u="none" strike="noStrike" kern="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Arial" panose="020B0604020202020204"/>
                                        <a:ea typeface="+mn-ea"/>
                                        <a:cs typeface="Arial" panose="020B0604020202020204"/>
                                        <a:sym typeface="Arial" panose="020B0604020202020204"/>
                                      </a:endParaRPr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12772" name="Google Shape;8615;p64">
                              <a:extLst>
                                <a:ext uri="{FF2B5EF4-FFF2-40B4-BE49-F238E27FC236}">
                                  <a16:creationId xmlns:a16="http://schemas.microsoft.com/office/drawing/2014/main" id="{4CE24E03-E6A4-3886-0E8F-DFD49D2EAF72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12773" name="Google Shape;8616;p64">
                              <a:extLst>
                                <a:ext uri="{FF2B5EF4-FFF2-40B4-BE49-F238E27FC236}">
                                  <a16:creationId xmlns:a16="http://schemas.microsoft.com/office/drawing/2014/main" id="{5C09CCC7-2A43-BD32-FE1F-1A51D945C4EB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12774" name="Google Shape;8617;p64">
                              <a:extLst>
                                <a:ext uri="{FF2B5EF4-FFF2-40B4-BE49-F238E27FC236}">
                                  <a16:creationId xmlns:a16="http://schemas.microsoft.com/office/drawing/2014/main" id="{CF887F8B-69FA-6ED7-007A-A6EC6C76CEC0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</p:grpSp>
                    </p:grpSp>
                    <p:sp>
                      <p:nvSpPr>
                        <p:cNvPr id="12761" name="Google Shape;8618;p64">
                          <a:extLst>
                            <a:ext uri="{FF2B5EF4-FFF2-40B4-BE49-F238E27FC236}">
                              <a16:creationId xmlns:a16="http://schemas.microsoft.com/office/drawing/2014/main" id="{A8AE17D7-82C0-6DAC-AEA9-B3C41841C1B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12389" name="Google Shape;8619;p64">
                <a:extLst>
                  <a:ext uri="{FF2B5EF4-FFF2-40B4-BE49-F238E27FC236}">
                    <a16:creationId xmlns:a16="http://schemas.microsoft.com/office/drawing/2014/main" id="{3D986F4D-47DA-B667-21D8-F72C7652C73A}"/>
                  </a:ext>
                </a:extLst>
              </p:cNvPr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12704" name="Google Shape;8620;p64">
                  <a:extLst>
                    <a:ext uri="{FF2B5EF4-FFF2-40B4-BE49-F238E27FC236}">
                      <a16:creationId xmlns:a16="http://schemas.microsoft.com/office/drawing/2014/main" id="{101F471F-A38D-F7BF-116D-22E687A98826}"/>
                    </a:ext>
                  </a:extLst>
                </p:cNvPr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705" name="Google Shape;8621;p64">
                  <a:extLst>
                    <a:ext uri="{FF2B5EF4-FFF2-40B4-BE49-F238E27FC236}">
                      <a16:creationId xmlns:a16="http://schemas.microsoft.com/office/drawing/2014/main" id="{122FF218-897E-6DF0-2A36-8C10669C957A}"/>
                    </a:ext>
                  </a:extLst>
                </p:cNvPr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0" name="Google Shape;8622;p64">
                <a:extLst>
                  <a:ext uri="{FF2B5EF4-FFF2-40B4-BE49-F238E27FC236}">
                    <a16:creationId xmlns:a16="http://schemas.microsoft.com/office/drawing/2014/main" id="{E77AF5C0-9A29-E071-ACC2-32FA84F789C3}"/>
                  </a:ext>
                </a:extLst>
              </p:cNvPr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12702" name="Google Shape;8623;p64">
                  <a:extLst>
                    <a:ext uri="{FF2B5EF4-FFF2-40B4-BE49-F238E27FC236}">
                      <a16:creationId xmlns:a16="http://schemas.microsoft.com/office/drawing/2014/main" id="{DB9257A8-6243-E2B5-9D67-2BF15538A7FA}"/>
                    </a:ext>
                  </a:extLst>
                </p:cNvPr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703" name="Google Shape;8624;p64">
                  <a:extLst>
                    <a:ext uri="{FF2B5EF4-FFF2-40B4-BE49-F238E27FC236}">
                      <a16:creationId xmlns:a16="http://schemas.microsoft.com/office/drawing/2014/main" id="{7474B4AC-0C3E-6D11-F76C-E19F6E21066A}"/>
                    </a:ext>
                  </a:extLst>
                </p:cNvPr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1" name="Google Shape;8625;p64">
                <a:extLst>
                  <a:ext uri="{FF2B5EF4-FFF2-40B4-BE49-F238E27FC236}">
                    <a16:creationId xmlns:a16="http://schemas.microsoft.com/office/drawing/2014/main" id="{6CDEAF38-2337-479D-AF75-A480B00EF8CC}"/>
                  </a:ext>
                </a:extLst>
              </p:cNvPr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12700" name="Google Shape;8626;p64">
                  <a:extLst>
                    <a:ext uri="{FF2B5EF4-FFF2-40B4-BE49-F238E27FC236}">
                      <a16:creationId xmlns:a16="http://schemas.microsoft.com/office/drawing/2014/main" id="{916AA390-DD52-B1D2-9D70-92499D555ECA}"/>
                    </a:ext>
                  </a:extLst>
                </p:cNvPr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701" name="Google Shape;8627;p64">
                  <a:extLst>
                    <a:ext uri="{FF2B5EF4-FFF2-40B4-BE49-F238E27FC236}">
                      <a16:creationId xmlns:a16="http://schemas.microsoft.com/office/drawing/2014/main" id="{D8F6BD4D-14F3-B37C-ABBF-D0432313CB3B}"/>
                    </a:ext>
                  </a:extLst>
                </p:cNvPr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2" name="Google Shape;8628;p64">
                <a:extLst>
                  <a:ext uri="{FF2B5EF4-FFF2-40B4-BE49-F238E27FC236}">
                    <a16:creationId xmlns:a16="http://schemas.microsoft.com/office/drawing/2014/main" id="{7C7C622B-4F59-84C9-57FF-5A653145CFFB}"/>
                  </a:ext>
                </a:extLst>
              </p:cNvPr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12698" name="Google Shape;8629;p64">
                  <a:extLst>
                    <a:ext uri="{FF2B5EF4-FFF2-40B4-BE49-F238E27FC236}">
                      <a16:creationId xmlns:a16="http://schemas.microsoft.com/office/drawing/2014/main" id="{92CC05E4-44F7-B388-C523-5DFD89EFEABB}"/>
                    </a:ext>
                  </a:extLst>
                </p:cNvPr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99" name="Google Shape;8630;p64">
                  <a:extLst>
                    <a:ext uri="{FF2B5EF4-FFF2-40B4-BE49-F238E27FC236}">
                      <a16:creationId xmlns:a16="http://schemas.microsoft.com/office/drawing/2014/main" id="{A9E2DA48-60BB-5518-6A8F-762745890A42}"/>
                    </a:ext>
                  </a:extLst>
                </p:cNvPr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3" name="Google Shape;8631;p64">
                <a:extLst>
                  <a:ext uri="{FF2B5EF4-FFF2-40B4-BE49-F238E27FC236}">
                    <a16:creationId xmlns:a16="http://schemas.microsoft.com/office/drawing/2014/main" id="{9DFB037F-389A-0FBB-C186-A92B65CDB427}"/>
                  </a:ext>
                </a:extLst>
              </p:cNvPr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12696" name="Google Shape;8632;p64">
                  <a:extLst>
                    <a:ext uri="{FF2B5EF4-FFF2-40B4-BE49-F238E27FC236}">
                      <a16:creationId xmlns:a16="http://schemas.microsoft.com/office/drawing/2014/main" id="{0F7319F2-8352-AD0F-889B-A1B021DDE6A5}"/>
                    </a:ext>
                  </a:extLst>
                </p:cNvPr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97" name="Google Shape;8633;p64">
                  <a:extLst>
                    <a:ext uri="{FF2B5EF4-FFF2-40B4-BE49-F238E27FC236}">
                      <a16:creationId xmlns:a16="http://schemas.microsoft.com/office/drawing/2014/main" id="{46834866-698D-9D7B-C343-F191D427564B}"/>
                    </a:ext>
                  </a:extLst>
                </p:cNvPr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4" name="Google Shape;8634;p64">
                <a:extLst>
                  <a:ext uri="{FF2B5EF4-FFF2-40B4-BE49-F238E27FC236}">
                    <a16:creationId xmlns:a16="http://schemas.microsoft.com/office/drawing/2014/main" id="{3E929D9C-04E9-443C-16AE-D05F3EAFDB22}"/>
                  </a:ext>
                </a:extLst>
              </p:cNvPr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12694" name="Google Shape;8635;p64">
                  <a:extLst>
                    <a:ext uri="{FF2B5EF4-FFF2-40B4-BE49-F238E27FC236}">
                      <a16:creationId xmlns:a16="http://schemas.microsoft.com/office/drawing/2014/main" id="{4241B8FA-195A-8C4B-5CE8-D1FF702ED662}"/>
                    </a:ext>
                  </a:extLst>
                </p:cNvPr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95" name="Google Shape;8636;p64">
                  <a:extLst>
                    <a:ext uri="{FF2B5EF4-FFF2-40B4-BE49-F238E27FC236}">
                      <a16:creationId xmlns:a16="http://schemas.microsoft.com/office/drawing/2014/main" id="{883F762C-3E1D-6D24-6378-4302F0791AB7}"/>
                    </a:ext>
                  </a:extLst>
                </p:cNvPr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5" name="Google Shape;8637;p64">
                <a:extLst>
                  <a:ext uri="{FF2B5EF4-FFF2-40B4-BE49-F238E27FC236}">
                    <a16:creationId xmlns:a16="http://schemas.microsoft.com/office/drawing/2014/main" id="{BF14C77D-0D25-1219-19A0-5DA9317776B4}"/>
                  </a:ext>
                </a:extLst>
              </p:cNvPr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12692" name="Google Shape;8638;p64">
                  <a:extLst>
                    <a:ext uri="{FF2B5EF4-FFF2-40B4-BE49-F238E27FC236}">
                      <a16:creationId xmlns:a16="http://schemas.microsoft.com/office/drawing/2014/main" id="{CB326BA2-13B4-C34B-E274-879279633A20}"/>
                    </a:ext>
                  </a:extLst>
                </p:cNvPr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93" name="Google Shape;8639;p64">
                  <a:extLst>
                    <a:ext uri="{FF2B5EF4-FFF2-40B4-BE49-F238E27FC236}">
                      <a16:creationId xmlns:a16="http://schemas.microsoft.com/office/drawing/2014/main" id="{C3FCE727-AC9F-8FE7-CD36-FEF2E673013E}"/>
                    </a:ext>
                  </a:extLst>
                </p:cNvPr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6" name="Google Shape;8640;p64">
                <a:extLst>
                  <a:ext uri="{FF2B5EF4-FFF2-40B4-BE49-F238E27FC236}">
                    <a16:creationId xmlns:a16="http://schemas.microsoft.com/office/drawing/2014/main" id="{D3AF738D-DA79-34ED-C878-4F9FA9B1919D}"/>
                  </a:ext>
                </a:extLst>
              </p:cNvPr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12690" name="Google Shape;8641;p64">
                  <a:extLst>
                    <a:ext uri="{FF2B5EF4-FFF2-40B4-BE49-F238E27FC236}">
                      <a16:creationId xmlns:a16="http://schemas.microsoft.com/office/drawing/2014/main" id="{ABCD2A0E-F703-3F64-A491-4145F768258F}"/>
                    </a:ext>
                  </a:extLst>
                </p:cNvPr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91" name="Google Shape;8642;p64">
                  <a:extLst>
                    <a:ext uri="{FF2B5EF4-FFF2-40B4-BE49-F238E27FC236}">
                      <a16:creationId xmlns:a16="http://schemas.microsoft.com/office/drawing/2014/main" id="{54594348-288D-A06F-4BAB-95A8251399ED}"/>
                    </a:ext>
                  </a:extLst>
                </p:cNvPr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7" name="Google Shape;8643;p64">
                <a:extLst>
                  <a:ext uri="{FF2B5EF4-FFF2-40B4-BE49-F238E27FC236}">
                    <a16:creationId xmlns:a16="http://schemas.microsoft.com/office/drawing/2014/main" id="{27CAE570-D093-AD3E-698B-1894F9DAF067}"/>
                  </a:ext>
                </a:extLst>
              </p:cNvPr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12688" name="Google Shape;8644;p64">
                  <a:extLst>
                    <a:ext uri="{FF2B5EF4-FFF2-40B4-BE49-F238E27FC236}">
                      <a16:creationId xmlns:a16="http://schemas.microsoft.com/office/drawing/2014/main" id="{53ADAF88-73A6-D7A0-2133-BFF12162E9D1}"/>
                    </a:ext>
                  </a:extLst>
                </p:cNvPr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89" name="Google Shape;8645;p64">
                  <a:extLst>
                    <a:ext uri="{FF2B5EF4-FFF2-40B4-BE49-F238E27FC236}">
                      <a16:creationId xmlns:a16="http://schemas.microsoft.com/office/drawing/2014/main" id="{C7A8F976-FF7F-1C3E-3EEC-670330C141A0}"/>
                    </a:ext>
                  </a:extLst>
                </p:cNvPr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8" name="Google Shape;8646;p64">
                <a:extLst>
                  <a:ext uri="{FF2B5EF4-FFF2-40B4-BE49-F238E27FC236}">
                    <a16:creationId xmlns:a16="http://schemas.microsoft.com/office/drawing/2014/main" id="{051203BE-5D53-7289-CBC0-BDD0B7850813}"/>
                  </a:ext>
                </a:extLst>
              </p:cNvPr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12686" name="Google Shape;8647;p64">
                  <a:extLst>
                    <a:ext uri="{FF2B5EF4-FFF2-40B4-BE49-F238E27FC236}">
                      <a16:creationId xmlns:a16="http://schemas.microsoft.com/office/drawing/2014/main" id="{26025441-DFE1-9D28-175B-E8DA57174001}"/>
                    </a:ext>
                  </a:extLst>
                </p:cNvPr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87" name="Google Shape;8648;p64">
                  <a:extLst>
                    <a:ext uri="{FF2B5EF4-FFF2-40B4-BE49-F238E27FC236}">
                      <a16:creationId xmlns:a16="http://schemas.microsoft.com/office/drawing/2014/main" id="{1AC341EC-9969-734D-8E4E-DF503B24301E}"/>
                    </a:ext>
                  </a:extLst>
                </p:cNvPr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399" name="Google Shape;8649;p64">
                <a:extLst>
                  <a:ext uri="{FF2B5EF4-FFF2-40B4-BE49-F238E27FC236}">
                    <a16:creationId xmlns:a16="http://schemas.microsoft.com/office/drawing/2014/main" id="{A8FDFD55-5A76-3D37-2594-DAE8E05AA804}"/>
                  </a:ext>
                </a:extLst>
              </p:cNvPr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12684" name="Google Shape;8650;p64">
                  <a:extLst>
                    <a:ext uri="{FF2B5EF4-FFF2-40B4-BE49-F238E27FC236}">
                      <a16:creationId xmlns:a16="http://schemas.microsoft.com/office/drawing/2014/main" id="{5E3EC48D-A841-A39F-0C1F-A2BD32E535A7}"/>
                    </a:ext>
                  </a:extLst>
                </p:cNvPr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85" name="Google Shape;8651;p64">
                  <a:extLst>
                    <a:ext uri="{FF2B5EF4-FFF2-40B4-BE49-F238E27FC236}">
                      <a16:creationId xmlns:a16="http://schemas.microsoft.com/office/drawing/2014/main" id="{46825274-F1BA-8D37-DAB8-79DF71D318BC}"/>
                    </a:ext>
                  </a:extLst>
                </p:cNvPr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0" name="Google Shape;8652;p64">
                <a:extLst>
                  <a:ext uri="{FF2B5EF4-FFF2-40B4-BE49-F238E27FC236}">
                    <a16:creationId xmlns:a16="http://schemas.microsoft.com/office/drawing/2014/main" id="{C433BFBF-D12A-43AE-33EE-541041E67391}"/>
                  </a:ext>
                </a:extLst>
              </p:cNvPr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12682" name="Google Shape;8653;p64">
                  <a:extLst>
                    <a:ext uri="{FF2B5EF4-FFF2-40B4-BE49-F238E27FC236}">
                      <a16:creationId xmlns:a16="http://schemas.microsoft.com/office/drawing/2014/main" id="{202A7AC4-C2C5-E439-59B8-8A3FF7517E01}"/>
                    </a:ext>
                  </a:extLst>
                </p:cNvPr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83" name="Google Shape;8654;p64">
                  <a:extLst>
                    <a:ext uri="{FF2B5EF4-FFF2-40B4-BE49-F238E27FC236}">
                      <a16:creationId xmlns:a16="http://schemas.microsoft.com/office/drawing/2014/main" id="{9A99AA9D-F388-DF6C-9564-6A5567A39BF1}"/>
                    </a:ext>
                  </a:extLst>
                </p:cNvPr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1" name="Google Shape;8655;p64">
                <a:extLst>
                  <a:ext uri="{FF2B5EF4-FFF2-40B4-BE49-F238E27FC236}">
                    <a16:creationId xmlns:a16="http://schemas.microsoft.com/office/drawing/2014/main" id="{D84D44EC-B8F8-D065-63CA-4FC10364E1EC}"/>
                  </a:ext>
                </a:extLst>
              </p:cNvPr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12680" name="Google Shape;8656;p64">
                  <a:extLst>
                    <a:ext uri="{FF2B5EF4-FFF2-40B4-BE49-F238E27FC236}">
                      <a16:creationId xmlns:a16="http://schemas.microsoft.com/office/drawing/2014/main" id="{B53D2D84-49B9-BAE3-723B-389BDB343436}"/>
                    </a:ext>
                  </a:extLst>
                </p:cNvPr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81" name="Google Shape;8657;p64">
                  <a:extLst>
                    <a:ext uri="{FF2B5EF4-FFF2-40B4-BE49-F238E27FC236}">
                      <a16:creationId xmlns:a16="http://schemas.microsoft.com/office/drawing/2014/main" id="{8039DBBE-9E46-5805-71AE-15927EFB2F41}"/>
                    </a:ext>
                  </a:extLst>
                </p:cNvPr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2" name="Google Shape;8658;p64">
                <a:extLst>
                  <a:ext uri="{FF2B5EF4-FFF2-40B4-BE49-F238E27FC236}">
                    <a16:creationId xmlns:a16="http://schemas.microsoft.com/office/drawing/2014/main" id="{305FB6F4-426C-C0AF-92AF-4E572BCEB91F}"/>
                  </a:ext>
                </a:extLst>
              </p:cNvPr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12678" name="Google Shape;8659;p64">
                  <a:extLst>
                    <a:ext uri="{FF2B5EF4-FFF2-40B4-BE49-F238E27FC236}">
                      <a16:creationId xmlns:a16="http://schemas.microsoft.com/office/drawing/2014/main" id="{0557F5EB-80A7-F85A-3046-FB9B294B4E57}"/>
                    </a:ext>
                  </a:extLst>
                </p:cNvPr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79" name="Google Shape;8660;p64">
                  <a:extLst>
                    <a:ext uri="{FF2B5EF4-FFF2-40B4-BE49-F238E27FC236}">
                      <a16:creationId xmlns:a16="http://schemas.microsoft.com/office/drawing/2014/main" id="{E30DF08D-B02D-43C0-708E-C0D7C8846EF1}"/>
                    </a:ext>
                  </a:extLst>
                </p:cNvPr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3" name="Google Shape;8661;p64">
                <a:extLst>
                  <a:ext uri="{FF2B5EF4-FFF2-40B4-BE49-F238E27FC236}">
                    <a16:creationId xmlns:a16="http://schemas.microsoft.com/office/drawing/2014/main" id="{0A05A181-DF37-5C26-A9BD-8695F88BEFDB}"/>
                  </a:ext>
                </a:extLst>
              </p:cNvPr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12676" name="Google Shape;8662;p64">
                  <a:extLst>
                    <a:ext uri="{FF2B5EF4-FFF2-40B4-BE49-F238E27FC236}">
                      <a16:creationId xmlns:a16="http://schemas.microsoft.com/office/drawing/2014/main" id="{AC30713F-E260-F71F-71A0-20AA0AD98904}"/>
                    </a:ext>
                  </a:extLst>
                </p:cNvPr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77" name="Google Shape;8663;p64">
                  <a:extLst>
                    <a:ext uri="{FF2B5EF4-FFF2-40B4-BE49-F238E27FC236}">
                      <a16:creationId xmlns:a16="http://schemas.microsoft.com/office/drawing/2014/main" id="{B9A5651C-49FE-1CFE-6543-950BDA1ACC95}"/>
                    </a:ext>
                  </a:extLst>
                </p:cNvPr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4" name="Google Shape;8664;p64">
                <a:extLst>
                  <a:ext uri="{FF2B5EF4-FFF2-40B4-BE49-F238E27FC236}">
                    <a16:creationId xmlns:a16="http://schemas.microsoft.com/office/drawing/2014/main" id="{35C8966A-1742-C64E-6C72-6E807079BC76}"/>
                  </a:ext>
                </a:extLst>
              </p:cNvPr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12674" name="Google Shape;8665;p64">
                  <a:extLst>
                    <a:ext uri="{FF2B5EF4-FFF2-40B4-BE49-F238E27FC236}">
                      <a16:creationId xmlns:a16="http://schemas.microsoft.com/office/drawing/2014/main" id="{1C18648E-59DA-5A6B-1EE8-A63DF230D664}"/>
                    </a:ext>
                  </a:extLst>
                </p:cNvPr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75" name="Google Shape;8666;p64">
                  <a:extLst>
                    <a:ext uri="{FF2B5EF4-FFF2-40B4-BE49-F238E27FC236}">
                      <a16:creationId xmlns:a16="http://schemas.microsoft.com/office/drawing/2014/main" id="{4D1ED1E7-9002-36F9-4EDC-B10AB9C2F6EB}"/>
                    </a:ext>
                  </a:extLst>
                </p:cNvPr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5" name="Google Shape;8667;p64">
                <a:extLst>
                  <a:ext uri="{FF2B5EF4-FFF2-40B4-BE49-F238E27FC236}">
                    <a16:creationId xmlns:a16="http://schemas.microsoft.com/office/drawing/2014/main" id="{5E727163-7FF5-B435-7B57-2AC24567B8BA}"/>
                  </a:ext>
                </a:extLst>
              </p:cNvPr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12672" name="Google Shape;8668;p64">
                  <a:extLst>
                    <a:ext uri="{FF2B5EF4-FFF2-40B4-BE49-F238E27FC236}">
                      <a16:creationId xmlns:a16="http://schemas.microsoft.com/office/drawing/2014/main" id="{C3DDF4B5-D974-36EB-D036-7748B04105F9}"/>
                    </a:ext>
                  </a:extLst>
                </p:cNvPr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73" name="Google Shape;8669;p64">
                  <a:extLst>
                    <a:ext uri="{FF2B5EF4-FFF2-40B4-BE49-F238E27FC236}">
                      <a16:creationId xmlns:a16="http://schemas.microsoft.com/office/drawing/2014/main" id="{B92F271E-1D03-E072-BF39-FA27E8D090D4}"/>
                    </a:ext>
                  </a:extLst>
                </p:cNvPr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6" name="Google Shape;8670;p64">
                <a:extLst>
                  <a:ext uri="{FF2B5EF4-FFF2-40B4-BE49-F238E27FC236}">
                    <a16:creationId xmlns:a16="http://schemas.microsoft.com/office/drawing/2014/main" id="{8219E2BF-3781-B19C-C503-06A5E90AA20E}"/>
                  </a:ext>
                </a:extLst>
              </p:cNvPr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12670" name="Google Shape;8671;p64">
                  <a:extLst>
                    <a:ext uri="{FF2B5EF4-FFF2-40B4-BE49-F238E27FC236}">
                      <a16:creationId xmlns:a16="http://schemas.microsoft.com/office/drawing/2014/main" id="{74DB95ED-F625-FBD1-2BF7-9354CA5E3E24}"/>
                    </a:ext>
                  </a:extLst>
                </p:cNvPr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71" name="Google Shape;8672;p64">
                  <a:extLst>
                    <a:ext uri="{FF2B5EF4-FFF2-40B4-BE49-F238E27FC236}">
                      <a16:creationId xmlns:a16="http://schemas.microsoft.com/office/drawing/2014/main" id="{4B70275C-BCAE-EBF8-9FE1-24EFFF62E08A}"/>
                    </a:ext>
                  </a:extLst>
                </p:cNvPr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7" name="Google Shape;8673;p64">
                <a:extLst>
                  <a:ext uri="{FF2B5EF4-FFF2-40B4-BE49-F238E27FC236}">
                    <a16:creationId xmlns:a16="http://schemas.microsoft.com/office/drawing/2014/main" id="{13A9BDC2-7958-39E1-C91C-561E6A212437}"/>
                  </a:ext>
                </a:extLst>
              </p:cNvPr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12668" name="Google Shape;8674;p64">
                  <a:extLst>
                    <a:ext uri="{FF2B5EF4-FFF2-40B4-BE49-F238E27FC236}">
                      <a16:creationId xmlns:a16="http://schemas.microsoft.com/office/drawing/2014/main" id="{A4881ECF-2419-F17E-A591-1E1CED991AB0}"/>
                    </a:ext>
                  </a:extLst>
                </p:cNvPr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69" name="Google Shape;8675;p64">
                  <a:extLst>
                    <a:ext uri="{FF2B5EF4-FFF2-40B4-BE49-F238E27FC236}">
                      <a16:creationId xmlns:a16="http://schemas.microsoft.com/office/drawing/2014/main" id="{6F08CFB2-6B98-5631-EE27-8125F2E4F2B4}"/>
                    </a:ext>
                  </a:extLst>
                </p:cNvPr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8" name="Google Shape;8676;p64">
                <a:extLst>
                  <a:ext uri="{FF2B5EF4-FFF2-40B4-BE49-F238E27FC236}">
                    <a16:creationId xmlns:a16="http://schemas.microsoft.com/office/drawing/2014/main" id="{0F9B69CA-AA03-8633-CA1B-023621F3F4F4}"/>
                  </a:ext>
                </a:extLst>
              </p:cNvPr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12666" name="Google Shape;8677;p64">
                  <a:extLst>
                    <a:ext uri="{FF2B5EF4-FFF2-40B4-BE49-F238E27FC236}">
                      <a16:creationId xmlns:a16="http://schemas.microsoft.com/office/drawing/2014/main" id="{D95B3A07-2BF6-C284-AA2B-5B7C0B9639A3}"/>
                    </a:ext>
                  </a:extLst>
                </p:cNvPr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67" name="Google Shape;8678;p64">
                  <a:extLst>
                    <a:ext uri="{FF2B5EF4-FFF2-40B4-BE49-F238E27FC236}">
                      <a16:creationId xmlns:a16="http://schemas.microsoft.com/office/drawing/2014/main" id="{2A48EACA-718E-D698-85A5-C7378C679FA8}"/>
                    </a:ext>
                  </a:extLst>
                </p:cNvPr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09" name="Google Shape;8679;p64">
                <a:extLst>
                  <a:ext uri="{FF2B5EF4-FFF2-40B4-BE49-F238E27FC236}">
                    <a16:creationId xmlns:a16="http://schemas.microsoft.com/office/drawing/2014/main" id="{D18BFF37-1AEA-E777-1FCD-0478DCFBBB50}"/>
                  </a:ext>
                </a:extLst>
              </p:cNvPr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12664" name="Google Shape;8680;p64">
                  <a:extLst>
                    <a:ext uri="{FF2B5EF4-FFF2-40B4-BE49-F238E27FC236}">
                      <a16:creationId xmlns:a16="http://schemas.microsoft.com/office/drawing/2014/main" id="{F523D030-F6FC-3E74-D4FA-78ACE49B7780}"/>
                    </a:ext>
                  </a:extLst>
                </p:cNvPr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65" name="Google Shape;8681;p64">
                  <a:extLst>
                    <a:ext uri="{FF2B5EF4-FFF2-40B4-BE49-F238E27FC236}">
                      <a16:creationId xmlns:a16="http://schemas.microsoft.com/office/drawing/2014/main" id="{F5D97C0A-2673-8AA8-BC9B-A1A39B36740C}"/>
                    </a:ext>
                  </a:extLst>
                </p:cNvPr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0" name="Google Shape;8682;p64">
                <a:extLst>
                  <a:ext uri="{FF2B5EF4-FFF2-40B4-BE49-F238E27FC236}">
                    <a16:creationId xmlns:a16="http://schemas.microsoft.com/office/drawing/2014/main" id="{D02F868F-5593-0B9E-427D-52623EA88962}"/>
                  </a:ext>
                </a:extLst>
              </p:cNvPr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12662" name="Google Shape;8683;p64">
                  <a:extLst>
                    <a:ext uri="{FF2B5EF4-FFF2-40B4-BE49-F238E27FC236}">
                      <a16:creationId xmlns:a16="http://schemas.microsoft.com/office/drawing/2014/main" id="{E688755D-2918-0EF6-BA51-70784DB6DE1A}"/>
                    </a:ext>
                  </a:extLst>
                </p:cNvPr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63" name="Google Shape;8684;p64">
                  <a:extLst>
                    <a:ext uri="{FF2B5EF4-FFF2-40B4-BE49-F238E27FC236}">
                      <a16:creationId xmlns:a16="http://schemas.microsoft.com/office/drawing/2014/main" id="{23C578D6-754E-1278-0755-C97B688429F1}"/>
                    </a:ext>
                  </a:extLst>
                </p:cNvPr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1" name="Google Shape;8685;p64">
                <a:extLst>
                  <a:ext uri="{FF2B5EF4-FFF2-40B4-BE49-F238E27FC236}">
                    <a16:creationId xmlns:a16="http://schemas.microsoft.com/office/drawing/2014/main" id="{48C90EB7-4651-0627-A4ED-92F7FDECF176}"/>
                  </a:ext>
                </a:extLst>
              </p:cNvPr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12660" name="Google Shape;8686;p64">
                  <a:extLst>
                    <a:ext uri="{FF2B5EF4-FFF2-40B4-BE49-F238E27FC236}">
                      <a16:creationId xmlns:a16="http://schemas.microsoft.com/office/drawing/2014/main" id="{BCF8AEFB-5F7B-28A8-F4D6-34D1D38042C7}"/>
                    </a:ext>
                  </a:extLst>
                </p:cNvPr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61" name="Google Shape;8687;p64">
                  <a:extLst>
                    <a:ext uri="{FF2B5EF4-FFF2-40B4-BE49-F238E27FC236}">
                      <a16:creationId xmlns:a16="http://schemas.microsoft.com/office/drawing/2014/main" id="{F6257EEE-3264-9A0B-70C4-8728485656FF}"/>
                    </a:ext>
                  </a:extLst>
                </p:cNvPr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2" name="Google Shape;8688;p64">
                <a:extLst>
                  <a:ext uri="{FF2B5EF4-FFF2-40B4-BE49-F238E27FC236}">
                    <a16:creationId xmlns:a16="http://schemas.microsoft.com/office/drawing/2014/main" id="{C7C46DCA-2AB1-CD15-A27C-6857B0CD349B}"/>
                  </a:ext>
                </a:extLst>
              </p:cNvPr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12658" name="Google Shape;8689;p64">
                  <a:extLst>
                    <a:ext uri="{FF2B5EF4-FFF2-40B4-BE49-F238E27FC236}">
                      <a16:creationId xmlns:a16="http://schemas.microsoft.com/office/drawing/2014/main" id="{DD93D302-33C2-625C-A64E-664638417C3D}"/>
                    </a:ext>
                  </a:extLst>
                </p:cNvPr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59" name="Google Shape;8690;p64">
                  <a:extLst>
                    <a:ext uri="{FF2B5EF4-FFF2-40B4-BE49-F238E27FC236}">
                      <a16:creationId xmlns:a16="http://schemas.microsoft.com/office/drawing/2014/main" id="{2C102C0C-A36E-0CFE-4017-955AD23611AB}"/>
                    </a:ext>
                  </a:extLst>
                </p:cNvPr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3" name="Google Shape;8691;p64">
                <a:extLst>
                  <a:ext uri="{FF2B5EF4-FFF2-40B4-BE49-F238E27FC236}">
                    <a16:creationId xmlns:a16="http://schemas.microsoft.com/office/drawing/2014/main" id="{462DDF7A-61F5-470E-77AA-75185E218212}"/>
                  </a:ext>
                </a:extLst>
              </p:cNvPr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12656" name="Google Shape;8692;p64">
                  <a:extLst>
                    <a:ext uri="{FF2B5EF4-FFF2-40B4-BE49-F238E27FC236}">
                      <a16:creationId xmlns:a16="http://schemas.microsoft.com/office/drawing/2014/main" id="{E4762CAC-A8B0-476B-BC72-7AAEC2B2198B}"/>
                    </a:ext>
                  </a:extLst>
                </p:cNvPr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57" name="Google Shape;8693;p64">
                  <a:extLst>
                    <a:ext uri="{FF2B5EF4-FFF2-40B4-BE49-F238E27FC236}">
                      <a16:creationId xmlns:a16="http://schemas.microsoft.com/office/drawing/2014/main" id="{4311BA1A-662B-AD23-FDD0-BD54C4374522}"/>
                    </a:ext>
                  </a:extLst>
                </p:cNvPr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4" name="Google Shape;8694;p64">
                <a:extLst>
                  <a:ext uri="{FF2B5EF4-FFF2-40B4-BE49-F238E27FC236}">
                    <a16:creationId xmlns:a16="http://schemas.microsoft.com/office/drawing/2014/main" id="{2F4258A8-BDF6-819B-2DC3-C72CFED9917F}"/>
                  </a:ext>
                </a:extLst>
              </p:cNvPr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12654" name="Google Shape;8695;p64">
                  <a:extLst>
                    <a:ext uri="{FF2B5EF4-FFF2-40B4-BE49-F238E27FC236}">
                      <a16:creationId xmlns:a16="http://schemas.microsoft.com/office/drawing/2014/main" id="{6B1A2367-E872-6C04-7147-8F4476363DDD}"/>
                    </a:ext>
                  </a:extLst>
                </p:cNvPr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55" name="Google Shape;8696;p64">
                  <a:extLst>
                    <a:ext uri="{FF2B5EF4-FFF2-40B4-BE49-F238E27FC236}">
                      <a16:creationId xmlns:a16="http://schemas.microsoft.com/office/drawing/2014/main" id="{9E32EF74-A4B0-6F9C-58AF-163AD1E647B9}"/>
                    </a:ext>
                  </a:extLst>
                </p:cNvPr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5" name="Google Shape;8697;p64">
                <a:extLst>
                  <a:ext uri="{FF2B5EF4-FFF2-40B4-BE49-F238E27FC236}">
                    <a16:creationId xmlns:a16="http://schemas.microsoft.com/office/drawing/2014/main" id="{AA28EF1A-ED8C-88A1-27EC-61F2AEB2DD51}"/>
                  </a:ext>
                </a:extLst>
              </p:cNvPr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12652" name="Google Shape;8698;p64">
                  <a:extLst>
                    <a:ext uri="{FF2B5EF4-FFF2-40B4-BE49-F238E27FC236}">
                      <a16:creationId xmlns:a16="http://schemas.microsoft.com/office/drawing/2014/main" id="{7166D251-975E-9F10-06FB-790F8A17F58D}"/>
                    </a:ext>
                  </a:extLst>
                </p:cNvPr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53" name="Google Shape;8699;p64">
                  <a:extLst>
                    <a:ext uri="{FF2B5EF4-FFF2-40B4-BE49-F238E27FC236}">
                      <a16:creationId xmlns:a16="http://schemas.microsoft.com/office/drawing/2014/main" id="{126D7BC2-E567-9D19-B4DE-5D7342B1EA20}"/>
                    </a:ext>
                  </a:extLst>
                </p:cNvPr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6" name="Google Shape;8700;p64">
                <a:extLst>
                  <a:ext uri="{FF2B5EF4-FFF2-40B4-BE49-F238E27FC236}">
                    <a16:creationId xmlns:a16="http://schemas.microsoft.com/office/drawing/2014/main" id="{2D8D2E8D-2FBE-6E3C-D171-7C1EBC666A19}"/>
                  </a:ext>
                </a:extLst>
              </p:cNvPr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12650" name="Google Shape;8701;p64">
                  <a:extLst>
                    <a:ext uri="{FF2B5EF4-FFF2-40B4-BE49-F238E27FC236}">
                      <a16:creationId xmlns:a16="http://schemas.microsoft.com/office/drawing/2014/main" id="{E83406BA-BF5E-790C-272C-DA75B67A2D8F}"/>
                    </a:ext>
                  </a:extLst>
                </p:cNvPr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51" name="Google Shape;8702;p64">
                  <a:extLst>
                    <a:ext uri="{FF2B5EF4-FFF2-40B4-BE49-F238E27FC236}">
                      <a16:creationId xmlns:a16="http://schemas.microsoft.com/office/drawing/2014/main" id="{D3F80EA4-67D0-50A4-01E6-7D2520F68004}"/>
                    </a:ext>
                  </a:extLst>
                </p:cNvPr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7" name="Google Shape;8703;p64">
                <a:extLst>
                  <a:ext uri="{FF2B5EF4-FFF2-40B4-BE49-F238E27FC236}">
                    <a16:creationId xmlns:a16="http://schemas.microsoft.com/office/drawing/2014/main" id="{85AFFA6D-3531-0F8E-5B07-31DC507D2E6D}"/>
                  </a:ext>
                </a:extLst>
              </p:cNvPr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12648" name="Google Shape;8704;p64">
                  <a:extLst>
                    <a:ext uri="{FF2B5EF4-FFF2-40B4-BE49-F238E27FC236}">
                      <a16:creationId xmlns:a16="http://schemas.microsoft.com/office/drawing/2014/main" id="{17334521-BFC4-877F-C3A1-6688572E61D4}"/>
                    </a:ext>
                  </a:extLst>
                </p:cNvPr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49" name="Google Shape;8705;p64">
                  <a:extLst>
                    <a:ext uri="{FF2B5EF4-FFF2-40B4-BE49-F238E27FC236}">
                      <a16:creationId xmlns:a16="http://schemas.microsoft.com/office/drawing/2014/main" id="{6D1C7475-DA88-FAE0-B7EE-8D3A31744A46}"/>
                    </a:ext>
                  </a:extLst>
                </p:cNvPr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8" name="Google Shape;8706;p64">
                <a:extLst>
                  <a:ext uri="{FF2B5EF4-FFF2-40B4-BE49-F238E27FC236}">
                    <a16:creationId xmlns:a16="http://schemas.microsoft.com/office/drawing/2014/main" id="{02F79C15-B778-1504-54B6-98C3DB8C02B5}"/>
                  </a:ext>
                </a:extLst>
              </p:cNvPr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12646" name="Google Shape;8707;p64">
                  <a:extLst>
                    <a:ext uri="{FF2B5EF4-FFF2-40B4-BE49-F238E27FC236}">
                      <a16:creationId xmlns:a16="http://schemas.microsoft.com/office/drawing/2014/main" id="{04BD331C-F1D1-786D-900C-DF09F1B28498}"/>
                    </a:ext>
                  </a:extLst>
                </p:cNvPr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47" name="Google Shape;8708;p64">
                  <a:extLst>
                    <a:ext uri="{FF2B5EF4-FFF2-40B4-BE49-F238E27FC236}">
                      <a16:creationId xmlns:a16="http://schemas.microsoft.com/office/drawing/2014/main" id="{E09E5C28-FC86-631A-1CDD-A17FC36C2240}"/>
                    </a:ext>
                  </a:extLst>
                </p:cNvPr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19" name="Google Shape;8709;p64">
                <a:extLst>
                  <a:ext uri="{FF2B5EF4-FFF2-40B4-BE49-F238E27FC236}">
                    <a16:creationId xmlns:a16="http://schemas.microsoft.com/office/drawing/2014/main" id="{12E162AD-1B63-BD8F-BD81-DD382AB2233C}"/>
                  </a:ext>
                </a:extLst>
              </p:cNvPr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12644" name="Google Shape;8710;p64">
                  <a:extLst>
                    <a:ext uri="{FF2B5EF4-FFF2-40B4-BE49-F238E27FC236}">
                      <a16:creationId xmlns:a16="http://schemas.microsoft.com/office/drawing/2014/main" id="{FD6BC79E-6628-E8FA-D3D3-8FD3F7F853AA}"/>
                    </a:ext>
                  </a:extLst>
                </p:cNvPr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45" name="Google Shape;8711;p64">
                  <a:extLst>
                    <a:ext uri="{FF2B5EF4-FFF2-40B4-BE49-F238E27FC236}">
                      <a16:creationId xmlns:a16="http://schemas.microsoft.com/office/drawing/2014/main" id="{0430E0B0-A838-3036-B9A6-DC81496E045D}"/>
                    </a:ext>
                  </a:extLst>
                </p:cNvPr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0" name="Google Shape;8712;p64">
                <a:extLst>
                  <a:ext uri="{FF2B5EF4-FFF2-40B4-BE49-F238E27FC236}">
                    <a16:creationId xmlns:a16="http://schemas.microsoft.com/office/drawing/2014/main" id="{028B4B53-7772-2106-5156-E7DB21148B84}"/>
                  </a:ext>
                </a:extLst>
              </p:cNvPr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12642" name="Google Shape;8713;p64">
                  <a:extLst>
                    <a:ext uri="{FF2B5EF4-FFF2-40B4-BE49-F238E27FC236}">
                      <a16:creationId xmlns:a16="http://schemas.microsoft.com/office/drawing/2014/main" id="{B02D799A-8F5D-8F66-B11B-D93AE5824B85}"/>
                    </a:ext>
                  </a:extLst>
                </p:cNvPr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43" name="Google Shape;8714;p64">
                  <a:extLst>
                    <a:ext uri="{FF2B5EF4-FFF2-40B4-BE49-F238E27FC236}">
                      <a16:creationId xmlns:a16="http://schemas.microsoft.com/office/drawing/2014/main" id="{F0C18D01-D008-C3E7-2FA4-97A4FD6150D6}"/>
                    </a:ext>
                  </a:extLst>
                </p:cNvPr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1" name="Google Shape;8715;p64">
                <a:extLst>
                  <a:ext uri="{FF2B5EF4-FFF2-40B4-BE49-F238E27FC236}">
                    <a16:creationId xmlns:a16="http://schemas.microsoft.com/office/drawing/2014/main" id="{4DB50502-2209-612E-BC45-32BA7200F993}"/>
                  </a:ext>
                </a:extLst>
              </p:cNvPr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12640" name="Google Shape;8716;p64">
                  <a:extLst>
                    <a:ext uri="{FF2B5EF4-FFF2-40B4-BE49-F238E27FC236}">
                      <a16:creationId xmlns:a16="http://schemas.microsoft.com/office/drawing/2014/main" id="{03FFA1DE-869D-D2CF-3972-A2739A6A85AC}"/>
                    </a:ext>
                  </a:extLst>
                </p:cNvPr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41" name="Google Shape;8717;p64">
                  <a:extLst>
                    <a:ext uri="{FF2B5EF4-FFF2-40B4-BE49-F238E27FC236}">
                      <a16:creationId xmlns:a16="http://schemas.microsoft.com/office/drawing/2014/main" id="{F96E9AB6-86BD-8B62-D308-BFF60C4B4781}"/>
                    </a:ext>
                  </a:extLst>
                </p:cNvPr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2" name="Google Shape;8718;p64">
                <a:extLst>
                  <a:ext uri="{FF2B5EF4-FFF2-40B4-BE49-F238E27FC236}">
                    <a16:creationId xmlns:a16="http://schemas.microsoft.com/office/drawing/2014/main" id="{F76044EF-B878-E99C-A89C-A749FB9C25AB}"/>
                  </a:ext>
                </a:extLst>
              </p:cNvPr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12638" name="Google Shape;8719;p64">
                  <a:extLst>
                    <a:ext uri="{FF2B5EF4-FFF2-40B4-BE49-F238E27FC236}">
                      <a16:creationId xmlns:a16="http://schemas.microsoft.com/office/drawing/2014/main" id="{47F635B6-8A75-4727-60AF-DE4E2EF73159}"/>
                    </a:ext>
                  </a:extLst>
                </p:cNvPr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39" name="Google Shape;8720;p64">
                  <a:extLst>
                    <a:ext uri="{FF2B5EF4-FFF2-40B4-BE49-F238E27FC236}">
                      <a16:creationId xmlns:a16="http://schemas.microsoft.com/office/drawing/2014/main" id="{3A051C38-C5CF-818E-DD03-F28B3C730C55}"/>
                    </a:ext>
                  </a:extLst>
                </p:cNvPr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3" name="Google Shape;8721;p64">
                <a:extLst>
                  <a:ext uri="{FF2B5EF4-FFF2-40B4-BE49-F238E27FC236}">
                    <a16:creationId xmlns:a16="http://schemas.microsoft.com/office/drawing/2014/main" id="{31E7E048-8580-8316-DF02-83ECB5F90B8A}"/>
                  </a:ext>
                </a:extLst>
              </p:cNvPr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12636" name="Google Shape;8722;p64">
                  <a:extLst>
                    <a:ext uri="{FF2B5EF4-FFF2-40B4-BE49-F238E27FC236}">
                      <a16:creationId xmlns:a16="http://schemas.microsoft.com/office/drawing/2014/main" id="{8A39F80D-E75D-509C-6308-7096D648FFDA}"/>
                    </a:ext>
                  </a:extLst>
                </p:cNvPr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37" name="Google Shape;8723;p64">
                  <a:extLst>
                    <a:ext uri="{FF2B5EF4-FFF2-40B4-BE49-F238E27FC236}">
                      <a16:creationId xmlns:a16="http://schemas.microsoft.com/office/drawing/2014/main" id="{5472620B-3CEA-4A85-47B7-37E3A63CEFFA}"/>
                    </a:ext>
                  </a:extLst>
                </p:cNvPr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4" name="Google Shape;8724;p64">
                <a:extLst>
                  <a:ext uri="{FF2B5EF4-FFF2-40B4-BE49-F238E27FC236}">
                    <a16:creationId xmlns:a16="http://schemas.microsoft.com/office/drawing/2014/main" id="{3D564597-E5E2-30B8-1720-4AA2A790BC9C}"/>
                  </a:ext>
                </a:extLst>
              </p:cNvPr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12634" name="Google Shape;8725;p64">
                  <a:extLst>
                    <a:ext uri="{FF2B5EF4-FFF2-40B4-BE49-F238E27FC236}">
                      <a16:creationId xmlns:a16="http://schemas.microsoft.com/office/drawing/2014/main" id="{542C1F55-AFCF-84A6-3AFE-C6F805FBC810}"/>
                    </a:ext>
                  </a:extLst>
                </p:cNvPr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35" name="Google Shape;8726;p64">
                  <a:extLst>
                    <a:ext uri="{FF2B5EF4-FFF2-40B4-BE49-F238E27FC236}">
                      <a16:creationId xmlns:a16="http://schemas.microsoft.com/office/drawing/2014/main" id="{C7AE602E-AE69-3E23-473F-650F3BFF179F}"/>
                    </a:ext>
                  </a:extLst>
                </p:cNvPr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5" name="Google Shape;8727;p64">
                <a:extLst>
                  <a:ext uri="{FF2B5EF4-FFF2-40B4-BE49-F238E27FC236}">
                    <a16:creationId xmlns:a16="http://schemas.microsoft.com/office/drawing/2014/main" id="{0ECEC4B6-4EE2-2F58-FAED-8785C1B336B1}"/>
                  </a:ext>
                </a:extLst>
              </p:cNvPr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12632" name="Google Shape;8728;p64">
                  <a:extLst>
                    <a:ext uri="{FF2B5EF4-FFF2-40B4-BE49-F238E27FC236}">
                      <a16:creationId xmlns:a16="http://schemas.microsoft.com/office/drawing/2014/main" id="{A504DCA2-CAC5-1929-8609-0A880AE398BC}"/>
                    </a:ext>
                  </a:extLst>
                </p:cNvPr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33" name="Google Shape;8729;p64">
                  <a:extLst>
                    <a:ext uri="{FF2B5EF4-FFF2-40B4-BE49-F238E27FC236}">
                      <a16:creationId xmlns:a16="http://schemas.microsoft.com/office/drawing/2014/main" id="{B5168495-521B-81AB-8406-EEE57CC87F03}"/>
                    </a:ext>
                  </a:extLst>
                </p:cNvPr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6" name="Google Shape;8730;p64">
                <a:extLst>
                  <a:ext uri="{FF2B5EF4-FFF2-40B4-BE49-F238E27FC236}">
                    <a16:creationId xmlns:a16="http://schemas.microsoft.com/office/drawing/2014/main" id="{41043B93-BF91-3253-8052-28F6F660F7A3}"/>
                  </a:ext>
                </a:extLst>
              </p:cNvPr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12630" name="Google Shape;8731;p64">
                  <a:extLst>
                    <a:ext uri="{FF2B5EF4-FFF2-40B4-BE49-F238E27FC236}">
                      <a16:creationId xmlns:a16="http://schemas.microsoft.com/office/drawing/2014/main" id="{36E279DB-9ACA-D731-B084-9048FC8608DC}"/>
                    </a:ext>
                  </a:extLst>
                </p:cNvPr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31" name="Google Shape;8732;p64">
                  <a:extLst>
                    <a:ext uri="{FF2B5EF4-FFF2-40B4-BE49-F238E27FC236}">
                      <a16:creationId xmlns:a16="http://schemas.microsoft.com/office/drawing/2014/main" id="{3518363D-4207-9914-5DB0-5F99B5DE7BF0}"/>
                    </a:ext>
                  </a:extLst>
                </p:cNvPr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7" name="Google Shape;8733;p64">
                <a:extLst>
                  <a:ext uri="{FF2B5EF4-FFF2-40B4-BE49-F238E27FC236}">
                    <a16:creationId xmlns:a16="http://schemas.microsoft.com/office/drawing/2014/main" id="{525B1E68-0192-AAB9-930F-445C988366A3}"/>
                  </a:ext>
                </a:extLst>
              </p:cNvPr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12628" name="Google Shape;8734;p64">
                  <a:extLst>
                    <a:ext uri="{FF2B5EF4-FFF2-40B4-BE49-F238E27FC236}">
                      <a16:creationId xmlns:a16="http://schemas.microsoft.com/office/drawing/2014/main" id="{0F48259B-1AFA-5777-89CC-C9F3529F6919}"/>
                    </a:ext>
                  </a:extLst>
                </p:cNvPr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29" name="Google Shape;8735;p64">
                  <a:extLst>
                    <a:ext uri="{FF2B5EF4-FFF2-40B4-BE49-F238E27FC236}">
                      <a16:creationId xmlns:a16="http://schemas.microsoft.com/office/drawing/2014/main" id="{5F77B205-2FB0-590A-1DC6-3BFF839908E3}"/>
                    </a:ext>
                  </a:extLst>
                </p:cNvPr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8" name="Google Shape;8736;p64">
                <a:extLst>
                  <a:ext uri="{FF2B5EF4-FFF2-40B4-BE49-F238E27FC236}">
                    <a16:creationId xmlns:a16="http://schemas.microsoft.com/office/drawing/2014/main" id="{66F20FDF-0453-62A3-31AB-976BDD187FF9}"/>
                  </a:ext>
                </a:extLst>
              </p:cNvPr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12626" name="Google Shape;8737;p64">
                  <a:extLst>
                    <a:ext uri="{FF2B5EF4-FFF2-40B4-BE49-F238E27FC236}">
                      <a16:creationId xmlns:a16="http://schemas.microsoft.com/office/drawing/2014/main" id="{4A0D0CFC-B01F-B293-B65E-786BA81BDC26}"/>
                    </a:ext>
                  </a:extLst>
                </p:cNvPr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27" name="Google Shape;8738;p64">
                  <a:extLst>
                    <a:ext uri="{FF2B5EF4-FFF2-40B4-BE49-F238E27FC236}">
                      <a16:creationId xmlns:a16="http://schemas.microsoft.com/office/drawing/2014/main" id="{5333B263-6B29-E328-924A-424C3C6375C8}"/>
                    </a:ext>
                  </a:extLst>
                </p:cNvPr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29" name="Google Shape;8739;p64">
                <a:extLst>
                  <a:ext uri="{FF2B5EF4-FFF2-40B4-BE49-F238E27FC236}">
                    <a16:creationId xmlns:a16="http://schemas.microsoft.com/office/drawing/2014/main" id="{34AF3ACB-9693-8BCB-F92C-CDC7E4E8CFFD}"/>
                  </a:ext>
                </a:extLst>
              </p:cNvPr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12624" name="Google Shape;8740;p64">
                  <a:extLst>
                    <a:ext uri="{FF2B5EF4-FFF2-40B4-BE49-F238E27FC236}">
                      <a16:creationId xmlns:a16="http://schemas.microsoft.com/office/drawing/2014/main" id="{A180E5CD-AE79-3AAB-B48C-2C16A3E944A6}"/>
                    </a:ext>
                  </a:extLst>
                </p:cNvPr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25" name="Google Shape;8741;p64">
                  <a:extLst>
                    <a:ext uri="{FF2B5EF4-FFF2-40B4-BE49-F238E27FC236}">
                      <a16:creationId xmlns:a16="http://schemas.microsoft.com/office/drawing/2014/main" id="{F2A11825-B8C6-3521-B3F8-6417A117068E}"/>
                    </a:ext>
                  </a:extLst>
                </p:cNvPr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0" name="Google Shape;8742;p64">
                <a:extLst>
                  <a:ext uri="{FF2B5EF4-FFF2-40B4-BE49-F238E27FC236}">
                    <a16:creationId xmlns:a16="http://schemas.microsoft.com/office/drawing/2014/main" id="{4BD7C79E-2F64-94D9-7ECC-512C2C049AD1}"/>
                  </a:ext>
                </a:extLst>
              </p:cNvPr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12622" name="Google Shape;8743;p64">
                  <a:extLst>
                    <a:ext uri="{FF2B5EF4-FFF2-40B4-BE49-F238E27FC236}">
                      <a16:creationId xmlns:a16="http://schemas.microsoft.com/office/drawing/2014/main" id="{63B2044A-DF08-AF0A-2B00-998AF725C426}"/>
                    </a:ext>
                  </a:extLst>
                </p:cNvPr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23" name="Google Shape;8744;p64">
                  <a:extLst>
                    <a:ext uri="{FF2B5EF4-FFF2-40B4-BE49-F238E27FC236}">
                      <a16:creationId xmlns:a16="http://schemas.microsoft.com/office/drawing/2014/main" id="{902B3A94-C8B1-727C-256F-89E52D25880E}"/>
                    </a:ext>
                  </a:extLst>
                </p:cNvPr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1" name="Google Shape;8745;p64">
                <a:extLst>
                  <a:ext uri="{FF2B5EF4-FFF2-40B4-BE49-F238E27FC236}">
                    <a16:creationId xmlns:a16="http://schemas.microsoft.com/office/drawing/2014/main" id="{98DB0B5E-38AF-ADD4-6E53-A8D1BF9CD23B}"/>
                  </a:ext>
                </a:extLst>
              </p:cNvPr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12620" name="Google Shape;8746;p64">
                  <a:extLst>
                    <a:ext uri="{FF2B5EF4-FFF2-40B4-BE49-F238E27FC236}">
                      <a16:creationId xmlns:a16="http://schemas.microsoft.com/office/drawing/2014/main" id="{7D1BC876-6EA3-29DD-6193-43A401C5B9EB}"/>
                    </a:ext>
                  </a:extLst>
                </p:cNvPr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21" name="Google Shape;8747;p64">
                  <a:extLst>
                    <a:ext uri="{FF2B5EF4-FFF2-40B4-BE49-F238E27FC236}">
                      <a16:creationId xmlns:a16="http://schemas.microsoft.com/office/drawing/2014/main" id="{C8D5F2FA-0F7B-6694-259F-DE42B0824AB6}"/>
                    </a:ext>
                  </a:extLst>
                </p:cNvPr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2" name="Google Shape;8748;p64">
                <a:extLst>
                  <a:ext uri="{FF2B5EF4-FFF2-40B4-BE49-F238E27FC236}">
                    <a16:creationId xmlns:a16="http://schemas.microsoft.com/office/drawing/2014/main" id="{0472B2B6-FE10-89DE-B266-ABF2AFB6C183}"/>
                  </a:ext>
                </a:extLst>
              </p:cNvPr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12618" name="Google Shape;8749;p64">
                  <a:extLst>
                    <a:ext uri="{FF2B5EF4-FFF2-40B4-BE49-F238E27FC236}">
                      <a16:creationId xmlns:a16="http://schemas.microsoft.com/office/drawing/2014/main" id="{52E8FC54-F1AA-F535-EC25-94CAE9787951}"/>
                    </a:ext>
                  </a:extLst>
                </p:cNvPr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19" name="Google Shape;8750;p64">
                  <a:extLst>
                    <a:ext uri="{FF2B5EF4-FFF2-40B4-BE49-F238E27FC236}">
                      <a16:creationId xmlns:a16="http://schemas.microsoft.com/office/drawing/2014/main" id="{3738F2C1-8218-5807-B44A-F3DE2C39F48D}"/>
                    </a:ext>
                  </a:extLst>
                </p:cNvPr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3" name="Google Shape;8751;p64">
                <a:extLst>
                  <a:ext uri="{FF2B5EF4-FFF2-40B4-BE49-F238E27FC236}">
                    <a16:creationId xmlns:a16="http://schemas.microsoft.com/office/drawing/2014/main" id="{48B936BF-D0E8-FAB9-86BC-E4025D144D49}"/>
                  </a:ext>
                </a:extLst>
              </p:cNvPr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12616" name="Google Shape;8752;p64">
                  <a:extLst>
                    <a:ext uri="{FF2B5EF4-FFF2-40B4-BE49-F238E27FC236}">
                      <a16:creationId xmlns:a16="http://schemas.microsoft.com/office/drawing/2014/main" id="{56186B42-5DD9-DE7F-E4D4-0BA5DF042952}"/>
                    </a:ext>
                  </a:extLst>
                </p:cNvPr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17" name="Google Shape;8753;p64">
                  <a:extLst>
                    <a:ext uri="{FF2B5EF4-FFF2-40B4-BE49-F238E27FC236}">
                      <a16:creationId xmlns:a16="http://schemas.microsoft.com/office/drawing/2014/main" id="{039F9978-5FF6-D630-D8D9-87AC16F16D4E}"/>
                    </a:ext>
                  </a:extLst>
                </p:cNvPr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4" name="Google Shape;8754;p64">
                <a:extLst>
                  <a:ext uri="{FF2B5EF4-FFF2-40B4-BE49-F238E27FC236}">
                    <a16:creationId xmlns:a16="http://schemas.microsoft.com/office/drawing/2014/main" id="{7E06BA8B-D919-58B4-DE7C-3CD418932817}"/>
                  </a:ext>
                </a:extLst>
              </p:cNvPr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12614" name="Google Shape;8755;p64">
                  <a:extLst>
                    <a:ext uri="{FF2B5EF4-FFF2-40B4-BE49-F238E27FC236}">
                      <a16:creationId xmlns:a16="http://schemas.microsoft.com/office/drawing/2014/main" id="{EC6130C7-F852-F35F-9A8A-727C3BE332CE}"/>
                    </a:ext>
                  </a:extLst>
                </p:cNvPr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15" name="Google Shape;8756;p64">
                  <a:extLst>
                    <a:ext uri="{FF2B5EF4-FFF2-40B4-BE49-F238E27FC236}">
                      <a16:creationId xmlns:a16="http://schemas.microsoft.com/office/drawing/2014/main" id="{B825E7AD-360E-F14D-3287-4ECA04B8FD27}"/>
                    </a:ext>
                  </a:extLst>
                </p:cNvPr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5" name="Google Shape;8757;p64">
                <a:extLst>
                  <a:ext uri="{FF2B5EF4-FFF2-40B4-BE49-F238E27FC236}">
                    <a16:creationId xmlns:a16="http://schemas.microsoft.com/office/drawing/2014/main" id="{1ECE898E-9A79-190C-D8C9-70CC438747E1}"/>
                  </a:ext>
                </a:extLst>
              </p:cNvPr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12612" name="Google Shape;8758;p64">
                  <a:extLst>
                    <a:ext uri="{FF2B5EF4-FFF2-40B4-BE49-F238E27FC236}">
                      <a16:creationId xmlns:a16="http://schemas.microsoft.com/office/drawing/2014/main" id="{4F2E236E-D177-EABF-8B36-14159E2308CB}"/>
                    </a:ext>
                  </a:extLst>
                </p:cNvPr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13" name="Google Shape;8759;p64">
                  <a:extLst>
                    <a:ext uri="{FF2B5EF4-FFF2-40B4-BE49-F238E27FC236}">
                      <a16:creationId xmlns:a16="http://schemas.microsoft.com/office/drawing/2014/main" id="{ACF4FD4D-29BE-84E4-F818-21FCCC2A1E0C}"/>
                    </a:ext>
                  </a:extLst>
                </p:cNvPr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6" name="Google Shape;8760;p64">
                <a:extLst>
                  <a:ext uri="{FF2B5EF4-FFF2-40B4-BE49-F238E27FC236}">
                    <a16:creationId xmlns:a16="http://schemas.microsoft.com/office/drawing/2014/main" id="{953235B9-CBFA-9AF1-5866-FE4AC9B90F4F}"/>
                  </a:ext>
                </a:extLst>
              </p:cNvPr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12610" name="Google Shape;8761;p64">
                  <a:extLst>
                    <a:ext uri="{FF2B5EF4-FFF2-40B4-BE49-F238E27FC236}">
                      <a16:creationId xmlns:a16="http://schemas.microsoft.com/office/drawing/2014/main" id="{14C5A553-021C-5D48-191E-F348316B4585}"/>
                    </a:ext>
                  </a:extLst>
                </p:cNvPr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11" name="Google Shape;8762;p64">
                  <a:extLst>
                    <a:ext uri="{FF2B5EF4-FFF2-40B4-BE49-F238E27FC236}">
                      <a16:creationId xmlns:a16="http://schemas.microsoft.com/office/drawing/2014/main" id="{36AD9198-E956-C562-7544-40D7F1F4DD2D}"/>
                    </a:ext>
                  </a:extLst>
                </p:cNvPr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7" name="Google Shape;8763;p64">
                <a:extLst>
                  <a:ext uri="{FF2B5EF4-FFF2-40B4-BE49-F238E27FC236}">
                    <a16:creationId xmlns:a16="http://schemas.microsoft.com/office/drawing/2014/main" id="{48B5D403-08E2-E494-A27D-2FFD528EF617}"/>
                  </a:ext>
                </a:extLst>
              </p:cNvPr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12608" name="Google Shape;8764;p64">
                  <a:extLst>
                    <a:ext uri="{FF2B5EF4-FFF2-40B4-BE49-F238E27FC236}">
                      <a16:creationId xmlns:a16="http://schemas.microsoft.com/office/drawing/2014/main" id="{3D1A11A1-95E7-30EF-ACA6-D9FCBFBB7250}"/>
                    </a:ext>
                  </a:extLst>
                </p:cNvPr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09" name="Google Shape;8765;p64">
                  <a:extLst>
                    <a:ext uri="{FF2B5EF4-FFF2-40B4-BE49-F238E27FC236}">
                      <a16:creationId xmlns:a16="http://schemas.microsoft.com/office/drawing/2014/main" id="{DAB9B74F-1A81-F316-2628-57DA215715CC}"/>
                    </a:ext>
                  </a:extLst>
                </p:cNvPr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8" name="Google Shape;8766;p64">
                <a:extLst>
                  <a:ext uri="{FF2B5EF4-FFF2-40B4-BE49-F238E27FC236}">
                    <a16:creationId xmlns:a16="http://schemas.microsoft.com/office/drawing/2014/main" id="{82DEA97E-0E8B-EE27-E905-F2302E28994C}"/>
                  </a:ext>
                </a:extLst>
              </p:cNvPr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12606" name="Google Shape;8767;p64">
                  <a:extLst>
                    <a:ext uri="{FF2B5EF4-FFF2-40B4-BE49-F238E27FC236}">
                      <a16:creationId xmlns:a16="http://schemas.microsoft.com/office/drawing/2014/main" id="{BB93A0A4-41C1-BAE7-3E8E-C54FA854319E}"/>
                    </a:ext>
                  </a:extLst>
                </p:cNvPr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07" name="Google Shape;8768;p64">
                  <a:extLst>
                    <a:ext uri="{FF2B5EF4-FFF2-40B4-BE49-F238E27FC236}">
                      <a16:creationId xmlns:a16="http://schemas.microsoft.com/office/drawing/2014/main" id="{197F7E61-CA2D-29B9-C8DA-9B7433B4FAB0}"/>
                    </a:ext>
                  </a:extLst>
                </p:cNvPr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39" name="Google Shape;8769;p64">
                <a:extLst>
                  <a:ext uri="{FF2B5EF4-FFF2-40B4-BE49-F238E27FC236}">
                    <a16:creationId xmlns:a16="http://schemas.microsoft.com/office/drawing/2014/main" id="{D12227D6-44AA-047E-E5D1-CBD9CD7768D9}"/>
                  </a:ext>
                </a:extLst>
              </p:cNvPr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12604" name="Google Shape;8770;p64">
                  <a:extLst>
                    <a:ext uri="{FF2B5EF4-FFF2-40B4-BE49-F238E27FC236}">
                      <a16:creationId xmlns:a16="http://schemas.microsoft.com/office/drawing/2014/main" id="{262E4D0F-C4AF-10EF-DC83-8BCFE91CAB8A}"/>
                    </a:ext>
                  </a:extLst>
                </p:cNvPr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05" name="Google Shape;8771;p64">
                  <a:extLst>
                    <a:ext uri="{FF2B5EF4-FFF2-40B4-BE49-F238E27FC236}">
                      <a16:creationId xmlns:a16="http://schemas.microsoft.com/office/drawing/2014/main" id="{A9036D94-C18D-6DC4-2E35-AAB0548A9F5D}"/>
                    </a:ext>
                  </a:extLst>
                </p:cNvPr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0" name="Google Shape;8772;p64">
                <a:extLst>
                  <a:ext uri="{FF2B5EF4-FFF2-40B4-BE49-F238E27FC236}">
                    <a16:creationId xmlns:a16="http://schemas.microsoft.com/office/drawing/2014/main" id="{78DADAD8-E473-A2B2-CFD3-E03CA9DAD487}"/>
                  </a:ext>
                </a:extLst>
              </p:cNvPr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12602" name="Google Shape;8773;p64">
                  <a:extLst>
                    <a:ext uri="{FF2B5EF4-FFF2-40B4-BE49-F238E27FC236}">
                      <a16:creationId xmlns:a16="http://schemas.microsoft.com/office/drawing/2014/main" id="{56F46716-ED94-5D16-D7D8-03546C95B614}"/>
                    </a:ext>
                  </a:extLst>
                </p:cNvPr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03" name="Google Shape;8774;p64">
                  <a:extLst>
                    <a:ext uri="{FF2B5EF4-FFF2-40B4-BE49-F238E27FC236}">
                      <a16:creationId xmlns:a16="http://schemas.microsoft.com/office/drawing/2014/main" id="{60586502-F0D5-2823-06F7-259630495FA2}"/>
                    </a:ext>
                  </a:extLst>
                </p:cNvPr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1" name="Google Shape;8775;p64">
                <a:extLst>
                  <a:ext uri="{FF2B5EF4-FFF2-40B4-BE49-F238E27FC236}">
                    <a16:creationId xmlns:a16="http://schemas.microsoft.com/office/drawing/2014/main" id="{DD7DC4CD-0780-EB01-20E2-5F3B7F8D54BF}"/>
                  </a:ext>
                </a:extLst>
              </p:cNvPr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12600" name="Google Shape;8776;p64">
                  <a:extLst>
                    <a:ext uri="{FF2B5EF4-FFF2-40B4-BE49-F238E27FC236}">
                      <a16:creationId xmlns:a16="http://schemas.microsoft.com/office/drawing/2014/main" id="{9B5670BA-2C37-C208-0C54-FBCBC838164D}"/>
                    </a:ext>
                  </a:extLst>
                </p:cNvPr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601" name="Google Shape;8777;p64">
                  <a:extLst>
                    <a:ext uri="{FF2B5EF4-FFF2-40B4-BE49-F238E27FC236}">
                      <a16:creationId xmlns:a16="http://schemas.microsoft.com/office/drawing/2014/main" id="{768F0AAE-539F-0BA0-61B5-E01E983B96E2}"/>
                    </a:ext>
                  </a:extLst>
                </p:cNvPr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2" name="Google Shape;8778;p64">
                <a:extLst>
                  <a:ext uri="{FF2B5EF4-FFF2-40B4-BE49-F238E27FC236}">
                    <a16:creationId xmlns:a16="http://schemas.microsoft.com/office/drawing/2014/main" id="{7DA8C502-7BAF-10D1-92F3-B8C7ED10A462}"/>
                  </a:ext>
                </a:extLst>
              </p:cNvPr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12598" name="Google Shape;8779;p64">
                  <a:extLst>
                    <a:ext uri="{FF2B5EF4-FFF2-40B4-BE49-F238E27FC236}">
                      <a16:creationId xmlns:a16="http://schemas.microsoft.com/office/drawing/2014/main" id="{013B14F5-B2A2-4C2B-A434-D46FB32F94D8}"/>
                    </a:ext>
                  </a:extLst>
                </p:cNvPr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99" name="Google Shape;8780;p64">
                  <a:extLst>
                    <a:ext uri="{FF2B5EF4-FFF2-40B4-BE49-F238E27FC236}">
                      <a16:creationId xmlns:a16="http://schemas.microsoft.com/office/drawing/2014/main" id="{CF0C1ABD-8BD7-7D8A-214E-2CDF393F0DF7}"/>
                    </a:ext>
                  </a:extLst>
                </p:cNvPr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3" name="Google Shape;8781;p64">
                <a:extLst>
                  <a:ext uri="{FF2B5EF4-FFF2-40B4-BE49-F238E27FC236}">
                    <a16:creationId xmlns:a16="http://schemas.microsoft.com/office/drawing/2014/main" id="{2857067B-614C-22F7-F0CA-D927E014C67E}"/>
                  </a:ext>
                </a:extLst>
              </p:cNvPr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12596" name="Google Shape;8782;p64">
                  <a:extLst>
                    <a:ext uri="{FF2B5EF4-FFF2-40B4-BE49-F238E27FC236}">
                      <a16:creationId xmlns:a16="http://schemas.microsoft.com/office/drawing/2014/main" id="{A20BAC34-8B9B-48CC-D26D-5595D64DFBD7}"/>
                    </a:ext>
                  </a:extLst>
                </p:cNvPr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97" name="Google Shape;8783;p64">
                  <a:extLst>
                    <a:ext uri="{FF2B5EF4-FFF2-40B4-BE49-F238E27FC236}">
                      <a16:creationId xmlns:a16="http://schemas.microsoft.com/office/drawing/2014/main" id="{37E8A03B-FE39-D2B8-81D1-6E93ABF596A8}"/>
                    </a:ext>
                  </a:extLst>
                </p:cNvPr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4" name="Google Shape;8784;p64">
                <a:extLst>
                  <a:ext uri="{FF2B5EF4-FFF2-40B4-BE49-F238E27FC236}">
                    <a16:creationId xmlns:a16="http://schemas.microsoft.com/office/drawing/2014/main" id="{CD828A8A-9D86-604D-E7EE-2D5165A18482}"/>
                  </a:ext>
                </a:extLst>
              </p:cNvPr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12594" name="Google Shape;8785;p64">
                  <a:extLst>
                    <a:ext uri="{FF2B5EF4-FFF2-40B4-BE49-F238E27FC236}">
                      <a16:creationId xmlns:a16="http://schemas.microsoft.com/office/drawing/2014/main" id="{19F736BC-D98F-DFFA-4495-513A86EFD15F}"/>
                    </a:ext>
                  </a:extLst>
                </p:cNvPr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95" name="Google Shape;8786;p64">
                  <a:extLst>
                    <a:ext uri="{FF2B5EF4-FFF2-40B4-BE49-F238E27FC236}">
                      <a16:creationId xmlns:a16="http://schemas.microsoft.com/office/drawing/2014/main" id="{6C91DAE8-7DDE-C8E7-BA31-7547A33EEEC1}"/>
                    </a:ext>
                  </a:extLst>
                </p:cNvPr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5" name="Google Shape;8787;p64">
                <a:extLst>
                  <a:ext uri="{FF2B5EF4-FFF2-40B4-BE49-F238E27FC236}">
                    <a16:creationId xmlns:a16="http://schemas.microsoft.com/office/drawing/2014/main" id="{EE5A860E-9F3C-CDF5-FEAA-04FBED1AE9F5}"/>
                  </a:ext>
                </a:extLst>
              </p:cNvPr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12592" name="Google Shape;8788;p64">
                  <a:extLst>
                    <a:ext uri="{FF2B5EF4-FFF2-40B4-BE49-F238E27FC236}">
                      <a16:creationId xmlns:a16="http://schemas.microsoft.com/office/drawing/2014/main" id="{3060A9D6-3FBF-D68C-DD89-78D93DE15516}"/>
                    </a:ext>
                  </a:extLst>
                </p:cNvPr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93" name="Google Shape;8789;p64">
                  <a:extLst>
                    <a:ext uri="{FF2B5EF4-FFF2-40B4-BE49-F238E27FC236}">
                      <a16:creationId xmlns:a16="http://schemas.microsoft.com/office/drawing/2014/main" id="{38F313C2-3FBB-5D8A-3EB2-9F650AF0D806}"/>
                    </a:ext>
                  </a:extLst>
                </p:cNvPr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6" name="Google Shape;8790;p64">
                <a:extLst>
                  <a:ext uri="{FF2B5EF4-FFF2-40B4-BE49-F238E27FC236}">
                    <a16:creationId xmlns:a16="http://schemas.microsoft.com/office/drawing/2014/main" id="{D6C4156A-B7B1-3A22-A8B2-137F66037948}"/>
                  </a:ext>
                </a:extLst>
              </p:cNvPr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12590" name="Google Shape;8791;p64">
                  <a:extLst>
                    <a:ext uri="{FF2B5EF4-FFF2-40B4-BE49-F238E27FC236}">
                      <a16:creationId xmlns:a16="http://schemas.microsoft.com/office/drawing/2014/main" id="{4F1CFEA4-A28F-2BBA-DFE4-7687E4D01BDB}"/>
                    </a:ext>
                  </a:extLst>
                </p:cNvPr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91" name="Google Shape;8792;p64">
                  <a:extLst>
                    <a:ext uri="{FF2B5EF4-FFF2-40B4-BE49-F238E27FC236}">
                      <a16:creationId xmlns:a16="http://schemas.microsoft.com/office/drawing/2014/main" id="{76E0E1B6-3E67-CFC1-E635-4E8F06DFF679}"/>
                    </a:ext>
                  </a:extLst>
                </p:cNvPr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7" name="Google Shape;8793;p64">
                <a:extLst>
                  <a:ext uri="{FF2B5EF4-FFF2-40B4-BE49-F238E27FC236}">
                    <a16:creationId xmlns:a16="http://schemas.microsoft.com/office/drawing/2014/main" id="{E7EF3B7E-CA4A-405D-F5C9-1EAD69CFF140}"/>
                  </a:ext>
                </a:extLst>
              </p:cNvPr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12588" name="Google Shape;8794;p64">
                  <a:extLst>
                    <a:ext uri="{FF2B5EF4-FFF2-40B4-BE49-F238E27FC236}">
                      <a16:creationId xmlns:a16="http://schemas.microsoft.com/office/drawing/2014/main" id="{917DF84E-E81E-E425-5D82-67C4E4CB6BE1}"/>
                    </a:ext>
                  </a:extLst>
                </p:cNvPr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89" name="Google Shape;8795;p64">
                  <a:extLst>
                    <a:ext uri="{FF2B5EF4-FFF2-40B4-BE49-F238E27FC236}">
                      <a16:creationId xmlns:a16="http://schemas.microsoft.com/office/drawing/2014/main" id="{A987A390-26B2-8754-2EB3-1224CEDE74E4}"/>
                    </a:ext>
                  </a:extLst>
                </p:cNvPr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8" name="Google Shape;8796;p64">
                <a:extLst>
                  <a:ext uri="{FF2B5EF4-FFF2-40B4-BE49-F238E27FC236}">
                    <a16:creationId xmlns:a16="http://schemas.microsoft.com/office/drawing/2014/main" id="{505ECB38-2E7D-10AE-F93B-A9157514934D}"/>
                  </a:ext>
                </a:extLst>
              </p:cNvPr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12586" name="Google Shape;8797;p64">
                  <a:extLst>
                    <a:ext uri="{FF2B5EF4-FFF2-40B4-BE49-F238E27FC236}">
                      <a16:creationId xmlns:a16="http://schemas.microsoft.com/office/drawing/2014/main" id="{19822D68-9C5D-D01D-5B0E-167F3DFE0272}"/>
                    </a:ext>
                  </a:extLst>
                </p:cNvPr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87" name="Google Shape;8798;p64">
                  <a:extLst>
                    <a:ext uri="{FF2B5EF4-FFF2-40B4-BE49-F238E27FC236}">
                      <a16:creationId xmlns:a16="http://schemas.microsoft.com/office/drawing/2014/main" id="{68E62AB4-8D70-1799-EF15-4236009B728B}"/>
                    </a:ext>
                  </a:extLst>
                </p:cNvPr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49" name="Google Shape;8799;p64">
                <a:extLst>
                  <a:ext uri="{FF2B5EF4-FFF2-40B4-BE49-F238E27FC236}">
                    <a16:creationId xmlns:a16="http://schemas.microsoft.com/office/drawing/2014/main" id="{8EADC73E-D547-1BBF-2668-006D79BD0C32}"/>
                  </a:ext>
                </a:extLst>
              </p:cNvPr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12584" name="Google Shape;8800;p64">
                  <a:extLst>
                    <a:ext uri="{FF2B5EF4-FFF2-40B4-BE49-F238E27FC236}">
                      <a16:creationId xmlns:a16="http://schemas.microsoft.com/office/drawing/2014/main" id="{FD28492A-C03E-92F3-9A94-20D28006BC05}"/>
                    </a:ext>
                  </a:extLst>
                </p:cNvPr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85" name="Google Shape;8801;p64">
                  <a:extLst>
                    <a:ext uri="{FF2B5EF4-FFF2-40B4-BE49-F238E27FC236}">
                      <a16:creationId xmlns:a16="http://schemas.microsoft.com/office/drawing/2014/main" id="{40CCCCC6-37AB-BFE3-66BD-9E789AFC6D24}"/>
                    </a:ext>
                  </a:extLst>
                </p:cNvPr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50" name="Google Shape;8802;p64">
                <a:extLst>
                  <a:ext uri="{FF2B5EF4-FFF2-40B4-BE49-F238E27FC236}">
                    <a16:creationId xmlns:a16="http://schemas.microsoft.com/office/drawing/2014/main" id="{5FF7FDBA-BB45-2AF7-7D08-FAEC6359B7C0}"/>
                  </a:ext>
                </a:extLst>
              </p:cNvPr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12582" name="Google Shape;8803;p64">
                  <a:extLst>
                    <a:ext uri="{FF2B5EF4-FFF2-40B4-BE49-F238E27FC236}">
                      <a16:creationId xmlns:a16="http://schemas.microsoft.com/office/drawing/2014/main" id="{FA1B210C-16FA-29F0-2E03-016687AFB4C8}"/>
                    </a:ext>
                  </a:extLst>
                </p:cNvPr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83" name="Google Shape;8804;p64">
                  <a:extLst>
                    <a:ext uri="{FF2B5EF4-FFF2-40B4-BE49-F238E27FC236}">
                      <a16:creationId xmlns:a16="http://schemas.microsoft.com/office/drawing/2014/main" id="{FF58B2E3-C5BF-3573-9238-A62E802C56A7}"/>
                    </a:ext>
                  </a:extLst>
                </p:cNvPr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12451" name="Google Shape;8805;p64">
                <a:extLst>
                  <a:ext uri="{FF2B5EF4-FFF2-40B4-BE49-F238E27FC236}">
                    <a16:creationId xmlns:a16="http://schemas.microsoft.com/office/drawing/2014/main" id="{03E84155-DE73-8DC0-E9AA-C40372257496}"/>
                  </a:ext>
                </a:extLst>
              </p:cNvPr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2452" name="Google Shape;8806;p64">
                <a:extLst>
                  <a:ext uri="{FF2B5EF4-FFF2-40B4-BE49-F238E27FC236}">
                    <a16:creationId xmlns:a16="http://schemas.microsoft.com/office/drawing/2014/main" id="{8F0BE46E-DE83-63C3-3A7C-D0DD1D65486D}"/>
                  </a:ext>
                </a:extLst>
              </p:cNvPr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12453" name="Google Shape;8807;p64">
                <a:extLst>
                  <a:ext uri="{FF2B5EF4-FFF2-40B4-BE49-F238E27FC236}">
                    <a16:creationId xmlns:a16="http://schemas.microsoft.com/office/drawing/2014/main" id="{462ABF84-2AA0-50B4-DB4D-7EAB6C518598}"/>
                  </a:ext>
                </a:extLst>
              </p:cNvPr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12580" name="Google Shape;8808;p64">
                  <a:extLst>
                    <a:ext uri="{FF2B5EF4-FFF2-40B4-BE49-F238E27FC236}">
                      <a16:creationId xmlns:a16="http://schemas.microsoft.com/office/drawing/2014/main" id="{C0C29471-CF71-64CA-3D95-AB363C7F1A77}"/>
                    </a:ext>
                  </a:extLst>
                </p:cNvPr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81" name="Google Shape;8809;p64">
                  <a:extLst>
                    <a:ext uri="{FF2B5EF4-FFF2-40B4-BE49-F238E27FC236}">
                      <a16:creationId xmlns:a16="http://schemas.microsoft.com/office/drawing/2014/main" id="{6525C19C-0044-6AB2-FF20-8D2938CA6240}"/>
                    </a:ext>
                  </a:extLst>
                </p:cNvPr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54" name="Google Shape;8810;p64">
                <a:extLst>
                  <a:ext uri="{FF2B5EF4-FFF2-40B4-BE49-F238E27FC236}">
                    <a16:creationId xmlns:a16="http://schemas.microsoft.com/office/drawing/2014/main" id="{57198C57-F1F2-1849-53DB-6DCA696047EA}"/>
                  </a:ext>
                </a:extLst>
              </p:cNvPr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12578" name="Google Shape;8811;p64">
                  <a:extLst>
                    <a:ext uri="{FF2B5EF4-FFF2-40B4-BE49-F238E27FC236}">
                      <a16:creationId xmlns:a16="http://schemas.microsoft.com/office/drawing/2014/main" id="{CF749610-4066-E1AB-B7B5-2E7AA4E2B45B}"/>
                    </a:ext>
                  </a:extLst>
                </p:cNvPr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79" name="Google Shape;8812;p64">
                  <a:extLst>
                    <a:ext uri="{FF2B5EF4-FFF2-40B4-BE49-F238E27FC236}">
                      <a16:creationId xmlns:a16="http://schemas.microsoft.com/office/drawing/2014/main" id="{99E59443-0839-84C8-71CC-66E9B64DBE98}"/>
                    </a:ext>
                  </a:extLst>
                </p:cNvPr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12455" name="Google Shape;8813;p64">
                <a:extLst>
                  <a:ext uri="{FF2B5EF4-FFF2-40B4-BE49-F238E27FC236}">
                    <a16:creationId xmlns:a16="http://schemas.microsoft.com/office/drawing/2014/main" id="{540B3A2E-3C86-1280-F9A5-2647464805FD}"/>
                  </a:ext>
                </a:extLst>
              </p:cNvPr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2456" name="Google Shape;8814;p64">
                <a:extLst>
                  <a:ext uri="{FF2B5EF4-FFF2-40B4-BE49-F238E27FC236}">
                    <a16:creationId xmlns:a16="http://schemas.microsoft.com/office/drawing/2014/main" id="{5C23064D-63AF-04BC-BE5B-883C2F77EE85}"/>
                  </a:ext>
                </a:extLst>
              </p:cNvPr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12457" name="Google Shape;8815;p64">
                <a:extLst>
                  <a:ext uri="{FF2B5EF4-FFF2-40B4-BE49-F238E27FC236}">
                    <a16:creationId xmlns:a16="http://schemas.microsoft.com/office/drawing/2014/main" id="{56EC5FFA-A85B-BB21-4524-C925BAF81C32}"/>
                  </a:ext>
                </a:extLst>
              </p:cNvPr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12576" name="Google Shape;8816;p64">
                  <a:extLst>
                    <a:ext uri="{FF2B5EF4-FFF2-40B4-BE49-F238E27FC236}">
                      <a16:creationId xmlns:a16="http://schemas.microsoft.com/office/drawing/2014/main" id="{8265D3E6-B538-EB1B-3908-4832455D79B0}"/>
                    </a:ext>
                  </a:extLst>
                </p:cNvPr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77" name="Google Shape;8817;p64">
                  <a:extLst>
                    <a:ext uri="{FF2B5EF4-FFF2-40B4-BE49-F238E27FC236}">
                      <a16:creationId xmlns:a16="http://schemas.microsoft.com/office/drawing/2014/main" id="{00FD455E-5622-6CC9-7CA3-9E4F6253440B}"/>
                    </a:ext>
                  </a:extLst>
                </p:cNvPr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58" name="Google Shape;8818;p64">
                <a:extLst>
                  <a:ext uri="{FF2B5EF4-FFF2-40B4-BE49-F238E27FC236}">
                    <a16:creationId xmlns:a16="http://schemas.microsoft.com/office/drawing/2014/main" id="{164BE40A-C65C-8AA6-95E7-59BA8FD1E681}"/>
                  </a:ext>
                </a:extLst>
              </p:cNvPr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12574" name="Google Shape;8819;p64">
                  <a:extLst>
                    <a:ext uri="{FF2B5EF4-FFF2-40B4-BE49-F238E27FC236}">
                      <a16:creationId xmlns:a16="http://schemas.microsoft.com/office/drawing/2014/main" id="{456B4300-348B-76A5-94F1-F75DE9D3156F}"/>
                    </a:ext>
                  </a:extLst>
                </p:cNvPr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75" name="Google Shape;8820;p64">
                  <a:extLst>
                    <a:ext uri="{FF2B5EF4-FFF2-40B4-BE49-F238E27FC236}">
                      <a16:creationId xmlns:a16="http://schemas.microsoft.com/office/drawing/2014/main" id="{7E5AE855-92F1-D9E8-C7AE-401D53123B71}"/>
                    </a:ext>
                  </a:extLst>
                </p:cNvPr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59" name="Google Shape;8821;p64">
                <a:extLst>
                  <a:ext uri="{FF2B5EF4-FFF2-40B4-BE49-F238E27FC236}">
                    <a16:creationId xmlns:a16="http://schemas.microsoft.com/office/drawing/2014/main" id="{5A9DE3A5-C4FD-FC19-4B57-E9086B2B40F0}"/>
                  </a:ext>
                </a:extLst>
              </p:cNvPr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12572" name="Google Shape;8822;p64">
                  <a:extLst>
                    <a:ext uri="{FF2B5EF4-FFF2-40B4-BE49-F238E27FC236}">
                      <a16:creationId xmlns:a16="http://schemas.microsoft.com/office/drawing/2014/main" id="{39DB8BD3-55BF-407C-A15D-A265C9080E3A}"/>
                    </a:ext>
                  </a:extLst>
                </p:cNvPr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73" name="Google Shape;8823;p64">
                  <a:extLst>
                    <a:ext uri="{FF2B5EF4-FFF2-40B4-BE49-F238E27FC236}">
                      <a16:creationId xmlns:a16="http://schemas.microsoft.com/office/drawing/2014/main" id="{1E088D98-9559-0E02-3CAD-4E4F24315DEC}"/>
                    </a:ext>
                  </a:extLst>
                </p:cNvPr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60" name="Google Shape;8824;p64">
                <a:extLst>
                  <a:ext uri="{FF2B5EF4-FFF2-40B4-BE49-F238E27FC236}">
                    <a16:creationId xmlns:a16="http://schemas.microsoft.com/office/drawing/2014/main" id="{D6BC324A-3E58-7DB2-4E08-0CA5B6214FF2}"/>
                  </a:ext>
                </a:extLst>
              </p:cNvPr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12570" name="Google Shape;8825;p64">
                  <a:extLst>
                    <a:ext uri="{FF2B5EF4-FFF2-40B4-BE49-F238E27FC236}">
                      <a16:creationId xmlns:a16="http://schemas.microsoft.com/office/drawing/2014/main" id="{F19B5742-56DB-A7EB-EB1F-1C066A470C33}"/>
                    </a:ext>
                  </a:extLst>
                </p:cNvPr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71" name="Google Shape;8826;p64">
                  <a:extLst>
                    <a:ext uri="{FF2B5EF4-FFF2-40B4-BE49-F238E27FC236}">
                      <a16:creationId xmlns:a16="http://schemas.microsoft.com/office/drawing/2014/main" id="{E2BE8707-E6AB-B581-4FBF-68DB036FD9CC}"/>
                    </a:ext>
                  </a:extLst>
                </p:cNvPr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61" name="Google Shape;8827;p64">
                <a:extLst>
                  <a:ext uri="{FF2B5EF4-FFF2-40B4-BE49-F238E27FC236}">
                    <a16:creationId xmlns:a16="http://schemas.microsoft.com/office/drawing/2014/main" id="{541CA145-A56A-2CD2-C3FA-201235A49DC2}"/>
                  </a:ext>
                </a:extLst>
              </p:cNvPr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12568" name="Google Shape;8828;p64">
                  <a:extLst>
                    <a:ext uri="{FF2B5EF4-FFF2-40B4-BE49-F238E27FC236}">
                      <a16:creationId xmlns:a16="http://schemas.microsoft.com/office/drawing/2014/main" id="{FF904E74-A713-8FC8-7410-6FD4DC49B8AF}"/>
                    </a:ext>
                  </a:extLst>
                </p:cNvPr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69" name="Google Shape;8829;p64">
                  <a:extLst>
                    <a:ext uri="{FF2B5EF4-FFF2-40B4-BE49-F238E27FC236}">
                      <a16:creationId xmlns:a16="http://schemas.microsoft.com/office/drawing/2014/main" id="{42DD6075-56BB-B358-C144-1633743F7255}"/>
                    </a:ext>
                  </a:extLst>
                </p:cNvPr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62" name="Google Shape;8830;p64">
                <a:extLst>
                  <a:ext uri="{FF2B5EF4-FFF2-40B4-BE49-F238E27FC236}">
                    <a16:creationId xmlns:a16="http://schemas.microsoft.com/office/drawing/2014/main" id="{75CF56BF-E473-19FF-3476-5F2BA36B5206}"/>
                  </a:ext>
                </a:extLst>
              </p:cNvPr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12566" name="Google Shape;8831;p64">
                  <a:extLst>
                    <a:ext uri="{FF2B5EF4-FFF2-40B4-BE49-F238E27FC236}">
                      <a16:creationId xmlns:a16="http://schemas.microsoft.com/office/drawing/2014/main" id="{91DF46EB-C7EB-4EA3-660B-8BF0D47330BB}"/>
                    </a:ext>
                  </a:extLst>
                </p:cNvPr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67" name="Google Shape;8832;p64">
                  <a:extLst>
                    <a:ext uri="{FF2B5EF4-FFF2-40B4-BE49-F238E27FC236}">
                      <a16:creationId xmlns:a16="http://schemas.microsoft.com/office/drawing/2014/main" id="{C28854D2-ACF9-2C2B-9F5A-AE8A51AB669A}"/>
                    </a:ext>
                  </a:extLst>
                </p:cNvPr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63" name="Google Shape;8833;p64">
                <a:extLst>
                  <a:ext uri="{FF2B5EF4-FFF2-40B4-BE49-F238E27FC236}">
                    <a16:creationId xmlns:a16="http://schemas.microsoft.com/office/drawing/2014/main" id="{2829EA79-A708-4744-0DA9-EBB6C9B884AB}"/>
                  </a:ext>
                </a:extLst>
              </p:cNvPr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12564" name="Google Shape;8834;p64">
                  <a:extLst>
                    <a:ext uri="{FF2B5EF4-FFF2-40B4-BE49-F238E27FC236}">
                      <a16:creationId xmlns:a16="http://schemas.microsoft.com/office/drawing/2014/main" id="{05797F22-77DF-ECEF-5693-783392FC0EE1}"/>
                    </a:ext>
                  </a:extLst>
                </p:cNvPr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65" name="Google Shape;8835;p64">
                  <a:extLst>
                    <a:ext uri="{FF2B5EF4-FFF2-40B4-BE49-F238E27FC236}">
                      <a16:creationId xmlns:a16="http://schemas.microsoft.com/office/drawing/2014/main" id="{1F3FB7B0-910C-CB70-95DE-371AFF574B6A}"/>
                    </a:ext>
                  </a:extLst>
                </p:cNvPr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64" name="Google Shape;8836;p64">
                <a:extLst>
                  <a:ext uri="{FF2B5EF4-FFF2-40B4-BE49-F238E27FC236}">
                    <a16:creationId xmlns:a16="http://schemas.microsoft.com/office/drawing/2014/main" id="{54700878-8C0E-C876-27B4-757B62E89035}"/>
                  </a:ext>
                </a:extLst>
              </p:cNvPr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12562" name="Google Shape;8837;p64">
                  <a:extLst>
                    <a:ext uri="{FF2B5EF4-FFF2-40B4-BE49-F238E27FC236}">
                      <a16:creationId xmlns:a16="http://schemas.microsoft.com/office/drawing/2014/main" id="{BE5D76A9-BB52-08EC-58AB-5784F4637067}"/>
                    </a:ext>
                  </a:extLst>
                </p:cNvPr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63" name="Google Shape;8838;p64">
                  <a:extLst>
                    <a:ext uri="{FF2B5EF4-FFF2-40B4-BE49-F238E27FC236}">
                      <a16:creationId xmlns:a16="http://schemas.microsoft.com/office/drawing/2014/main" id="{571985B0-2128-3A06-929F-9C8118110155}"/>
                    </a:ext>
                  </a:extLst>
                </p:cNvPr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65" name="Google Shape;8839;p64">
                <a:extLst>
                  <a:ext uri="{FF2B5EF4-FFF2-40B4-BE49-F238E27FC236}">
                    <a16:creationId xmlns:a16="http://schemas.microsoft.com/office/drawing/2014/main" id="{63E4B512-852A-2442-FB33-630C857BBD09}"/>
                  </a:ext>
                </a:extLst>
              </p:cNvPr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12560" name="Google Shape;8840;p64">
                  <a:extLst>
                    <a:ext uri="{FF2B5EF4-FFF2-40B4-BE49-F238E27FC236}">
                      <a16:creationId xmlns:a16="http://schemas.microsoft.com/office/drawing/2014/main" id="{96174B0E-B71B-A42D-454F-026E181F3C21}"/>
                    </a:ext>
                  </a:extLst>
                </p:cNvPr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61" name="Google Shape;8841;p64">
                  <a:extLst>
                    <a:ext uri="{FF2B5EF4-FFF2-40B4-BE49-F238E27FC236}">
                      <a16:creationId xmlns:a16="http://schemas.microsoft.com/office/drawing/2014/main" id="{2BAE89DE-AAD2-49EA-C917-B2B551602CCE}"/>
                    </a:ext>
                  </a:extLst>
                </p:cNvPr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66" name="Google Shape;8842;p64">
                <a:extLst>
                  <a:ext uri="{FF2B5EF4-FFF2-40B4-BE49-F238E27FC236}">
                    <a16:creationId xmlns:a16="http://schemas.microsoft.com/office/drawing/2014/main" id="{992DEF63-4568-D572-16B0-40E420F57255}"/>
                  </a:ext>
                </a:extLst>
              </p:cNvPr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12558" name="Google Shape;8843;p64">
                  <a:extLst>
                    <a:ext uri="{FF2B5EF4-FFF2-40B4-BE49-F238E27FC236}">
                      <a16:creationId xmlns:a16="http://schemas.microsoft.com/office/drawing/2014/main" id="{22234E6E-F6F3-C9C1-4677-7F13156858EC}"/>
                    </a:ext>
                  </a:extLst>
                </p:cNvPr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59" name="Google Shape;8844;p64">
                  <a:extLst>
                    <a:ext uri="{FF2B5EF4-FFF2-40B4-BE49-F238E27FC236}">
                      <a16:creationId xmlns:a16="http://schemas.microsoft.com/office/drawing/2014/main" id="{795AE84C-673B-5554-084D-11EA7DF619CA}"/>
                    </a:ext>
                  </a:extLst>
                </p:cNvPr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67" name="Google Shape;8845;p64">
                <a:extLst>
                  <a:ext uri="{FF2B5EF4-FFF2-40B4-BE49-F238E27FC236}">
                    <a16:creationId xmlns:a16="http://schemas.microsoft.com/office/drawing/2014/main" id="{7478BDB7-02A2-A8A5-BEF0-26079A408F43}"/>
                  </a:ext>
                </a:extLst>
              </p:cNvPr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12556" name="Google Shape;8846;p64">
                  <a:extLst>
                    <a:ext uri="{FF2B5EF4-FFF2-40B4-BE49-F238E27FC236}">
                      <a16:creationId xmlns:a16="http://schemas.microsoft.com/office/drawing/2014/main" id="{9FC5E471-66FB-3F88-D8F7-5EF114E6B440}"/>
                    </a:ext>
                  </a:extLst>
                </p:cNvPr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57" name="Google Shape;8847;p64">
                  <a:extLst>
                    <a:ext uri="{FF2B5EF4-FFF2-40B4-BE49-F238E27FC236}">
                      <a16:creationId xmlns:a16="http://schemas.microsoft.com/office/drawing/2014/main" id="{99D27272-4FD9-3753-5267-8A34812D6058}"/>
                    </a:ext>
                  </a:extLst>
                </p:cNvPr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68" name="Google Shape;8848;p64">
                <a:extLst>
                  <a:ext uri="{FF2B5EF4-FFF2-40B4-BE49-F238E27FC236}">
                    <a16:creationId xmlns:a16="http://schemas.microsoft.com/office/drawing/2014/main" id="{1C20F15F-A621-0F17-4772-722A66B1162A}"/>
                  </a:ext>
                </a:extLst>
              </p:cNvPr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12554" name="Google Shape;8849;p64">
                  <a:extLst>
                    <a:ext uri="{FF2B5EF4-FFF2-40B4-BE49-F238E27FC236}">
                      <a16:creationId xmlns:a16="http://schemas.microsoft.com/office/drawing/2014/main" id="{0EC423F0-15DF-82F2-4971-06968CD34C00}"/>
                    </a:ext>
                  </a:extLst>
                </p:cNvPr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55" name="Google Shape;8850;p64">
                  <a:extLst>
                    <a:ext uri="{FF2B5EF4-FFF2-40B4-BE49-F238E27FC236}">
                      <a16:creationId xmlns:a16="http://schemas.microsoft.com/office/drawing/2014/main" id="{49AD9DA9-2F18-8253-DE91-FAAF00FEA37F}"/>
                    </a:ext>
                  </a:extLst>
                </p:cNvPr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12469" name="Google Shape;8851;p64">
                <a:extLst>
                  <a:ext uri="{FF2B5EF4-FFF2-40B4-BE49-F238E27FC236}">
                    <a16:creationId xmlns:a16="http://schemas.microsoft.com/office/drawing/2014/main" id="{55D3DDC8-FC7D-C334-BB58-966361B0EAF4}"/>
                  </a:ext>
                </a:extLst>
              </p:cNvPr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2470" name="Google Shape;8852;p64">
                <a:extLst>
                  <a:ext uri="{FF2B5EF4-FFF2-40B4-BE49-F238E27FC236}">
                    <a16:creationId xmlns:a16="http://schemas.microsoft.com/office/drawing/2014/main" id="{CCE71E32-6C89-E974-209E-011C2FDE644A}"/>
                  </a:ext>
                </a:extLst>
              </p:cNvPr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12471" name="Google Shape;8853;p64">
                <a:extLst>
                  <a:ext uri="{FF2B5EF4-FFF2-40B4-BE49-F238E27FC236}">
                    <a16:creationId xmlns:a16="http://schemas.microsoft.com/office/drawing/2014/main" id="{6862ED24-56F5-2B2A-C6F2-91C7FF70DC17}"/>
                  </a:ext>
                </a:extLst>
              </p:cNvPr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12552" name="Google Shape;8854;p64">
                  <a:extLst>
                    <a:ext uri="{FF2B5EF4-FFF2-40B4-BE49-F238E27FC236}">
                      <a16:creationId xmlns:a16="http://schemas.microsoft.com/office/drawing/2014/main" id="{D16961B5-AD66-2F69-A7F8-BF870263C4F0}"/>
                    </a:ext>
                  </a:extLst>
                </p:cNvPr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53" name="Google Shape;8855;p64">
                  <a:extLst>
                    <a:ext uri="{FF2B5EF4-FFF2-40B4-BE49-F238E27FC236}">
                      <a16:creationId xmlns:a16="http://schemas.microsoft.com/office/drawing/2014/main" id="{13F8FD84-0B9D-BC47-42F8-666BCDAF1DD7}"/>
                    </a:ext>
                  </a:extLst>
                </p:cNvPr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72" name="Google Shape;8856;p64">
                <a:extLst>
                  <a:ext uri="{FF2B5EF4-FFF2-40B4-BE49-F238E27FC236}">
                    <a16:creationId xmlns:a16="http://schemas.microsoft.com/office/drawing/2014/main" id="{B27E4B27-D47E-941A-10F8-B45E922B14A1}"/>
                  </a:ext>
                </a:extLst>
              </p:cNvPr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12550" name="Google Shape;8857;p64">
                  <a:extLst>
                    <a:ext uri="{FF2B5EF4-FFF2-40B4-BE49-F238E27FC236}">
                      <a16:creationId xmlns:a16="http://schemas.microsoft.com/office/drawing/2014/main" id="{A9FB5A78-88F1-312E-782E-B6526BEB1AD4}"/>
                    </a:ext>
                  </a:extLst>
                </p:cNvPr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51" name="Google Shape;8858;p64">
                  <a:extLst>
                    <a:ext uri="{FF2B5EF4-FFF2-40B4-BE49-F238E27FC236}">
                      <a16:creationId xmlns:a16="http://schemas.microsoft.com/office/drawing/2014/main" id="{31591BB7-122A-9615-5E5F-1E71DA443C1B}"/>
                    </a:ext>
                  </a:extLst>
                </p:cNvPr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73" name="Google Shape;8859;p64">
                <a:extLst>
                  <a:ext uri="{FF2B5EF4-FFF2-40B4-BE49-F238E27FC236}">
                    <a16:creationId xmlns:a16="http://schemas.microsoft.com/office/drawing/2014/main" id="{12251DAF-A3A7-E320-A728-5C453C40BDA2}"/>
                  </a:ext>
                </a:extLst>
              </p:cNvPr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12548" name="Google Shape;8860;p64">
                  <a:extLst>
                    <a:ext uri="{FF2B5EF4-FFF2-40B4-BE49-F238E27FC236}">
                      <a16:creationId xmlns:a16="http://schemas.microsoft.com/office/drawing/2014/main" id="{0A513AAE-EB48-AADA-7254-ED141CCDE823}"/>
                    </a:ext>
                  </a:extLst>
                </p:cNvPr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49" name="Google Shape;8861;p64">
                  <a:extLst>
                    <a:ext uri="{FF2B5EF4-FFF2-40B4-BE49-F238E27FC236}">
                      <a16:creationId xmlns:a16="http://schemas.microsoft.com/office/drawing/2014/main" id="{AD3A1CF2-75E0-735B-A792-4EF925C859A2}"/>
                    </a:ext>
                  </a:extLst>
                </p:cNvPr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74" name="Google Shape;8862;p64">
                <a:extLst>
                  <a:ext uri="{FF2B5EF4-FFF2-40B4-BE49-F238E27FC236}">
                    <a16:creationId xmlns:a16="http://schemas.microsoft.com/office/drawing/2014/main" id="{C90084B8-7D53-1E5B-C875-9F343566A2D0}"/>
                  </a:ext>
                </a:extLst>
              </p:cNvPr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12546" name="Google Shape;8863;p64">
                  <a:extLst>
                    <a:ext uri="{FF2B5EF4-FFF2-40B4-BE49-F238E27FC236}">
                      <a16:creationId xmlns:a16="http://schemas.microsoft.com/office/drawing/2014/main" id="{AFF5E7C0-4731-55E3-9E34-DC9B3F85E326}"/>
                    </a:ext>
                  </a:extLst>
                </p:cNvPr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47" name="Google Shape;8864;p64">
                  <a:extLst>
                    <a:ext uri="{FF2B5EF4-FFF2-40B4-BE49-F238E27FC236}">
                      <a16:creationId xmlns:a16="http://schemas.microsoft.com/office/drawing/2014/main" id="{5AEEA104-1881-8EA6-A56A-96730591414D}"/>
                    </a:ext>
                  </a:extLst>
                </p:cNvPr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75" name="Google Shape;8865;p64">
                <a:extLst>
                  <a:ext uri="{FF2B5EF4-FFF2-40B4-BE49-F238E27FC236}">
                    <a16:creationId xmlns:a16="http://schemas.microsoft.com/office/drawing/2014/main" id="{CDB118EC-5779-AA2F-6FA1-02448B678B62}"/>
                  </a:ext>
                </a:extLst>
              </p:cNvPr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12544" name="Google Shape;8866;p64">
                  <a:extLst>
                    <a:ext uri="{FF2B5EF4-FFF2-40B4-BE49-F238E27FC236}">
                      <a16:creationId xmlns:a16="http://schemas.microsoft.com/office/drawing/2014/main" id="{C7EE810F-F72C-12B0-1E63-7F74A0F0BFED}"/>
                    </a:ext>
                  </a:extLst>
                </p:cNvPr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45" name="Google Shape;8867;p64">
                  <a:extLst>
                    <a:ext uri="{FF2B5EF4-FFF2-40B4-BE49-F238E27FC236}">
                      <a16:creationId xmlns:a16="http://schemas.microsoft.com/office/drawing/2014/main" id="{343B82DD-AA26-CD7F-AB64-0B157DEAF813}"/>
                    </a:ext>
                  </a:extLst>
                </p:cNvPr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76" name="Google Shape;8868;p64">
                <a:extLst>
                  <a:ext uri="{FF2B5EF4-FFF2-40B4-BE49-F238E27FC236}">
                    <a16:creationId xmlns:a16="http://schemas.microsoft.com/office/drawing/2014/main" id="{DA7153E0-6B35-1F71-E72E-F502C9C4FD91}"/>
                  </a:ext>
                </a:extLst>
              </p:cNvPr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12542" name="Google Shape;8869;p64">
                  <a:extLst>
                    <a:ext uri="{FF2B5EF4-FFF2-40B4-BE49-F238E27FC236}">
                      <a16:creationId xmlns:a16="http://schemas.microsoft.com/office/drawing/2014/main" id="{B65754EB-D814-5324-CA8F-54CC8FE69C65}"/>
                    </a:ext>
                  </a:extLst>
                </p:cNvPr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43" name="Google Shape;8870;p64">
                  <a:extLst>
                    <a:ext uri="{FF2B5EF4-FFF2-40B4-BE49-F238E27FC236}">
                      <a16:creationId xmlns:a16="http://schemas.microsoft.com/office/drawing/2014/main" id="{9A0EE37B-3C43-9AF7-7C2A-735488222B0D}"/>
                    </a:ext>
                  </a:extLst>
                </p:cNvPr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77" name="Google Shape;8871;p64">
                <a:extLst>
                  <a:ext uri="{FF2B5EF4-FFF2-40B4-BE49-F238E27FC236}">
                    <a16:creationId xmlns:a16="http://schemas.microsoft.com/office/drawing/2014/main" id="{76FE1745-000B-E426-F959-328FDEADE4A7}"/>
                  </a:ext>
                </a:extLst>
              </p:cNvPr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12540" name="Google Shape;8872;p64">
                  <a:extLst>
                    <a:ext uri="{FF2B5EF4-FFF2-40B4-BE49-F238E27FC236}">
                      <a16:creationId xmlns:a16="http://schemas.microsoft.com/office/drawing/2014/main" id="{5423B913-9FD4-126C-6513-A51DE29E6EAD}"/>
                    </a:ext>
                  </a:extLst>
                </p:cNvPr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41" name="Google Shape;8873;p64">
                  <a:extLst>
                    <a:ext uri="{FF2B5EF4-FFF2-40B4-BE49-F238E27FC236}">
                      <a16:creationId xmlns:a16="http://schemas.microsoft.com/office/drawing/2014/main" id="{2E45FED5-3ADA-4F47-1267-990329992AB9}"/>
                    </a:ext>
                  </a:extLst>
                </p:cNvPr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78" name="Google Shape;8874;p64">
                <a:extLst>
                  <a:ext uri="{FF2B5EF4-FFF2-40B4-BE49-F238E27FC236}">
                    <a16:creationId xmlns:a16="http://schemas.microsoft.com/office/drawing/2014/main" id="{4B6587EB-8596-9F4E-6345-4889AB53DB58}"/>
                  </a:ext>
                </a:extLst>
              </p:cNvPr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12538" name="Google Shape;8875;p64">
                  <a:extLst>
                    <a:ext uri="{FF2B5EF4-FFF2-40B4-BE49-F238E27FC236}">
                      <a16:creationId xmlns:a16="http://schemas.microsoft.com/office/drawing/2014/main" id="{A68343ED-DA02-9D5A-65CD-2E0ED7D670D1}"/>
                    </a:ext>
                  </a:extLst>
                </p:cNvPr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39" name="Google Shape;8876;p64">
                  <a:extLst>
                    <a:ext uri="{FF2B5EF4-FFF2-40B4-BE49-F238E27FC236}">
                      <a16:creationId xmlns:a16="http://schemas.microsoft.com/office/drawing/2014/main" id="{14AAC3C1-E006-3ECF-B7B9-87EBBC955743}"/>
                    </a:ext>
                  </a:extLst>
                </p:cNvPr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79" name="Google Shape;8877;p64">
                <a:extLst>
                  <a:ext uri="{FF2B5EF4-FFF2-40B4-BE49-F238E27FC236}">
                    <a16:creationId xmlns:a16="http://schemas.microsoft.com/office/drawing/2014/main" id="{DE55AC7A-F3E0-37FE-8B81-0979F0910CD3}"/>
                  </a:ext>
                </a:extLst>
              </p:cNvPr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12536" name="Google Shape;8878;p64">
                  <a:extLst>
                    <a:ext uri="{FF2B5EF4-FFF2-40B4-BE49-F238E27FC236}">
                      <a16:creationId xmlns:a16="http://schemas.microsoft.com/office/drawing/2014/main" id="{0604AC88-78F6-2417-D66E-542249257548}"/>
                    </a:ext>
                  </a:extLst>
                </p:cNvPr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37" name="Google Shape;8879;p64">
                  <a:extLst>
                    <a:ext uri="{FF2B5EF4-FFF2-40B4-BE49-F238E27FC236}">
                      <a16:creationId xmlns:a16="http://schemas.microsoft.com/office/drawing/2014/main" id="{08A32475-A681-F24B-2559-B9964241778E}"/>
                    </a:ext>
                  </a:extLst>
                </p:cNvPr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0" name="Google Shape;8880;p64">
                <a:extLst>
                  <a:ext uri="{FF2B5EF4-FFF2-40B4-BE49-F238E27FC236}">
                    <a16:creationId xmlns:a16="http://schemas.microsoft.com/office/drawing/2014/main" id="{F34301DE-5F9D-32F9-5287-B4AAE74796DC}"/>
                  </a:ext>
                </a:extLst>
              </p:cNvPr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12534" name="Google Shape;8881;p64">
                  <a:extLst>
                    <a:ext uri="{FF2B5EF4-FFF2-40B4-BE49-F238E27FC236}">
                      <a16:creationId xmlns:a16="http://schemas.microsoft.com/office/drawing/2014/main" id="{D53DD60A-28F6-422C-19D9-F36B60021DB4}"/>
                    </a:ext>
                  </a:extLst>
                </p:cNvPr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35" name="Google Shape;8882;p64">
                  <a:extLst>
                    <a:ext uri="{FF2B5EF4-FFF2-40B4-BE49-F238E27FC236}">
                      <a16:creationId xmlns:a16="http://schemas.microsoft.com/office/drawing/2014/main" id="{CE31A10F-788F-9FA1-D24E-55B4392C211E}"/>
                    </a:ext>
                  </a:extLst>
                </p:cNvPr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1" name="Google Shape;8883;p64">
                <a:extLst>
                  <a:ext uri="{FF2B5EF4-FFF2-40B4-BE49-F238E27FC236}">
                    <a16:creationId xmlns:a16="http://schemas.microsoft.com/office/drawing/2014/main" id="{2DA393C7-C1B4-38A0-1A9A-35A5B2923024}"/>
                  </a:ext>
                </a:extLst>
              </p:cNvPr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12532" name="Google Shape;8884;p64">
                  <a:extLst>
                    <a:ext uri="{FF2B5EF4-FFF2-40B4-BE49-F238E27FC236}">
                      <a16:creationId xmlns:a16="http://schemas.microsoft.com/office/drawing/2014/main" id="{D613EB91-7704-640E-6DA3-25F0FEE3C941}"/>
                    </a:ext>
                  </a:extLst>
                </p:cNvPr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33" name="Google Shape;8885;p64">
                  <a:extLst>
                    <a:ext uri="{FF2B5EF4-FFF2-40B4-BE49-F238E27FC236}">
                      <a16:creationId xmlns:a16="http://schemas.microsoft.com/office/drawing/2014/main" id="{DBDC1CED-EA38-932C-8907-4F1874988B56}"/>
                    </a:ext>
                  </a:extLst>
                </p:cNvPr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2" name="Google Shape;8886;p64">
                <a:extLst>
                  <a:ext uri="{FF2B5EF4-FFF2-40B4-BE49-F238E27FC236}">
                    <a16:creationId xmlns:a16="http://schemas.microsoft.com/office/drawing/2014/main" id="{27FC56F6-646B-6237-D655-EFF9FCCC9440}"/>
                  </a:ext>
                </a:extLst>
              </p:cNvPr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12530" name="Google Shape;8887;p64">
                  <a:extLst>
                    <a:ext uri="{FF2B5EF4-FFF2-40B4-BE49-F238E27FC236}">
                      <a16:creationId xmlns:a16="http://schemas.microsoft.com/office/drawing/2014/main" id="{D0D8C3CF-2A68-B6F7-3C90-E705DAE8DF5C}"/>
                    </a:ext>
                  </a:extLst>
                </p:cNvPr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31" name="Google Shape;8888;p64">
                  <a:extLst>
                    <a:ext uri="{FF2B5EF4-FFF2-40B4-BE49-F238E27FC236}">
                      <a16:creationId xmlns:a16="http://schemas.microsoft.com/office/drawing/2014/main" id="{D41DB0CD-06F1-4B06-6EB6-2AB4C15673F8}"/>
                    </a:ext>
                  </a:extLst>
                </p:cNvPr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3" name="Google Shape;8889;p64">
                <a:extLst>
                  <a:ext uri="{FF2B5EF4-FFF2-40B4-BE49-F238E27FC236}">
                    <a16:creationId xmlns:a16="http://schemas.microsoft.com/office/drawing/2014/main" id="{A230FE66-8AC9-85EE-504F-B98D5853172C}"/>
                  </a:ext>
                </a:extLst>
              </p:cNvPr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12528" name="Google Shape;8890;p64">
                  <a:extLst>
                    <a:ext uri="{FF2B5EF4-FFF2-40B4-BE49-F238E27FC236}">
                      <a16:creationId xmlns:a16="http://schemas.microsoft.com/office/drawing/2014/main" id="{EA402BEE-44C1-B9BB-47DE-EFD0993C1DEC}"/>
                    </a:ext>
                  </a:extLst>
                </p:cNvPr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29" name="Google Shape;8891;p64">
                  <a:extLst>
                    <a:ext uri="{FF2B5EF4-FFF2-40B4-BE49-F238E27FC236}">
                      <a16:creationId xmlns:a16="http://schemas.microsoft.com/office/drawing/2014/main" id="{5ED2FFC6-7EEE-6F82-C3E8-747C56ACFDA9}"/>
                    </a:ext>
                  </a:extLst>
                </p:cNvPr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4" name="Google Shape;8892;p64">
                <a:extLst>
                  <a:ext uri="{FF2B5EF4-FFF2-40B4-BE49-F238E27FC236}">
                    <a16:creationId xmlns:a16="http://schemas.microsoft.com/office/drawing/2014/main" id="{69B05725-2960-C4E1-89AB-7B815E217F18}"/>
                  </a:ext>
                </a:extLst>
              </p:cNvPr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12526" name="Google Shape;8893;p64">
                  <a:extLst>
                    <a:ext uri="{FF2B5EF4-FFF2-40B4-BE49-F238E27FC236}">
                      <a16:creationId xmlns:a16="http://schemas.microsoft.com/office/drawing/2014/main" id="{4499D8BC-AA27-7E52-FEA9-8487E7FF0DD1}"/>
                    </a:ext>
                  </a:extLst>
                </p:cNvPr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27" name="Google Shape;8894;p64">
                  <a:extLst>
                    <a:ext uri="{FF2B5EF4-FFF2-40B4-BE49-F238E27FC236}">
                      <a16:creationId xmlns:a16="http://schemas.microsoft.com/office/drawing/2014/main" id="{ADA747C8-8FDE-DE11-020D-7B942307BE76}"/>
                    </a:ext>
                  </a:extLst>
                </p:cNvPr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5" name="Google Shape;8895;p64">
                <a:extLst>
                  <a:ext uri="{FF2B5EF4-FFF2-40B4-BE49-F238E27FC236}">
                    <a16:creationId xmlns:a16="http://schemas.microsoft.com/office/drawing/2014/main" id="{270F7B12-2851-F7B1-4041-B70B6228DCC6}"/>
                  </a:ext>
                </a:extLst>
              </p:cNvPr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12524" name="Google Shape;8896;p64">
                  <a:extLst>
                    <a:ext uri="{FF2B5EF4-FFF2-40B4-BE49-F238E27FC236}">
                      <a16:creationId xmlns:a16="http://schemas.microsoft.com/office/drawing/2014/main" id="{ED150971-75B7-E22E-16C2-6E1C5BABD9ED}"/>
                    </a:ext>
                  </a:extLst>
                </p:cNvPr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25" name="Google Shape;8897;p64">
                  <a:extLst>
                    <a:ext uri="{FF2B5EF4-FFF2-40B4-BE49-F238E27FC236}">
                      <a16:creationId xmlns:a16="http://schemas.microsoft.com/office/drawing/2014/main" id="{B1A8758A-088F-195B-CB94-828407E25E72}"/>
                    </a:ext>
                  </a:extLst>
                </p:cNvPr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6" name="Google Shape;8898;p64">
                <a:extLst>
                  <a:ext uri="{FF2B5EF4-FFF2-40B4-BE49-F238E27FC236}">
                    <a16:creationId xmlns:a16="http://schemas.microsoft.com/office/drawing/2014/main" id="{0CF4DDFE-15FC-978B-10BC-637AA204BE51}"/>
                  </a:ext>
                </a:extLst>
              </p:cNvPr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12522" name="Google Shape;8899;p64">
                  <a:extLst>
                    <a:ext uri="{FF2B5EF4-FFF2-40B4-BE49-F238E27FC236}">
                      <a16:creationId xmlns:a16="http://schemas.microsoft.com/office/drawing/2014/main" id="{3BE8AA54-ACA7-59CF-67B3-D037BCA0C9AD}"/>
                    </a:ext>
                  </a:extLst>
                </p:cNvPr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23" name="Google Shape;8900;p64">
                  <a:extLst>
                    <a:ext uri="{FF2B5EF4-FFF2-40B4-BE49-F238E27FC236}">
                      <a16:creationId xmlns:a16="http://schemas.microsoft.com/office/drawing/2014/main" id="{F2F289ED-612E-F9F9-05A3-C4239D855DAE}"/>
                    </a:ext>
                  </a:extLst>
                </p:cNvPr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7" name="Google Shape;8901;p64">
                <a:extLst>
                  <a:ext uri="{FF2B5EF4-FFF2-40B4-BE49-F238E27FC236}">
                    <a16:creationId xmlns:a16="http://schemas.microsoft.com/office/drawing/2014/main" id="{3395F479-6AAE-D0CC-4997-F9A5BE4A039A}"/>
                  </a:ext>
                </a:extLst>
              </p:cNvPr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12520" name="Google Shape;8902;p64">
                  <a:extLst>
                    <a:ext uri="{FF2B5EF4-FFF2-40B4-BE49-F238E27FC236}">
                      <a16:creationId xmlns:a16="http://schemas.microsoft.com/office/drawing/2014/main" id="{4B3AA1D2-5786-725B-945F-18E3A5B77359}"/>
                    </a:ext>
                  </a:extLst>
                </p:cNvPr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21" name="Google Shape;8903;p64">
                  <a:extLst>
                    <a:ext uri="{FF2B5EF4-FFF2-40B4-BE49-F238E27FC236}">
                      <a16:creationId xmlns:a16="http://schemas.microsoft.com/office/drawing/2014/main" id="{317B973B-A4ED-4211-8937-02EF648D9459}"/>
                    </a:ext>
                  </a:extLst>
                </p:cNvPr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8" name="Google Shape;8904;p64">
                <a:extLst>
                  <a:ext uri="{FF2B5EF4-FFF2-40B4-BE49-F238E27FC236}">
                    <a16:creationId xmlns:a16="http://schemas.microsoft.com/office/drawing/2014/main" id="{3670EEB8-FD03-B703-73C4-D4916C0E8B4E}"/>
                  </a:ext>
                </a:extLst>
              </p:cNvPr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12518" name="Google Shape;8905;p64">
                  <a:extLst>
                    <a:ext uri="{FF2B5EF4-FFF2-40B4-BE49-F238E27FC236}">
                      <a16:creationId xmlns:a16="http://schemas.microsoft.com/office/drawing/2014/main" id="{3C3F615C-0050-7721-72EF-E665BBCBAE23}"/>
                    </a:ext>
                  </a:extLst>
                </p:cNvPr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19" name="Google Shape;8906;p64">
                  <a:extLst>
                    <a:ext uri="{FF2B5EF4-FFF2-40B4-BE49-F238E27FC236}">
                      <a16:creationId xmlns:a16="http://schemas.microsoft.com/office/drawing/2014/main" id="{2378F0F8-B6C2-C30A-4839-C4914524CE3E}"/>
                    </a:ext>
                  </a:extLst>
                </p:cNvPr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89" name="Google Shape;8907;p64">
                <a:extLst>
                  <a:ext uri="{FF2B5EF4-FFF2-40B4-BE49-F238E27FC236}">
                    <a16:creationId xmlns:a16="http://schemas.microsoft.com/office/drawing/2014/main" id="{268F8CDE-3B44-D3F0-17DE-DC318A5B736B}"/>
                  </a:ext>
                </a:extLst>
              </p:cNvPr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12516" name="Google Shape;8908;p64">
                  <a:extLst>
                    <a:ext uri="{FF2B5EF4-FFF2-40B4-BE49-F238E27FC236}">
                      <a16:creationId xmlns:a16="http://schemas.microsoft.com/office/drawing/2014/main" id="{89803C75-0E2E-6F40-A975-7FB3D2BD31B0}"/>
                    </a:ext>
                  </a:extLst>
                </p:cNvPr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17" name="Google Shape;8909;p64">
                  <a:extLst>
                    <a:ext uri="{FF2B5EF4-FFF2-40B4-BE49-F238E27FC236}">
                      <a16:creationId xmlns:a16="http://schemas.microsoft.com/office/drawing/2014/main" id="{C056E6C8-49CF-805A-5D0D-FA7962D875E8}"/>
                    </a:ext>
                  </a:extLst>
                </p:cNvPr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90" name="Google Shape;8910;p64">
                <a:extLst>
                  <a:ext uri="{FF2B5EF4-FFF2-40B4-BE49-F238E27FC236}">
                    <a16:creationId xmlns:a16="http://schemas.microsoft.com/office/drawing/2014/main" id="{D6022964-D9AD-E880-7FA6-5BE90288F70A}"/>
                  </a:ext>
                </a:extLst>
              </p:cNvPr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12514" name="Google Shape;8911;p64">
                  <a:extLst>
                    <a:ext uri="{FF2B5EF4-FFF2-40B4-BE49-F238E27FC236}">
                      <a16:creationId xmlns:a16="http://schemas.microsoft.com/office/drawing/2014/main" id="{24CC3356-0590-24DD-AC3C-34EE182AE493}"/>
                    </a:ext>
                  </a:extLst>
                </p:cNvPr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15" name="Google Shape;8912;p64">
                  <a:extLst>
                    <a:ext uri="{FF2B5EF4-FFF2-40B4-BE49-F238E27FC236}">
                      <a16:creationId xmlns:a16="http://schemas.microsoft.com/office/drawing/2014/main" id="{4A38EC00-736A-2F21-782E-0E086341419E}"/>
                    </a:ext>
                  </a:extLst>
                </p:cNvPr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91" name="Google Shape;8913;p64">
                <a:extLst>
                  <a:ext uri="{FF2B5EF4-FFF2-40B4-BE49-F238E27FC236}">
                    <a16:creationId xmlns:a16="http://schemas.microsoft.com/office/drawing/2014/main" id="{4246D9FA-6953-2A0A-2B78-73F3C0EB1D37}"/>
                  </a:ext>
                </a:extLst>
              </p:cNvPr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12512" name="Google Shape;8914;p64">
                  <a:extLst>
                    <a:ext uri="{FF2B5EF4-FFF2-40B4-BE49-F238E27FC236}">
                      <a16:creationId xmlns:a16="http://schemas.microsoft.com/office/drawing/2014/main" id="{27F78337-8CC5-C5E1-12D6-7851E4B98131}"/>
                    </a:ext>
                  </a:extLst>
                </p:cNvPr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13" name="Google Shape;8915;p64">
                  <a:extLst>
                    <a:ext uri="{FF2B5EF4-FFF2-40B4-BE49-F238E27FC236}">
                      <a16:creationId xmlns:a16="http://schemas.microsoft.com/office/drawing/2014/main" id="{1FE704C4-3283-1622-B423-0884565F8AFE}"/>
                    </a:ext>
                  </a:extLst>
                </p:cNvPr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92" name="Google Shape;8916;p64">
                <a:extLst>
                  <a:ext uri="{FF2B5EF4-FFF2-40B4-BE49-F238E27FC236}">
                    <a16:creationId xmlns:a16="http://schemas.microsoft.com/office/drawing/2014/main" id="{C79012C8-FCE6-C497-CA42-1491908698E3}"/>
                  </a:ext>
                </a:extLst>
              </p:cNvPr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12510" name="Google Shape;8917;p64">
                  <a:extLst>
                    <a:ext uri="{FF2B5EF4-FFF2-40B4-BE49-F238E27FC236}">
                      <a16:creationId xmlns:a16="http://schemas.microsoft.com/office/drawing/2014/main" id="{5FDB36C0-13C8-CE13-86DA-7D9FAB4830E7}"/>
                    </a:ext>
                  </a:extLst>
                </p:cNvPr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11" name="Google Shape;8918;p64">
                  <a:extLst>
                    <a:ext uri="{FF2B5EF4-FFF2-40B4-BE49-F238E27FC236}">
                      <a16:creationId xmlns:a16="http://schemas.microsoft.com/office/drawing/2014/main" id="{2CD7B6EF-CCAD-0C13-8C32-94E52FFA17C9}"/>
                    </a:ext>
                  </a:extLst>
                </p:cNvPr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93" name="Google Shape;8919;p64">
                <a:extLst>
                  <a:ext uri="{FF2B5EF4-FFF2-40B4-BE49-F238E27FC236}">
                    <a16:creationId xmlns:a16="http://schemas.microsoft.com/office/drawing/2014/main" id="{D48906FC-B493-3056-85AE-8C42D9C74943}"/>
                  </a:ext>
                </a:extLst>
              </p:cNvPr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12508" name="Google Shape;8920;p64">
                  <a:extLst>
                    <a:ext uri="{FF2B5EF4-FFF2-40B4-BE49-F238E27FC236}">
                      <a16:creationId xmlns:a16="http://schemas.microsoft.com/office/drawing/2014/main" id="{EEDA0952-1F14-4696-4A0E-81FA7544BF54}"/>
                    </a:ext>
                  </a:extLst>
                </p:cNvPr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09" name="Google Shape;8921;p64">
                  <a:extLst>
                    <a:ext uri="{FF2B5EF4-FFF2-40B4-BE49-F238E27FC236}">
                      <a16:creationId xmlns:a16="http://schemas.microsoft.com/office/drawing/2014/main" id="{69DD1382-40C8-DFD4-BA26-CBA0BF3B290E}"/>
                    </a:ext>
                  </a:extLst>
                </p:cNvPr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94" name="Google Shape;8922;p64">
                <a:extLst>
                  <a:ext uri="{FF2B5EF4-FFF2-40B4-BE49-F238E27FC236}">
                    <a16:creationId xmlns:a16="http://schemas.microsoft.com/office/drawing/2014/main" id="{70D918A0-D6CF-6B01-8537-6497CF1E96ED}"/>
                  </a:ext>
                </a:extLst>
              </p:cNvPr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12506" name="Google Shape;8923;p64">
                  <a:extLst>
                    <a:ext uri="{FF2B5EF4-FFF2-40B4-BE49-F238E27FC236}">
                      <a16:creationId xmlns:a16="http://schemas.microsoft.com/office/drawing/2014/main" id="{7FDCFB6F-89BF-C239-143C-9802ACD0D8C9}"/>
                    </a:ext>
                  </a:extLst>
                </p:cNvPr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07" name="Google Shape;8924;p64">
                  <a:extLst>
                    <a:ext uri="{FF2B5EF4-FFF2-40B4-BE49-F238E27FC236}">
                      <a16:creationId xmlns:a16="http://schemas.microsoft.com/office/drawing/2014/main" id="{A4D7D017-2065-8A48-B28D-AD898732AF81}"/>
                    </a:ext>
                  </a:extLst>
                </p:cNvPr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12495" name="Google Shape;8925;p64">
                <a:extLst>
                  <a:ext uri="{FF2B5EF4-FFF2-40B4-BE49-F238E27FC236}">
                    <a16:creationId xmlns:a16="http://schemas.microsoft.com/office/drawing/2014/main" id="{04BA6966-411A-1A28-57A0-439BB76119BA}"/>
                  </a:ext>
                </a:extLst>
              </p:cNvPr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2496" name="Google Shape;8926;p64">
                <a:extLst>
                  <a:ext uri="{FF2B5EF4-FFF2-40B4-BE49-F238E27FC236}">
                    <a16:creationId xmlns:a16="http://schemas.microsoft.com/office/drawing/2014/main" id="{3B283232-F93B-A284-22F2-BBBB18817099}"/>
                  </a:ext>
                </a:extLst>
              </p:cNvPr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12497" name="Google Shape;8927;p64">
                <a:extLst>
                  <a:ext uri="{FF2B5EF4-FFF2-40B4-BE49-F238E27FC236}">
                    <a16:creationId xmlns:a16="http://schemas.microsoft.com/office/drawing/2014/main" id="{E081ECC9-D0A4-B783-117E-219A3C43CD7D}"/>
                  </a:ext>
                </a:extLst>
              </p:cNvPr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12504" name="Google Shape;8928;p64">
                  <a:extLst>
                    <a:ext uri="{FF2B5EF4-FFF2-40B4-BE49-F238E27FC236}">
                      <a16:creationId xmlns:a16="http://schemas.microsoft.com/office/drawing/2014/main" id="{18816D9B-0A81-E693-C068-175782890CB2}"/>
                    </a:ext>
                  </a:extLst>
                </p:cNvPr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05" name="Google Shape;8929;p64">
                  <a:extLst>
                    <a:ext uri="{FF2B5EF4-FFF2-40B4-BE49-F238E27FC236}">
                      <a16:creationId xmlns:a16="http://schemas.microsoft.com/office/drawing/2014/main" id="{FD2F6CDD-EC31-E9DF-F490-D950FD252EB3}"/>
                    </a:ext>
                  </a:extLst>
                </p:cNvPr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98" name="Google Shape;8930;p64">
                <a:extLst>
                  <a:ext uri="{FF2B5EF4-FFF2-40B4-BE49-F238E27FC236}">
                    <a16:creationId xmlns:a16="http://schemas.microsoft.com/office/drawing/2014/main" id="{EF6873A6-189F-546D-F14E-403BEFE6A219}"/>
                  </a:ext>
                </a:extLst>
              </p:cNvPr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12502" name="Google Shape;8931;p64">
                  <a:extLst>
                    <a:ext uri="{FF2B5EF4-FFF2-40B4-BE49-F238E27FC236}">
                      <a16:creationId xmlns:a16="http://schemas.microsoft.com/office/drawing/2014/main" id="{0D3884C2-5C73-EBFC-0E1A-255D508934DE}"/>
                    </a:ext>
                  </a:extLst>
                </p:cNvPr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03" name="Google Shape;8932;p64">
                  <a:extLst>
                    <a:ext uri="{FF2B5EF4-FFF2-40B4-BE49-F238E27FC236}">
                      <a16:creationId xmlns:a16="http://schemas.microsoft.com/office/drawing/2014/main" id="{D3D56D91-09AC-D116-0A8B-C1885401FA1E}"/>
                    </a:ext>
                  </a:extLst>
                </p:cNvPr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499" name="Google Shape;8933;p64">
                <a:extLst>
                  <a:ext uri="{FF2B5EF4-FFF2-40B4-BE49-F238E27FC236}">
                    <a16:creationId xmlns:a16="http://schemas.microsoft.com/office/drawing/2014/main" id="{8385B4B6-BF71-878A-1913-DBC6ED3C28EC}"/>
                  </a:ext>
                </a:extLst>
              </p:cNvPr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12500" name="Google Shape;8934;p64">
                  <a:extLst>
                    <a:ext uri="{FF2B5EF4-FFF2-40B4-BE49-F238E27FC236}">
                      <a16:creationId xmlns:a16="http://schemas.microsoft.com/office/drawing/2014/main" id="{A085CDDF-33C3-100D-33EC-F861505AA2BD}"/>
                    </a:ext>
                  </a:extLst>
                </p:cNvPr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501" name="Google Shape;8935;p64">
                  <a:extLst>
                    <a:ext uri="{FF2B5EF4-FFF2-40B4-BE49-F238E27FC236}">
                      <a16:creationId xmlns:a16="http://schemas.microsoft.com/office/drawing/2014/main" id="{A782EFF7-57B8-EA41-A688-D72C124ACFA4}"/>
                    </a:ext>
                  </a:extLst>
                </p:cNvPr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192" name="Google Shape;8936;p64">
              <a:extLst>
                <a:ext uri="{FF2B5EF4-FFF2-40B4-BE49-F238E27FC236}">
                  <a16:creationId xmlns:a16="http://schemas.microsoft.com/office/drawing/2014/main" id="{16C1FDEA-FF01-89BC-AC5A-9A7CBAE58AC8}"/>
                </a:ext>
              </a:extLst>
            </p:cNvPr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12193" name="Google Shape;8937;p64">
                <a:extLst>
                  <a:ext uri="{FF2B5EF4-FFF2-40B4-BE49-F238E27FC236}">
                    <a16:creationId xmlns:a16="http://schemas.microsoft.com/office/drawing/2014/main" id="{6524B7F7-37CB-DA59-8BF8-D32B512B9224}"/>
                  </a:ext>
                </a:extLst>
              </p:cNvPr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12331" name="Google Shape;8938;p64">
                  <a:extLst>
                    <a:ext uri="{FF2B5EF4-FFF2-40B4-BE49-F238E27FC236}">
                      <a16:creationId xmlns:a16="http://schemas.microsoft.com/office/drawing/2014/main" id="{8196D00D-E668-9B25-6662-0BBD70966A40}"/>
                    </a:ext>
                  </a:extLst>
                </p:cNvPr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32" name="Google Shape;8939;p64">
                  <a:extLst>
                    <a:ext uri="{FF2B5EF4-FFF2-40B4-BE49-F238E27FC236}">
                      <a16:creationId xmlns:a16="http://schemas.microsoft.com/office/drawing/2014/main" id="{8FA62377-9AF6-4216-21AC-A1ED5C157C21}"/>
                    </a:ext>
                  </a:extLst>
                </p:cNvPr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33" name="Google Shape;8940;p64">
                  <a:extLst>
                    <a:ext uri="{FF2B5EF4-FFF2-40B4-BE49-F238E27FC236}">
                      <a16:creationId xmlns:a16="http://schemas.microsoft.com/office/drawing/2014/main" id="{60768C88-107F-069D-C591-25FC1EE92E1C}"/>
                    </a:ext>
                  </a:extLst>
                </p:cNvPr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34" name="Google Shape;8941;p64">
                  <a:extLst>
                    <a:ext uri="{FF2B5EF4-FFF2-40B4-BE49-F238E27FC236}">
                      <a16:creationId xmlns:a16="http://schemas.microsoft.com/office/drawing/2014/main" id="{9CB4CA0D-A4CD-27AC-CC58-B92AA3E9D1B4}"/>
                    </a:ext>
                  </a:extLst>
                </p:cNvPr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35" name="Google Shape;8942;p64">
                  <a:extLst>
                    <a:ext uri="{FF2B5EF4-FFF2-40B4-BE49-F238E27FC236}">
                      <a16:creationId xmlns:a16="http://schemas.microsoft.com/office/drawing/2014/main" id="{28676086-DE6F-8B77-1CB1-EB5C9A98C648}"/>
                    </a:ext>
                  </a:extLst>
                </p:cNvPr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36" name="Google Shape;8943;p64">
                  <a:extLst>
                    <a:ext uri="{FF2B5EF4-FFF2-40B4-BE49-F238E27FC236}">
                      <a16:creationId xmlns:a16="http://schemas.microsoft.com/office/drawing/2014/main" id="{322087A7-C69A-D41B-8388-00F859994AE6}"/>
                    </a:ext>
                  </a:extLst>
                </p:cNvPr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37" name="Google Shape;8944;p64">
                  <a:extLst>
                    <a:ext uri="{FF2B5EF4-FFF2-40B4-BE49-F238E27FC236}">
                      <a16:creationId xmlns:a16="http://schemas.microsoft.com/office/drawing/2014/main" id="{CE098563-8917-E236-650D-0B94DD704424}"/>
                    </a:ext>
                  </a:extLst>
                </p:cNvPr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38" name="Google Shape;8945;p64">
                  <a:extLst>
                    <a:ext uri="{FF2B5EF4-FFF2-40B4-BE49-F238E27FC236}">
                      <a16:creationId xmlns:a16="http://schemas.microsoft.com/office/drawing/2014/main" id="{1ED25604-13B6-00B7-5666-E74BC783F2C7}"/>
                    </a:ext>
                  </a:extLst>
                </p:cNvPr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39" name="Google Shape;8946;p64">
                  <a:extLst>
                    <a:ext uri="{FF2B5EF4-FFF2-40B4-BE49-F238E27FC236}">
                      <a16:creationId xmlns:a16="http://schemas.microsoft.com/office/drawing/2014/main" id="{B2F2CE7A-746F-06C3-9711-C5E6D7A80F1F}"/>
                    </a:ext>
                  </a:extLst>
                </p:cNvPr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0" name="Google Shape;8947;p64">
                  <a:extLst>
                    <a:ext uri="{FF2B5EF4-FFF2-40B4-BE49-F238E27FC236}">
                      <a16:creationId xmlns:a16="http://schemas.microsoft.com/office/drawing/2014/main" id="{2BFFB1AD-8E90-C0D1-114B-800962A19573}"/>
                    </a:ext>
                  </a:extLst>
                </p:cNvPr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1" name="Google Shape;8948;p64">
                  <a:extLst>
                    <a:ext uri="{FF2B5EF4-FFF2-40B4-BE49-F238E27FC236}">
                      <a16:creationId xmlns:a16="http://schemas.microsoft.com/office/drawing/2014/main" id="{9880FEFC-EDF2-9ECE-F4A3-1E9CE3DDAC84}"/>
                    </a:ext>
                  </a:extLst>
                </p:cNvPr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2" name="Google Shape;8949;p64">
                  <a:extLst>
                    <a:ext uri="{FF2B5EF4-FFF2-40B4-BE49-F238E27FC236}">
                      <a16:creationId xmlns:a16="http://schemas.microsoft.com/office/drawing/2014/main" id="{59EA92DC-3A59-889D-E60E-13659AAF9765}"/>
                    </a:ext>
                  </a:extLst>
                </p:cNvPr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3" name="Google Shape;8950;p64">
                  <a:extLst>
                    <a:ext uri="{FF2B5EF4-FFF2-40B4-BE49-F238E27FC236}">
                      <a16:creationId xmlns:a16="http://schemas.microsoft.com/office/drawing/2014/main" id="{07CDBAD9-A23A-3121-CCEE-87D37591BFC7}"/>
                    </a:ext>
                  </a:extLst>
                </p:cNvPr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4" name="Google Shape;8951;p64">
                  <a:extLst>
                    <a:ext uri="{FF2B5EF4-FFF2-40B4-BE49-F238E27FC236}">
                      <a16:creationId xmlns:a16="http://schemas.microsoft.com/office/drawing/2014/main" id="{C8D8E084-FAA7-B196-13A1-B99196820FDC}"/>
                    </a:ext>
                  </a:extLst>
                </p:cNvPr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5" name="Google Shape;8952;p64">
                  <a:extLst>
                    <a:ext uri="{FF2B5EF4-FFF2-40B4-BE49-F238E27FC236}">
                      <a16:creationId xmlns:a16="http://schemas.microsoft.com/office/drawing/2014/main" id="{CE83119D-EA8B-1A17-7179-7CA8873C12F6}"/>
                    </a:ext>
                  </a:extLst>
                </p:cNvPr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6" name="Google Shape;8953;p64">
                  <a:extLst>
                    <a:ext uri="{FF2B5EF4-FFF2-40B4-BE49-F238E27FC236}">
                      <a16:creationId xmlns:a16="http://schemas.microsoft.com/office/drawing/2014/main" id="{9E29A830-B141-AA62-956A-33BCB75122E3}"/>
                    </a:ext>
                  </a:extLst>
                </p:cNvPr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7" name="Google Shape;8954;p64">
                  <a:extLst>
                    <a:ext uri="{FF2B5EF4-FFF2-40B4-BE49-F238E27FC236}">
                      <a16:creationId xmlns:a16="http://schemas.microsoft.com/office/drawing/2014/main" id="{ABBEFC7D-EE97-DA0D-0CC6-68D77B91CB28}"/>
                    </a:ext>
                  </a:extLst>
                </p:cNvPr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8" name="Google Shape;8955;p64">
                  <a:extLst>
                    <a:ext uri="{FF2B5EF4-FFF2-40B4-BE49-F238E27FC236}">
                      <a16:creationId xmlns:a16="http://schemas.microsoft.com/office/drawing/2014/main" id="{8A1F05C6-3750-4EF0-EDD5-3C62475035FF}"/>
                    </a:ext>
                  </a:extLst>
                </p:cNvPr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49" name="Google Shape;8956;p64">
                  <a:extLst>
                    <a:ext uri="{FF2B5EF4-FFF2-40B4-BE49-F238E27FC236}">
                      <a16:creationId xmlns:a16="http://schemas.microsoft.com/office/drawing/2014/main" id="{8B33FC86-664A-EFA0-C5E5-A9D4D9B70DA0}"/>
                    </a:ext>
                  </a:extLst>
                </p:cNvPr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0" name="Google Shape;8957;p64">
                  <a:extLst>
                    <a:ext uri="{FF2B5EF4-FFF2-40B4-BE49-F238E27FC236}">
                      <a16:creationId xmlns:a16="http://schemas.microsoft.com/office/drawing/2014/main" id="{C8FBFC86-D231-EC09-AF5A-497F47DCFC35}"/>
                    </a:ext>
                  </a:extLst>
                </p:cNvPr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1" name="Google Shape;8958;p64">
                  <a:extLst>
                    <a:ext uri="{FF2B5EF4-FFF2-40B4-BE49-F238E27FC236}">
                      <a16:creationId xmlns:a16="http://schemas.microsoft.com/office/drawing/2014/main" id="{D2C24AFD-0116-A848-4DEF-9E325F4E1BF7}"/>
                    </a:ext>
                  </a:extLst>
                </p:cNvPr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2" name="Google Shape;8959;p64">
                  <a:extLst>
                    <a:ext uri="{FF2B5EF4-FFF2-40B4-BE49-F238E27FC236}">
                      <a16:creationId xmlns:a16="http://schemas.microsoft.com/office/drawing/2014/main" id="{8AFE0A26-E762-C564-BD40-D611479823C2}"/>
                    </a:ext>
                  </a:extLst>
                </p:cNvPr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3" name="Google Shape;8960;p64">
                  <a:extLst>
                    <a:ext uri="{FF2B5EF4-FFF2-40B4-BE49-F238E27FC236}">
                      <a16:creationId xmlns:a16="http://schemas.microsoft.com/office/drawing/2014/main" id="{DB35E70B-C208-7827-9AA1-13F697FFAD72}"/>
                    </a:ext>
                  </a:extLst>
                </p:cNvPr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4" name="Google Shape;8961;p64">
                  <a:extLst>
                    <a:ext uri="{FF2B5EF4-FFF2-40B4-BE49-F238E27FC236}">
                      <a16:creationId xmlns:a16="http://schemas.microsoft.com/office/drawing/2014/main" id="{5A37F108-35FA-6517-9608-F8728360DB66}"/>
                    </a:ext>
                  </a:extLst>
                </p:cNvPr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5" name="Google Shape;8962;p64">
                  <a:extLst>
                    <a:ext uri="{FF2B5EF4-FFF2-40B4-BE49-F238E27FC236}">
                      <a16:creationId xmlns:a16="http://schemas.microsoft.com/office/drawing/2014/main" id="{F7F9AAE3-1D88-4230-E67C-202BD1B7F0B6}"/>
                    </a:ext>
                  </a:extLst>
                </p:cNvPr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6" name="Google Shape;8963;p64">
                  <a:extLst>
                    <a:ext uri="{FF2B5EF4-FFF2-40B4-BE49-F238E27FC236}">
                      <a16:creationId xmlns:a16="http://schemas.microsoft.com/office/drawing/2014/main" id="{6D98497D-FB22-B08A-3939-7D01883D8850}"/>
                    </a:ext>
                  </a:extLst>
                </p:cNvPr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7" name="Google Shape;8964;p64">
                  <a:extLst>
                    <a:ext uri="{FF2B5EF4-FFF2-40B4-BE49-F238E27FC236}">
                      <a16:creationId xmlns:a16="http://schemas.microsoft.com/office/drawing/2014/main" id="{58DDED23-5864-D295-A368-79DCABB677CD}"/>
                    </a:ext>
                  </a:extLst>
                </p:cNvPr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8" name="Google Shape;8965;p64">
                  <a:extLst>
                    <a:ext uri="{FF2B5EF4-FFF2-40B4-BE49-F238E27FC236}">
                      <a16:creationId xmlns:a16="http://schemas.microsoft.com/office/drawing/2014/main" id="{4AD01CCA-7388-A01B-7142-FE0ED68E1166}"/>
                    </a:ext>
                  </a:extLst>
                </p:cNvPr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59" name="Google Shape;8966;p64">
                  <a:extLst>
                    <a:ext uri="{FF2B5EF4-FFF2-40B4-BE49-F238E27FC236}">
                      <a16:creationId xmlns:a16="http://schemas.microsoft.com/office/drawing/2014/main" id="{E596857D-6B7A-21FB-9337-87B2D11AC636}"/>
                    </a:ext>
                  </a:extLst>
                </p:cNvPr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0" name="Google Shape;8967;p64">
                  <a:extLst>
                    <a:ext uri="{FF2B5EF4-FFF2-40B4-BE49-F238E27FC236}">
                      <a16:creationId xmlns:a16="http://schemas.microsoft.com/office/drawing/2014/main" id="{F3410316-0232-B75B-C75E-E8A466433373}"/>
                    </a:ext>
                  </a:extLst>
                </p:cNvPr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1" name="Google Shape;8968;p64">
                  <a:extLst>
                    <a:ext uri="{FF2B5EF4-FFF2-40B4-BE49-F238E27FC236}">
                      <a16:creationId xmlns:a16="http://schemas.microsoft.com/office/drawing/2014/main" id="{1EE11958-2423-347C-32AD-51B337C4328D}"/>
                    </a:ext>
                  </a:extLst>
                </p:cNvPr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2" name="Google Shape;8969;p64">
                  <a:extLst>
                    <a:ext uri="{FF2B5EF4-FFF2-40B4-BE49-F238E27FC236}">
                      <a16:creationId xmlns:a16="http://schemas.microsoft.com/office/drawing/2014/main" id="{1B7D6A42-E2D1-3C7F-847F-7C64529D8D8C}"/>
                    </a:ext>
                  </a:extLst>
                </p:cNvPr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3" name="Google Shape;8970;p64">
                  <a:extLst>
                    <a:ext uri="{FF2B5EF4-FFF2-40B4-BE49-F238E27FC236}">
                      <a16:creationId xmlns:a16="http://schemas.microsoft.com/office/drawing/2014/main" id="{F2A94921-5F43-1AD8-8F68-FBDB285D7EF2}"/>
                    </a:ext>
                  </a:extLst>
                </p:cNvPr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4" name="Google Shape;8971;p64">
                  <a:extLst>
                    <a:ext uri="{FF2B5EF4-FFF2-40B4-BE49-F238E27FC236}">
                      <a16:creationId xmlns:a16="http://schemas.microsoft.com/office/drawing/2014/main" id="{B17DB2CB-97D3-D0F8-C3B8-582F3D08ECD2}"/>
                    </a:ext>
                  </a:extLst>
                </p:cNvPr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5" name="Google Shape;8972;p64">
                  <a:extLst>
                    <a:ext uri="{FF2B5EF4-FFF2-40B4-BE49-F238E27FC236}">
                      <a16:creationId xmlns:a16="http://schemas.microsoft.com/office/drawing/2014/main" id="{DDAF02CF-0BCC-F351-0EE4-5BB91AA6B1C4}"/>
                    </a:ext>
                  </a:extLst>
                </p:cNvPr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6" name="Google Shape;8973;p64">
                  <a:extLst>
                    <a:ext uri="{FF2B5EF4-FFF2-40B4-BE49-F238E27FC236}">
                      <a16:creationId xmlns:a16="http://schemas.microsoft.com/office/drawing/2014/main" id="{019D65D8-21E4-C3CD-9723-D96C44F28A6E}"/>
                    </a:ext>
                  </a:extLst>
                </p:cNvPr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7" name="Google Shape;8974;p64">
                  <a:extLst>
                    <a:ext uri="{FF2B5EF4-FFF2-40B4-BE49-F238E27FC236}">
                      <a16:creationId xmlns:a16="http://schemas.microsoft.com/office/drawing/2014/main" id="{18170AEB-FF56-916F-7EA6-43C0B9E0DD58}"/>
                    </a:ext>
                  </a:extLst>
                </p:cNvPr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8" name="Google Shape;8975;p64">
                  <a:extLst>
                    <a:ext uri="{FF2B5EF4-FFF2-40B4-BE49-F238E27FC236}">
                      <a16:creationId xmlns:a16="http://schemas.microsoft.com/office/drawing/2014/main" id="{8EA8A654-1F98-D3F2-D575-BE74401D9523}"/>
                    </a:ext>
                  </a:extLst>
                </p:cNvPr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69" name="Google Shape;8976;p64">
                  <a:extLst>
                    <a:ext uri="{FF2B5EF4-FFF2-40B4-BE49-F238E27FC236}">
                      <a16:creationId xmlns:a16="http://schemas.microsoft.com/office/drawing/2014/main" id="{D1EF92A8-524E-B1AE-597A-56539BF81261}"/>
                    </a:ext>
                  </a:extLst>
                </p:cNvPr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0" name="Google Shape;8977;p64">
                  <a:extLst>
                    <a:ext uri="{FF2B5EF4-FFF2-40B4-BE49-F238E27FC236}">
                      <a16:creationId xmlns:a16="http://schemas.microsoft.com/office/drawing/2014/main" id="{222D6741-D8F8-D645-D956-B1AAF1A88A88}"/>
                    </a:ext>
                  </a:extLst>
                </p:cNvPr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1" name="Google Shape;8978;p64">
                  <a:extLst>
                    <a:ext uri="{FF2B5EF4-FFF2-40B4-BE49-F238E27FC236}">
                      <a16:creationId xmlns:a16="http://schemas.microsoft.com/office/drawing/2014/main" id="{3119C5E5-E57C-4651-2C1F-71542A57B900}"/>
                    </a:ext>
                  </a:extLst>
                </p:cNvPr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2" name="Google Shape;8979;p64">
                  <a:extLst>
                    <a:ext uri="{FF2B5EF4-FFF2-40B4-BE49-F238E27FC236}">
                      <a16:creationId xmlns:a16="http://schemas.microsoft.com/office/drawing/2014/main" id="{56072DAF-CFC6-E1BF-8FF6-3346C014F0E6}"/>
                    </a:ext>
                  </a:extLst>
                </p:cNvPr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3" name="Google Shape;8980;p64">
                  <a:extLst>
                    <a:ext uri="{FF2B5EF4-FFF2-40B4-BE49-F238E27FC236}">
                      <a16:creationId xmlns:a16="http://schemas.microsoft.com/office/drawing/2014/main" id="{337ADB63-8178-09BF-C650-CDE8E94FBABE}"/>
                    </a:ext>
                  </a:extLst>
                </p:cNvPr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4" name="Google Shape;8981;p64">
                  <a:extLst>
                    <a:ext uri="{FF2B5EF4-FFF2-40B4-BE49-F238E27FC236}">
                      <a16:creationId xmlns:a16="http://schemas.microsoft.com/office/drawing/2014/main" id="{24B27807-286F-697A-C3DC-0297904FC4D6}"/>
                    </a:ext>
                  </a:extLst>
                </p:cNvPr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5" name="Google Shape;8982;p64">
                  <a:extLst>
                    <a:ext uri="{FF2B5EF4-FFF2-40B4-BE49-F238E27FC236}">
                      <a16:creationId xmlns:a16="http://schemas.microsoft.com/office/drawing/2014/main" id="{7D328099-5D29-BBA9-0F48-15DE50E294CE}"/>
                    </a:ext>
                  </a:extLst>
                </p:cNvPr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6" name="Google Shape;8983;p64">
                  <a:extLst>
                    <a:ext uri="{FF2B5EF4-FFF2-40B4-BE49-F238E27FC236}">
                      <a16:creationId xmlns:a16="http://schemas.microsoft.com/office/drawing/2014/main" id="{16A25DA5-691A-2771-A6B2-38E5106C98C1}"/>
                    </a:ext>
                  </a:extLst>
                </p:cNvPr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7" name="Google Shape;8984;p64">
                  <a:extLst>
                    <a:ext uri="{FF2B5EF4-FFF2-40B4-BE49-F238E27FC236}">
                      <a16:creationId xmlns:a16="http://schemas.microsoft.com/office/drawing/2014/main" id="{19BFC9E5-C505-4875-39D0-9E559AAF4B9B}"/>
                    </a:ext>
                  </a:extLst>
                </p:cNvPr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8" name="Google Shape;8985;p64">
                  <a:extLst>
                    <a:ext uri="{FF2B5EF4-FFF2-40B4-BE49-F238E27FC236}">
                      <a16:creationId xmlns:a16="http://schemas.microsoft.com/office/drawing/2014/main" id="{6EF518FA-40F8-7F9F-71E3-D0C48B01BA62}"/>
                    </a:ext>
                  </a:extLst>
                </p:cNvPr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79" name="Google Shape;8986;p64">
                  <a:extLst>
                    <a:ext uri="{FF2B5EF4-FFF2-40B4-BE49-F238E27FC236}">
                      <a16:creationId xmlns:a16="http://schemas.microsoft.com/office/drawing/2014/main" id="{6A84261D-978C-B6D9-3B75-A0228CD77EB4}"/>
                    </a:ext>
                  </a:extLst>
                </p:cNvPr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80" name="Google Shape;8987;p64">
                  <a:extLst>
                    <a:ext uri="{FF2B5EF4-FFF2-40B4-BE49-F238E27FC236}">
                      <a16:creationId xmlns:a16="http://schemas.microsoft.com/office/drawing/2014/main" id="{36153AF8-49D1-6782-A492-9F44666F374E}"/>
                    </a:ext>
                  </a:extLst>
                </p:cNvPr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81" name="Google Shape;8988;p64">
                  <a:extLst>
                    <a:ext uri="{FF2B5EF4-FFF2-40B4-BE49-F238E27FC236}">
                      <a16:creationId xmlns:a16="http://schemas.microsoft.com/office/drawing/2014/main" id="{29F3A30A-64A6-47DB-3E67-02250166B864}"/>
                    </a:ext>
                  </a:extLst>
                </p:cNvPr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82" name="Google Shape;8989;p64">
                  <a:extLst>
                    <a:ext uri="{FF2B5EF4-FFF2-40B4-BE49-F238E27FC236}">
                      <a16:creationId xmlns:a16="http://schemas.microsoft.com/office/drawing/2014/main" id="{1CF1C91D-9F81-38E3-DE64-93317DCC5B98}"/>
                    </a:ext>
                  </a:extLst>
                </p:cNvPr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83" name="Google Shape;8990;p64">
                  <a:extLst>
                    <a:ext uri="{FF2B5EF4-FFF2-40B4-BE49-F238E27FC236}">
                      <a16:creationId xmlns:a16="http://schemas.microsoft.com/office/drawing/2014/main" id="{DF1CF8BD-9C89-9981-34E1-4240F3F047B5}"/>
                    </a:ext>
                  </a:extLst>
                </p:cNvPr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84" name="Google Shape;8991;p64">
                  <a:extLst>
                    <a:ext uri="{FF2B5EF4-FFF2-40B4-BE49-F238E27FC236}">
                      <a16:creationId xmlns:a16="http://schemas.microsoft.com/office/drawing/2014/main" id="{49254382-1E62-B5B4-6E7A-3A353E031F8B}"/>
                    </a:ext>
                  </a:extLst>
                </p:cNvPr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85" name="Google Shape;8992;p64">
                  <a:extLst>
                    <a:ext uri="{FF2B5EF4-FFF2-40B4-BE49-F238E27FC236}">
                      <a16:creationId xmlns:a16="http://schemas.microsoft.com/office/drawing/2014/main" id="{648767DE-3178-EA7D-4295-2B382D81F10C}"/>
                    </a:ext>
                  </a:extLst>
                </p:cNvPr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86" name="Google Shape;8993;p64">
                  <a:extLst>
                    <a:ext uri="{FF2B5EF4-FFF2-40B4-BE49-F238E27FC236}">
                      <a16:creationId xmlns:a16="http://schemas.microsoft.com/office/drawing/2014/main" id="{07453E21-DEE0-947B-CF15-E6CDF6403E7A}"/>
                    </a:ext>
                  </a:extLst>
                </p:cNvPr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194" name="Google Shape;8994;p64">
                <a:extLst>
                  <a:ext uri="{FF2B5EF4-FFF2-40B4-BE49-F238E27FC236}">
                    <a16:creationId xmlns:a16="http://schemas.microsoft.com/office/drawing/2014/main" id="{4E2686EA-7481-B5FF-0858-2348390AA57B}"/>
                  </a:ext>
                </a:extLst>
              </p:cNvPr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12329" name="Google Shape;8995;p64">
                  <a:extLst>
                    <a:ext uri="{FF2B5EF4-FFF2-40B4-BE49-F238E27FC236}">
                      <a16:creationId xmlns:a16="http://schemas.microsoft.com/office/drawing/2014/main" id="{11DCC15B-52C3-3A77-8654-F453F6AD355D}"/>
                    </a:ext>
                  </a:extLst>
                </p:cNvPr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30" name="Google Shape;8996;p64">
                  <a:extLst>
                    <a:ext uri="{FF2B5EF4-FFF2-40B4-BE49-F238E27FC236}">
                      <a16:creationId xmlns:a16="http://schemas.microsoft.com/office/drawing/2014/main" id="{25AAB13E-323D-88AE-33FC-4DA09E404F3A}"/>
                    </a:ext>
                  </a:extLst>
                </p:cNvPr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195" name="Google Shape;8997;p64">
                <a:extLst>
                  <a:ext uri="{FF2B5EF4-FFF2-40B4-BE49-F238E27FC236}">
                    <a16:creationId xmlns:a16="http://schemas.microsoft.com/office/drawing/2014/main" id="{4C89BCD8-D377-71C8-6C26-35B3F8FC583F}"/>
                  </a:ext>
                </a:extLst>
              </p:cNvPr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12327" name="Google Shape;8998;p64">
                  <a:extLst>
                    <a:ext uri="{FF2B5EF4-FFF2-40B4-BE49-F238E27FC236}">
                      <a16:creationId xmlns:a16="http://schemas.microsoft.com/office/drawing/2014/main" id="{DFB4B950-5FB0-7912-1EA8-BF3134878DB2}"/>
                    </a:ext>
                  </a:extLst>
                </p:cNvPr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28" name="Google Shape;8999;p64">
                  <a:extLst>
                    <a:ext uri="{FF2B5EF4-FFF2-40B4-BE49-F238E27FC236}">
                      <a16:creationId xmlns:a16="http://schemas.microsoft.com/office/drawing/2014/main" id="{3DEF299A-76E2-0FF9-D4B5-27DEA42219F9}"/>
                    </a:ext>
                  </a:extLst>
                </p:cNvPr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196" name="Google Shape;9000;p64">
                <a:extLst>
                  <a:ext uri="{FF2B5EF4-FFF2-40B4-BE49-F238E27FC236}">
                    <a16:creationId xmlns:a16="http://schemas.microsoft.com/office/drawing/2014/main" id="{C7CE0203-608B-B6D1-B733-E1D7CC8CBFF8}"/>
                  </a:ext>
                </a:extLst>
              </p:cNvPr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12325" name="Google Shape;9001;p64">
                  <a:extLst>
                    <a:ext uri="{FF2B5EF4-FFF2-40B4-BE49-F238E27FC236}">
                      <a16:creationId xmlns:a16="http://schemas.microsoft.com/office/drawing/2014/main" id="{D2FE6ACC-BCD8-272B-CE43-A767CF1AE9E1}"/>
                    </a:ext>
                  </a:extLst>
                </p:cNvPr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26" name="Google Shape;9002;p64">
                  <a:extLst>
                    <a:ext uri="{FF2B5EF4-FFF2-40B4-BE49-F238E27FC236}">
                      <a16:creationId xmlns:a16="http://schemas.microsoft.com/office/drawing/2014/main" id="{8825BA55-EADA-16A2-AB03-BD4444D2204F}"/>
                    </a:ext>
                  </a:extLst>
                </p:cNvPr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197" name="Google Shape;9003;p64">
                <a:extLst>
                  <a:ext uri="{FF2B5EF4-FFF2-40B4-BE49-F238E27FC236}">
                    <a16:creationId xmlns:a16="http://schemas.microsoft.com/office/drawing/2014/main" id="{EBC27F75-0771-369E-F3F7-232776D48497}"/>
                  </a:ext>
                </a:extLst>
              </p:cNvPr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12323" name="Google Shape;9004;p64">
                  <a:extLst>
                    <a:ext uri="{FF2B5EF4-FFF2-40B4-BE49-F238E27FC236}">
                      <a16:creationId xmlns:a16="http://schemas.microsoft.com/office/drawing/2014/main" id="{C176CA6C-1858-319F-4C9A-0BED7B41A609}"/>
                    </a:ext>
                  </a:extLst>
                </p:cNvPr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24" name="Google Shape;9005;p64">
                  <a:extLst>
                    <a:ext uri="{FF2B5EF4-FFF2-40B4-BE49-F238E27FC236}">
                      <a16:creationId xmlns:a16="http://schemas.microsoft.com/office/drawing/2014/main" id="{C63D8AB8-15CE-AB81-8EB1-AEC7AFF3B3B5}"/>
                    </a:ext>
                  </a:extLst>
                </p:cNvPr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198" name="Google Shape;9006;p64">
                <a:extLst>
                  <a:ext uri="{FF2B5EF4-FFF2-40B4-BE49-F238E27FC236}">
                    <a16:creationId xmlns:a16="http://schemas.microsoft.com/office/drawing/2014/main" id="{D3609BD5-95EA-C844-D27B-6030B6872E3A}"/>
                  </a:ext>
                </a:extLst>
              </p:cNvPr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12321" name="Google Shape;9007;p64">
                  <a:extLst>
                    <a:ext uri="{FF2B5EF4-FFF2-40B4-BE49-F238E27FC236}">
                      <a16:creationId xmlns:a16="http://schemas.microsoft.com/office/drawing/2014/main" id="{AAE5FF47-AB1C-64BC-B804-DAC04249B6E8}"/>
                    </a:ext>
                  </a:extLst>
                </p:cNvPr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22" name="Google Shape;9008;p64">
                  <a:extLst>
                    <a:ext uri="{FF2B5EF4-FFF2-40B4-BE49-F238E27FC236}">
                      <a16:creationId xmlns:a16="http://schemas.microsoft.com/office/drawing/2014/main" id="{2A9CF766-79B3-2B49-27A1-D656BC511CE7}"/>
                    </a:ext>
                  </a:extLst>
                </p:cNvPr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199" name="Google Shape;9009;p64">
                <a:extLst>
                  <a:ext uri="{FF2B5EF4-FFF2-40B4-BE49-F238E27FC236}">
                    <a16:creationId xmlns:a16="http://schemas.microsoft.com/office/drawing/2014/main" id="{B5A2ED0B-74A1-1130-7ACB-B83269A0B118}"/>
                  </a:ext>
                </a:extLst>
              </p:cNvPr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12319" name="Google Shape;9010;p64">
                  <a:extLst>
                    <a:ext uri="{FF2B5EF4-FFF2-40B4-BE49-F238E27FC236}">
                      <a16:creationId xmlns:a16="http://schemas.microsoft.com/office/drawing/2014/main" id="{E9F74F2A-BE2C-3639-574B-50DA7D528ADB}"/>
                    </a:ext>
                  </a:extLst>
                </p:cNvPr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20" name="Google Shape;9011;p64">
                  <a:extLst>
                    <a:ext uri="{FF2B5EF4-FFF2-40B4-BE49-F238E27FC236}">
                      <a16:creationId xmlns:a16="http://schemas.microsoft.com/office/drawing/2014/main" id="{8D437DDB-06F6-705D-FACC-3F5E8BE9EE4C}"/>
                    </a:ext>
                  </a:extLst>
                </p:cNvPr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00" name="Google Shape;9012;p64">
                <a:extLst>
                  <a:ext uri="{FF2B5EF4-FFF2-40B4-BE49-F238E27FC236}">
                    <a16:creationId xmlns:a16="http://schemas.microsoft.com/office/drawing/2014/main" id="{1CE4FE49-C333-32E1-F9BE-A2E185FFABEB}"/>
                  </a:ext>
                </a:extLst>
              </p:cNvPr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12317" name="Google Shape;9013;p64">
                  <a:extLst>
                    <a:ext uri="{FF2B5EF4-FFF2-40B4-BE49-F238E27FC236}">
                      <a16:creationId xmlns:a16="http://schemas.microsoft.com/office/drawing/2014/main" id="{62694028-3F43-B097-4C02-BFDFFA9B3412}"/>
                    </a:ext>
                  </a:extLst>
                </p:cNvPr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18" name="Google Shape;9014;p64">
                  <a:extLst>
                    <a:ext uri="{FF2B5EF4-FFF2-40B4-BE49-F238E27FC236}">
                      <a16:creationId xmlns:a16="http://schemas.microsoft.com/office/drawing/2014/main" id="{7CCECFF1-B35C-E9EA-D906-9B31B76C5FF6}"/>
                    </a:ext>
                  </a:extLst>
                </p:cNvPr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01" name="Google Shape;9015;p64">
                <a:extLst>
                  <a:ext uri="{FF2B5EF4-FFF2-40B4-BE49-F238E27FC236}">
                    <a16:creationId xmlns:a16="http://schemas.microsoft.com/office/drawing/2014/main" id="{4851AA44-2D65-13BF-AF8D-FEFB0F30E921}"/>
                  </a:ext>
                </a:extLst>
              </p:cNvPr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12315" name="Google Shape;9016;p64">
                  <a:extLst>
                    <a:ext uri="{FF2B5EF4-FFF2-40B4-BE49-F238E27FC236}">
                      <a16:creationId xmlns:a16="http://schemas.microsoft.com/office/drawing/2014/main" id="{76A5938D-F814-F1C1-35EF-C0C399AA77A5}"/>
                    </a:ext>
                  </a:extLst>
                </p:cNvPr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16" name="Google Shape;9017;p64">
                  <a:extLst>
                    <a:ext uri="{FF2B5EF4-FFF2-40B4-BE49-F238E27FC236}">
                      <a16:creationId xmlns:a16="http://schemas.microsoft.com/office/drawing/2014/main" id="{0DFCC987-0ACF-D5E3-73CD-8E943D5AC148}"/>
                    </a:ext>
                  </a:extLst>
                </p:cNvPr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02" name="Google Shape;9018;p64">
                <a:extLst>
                  <a:ext uri="{FF2B5EF4-FFF2-40B4-BE49-F238E27FC236}">
                    <a16:creationId xmlns:a16="http://schemas.microsoft.com/office/drawing/2014/main" id="{E6D4C4AF-5EE4-A37B-B2FC-6C081EF77BA0}"/>
                  </a:ext>
                </a:extLst>
              </p:cNvPr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12313" name="Google Shape;9019;p64">
                  <a:extLst>
                    <a:ext uri="{FF2B5EF4-FFF2-40B4-BE49-F238E27FC236}">
                      <a16:creationId xmlns:a16="http://schemas.microsoft.com/office/drawing/2014/main" id="{0377BD40-FF96-95F1-A5BD-FEF5F27896A0}"/>
                    </a:ext>
                  </a:extLst>
                </p:cNvPr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14" name="Google Shape;9020;p64">
                  <a:extLst>
                    <a:ext uri="{FF2B5EF4-FFF2-40B4-BE49-F238E27FC236}">
                      <a16:creationId xmlns:a16="http://schemas.microsoft.com/office/drawing/2014/main" id="{F1DDE8DA-1FDA-21B0-34FF-87D103197772}"/>
                    </a:ext>
                  </a:extLst>
                </p:cNvPr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03" name="Google Shape;9021;p64">
                <a:extLst>
                  <a:ext uri="{FF2B5EF4-FFF2-40B4-BE49-F238E27FC236}">
                    <a16:creationId xmlns:a16="http://schemas.microsoft.com/office/drawing/2014/main" id="{9B73FDA6-B6B1-5626-2A6D-5E79052BA633}"/>
                  </a:ext>
                </a:extLst>
              </p:cNvPr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12311" name="Google Shape;9022;p64">
                  <a:extLst>
                    <a:ext uri="{FF2B5EF4-FFF2-40B4-BE49-F238E27FC236}">
                      <a16:creationId xmlns:a16="http://schemas.microsoft.com/office/drawing/2014/main" id="{0FB16D08-9D52-4E24-1E9B-B4B888169F01}"/>
                    </a:ext>
                  </a:extLst>
                </p:cNvPr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12" name="Google Shape;9023;p64">
                  <a:extLst>
                    <a:ext uri="{FF2B5EF4-FFF2-40B4-BE49-F238E27FC236}">
                      <a16:creationId xmlns:a16="http://schemas.microsoft.com/office/drawing/2014/main" id="{2E77596E-012C-D8BA-B0C0-74160954827E}"/>
                    </a:ext>
                  </a:extLst>
                </p:cNvPr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04" name="Google Shape;9024;p64">
                <a:extLst>
                  <a:ext uri="{FF2B5EF4-FFF2-40B4-BE49-F238E27FC236}">
                    <a16:creationId xmlns:a16="http://schemas.microsoft.com/office/drawing/2014/main" id="{39D41D4E-2F7F-5161-2B4F-AC8FB5F8096A}"/>
                  </a:ext>
                </a:extLst>
              </p:cNvPr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12309" name="Google Shape;9025;p64">
                  <a:extLst>
                    <a:ext uri="{FF2B5EF4-FFF2-40B4-BE49-F238E27FC236}">
                      <a16:creationId xmlns:a16="http://schemas.microsoft.com/office/drawing/2014/main" id="{DC5BCE63-D742-AD20-E90E-4B57A002B2D3}"/>
                    </a:ext>
                  </a:extLst>
                </p:cNvPr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10" name="Google Shape;9026;p64">
                  <a:extLst>
                    <a:ext uri="{FF2B5EF4-FFF2-40B4-BE49-F238E27FC236}">
                      <a16:creationId xmlns:a16="http://schemas.microsoft.com/office/drawing/2014/main" id="{6B622FC1-6E24-5E69-9291-26154C49856E}"/>
                    </a:ext>
                  </a:extLst>
                </p:cNvPr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12205" name="Google Shape;9027;p64">
                <a:extLst>
                  <a:ext uri="{FF2B5EF4-FFF2-40B4-BE49-F238E27FC236}">
                    <a16:creationId xmlns:a16="http://schemas.microsoft.com/office/drawing/2014/main" id="{4F49C0F3-9F17-68EF-1C69-390ABFBCD4B2}"/>
                  </a:ext>
                </a:extLst>
              </p:cNvPr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2206" name="Google Shape;9028;p64">
                <a:extLst>
                  <a:ext uri="{FF2B5EF4-FFF2-40B4-BE49-F238E27FC236}">
                    <a16:creationId xmlns:a16="http://schemas.microsoft.com/office/drawing/2014/main" id="{9E101351-3780-47AB-FC24-F6904BA205B2}"/>
                  </a:ext>
                </a:extLst>
              </p:cNvPr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12207" name="Google Shape;9029;p64">
                <a:extLst>
                  <a:ext uri="{FF2B5EF4-FFF2-40B4-BE49-F238E27FC236}">
                    <a16:creationId xmlns:a16="http://schemas.microsoft.com/office/drawing/2014/main" id="{7F3CDC13-9939-66CA-B450-C65CE187C948}"/>
                  </a:ext>
                </a:extLst>
              </p:cNvPr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12307" name="Google Shape;9030;p64">
                  <a:extLst>
                    <a:ext uri="{FF2B5EF4-FFF2-40B4-BE49-F238E27FC236}">
                      <a16:creationId xmlns:a16="http://schemas.microsoft.com/office/drawing/2014/main" id="{1DA32C90-8002-E2B4-2C5F-225C276DD597}"/>
                    </a:ext>
                  </a:extLst>
                </p:cNvPr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08" name="Google Shape;9031;p64">
                  <a:extLst>
                    <a:ext uri="{FF2B5EF4-FFF2-40B4-BE49-F238E27FC236}">
                      <a16:creationId xmlns:a16="http://schemas.microsoft.com/office/drawing/2014/main" id="{460B44B4-EBE1-93D1-3E40-935883B0A375}"/>
                    </a:ext>
                  </a:extLst>
                </p:cNvPr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08" name="Google Shape;9032;p64">
                <a:extLst>
                  <a:ext uri="{FF2B5EF4-FFF2-40B4-BE49-F238E27FC236}">
                    <a16:creationId xmlns:a16="http://schemas.microsoft.com/office/drawing/2014/main" id="{44326BB0-C6B0-06ED-38A4-E79B81877E96}"/>
                  </a:ext>
                </a:extLst>
              </p:cNvPr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12305" name="Google Shape;9033;p64">
                  <a:extLst>
                    <a:ext uri="{FF2B5EF4-FFF2-40B4-BE49-F238E27FC236}">
                      <a16:creationId xmlns:a16="http://schemas.microsoft.com/office/drawing/2014/main" id="{FCA4C3BA-69C3-43DA-049A-ED52269943C7}"/>
                    </a:ext>
                  </a:extLst>
                </p:cNvPr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06" name="Google Shape;9034;p64">
                  <a:extLst>
                    <a:ext uri="{FF2B5EF4-FFF2-40B4-BE49-F238E27FC236}">
                      <a16:creationId xmlns:a16="http://schemas.microsoft.com/office/drawing/2014/main" id="{AEEE4C0F-AD23-5C94-DB0C-48A60F14887D}"/>
                    </a:ext>
                  </a:extLst>
                </p:cNvPr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09" name="Google Shape;9035;p64">
                <a:extLst>
                  <a:ext uri="{FF2B5EF4-FFF2-40B4-BE49-F238E27FC236}">
                    <a16:creationId xmlns:a16="http://schemas.microsoft.com/office/drawing/2014/main" id="{76AD7BA4-C367-07F7-4887-D11648EF0C63}"/>
                  </a:ext>
                </a:extLst>
              </p:cNvPr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12303" name="Google Shape;9036;p64">
                  <a:extLst>
                    <a:ext uri="{FF2B5EF4-FFF2-40B4-BE49-F238E27FC236}">
                      <a16:creationId xmlns:a16="http://schemas.microsoft.com/office/drawing/2014/main" id="{D326E457-7FDD-E534-0033-B910527FB73B}"/>
                    </a:ext>
                  </a:extLst>
                </p:cNvPr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04" name="Google Shape;9037;p64">
                  <a:extLst>
                    <a:ext uri="{FF2B5EF4-FFF2-40B4-BE49-F238E27FC236}">
                      <a16:creationId xmlns:a16="http://schemas.microsoft.com/office/drawing/2014/main" id="{F629E549-DD36-8D23-F1E0-9122ADE6125E}"/>
                    </a:ext>
                  </a:extLst>
                </p:cNvPr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0" name="Google Shape;9038;p64">
                <a:extLst>
                  <a:ext uri="{FF2B5EF4-FFF2-40B4-BE49-F238E27FC236}">
                    <a16:creationId xmlns:a16="http://schemas.microsoft.com/office/drawing/2014/main" id="{7109AA1D-E2F4-0C52-5613-045C14C6A239}"/>
                  </a:ext>
                </a:extLst>
              </p:cNvPr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12301" name="Google Shape;9039;p64">
                  <a:extLst>
                    <a:ext uri="{FF2B5EF4-FFF2-40B4-BE49-F238E27FC236}">
                      <a16:creationId xmlns:a16="http://schemas.microsoft.com/office/drawing/2014/main" id="{60F0A334-D06D-B9E1-4DE0-CE90169B102E}"/>
                    </a:ext>
                  </a:extLst>
                </p:cNvPr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02" name="Google Shape;9040;p64">
                  <a:extLst>
                    <a:ext uri="{FF2B5EF4-FFF2-40B4-BE49-F238E27FC236}">
                      <a16:creationId xmlns:a16="http://schemas.microsoft.com/office/drawing/2014/main" id="{32A72A8F-69D5-B031-EF19-B8CCD8F94415}"/>
                    </a:ext>
                  </a:extLst>
                </p:cNvPr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1" name="Google Shape;9041;p64">
                <a:extLst>
                  <a:ext uri="{FF2B5EF4-FFF2-40B4-BE49-F238E27FC236}">
                    <a16:creationId xmlns:a16="http://schemas.microsoft.com/office/drawing/2014/main" id="{9FDD1E29-9BE9-844F-A97A-5BAE68A2BA0D}"/>
                  </a:ext>
                </a:extLst>
              </p:cNvPr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12299" name="Google Shape;9042;p64">
                  <a:extLst>
                    <a:ext uri="{FF2B5EF4-FFF2-40B4-BE49-F238E27FC236}">
                      <a16:creationId xmlns:a16="http://schemas.microsoft.com/office/drawing/2014/main" id="{BC08DD3B-97E8-DC79-BF8D-EB1E9D4F1FBC}"/>
                    </a:ext>
                  </a:extLst>
                </p:cNvPr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300" name="Google Shape;9043;p64">
                  <a:extLst>
                    <a:ext uri="{FF2B5EF4-FFF2-40B4-BE49-F238E27FC236}">
                      <a16:creationId xmlns:a16="http://schemas.microsoft.com/office/drawing/2014/main" id="{EFDAEF1F-0AEB-C149-2880-5DF23D7BE553}"/>
                    </a:ext>
                  </a:extLst>
                </p:cNvPr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2" name="Google Shape;9044;p64">
                <a:extLst>
                  <a:ext uri="{FF2B5EF4-FFF2-40B4-BE49-F238E27FC236}">
                    <a16:creationId xmlns:a16="http://schemas.microsoft.com/office/drawing/2014/main" id="{791EF353-0046-0481-A27F-F1410AD77FD1}"/>
                  </a:ext>
                </a:extLst>
              </p:cNvPr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12297" name="Google Shape;9045;p64">
                  <a:extLst>
                    <a:ext uri="{FF2B5EF4-FFF2-40B4-BE49-F238E27FC236}">
                      <a16:creationId xmlns:a16="http://schemas.microsoft.com/office/drawing/2014/main" id="{8582534B-4B6A-63C1-BE41-33B888D1F585}"/>
                    </a:ext>
                  </a:extLst>
                </p:cNvPr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98" name="Google Shape;9046;p64">
                  <a:extLst>
                    <a:ext uri="{FF2B5EF4-FFF2-40B4-BE49-F238E27FC236}">
                      <a16:creationId xmlns:a16="http://schemas.microsoft.com/office/drawing/2014/main" id="{DF4404F1-BFCE-EE93-D71A-8E233E815DB5}"/>
                    </a:ext>
                  </a:extLst>
                </p:cNvPr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3" name="Google Shape;9047;p64">
                <a:extLst>
                  <a:ext uri="{FF2B5EF4-FFF2-40B4-BE49-F238E27FC236}">
                    <a16:creationId xmlns:a16="http://schemas.microsoft.com/office/drawing/2014/main" id="{570B6D51-71B0-7F68-F96D-E75D9D6FBE28}"/>
                  </a:ext>
                </a:extLst>
              </p:cNvPr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12295" name="Google Shape;9048;p64">
                  <a:extLst>
                    <a:ext uri="{FF2B5EF4-FFF2-40B4-BE49-F238E27FC236}">
                      <a16:creationId xmlns:a16="http://schemas.microsoft.com/office/drawing/2014/main" id="{9C98D957-350C-7C68-3452-A6D2679452E9}"/>
                    </a:ext>
                  </a:extLst>
                </p:cNvPr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96" name="Google Shape;9049;p64">
                  <a:extLst>
                    <a:ext uri="{FF2B5EF4-FFF2-40B4-BE49-F238E27FC236}">
                      <a16:creationId xmlns:a16="http://schemas.microsoft.com/office/drawing/2014/main" id="{0B2456DE-7A9C-1228-E689-E90BF85A4D7B}"/>
                    </a:ext>
                  </a:extLst>
                </p:cNvPr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4" name="Google Shape;9050;p64">
                <a:extLst>
                  <a:ext uri="{FF2B5EF4-FFF2-40B4-BE49-F238E27FC236}">
                    <a16:creationId xmlns:a16="http://schemas.microsoft.com/office/drawing/2014/main" id="{0899F1A6-33D0-D5A6-A0AB-87C13B1BFE57}"/>
                  </a:ext>
                </a:extLst>
              </p:cNvPr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12293" name="Google Shape;9051;p64">
                  <a:extLst>
                    <a:ext uri="{FF2B5EF4-FFF2-40B4-BE49-F238E27FC236}">
                      <a16:creationId xmlns:a16="http://schemas.microsoft.com/office/drawing/2014/main" id="{B4B2299C-365B-452B-600F-9D06BE5DCB54}"/>
                    </a:ext>
                  </a:extLst>
                </p:cNvPr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94" name="Google Shape;9052;p64">
                  <a:extLst>
                    <a:ext uri="{FF2B5EF4-FFF2-40B4-BE49-F238E27FC236}">
                      <a16:creationId xmlns:a16="http://schemas.microsoft.com/office/drawing/2014/main" id="{4A6F4A4E-7106-2E1C-C566-928F35A7F103}"/>
                    </a:ext>
                  </a:extLst>
                </p:cNvPr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5" name="Google Shape;9053;p64">
                <a:extLst>
                  <a:ext uri="{FF2B5EF4-FFF2-40B4-BE49-F238E27FC236}">
                    <a16:creationId xmlns:a16="http://schemas.microsoft.com/office/drawing/2014/main" id="{B62B3332-50A4-5F1B-2B86-7A7EF3992C13}"/>
                  </a:ext>
                </a:extLst>
              </p:cNvPr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12291" name="Google Shape;9054;p64">
                  <a:extLst>
                    <a:ext uri="{FF2B5EF4-FFF2-40B4-BE49-F238E27FC236}">
                      <a16:creationId xmlns:a16="http://schemas.microsoft.com/office/drawing/2014/main" id="{F00157B4-1683-53F6-74E6-20095C52FBF2}"/>
                    </a:ext>
                  </a:extLst>
                </p:cNvPr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92" name="Google Shape;9055;p64">
                  <a:extLst>
                    <a:ext uri="{FF2B5EF4-FFF2-40B4-BE49-F238E27FC236}">
                      <a16:creationId xmlns:a16="http://schemas.microsoft.com/office/drawing/2014/main" id="{39707D0F-0055-E572-9708-71B92DE764D7}"/>
                    </a:ext>
                  </a:extLst>
                </p:cNvPr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6" name="Google Shape;9056;p64">
                <a:extLst>
                  <a:ext uri="{FF2B5EF4-FFF2-40B4-BE49-F238E27FC236}">
                    <a16:creationId xmlns:a16="http://schemas.microsoft.com/office/drawing/2014/main" id="{7B0BD415-3976-6986-6FFA-6071D2067E2C}"/>
                  </a:ext>
                </a:extLst>
              </p:cNvPr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12289" name="Google Shape;9057;p64">
                  <a:extLst>
                    <a:ext uri="{FF2B5EF4-FFF2-40B4-BE49-F238E27FC236}">
                      <a16:creationId xmlns:a16="http://schemas.microsoft.com/office/drawing/2014/main" id="{59D14E3C-C79C-56DC-369A-BAD8F6348E49}"/>
                    </a:ext>
                  </a:extLst>
                </p:cNvPr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90" name="Google Shape;9058;p64">
                  <a:extLst>
                    <a:ext uri="{FF2B5EF4-FFF2-40B4-BE49-F238E27FC236}">
                      <a16:creationId xmlns:a16="http://schemas.microsoft.com/office/drawing/2014/main" id="{653FEB64-58B4-6314-23D7-5E2CEEBC0A6B}"/>
                    </a:ext>
                  </a:extLst>
                </p:cNvPr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7" name="Google Shape;9059;p64">
                <a:extLst>
                  <a:ext uri="{FF2B5EF4-FFF2-40B4-BE49-F238E27FC236}">
                    <a16:creationId xmlns:a16="http://schemas.microsoft.com/office/drawing/2014/main" id="{5859AD82-D94C-ED99-57EF-AE7CBF5F6D4E}"/>
                  </a:ext>
                </a:extLst>
              </p:cNvPr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12287" name="Google Shape;9060;p64">
                  <a:extLst>
                    <a:ext uri="{FF2B5EF4-FFF2-40B4-BE49-F238E27FC236}">
                      <a16:creationId xmlns:a16="http://schemas.microsoft.com/office/drawing/2014/main" id="{082284F7-045B-3F7D-B9BA-BC1FD27B1987}"/>
                    </a:ext>
                  </a:extLst>
                </p:cNvPr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88" name="Google Shape;9061;p64">
                  <a:extLst>
                    <a:ext uri="{FF2B5EF4-FFF2-40B4-BE49-F238E27FC236}">
                      <a16:creationId xmlns:a16="http://schemas.microsoft.com/office/drawing/2014/main" id="{BE5DEE69-7343-B7D7-F213-E6C17A339CAF}"/>
                    </a:ext>
                  </a:extLst>
                </p:cNvPr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8" name="Google Shape;9062;p64">
                <a:extLst>
                  <a:ext uri="{FF2B5EF4-FFF2-40B4-BE49-F238E27FC236}">
                    <a16:creationId xmlns:a16="http://schemas.microsoft.com/office/drawing/2014/main" id="{A4479170-5437-E7F4-D1A5-AE8D364E32F3}"/>
                  </a:ext>
                </a:extLst>
              </p:cNvPr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12285" name="Google Shape;9063;p64">
                  <a:extLst>
                    <a:ext uri="{FF2B5EF4-FFF2-40B4-BE49-F238E27FC236}">
                      <a16:creationId xmlns:a16="http://schemas.microsoft.com/office/drawing/2014/main" id="{6286A01A-50F7-A38F-5EA8-7814653E0C40}"/>
                    </a:ext>
                  </a:extLst>
                </p:cNvPr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86" name="Google Shape;9064;p64">
                  <a:extLst>
                    <a:ext uri="{FF2B5EF4-FFF2-40B4-BE49-F238E27FC236}">
                      <a16:creationId xmlns:a16="http://schemas.microsoft.com/office/drawing/2014/main" id="{4E58EE11-A1D9-1D27-53A1-13681ABF2A8D}"/>
                    </a:ext>
                  </a:extLst>
                </p:cNvPr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19" name="Google Shape;9065;p64">
                <a:extLst>
                  <a:ext uri="{FF2B5EF4-FFF2-40B4-BE49-F238E27FC236}">
                    <a16:creationId xmlns:a16="http://schemas.microsoft.com/office/drawing/2014/main" id="{0EBA58AC-E238-18E7-E189-2A85314615C4}"/>
                  </a:ext>
                </a:extLst>
              </p:cNvPr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12283" name="Google Shape;9066;p64">
                  <a:extLst>
                    <a:ext uri="{FF2B5EF4-FFF2-40B4-BE49-F238E27FC236}">
                      <a16:creationId xmlns:a16="http://schemas.microsoft.com/office/drawing/2014/main" id="{9034AA3E-C4D7-8C87-D3B0-B38B8226DB17}"/>
                    </a:ext>
                  </a:extLst>
                </p:cNvPr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84" name="Google Shape;9067;p64">
                  <a:extLst>
                    <a:ext uri="{FF2B5EF4-FFF2-40B4-BE49-F238E27FC236}">
                      <a16:creationId xmlns:a16="http://schemas.microsoft.com/office/drawing/2014/main" id="{508DE80E-E4AF-9CAB-A502-1788C67E9842}"/>
                    </a:ext>
                  </a:extLst>
                </p:cNvPr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0" name="Google Shape;9068;p64">
                <a:extLst>
                  <a:ext uri="{FF2B5EF4-FFF2-40B4-BE49-F238E27FC236}">
                    <a16:creationId xmlns:a16="http://schemas.microsoft.com/office/drawing/2014/main" id="{498AE421-E2A5-88BB-B5C1-446917E507A1}"/>
                  </a:ext>
                </a:extLst>
              </p:cNvPr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12281" name="Google Shape;9069;p64">
                  <a:extLst>
                    <a:ext uri="{FF2B5EF4-FFF2-40B4-BE49-F238E27FC236}">
                      <a16:creationId xmlns:a16="http://schemas.microsoft.com/office/drawing/2014/main" id="{A163D52C-139D-1426-4415-306B706B8158}"/>
                    </a:ext>
                  </a:extLst>
                </p:cNvPr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82" name="Google Shape;9070;p64">
                  <a:extLst>
                    <a:ext uri="{FF2B5EF4-FFF2-40B4-BE49-F238E27FC236}">
                      <a16:creationId xmlns:a16="http://schemas.microsoft.com/office/drawing/2014/main" id="{A2452C59-796F-05B7-F96F-53F3DC33FE7D}"/>
                    </a:ext>
                  </a:extLst>
                </p:cNvPr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1" name="Google Shape;9071;p64">
                <a:extLst>
                  <a:ext uri="{FF2B5EF4-FFF2-40B4-BE49-F238E27FC236}">
                    <a16:creationId xmlns:a16="http://schemas.microsoft.com/office/drawing/2014/main" id="{9DEA304D-500C-00B2-74E6-4E84BE56A2EE}"/>
                  </a:ext>
                </a:extLst>
              </p:cNvPr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12279" name="Google Shape;9072;p64">
                  <a:extLst>
                    <a:ext uri="{FF2B5EF4-FFF2-40B4-BE49-F238E27FC236}">
                      <a16:creationId xmlns:a16="http://schemas.microsoft.com/office/drawing/2014/main" id="{6443B1C5-0EDF-B229-26DB-B830EC950C6A}"/>
                    </a:ext>
                  </a:extLst>
                </p:cNvPr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80" name="Google Shape;9073;p64">
                  <a:extLst>
                    <a:ext uri="{FF2B5EF4-FFF2-40B4-BE49-F238E27FC236}">
                      <a16:creationId xmlns:a16="http://schemas.microsoft.com/office/drawing/2014/main" id="{E68F02DF-A6E6-0A4E-B829-AC30DD9D5540}"/>
                    </a:ext>
                  </a:extLst>
                </p:cNvPr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2" name="Google Shape;9074;p64">
                <a:extLst>
                  <a:ext uri="{FF2B5EF4-FFF2-40B4-BE49-F238E27FC236}">
                    <a16:creationId xmlns:a16="http://schemas.microsoft.com/office/drawing/2014/main" id="{62D174C1-6FA9-EAD4-E516-F579E0B7AE8A}"/>
                  </a:ext>
                </a:extLst>
              </p:cNvPr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12277" name="Google Shape;9075;p64">
                  <a:extLst>
                    <a:ext uri="{FF2B5EF4-FFF2-40B4-BE49-F238E27FC236}">
                      <a16:creationId xmlns:a16="http://schemas.microsoft.com/office/drawing/2014/main" id="{68E339A0-CC6E-2C02-36CC-36711EC75C03}"/>
                    </a:ext>
                  </a:extLst>
                </p:cNvPr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78" name="Google Shape;9076;p64">
                  <a:extLst>
                    <a:ext uri="{FF2B5EF4-FFF2-40B4-BE49-F238E27FC236}">
                      <a16:creationId xmlns:a16="http://schemas.microsoft.com/office/drawing/2014/main" id="{C37DE9EE-7A1C-7E17-9521-A4259AFEC743}"/>
                    </a:ext>
                  </a:extLst>
                </p:cNvPr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3" name="Google Shape;9077;p64">
                <a:extLst>
                  <a:ext uri="{FF2B5EF4-FFF2-40B4-BE49-F238E27FC236}">
                    <a16:creationId xmlns:a16="http://schemas.microsoft.com/office/drawing/2014/main" id="{423982C0-5A31-2EE6-5F3A-9B219349AEA1}"/>
                  </a:ext>
                </a:extLst>
              </p:cNvPr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12275" name="Google Shape;9078;p64">
                  <a:extLst>
                    <a:ext uri="{FF2B5EF4-FFF2-40B4-BE49-F238E27FC236}">
                      <a16:creationId xmlns:a16="http://schemas.microsoft.com/office/drawing/2014/main" id="{60C33D7E-9BB2-B208-B1AF-B88AA58A09DE}"/>
                    </a:ext>
                  </a:extLst>
                </p:cNvPr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76" name="Google Shape;9079;p64">
                  <a:extLst>
                    <a:ext uri="{FF2B5EF4-FFF2-40B4-BE49-F238E27FC236}">
                      <a16:creationId xmlns:a16="http://schemas.microsoft.com/office/drawing/2014/main" id="{147BBE84-3C68-7A3D-66B5-069436D63E9E}"/>
                    </a:ext>
                  </a:extLst>
                </p:cNvPr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4" name="Google Shape;9080;p64">
                <a:extLst>
                  <a:ext uri="{FF2B5EF4-FFF2-40B4-BE49-F238E27FC236}">
                    <a16:creationId xmlns:a16="http://schemas.microsoft.com/office/drawing/2014/main" id="{10CDCA9A-671B-84CB-798C-BE6C09DE42FB}"/>
                  </a:ext>
                </a:extLst>
              </p:cNvPr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12273" name="Google Shape;9081;p64">
                  <a:extLst>
                    <a:ext uri="{FF2B5EF4-FFF2-40B4-BE49-F238E27FC236}">
                      <a16:creationId xmlns:a16="http://schemas.microsoft.com/office/drawing/2014/main" id="{A1215955-6AB9-3092-0D84-4E7B17EAE949}"/>
                    </a:ext>
                  </a:extLst>
                </p:cNvPr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74" name="Google Shape;9082;p64">
                  <a:extLst>
                    <a:ext uri="{FF2B5EF4-FFF2-40B4-BE49-F238E27FC236}">
                      <a16:creationId xmlns:a16="http://schemas.microsoft.com/office/drawing/2014/main" id="{264419B3-6D34-20F1-EDDF-B64A7011B686}"/>
                    </a:ext>
                  </a:extLst>
                </p:cNvPr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5" name="Google Shape;9083;p64">
                <a:extLst>
                  <a:ext uri="{FF2B5EF4-FFF2-40B4-BE49-F238E27FC236}">
                    <a16:creationId xmlns:a16="http://schemas.microsoft.com/office/drawing/2014/main" id="{BF0E99C4-F921-D162-4995-2985027AEA6A}"/>
                  </a:ext>
                </a:extLst>
              </p:cNvPr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12271" name="Google Shape;9084;p64">
                  <a:extLst>
                    <a:ext uri="{FF2B5EF4-FFF2-40B4-BE49-F238E27FC236}">
                      <a16:creationId xmlns:a16="http://schemas.microsoft.com/office/drawing/2014/main" id="{D77418A0-B7CD-8DA5-5050-9D34B306DA39}"/>
                    </a:ext>
                  </a:extLst>
                </p:cNvPr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72" name="Google Shape;9085;p64">
                  <a:extLst>
                    <a:ext uri="{FF2B5EF4-FFF2-40B4-BE49-F238E27FC236}">
                      <a16:creationId xmlns:a16="http://schemas.microsoft.com/office/drawing/2014/main" id="{971B9891-F637-1BE8-D49B-A435762C1C5F}"/>
                    </a:ext>
                  </a:extLst>
                </p:cNvPr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6" name="Google Shape;9086;p64">
                <a:extLst>
                  <a:ext uri="{FF2B5EF4-FFF2-40B4-BE49-F238E27FC236}">
                    <a16:creationId xmlns:a16="http://schemas.microsoft.com/office/drawing/2014/main" id="{89EA736E-984B-5F49-7238-C685212CEC65}"/>
                  </a:ext>
                </a:extLst>
              </p:cNvPr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12269" name="Google Shape;9087;p64">
                  <a:extLst>
                    <a:ext uri="{FF2B5EF4-FFF2-40B4-BE49-F238E27FC236}">
                      <a16:creationId xmlns:a16="http://schemas.microsoft.com/office/drawing/2014/main" id="{E2F3EF6C-B126-9B16-50A0-C20610E22A86}"/>
                    </a:ext>
                  </a:extLst>
                </p:cNvPr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70" name="Google Shape;9088;p64">
                  <a:extLst>
                    <a:ext uri="{FF2B5EF4-FFF2-40B4-BE49-F238E27FC236}">
                      <a16:creationId xmlns:a16="http://schemas.microsoft.com/office/drawing/2014/main" id="{3F7D5BCD-0D97-4793-3051-A3E531EEAE87}"/>
                    </a:ext>
                  </a:extLst>
                </p:cNvPr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7" name="Google Shape;9089;p64">
                <a:extLst>
                  <a:ext uri="{FF2B5EF4-FFF2-40B4-BE49-F238E27FC236}">
                    <a16:creationId xmlns:a16="http://schemas.microsoft.com/office/drawing/2014/main" id="{65274F8C-492F-4A9E-9642-DB4AFDCC7EDC}"/>
                  </a:ext>
                </a:extLst>
              </p:cNvPr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12267" name="Google Shape;9090;p64">
                  <a:extLst>
                    <a:ext uri="{FF2B5EF4-FFF2-40B4-BE49-F238E27FC236}">
                      <a16:creationId xmlns:a16="http://schemas.microsoft.com/office/drawing/2014/main" id="{B911C02A-C784-479F-F2AE-8FBE71654307}"/>
                    </a:ext>
                  </a:extLst>
                </p:cNvPr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68" name="Google Shape;9091;p64">
                  <a:extLst>
                    <a:ext uri="{FF2B5EF4-FFF2-40B4-BE49-F238E27FC236}">
                      <a16:creationId xmlns:a16="http://schemas.microsoft.com/office/drawing/2014/main" id="{589C06EC-9D70-CDEB-8EED-45784D6DFF11}"/>
                    </a:ext>
                  </a:extLst>
                </p:cNvPr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8" name="Google Shape;9092;p64">
                <a:extLst>
                  <a:ext uri="{FF2B5EF4-FFF2-40B4-BE49-F238E27FC236}">
                    <a16:creationId xmlns:a16="http://schemas.microsoft.com/office/drawing/2014/main" id="{E15D4E6B-B3C9-737C-9239-65A98C99B047}"/>
                  </a:ext>
                </a:extLst>
              </p:cNvPr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12265" name="Google Shape;9093;p64">
                  <a:extLst>
                    <a:ext uri="{FF2B5EF4-FFF2-40B4-BE49-F238E27FC236}">
                      <a16:creationId xmlns:a16="http://schemas.microsoft.com/office/drawing/2014/main" id="{FCD2B92D-003D-41BE-4ABE-B542FED172F0}"/>
                    </a:ext>
                  </a:extLst>
                </p:cNvPr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66" name="Google Shape;9094;p64">
                  <a:extLst>
                    <a:ext uri="{FF2B5EF4-FFF2-40B4-BE49-F238E27FC236}">
                      <a16:creationId xmlns:a16="http://schemas.microsoft.com/office/drawing/2014/main" id="{9A0C5278-636A-8945-5903-E4692DCE83F0}"/>
                    </a:ext>
                  </a:extLst>
                </p:cNvPr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29" name="Google Shape;9095;p64">
                <a:extLst>
                  <a:ext uri="{FF2B5EF4-FFF2-40B4-BE49-F238E27FC236}">
                    <a16:creationId xmlns:a16="http://schemas.microsoft.com/office/drawing/2014/main" id="{72D6D423-CA06-6A62-AAE4-23E04C37CE63}"/>
                  </a:ext>
                </a:extLst>
              </p:cNvPr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12263" name="Google Shape;9096;p64">
                  <a:extLst>
                    <a:ext uri="{FF2B5EF4-FFF2-40B4-BE49-F238E27FC236}">
                      <a16:creationId xmlns:a16="http://schemas.microsoft.com/office/drawing/2014/main" id="{21F6E7E4-943B-21FF-DB1B-2073254C984A}"/>
                    </a:ext>
                  </a:extLst>
                </p:cNvPr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64" name="Google Shape;9097;p64">
                  <a:extLst>
                    <a:ext uri="{FF2B5EF4-FFF2-40B4-BE49-F238E27FC236}">
                      <a16:creationId xmlns:a16="http://schemas.microsoft.com/office/drawing/2014/main" id="{0D24B9BD-39CD-EF76-D315-EFE9080402F6}"/>
                    </a:ext>
                  </a:extLst>
                </p:cNvPr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0" name="Google Shape;9098;p64">
                <a:extLst>
                  <a:ext uri="{FF2B5EF4-FFF2-40B4-BE49-F238E27FC236}">
                    <a16:creationId xmlns:a16="http://schemas.microsoft.com/office/drawing/2014/main" id="{8009115D-E21C-7B1E-1F14-A8FB460B1E89}"/>
                  </a:ext>
                </a:extLst>
              </p:cNvPr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12261" name="Google Shape;9099;p64">
                  <a:extLst>
                    <a:ext uri="{FF2B5EF4-FFF2-40B4-BE49-F238E27FC236}">
                      <a16:creationId xmlns:a16="http://schemas.microsoft.com/office/drawing/2014/main" id="{7821CFED-1070-52F9-E07F-08CE811E304A}"/>
                    </a:ext>
                  </a:extLst>
                </p:cNvPr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62" name="Google Shape;9100;p64">
                  <a:extLst>
                    <a:ext uri="{FF2B5EF4-FFF2-40B4-BE49-F238E27FC236}">
                      <a16:creationId xmlns:a16="http://schemas.microsoft.com/office/drawing/2014/main" id="{43850D21-6A21-F46D-2724-82514E9D3AFF}"/>
                    </a:ext>
                  </a:extLst>
                </p:cNvPr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1" name="Google Shape;9101;p64">
                <a:extLst>
                  <a:ext uri="{FF2B5EF4-FFF2-40B4-BE49-F238E27FC236}">
                    <a16:creationId xmlns:a16="http://schemas.microsoft.com/office/drawing/2014/main" id="{D0637971-5890-2941-94E6-0CA51EA6317D}"/>
                  </a:ext>
                </a:extLst>
              </p:cNvPr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12259" name="Google Shape;9102;p64">
                  <a:extLst>
                    <a:ext uri="{FF2B5EF4-FFF2-40B4-BE49-F238E27FC236}">
                      <a16:creationId xmlns:a16="http://schemas.microsoft.com/office/drawing/2014/main" id="{C4D39645-60C7-0B61-4875-49159EF6228E}"/>
                    </a:ext>
                  </a:extLst>
                </p:cNvPr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60" name="Google Shape;9103;p64">
                  <a:extLst>
                    <a:ext uri="{FF2B5EF4-FFF2-40B4-BE49-F238E27FC236}">
                      <a16:creationId xmlns:a16="http://schemas.microsoft.com/office/drawing/2014/main" id="{DBE1A066-32DB-2DC6-60A0-8240396F7874}"/>
                    </a:ext>
                  </a:extLst>
                </p:cNvPr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2" name="Google Shape;9104;p64">
                <a:extLst>
                  <a:ext uri="{FF2B5EF4-FFF2-40B4-BE49-F238E27FC236}">
                    <a16:creationId xmlns:a16="http://schemas.microsoft.com/office/drawing/2014/main" id="{7C7A2A0A-9A93-29A1-E14C-DE68F60FD4F2}"/>
                  </a:ext>
                </a:extLst>
              </p:cNvPr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12257" name="Google Shape;9105;p64">
                  <a:extLst>
                    <a:ext uri="{FF2B5EF4-FFF2-40B4-BE49-F238E27FC236}">
                      <a16:creationId xmlns:a16="http://schemas.microsoft.com/office/drawing/2014/main" id="{FD2857BE-DEAA-506E-C016-CE104B64DC6F}"/>
                    </a:ext>
                  </a:extLst>
                </p:cNvPr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58" name="Google Shape;9106;p64">
                  <a:extLst>
                    <a:ext uri="{FF2B5EF4-FFF2-40B4-BE49-F238E27FC236}">
                      <a16:creationId xmlns:a16="http://schemas.microsoft.com/office/drawing/2014/main" id="{F10F5A54-0BDB-9FFE-95F6-AE856D09BD74}"/>
                    </a:ext>
                  </a:extLst>
                </p:cNvPr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3" name="Google Shape;9107;p64">
                <a:extLst>
                  <a:ext uri="{FF2B5EF4-FFF2-40B4-BE49-F238E27FC236}">
                    <a16:creationId xmlns:a16="http://schemas.microsoft.com/office/drawing/2014/main" id="{43BEF1E6-A4A8-D184-10DC-314819F0309A}"/>
                  </a:ext>
                </a:extLst>
              </p:cNvPr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12255" name="Google Shape;9108;p64">
                  <a:extLst>
                    <a:ext uri="{FF2B5EF4-FFF2-40B4-BE49-F238E27FC236}">
                      <a16:creationId xmlns:a16="http://schemas.microsoft.com/office/drawing/2014/main" id="{9E895A90-5292-FB6F-10AD-B0222A85A538}"/>
                    </a:ext>
                  </a:extLst>
                </p:cNvPr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56" name="Google Shape;9109;p64">
                  <a:extLst>
                    <a:ext uri="{FF2B5EF4-FFF2-40B4-BE49-F238E27FC236}">
                      <a16:creationId xmlns:a16="http://schemas.microsoft.com/office/drawing/2014/main" id="{ED6574B6-DE83-86FA-24F0-FCA518BF48A7}"/>
                    </a:ext>
                  </a:extLst>
                </p:cNvPr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4" name="Google Shape;9110;p64">
                <a:extLst>
                  <a:ext uri="{FF2B5EF4-FFF2-40B4-BE49-F238E27FC236}">
                    <a16:creationId xmlns:a16="http://schemas.microsoft.com/office/drawing/2014/main" id="{D207B8DB-A8A5-08C4-0310-56E552FDA859}"/>
                  </a:ext>
                </a:extLst>
              </p:cNvPr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12253" name="Google Shape;9111;p64">
                  <a:extLst>
                    <a:ext uri="{FF2B5EF4-FFF2-40B4-BE49-F238E27FC236}">
                      <a16:creationId xmlns:a16="http://schemas.microsoft.com/office/drawing/2014/main" id="{C85D0668-4CE3-2EF9-AB47-CE5187072349}"/>
                    </a:ext>
                  </a:extLst>
                </p:cNvPr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54" name="Google Shape;9112;p64">
                  <a:extLst>
                    <a:ext uri="{FF2B5EF4-FFF2-40B4-BE49-F238E27FC236}">
                      <a16:creationId xmlns:a16="http://schemas.microsoft.com/office/drawing/2014/main" id="{597DC710-FE6D-9070-C81F-15B31B9E4A63}"/>
                    </a:ext>
                  </a:extLst>
                </p:cNvPr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5" name="Google Shape;9113;p64">
                <a:extLst>
                  <a:ext uri="{FF2B5EF4-FFF2-40B4-BE49-F238E27FC236}">
                    <a16:creationId xmlns:a16="http://schemas.microsoft.com/office/drawing/2014/main" id="{CF4C2272-D4A7-48E9-5EA4-3737213BE5CA}"/>
                  </a:ext>
                </a:extLst>
              </p:cNvPr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12251" name="Google Shape;9114;p64">
                  <a:extLst>
                    <a:ext uri="{FF2B5EF4-FFF2-40B4-BE49-F238E27FC236}">
                      <a16:creationId xmlns:a16="http://schemas.microsoft.com/office/drawing/2014/main" id="{AE6955F7-71C5-7C7D-84C1-EA23AFC4DA12}"/>
                    </a:ext>
                  </a:extLst>
                </p:cNvPr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52" name="Google Shape;9115;p64">
                  <a:extLst>
                    <a:ext uri="{FF2B5EF4-FFF2-40B4-BE49-F238E27FC236}">
                      <a16:creationId xmlns:a16="http://schemas.microsoft.com/office/drawing/2014/main" id="{C19F9DA1-2DBD-924F-14AB-FF04858FA945}"/>
                    </a:ext>
                  </a:extLst>
                </p:cNvPr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6" name="Google Shape;9116;p64">
                <a:extLst>
                  <a:ext uri="{FF2B5EF4-FFF2-40B4-BE49-F238E27FC236}">
                    <a16:creationId xmlns:a16="http://schemas.microsoft.com/office/drawing/2014/main" id="{1DB5DBA8-4876-02F0-3FE4-B0F7198A7756}"/>
                  </a:ext>
                </a:extLst>
              </p:cNvPr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12249" name="Google Shape;9117;p64">
                  <a:extLst>
                    <a:ext uri="{FF2B5EF4-FFF2-40B4-BE49-F238E27FC236}">
                      <a16:creationId xmlns:a16="http://schemas.microsoft.com/office/drawing/2014/main" id="{CA209D23-592C-1C9E-F05B-5981F785F815}"/>
                    </a:ext>
                  </a:extLst>
                </p:cNvPr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50" name="Google Shape;9118;p64">
                  <a:extLst>
                    <a:ext uri="{FF2B5EF4-FFF2-40B4-BE49-F238E27FC236}">
                      <a16:creationId xmlns:a16="http://schemas.microsoft.com/office/drawing/2014/main" id="{78543CFC-9AEC-6380-2B03-A66BD1A1CE5A}"/>
                    </a:ext>
                  </a:extLst>
                </p:cNvPr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7" name="Google Shape;9119;p64">
                <a:extLst>
                  <a:ext uri="{FF2B5EF4-FFF2-40B4-BE49-F238E27FC236}">
                    <a16:creationId xmlns:a16="http://schemas.microsoft.com/office/drawing/2014/main" id="{7CD30EA8-E41D-2BDC-9C74-DE980FEDDC3D}"/>
                  </a:ext>
                </a:extLst>
              </p:cNvPr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12247" name="Google Shape;9120;p64">
                  <a:extLst>
                    <a:ext uri="{FF2B5EF4-FFF2-40B4-BE49-F238E27FC236}">
                      <a16:creationId xmlns:a16="http://schemas.microsoft.com/office/drawing/2014/main" id="{62476632-6217-9EA9-43D7-4BCE1BE63D36}"/>
                    </a:ext>
                  </a:extLst>
                </p:cNvPr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48" name="Google Shape;9121;p64">
                  <a:extLst>
                    <a:ext uri="{FF2B5EF4-FFF2-40B4-BE49-F238E27FC236}">
                      <a16:creationId xmlns:a16="http://schemas.microsoft.com/office/drawing/2014/main" id="{B26D64F5-FAFF-4111-ED45-EFD80FA961EE}"/>
                    </a:ext>
                  </a:extLst>
                </p:cNvPr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8" name="Google Shape;9122;p64">
                <a:extLst>
                  <a:ext uri="{FF2B5EF4-FFF2-40B4-BE49-F238E27FC236}">
                    <a16:creationId xmlns:a16="http://schemas.microsoft.com/office/drawing/2014/main" id="{50399A7A-246A-A77A-00B5-B646699C72A6}"/>
                  </a:ext>
                </a:extLst>
              </p:cNvPr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12245" name="Google Shape;9123;p64">
                  <a:extLst>
                    <a:ext uri="{FF2B5EF4-FFF2-40B4-BE49-F238E27FC236}">
                      <a16:creationId xmlns:a16="http://schemas.microsoft.com/office/drawing/2014/main" id="{C1D0BD95-8091-4382-84C2-27E154902980}"/>
                    </a:ext>
                  </a:extLst>
                </p:cNvPr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46" name="Google Shape;9124;p64">
                  <a:extLst>
                    <a:ext uri="{FF2B5EF4-FFF2-40B4-BE49-F238E27FC236}">
                      <a16:creationId xmlns:a16="http://schemas.microsoft.com/office/drawing/2014/main" id="{0BF17F7A-C4DB-9F58-1053-00B50B831E12}"/>
                    </a:ext>
                  </a:extLst>
                </p:cNvPr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39" name="Google Shape;9125;p64">
                <a:extLst>
                  <a:ext uri="{FF2B5EF4-FFF2-40B4-BE49-F238E27FC236}">
                    <a16:creationId xmlns:a16="http://schemas.microsoft.com/office/drawing/2014/main" id="{ECF989A3-E281-76B1-1D7C-22E7EEBAE0EF}"/>
                  </a:ext>
                </a:extLst>
              </p:cNvPr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12243" name="Google Shape;9126;p64">
                  <a:extLst>
                    <a:ext uri="{FF2B5EF4-FFF2-40B4-BE49-F238E27FC236}">
                      <a16:creationId xmlns:a16="http://schemas.microsoft.com/office/drawing/2014/main" id="{6680A652-22EF-9933-5E53-885390792E23}"/>
                    </a:ext>
                  </a:extLst>
                </p:cNvPr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44" name="Google Shape;9127;p64">
                  <a:extLst>
                    <a:ext uri="{FF2B5EF4-FFF2-40B4-BE49-F238E27FC236}">
                      <a16:creationId xmlns:a16="http://schemas.microsoft.com/office/drawing/2014/main" id="{D2F1CC49-1B25-F7C2-3A93-570C567AE82A}"/>
                    </a:ext>
                  </a:extLst>
                </p:cNvPr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2240" name="Google Shape;9128;p64">
                <a:extLst>
                  <a:ext uri="{FF2B5EF4-FFF2-40B4-BE49-F238E27FC236}">
                    <a16:creationId xmlns:a16="http://schemas.microsoft.com/office/drawing/2014/main" id="{BAB95A27-8C95-0E1A-3A8C-F714698A0C62}"/>
                  </a:ext>
                </a:extLst>
              </p:cNvPr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12241" name="Google Shape;9129;p64">
                  <a:extLst>
                    <a:ext uri="{FF2B5EF4-FFF2-40B4-BE49-F238E27FC236}">
                      <a16:creationId xmlns:a16="http://schemas.microsoft.com/office/drawing/2014/main" id="{51B32C5E-F64B-8A50-5A4A-F0AAC6330AF7}"/>
                    </a:ext>
                  </a:extLst>
                </p:cNvPr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12242" name="Google Shape;9130;p64">
                  <a:extLst>
                    <a:ext uri="{FF2B5EF4-FFF2-40B4-BE49-F238E27FC236}">
                      <a16:creationId xmlns:a16="http://schemas.microsoft.com/office/drawing/2014/main" id="{49CD6317-FBBC-F102-866F-5EFB902AEA10}"/>
                    </a:ext>
                  </a:extLst>
                </p:cNvPr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880716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9135;p65">
            <a:extLst>
              <a:ext uri="{FF2B5EF4-FFF2-40B4-BE49-F238E27FC236}">
                <a16:creationId xmlns:a16="http://schemas.microsoft.com/office/drawing/2014/main" id="{05A443C9-296C-4933-E7CE-BC7F407D3504}"/>
              </a:ext>
            </a:extLst>
          </p:cNvPr>
          <p:cNvGrpSpPr/>
          <p:nvPr/>
        </p:nvGrpSpPr>
        <p:grpSpPr>
          <a:xfrm>
            <a:off x="994095" y="1558221"/>
            <a:ext cx="3323824" cy="1839835"/>
            <a:chOff x="2654821" y="2311071"/>
            <a:chExt cx="2279715" cy="1262120"/>
          </a:xfrm>
        </p:grpSpPr>
        <p:grpSp>
          <p:nvGrpSpPr>
            <p:cNvPr id="3" name="Google Shape;9136;p65">
              <a:extLst>
                <a:ext uri="{FF2B5EF4-FFF2-40B4-BE49-F238E27FC236}">
                  <a16:creationId xmlns:a16="http://schemas.microsoft.com/office/drawing/2014/main" id="{C15348D4-DE8C-6E4A-7C05-E51710B35A3B}"/>
                </a:ext>
              </a:extLst>
            </p:cNvPr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258" name="Google Shape;9137;p65">
                <a:extLst>
                  <a:ext uri="{FF2B5EF4-FFF2-40B4-BE49-F238E27FC236}">
                    <a16:creationId xmlns:a16="http://schemas.microsoft.com/office/drawing/2014/main" id="{B7204F88-E848-269C-B120-BAA4B5D304C8}"/>
                  </a:ext>
                </a:extLst>
              </p:cNvPr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sp>
            <p:nvSpPr>
              <p:cNvPr id="259" name="Google Shape;9138;p65">
                <a:extLst>
                  <a:ext uri="{FF2B5EF4-FFF2-40B4-BE49-F238E27FC236}">
                    <a16:creationId xmlns:a16="http://schemas.microsoft.com/office/drawing/2014/main" id="{EBEC9A03-C938-A4D6-7586-995D1E2E0E08}"/>
                  </a:ext>
                </a:extLst>
              </p:cNvPr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grpSp>
          <p:nvGrpSpPr>
            <p:cNvPr id="4" name="Google Shape;9139;p65">
              <a:extLst>
                <a:ext uri="{FF2B5EF4-FFF2-40B4-BE49-F238E27FC236}">
                  <a16:creationId xmlns:a16="http://schemas.microsoft.com/office/drawing/2014/main" id="{22C9B334-1A65-8E14-DF30-42BD8C59A81F}"/>
                </a:ext>
              </a:extLst>
            </p:cNvPr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250" name="Google Shape;9140;p65">
                <a:extLst>
                  <a:ext uri="{FF2B5EF4-FFF2-40B4-BE49-F238E27FC236}">
                    <a16:creationId xmlns:a16="http://schemas.microsoft.com/office/drawing/2014/main" id="{C710AB95-CA3D-A2D1-7D7A-5D5DD8BB7575}"/>
                  </a:ext>
                </a:extLst>
              </p:cNvPr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grpSp>
            <p:nvGrpSpPr>
              <p:cNvPr id="251" name="Google Shape;9141;p65">
                <a:extLst>
                  <a:ext uri="{FF2B5EF4-FFF2-40B4-BE49-F238E27FC236}">
                    <a16:creationId xmlns:a16="http://schemas.microsoft.com/office/drawing/2014/main" id="{10017C1D-68C1-CC5B-4A32-6860DEA19E9F}"/>
                  </a:ext>
                </a:extLst>
              </p:cNvPr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252" name="Google Shape;9142;p65">
                  <a:extLst>
                    <a:ext uri="{FF2B5EF4-FFF2-40B4-BE49-F238E27FC236}">
                      <a16:creationId xmlns:a16="http://schemas.microsoft.com/office/drawing/2014/main" id="{EF3ED1AA-94D0-E343-5A14-A9009AA8FCB0}"/>
                    </a:ext>
                  </a:extLst>
                </p:cNvPr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rgbClr val="5F7D95"/>
                </a:solidFill>
                <a:ln>
                  <a:noFill/>
                </a:ln>
              </p:spPr>
            </p:sp>
            <p:sp>
              <p:nvSpPr>
                <p:cNvPr id="253" name="Google Shape;9143;p65">
                  <a:extLst>
                    <a:ext uri="{FF2B5EF4-FFF2-40B4-BE49-F238E27FC236}">
                      <a16:creationId xmlns:a16="http://schemas.microsoft.com/office/drawing/2014/main" id="{9FA9A387-5C30-8BDE-6168-17540DAAF899}"/>
                    </a:ext>
                  </a:extLst>
                </p:cNvPr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rgbClr val="5F7D9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54" name="Google Shape;9144;p65">
                  <a:extLst>
                    <a:ext uri="{FF2B5EF4-FFF2-40B4-BE49-F238E27FC236}">
                      <a16:creationId xmlns:a16="http://schemas.microsoft.com/office/drawing/2014/main" id="{B7E1D5AE-68F9-E323-59DE-63600BA887CC}"/>
                    </a:ext>
                  </a:extLst>
                </p:cNvPr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rgbClr val="5F7D9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55" name="Google Shape;9145;p65">
                  <a:extLst>
                    <a:ext uri="{FF2B5EF4-FFF2-40B4-BE49-F238E27FC236}">
                      <a16:creationId xmlns:a16="http://schemas.microsoft.com/office/drawing/2014/main" id="{90B7395D-B712-3C1B-FD49-257CC851AF67}"/>
                    </a:ext>
                  </a:extLst>
                </p:cNvPr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rgbClr val="5F7D9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56" name="Google Shape;9146;p65">
                  <a:extLst>
                    <a:ext uri="{FF2B5EF4-FFF2-40B4-BE49-F238E27FC236}">
                      <a16:creationId xmlns:a16="http://schemas.microsoft.com/office/drawing/2014/main" id="{CC78A1CE-E2E3-92BC-A6F0-64381FA06EAB}"/>
                    </a:ext>
                  </a:extLst>
                </p:cNvPr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rgbClr val="5F7D9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A6CBC2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57" name="Google Shape;9147;p65">
                  <a:extLst>
                    <a:ext uri="{FF2B5EF4-FFF2-40B4-BE49-F238E27FC236}">
                      <a16:creationId xmlns:a16="http://schemas.microsoft.com/office/drawing/2014/main" id="{D204D32E-1FD7-CCBA-7A6C-F2BDE92CFE38}"/>
                    </a:ext>
                  </a:extLst>
                </p:cNvPr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rgbClr val="5F7D9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5" name="Google Shape;9148;p65">
              <a:extLst>
                <a:ext uri="{FF2B5EF4-FFF2-40B4-BE49-F238E27FC236}">
                  <a16:creationId xmlns:a16="http://schemas.microsoft.com/office/drawing/2014/main" id="{0AAE95AC-8373-FA57-E664-6F3933734A7F}"/>
                </a:ext>
              </a:extLst>
            </p:cNvPr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248" name="Google Shape;9149;p65">
                <a:extLst>
                  <a:ext uri="{FF2B5EF4-FFF2-40B4-BE49-F238E27FC236}">
                    <a16:creationId xmlns:a16="http://schemas.microsoft.com/office/drawing/2014/main" id="{139BF4D7-28C3-3A14-199E-D9F40AD2BEDD}"/>
                  </a:ext>
                </a:extLst>
              </p:cNvPr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sp>
            <p:nvSpPr>
              <p:cNvPr id="249" name="Google Shape;9150;p65">
                <a:extLst>
                  <a:ext uri="{FF2B5EF4-FFF2-40B4-BE49-F238E27FC236}">
                    <a16:creationId xmlns:a16="http://schemas.microsoft.com/office/drawing/2014/main" id="{760460B5-E7B9-1F1A-2262-6882640257AB}"/>
                  </a:ext>
                </a:extLst>
              </p:cNvPr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grpSp>
          <p:nvGrpSpPr>
            <p:cNvPr id="6" name="Google Shape;9151;p65">
              <a:extLst>
                <a:ext uri="{FF2B5EF4-FFF2-40B4-BE49-F238E27FC236}">
                  <a16:creationId xmlns:a16="http://schemas.microsoft.com/office/drawing/2014/main" id="{E9A55860-E3FC-A544-F9DE-CFD0654518A9}"/>
                </a:ext>
              </a:extLst>
            </p:cNvPr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242" name="Google Shape;9152;p65">
                <a:extLst>
                  <a:ext uri="{FF2B5EF4-FFF2-40B4-BE49-F238E27FC236}">
                    <a16:creationId xmlns:a16="http://schemas.microsoft.com/office/drawing/2014/main" id="{FEC1638C-770E-9619-DC1E-A47E26539470}"/>
                  </a:ext>
                </a:extLst>
              </p:cNvPr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sp>
            <p:nvSpPr>
              <p:cNvPr id="243" name="Google Shape;9153;p65">
                <a:extLst>
                  <a:ext uri="{FF2B5EF4-FFF2-40B4-BE49-F238E27FC236}">
                    <a16:creationId xmlns:a16="http://schemas.microsoft.com/office/drawing/2014/main" id="{A96A902A-6E16-A4B3-46C6-5B2C138B44A9}"/>
                  </a:ext>
                </a:extLst>
              </p:cNvPr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44" name="Google Shape;9154;p65">
                <a:extLst>
                  <a:ext uri="{FF2B5EF4-FFF2-40B4-BE49-F238E27FC236}">
                    <a16:creationId xmlns:a16="http://schemas.microsoft.com/office/drawing/2014/main" id="{1D774F09-4B0B-34E7-BAA3-BE1F46AEA0B2}"/>
                  </a:ext>
                </a:extLst>
              </p:cNvPr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45" name="Google Shape;9155;p65">
                <a:extLst>
                  <a:ext uri="{FF2B5EF4-FFF2-40B4-BE49-F238E27FC236}">
                    <a16:creationId xmlns:a16="http://schemas.microsoft.com/office/drawing/2014/main" id="{CDC9A91D-61F8-FF47-5464-1DB520F872A5}"/>
                  </a:ext>
                </a:extLst>
              </p:cNvPr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46" name="Google Shape;9156;p65">
                <a:extLst>
                  <a:ext uri="{FF2B5EF4-FFF2-40B4-BE49-F238E27FC236}">
                    <a16:creationId xmlns:a16="http://schemas.microsoft.com/office/drawing/2014/main" id="{4CE793EC-27EF-AEF4-810D-96FF603747CC}"/>
                  </a:ext>
                </a:extLst>
              </p:cNvPr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47" name="Google Shape;9157;p65">
                <a:extLst>
                  <a:ext uri="{FF2B5EF4-FFF2-40B4-BE49-F238E27FC236}">
                    <a16:creationId xmlns:a16="http://schemas.microsoft.com/office/drawing/2014/main" id="{D31AAA64-DC4A-5861-5DEA-5FAE57364AC5}"/>
                  </a:ext>
                </a:extLst>
              </p:cNvPr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grpSp>
          <p:nvGrpSpPr>
            <p:cNvPr id="7" name="Google Shape;9158;p65">
              <a:extLst>
                <a:ext uri="{FF2B5EF4-FFF2-40B4-BE49-F238E27FC236}">
                  <a16:creationId xmlns:a16="http://schemas.microsoft.com/office/drawing/2014/main" id="{13185911-E9EC-BA18-3B0B-71F681EE3A57}"/>
                </a:ext>
              </a:extLst>
            </p:cNvPr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240" name="Google Shape;9159;p65">
                <a:extLst>
                  <a:ext uri="{FF2B5EF4-FFF2-40B4-BE49-F238E27FC236}">
                    <a16:creationId xmlns:a16="http://schemas.microsoft.com/office/drawing/2014/main" id="{3FA06CA5-E885-8692-AED7-CCDFF616936A}"/>
                  </a:ext>
                </a:extLst>
              </p:cNvPr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41" name="Google Shape;9160;p65">
                <a:extLst>
                  <a:ext uri="{FF2B5EF4-FFF2-40B4-BE49-F238E27FC236}">
                    <a16:creationId xmlns:a16="http://schemas.microsoft.com/office/drawing/2014/main" id="{4A51B6A5-0BAA-D9F3-EF56-C45F82C0383F}"/>
                  </a:ext>
                </a:extLst>
              </p:cNvPr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</p:grpSp>
        <p:grpSp>
          <p:nvGrpSpPr>
            <p:cNvPr id="8" name="Google Shape;9161;p65">
              <a:extLst>
                <a:ext uri="{FF2B5EF4-FFF2-40B4-BE49-F238E27FC236}">
                  <a16:creationId xmlns:a16="http://schemas.microsoft.com/office/drawing/2014/main" id="{F4B9F085-C617-A96C-8856-60475E927503}"/>
                </a:ext>
              </a:extLst>
            </p:cNvPr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237" name="Google Shape;9162;p65">
                <a:extLst>
                  <a:ext uri="{FF2B5EF4-FFF2-40B4-BE49-F238E27FC236}">
                    <a16:creationId xmlns:a16="http://schemas.microsoft.com/office/drawing/2014/main" id="{721A480E-EC09-42A1-8C5B-BEBC81CD9BD6}"/>
                  </a:ext>
                </a:extLst>
              </p:cNvPr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38" name="Google Shape;9163;p65">
                <a:extLst>
                  <a:ext uri="{FF2B5EF4-FFF2-40B4-BE49-F238E27FC236}">
                    <a16:creationId xmlns:a16="http://schemas.microsoft.com/office/drawing/2014/main" id="{70AB6F58-9F21-4238-02CF-6895FBCE1179}"/>
                  </a:ext>
                </a:extLst>
              </p:cNvPr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sp>
            <p:nvSpPr>
              <p:cNvPr id="239" name="Google Shape;9164;p65">
                <a:extLst>
                  <a:ext uri="{FF2B5EF4-FFF2-40B4-BE49-F238E27FC236}">
                    <a16:creationId xmlns:a16="http://schemas.microsoft.com/office/drawing/2014/main" id="{86CC7946-A8D5-6510-3F14-942E25A26623}"/>
                  </a:ext>
                </a:extLst>
              </p:cNvPr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</p:grpSp>
        <p:grpSp>
          <p:nvGrpSpPr>
            <p:cNvPr id="9" name="Google Shape;9165;p65">
              <a:extLst>
                <a:ext uri="{FF2B5EF4-FFF2-40B4-BE49-F238E27FC236}">
                  <a16:creationId xmlns:a16="http://schemas.microsoft.com/office/drawing/2014/main" id="{7C3B7D0B-E05A-EF05-66F3-10DB8A36BA22}"/>
                </a:ext>
              </a:extLst>
            </p:cNvPr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235" name="Google Shape;9166;p65">
                <a:extLst>
                  <a:ext uri="{FF2B5EF4-FFF2-40B4-BE49-F238E27FC236}">
                    <a16:creationId xmlns:a16="http://schemas.microsoft.com/office/drawing/2014/main" id="{4DC03A19-3B1F-0B12-83CA-7C4529F3928B}"/>
                  </a:ext>
                </a:extLst>
              </p:cNvPr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36" name="Google Shape;9167;p65">
                <a:extLst>
                  <a:ext uri="{FF2B5EF4-FFF2-40B4-BE49-F238E27FC236}">
                    <a16:creationId xmlns:a16="http://schemas.microsoft.com/office/drawing/2014/main" id="{DF2BADB0-A6D8-890C-4A53-EA25F00271E5}"/>
                  </a:ext>
                </a:extLst>
              </p:cNvPr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</p:grpSp>
        <p:grpSp>
          <p:nvGrpSpPr>
            <p:cNvPr id="10" name="Google Shape;9168;p65">
              <a:extLst>
                <a:ext uri="{FF2B5EF4-FFF2-40B4-BE49-F238E27FC236}">
                  <a16:creationId xmlns:a16="http://schemas.microsoft.com/office/drawing/2014/main" id="{7733C50C-81AD-E298-6A81-7BED577C5012}"/>
                </a:ext>
              </a:extLst>
            </p:cNvPr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233" name="Google Shape;9169;p65">
                <a:extLst>
                  <a:ext uri="{FF2B5EF4-FFF2-40B4-BE49-F238E27FC236}">
                    <a16:creationId xmlns:a16="http://schemas.microsoft.com/office/drawing/2014/main" id="{675C416F-89E5-5BA6-47B7-2873FA233EDB}"/>
                  </a:ext>
                </a:extLst>
              </p:cNvPr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sp>
            <p:nvSpPr>
              <p:cNvPr id="234" name="Google Shape;9170;p65">
                <a:extLst>
                  <a:ext uri="{FF2B5EF4-FFF2-40B4-BE49-F238E27FC236}">
                    <a16:creationId xmlns:a16="http://schemas.microsoft.com/office/drawing/2014/main" id="{6C1BC1EA-F12F-E65E-EECE-19FFADBCB595}"/>
                  </a:ext>
                </a:extLst>
              </p:cNvPr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grpSp>
          <p:nvGrpSpPr>
            <p:cNvPr id="11" name="Google Shape;9171;p65">
              <a:extLst>
                <a:ext uri="{FF2B5EF4-FFF2-40B4-BE49-F238E27FC236}">
                  <a16:creationId xmlns:a16="http://schemas.microsoft.com/office/drawing/2014/main" id="{A62F8866-268E-DDE7-8000-BFD9742410C9}"/>
                </a:ext>
              </a:extLst>
            </p:cNvPr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229" name="Google Shape;9172;p65">
                <a:extLst>
                  <a:ext uri="{FF2B5EF4-FFF2-40B4-BE49-F238E27FC236}">
                    <a16:creationId xmlns:a16="http://schemas.microsoft.com/office/drawing/2014/main" id="{2A721B03-DB1E-F363-D23A-A8D5127E1D65}"/>
                  </a:ext>
                </a:extLst>
              </p:cNvPr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grpSp>
            <p:nvGrpSpPr>
              <p:cNvPr id="230" name="Google Shape;9173;p65">
                <a:extLst>
                  <a:ext uri="{FF2B5EF4-FFF2-40B4-BE49-F238E27FC236}">
                    <a16:creationId xmlns:a16="http://schemas.microsoft.com/office/drawing/2014/main" id="{23ABB31F-D916-7314-0183-144F9F2BF8C6}"/>
                  </a:ext>
                </a:extLst>
              </p:cNvPr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231" name="Google Shape;9174;p65">
                  <a:extLst>
                    <a:ext uri="{FF2B5EF4-FFF2-40B4-BE49-F238E27FC236}">
                      <a16:creationId xmlns:a16="http://schemas.microsoft.com/office/drawing/2014/main" id="{4E4EA3AC-91A9-F54B-11BF-4D77C9ACA55F}"/>
                    </a:ext>
                  </a:extLst>
                </p:cNvPr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rgbClr val="5F7D9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2" name="Google Shape;9175;p65">
                  <a:extLst>
                    <a:ext uri="{FF2B5EF4-FFF2-40B4-BE49-F238E27FC236}">
                      <a16:creationId xmlns:a16="http://schemas.microsoft.com/office/drawing/2014/main" id="{D12CEEAA-EA31-D31C-C54C-560F12667FE3}"/>
                    </a:ext>
                  </a:extLst>
                </p:cNvPr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rgbClr val="5F7D95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2" name="Google Shape;9176;p65">
              <a:extLst>
                <a:ext uri="{FF2B5EF4-FFF2-40B4-BE49-F238E27FC236}">
                  <a16:creationId xmlns:a16="http://schemas.microsoft.com/office/drawing/2014/main" id="{5FCC21FE-E741-DAE0-6988-6D5EC07BEF4E}"/>
                </a:ext>
              </a:extLst>
            </p:cNvPr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227" name="Google Shape;9177;p65">
                <a:extLst>
                  <a:ext uri="{FF2B5EF4-FFF2-40B4-BE49-F238E27FC236}">
                    <a16:creationId xmlns:a16="http://schemas.microsoft.com/office/drawing/2014/main" id="{5A73C81A-DCFB-980A-19C3-A1399585485B}"/>
                  </a:ext>
                </a:extLst>
              </p:cNvPr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sp>
            <p:nvSpPr>
              <p:cNvPr id="228" name="Google Shape;9178;p65">
                <a:extLst>
                  <a:ext uri="{FF2B5EF4-FFF2-40B4-BE49-F238E27FC236}">
                    <a16:creationId xmlns:a16="http://schemas.microsoft.com/office/drawing/2014/main" id="{9E9E0372-092F-A275-3AA3-AE156B720BEE}"/>
                  </a:ext>
                </a:extLst>
              </p:cNvPr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FF6B6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grpSp>
          <p:nvGrpSpPr>
            <p:cNvPr id="13" name="Google Shape;9179;p65">
              <a:extLst>
                <a:ext uri="{FF2B5EF4-FFF2-40B4-BE49-F238E27FC236}">
                  <a16:creationId xmlns:a16="http://schemas.microsoft.com/office/drawing/2014/main" id="{EFDC48EB-45FC-6048-BDF9-DCD3CD326E97}"/>
                </a:ext>
              </a:extLst>
            </p:cNvPr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225" name="Google Shape;9180;p65">
                <a:extLst>
                  <a:ext uri="{FF2B5EF4-FFF2-40B4-BE49-F238E27FC236}">
                    <a16:creationId xmlns:a16="http://schemas.microsoft.com/office/drawing/2014/main" id="{5E067CFA-0AED-7DE3-84C0-779374A7E177}"/>
                  </a:ext>
                </a:extLst>
              </p:cNvPr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sp>
            <p:nvSpPr>
              <p:cNvPr id="226" name="Google Shape;9181;p65">
                <a:extLst>
                  <a:ext uri="{FF2B5EF4-FFF2-40B4-BE49-F238E27FC236}">
                    <a16:creationId xmlns:a16="http://schemas.microsoft.com/office/drawing/2014/main" id="{98AC1241-6CBF-6810-3B6D-A6FE27ADD662}"/>
                  </a:ext>
                </a:extLst>
              </p:cNvPr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grpSp>
          <p:nvGrpSpPr>
            <p:cNvPr id="14" name="Google Shape;9182;p65">
              <a:extLst>
                <a:ext uri="{FF2B5EF4-FFF2-40B4-BE49-F238E27FC236}">
                  <a16:creationId xmlns:a16="http://schemas.microsoft.com/office/drawing/2014/main" id="{74032A7C-6626-8DCA-4849-77AC76E3B723}"/>
                </a:ext>
              </a:extLst>
            </p:cNvPr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223" name="Google Shape;9183;p65">
                <a:extLst>
                  <a:ext uri="{FF2B5EF4-FFF2-40B4-BE49-F238E27FC236}">
                    <a16:creationId xmlns:a16="http://schemas.microsoft.com/office/drawing/2014/main" id="{4997AC7B-83E6-8E6E-1717-0C5B56682F11}"/>
                  </a:ext>
                </a:extLst>
              </p:cNvPr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</p:sp>
          <p:sp>
            <p:nvSpPr>
              <p:cNvPr id="224" name="Google Shape;9184;p65">
                <a:extLst>
                  <a:ext uri="{FF2B5EF4-FFF2-40B4-BE49-F238E27FC236}">
                    <a16:creationId xmlns:a16="http://schemas.microsoft.com/office/drawing/2014/main" id="{E425F9CE-D8E3-C58B-1952-B9579BB394DE}"/>
                  </a:ext>
                </a:extLst>
              </p:cNvPr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15" name="Google Shape;9185;p65">
              <a:extLst>
                <a:ext uri="{FF2B5EF4-FFF2-40B4-BE49-F238E27FC236}">
                  <a16:creationId xmlns:a16="http://schemas.microsoft.com/office/drawing/2014/main" id="{7AE62C43-762B-8BEA-48F2-E17A3B6105B2}"/>
                </a:ext>
              </a:extLst>
            </p:cNvPr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" name="Google Shape;9186;p65">
              <a:extLst>
                <a:ext uri="{FF2B5EF4-FFF2-40B4-BE49-F238E27FC236}">
                  <a16:creationId xmlns:a16="http://schemas.microsoft.com/office/drawing/2014/main" id="{900A631F-93EF-C70C-411B-5F071C3ADE5E}"/>
                </a:ext>
              </a:extLst>
            </p:cNvPr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" name="Google Shape;9187;p65">
              <a:extLst>
                <a:ext uri="{FF2B5EF4-FFF2-40B4-BE49-F238E27FC236}">
                  <a16:creationId xmlns:a16="http://schemas.microsoft.com/office/drawing/2014/main" id="{B5B92914-6F3B-610F-BB65-D626903F58CE}"/>
                </a:ext>
              </a:extLst>
            </p:cNvPr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18" name="Google Shape;9188;p65">
              <a:extLst>
                <a:ext uri="{FF2B5EF4-FFF2-40B4-BE49-F238E27FC236}">
                  <a16:creationId xmlns:a16="http://schemas.microsoft.com/office/drawing/2014/main" id="{5F1A8B3C-CCB1-1664-2F11-E24596E51A4C}"/>
                </a:ext>
              </a:extLst>
            </p:cNvPr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207" name="Google Shape;9189;p65">
                <a:extLst>
                  <a:ext uri="{FF2B5EF4-FFF2-40B4-BE49-F238E27FC236}">
                    <a16:creationId xmlns:a16="http://schemas.microsoft.com/office/drawing/2014/main" id="{66E4461D-84F8-3DAE-910B-71A550AD2EF4}"/>
                  </a:ext>
                </a:extLst>
              </p:cNvPr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08" name="Google Shape;9190;p65">
                <a:extLst>
                  <a:ext uri="{FF2B5EF4-FFF2-40B4-BE49-F238E27FC236}">
                    <a16:creationId xmlns:a16="http://schemas.microsoft.com/office/drawing/2014/main" id="{E76612DC-22E3-19FF-2FAE-D5A29ADB21E1}"/>
                  </a:ext>
                </a:extLst>
              </p:cNvPr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09" name="Google Shape;9191;p65">
                <a:extLst>
                  <a:ext uri="{FF2B5EF4-FFF2-40B4-BE49-F238E27FC236}">
                    <a16:creationId xmlns:a16="http://schemas.microsoft.com/office/drawing/2014/main" id="{6D8B3A9C-5E1D-74B6-2C27-531E3390FEDD}"/>
                  </a:ext>
                </a:extLst>
              </p:cNvPr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0" name="Google Shape;9192;p65">
                <a:extLst>
                  <a:ext uri="{FF2B5EF4-FFF2-40B4-BE49-F238E27FC236}">
                    <a16:creationId xmlns:a16="http://schemas.microsoft.com/office/drawing/2014/main" id="{6DA94870-6E1C-42ED-65B7-7B089985CDB2}"/>
                  </a:ext>
                </a:extLst>
              </p:cNvPr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1" name="Google Shape;9193;p65">
                <a:extLst>
                  <a:ext uri="{FF2B5EF4-FFF2-40B4-BE49-F238E27FC236}">
                    <a16:creationId xmlns:a16="http://schemas.microsoft.com/office/drawing/2014/main" id="{CD45113B-C521-00B8-BCD5-96C150F5B249}"/>
                  </a:ext>
                </a:extLst>
              </p:cNvPr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2" name="Google Shape;9194;p65">
                <a:extLst>
                  <a:ext uri="{FF2B5EF4-FFF2-40B4-BE49-F238E27FC236}">
                    <a16:creationId xmlns:a16="http://schemas.microsoft.com/office/drawing/2014/main" id="{BD7C0A51-3263-54DA-E7C2-4AA4CC3BC524}"/>
                  </a:ext>
                </a:extLst>
              </p:cNvPr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3" name="Google Shape;9195;p65">
                <a:extLst>
                  <a:ext uri="{FF2B5EF4-FFF2-40B4-BE49-F238E27FC236}">
                    <a16:creationId xmlns:a16="http://schemas.microsoft.com/office/drawing/2014/main" id="{D0162F72-D9EC-7F36-F522-CE9101CA2B67}"/>
                  </a:ext>
                </a:extLst>
              </p:cNvPr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4" name="Google Shape;9196;p65">
                <a:extLst>
                  <a:ext uri="{FF2B5EF4-FFF2-40B4-BE49-F238E27FC236}">
                    <a16:creationId xmlns:a16="http://schemas.microsoft.com/office/drawing/2014/main" id="{74FAB83C-431E-E2BB-B7AA-BEB7A81F62FC}"/>
                  </a:ext>
                </a:extLst>
              </p:cNvPr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5" name="Google Shape;9197;p65">
                <a:extLst>
                  <a:ext uri="{FF2B5EF4-FFF2-40B4-BE49-F238E27FC236}">
                    <a16:creationId xmlns:a16="http://schemas.microsoft.com/office/drawing/2014/main" id="{A8F4BE2B-D943-B342-AE72-BDAC666CF417}"/>
                  </a:ext>
                </a:extLst>
              </p:cNvPr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6" name="Google Shape;9198;p65">
                <a:extLst>
                  <a:ext uri="{FF2B5EF4-FFF2-40B4-BE49-F238E27FC236}">
                    <a16:creationId xmlns:a16="http://schemas.microsoft.com/office/drawing/2014/main" id="{A834FB96-3292-66AB-0CC1-FD6A69869B45}"/>
                  </a:ext>
                </a:extLst>
              </p:cNvPr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7" name="Google Shape;9199;p65">
                <a:extLst>
                  <a:ext uri="{FF2B5EF4-FFF2-40B4-BE49-F238E27FC236}">
                    <a16:creationId xmlns:a16="http://schemas.microsoft.com/office/drawing/2014/main" id="{2F18718D-0C2E-5843-B72F-7C6950034DEF}"/>
                  </a:ext>
                </a:extLst>
              </p:cNvPr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8" name="Google Shape;9200;p65">
                <a:extLst>
                  <a:ext uri="{FF2B5EF4-FFF2-40B4-BE49-F238E27FC236}">
                    <a16:creationId xmlns:a16="http://schemas.microsoft.com/office/drawing/2014/main" id="{CEF76D25-B16D-FBE4-1B19-A096EB52A7B0}"/>
                  </a:ext>
                </a:extLst>
              </p:cNvPr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19" name="Google Shape;9201;p65">
                <a:extLst>
                  <a:ext uri="{FF2B5EF4-FFF2-40B4-BE49-F238E27FC236}">
                    <a16:creationId xmlns:a16="http://schemas.microsoft.com/office/drawing/2014/main" id="{1F01A998-DA32-634C-D555-C013A6BB8617}"/>
                  </a:ext>
                </a:extLst>
              </p:cNvPr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20" name="Google Shape;9202;p65">
                <a:extLst>
                  <a:ext uri="{FF2B5EF4-FFF2-40B4-BE49-F238E27FC236}">
                    <a16:creationId xmlns:a16="http://schemas.microsoft.com/office/drawing/2014/main" id="{CBEB1D4F-59DB-C189-0295-5FAF6F0D9A43}"/>
                  </a:ext>
                </a:extLst>
              </p:cNvPr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21" name="Google Shape;9203;p65">
                <a:extLst>
                  <a:ext uri="{FF2B5EF4-FFF2-40B4-BE49-F238E27FC236}">
                    <a16:creationId xmlns:a16="http://schemas.microsoft.com/office/drawing/2014/main" id="{F653EBEB-32E2-6936-D5BB-86DA5162848D}"/>
                  </a:ext>
                </a:extLst>
              </p:cNvPr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22" name="Google Shape;9204;p65">
                <a:extLst>
                  <a:ext uri="{FF2B5EF4-FFF2-40B4-BE49-F238E27FC236}">
                    <a16:creationId xmlns:a16="http://schemas.microsoft.com/office/drawing/2014/main" id="{1E0F97BF-84F9-D793-7765-D94640260BD3}"/>
                  </a:ext>
                </a:extLst>
              </p:cNvPr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A6CBC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19" name="Google Shape;9205;p65">
              <a:extLst>
                <a:ext uri="{FF2B5EF4-FFF2-40B4-BE49-F238E27FC236}">
                  <a16:creationId xmlns:a16="http://schemas.microsoft.com/office/drawing/2014/main" id="{7DF9E457-9236-0662-EC9A-C8F7641006A6}"/>
                </a:ext>
              </a:extLst>
            </p:cNvPr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0" name="Google Shape;9206;p65">
              <a:extLst>
                <a:ext uri="{FF2B5EF4-FFF2-40B4-BE49-F238E27FC236}">
                  <a16:creationId xmlns:a16="http://schemas.microsoft.com/office/drawing/2014/main" id="{92CC4C51-7C82-8DCD-2BBA-F84672922346}"/>
                </a:ext>
              </a:extLst>
            </p:cNvPr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1" name="Google Shape;9207;p65">
              <a:extLst>
                <a:ext uri="{FF2B5EF4-FFF2-40B4-BE49-F238E27FC236}">
                  <a16:creationId xmlns:a16="http://schemas.microsoft.com/office/drawing/2014/main" id="{78F8A51A-9C37-0EB0-1DEA-A4E633F0FE5E}"/>
                </a:ext>
              </a:extLst>
            </p:cNvPr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2" name="Google Shape;9208;p65">
              <a:extLst>
                <a:ext uri="{FF2B5EF4-FFF2-40B4-BE49-F238E27FC236}">
                  <a16:creationId xmlns:a16="http://schemas.microsoft.com/office/drawing/2014/main" id="{58A1C6F0-8F72-430A-5FE6-C511AE0CF00C}"/>
                </a:ext>
              </a:extLst>
            </p:cNvPr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3" name="Google Shape;9209;p65">
              <a:extLst>
                <a:ext uri="{FF2B5EF4-FFF2-40B4-BE49-F238E27FC236}">
                  <a16:creationId xmlns:a16="http://schemas.microsoft.com/office/drawing/2014/main" id="{DD452540-BCB0-95F2-A0F7-D2E4DC3952AF}"/>
                </a:ext>
              </a:extLst>
            </p:cNvPr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4" name="Google Shape;9210;p65">
              <a:extLst>
                <a:ext uri="{FF2B5EF4-FFF2-40B4-BE49-F238E27FC236}">
                  <a16:creationId xmlns:a16="http://schemas.microsoft.com/office/drawing/2014/main" id="{4CE4225D-FBD6-7BC5-0A7E-2EBA5D4FB0F5}"/>
                </a:ext>
              </a:extLst>
            </p:cNvPr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5" name="Google Shape;9211;p65">
              <a:extLst>
                <a:ext uri="{FF2B5EF4-FFF2-40B4-BE49-F238E27FC236}">
                  <a16:creationId xmlns:a16="http://schemas.microsoft.com/office/drawing/2014/main" id="{D43363C2-D335-A009-D2E0-FC0F8B2AC7DB}"/>
                </a:ext>
              </a:extLst>
            </p:cNvPr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6" name="Google Shape;9212;p65">
              <a:extLst>
                <a:ext uri="{FF2B5EF4-FFF2-40B4-BE49-F238E27FC236}">
                  <a16:creationId xmlns:a16="http://schemas.microsoft.com/office/drawing/2014/main" id="{3DE425C4-7814-A592-68E8-8E385D0AEF91}"/>
                </a:ext>
              </a:extLst>
            </p:cNvPr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" name="Google Shape;9213;p65">
              <a:extLst>
                <a:ext uri="{FF2B5EF4-FFF2-40B4-BE49-F238E27FC236}">
                  <a16:creationId xmlns:a16="http://schemas.microsoft.com/office/drawing/2014/main" id="{0C1E2649-DA22-958D-5F6F-87BBA3400551}"/>
                </a:ext>
              </a:extLst>
            </p:cNvPr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" name="Google Shape;9214;p65">
              <a:extLst>
                <a:ext uri="{FF2B5EF4-FFF2-40B4-BE49-F238E27FC236}">
                  <a16:creationId xmlns:a16="http://schemas.microsoft.com/office/drawing/2014/main" id="{C439CD1E-05D5-570D-5120-00DA011B9CCF}"/>
                </a:ext>
              </a:extLst>
            </p:cNvPr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" name="Google Shape;9215;p65">
              <a:extLst>
                <a:ext uri="{FF2B5EF4-FFF2-40B4-BE49-F238E27FC236}">
                  <a16:creationId xmlns:a16="http://schemas.microsoft.com/office/drawing/2014/main" id="{FCE03BC7-F20F-589B-F3C5-A6EE07831E46}"/>
                </a:ext>
              </a:extLst>
            </p:cNvPr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" name="Google Shape;9216;p65">
              <a:extLst>
                <a:ext uri="{FF2B5EF4-FFF2-40B4-BE49-F238E27FC236}">
                  <a16:creationId xmlns:a16="http://schemas.microsoft.com/office/drawing/2014/main" id="{3B0AC10E-8D91-22AA-2DD8-44C997AF4C9F}"/>
                </a:ext>
              </a:extLst>
            </p:cNvPr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" name="Google Shape;9217;p65">
              <a:extLst>
                <a:ext uri="{FF2B5EF4-FFF2-40B4-BE49-F238E27FC236}">
                  <a16:creationId xmlns:a16="http://schemas.microsoft.com/office/drawing/2014/main" id="{02550BBA-8BBB-C473-A39C-7DB80AE7A05E}"/>
                </a:ext>
              </a:extLst>
            </p:cNvPr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" name="Google Shape;9218;p65">
              <a:extLst>
                <a:ext uri="{FF2B5EF4-FFF2-40B4-BE49-F238E27FC236}">
                  <a16:creationId xmlns:a16="http://schemas.microsoft.com/office/drawing/2014/main" id="{2D1E2565-4D08-E7BC-DAD0-3B9132B6EBC8}"/>
                </a:ext>
              </a:extLst>
            </p:cNvPr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" name="Google Shape;9219;p65">
              <a:extLst>
                <a:ext uri="{FF2B5EF4-FFF2-40B4-BE49-F238E27FC236}">
                  <a16:creationId xmlns:a16="http://schemas.microsoft.com/office/drawing/2014/main" id="{E702F49E-3CF1-CFC9-B9FC-0C335644CEB7}"/>
                </a:ext>
              </a:extLst>
            </p:cNvPr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" name="Google Shape;9220;p65">
              <a:extLst>
                <a:ext uri="{FF2B5EF4-FFF2-40B4-BE49-F238E27FC236}">
                  <a16:creationId xmlns:a16="http://schemas.microsoft.com/office/drawing/2014/main" id="{9C4D2702-8C18-276F-A388-CD54A51A3ED1}"/>
                </a:ext>
              </a:extLst>
            </p:cNvPr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" name="Google Shape;9221;p65">
              <a:extLst>
                <a:ext uri="{FF2B5EF4-FFF2-40B4-BE49-F238E27FC236}">
                  <a16:creationId xmlns:a16="http://schemas.microsoft.com/office/drawing/2014/main" id="{441FF929-68D8-8430-1961-CCB9B1E23BEA}"/>
                </a:ext>
              </a:extLst>
            </p:cNvPr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" name="Google Shape;9222;p65">
              <a:extLst>
                <a:ext uri="{FF2B5EF4-FFF2-40B4-BE49-F238E27FC236}">
                  <a16:creationId xmlns:a16="http://schemas.microsoft.com/office/drawing/2014/main" id="{1A799AF4-B587-6BF4-8F67-7AC88131755A}"/>
                </a:ext>
              </a:extLst>
            </p:cNvPr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" name="Google Shape;9223;p65">
              <a:extLst>
                <a:ext uri="{FF2B5EF4-FFF2-40B4-BE49-F238E27FC236}">
                  <a16:creationId xmlns:a16="http://schemas.microsoft.com/office/drawing/2014/main" id="{432574F7-801A-D382-BB07-5BFE4E66E5FB}"/>
                </a:ext>
              </a:extLst>
            </p:cNvPr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" name="Google Shape;9224;p65">
              <a:extLst>
                <a:ext uri="{FF2B5EF4-FFF2-40B4-BE49-F238E27FC236}">
                  <a16:creationId xmlns:a16="http://schemas.microsoft.com/office/drawing/2014/main" id="{A0FED0C6-C9C6-18F3-56C4-4EEE847B8CB4}"/>
                </a:ext>
              </a:extLst>
            </p:cNvPr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" name="Google Shape;9225;p65">
              <a:extLst>
                <a:ext uri="{FF2B5EF4-FFF2-40B4-BE49-F238E27FC236}">
                  <a16:creationId xmlns:a16="http://schemas.microsoft.com/office/drawing/2014/main" id="{84A09506-5C6C-A2AA-E989-5152CB974B03}"/>
                </a:ext>
              </a:extLst>
            </p:cNvPr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A6CBC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" name="Google Shape;9226;p65">
              <a:extLst>
                <a:ext uri="{FF2B5EF4-FFF2-40B4-BE49-F238E27FC236}">
                  <a16:creationId xmlns:a16="http://schemas.microsoft.com/office/drawing/2014/main" id="{6655F401-C5C3-70A7-B803-67093B8EDFE4}"/>
                </a:ext>
              </a:extLst>
            </p:cNvPr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41" name="Google Shape;9227;p65">
              <a:extLst>
                <a:ext uri="{FF2B5EF4-FFF2-40B4-BE49-F238E27FC236}">
                  <a16:creationId xmlns:a16="http://schemas.microsoft.com/office/drawing/2014/main" id="{91BC976A-73E9-3865-4AF9-4CC48A0B7A63}"/>
                </a:ext>
              </a:extLst>
            </p:cNvPr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205" name="Google Shape;9228;p65">
                <a:extLst>
                  <a:ext uri="{FF2B5EF4-FFF2-40B4-BE49-F238E27FC236}">
                    <a16:creationId xmlns:a16="http://schemas.microsoft.com/office/drawing/2014/main" id="{34D87D76-140B-011E-9AEB-480E2767DBCD}"/>
                  </a:ext>
                </a:extLst>
              </p:cNvPr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06" name="Google Shape;9229;p65">
                <a:extLst>
                  <a:ext uri="{FF2B5EF4-FFF2-40B4-BE49-F238E27FC236}">
                    <a16:creationId xmlns:a16="http://schemas.microsoft.com/office/drawing/2014/main" id="{E00F7B89-8D7A-DAC3-F5C5-9E3BBAA0F488}"/>
                  </a:ext>
                </a:extLst>
              </p:cNvPr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42" name="Google Shape;9230;p65">
              <a:extLst>
                <a:ext uri="{FF2B5EF4-FFF2-40B4-BE49-F238E27FC236}">
                  <a16:creationId xmlns:a16="http://schemas.microsoft.com/office/drawing/2014/main" id="{8F4233E8-371E-550B-5F4B-27DED1E024FC}"/>
                </a:ext>
              </a:extLst>
            </p:cNvPr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43" name="Google Shape;9231;p65">
              <a:extLst>
                <a:ext uri="{FF2B5EF4-FFF2-40B4-BE49-F238E27FC236}">
                  <a16:creationId xmlns:a16="http://schemas.microsoft.com/office/drawing/2014/main" id="{1AA95697-22B4-9308-29F8-BCA143E3FD9A}"/>
                </a:ext>
              </a:extLst>
            </p:cNvPr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201" name="Google Shape;9232;p65">
                <a:extLst>
                  <a:ext uri="{FF2B5EF4-FFF2-40B4-BE49-F238E27FC236}">
                    <a16:creationId xmlns:a16="http://schemas.microsoft.com/office/drawing/2014/main" id="{3B895063-6170-E797-2EBB-49EE6B827402}"/>
                  </a:ext>
                </a:extLst>
              </p:cNvPr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02" name="Google Shape;9233;p65">
                <a:extLst>
                  <a:ext uri="{FF2B5EF4-FFF2-40B4-BE49-F238E27FC236}">
                    <a16:creationId xmlns:a16="http://schemas.microsoft.com/office/drawing/2014/main" id="{2938F005-07A5-C2DE-134C-94A024E6FD25}"/>
                  </a:ext>
                </a:extLst>
              </p:cNvPr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03" name="Google Shape;9234;p65">
                <a:extLst>
                  <a:ext uri="{FF2B5EF4-FFF2-40B4-BE49-F238E27FC236}">
                    <a16:creationId xmlns:a16="http://schemas.microsoft.com/office/drawing/2014/main" id="{D06DE5B2-F345-69C5-3DDC-19FEFF421EA7}"/>
                  </a:ext>
                </a:extLst>
              </p:cNvPr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04" name="Google Shape;9235;p65">
                <a:extLst>
                  <a:ext uri="{FF2B5EF4-FFF2-40B4-BE49-F238E27FC236}">
                    <a16:creationId xmlns:a16="http://schemas.microsoft.com/office/drawing/2014/main" id="{5076DF90-1A10-AFDA-3ED9-538EB64CE467}"/>
                  </a:ext>
                </a:extLst>
              </p:cNvPr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44" name="Google Shape;9236;p65">
              <a:extLst>
                <a:ext uri="{FF2B5EF4-FFF2-40B4-BE49-F238E27FC236}">
                  <a16:creationId xmlns:a16="http://schemas.microsoft.com/office/drawing/2014/main" id="{37B8A985-860E-55C6-CDBA-7C83E3E2BC6B}"/>
                </a:ext>
              </a:extLst>
            </p:cNvPr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" name="Google Shape;9237;p65">
              <a:extLst>
                <a:ext uri="{FF2B5EF4-FFF2-40B4-BE49-F238E27FC236}">
                  <a16:creationId xmlns:a16="http://schemas.microsoft.com/office/drawing/2014/main" id="{81A7E98A-FFA0-3B32-DBA6-6375E0A276AE}"/>
                </a:ext>
              </a:extLst>
            </p:cNvPr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" name="Google Shape;9238;p65">
              <a:extLst>
                <a:ext uri="{FF2B5EF4-FFF2-40B4-BE49-F238E27FC236}">
                  <a16:creationId xmlns:a16="http://schemas.microsoft.com/office/drawing/2014/main" id="{4224E712-793C-6195-2915-1E6BD5559B56}"/>
                </a:ext>
              </a:extLst>
            </p:cNvPr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" name="Google Shape;9239;p65">
              <a:extLst>
                <a:ext uri="{FF2B5EF4-FFF2-40B4-BE49-F238E27FC236}">
                  <a16:creationId xmlns:a16="http://schemas.microsoft.com/office/drawing/2014/main" id="{D52D66CF-AE8C-DA03-ED8E-E7E7E26CC73F}"/>
                </a:ext>
              </a:extLst>
            </p:cNvPr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" name="Google Shape;9240;p65">
              <a:extLst>
                <a:ext uri="{FF2B5EF4-FFF2-40B4-BE49-F238E27FC236}">
                  <a16:creationId xmlns:a16="http://schemas.microsoft.com/office/drawing/2014/main" id="{E058F1B8-4043-DDB6-C5F9-E5FF1A743791}"/>
                </a:ext>
              </a:extLst>
            </p:cNvPr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" name="Google Shape;9241;p65">
              <a:extLst>
                <a:ext uri="{FF2B5EF4-FFF2-40B4-BE49-F238E27FC236}">
                  <a16:creationId xmlns:a16="http://schemas.microsoft.com/office/drawing/2014/main" id="{F1375132-99DF-3A50-FDA4-00930AFF0F11}"/>
                </a:ext>
              </a:extLst>
            </p:cNvPr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" name="Google Shape;9242;p65">
              <a:extLst>
                <a:ext uri="{FF2B5EF4-FFF2-40B4-BE49-F238E27FC236}">
                  <a16:creationId xmlns:a16="http://schemas.microsoft.com/office/drawing/2014/main" id="{EEBF8462-76FC-A4C9-751E-E38CC19388E9}"/>
                </a:ext>
              </a:extLst>
            </p:cNvPr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51" name="Google Shape;9243;p65">
              <a:extLst>
                <a:ext uri="{FF2B5EF4-FFF2-40B4-BE49-F238E27FC236}">
                  <a16:creationId xmlns:a16="http://schemas.microsoft.com/office/drawing/2014/main" id="{DEE2A00F-B28C-57EC-A1BC-58CF1786FE1B}"/>
                </a:ext>
              </a:extLst>
            </p:cNvPr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197" name="Google Shape;9244;p65">
                <a:extLst>
                  <a:ext uri="{FF2B5EF4-FFF2-40B4-BE49-F238E27FC236}">
                    <a16:creationId xmlns:a16="http://schemas.microsoft.com/office/drawing/2014/main" id="{064F7823-F7D5-1DC5-FA69-A954D2E7E298}"/>
                  </a:ext>
                </a:extLst>
              </p:cNvPr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8" name="Google Shape;9245;p65">
                <a:extLst>
                  <a:ext uri="{FF2B5EF4-FFF2-40B4-BE49-F238E27FC236}">
                    <a16:creationId xmlns:a16="http://schemas.microsoft.com/office/drawing/2014/main" id="{7E8406C9-5A46-2C7F-E06F-414652DC49C4}"/>
                  </a:ext>
                </a:extLst>
              </p:cNvPr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9" name="Google Shape;9246;p65">
                <a:extLst>
                  <a:ext uri="{FF2B5EF4-FFF2-40B4-BE49-F238E27FC236}">
                    <a16:creationId xmlns:a16="http://schemas.microsoft.com/office/drawing/2014/main" id="{E29345B8-1905-6E69-3E65-4D0D9ADA1CB9}"/>
                  </a:ext>
                </a:extLst>
              </p:cNvPr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00" name="Google Shape;9247;p65">
                <a:extLst>
                  <a:ext uri="{FF2B5EF4-FFF2-40B4-BE49-F238E27FC236}">
                    <a16:creationId xmlns:a16="http://schemas.microsoft.com/office/drawing/2014/main" id="{BBCA69E5-F767-55BC-F0E9-F82E5FEA0952}"/>
                  </a:ext>
                </a:extLst>
              </p:cNvPr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52" name="Google Shape;9248;p65">
              <a:extLst>
                <a:ext uri="{FF2B5EF4-FFF2-40B4-BE49-F238E27FC236}">
                  <a16:creationId xmlns:a16="http://schemas.microsoft.com/office/drawing/2014/main" id="{3EF1C8AB-C700-A1B2-D64A-36008F097D22}"/>
                </a:ext>
              </a:extLst>
            </p:cNvPr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" name="Google Shape;9249;p65">
              <a:extLst>
                <a:ext uri="{FF2B5EF4-FFF2-40B4-BE49-F238E27FC236}">
                  <a16:creationId xmlns:a16="http://schemas.microsoft.com/office/drawing/2014/main" id="{A0FAD379-B62E-377C-4007-F8D3E7F2E120}"/>
                </a:ext>
              </a:extLst>
            </p:cNvPr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" name="Google Shape;9250;p65">
              <a:extLst>
                <a:ext uri="{FF2B5EF4-FFF2-40B4-BE49-F238E27FC236}">
                  <a16:creationId xmlns:a16="http://schemas.microsoft.com/office/drawing/2014/main" id="{70DB68FD-DBAF-6DAF-4776-30599A544873}"/>
                </a:ext>
              </a:extLst>
            </p:cNvPr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" name="Google Shape;9251;p65">
              <a:extLst>
                <a:ext uri="{FF2B5EF4-FFF2-40B4-BE49-F238E27FC236}">
                  <a16:creationId xmlns:a16="http://schemas.microsoft.com/office/drawing/2014/main" id="{F5D7E06E-5738-C505-CEF5-7972BA264332}"/>
                </a:ext>
              </a:extLst>
            </p:cNvPr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" name="Google Shape;9252;p65">
              <a:extLst>
                <a:ext uri="{FF2B5EF4-FFF2-40B4-BE49-F238E27FC236}">
                  <a16:creationId xmlns:a16="http://schemas.microsoft.com/office/drawing/2014/main" id="{0C19CFCA-08BE-F19C-A2AE-4F791C118783}"/>
                </a:ext>
              </a:extLst>
            </p:cNvPr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" name="Google Shape;9253;p65">
              <a:extLst>
                <a:ext uri="{FF2B5EF4-FFF2-40B4-BE49-F238E27FC236}">
                  <a16:creationId xmlns:a16="http://schemas.microsoft.com/office/drawing/2014/main" id="{31708497-2336-FA30-F77F-197E15D77173}"/>
                </a:ext>
              </a:extLst>
            </p:cNvPr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" name="Google Shape;9254;p65">
              <a:extLst>
                <a:ext uri="{FF2B5EF4-FFF2-40B4-BE49-F238E27FC236}">
                  <a16:creationId xmlns:a16="http://schemas.microsoft.com/office/drawing/2014/main" id="{530AB627-C63F-F005-A081-7E113F8DB9D9}"/>
                </a:ext>
              </a:extLst>
            </p:cNvPr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" name="Google Shape;9255;p65">
              <a:extLst>
                <a:ext uri="{FF2B5EF4-FFF2-40B4-BE49-F238E27FC236}">
                  <a16:creationId xmlns:a16="http://schemas.microsoft.com/office/drawing/2014/main" id="{52C46680-59EA-1124-756F-F7A00DB6D9D7}"/>
                </a:ext>
              </a:extLst>
            </p:cNvPr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" name="Google Shape;9256;p65">
              <a:extLst>
                <a:ext uri="{FF2B5EF4-FFF2-40B4-BE49-F238E27FC236}">
                  <a16:creationId xmlns:a16="http://schemas.microsoft.com/office/drawing/2014/main" id="{8E450477-858E-DC9D-D051-68570B40EB6F}"/>
                </a:ext>
              </a:extLst>
            </p:cNvPr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" name="Google Shape;9257;p65">
              <a:extLst>
                <a:ext uri="{FF2B5EF4-FFF2-40B4-BE49-F238E27FC236}">
                  <a16:creationId xmlns:a16="http://schemas.microsoft.com/office/drawing/2014/main" id="{DF3AB6DF-80BE-73CE-C3DA-5E5A6D04C4E9}"/>
                </a:ext>
              </a:extLst>
            </p:cNvPr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" name="Google Shape;9258;p65">
              <a:extLst>
                <a:ext uri="{FF2B5EF4-FFF2-40B4-BE49-F238E27FC236}">
                  <a16:creationId xmlns:a16="http://schemas.microsoft.com/office/drawing/2014/main" id="{CA16A680-1960-839C-F883-E04EC6FBF24F}"/>
                </a:ext>
              </a:extLst>
            </p:cNvPr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" name="Google Shape;9259;p65">
              <a:extLst>
                <a:ext uri="{FF2B5EF4-FFF2-40B4-BE49-F238E27FC236}">
                  <a16:creationId xmlns:a16="http://schemas.microsoft.com/office/drawing/2014/main" id="{7F1F1368-F8A3-9BD6-4809-15981590960E}"/>
                </a:ext>
              </a:extLst>
            </p:cNvPr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" name="Google Shape;9260;p65">
              <a:extLst>
                <a:ext uri="{FF2B5EF4-FFF2-40B4-BE49-F238E27FC236}">
                  <a16:creationId xmlns:a16="http://schemas.microsoft.com/office/drawing/2014/main" id="{4F304FD7-C952-D654-838B-6F01B0F8D177}"/>
                </a:ext>
              </a:extLst>
            </p:cNvPr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" name="Google Shape;9261;p65">
              <a:extLst>
                <a:ext uri="{FF2B5EF4-FFF2-40B4-BE49-F238E27FC236}">
                  <a16:creationId xmlns:a16="http://schemas.microsoft.com/office/drawing/2014/main" id="{D91D2171-CDFD-B294-A80C-84B39C71E574}"/>
                </a:ext>
              </a:extLst>
            </p:cNvPr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" name="Google Shape;9262;p65">
              <a:extLst>
                <a:ext uri="{FF2B5EF4-FFF2-40B4-BE49-F238E27FC236}">
                  <a16:creationId xmlns:a16="http://schemas.microsoft.com/office/drawing/2014/main" id="{B0559CCA-B673-6881-C0C3-69CDAF189FF9}"/>
                </a:ext>
              </a:extLst>
            </p:cNvPr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" name="Google Shape;9263;p65">
              <a:extLst>
                <a:ext uri="{FF2B5EF4-FFF2-40B4-BE49-F238E27FC236}">
                  <a16:creationId xmlns:a16="http://schemas.microsoft.com/office/drawing/2014/main" id="{266E1D4B-685E-4B4C-3FA9-13B589C643E2}"/>
                </a:ext>
              </a:extLst>
            </p:cNvPr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" name="Google Shape;9264;p65">
              <a:extLst>
                <a:ext uri="{FF2B5EF4-FFF2-40B4-BE49-F238E27FC236}">
                  <a16:creationId xmlns:a16="http://schemas.microsoft.com/office/drawing/2014/main" id="{736A29AD-E015-670C-6608-6C62451622C6}"/>
                </a:ext>
              </a:extLst>
            </p:cNvPr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" name="Google Shape;9265;p65">
              <a:extLst>
                <a:ext uri="{FF2B5EF4-FFF2-40B4-BE49-F238E27FC236}">
                  <a16:creationId xmlns:a16="http://schemas.microsoft.com/office/drawing/2014/main" id="{77D4328D-5D07-2AF7-B2D5-6224FDAA2AE0}"/>
                </a:ext>
              </a:extLst>
            </p:cNvPr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" name="Google Shape;9266;p65">
              <a:extLst>
                <a:ext uri="{FF2B5EF4-FFF2-40B4-BE49-F238E27FC236}">
                  <a16:creationId xmlns:a16="http://schemas.microsoft.com/office/drawing/2014/main" id="{D17DE309-5B08-82C6-82FC-06EF97534DEB}"/>
                </a:ext>
              </a:extLst>
            </p:cNvPr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" name="Google Shape;9267;p65">
              <a:extLst>
                <a:ext uri="{FF2B5EF4-FFF2-40B4-BE49-F238E27FC236}">
                  <a16:creationId xmlns:a16="http://schemas.microsoft.com/office/drawing/2014/main" id="{C2917AC0-4BE8-C2C2-E174-7F1C5140301F}"/>
                </a:ext>
              </a:extLst>
            </p:cNvPr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" name="Google Shape;9268;p65">
              <a:extLst>
                <a:ext uri="{FF2B5EF4-FFF2-40B4-BE49-F238E27FC236}">
                  <a16:creationId xmlns:a16="http://schemas.microsoft.com/office/drawing/2014/main" id="{FFE1F936-0BCA-F40F-6FF5-7281C0F6776C}"/>
                </a:ext>
              </a:extLst>
            </p:cNvPr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" name="Google Shape;9269;p65">
              <a:extLst>
                <a:ext uri="{FF2B5EF4-FFF2-40B4-BE49-F238E27FC236}">
                  <a16:creationId xmlns:a16="http://schemas.microsoft.com/office/drawing/2014/main" id="{4D97F44A-0C55-2372-5F3C-B28243BF8A15}"/>
                </a:ext>
              </a:extLst>
            </p:cNvPr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" name="Google Shape;9270;p65">
              <a:extLst>
                <a:ext uri="{FF2B5EF4-FFF2-40B4-BE49-F238E27FC236}">
                  <a16:creationId xmlns:a16="http://schemas.microsoft.com/office/drawing/2014/main" id="{07489DDD-4C69-C416-736D-AD091752BE09}"/>
                </a:ext>
              </a:extLst>
            </p:cNvPr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" name="Google Shape;9271;p65">
              <a:extLst>
                <a:ext uri="{FF2B5EF4-FFF2-40B4-BE49-F238E27FC236}">
                  <a16:creationId xmlns:a16="http://schemas.microsoft.com/office/drawing/2014/main" id="{86B75C6E-4D93-CE27-E716-0D5A83FC53BE}"/>
                </a:ext>
              </a:extLst>
            </p:cNvPr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" name="Google Shape;9272;p65">
              <a:extLst>
                <a:ext uri="{FF2B5EF4-FFF2-40B4-BE49-F238E27FC236}">
                  <a16:creationId xmlns:a16="http://schemas.microsoft.com/office/drawing/2014/main" id="{C6C695C4-F7C5-84FD-3CBE-C6FA296E7BF4}"/>
                </a:ext>
              </a:extLst>
            </p:cNvPr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" name="Google Shape;9273;p65">
              <a:extLst>
                <a:ext uri="{FF2B5EF4-FFF2-40B4-BE49-F238E27FC236}">
                  <a16:creationId xmlns:a16="http://schemas.microsoft.com/office/drawing/2014/main" id="{F4DD22D9-2BC3-E3FA-112E-D7660780D715}"/>
                </a:ext>
              </a:extLst>
            </p:cNvPr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" name="Google Shape;9274;p65">
              <a:extLst>
                <a:ext uri="{FF2B5EF4-FFF2-40B4-BE49-F238E27FC236}">
                  <a16:creationId xmlns:a16="http://schemas.microsoft.com/office/drawing/2014/main" id="{39C2BB72-020F-3784-F57D-E238C6B9DA77}"/>
                </a:ext>
              </a:extLst>
            </p:cNvPr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" name="Google Shape;9275;p65">
              <a:extLst>
                <a:ext uri="{FF2B5EF4-FFF2-40B4-BE49-F238E27FC236}">
                  <a16:creationId xmlns:a16="http://schemas.microsoft.com/office/drawing/2014/main" id="{2D89C9AB-6C62-E1F7-695D-141A6B7A8369}"/>
                </a:ext>
              </a:extLst>
            </p:cNvPr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" name="Google Shape;9276;p65">
              <a:extLst>
                <a:ext uri="{FF2B5EF4-FFF2-40B4-BE49-F238E27FC236}">
                  <a16:creationId xmlns:a16="http://schemas.microsoft.com/office/drawing/2014/main" id="{81689B86-8E49-7210-4E35-C03C898E9A54}"/>
                </a:ext>
              </a:extLst>
            </p:cNvPr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81" name="Google Shape;9277;p65">
              <a:extLst>
                <a:ext uri="{FF2B5EF4-FFF2-40B4-BE49-F238E27FC236}">
                  <a16:creationId xmlns:a16="http://schemas.microsoft.com/office/drawing/2014/main" id="{0F36A6E7-C270-93AB-EDCA-5CAC6CC7CC07}"/>
                </a:ext>
              </a:extLst>
            </p:cNvPr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195" name="Google Shape;9278;p65">
                <a:extLst>
                  <a:ext uri="{FF2B5EF4-FFF2-40B4-BE49-F238E27FC236}">
                    <a16:creationId xmlns:a16="http://schemas.microsoft.com/office/drawing/2014/main" id="{5BB95D02-D767-8932-6BBC-E642FCC822F2}"/>
                  </a:ext>
                </a:extLst>
              </p:cNvPr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6" name="Google Shape;9279;p65">
                <a:extLst>
                  <a:ext uri="{FF2B5EF4-FFF2-40B4-BE49-F238E27FC236}">
                    <a16:creationId xmlns:a16="http://schemas.microsoft.com/office/drawing/2014/main" id="{358944D6-7B17-EB33-7813-54CD3FB20419}"/>
                  </a:ext>
                </a:extLst>
              </p:cNvPr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82" name="Google Shape;9280;p65">
              <a:extLst>
                <a:ext uri="{FF2B5EF4-FFF2-40B4-BE49-F238E27FC236}">
                  <a16:creationId xmlns:a16="http://schemas.microsoft.com/office/drawing/2014/main" id="{C6B1F8BD-A54E-58D4-0D46-AEAB7F1F3639}"/>
                </a:ext>
              </a:extLst>
            </p:cNvPr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83" name="Google Shape;9281;p65">
              <a:extLst>
                <a:ext uri="{FF2B5EF4-FFF2-40B4-BE49-F238E27FC236}">
                  <a16:creationId xmlns:a16="http://schemas.microsoft.com/office/drawing/2014/main" id="{16C294C3-AEBC-76EC-5FD6-6223FF614E30}"/>
                </a:ext>
              </a:extLst>
            </p:cNvPr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193" name="Google Shape;9282;p65">
                <a:extLst>
                  <a:ext uri="{FF2B5EF4-FFF2-40B4-BE49-F238E27FC236}">
                    <a16:creationId xmlns:a16="http://schemas.microsoft.com/office/drawing/2014/main" id="{7904B556-B9CB-0892-B5BF-7574E7E4DB53}"/>
                  </a:ext>
                </a:extLst>
              </p:cNvPr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A6CBC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4" name="Google Shape;9283;p65">
                <a:extLst>
                  <a:ext uri="{FF2B5EF4-FFF2-40B4-BE49-F238E27FC236}">
                    <a16:creationId xmlns:a16="http://schemas.microsoft.com/office/drawing/2014/main" id="{9248B260-52A9-F06B-F8ED-989CB98C5745}"/>
                  </a:ext>
                </a:extLst>
              </p:cNvPr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grpSp>
          <p:nvGrpSpPr>
            <p:cNvPr id="84" name="Google Shape;9284;p65">
              <a:extLst>
                <a:ext uri="{FF2B5EF4-FFF2-40B4-BE49-F238E27FC236}">
                  <a16:creationId xmlns:a16="http://schemas.microsoft.com/office/drawing/2014/main" id="{91125028-D672-8C40-F833-EDB30B4F9A37}"/>
                </a:ext>
              </a:extLst>
            </p:cNvPr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191" name="Google Shape;9285;p65">
                <a:extLst>
                  <a:ext uri="{FF2B5EF4-FFF2-40B4-BE49-F238E27FC236}">
                    <a16:creationId xmlns:a16="http://schemas.microsoft.com/office/drawing/2014/main" id="{F337E813-2E0B-DE08-FFBD-9794BA095518}"/>
                  </a:ext>
                </a:extLst>
              </p:cNvPr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" name="Google Shape;9286;p65">
                <a:extLst>
                  <a:ext uri="{FF2B5EF4-FFF2-40B4-BE49-F238E27FC236}">
                    <a16:creationId xmlns:a16="http://schemas.microsoft.com/office/drawing/2014/main" id="{E44B62C3-4904-5DBB-0C10-A25048035313}"/>
                  </a:ext>
                </a:extLst>
              </p:cNvPr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85" name="Google Shape;9287;p65">
              <a:extLst>
                <a:ext uri="{FF2B5EF4-FFF2-40B4-BE49-F238E27FC236}">
                  <a16:creationId xmlns:a16="http://schemas.microsoft.com/office/drawing/2014/main" id="{7EF0D736-0A38-1013-4C82-6AED516478E7}"/>
                </a:ext>
              </a:extLst>
            </p:cNvPr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" name="Google Shape;9288;p65">
              <a:extLst>
                <a:ext uri="{FF2B5EF4-FFF2-40B4-BE49-F238E27FC236}">
                  <a16:creationId xmlns:a16="http://schemas.microsoft.com/office/drawing/2014/main" id="{D6B13CF4-4BA7-9800-E1B0-23963D7ED44E}"/>
                </a:ext>
              </a:extLst>
            </p:cNvPr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" name="Google Shape;9289;p65">
              <a:extLst>
                <a:ext uri="{FF2B5EF4-FFF2-40B4-BE49-F238E27FC236}">
                  <a16:creationId xmlns:a16="http://schemas.microsoft.com/office/drawing/2014/main" id="{BDEC7E7A-23E6-C670-D295-40AB4F5418FD}"/>
                </a:ext>
              </a:extLst>
            </p:cNvPr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" name="Google Shape;9290;p65">
              <a:extLst>
                <a:ext uri="{FF2B5EF4-FFF2-40B4-BE49-F238E27FC236}">
                  <a16:creationId xmlns:a16="http://schemas.microsoft.com/office/drawing/2014/main" id="{EDB0D956-A3DB-D0FC-70F1-24A30B4B4771}"/>
                </a:ext>
              </a:extLst>
            </p:cNvPr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" name="Google Shape;9291;p65">
              <a:extLst>
                <a:ext uri="{FF2B5EF4-FFF2-40B4-BE49-F238E27FC236}">
                  <a16:creationId xmlns:a16="http://schemas.microsoft.com/office/drawing/2014/main" id="{717815EB-CC61-A7B3-8349-261F5CF54B5F}"/>
                </a:ext>
              </a:extLst>
            </p:cNvPr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" name="Google Shape;9292;p65">
              <a:extLst>
                <a:ext uri="{FF2B5EF4-FFF2-40B4-BE49-F238E27FC236}">
                  <a16:creationId xmlns:a16="http://schemas.microsoft.com/office/drawing/2014/main" id="{B2C69B53-C6AF-E24B-AC1D-D8A20B173FA6}"/>
                </a:ext>
              </a:extLst>
            </p:cNvPr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" name="Google Shape;9293;p65">
              <a:extLst>
                <a:ext uri="{FF2B5EF4-FFF2-40B4-BE49-F238E27FC236}">
                  <a16:creationId xmlns:a16="http://schemas.microsoft.com/office/drawing/2014/main" id="{4F73330B-05D8-18B1-AFB3-C902ADE711EC}"/>
                </a:ext>
              </a:extLst>
            </p:cNvPr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" name="Google Shape;9294;p65">
              <a:extLst>
                <a:ext uri="{FF2B5EF4-FFF2-40B4-BE49-F238E27FC236}">
                  <a16:creationId xmlns:a16="http://schemas.microsoft.com/office/drawing/2014/main" id="{EF665874-5370-83CC-9BAE-E7F4268E018E}"/>
                </a:ext>
              </a:extLst>
            </p:cNvPr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93" name="Google Shape;9295;p65">
              <a:extLst>
                <a:ext uri="{FF2B5EF4-FFF2-40B4-BE49-F238E27FC236}">
                  <a16:creationId xmlns:a16="http://schemas.microsoft.com/office/drawing/2014/main" id="{0D2BD6C0-BF68-7E1D-C324-1CD86E4889AB}"/>
                </a:ext>
              </a:extLst>
            </p:cNvPr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187" name="Google Shape;9296;p65">
                <a:extLst>
                  <a:ext uri="{FF2B5EF4-FFF2-40B4-BE49-F238E27FC236}">
                    <a16:creationId xmlns:a16="http://schemas.microsoft.com/office/drawing/2014/main" id="{DA2F32CE-9E25-1E16-CE17-5D512189334C}"/>
                  </a:ext>
                </a:extLst>
              </p:cNvPr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88" name="Google Shape;9297;p65">
                <a:extLst>
                  <a:ext uri="{FF2B5EF4-FFF2-40B4-BE49-F238E27FC236}">
                    <a16:creationId xmlns:a16="http://schemas.microsoft.com/office/drawing/2014/main" id="{974C6DD0-B1B4-D0B0-8739-1DC4D3B9B168}"/>
                  </a:ext>
                </a:extLst>
              </p:cNvPr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89" name="Google Shape;9298;p65">
                <a:extLst>
                  <a:ext uri="{FF2B5EF4-FFF2-40B4-BE49-F238E27FC236}">
                    <a16:creationId xmlns:a16="http://schemas.microsoft.com/office/drawing/2014/main" id="{6DEC7B50-9D0F-C3B4-4FA4-95A0D4996CCE}"/>
                  </a:ext>
                </a:extLst>
              </p:cNvPr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0" name="Google Shape;9299;p65">
                <a:extLst>
                  <a:ext uri="{FF2B5EF4-FFF2-40B4-BE49-F238E27FC236}">
                    <a16:creationId xmlns:a16="http://schemas.microsoft.com/office/drawing/2014/main" id="{7C617B3D-78A1-4B65-6916-55E5878D6384}"/>
                  </a:ext>
                </a:extLst>
              </p:cNvPr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94" name="Google Shape;9300;p65">
              <a:extLst>
                <a:ext uri="{FF2B5EF4-FFF2-40B4-BE49-F238E27FC236}">
                  <a16:creationId xmlns:a16="http://schemas.microsoft.com/office/drawing/2014/main" id="{D095836B-74BB-D106-B0BF-A2FDF74ACE23}"/>
                </a:ext>
              </a:extLst>
            </p:cNvPr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" name="Google Shape;9301;p65">
              <a:extLst>
                <a:ext uri="{FF2B5EF4-FFF2-40B4-BE49-F238E27FC236}">
                  <a16:creationId xmlns:a16="http://schemas.microsoft.com/office/drawing/2014/main" id="{CD9B23AF-F31D-9528-F97A-2672AE5F9039}"/>
                </a:ext>
              </a:extLst>
            </p:cNvPr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" name="Google Shape;9302;p65">
              <a:extLst>
                <a:ext uri="{FF2B5EF4-FFF2-40B4-BE49-F238E27FC236}">
                  <a16:creationId xmlns:a16="http://schemas.microsoft.com/office/drawing/2014/main" id="{08332F2E-A9B3-0119-060E-2C4B8B8A8830}"/>
                </a:ext>
              </a:extLst>
            </p:cNvPr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" name="Google Shape;9303;p65">
              <a:extLst>
                <a:ext uri="{FF2B5EF4-FFF2-40B4-BE49-F238E27FC236}">
                  <a16:creationId xmlns:a16="http://schemas.microsoft.com/office/drawing/2014/main" id="{51CC37FF-8348-5AFA-FB22-4F826E1AA7C7}"/>
                </a:ext>
              </a:extLst>
            </p:cNvPr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" name="Google Shape;9304;p65">
              <a:extLst>
                <a:ext uri="{FF2B5EF4-FFF2-40B4-BE49-F238E27FC236}">
                  <a16:creationId xmlns:a16="http://schemas.microsoft.com/office/drawing/2014/main" id="{59706AD9-6213-96D4-659B-B791FC2049BB}"/>
                </a:ext>
              </a:extLst>
            </p:cNvPr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" name="Google Shape;9305;p65">
              <a:extLst>
                <a:ext uri="{FF2B5EF4-FFF2-40B4-BE49-F238E27FC236}">
                  <a16:creationId xmlns:a16="http://schemas.microsoft.com/office/drawing/2014/main" id="{6B8B8D28-E989-A824-4EB2-E892B030987C}"/>
                </a:ext>
              </a:extLst>
            </p:cNvPr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" name="Google Shape;9306;p65">
              <a:extLst>
                <a:ext uri="{FF2B5EF4-FFF2-40B4-BE49-F238E27FC236}">
                  <a16:creationId xmlns:a16="http://schemas.microsoft.com/office/drawing/2014/main" id="{74A0A36B-56DF-CC7B-0594-50ECE352C885}"/>
                </a:ext>
              </a:extLst>
            </p:cNvPr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" name="Google Shape;9307;p65">
              <a:extLst>
                <a:ext uri="{FF2B5EF4-FFF2-40B4-BE49-F238E27FC236}">
                  <a16:creationId xmlns:a16="http://schemas.microsoft.com/office/drawing/2014/main" id="{680D558E-AF3D-531E-3E77-64DA623F80BA}"/>
                </a:ext>
              </a:extLst>
            </p:cNvPr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102" name="Google Shape;9308;p65">
              <a:extLst>
                <a:ext uri="{FF2B5EF4-FFF2-40B4-BE49-F238E27FC236}">
                  <a16:creationId xmlns:a16="http://schemas.microsoft.com/office/drawing/2014/main" id="{B99C8F05-3B54-20EE-7D4C-AA10C63ED33E}"/>
                </a:ext>
              </a:extLst>
            </p:cNvPr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183" name="Google Shape;9309;p65">
                <a:extLst>
                  <a:ext uri="{FF2B5EF4-FFF2-40B4-BE49-F238E27FC236}">
                    <a16:creationId xmlns:a16="http://schemas.microsoft.com/office/drawing/2014/main" id="{A81E5BC9-63A0-C91C-2E48-DE564DB20304}"/>
                  </a:ext>
                </a:extLst>
              </p:cNvPr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84" name="Google Shape;9310;p65">
                <a:extLst>
                  <a:ext uri="{FF2B5EF4-FFF2-40B4-BE49-F238E27FC236}">
                    <a16:creationId xmlns:a16="http://schemas.microsoft.com/office/drawing/2014/main" id="{81D490C5-47A5-BDE4-5958-3CCBC72C7C65}"/>
                  </a:ext>
                </a:extLst>
              </p:cNvPr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85" name="Google Shape;9311;p65">
                <a:extLst>
                  <a:ext uri="{FF2B5EF4-FFF2-40B4-BE49-F238E27FC236}">
                    <a16:creationId xmlns:a16="http://schemas.microsoft.com/office/drawing/2014/main" id="{89216EB0-4FBA-F8A4-5D69-9B9CAF6348E2}"/>
                  </a:ext>
                </a:extLst>
              </p:cNvPr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86" name="Google Shape;9312;p65">
                <a:extLst>
                  <a:ext uri="{FF2B5EF4-FFF2-40B4-BE49-F238E27FC236}">
                    <a16:creationId xmlns:a16="http://schemas.microsoft.com/office/drawing/2014/main" id="{E7E54BD6-B21D-1663-BD87-F24D6415714B}"/>
                  </a:ext>
                </a:extLst>
              </p:cNvPr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103" name="Google Shape;9313;p65">
              <a:extLst>
                <a:ext uri="{FF2B5EF4-FFF2-40B4-BE49-F238E27FC236}">
                  <a16:creationId xmlns:a16="http://schemas.microsoft.com/office/drawing/2014/main" id="{6C3EC269-7184-D2F5-2FE1-B91FAF25A559}"/>
                </a:ext>
              </a:extLst>
            </p:cNvPr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" name="Google Shape;9314;p65">
              <a:extLst>
                <a:ext uri="{FF2B5EF4-FFF2-40B4-BE49-F238E27FC236}">
                  <a16:creationId xmlns:a16="http://schemas.microsoft.com/office/drawing/2014/main" id="{E6DB3E48-CFEB-D4CA-65C2-9FA68AC43E64}"/>
                </a:ext>
              </a:extLst>
            </p:cNvPr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" name="Google Shape;9315;p65">
              <a:extLst>
                <a:ext uri="{FF2B5EF4-FFF2-40B4-BE49-F238E27FC236}">
                  <a16:creationId xmlns:a16="http://schemas.microsoft.com/office/drawing/2014/main" id="{3D7B4E1F-E571-27A9-E7FD-804B76125005}"/>
                </a:ext>
              </a:extLst>
            </p:cNvPr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" name="Google Shape;9316;p65">
              <a:extLst>
                <a:ext uri="{FF2B5EF4-FFF2-40B4-BE49-F238E27FC236}">
                  <a16:creationId xmlns:a16="http://schemas.microsoft.com/office/drawing/2014/main" id="{2965BDC1-BDE0-56D2-01F0-D4EB60199DCB}"/>
                </a:ext>
              </a:extLst>
            </p:cNvPr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" name="Google Shape;9317;p65">
              <a:extLst>
                <a:ext uri="{FF2B5EF4-FFF2-40B4-BE49-F238E27FC236}">
                  <a16:creationId xmlns:a16="http://schemas.microsoft.com/office/drawing/2014/main" id="{5EF68058-269B-B1BC-736B-2FF0E25F1F58}"/>
                </a:ext>
              </a:extLst>
            </p:cNvPr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" name="Google Shape;9318;p65">
              <a:extLst>
                <a:ext uri="{FF2B5EF4-FFF2-40B4-BE49-F238E27FC236}">
                  <a16:creationId xmlns:a16="http://schemas.microsoft.com/office/drawing/2014/main" id="{872894AA-F237-FE48-E514-0145031CF459}"/>
                </a:ext>
              </a:extLst>
            </p:cNvPr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" name="Google Shape;9319;p65">
              <a:extLst>
                <a:ext uri="{FF2B5EF4-FFF2-40B4-BE49-F238E27FC236}">
                  <a16:creationId xmlns:a16="http://schemas.microsoft.com/office/drawing/2014/main" id="{EFCF0388-AC19-5A30-6AF8-3E968149463C}"/>
                </a:ext>
              </a:extLst>
            </p:cNvPr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" name="Google Shape;9320;p65">
              <a:extLst>
                <a:ext uri="{FF2B5EF4-FFF2-40B4-BE49-F238E27FC236}">
                  <a16:creationId xmlns:a16="http://schemas.microsoft.com/office/drawing/2014/main" id="{C91136BF-61AD-6441-571F-9176F474B5B7}"/>
                </a:ext>
              </a:extLst>
            </p:cNvPr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" name="Google Shape;9321;p65">
              <a:extLst>
                <a:ext uri="{FF2B5EF4-FFF2-40B4-BE49-F238E27FC236}">
                  <a16:creationId xmlns:a16="http://schemas.microsoft.com/office/drawing/2014/main" id="{7A34A1B0-0CD8-923C-9102-C8074AB0BA3F}"/>
                </a:ext>
              </a:extLst>
            </p:cNvPr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" name="Google Shape;9322;p65">
              <a:extLst>
                <a:ext uri="{FF2B5EF4-FFF2-40B4-BE49-F238E27FC236}">
                  <a16:creationId xmlns:a16="http://schemas.microsoft.com/office/drawing/2014/main" id="{028EA0CC-4ED3-4F4A-6638-C7612CD036D6}"/>
                </a:ext>
              </a:extLst>
            </p:cNvPr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" name="Google Shape;9323;p65">
              <a:extLst>
                <a:ext uri="{FF2B5EF4-FFF2-40B4-BE49-F238E27FC236}">
                  <a16:creationId xmlns:a16="http://schemas.microsoft.com/office/drawing/2014/main" id="{D8D72D27-FE3D-84B2-4393-6E6668DC23BE}"/>
                </a:ext>
              </a:extLst>
            </p:cNvPr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" name="Google Shape;9324;p65">
              <a:extLst>
                <a:ext uri="{FF2B5EF4-FFF2-40B4-BE49-F238E27FC236}">
                  <a16:creationId xmlns:a16="http://schemas.microsoft.com/office/drawing/2014/main" id="{205A76B6-8027-3381-8E23-FD0937C04D06}"/>
                </a:ext>
              </a:extLst>
            </p:cNvPr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" name="Google Shape;9325;p65">
              <a:extLst>
                <a:ext uri="{FF2B5EF4-FFF2-40B4-BE49-F238E27FC236}">
                  <a16:creationId xmlns:a16="http://schemas.microsoft.com/office/drawing/2014/main" id="{D09A932F-FBE7-3A17-A135-A9EF3668C3C1}"/>
                </a:ext>
              </a:extLst>
            </p:cNvPr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" name="Google Shape;9326;p65">
              <a:extLst>
                <a:ext uri="{FF2B5EF4-FFF2-40B4-BE49-F238E27FC236}">
                  <a16:creationId xmlns:a16="http://schemas.microsoft.com/office/drawing/2014/main" id="{51C236CC-0703-330B-C8AA-BA135ACBB189}"/>
                </a:ext>
              </a:extLst>
            </p:cNvPr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" name="Google Shape;9327;p65">
              <a:extLst>
                <a:ext uri="{FF2B5EF4-FFF2-40B4-BE49-F238E27FC236}">
                  <a16:creationId xmlns:a16="http://schemas.microsoft.com/office/drawing/2014/main" id="{51BCD3F0-69C0-25C5-FEFF-7A6B5883055D}"/>
                </a:ext>
              </a:extLst>
            </p:cNvPr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" name="Google Shape;9328;p65">
              <a:extLst>
                <a:ext uri="{FF2B5EF4-FFF2-40B4-BE49-F238E27FC236}">
                  <a16:creationId xmlns:a16="http://schemas.microsoft.com/office/drawing/2014/main" id="{0ACBE259-D5C7-277F-C2B9-FBD8C5245143}"/>
                </a:ext>
              </a:extLst>
            </p:cNvPr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" name="Google Shape;9329;p65">
              <a:extLst>
                <a:ext uri="{FF2B5EF4-FFF2-40B4-BE49-F238E27FC236}">
                  <a16:creationId xmlns:a16="http://schemas.microsoft.com/office/drawing/2014/main" id="{CC79EDEA-32A7-8269-7E94-7271E831A7E8}"/>
                </a:ext>
              </a:extLst>
            </p:cNvPr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" name="Google Shape;9330;p65">
              <a:extLst>
                <a:ext uri="{FF2B5EF4-FFF2-40B4-BE49-F238E27FC236}">
                  <a16:creationId xmlns:a16="http://schemas.microsoft.com/office/drawing/2014/main" id="{B6CD629C-7388-FF9E-AA5C-5A6A69EC6953}"/>
                </a:ext>
              </a:extLst>
            </p:cNvPr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" name="Google Shape;9331;p65">
              <a:extLst>
                <a:ext uri="{FF2B5EF4-FFF2-40B4-BE49-F238E27FC236}">
                  <a16:creationId xmlns:a16="http://schemas.microsoft.com/office/drawing/2014/main" id="{6967AFDE-7B2E-34AC-E482-057A59E2D558}"/>
                </a:ext>
              </a:extLst>
            </p:cNvPr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" name="Google Shape;9332;p65">
              <a:extLst>
                <a:ext uri="{FF2B5EF4-FFF2-40B4-BE49-F238E27FC236}">
                  <a16:creationId xmlns:a16="http://schemas.microsoft.com/office/drawing/2014/main" id="{232AD3BE-422E-46AC-024F-093731BF14C4}"/>
                </a:ext>
              </a:extLst>
            </p:cNvPr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" name="Google Shape;9333;p65">
              <a:extLst>
                <a:ext uri="{FF2B5EF4-FFF2-40B4-BE49-F238E27FC236}">
                  <a16:creationId xmlns:a16="http://schemas.microsoft.com/office/drawing/2014/main" id="{88E56BEC-DFEE-C3D6-7BEE-AA2576288D79}"/>
                </a:ext>
              </a:extLst>
            </p:cNvPr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" name="Google Shape;9334;p65">
              <a:extLst>
                <a:ext uri="{FF2B5EF4-FFF2-40B4-BE49-F238E27FC236}">
                  <a16:creationId xmlns:a16="http://schemas.microsoft.com/office/drawing/2014/main" id="{120539B3-F840-AE58-E579-C533244EBF76}"/>
                </a:ext>
              </a:extLst>
            </p:cNvPr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" name="Google Shape;9335;p65">
              <a:extLst>
                <a:ext uri="{FF2B5EF4-FFF2-40B4-BE49-F238E27FC236}">
                  <a16:creationId xmlns:a16="http://schemas.microsoft.com/office/drawing/2014/main" id="{DCF725CE-ACF9-4F13-A372-9375AEF2C586}"/>
                </a:ext>
              </a:extLst>
            </p:cNvPr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" name="Google Shape;9336;p65">
              <a:extLst>
                <a:ext uri="{FF2B5EF4-FFF2-40B4-BE49-F238E27FC236}">
                  <a16:creationId xmlns:a16="http://schemas.microsoft.com/office/drawing/2014/main" id="{7C8CDD3F-8474-3D3A-BC58-24B828562235}"/>
                </a:ext>
              </a:extLst>
            </p:cNvPr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" name="Google Shape;9337;p65">
              <a:extLst>
                <a:ext uri="{FF2B5EF4-FFF2-40B4-BE49-F238E27FC236}">
                  <a16:creationId xmlns:a16="http://schemas.microsoft.com/office/drawing/2014/main" id="{83DE76C5-0983-9626-61E5-1A96941E174C}"/>
                </a:ext>
              </a:extLst>
            </p:cNvPr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" name="Google Shape;9338;p65">
              <a:extLst>
                <a:ext uri="{FF2B5EF4-FFF2-40B4-BE49-F238E27FC236}">
                  <a16:creationId xmlns:a16="http://schemas.microsoft.com/office/drawing/2014/main" id="{67DD17F8-5C04-ECFB-CB06-A9298F9D06AD}"/>
                </a:ext>
              </a:extLst>
            </p:cNvPr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" name="Google Shape;9339;p65">
              <a:extLst>
                <a:ext uri="{FF2B5EF4-FFF2-40B4-BE49-F238E27FC236}">
                  <a16:creationId xmlns:a16="http://schemas.microsoft.com/office/drawing/2014/main" id="{CD94B0C8-14D6-3A09-D50D-BD2B8C16B6C0}"/>
                </a:ext>
              </a:extLst>
            </p:cNvPr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" name="Google Shape;9340;p65">
              <a:extLst>
                <a:ext uri="{FF2B5EF4-FFF2-40B4-BE49-F238E27FC236}">
                  <a16:creationId xmlns:a16="http://schemas.microsoft.com/office/drawing/2014/main" id="{5AFCFE84-5E4D-5B72-99F3-B5929075C0BA}"/>
                </a:ext>
              </a:extLst>
            </p:cNvPr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" name="Google Shape;9341;p65">
              <a:extLst>
                <a:ext uri="{FF2B5EF4-FFF2-40B4-BE49-F238E27FC236}">
                  <a16:creationId xmlns:a16="http://schemas.microsoft.com/office/drawing/2014/main" id="{B2096122-60F1-194B-9CF2-ABA4F726517F}"/>
                </a:ext>
              </a:extLst>
            </p:cNvPr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" name="Google Shape;9342;p65">
              <a:extLst>
                <a:ext uri="{FF2B5EF4-FFF2-40B4-BE49-F238E27FC236}">
                  <a16:creationId xmlns:a16="http://schemas.microsoft.com/office/drawing/2014/main" id="{EC23C9BE-7C9E-F6ED-8441-A4B53BC14B4D}"/>
                </a:ext>
              </a:extLst>
            </p:cNvPr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" name="Google Shape;9343;p65">
              <a:extLst>
                <a:ext uri="{FF2B5EF4-FFF2-40B4-BE49-F238E27FC236}">
                  <a16:creationId xmlns:a16="http://schemas.microsoft.com/office/drawing/2014/main" id="{E97E70B2-7D9E-5718-52FF-89096E712F49}"/>
                </a:ext>
              </a:extLst>
            </p:cNvPr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" name="Google Shape;9344;p65">
              <a:extLst>
                <a:ext uri="{FF2B5EF4-FFF2-40B4-BE49-F238E27FC236}">
                  <a16:creationId xmlns:a16="http://schemas.microsoft.com/office/drawing/2014/main" id="{EFBE4638-3C52-8DA1-F1F5-52D77860974B}"/>
                </a:ext>
              </a:extLst>
            </p:cNvPr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" name="Google Shape;9345;p65">
              <a:extLst>
                <a:ext uri="{FF2B5EF4-FFF2-40B4-BE49-F238E27FC236}">
                  <a16:creationId xmlns:a16="http://schemas.microsoft.com/office/drawing/2014/main" id="{28A331C3-2266-DBE3-0BC3-F97D945E0332}"/>
                </a:ext>
              </a:extLst>
            </p:cNvPr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" name="Google Shape;9346;p65">
              <a:extLst>
                <a:ext uri="{FF2B5EF4-FFF2-40B4-BE49-F238E27FC236}">
                  <a16:creationId xmlns:a16="http://schemas.microsoft.com/office/drawing/2014/main" id="{D344641A-6B53-31F6-4450-68A5D12E5CE7}"/>
                </a:ext>
              </a:extLst>
            </p:cNvPr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" name="Google Shape;9347;p65">
              <a:extLst>
                <a:ext uri="{FF2B5EF4-FFF2-40B4-BE49-F238E27FC236}">
                  <a16:creationId xmlns:a16="http://schemas.microsoft.com/office/drawing/2014/main" id="{58F7D379-0FA1-CD9C-D755-4CE03EAA25B4}"/>
                </a:ext>
              </a:extLst>
            </p:cNvPr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" name="Google Shape;9348;p65">
              <a:extLst>
                <a:ext uri="{FF2B5EF4-FFF2-40B4-BE49-F238E27FC236}">
                  <a16:creationId xmlns:a16="http://schemas.microsoft.com/office/drawing/2014/main" id="{BD1A9ED2-8255-1A2F-94BE-DD622A13949A}"/>
                </a:ext>
              </a:extLst>
            </p:cNvPr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" name="Google Shape;9349;p65">
              <a:extLst>
                <a:ext uri="{FF2B5EF4-FFF2-40B4-BE49-F238E27FC236}">
                  <a16:creationId xmlns:a16="http://schemas.microsoft.com/office/drawing/2014/main" id="{3BFA4B7A-DF73-B599-C71F-C754EF649283}"/>
                </a:ext>
              </a:extLst>
            </p:cNvPr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" name="Google Shape;9350;p65">
              <a:extLst>
                <a:ext uri="{FF2B5EF4-FFF2-40B4-BE49-F238E27FC236}">
                  <a16:creationId xmlns:a16="http://schemas.microsoft.com/office/drawing/2014/main" id="{AEF9AD74-446C-08A8-8C79-C97997751390}"/>
                </a:ext>
              </a:extLst>
            </p:cNvPr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" name="Google Shape;9351;p65">
              <a:extLst>
                <a:ext uri="{FF2B5EF4-FFF2-40B4-BE49-F238E27FC236}">
                  <a16:creationId xmlns:a16="http://schemas.microsoft.com/office/drawing/2014/main" id="{DED08533-0342-D159-5D36-A005203D27A9}"/>
                </a:ext>
              </a:extLst>
            </p:cNvPr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" name="Google Shape;9352;p65">
              <a:extLst>
                <a:ext uri="{FF2B5EF4-FFF2-40B4-BE49-F238E27FC236}">
                  <a16:creationId xmlns:a16="http://schemas.microsoft.com/office/drawing/2014/main" id="{FB7D6758-027B-C9B3-CA89-ECF74573F3A1}"/>
                </a:ext>
              </a:extLst>
            </p:cNvPr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" name="Google Shape;9353;p65">
              <a:extLst>
                <a:ext uri="{FF2B5EF4-FFF2-40B4-BE49-F238E27FC236}">
                  <a16:creationId xmlns:a16="http://schemas.microsoft.com/office/drawing/2014/main" id="{D9BA65D4-223D-C4AF-0115-449BED2286AC}"/>
                </a:ext>
              </a:extLst>
            </p:cNvPr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" name="Google Shape;9354;p65">
              <a:extLst>
                <a:ext uri="{FF2B5EF4-FFF2-40B4-BE49-F238E27FC236}">
                  <a16:creationId xmlns:a16="http://schemas.microsoft.com/office/drawing/2014/main" id="{2DA22D73-4B3C-C2D3-F606-02002ABBB456}"/>
                </a:ext>
              </a:extLst>
            </p:cNvPr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145" name="Google Shape;9355;p65">
              <a:extLst>
                <a:ext uri="{FF2B5EF4-FFF2-40B4-BE49-F238E27FC236}">
                  <a16:creationId xmlns:a16="http://schemas.microsoft.com/office/drawing/2014/main" id="{6FC06C70-52DE-2767-BE8A-6178CCB8CE19}"/>
                </a:ext>
              </a:extLst>
            </p:cNvPr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181" name="Google Shape;9356;p65">
                <a:extLst>
                  <a:ext uri="{FF2B5EF4-FFF2-40B4-BE49-F238E27FC236}">
                    <a16:creationId xmlns:a16="http://schemas.microsoft.com/office/drawing/2014/main" id="{C3C0A3D6-2007-E93A-CCDD-03EA22E6A16B}"/>
                  </a:ext>
                </a:extLst>
              </p:cNvPr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82" name="Google Shape;9357;p65">
                <a:extLst>
                  <a:ext uri="{FF2B5EF4-FFF2-40B4-BE49-F238E27FC236}">
                    <a16:creationId xmlns:a16="http://schemas.microsoft.com/office/drawing/2014/main" id="{F710C673-7DF6-883C-42AE-37AC8683A44F}"/>
                  </a:ext>
                </a:extLst>
              </p:cNvPr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rgbClr val="5F7D95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146" name="Google Shape;9358;p65">
              <a:extLst>
                <a:ext uri="{FF2B5EF4-FFF2-40B4-BE49-F238E27FC236}">
                  <a16:creationId xmlns:a16="http://schemas.microsoft.com/office/drawing/2014/main" id="{11665C7A-4048-94AC-4A27-DDF4103AC800}"/>
                </a:ext>
              </a:extLst>
            </p:cNvPr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" name="Google Shape;9359;p65">
              <a:extLst>
                <a:ext uri="{FF2B5EF4-FFF2-40B4-BE49-F238E27FC236}">
                  <a16:creationId xmlns:a16="http://schemas.microsoft.com/office/drawing/2014/main" id="{87BF3D24-90BB-87B9-4C3F-8B5C1A8D9BA3}"/>
                </a:ext>
              </a:extLst>
            </p:cNvPr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" name="Google Shape;9360;p65">
              <a:extLst>
                <a:ext uri="{FF2B5EF4-FFF2-40B4-BE49-F238E27FC236}">
                  <a16:creationId xmlns:a16="http://schemas.microsoft.com/office/drawing/2014/main" id="{8844C472-2590-160D-720E-7476743FDFCE}"/>
                </a:ext>
              </a:extLst>
            </p:cNvPr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" name="Google Shape;9361;p65">
              <a:extLst>
                <a:ext uri="{FF2B5EF4-FFF2-40B4-BE49-F238E27FC236}">
                  <a16:creationId xmlns:a16="http://schemas.microsoft.com/office/drawing/2014/main" id="{C4762BCB-E610-6319-A59A-EB695265CE3B}"/>
                </a:ext>
              </a:extLst>
            </p:cNvPr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" name="Google Shape;9362;p65">
              <a:extLst>
                <a:ext uri="{FF2B5EF4-FFF2-40B4-BE49-F238E27FC236}">
                  <a16:creationId xmlns:a16="http://schemas.microsoft.com/office/drawing/2014/main" id="{D9E8C05E-A55F-1341-453D-10712EEC9C70}"/>
                </a:ext>
              </a:extLst>
            </p:cNvPr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" name="Google Shape;9363;p65">
              <a:extLst>
                <a:ext uri="{FF2B5EF4-FFF2-40B4-BE49-F238E27FC236}">
                  <a16:creationId xmlns:a16="http://schemas.microsoft.com/office/drawing/2014/main" id="{2686AC33-25AA-B666-9A70-CDB754BA644E}"/>
                </a:ext>
              </a:extLst>
            </p:cNvPr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" name="Google Shape;9364;p65">
              <a:extLst>
                <a:ext uri="{FF2B5EF4-FFF2-40B4-BE49-F238E27FC236}">
                  <a16:creationId xmlns:a16="http://schemas.microsoft.com/office/drawing/2014/main" id="{C6713CD4-9A32-81BB-AE8E-F30CEF0BDB50}"/>
                </a:ext>
              </a:extLst>
            </p:cNvPr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" name="Google Shape;9365;p65">
              <a:extLst>
                <a:ext uri="{FF2B5EF4-FFF2-40B4-BE49-F238E27FC236}">
                  <a16:creationId xmlns:a16="http://schemas.microsoft.com/office/drawing/2014/main" id="{21A3C4F6-53A9-C324-0F62-9202D4EFBCEB}"/>
                </a:ext>
              </a:extLst>
            </p:cNvPr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" name="Google Shape;9366;p65">
              <a:extLst>
                <a:ext uri="{FF2B5EF4-FFF2-40B4-BE49-F238E27FC236}">
                  <a16:creationId xmlns:a16="http://schemas.microsoft.com/office/drawing/2014/main" id="{17C483B4-F9C4-56B5-914B-8099FC9BF720}"/>
                </a:ext>
              </a:extLst>
            </p:cNvPr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A6CBC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" name="Google Shape;9367;p65">
              <a:extLst>
                <a:ext uri="{FF2B5EF4-FFF2-40B4-BE49-F238E27FC236}">
                  <a16:creationId xmlns:a16="http://schemas.microsoft.com/office/drawing/2014/main" id="{CF5F1734-4195-9547-2627-900C6E17E4C2}"/>
                </a:ext>
              </a:extLst>
            </p:cNvPr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" name="Google Shape;9368;p65">
              <a:extLst>
                <a:ext uri="{FF2B5EF4-FFF2-40B4-BE49-F238E27FC236}">
                  <a16:creationId xmlns:a16="http://schemas.microsoft.com/office/drawing/2014/main" id="{AF85B215-03AE-5717-6DB8-BEC88E5A7FA8}"/>
                </a:ext>
              </a:extLst>
            </p:cNvPr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" name="Google Shape;9369;p65">
              <a:extLst>
                <a:ext uri="{FF2B5EF4-FFF2-40B4-BE49-F238E27FC236}">
                  <a16:creationId xmlns:a16="http://schemas.microsoft.com/office/drawing/2014/main" id="{86E4263C-D4C8-B1A2-0EDB-51BE37AD8F12}"/>
                </a:ext>
              </a:extLst>
            </p:cNvPr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" name="Google Shape;9370;p65">
              <a:extLst>
                <a:ext uri="{FF2B5EF4-FFF2-40B4-BE49-F238E27FC236}">
                  <a16:creationId xmlns:a16="http://schemas.microsoft.com/office/drawing/2014/main" id="{3D8A84EF-72DE-9D50-14B8-3C39D04F2000}"/>
                </a:ext>
              </a:extLst>
            </p:cNvPr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" name="Google Shape;9371;p65">
              <a:extLst>
                <a:ext uri="{FF2B5EF4-FFF2-40B4-BE49-F238E27FC236}">
                  <a16:creationId xmlns:a16="http://schemas.microsoft.com/office/drawing/2014/main" id="{71C93930-9644-1761-D589-88E8CD748C89}"/>
                </a:ext>
              </a:extLst>
            </p:cNvPr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" name="Google Shape;9372;p65">
              <a:extLst>
                <a:ext uri="{FF2B5EF4-FFF2-40B4-BE49-F238E27FC236}">
                  <a16:creationId xmlns:a16="http://schemas.microsoft.com/office/drawing/2014/main" id="{30565E9F-F1F5-F4E2-F505-CD6D6A69B006}"/>
                </a:ext>
              </a:extLst>
            </p:cNvPr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" name="Google Shape;9373;p65">
              <a:extLst>
                <a:ext uri="{FF2B5EF4-FFF2-40B4-BE49-F238E27FC236}">
                  <a16:creationId xmlns:a16="http://schemas.microsoft.com/office/drawing/2014/main" id="{7E95661A-75BD-B4F4-032A-3B7D54C50968}"/>
                </a:ext>
              </a:extLst>
            </p:cNvPr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" name="Google Shape;9374;p65">
              <a:extLst>
                <a:ext uri="{FF2B5EF4-FFF2-40B4-BE49-F238E27FC236}">
                  <a16:creationId xmlns:a16="http://schemas.microsoft.com/office/drawing/2014/main" id="{22A4723A-BBB2-A8F3-C91C-C31D7B644102}"/>
                </a:ext>
              </a:extLst>
            </p:cNvPr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" name="Google Shape;9375;p65">
              <a:extLst>
                <a:ext uri="{FF2B5EF4-FFF2-40B4-BE49-F238E27FC236}">
                  <a16:creationId xmlns:a16="http://schemas.microsoft.com/office/drawing/2014/main" id="{4182DCA4-A37F-3F85-2146-660761ED1FDB}"/>
                </a:ext>
              </a:extLst>
            </p:cNvPr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" name="Google Shape;9376;p65">
              <a:extLst>
                <a:ext uri="{FF2B5EF4-FFF2-40B4-BE49-F238E27FC236}">
                  <a16:creationId xmlns:a16="http://schemas.microsoft.com/office/drawing/2014/main" id="{1F404504-DC54-7B70-FD99-BF872719D59F}"/>
                </a:ext>
              </a:extLst>
            </p:cNvPr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A6CBC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" name="Google Shape;9377;p65">
              <a:extLst>
                <a:ext uri="{FF2B5EF4-FFF2-40B4-BE49-F238E27FC236}">
                  <a16:creationId xmlns:a16="http://schemas.microsoft.com/office/drawing/2014/main" id="{C3819C6A-8CF2-4A3A-9334-EFA400A1FD50}"/>
                </a:ext>
              </a:extLst>
            </p:cNvPr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" name="Google Shape;9378;p65">
              <a:extLst>
                <a:ext uri="{FF2B5EF4-FFF2-40B4-BE49-F238E27FC236}">
                  <a16:creationId xmlns:a16="http://schemas.microsoft.com/office/drawing/2014/main" id="{368FC042-93C4-D06D-D7F2-CD72AD21F4DF}"/>
                </a:ext>
              </a:extLst>
            </p:cNvPr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" name="Google Shape;9379;p65">
              <a:extLst>
                <a:ext uri="{FF2B5EF4-FFF2-40B4-BE49-F238E27FC236}">
                  <a16:creationId xmlns:a16="http://schemas.microsoft.com/office/drawing/2014/main" id="{606AA720-0D8D-4498-F07B-EB0BE4156B5A}"/>
                </a:ext>
              </a:extLst>
            </p:cNvPr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" name="Google Shape;9380;p65">
              <a:extLst>
                <a:ext uri="{FF2B5EF4-FFF2-40B4-BE49-F238E27FC236}">
                  <a16:creationId xmlns:a16="http://schemas.microsoft.com/office/drawing/2014/main" id="{665AE70A-9F5D-5A32-A7D5-323E3B619FB2}"/>
                </a:ext>
              </a:extLst>
            </p:cNvPr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" name="Google Shape;9381;p65">
              <a:extLst>
                <a:ext uri="{FF2B5EF4-FFF2-40B4-BE49-F238E27FC236}">
                  <a16:creationId xmlns:a16="http://schemas.microsoft.com/office/drawing/2014/main" id="{F46C2EEE-B31B-F5EF-B1BD-110278AEAC0A}"/>
                </a:ext>
              </a:extLst>
            </p:cNvPr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" name="Google Shape;9382;p65">
              <a:extLst>
                <a:ext uri="{FF2B5EF4-FFF2-40B4-BE49-F238E27FC236}">
                  <a16:creationId xmlns:a16="http://schemas.microsoft.com/office/drawing/2014/main" id="{4D9C230A-09DD-9788-695E-F36A071AECBC}"/>
                </a:ext>
              </a:extLst>
            </p:cNvPr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" name="Google Shape;9383;p65">
              <a:extLst>
                <a:ext uri="{FF2B5EF4-FFF2-40B4-BE49-F238E27FC236}">
                  <a16:creationId xmlns:a16="http://schemas.microsoft.com/office/drawing/2014/main" id="{594B4BBD-4F50-49DA-F089-3F4DB8B0E80D}"/>
                </a:ext>
              </a:extLst>
            </p:cNvPr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" name="Google Shape;9384;p65">
              <a:extLst>
                <a:ext uri="{FF2B5EF4-FFF2-40B4-BE49-F238E27FC236}">
                  <a16:creationId xmlns:a16="http://schemas.microsoft.com/office/drawing/2014/main" id="{FBFC269C-27A2-5231-BE70-3D1E6AC15E97}"/>
                </a:ext>
              </a:extLst>
            </p:cNvPr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" name="Google Shape;9385;p65">
              <a:extLst>
                <a:ext uri="{FF2B5EF4-FFF2-40B4-BE49-F238E27FC236}">
                  <a16:creationId xmlns:a16="http://schemas.microsoft.com/office/drawing/2014/main" id="{BC6A4ACD-14B8-FCC8-F0D7-D71A14461D05}"/>
                </a:ext>
              </a:extLst>
            </p:cNvPr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" name="Google Shape;9386;p65">
              <a:extLst>
                <a:ext uri="{FF2B5EF4-FFF2-40B4-BE49-F238E27FC236}">
                  <a16:creationId xmlns:a16="http://schemas.microsoft.com/office/drawing/2014/main" id="{C654EAA3-0174-7C0B-A129-8B83246BD0A2}"/>
                </a:ext>
              </a:extLst>
            </p:cNvPr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" name="Google Shape;9387;p65">
              <a:extLst>
                <a:ext uri="{FF2B5EF4-FFF2-40B4-BE49-F238E27FC236}">
                  <a16:creationId xmlns:a16="http://schemas.microsoft.com/office/drawing/2014/main" id="{BD6F2DE0-DD98-2EDA-0269-8DE17B3962CA}"/>
                </a:ext>
              </a:extLst>
            </p:cNvPr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" name="Google Shape;9388;p65">
              <a:extLst>
                <a:ext uri="{FF2B5EF4-FFF2-40B4-BE49-F238E27FC236}">
                  <a16:creationId xmlns:a16="http://schemas.microsoft.com/office/drawing/2014/main" id="{C34D5034-0FEE-1B4E-B8A2-7DE9A2771DA1}"/>
                </a:ext>
              </a:extLst>
            </p:cNvPr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" name="Google Shape;9389;p65">
              <a:extLst>
                <a:ext uri="{FF2B5EF4-FFF2-40B4-BE49-F238E27FC236}">
                  <a16:creationId xmlns:a16="http://schemas.microsoft.com/office/drawing/2014/main" id="{5CAA1BA4-1A84-77D8-038C-DBA926359829}"/>
                </a:ext>
              </a:extLst>
            </p:cNvPr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rgbClr val="5F7D95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" name="Google Shape;9390;p65">
              <a:extLst>
                <a:ext uri="{FF2B5EF4-FFF2-40B4-BE49-F238E27FC236}">
                  <a16:creationId xmlns:a16="http://schemas.microsoft.com/office/drawing/2014/main" id="{FA3CBEA2-C67E-706C-57DE-0CA634F5B2A2}"/>
                </a:ext>
              </a:extLst>
            </p:cNvPr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" name="Google Shape;9391;p65">
              <a:extLst>
                <a:ext uri="{FF2B5EF4-FFF2-40B4-BE49-F238E27FC236}">
                  <a16:creationId xmlns:a16="http://schemas.microsoft.com/office/drawing/2014/main" id="{F97BF035-632E-297B-41DF-F9AF683A6889}"/>
                </a:ext>
              </a:extLst>
            </p:cNvPr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" name="Google Shape;9392;p65">
              <a:extLst>
                <a:ext uri="{FF2B5EF4-FFF2-40B4-BE49-F238E27FC236}">
                  <a16:creationId xmlns:a16="http://schemas.microsoft.com/office/drawing/2014/main" id="{F8AC1E03-223C-5936-712F-5D776AB2C02A}"/>
                </a:ext>
              </a:extLst>
            </p:cNvPr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rgbClr val="5F7D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260" name="Google Shape;9393;p65">
            <a:extLst>
              <a:ext uri="{FF2B5EF4-FFF2-40B4-BE49-F238E27FC236}">
                <a16:creationId xmlns:a16="http://schemas.microsoft.com/office/drawing/2014/main" id="{20B206A3-DB4B-77DA-8D59-6D3C833E3B72}"/>
              </a:ext>
            </a:extLst>
          </p:cNvPr>
          <p:cNvGrpSpPr/>
          <p:nvPr/>
        </p:nvGrpSpPr>
        <p:grpSpPr>
          <a:xfrm>
            <a:off x="4738842" y="1644454"/>
            <a:ext cx="2770909" cy="1822077"/>
            <a:chOff x="235800" y="830650"/>
            <a:chExt cx="6978450" cy="4588844"/>
          </a:xfrm>
        </p:grpSpPr>
        <p:sp>
          <p:nvSpPr>
            <p:cNvPr id="261" name="Google Shape;9394;p65">
              <a:extLst>
                <a:ext uri="{FF2B5EF4-FFF2-40B4-BE49-F238E27FC236}">
                  <a16:creationId xmlns:a16="http://schemas.microsoft.com/office/drawing/2014/main" id="{EF0C185F-B869-BFBD-2870-E851743E5905}"/>
                </a:ext>
              </a:extLst>
            </p:cNvPr>
            <p:cNvSpPr/>
            <p:nvPr/>
          </p:nvSpPr>
          <p:spPr>
            <a:xfrm>
              <a:off x="235800" y="1224769"/>
              <a:ext cx="2592225" cy="4194725"/>
            </a:xfrm>
            <a:custGeom>
              <a:avLst/>
              <a:gdLst/>
              <a:ahLst/>
              <a:cxnLst/>
              <a:rect l="l" t="t" r="r" b="b"/>
              <a:pathLst>
                <a:path w="103689" h="167789" extrusionOk="0">
                  <a:moveTo>
                    <a:pt x="13807" y="0"/>
                  </a:moveTo>
                  <a:cubicBezTo>
                    <a:pt x="11526" y="0"/>
                    <a:pt x="9194" y="921"/>
                    <a:pt x="7431" y="2357"/>
                  </a:cubicBezTo>
                  <a:cubicBezTo>
                    <a:pt x="6418" y="3183"/>
                    <a:pt x="7559" y="5231"/>
                    <a:pt x="8433" y="6203"/>
                  </a:cubicBezTo>
                  <a:cubicBezTo>
                    <a:pt x="9308" y="7175"/>
                    <a:pt x="10393" y="8259"/>
                    <a:pt x="10189" y="9549"/>
                  </a:cubicBezTo>
                  <a:cubicBezTo>
                    <a:pt x="9355" y="9975"/>
                    <a:pt x="8287" y="10084"/>
                    <a:pt x="7292" y="10084"/>
                  </a:cubicBezTo>
                  <a:cubicBezTo>
                    <a:pt x="7024" y="10084"/>
                    <a:pt x="6762" y="10076"/>
                    <a:pt x="6511" y="10065"/>
                  </a:cubicBezTo>
                  <a:cubicBezTo>
                    <a:pt x="6102" y="10046"/>
                    <a:pt x="5686" y="9992"/>
                    <a:pt x="5277" y="9992"/>
                  </a:cubicBezTo>
                  <a:cubicBezTo>
                    <a:pt x="4990" y="9992"/>
                    <a:pt x="4705" y="10019"/>
                    <a:pt x="4430" y="10104"/>
                  </a:cubicBezTo>
                  <a:cubicBezTo>
                    <a:pt x="3763" y="10310"/>
                    <a:pt x="3182" y="11034"/>
                    <a:pt x="3440" y="11683"/>
                  </a:cubicBezTo>
                  <a:cubicBezTo>
                    <a:pt x="2981" y="12481"/>
                    <a:pt x="2431" y="12899"/>
                    <a:pt x="2962" y="13650"/>
                  </a:cubicBezTo>
                  <a:cubicBezTo>
                    <a:pt x="3377" y="14235"/>
                    <a:pt x="4081" y="14716"/>
                    <a:pt x="4076" y="15434"/>
                  </a:cubicBezTo>
                  <a:cubicBezTo>
                    <a:pt x="4071" y="16003"/>
                    <a:pt x="3591" y="16462"/>
                    <a:pt x="3082" y="16719"/>
                  </a:cubicBezTo>
                  <a:cubicBezTo>
                    <a:pt x="2572" y="16973"/>
                    <a:pt x="2000" y="17102"/>
                    <a:pt x="1518" y="17408"/>
                  </a:cubicBezTo>
                  <a:cubicBezTo>
                    <a:pt x="13" y="18366"/>
                    <a:pt x="0" y="20519"/>
                    <a:pt x="159" y="22295"/>
                  </a:cubicBezTo>
                  <a:cubicBezTo>
                    <a:pt x="1133" y="23491"/>
                    <a:pt x="1285" y="25550"/>
                    <a:pt x="817" y="27017"/>
                  </a:cubicBezTo>
                  <a:cubicBezTo>
                    <a:pt x="639" y="27577"/>
                    <a:pt x="351" y="28172"/>
                    <a:pt x="552" y="28724"/>
                  </a:cubicBezTo>
                  <a:cubicBezTo>
                    <a:pt x="782" y="29356"/>
                    <a:pt x="1526" y="29605"/>
                    <a:pt x="2177" y="29773"/>
                  </a:cubicBezTo>
                  <a:cubicBezTo>
                    <a:pt x="2891" y="29958"/>
                    <a:pt x="3669" y="30130"/>
                    <a:pt x="4408" y="30130"/>
                  </a:cubicBezTo>
                  <a:cubicBezTo>
                    <a:pt x="5109" y="30130"/>
                    <a:pt x="5775" y="29975"/>
                    <a:pt x="6314" y="29528"/>
                  </a:cubicBezTo>
                  <a:cubicBezTo>
                    <a:pt x="7583" y="28478"/>
                    <a:pt x="9157" y="28121"/>
                    <a:pt x="10834" y="28121"/>
                  </a:cubicBezTo>
                  <a:cubicBezTo>
                    <a:pt x="13016" y="28121"/>
                    <a:pt x="15374" y="28725"/>
                    <a:pt x="17464" y="29196"/>
                  </a:cubicBezTo>
                  <a:cubicBezTo>
                    <a:pt x="18740" y="29482"/>
                    <a:pt x="20083" y="29952"/>
                    <a:pt x="20830" y="31028"/>
                  </a:cubicBezTo>
                  <a:cubicBezTo>
                    <a:pt x="21824" y="32461"/>
                    <a:pt x="21400" y="34451"/>
                    <a:pt x="20580" y="35993"/>
                  </a:cubicBezTo>
                  <a:cubicBezTo>
                    <a:pt x="19762" y="37533"/>
                    <a:pt x="18587" y="38903"/>
                    <a:pt x="18068" y="40567"/>
                  </a:cubicBezTo>
                  <a:cubicBezTo>
                    <a:pt x="17582" y="42129"/>
                    <a:pt x="17717" y="43806"/>
                    <a:pt x="17859" y="45436"/>
                  </a:cubicBezTo>
                  <a:cubicBezTo>
                    <a:pt x="18032" y="47441"/>
                    <a:pt x="18242" y="49554"/>
                    <a:pt x="19405" y="51198"/>
                  </a:cubicBezTo>
                  <a:cubicBezTo>
                    <a:pt x="20624" y="52922"/>
                    <a:pt x="21392" y="55494"/>
                    <a:pt x="21294" y="57601"/>
                  </a:cubicBezTo>
                  <a:cubicBezTo>
                    <a:pt x="21216" y="59294"/>
                    <a:pt x="20619" y="60958"/>
                    <a:pt x="20775" y="62645"/>
                  </a:cubicBezTo>
                  <a:cubicBezTo>
                    <a:pt x="21057" y="65704"/>
                    <a:pt x="23699" y="67999"/>
                    <a:pt x="26397" y="69471"/>
                  </a:cubicBezTo>
                  <a:cubicBezTo>
                    <a:pt x="29219" y="71013"/>
                    <a:pt x="31651" y="73637"/>
                    <a:pt x="32623" y="76701"/>
                  </a:cubicBezTo>
                  <a:cubicBezTo>
                    <a:pt x="33112" y="78241"/>
                    <a:pt x="33257" y="79868"/>
                    <a:pt x="33688" y="81425"/>
                  </a:cubicBezTo>
                  <a:cubicBezTo>
                    <a:pt x="34432" y="84119"/>
                    <a:pt x="36051" y="86565"/>
                    <a:pt x="38239" y="88307"/>
                  </a:cubicBezTo>
                  <a:cubicBezTo>
                    <a:pt x="39834" y="89575"/>
                    <a:pt x="42451" y="90023"/>
                    <a:pt x="44455" y="90388"/>
                  </a:cubicBezTo>
                  <a:cubicBezTo>
                    <a:pt x="45495" y="90578"/>
                    <a:pt x="46617" y="90728"/>
                    <a:pt x="47400" y="91437"/>
                  </a:cubicBezTo>
                  <a:cubicBezTo>
                    <a:pt x="47762" y="91764"/>
                    <a:pt x="48023" y="92187"/>
                    <a:pt x="48369" y="92530"/>
                  </a:cubicBezTo>
                  <a:cubicBezTo>
                    <a:pt x="50044" y="94188"/>
                    <a:pt x="53127" y="93507"/>
                    <a:pt x="54821" y="95145"/>
                  </a:cubicBezTo>
                  <a:cubicBezTo>
                    <a:pt x="55259" y="95566"/>
                    <a:pt x="55558" y="96107"/>
                    <a:pt x="55941" y="96579"/>
                  </a:cubicBezTo>
                  <a:cubicBezTo>
                    <a:pt x="56887" y="97736"/>
                    <a:pt x="58370" y="98428"/>
                    <a:pt x="59861" y="98428"/>
                  </a:cubicBezTo>
                  <a:cubicBezTo>
                    <a:pt x="60003" y="98428"/>
                    <a:pt x="60145" y="98421"/>
                    <a:pt x="60286" y="98409"/>
                  </a:cubicBezTo>
                  <a:lnTo>
                    <a:pt x="60286" y="98409"/>
                  </a:lnTo>
                  <a:cubicBezTo>
                    <a:pt x="59905" y="99653"/>
                    <a:pt x="61397" y="101114"/>
                    <a:pt x="60936" y="102330"/>
                  </a:cubicBezTo>
                  <a:cubicBezTo>
                    <a:pt x="60565" y="103312"/>
                    <a:pt x="59445" y="103741"/>
                    <a:pt x="58674" y="104452"/>
                  </a:cubicBezTo>
                  <a:cubicBezTo>
                    <a:pt x="57337" y="105685"/>
                    <a:pt x="57129" y="107795"/>
                    <a:pt x="57705" y="109521"/>
                  </a:cubicBezTo>
                  <a:cubicBezTo>
                    <a:pt x="58282" y="111246"/>
                    <a:pt x="59498" y="112671"/>
                    <a:pt x="60717" y="114022"/>
                  </a:cubicBezTo>
                  <a:cubicBezTo>
                    <a:pt x="62978" y="116530"/>
                    <a:pt x="65696" y="117746"/>
                    <a:pt x="68148" y="120066"/>
                  </a:cubicBezTo>
                  <a:cubicBezTo>
                    <a:pt x="70420" y="122216"/>
                    <a:pt x="70937" y="125696"/>
                    <a:pt x="70438" y="128784"/>
                  </a:cubicBezTo>
                  <a:cubicBezTo>
                    <a:pt x="69938" y="131872"/>
                    <a:pt x="68585" y="134744"/>
                    <a:pt x="67620" y="137718"/>
                  </a:cubicBezTo>
                  <a:cubicBezTo>
                    <a:pt x="65814" y="143276"/>
                    <a:pt x="65376" y="149382"/>
                    <a:pt x="67102" y="154963"/>
                  </a:cubicBezTo>
                  <a:cubicBezTo>
                    <a:pt x="68828" y="160546"/>
                    <a:pt x="72869" y="165522"/>
                    <a:pt x="78283" y="167717"/>
                  </a:cubicBezTo>
                  <a:cubicBezTo>
                    <a:pt x="78404" y="167766"/>
                    <a:pt x="78530" y="167788"/>
                    <a:pt x="78658" y="167788"/>
                  </a:cubicBezTo>
                  <a:cubicBezTo>
                    <a:pt x="79167" y="167788"/>
                    <a:pt x="79705" y="167444"/>
                    <a:pt x="80056" y="167066"/>
                  </a:cubicBezTo>
                  <a:cubicBezTo>
                    <a:pt x="80495" y="166591"/>
                    <a:pt x="80589" y="165833"/>
                    <a:pt x="80281" y="165265"/>
                  </a:cubicBezTo>
                  <a:cubicBezTo>
                    <a:pt x="79304" y="163467"/>
                    <a:pt x="77566" y="161932"/>
                    <a:pt x="76298" y="160326"/>
                  </a:cubicBezTo>
                  <a:cubicBezTo>
                    <a:pt x="75898" y="159821"/>
                    <a:pt x="75478" y="159248"/>
                    <a:pt x="75530" y="158607"/>
                  </a:cubicBezTo>
                  <a:cubicBezTo>
                    <a:pt x="75589" y="157886"/>
                    <a:pt x="76208" y="157367"/>
                    <a:pt x="76666" y="156807"/>
                  </a:cubicBezTo>
                  <a:cubicBezTo>
                    <a:pt x="77361" y="155947"/>
                    <a:pt x="77729" y="154867"/>
                    <a:pt x="77704" y="153762"/>
                  </a:cubicBezTo>
                  <a:cubicBezTo>
                    <a:pt x="77674" y="152733"/>
                    <a:pt x="77075" y="151726"/>
                    <a:pt x="77111" y="150697"/>
                  </a:cubicBezTo>
                  <a:cubicBezTo>
                    <a:pt x="77146" y="149667"/>
                    <a:pt x="77701" y="148583"/>
                    <a:pt x="78676" y="148251"/>
                  </a:cubicBezTo>
                  <a:cubicBezTo>
                    <a:pt x="79120" y="148100"/>
                    <a:pt x="79614" y="148115"/>
                    <a:pt x="80042" y="147926"/>
                  </a:cubicBezTo>
                  <a:cubicBezTo>
                    <a:pt x="81453" y="147303"/>
                    <a:pt x="81228" y="145153"/>
                    <a:pt x="82249" y="143996"/>
                  </a:cubicBezTo>
                  <a:cubicBezTo>
                    <a:pt x="82722" y="143460"/>
                    <a:pt x="83419" y="143193"/>
                    <a:pt x="84064" y="142883"/>
                  </a:cubicBezTo>
                  <a:cubicBezTo>
                    <a:pt x="86792" y="141571"/>
                    <a:pt x="89035" y="138972"/>
                    <a:pt x="89283" y="135957"/>
                  </a:cubicBezTo>
                  <a:cubicBezTo>
                    <a:pt x="89483" y="133544"/>
                    <a:pt x="88605" y="130615"/>
                    <a:pt x="90438" y="129034"/>
                  </a:cubicBezTo>
                  <a:cubicBezTo>
                    <a:pt x="91238" y="128344"/>
                    <a:pt x="92244" y="128199"/>
                    <a:pt x="93314" y="128199"/>
                  </a:cubicBezTo>
                  <a:cubicBezTo>
                    <a:pt x="94087" y="128199"/>
                    <a:pt x="94894" y="128275"/>
                    <a:pt x="95682" y="128275"/>
                  </a:cubicBezTo>
                  <a:cubicBezTo>
                    <a:pt x="96098" y="128275"/>
                    <a:pt x="96509" y="128254"/>
                    <a:pt x="96908" y="128189"/>
                  </a:cubicBezTo>
                  <a:cubicBezTo>
                    <a:pt x="97800" y="128044"/>
                    <a:pt x="98396" y="127214"/>
                    <a:pt x="98814" y="126412"/>
                  </a:cubicBezTo>
                  <a:cubicBezTo>
                    <a:pt x="99231" y="125609"/>
                    <a:pt x="99280" y="124658"/>
                    <a:pt x="99129" y="123766"/>
                  </a:cubicBezTo>
                  <a:cubicBezTo>
                    <a:pt x="98945" y="122668"/>
                    <a:pt x="98473" y="121597"/>
                    <a:pt x="98577" y="120489"/>
                  </a:cubicBezTo>
                  <a:cubicBezTo>
                    <a:pt x="98723" y="118930"/>
                    <a:pt x="99942" y="117730"/>
                    <a:pt x="100886" y="116480"/>
                  </a:cubicBezTo>
                  <a:cubicBezTo>
                    <a:pt x="102003" y="114998"/>
                    <a:pt x="102797" y="113297"/>
                    <a:pt x="103214" y="111488"/>
                  </a:cubicBezTo>
                  <a:cubicBezTo>
                    <a:pt x="103689" y="109429"/>
                    <a:pt x="102371" y="106997"/>
                    <a:pt x="100524" y="105970"/>
                  </a:cubicBezTo>
                  <a:cubicBezTo>
                    <a:pt x="98677" y="104943"/>
                    <a:pt x="96462" y="104915"/>
                    <a:pt x="94350" y="104853"/>
                  </a:cubicBezTo>
                  <a:cubicBezTo>
                    <a:pt x="92237" y="104794"/>
                    <a:pt x="89999" y="104633"/>
                    <a:pt x="88273" y="103414"/>
                  </a:cubicBezTo>
                  <a:cubicBezTo>
                    <a:pt x="86692" y="102296"/>
                    <a:pt x="85799" y="100469"/>
                    <a:pt x="84550" y="98991"/>
                  </a:cubicBezTo>
                  <a:cubicBezTo>
                    <a:pt x="82441" y="96497"/>
                    <a:pt x="79375" y="95057"/>
                    <a:pt x="76410" y="93690"/>
                  </a:cubicBezTo>
                  <a:cubicBezTo>
                    <a:pt x="75559" y="93298"/>
                    <a:pt x="74630" y="92901"/>
                    <a:pt x="73720" y="92901"/>
                  </a:cubicBezTo>
                  <a:cubicBezTo>
                    <a:pt x="73431" y="92901"/>
                    <a:pt x="73144" y="92941"/>
                    <a:pt x="72862" y="93034"/>
                  </a:cubicBezTo>
                  <a:cubicBezTo>
                    <a:pt x="72400" y="93185"/>
                    <a:pt x="71985" y="93473"/>
                    <a:pt x="71508" y="93564"/>
                  </a:cubicBezTo>
                  <a:cubicBezTo>
                    <a:pt x="71390" y="93586"/>
                    <a:pt x="71274" y="93597"/>
                    <a:pt x="71159" y="93597"/>
                  </a:cubicBezTo>
                  <a:cubicBezTo>
                    <a:pt x="70006" y="93597"/>
                    <a:pt x="69033" y="92520"/>
                    <a:pt x="67966" y="91944"/>
                  </a:cubicBezTo>
                  <a:cubicBezTo>
                    <a:pt x="67424" y="91651"/>
                    <a:pt x="66830" y="91518"/>
                    <a:pt x="66231" y="91518"/>
                  </a:cubicBezTo>
                  <a:cubicBezTo>
                    <a:pt x="64138" y="91518"/>
                    <a:pt x="61986" y="93147"/>
                    <a:pt x="61817" y="95293"/>
                  </a:cubicBezTo>
                  <a:cubicBezTo>
                    <a:pt x="61476" y="95410"/>
                    <a:pt x="61056" y="95468"/>
                    <a:pt x="60611" y="95468"/>
                  </a:cubicBezTo>
                  <a:cubicBezTo>
                    <a:pt x="59413" y="95468"/>
                    <a:pt x="58031" y="95047"/>
                    <a:pt x="57510" y="94228"/>
                  </a:cubicBezTo>
                  <a:cubicBezTo>
                    <a:pt x="56995" y="93419"/>
                    <a:pt x="56789" y="92287"/>
                    <a:pt x="55904" y="91918"/>
                  </a:cubicBezTo>
                  <a:cubicBezTo>
                    <a:pt x="55432" y="91722"/>
                    <a:pt x="54840" y="91796"/>
                    <a:pt x="54455" y="91458"/>
                  </a:cubicBezTo>
                  <a:cubicBezTo>
                    <a:pt x="53818" y="90898"/>
                    <a:pt x="54313" y="89881"/>
                    <a:pt x="54428" y="89040"/>
                  </a:cubicBezTo>
                  <a:cubicBezTo>
                    <a:pt x="54609" y="87696"/>
                    <a:pt x="53607" y="86419"/>
                    <a:pt x="52383" y="85834"/>
                  </a:cubicBezTo>
                  <a:cubicBezTo>
                    <a:pt x="51161" y="85249"/>
                    <a:pt x="49761" y="85202"/>
                    <a:pt x="48407" y="85159"/>
                  </a:cubicBezTo>
                  <a:cubicBezTo>
                    <a:pt x="47051" y="85115"/>
                    <a:pt x="45649" y="85054"/>
                    <a:pt x="44436" y="84447"/>
                  </a:cubicBezTo>
                  <a:cubicBezTo>
                    <a:pt x="42077" y="83264"/>
                    <a:pt x="41111" y="80063"/>
                    <a:pt x="42146" y="77635"/>
                  </a:cubicBezTo>
                  <a:cubicBezTo>
                    <a:pt x="43156" y="75267"/>
                    <a:pt x="45760" y="73783"/>
                    <a:pt x="48337" y="73783"/>
                  </a:cubicBezTo>
                  <a:cubicBezTo>
                    <a:pt x="48401" y="73783"/>
                    <a:pt x="48464" y="73784"/>
                    <a:pt x="48528" y="73786"/>
                  </a:cubicBezTo>
                  <a:cubicBezTo>
                    <a:pt x="51112" y="73862"/>
                    <a:pt x="53842" y="75749"/>
                    <a:pt x="53870" y="78335"/>
                  </a:cubicBezTo>
                  <a:cubicBezTo>
                    <a:pt x="53875" y="78746"/>
                    <a:pt x="54287" y="78928"/>
                    <a:pt x="54735" y="78928"/>
                  </a:cubicBezTo>
                  <a:cubicBezTo>
                    <a:pt x="55004" y="78928"/>
                    <a:pt x="55285" y="78863"/>
                    <a:pt x="55498" y="78741"/>
                  </a:cubicBezTo>
                  <a:cubicBezTo>
                    <a:pt x="56067" y="78416"/>
                    <a:pt x="56365" y="77760"/>
                    <a:pt x="56505" y="77119"/>
                  </a:cubicBezTo>
                  <a:cubicBezTo>
                    <a:pt x="56645" y="76478"/>
                    <a:pt x="56664" y="75812"/>
                    <a:pt x="56860" y="75186"/>
                  </a:cubicBezTo>
                  <a:cubicBezTo>
                    <a:pt x="57310" y="73749"/>
                    <a:pt x="58757" y="72690"/>
                    <a:pt x="60261" y="72690"/>
                  </a:cubicBezTo>
                  <a:cubicBezTo>
                    <a:pt x="60273" y="72690"/>
                    <a:pt x="60285" y="72690"/>
                    <a:pt x="60297" y="72690"/>
                  </a:cubicBezTo>
                  <a:cubicBezTo>
                    <a:pt x="60306" y="72690"/>
                    <a:pt x="60314" y="72690"/>
                    <a:pt x="60323" y="72690"/>
                  </a:cubicBezTo>
                  <a:cubicBezTo>
                    <a:pt x="61893" y="72690"/>
                    <a:pt x="62998" y="71122"/>
                    <a:pt x="64116" y="70013"/>
                  </a:cubicBezTo>
                  <a:cubicBezTo>
                    <a:pt x="65241" y="68896"/>
                    <a:pt x="65913" y="67214"/>
                    <a:pt x="65469" y="65693"/>
                  </a:cubicBezTo>
                  <a:cubicBezTo>
                    <a:pt x="65229" y="64873"/>
                    <a:pt x="64683" y="64046"/>
                    <a:pt x="64956" y="63238"/>
                  </a:cubicBezTo>
                  <a:cubicBezTo>
                    <a:pt x="65170" y="62604"/>
                    <a:pt x="65822" y="62237"/>
                    <a:pt x="66438" y="61978"/>
                  </a:cubicBezTo>
                  <a:cubicBezTo>
                    <a:pt x="67992" y="61328"/>
                    <a:pt x="69657" y="60995"/>
                    <a:pt x="71338" y="60995"/>
                  </a:cubicBezTo>
                  <a:cubicBezTo>
                    <a:pt x="71514" y="60995"/>
                    <a:pt x="71689" y="60998"/>
                    <a:pt x="71865" y="61005"/>
                  </a:cubicBezTo>
                  <a:cubicBezTo>
                    <a:pt x="71916" y="61008"/>
                    <a:pt x="71966" y="61009"/>
                    <a:pt x="72016" y="61009"/>
                  </a:cubicBezTo>
                  <a:cubicBezTo>
                    <a:pt x="73530" y="61009"/>
                    <a:pt x="74333" y="60016"/>
                    <a:pt x="75129" y="58671"/>
                  </a:cubicBezTo>
                  <a:cubicBezTo>
                    <a:pt x="75724" y="57667"/>
                    <a:pt x="75988" y="56400"/>
                    <a:pt x="76935" y="55719"/>
                  </a:cubicBezTo>
                  <a:cubicBezTo>
                    <a:pt x="77461" y="55341"/>
                    <a:pt x="78061" y="55227"/>
                    <a:pt x="78697" y="55227"/>
                  </a:cubicBezTo>
                  <a:cubicBezTo>
                    <a:pt x="79669" y="55227"/>
                    <a:pt x="80723" y="55493"/>
                    <a:pt x="81724" y="55493"/>
                  </a:cubicBezTo>
                  <a:cubicBezTo>
                    <a:pt x="81835" y="55493"/>
                    <a:pt x="81945" y="55490"/>
                    <a:pt x="82055" y="55483"/>
                  </a:cubicBezTo>
                  <a:cubicBezTo>
                    <a:pt x="84597" y="55311"/>
                    <a:pt x="86582" y="52458"/>
                    <a:pt x="85860" y="50015"/>
                  </a:cubicBezTo>
                  <a:cubicBezTo>
                    <a:pt x="85517" y="48852"/>
                    <a:pt x="84704" y="47901"/>
                    <a:pt x="84043" y="46884"/>
                  </a:cubicBezTo>
                  <a:cubicBezTo>
                    <a:pt x="83131" y="45481"/>
                    <a:pt x="82492" y="43918"/>
                    <a:pt x="82159" y="42277"/>
                  </a:cubicBezTo>
                  <a:cubicBezTo>
                    <a:pt x="81854" y="40773"/>
                    <a:pt x="81767" y="39118"/>
                    <a:pt x="80776" y="37947"/>
                  </a:cubicBezTo>
                  <a:cubicBezTo>
                    <a:pt x="79227" y="38020"/>
                    <a:pt x="77350" y="37975"/>
                    <a:pt x="75971" y="38686"/>
                  </a:cubicBezTo>
                  <a:cubicBezTo>
                    <a:pt x="75699" y="37108"/>
                    <a:pt x="75398" y="35461"/>
                    <a:pt x="74423" y="34192"/>
                  </a:cubicBezTo>
                  <a:cubicBezTo>
                    <a:pt x="73732" y="33291"/>
                    <a:pt x="72587" y="32657"/>
                    <a:pt x="71488" y="32657"/>
                  </a:cubicBezTo>
                  <a:cubicBezTo>
                    <a:pt x="71039" y="32657"/>
                    <a:pt x="70597" y="32763"/>
                    <a:pt x="70198" y="32999"/>
                  </a:cubicBezTo>
                  <a:cubicBezTo>
                    <a:pt x="68851" y="33794"/>
                    <a:pt x="68559" y="35642"/>
                    <a:pt x="68807" y="37187"/>
                  </a:cubicBezTo>
                  <a:cubicBezTo>
                    <a:pt x="69057" y="38731"/>
                    <a:pt x="69698" y="40227"/>
                    <a:pt x="69655" y="41791"/>
                  </a:cubicBezTo>
                  <a:cubicBezTo>
                    <a:pt x="69615" y="43336"/>
                    <a:pt x="68552" y="45042"/>
                    <a:pt x="67017" y="45042"/>
                  </a:cubicBezTo>
                  <a:cubicBezTo>
                    <a:pt x="66998" y="45042"/>
                    <a:pt x="66979" y="45041"/>
                    <a:pt x="66960" y="45041"/>
                  </a:cubicBezTo>
                  <a:cubicBezTo>
                    <a:pt x="66146" y="45019"/>
                    <a:pt x="65416" y="44522"/>
                    <a:pt x="64843" y="43941"/>
                  </a:cubicBezTo>
                  <a:cubicBezTo>
                    <a:pt x="64022" y="43112"/>
                    <a:pt x="63372" y="42052"/>
                    <a:pt x="62317" y="41553"/>
                  </a:cubicBezTo>
                  <a:cubicBezTo>
                    <a:pt x="61507" y="41171"/>
                    <a:pt x="60577" y="41179"/>
                    <a:pt x="59704" y="40982"/>
                  </a:cubicBezTo>
                  <a:cubicBezTo>
                    <a:pt x="56728" y="40316"/>
                    <a:pt x="54688" y="36902"/>
                    <a:pt x="55510" y="33965"/>
                  </a:cubicBezTo>
                  <a:cubicBezTo>
                    <a:pt x="56182" y="31564"/>
                    <a:pt x="58657" y="29882"/>
                    <a:pt x="61117" y="29882"/>
                  </a:cubicBezTo>
                  <a:cubicBezTo>
                    <a:pt x="61664" y="29882"/>
                    <a:pt x="62211" y="29966"/>
                    <a:pt x="62737" y="30143"/>
                  </a:cubicBezTo>
                  <a:cubicBezTo>
                    <a:pt x="66237" y="28861"/>
                    <a:pt x="67660" y="24447"/>
                    <a:pt x="66265" y="20991"/>
                  </a:cubicBezTo>
                  <a:cubicBezTo>
                    <a:pt x="64868" y="17535"/>
                    <a:pt x="61115" y="15389"/>
                    <a:pt x="57392" y="15226"/>
                  </a:cubicBezTo>
                  <a:cubicBezTo>
                    <a:pt x="56302" y="15179"/>
                    <a:pt x="55191" y="15275"/>
                    <a:pt x="54134" y="15007"/>
                  </a:cubicBezTo>
                  <a:cubicBezTo>
                    <a:pt x="51145" y="14251"/>
                    <a:pt x="49582" y="10965"/>
                    <a:pt x="46980" y="9310"/>
                  </a:cubicBezTo>
                  <a:cubicBezTo>
                    <a:pt x="46287" y="8869"/>
                    <a:pt x="45224" y="8778"/>
                    <a:pt x="44079" y="8778"/>
                  </a:cubicBezTo>
                  <a:cubicBezTo>
                    <a:pt x="43277" y="8778"/>
                    <a:pt x="42435" y="8823"/>
                    <a:pt x="41651" y="8823"/>
                  </a:cubicBezTo>
                  <a:cubicBezTo>
                    <a:pt x="40795" y="8823"/>
                    <a:pt x="40007" y="8769"/>
                    <a:pt x="39418" y="8547"/>
                  </a:cubicBezTo>
                  <a:cubicBezTo>
                    <a:pt x="38499" y="8200"/>
                    <a:pt x="37525" y="8023"/>
                    <a:pt x="36546" y="8023"/>
                  </a:cubicBezTo>
                  <a:cubicBezTo>
                    <a:pt x="36275" y="8023"/>
                    <a:pt x="36003" y="8037"/>
                    <a:pt x="35731" y="8064"/>
                  </a:cubicBezTo>
                  <a:cubicBezTo>
                    <a:pt x="34635" y="9104"/>
                    <a:pt x="32585" y="9398"/>
                    <a:pt x="31077" y="9499"/>
                  </a:cubicBezTo>
                  <a:cubicBezTo>
                    <a:pt x="29526" y="7990"/>
                    <a:pt x="27655" y="6585"/>
                    <a:pt x="25725" y="5605"/>
                  </a:cubicBezTo>
                  <a:cubicBezTo>
                    <a:pt x="24435" y="4951"/>
                    <a:pt x="22930" y="4260"/>
                    <a:pt x="22532" y="2870"/>
                  </a:cubicBezTo>
                  <a:cubicBezTo>
                    <a:pt x="22012" y="1053"/>
                    <a:pt x="19376" y="125"/>
                    <a:pt x="17200" y="125"/>
                  </a:cubicBezTo>
                  <a:cubicBezTo>
                    <a:pt x="16716" y="125"/>
                    <a:pt x="16254" y="171"/>
                    <a:pt x="15844" y="263"/>
                  </a:cubicBezTo>
                  <a:cubicBezTo>
                    <a:pt x="15181" y="84"/>
                    <a:pt x="14496" y="0"/>
                    <a:pt x="13807" y="0"/>
                  </a:cubicBezTo>
                  <a:close/>
                </a:path>
              </a:pathLst>
            </a:custGeom>
            <a:solidFill>
              <a:srgbClr val="BAC8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62" name="Google Shape;9395;p65">
              <a:extLst>
                <a:ext uri="{FF2B5EF4-FFF2-40B4-BE49-F238E27FC236}">
                  <a16:creationId xmlns:a16="http://schemas.microsoft.com/office/drawing/2014/main" id="{06257261-E593-D3FF-C075-1ECC7CC78DE1}"/>
                </a:ext>
              </a:extLst>
            </p:cNvPr>
            <p:cNvSpPr/>
            <p:nvPr/>
          </p:nvSpPr>
          <p:spPr>
            <a:xfrm>
              <a:off x="2370225" y="830650"/>
              <a:ext cx="1016975" cy="1158500"/>
            </a:xfrm>
            <a:custGeom>
              <a:avLst/>
              <a:gdLst/>
              <a:ahLst/>
              <a:cxnLst/>
              <a:rect l="l" t="t" r="r" b="b"/>
              <a:pathLst>
                <a:path w="40679" h="46340" extrusionOk="0">
                  <a:moveTo>
                    <a:pt x="15780" y="0"/>
                  </a:moveTo>
                  <a:cubicBezTo>
                    <a:pt x="14989" y="0"/>
                    <a:pt x="14213" y="109"/>
                    <a:pt x="13470" y="421"/>
                  </a:cubicBezTo>
                  <a:cubicBezTo>
                    <a:pt x="9879" y="1928"/>
                    <a:pt x="10933" y="5468"/>
                    <a:pt x="8580" y="7572"/>
                  </a:cubicBezTo>
                  <a:cubicBezTo>
                    <a:pt x="6546" y="9390"/>
                    <a:pt x="2788" y="7963"/>
                    <a:pt x="1150" y="10460"/>
                  </a:cubicBezTo>
                  <a:cubicBezTo>
                    <a:pt x="0" y="12215"/>
                    <a:pt x="1289" y="14606"/>
                    <a:pt x="2962" y="15871"/>
                  </a:cubicBezTo>
                  <a:cubicBezTo>
                    <a:pt x="4636" y="17135"/>
                    <a:pt x="6731" y="17894"/>
                    <a:pt x="8056" y="19522"/>
                  </a:cubicBezTo>
                  <a:cubicBezTo>
                    <a:pt x="10183" y="22136"/>
                    <a:pt x="9577" y="26004"/>
                    <a:pt x="8413" y="29169"/>
                  </a:cubicBezTo>
                  <a:cubicBezTo>
                    <a:pt x="7247" y="32332"/>
                    <a:pt x="5603" y="35532"/>
                    <a:pt x="6005" y="38881"/>
                  </a:cubicBezTo>
                  <a:cubicBezTo>
                    <a:pt x="6193" y="40459"/>
                    <a:pt x="6837" y="41956"/>
                    <a:pt x="7675" y="43307"/>
                  </a:cubicBezTo>
                  <a:cubicBezTo>
                    <a:pt x="8488" y="44615"/>
                    <a:pt x="9597" y="45873"/>
                    <a:pt x="11095" y="46235"/>
                  </a:cubicBezTo>
                  <a:cubicBezTo>
                    <a:pt x="11391" y="46306"/>
                    <a:pt x="11688" y="46339"/>
                    <a:pt x="11983" y="46339"/>
                  </a:cubicBezTo>
                  <a:cubicBezTo>
                    <a:pt x="13586" y="46339"/>
                    <a:pt x="15150" y="45367"/>
                    <a:pt x="16368" y="44250"/>
                  </a:cubicBezTo>
                  <a:cubicBezTo>
                    <a:pt x="17812" y="42927"/>
                    <a:pt x="19065" y="41325"/>
                    <a:pt x="20822" y="40465"/>
                  </a:cubicBezTo>
                  <a:cubicBezTo>
                    <a:pt x="23353" y="39224"/>
                    <a:pt x="26610" y="39686"/>
                    <a:pt x="28815" y="37929"/>
                  </a:cubicBezTo>
                  <a:cubicBezTo>
                    <a:pt x="31544" y="35754"/>
                    <a:pt x="31140" y="31606"/>
                    <a:pt x="31890" y="28199"/>
                  </a:cubicBezTo>
                  <a:cubicBezTo>
                    <a:pt x="33150" y="22476"/>
                    <a:pt x="38102" y="18249"/>
                    <a:pt x="40038" y="12718"/>
                  </a:cubicBezTo>
                  <a:cubicBezTo>
                    <a:pt x="40418" y="11636"/>
                    <a:pt x="40679" y="10499"/>
                    <a:pt x="40652" y="9352"/>
                  </a:cubicBezTo>
                  <a:cubicBezTo>
                    <a:pt x="40569" y="5649"/>
                    <a:pt x="37449" y="2571"/>
                    <a:pt x="33956" y="1339"/>
                  </a:cubicBezTo>
                  <a:cubicBezTo>
                    <a:pt x="31938" y="627"/>
                    <a:pt x="29911" y="457"/>
                    <a:pt x="27871" y="457"/>
                  </a:cubicBezTo>
                  <a:cubicBezTo>
                    <a:pt x="26007" y="457"/>
                    <a:pt x="24132" y="599"/>
                    <a:pt x="22245" y="599"/>
                  </a:cubicBezTo>
                  <a:cubicBezTo>
                    <a:pt x="21785" y="599"/>
                    <a:pt x="21325" y="591"/>
                    <a:pt x="20863" y="570"/>
                  </a:cubicBezTo>
                  <a:cubicBezTo>
                    <a:pt x="19225" y="496"/>
                    <a:pt x="17470" y="0"/>
                    <a:pt x="15780" y="0"/>
                  </a:cubicBezTo>
                  <a:close/>
                </a:path>
              </a:pathLst>
            </a:custGeom>
            <a:solidFill>
              <a:srgbClr val="BAC8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63" name="Google Shape;9396;p65">
              <a:extLst>
                <a:ext uri="{FF2B5EF4-FFF2-40B4-BE49-F238E27FC236}">
                  <a16:creationId xmlns:a16="http://schemas.microsoft.com/office/drawing/2014/main" id="{DF220E71-D01C-9306-86D8-A86257D89EEC}"/>
                </a:ext>
              </a:extLst>
            </p:cNvPr>
            <p:cNvSpPr/>
            <p:nvPr/>
          </p:nvSpPr>
          <p:spPr>
            <a:xfrm>
              <a:off x="3143325" y="1089650"/>
              <a:ext cx="4064350" cy="3503975"/>
            </a:xfrm>
            <a:custGeom>
              <a:avLst/>
              <a:gdLst/>
              <a:ahLst/>
              <a:cxnLst/>
              <a:rect l="l" t="t" r="r" b="b"/>
              <a:pathLst>
                <a:path w="162574" h="140159" extrusionOk="0">
                  <a:moveTo>
                    <a:pt x="149391" y="0"/>
                  </a:moveTo>
                  <a:cubicBezTo>
                    <a:pt x="148360" y="0"/>
                    <a:pt x="147330" y="156"/>
                    <a:pt x="146349" y="477"/>
                  </a:cubicBezTo>
                  <a:cubicBezTo>
                    <a:pt x="145329" y="812"/>
                    <a:pt x="144363" y="1309"/>
                    <a:pt x="143326" y="1583"/>
                  </a:cubicBezTo>
                  <a:cubicBezTo>
                    <a:pt x="142494" y="1801"/>
                    <a:pt x="141638" y="1870"/>
                    <a:pt x="140776" y="1870"/>
                  </a:cubicBezTo>
                  <a:cubicBezTo>
                    <a:pt x="140050" y="1870"/>
                    <a:pt x="139319" y="1821"/>
                    <a:pt x="138596" y="1772"/>
                  </a:cubicBezTo>
                  <a:lnTo>
                    <a:pt x="130106" y="1191"/>
                  </a:lnTo>
                  <a:cubicBezTo>
                    <a:pt x="129237" y="1132"/>
                    <a:pt x="128350" y="1076"/>
                    <a:pt x="127469" y="1076"/>
                  </a:cubicBezTo>
                  <a:cubicBezTo>
                    <a:pt x="125783" y="1076"/>
                    <a:pt x="124119" y="1281"/>
                    <a:pt x="122644" y="2056"/>
                  </a:cubicBezTo>
                  <a:cubicBezTo>
                    <a:pt x="119360" y="3782"/>
                    <a:pt x="117499" y="8084"/>
                    <a:pt x="113816" y="8529"/>
                  </a:cubicBezTo>
                  <a:cubicBezTo>
                    <a:pt x="113611" y="8554"/>
                    <a:pt x="113408" y="8566"/>
                    <a:pt x="113207" y="8566"/>
                  </a:cubicBezTo>
                  <a:cubicBezTo>
                    <a:pt x="110853" y="8566"/>
                    <a:pt x="108715" y="6973"/>
                    <a:pt x="106473" y="6087"/>
                  </a:cubicBezTo>
                  <a:cubicBezTo>
                    <a:pt x="105100" y="5543"/>
                    <a:pt x="103627" y="5279"/>
                    <a:pt x="102152" y="5279"/>
                  </a:cubicBezTo>
                  <a:cubicBezTo>
                    <a:pt x="99404" y="5279"/>
                    <a:pt x="96647" y="6196"/>
                    <a:pt x="94512" y="7933"/>
                  </a:cubicBezTo>
                  <a:cubicBezTo>
                    <a:pt x="93279" y="7304"/>
                    <a:pt x="93660" y="5468"/>
                    <a:pt x="93225" y="4153"/>
                  </a:cubicBezTo>
                  <a:cubicBezTo>
                    <a:pt x="92771" y="2782"/>
                    <a:pt x="91297" y="1954"/>
                    <a:pt x="89858" y="1828"/>
                  </a:cubicBezTo>
                  <a:cubicBezTo>
                    <a:pt x="89687" y="1813"/>
                    <a:pt x="89517" y="1806"/>
                    <a:pt x="89348" y="1806"/>
                  </a:cubicBezTo>
                  <a:cubicBezTo>
                    <a:pt x="88082" y="1806"/>
                    <a:pt x="86834" y="2194"/>
                    <a:pt x="85623" y="2590"/>
                  </a:cubicBezTo>
                  <a:cubicBezTo>
                    <a:pt x="82664" y="3556"/>
                    <a:pt x="79224" y="5204"/>
                    <a:pt x="78950" y="8303"/>
                  </a:cubicBezTo>
                  <a:cubicBezTo>
                    <a:pt x="78873" y="9176"/>
                    <a:pt x="79068" y="10104"/>
                    <a:pt x="78702" y="10900"/>
                  </a:cubicBezTo>
                  <a:cubicBezTo>
                    <a:pt x="78178" y="12033"/>
                    <a:pt x="76762" y="12408"/>
                    <a:pt x="75881" y="13291"/>
                  </a:cubicBezTo>
                  <a:cubicBezTo>
                    <a:pt x="74831" y="14345"/>
                    <a:pt x="74664" y="15971"/>
                    <a:pt x="74621" y="17458"/>
                  </a:cubicBezTo>
                  <a:cubicBezTo>
                    <a:pt x="74577" y="18944"/>
                    <a:pt x="74563" y="20541"/>
                    <a:pt x="73703" y="21754"/>
                  </a:cubicBezTo>
                  <a:cubicBezTo>
                    <a:pt x="73148" y="22537"/>
                    <a:pt x="71069" y="23068"/>
                    <a:pt x="69376" y="23068"/>
                  </a:cubicBezTo>
                  <a:cubicBezTo>
                    <a:pt x="68445" y="23068"/>
                    <a:pt x="67630" y="22907"/>
                    <a:pt x="67252" y="22539"/>
                  </a:cubicBezTo>
                  <a:cubicBezTo>
                    <a:pt x="66636" y="21940"/>
                    <a:pt x="65905" y="21693"/>
                    <a:pt x="65124" y="21693"/>
                  </a:cubicBezTo>
                  <a:cubicBezTo>
                    <a:pt x="63293" y="21693"/>
                    <a:pt x="61194" y="23048"/>
                    <a:pt x="59696" y="24392"/>
                  </a:cubicBezTo>
                  <a:lnTo>
                    <a:pt x="53326" y="30110"/>
                  </a:lnTo>
                  <a:cubicBezTo>
                    <a:pt x="51731" y="31541"/>
                    <a:pt x="50013" y="33034"/>
                    <a:pt x="47899" y="33389"/>
                  </a:cubicBezTo>
                  <a:cubicBezTo>
                    <a:pt x="47672" y="33427"/>
                    <a:pt x="47440" y="33446"/>
                    <a:pt x="47206" y="33446"/>
                  </a:cubicBezTo>
                  <a:cubicBezTo>
                    <a:pt x="45267" y="33446"/>
                    <a:pt x="43232" y="32171"/>
                    <a:pt x="43155" y="30259"/>
                  </a:cubicBezTo>
                  <a:cubicBezTo>
                    <a:pt x="43563" y="29875"/>
                    <a:pt x="44085" y="29761"/>
                    <a:pt x="44655" y="29761"/>
                  </a:cubicBezTo>
                  <a:cubicBezTo>
                    <a:pt x="45498" y="29761"/>
                    <a:pt x="46445" y="30012"/>
                    <a:pt x="47276" y="30012"/>
                  </a:cubicBezTo>
                  <a:cubicBezTo>
                    <a:pt x="47872" y="30012"/>
                    <a:pt x="48409" y="29883"/>
                    <a:pt x="48805" y="29438"/>
                  </a:cubicBezTo>
                  <a:cubicBezTo>
                    <a:pt x="49977" y="28121"/>
                    <a:pt x="48243" y="26238"/>
                    <a:pt x="46718" y="25356"/>
                  </a:cubicBezTo>
                  <a:cubicBezTo>
                    <a:pt x="43929" y="23744"/>
                    <a:pt x="41047" y="22101"/>
                    <a:pt x="37854" y="21667"/>
                  </a:cubicBezTo>
                  <a:cubicBezTo>
                    <a:pt x="37395" y="21605"/>
                    <a:pt x="36928" y="21573"/>
                    <a:pt x="36459" y="21573"/>
                  </a:cubicBezTo>
                  <a:cubicBezTo>
                    <a:pt x="33662" y="21573"/>
                    <a:pt x="30804" y="22696"/>
                    <a:pt x="29384" y="25062"/>
                  </a:cubicBezTo>
                  <a:cubicBezTo>
                    <a:pt x="27966" y="27426"/>
                    <a:pt x="28225" y="30512"/>
                    <a:pt x="26820" y="32884"/>
                  </a:cubicBezTo>
                  <a:cubicBezTo>
                    <a:pt x="25941" y="34369"/>
                    <a:pt x="24491" y="35431"/>
                    <a:pt x="23493" y="36839"/>
                  </a:cubicBezTo>
                  <a:cubicBezTo>
                    <a:pt x="22495" y="38247"/>
                    <a:pt x="22067" y="40372"/>
                    <a:pt x="23291" y="41591"/>
                  </a:cubicBezTo>
                  <a:cubicBezTo>
                    <a:pt x="24277" y="42574"/>
                    <a:pt x="25957" y="42576"/>
                    <a:pt x="26934" y="43568"/>
                  </a:cubicBezTo>
                  <a:cubicBezTo>
                    <a:pt x="27686" y="44334"/>
                    <a:pt x="27942" y="45612"/>
                    <a:pt x="28928" y="46032"/>
                  </a:cubicBezTo>
                  <a:cubicBezTo>
                    <a:pt x="29116" y="46112"/>
                    <a:pt x="29308" y="46149"/>
                    <a:pt x="29499" y="46149"/>
                  </a:cubicBezTo>
                  <a:cubicBezTo>
                    <a:pt x="30453" y="46149"/>
                    <a:pt x="31375" y="45228"/>
                    <a:pt x="31599" y="44232"/>
                  </a:cubicBezTo>
                  <a:cubicBezTo>
                    <a:pt x="31870" y="43035"/>
                    <a:pt x="31491" y="41803"/>
                    <a:pt x="31294" y="40594"/>
                  </a:cubicBezTo>
                  <a:cubicBezTo>
                    <a:pt x="30707" y="36976"/>
                    <a:pt x="32524" y="32527"/>
                    <a:pt x="36153" y="32010"/>
                  </a:cubicBezTo>
                  <a:cubicBezTo>
                    <a:pt x="36979" y="32041"/>
                    <a:pt x="37253" y="33221"/>
                    <a:pt x="36881" y="33960"/>
                  </a:cubicBezTo>
                  <a:cubicBezTo>
                    <a:pt x="36512" y="34700"/>
                    <a:pt x="35790" y="35213"/>
                    <a:pt x="35400" y="35941"/>
                  </a:cubicBezTo>
                  <a:cubicBezTo>
                    <a:pt x="34663" y="37314"/>
                    <a:pt x="35518" y="39272"/>
                    <a:pt x="37026" y="39667"/>
                  </a:cubicBezTo>
                  <a:cubicBezTo>
                    <a:pt x="38598" y="40078"/>
                    <a:pt x="41223" y="39748"/>
                    <a:pt x="41017" y="41358"/>
                  </a:cubicBezTo>
                  <a:cubicBezTo>
                    <a:pt x="40797" y="43068"/>
                    <a:pt x="37630" y="41948"/>
                    <a:pt x="36606" y="43336"/>
                  </a:cubicBezTo>
                  <a:cubicBezTo>
                    <a:pt x="36002" y="44155"/>
                    <a:pt x="36537" y="45296"/>
                    <a:pt x="36521" y="46313"/>
                  </a:cubicBezTo>
                  <a:cubicBezTo>
                    <a:pt x="36494" y="48303"/>
                    <a:pt x="34299" y="49599"/>
                    <a:pt x="32313" y="49739"/>
                  </a:cubicBezTo>
                  <a:cubicBezTo>
                    <a:pt x="32097" y="49755"/>
                    <a:pt x="31880" y="49762"/>
                    <a:pt x="31663" y="49762"/>
                  </a:cubicBezTo>
                  <a:cubicBezTo>
                    <a:pt x="30164" y="49762"/>
                    <a:pt x="28664" y="49439"/>
                    <a:pt x="27166" y="49439"/>
                  </a:cubicBezTo>
                  <a:cubicBezTo>
                    <a:pt x="26898" y="49439"/>
                    <a:pt x="26629" y="49449"/>
                    <a:pt x="26361" y="49474"/>
                  </a:cubicBezTo>
                  <a:cubicBezTo>
                    <a:pt x="24379" y="49654"/>
                    <a:pt x="22222" y="51058"/>
                    <a:pt x="22312" y="53044"/>
                  </a:cubicBezTo>
                  <a:cubicBezTo>
                    <a:pt x="19567" y="54331"/>
                    <a:pt x="16715" y="55374"/>
                    <a:pt x="13788" y="56164"/>
                  </a:cubicBezTo>
                  <a:cubicBezTo>
                    <a:pt x="13912" y="58317"/>
                    <a:pt x="17975" y="58517"/>
                    <a:pt x="17960" y="60675"/>
                  </a:cubicBezTo>
                  <a:cubicBezTo>
                    <a:pt x="17949" y="61887"/>
                    <a:pt x="16542" y="62556"/>
                    <a:pt x="15302" y="62556"/>
                  </a:cubicBezTo>
                  <a:cubicBezTo>
                    <a:pt x="15219" y="62556"/>
                    <a:pt x="15137" y="62553"/>
                    <a:pt x="15056" y="62547"/>
                  </a:cubicBezTo>
                  <a:cubicBezTo>
                    <a:pt x="14072" y="62475"/>
                    <a:pt x="13082" y="62160"/>
                    <a:pt x="12113" y="62160"/>
                  </a:cubicBezTo>
                  <a:cubicBezTo>
                    <a:pt x="11810" y="62160"/>
                    <a:pt x="11508" y="62191"/>
                    <a:pt x="11210" y="62270"/>
                  </a:cubicBezTo>
                  <a:cubicBezTo>
                    <a:pt x="9047" y="62839"/>
                    <a:pt x="8290" y="65880"/>
                    <a:pt x="9487" y="67769"/>
                  </a:cubicBezTo>
                  <a:cubicBezTo>
                    <a:pt x="10572" y="69481"/>
                    <a:pt x="12694" y="70258"/>
                    <a:pt x="14741" y="70258"/>
                  </a:cubicBezTo>
                  <a:cubicBezTo>
                    <a:pt x="14954" y="70258"/>
                    <a:pt x="15165" y="70249"/>
                    <a:pt x="15375" y="70233"/>
                  </a:cubicBezTo>
                  <a:cubicBezTo>
                    <a:pt x="16269" y="70162"/>
                    <a:pt x="17225" y="69924"/>
                    <a:pt x="17785" y="69223"/>
                  </a:cubicBezTo>
                  <a:cubicBezTo>
                    <a:pt x="18318" y="68554"/>
                    <a:pt x="18362" y="67634"/>
                    <a:pt x="18586" y="66808"/>
                  </a:cubicBezTo>
                  <a:cubicBezTo>
                    <a:pt x="19089" y="64960"/>
                    <a:pt x="20667" y="63445"/>
                    <a:pt x="22534" y="63019"/>
                  </a:cubicBezTo>
                  <a:cubicBezTo>
                    <a:pt x="23588" y="62778"/>
                    <a:pt x="24878" y="62758"/>
                    <a:pt x="25444" y="61839"/>
                  </a:cubicBezTo>
                  <a:cubicBezTo>
                    <a:pt x="27854" y="63143"/>
                    <a:pt x="29550" y="65685"/>
                    <a:pt x="29826" y="68413"/>
                  </a:cubicBezTo>
                  <a:cubicBezTo>
                    <a:pt x="30020" y="68663"/>
                    <a:pt x="30274" y="68770"/>
                    <a:pt x="30543" y="68770"/>
                  </a:cubicBezTo>
                  <a:cubicBezTo>
                    <a:pt x="31347" y="68770"/>
                    <a:pt x="32287" y="67809"/>
                    <a:pt x="32159" y="66868"/>
                  </a:cubicBezTo>
                  <a:cubicBezTo>
                    <a:pt x="31991" y="65614"/>
                    <a:pt x="30882" y="64743"/>
                    <a:pt x="30003" y="63834"/>
                  </a:cubicBezTo>
                  <a:cubicBezTo>
                    <a:pt x="29122" y="62923"/>
                    <a:pt x="28387" y="61510"/>
                    <a:pt x="29078" y="60448"/>
                  </a:cubicBezTo>
                  <a:lnTo>
                    <a:pt x="29078" y="60448"/>
                  </a:lnTo>
                  <a:cubicBezTo>
                    <a:pt x="33197" y="61658"/>
                    <a:pt x="36527" y="65238"/>
                    <a:pt x="37435" y="69435"/>
                  </a:cubicBezTo>
                  <a:cubicBezTo>
                    <a:pt x="38871" y="69149"/>
                    <a:pt x="39664" y="67205"/>
                    <a:pt x="38838" y="65997"/>
                  </a:cubicBezTo>
                  <a:cubicBezTo>
                    <a:pt x="39003" y="65628"/>
                    <a:pt x="39328" y="65472"/>
                    <a:pt x="39697" y="65472"/>
                  </a:cubicBezTo>
                  <a:cubicBezTo>
                    <a:pt x="40331" y="65472"/>
                    <a:pt x="41094" y="65932"/>
                    <a:pt x="41391" y="66558"/>
                  </a:cubicBezTo>
                  <a:cubicBezTo>
                    <a:pt x="41862" y="67549"/>
                    <a:pt x="41819" y="68770"/>
                    <a:pt x="42492" y="69636"/>
                  </a:cubicBezTo>
                  <a:cubicBezTo>
                    <a:pt x="43175" y="70517"/>
                    <a:pt x="44261" y="70711"/>
                    <a:pt x="45451" y="70711"/>
                  </a:cubicBezTo>
                  <a:cubicBezTo>
                    <a:pt x="46388" y="70711"/>
                    <a:pt x="47390" y="70590"/>
                    <a:pt x="48312" y="70590"/>
                  </a:cubicBezTo>
                  <a:cubicBezTo>
                    <a:pt x="49551" y="70590"/>
                    <a:pt x="50643" y="70808"/>
                    <a:pt x="51235" y="71828"/>
                  </a:cubicBezTo>
                  <a:cubicBezTo>
                    <a:pt x="52336" y="73723"/>
                    <a:pt x="49909" y="75927"/>
                    <a:pt x="47711" y="75927"/>
                  </a:cubicBezTo>
                  <a:cubicBezTo>
                    <a:pt x="47678" y="75927"/>
                    <a:pt x="47645" y="75926"/>
                    <a:pt x="47613" y="75925"/>
                  </a:cubicBezTo>
                  <a:cubicBezTo>
                    <a:pt x="45391" y="75856"/>
                    <a:pt x="43361" y="74585"/>
                    <a:pt x="41147" y="74365"/>
                  </a:cubicBezTo>
                  <a:cubicBezTo>
                    <a:pt x="40897" y="74340"/>
                    <a:pt x="40647" y="74329"/>
                    <a:pt x="40397" y="74329"/>
                  </a:cubicBezTo>
                  <a:cubicBezTo>
                    <a:pt x="38218" y="74329"/>
                    <a:pt x="36082" y="75200"/>
                    <a:pt x="33896" y="75455"/>
                  </a:cubicBezTo>
                  <a:cubicBezTo>
                    <a:pt x="33619" y="75487"/>
                    <a:pt x="33335" y="75503"/>
                    <a:pt x="33048" y="75503"/>
                  </a:cubicBezTo>
                  <a:cubicBezTo>
                    <a:pt x="30807" y="75503"/>
                    <a:pt x="28395" y="74514"/>
                    <a:pt x="27939" y="72388"/>
                  </a:cubicBezTo>
                  <a:cubicBezTo>
                    <a:pt x="27802" y="71741"/>
                    <a:pt x="27855" y="71030"/>
                    <a:pt x="27514" y="70464"/>
                  </a:cubicBezTo>
                  <a:cubicBezTo>
                    <a:pt x="27109" y="69793"/>
                    <a:pt x="26279" y="69553"/>
                    <a:pt x="25473" y="69553"/>
                  </a:cubicBezTo>
                  <a:cubicBezTo>
                    <a:pt x="25313" y="69553"/>
                    <a:pt x="25154" y="69562"/>
                    <a:pt x="24999" y="69580"/>
                  </a:cubicBezTo>
                  <a:cubicBezTo>
                    <a:pt x="21817" y="69942"/>
                    <a:pt x="18598" y="72595"/>
                    <a:pt x="15740" y="72595"/>
                  </a:cubicBezTo>
                  <a:cubicBezTo>
                    <a:pt x="14956" y="72595"/>
                    <a:pt x="14199" y="72395"/>
                    <a:pt x="13478" y="71894"/>
                  </a:cubicBezTo>
                  <a:cubicBezTo>
                    <a:pt x="11337" y="76062"/>
                    <a:pt x="6101" y="77629"/>
                    <a:pt x="3179" y="81294"/>
                  </a:cubicBezTo>
                  <a:cubicBezTo>
                    <a:pt x="0" y="85282"/>
                    <a:pt x="268" y="91440"/>
                    <a:pt x="3354" y="95500"/>
                  </a:cubicBezTo>
                  <a:cubicBezTo>
                    <a:pt x="6050" y="99045"/>
                    <a:pt x="10552" y="100957"/>
                    <a:pt x="15019" y="100957"/>
                  </a:cubicBezTo>
                  <a:cubicBezTo>
                    <a:pt x="15667" y="100957"/>
                    <a:pt x="16314" y="100917"/>
                    <a:pt x="16954" y="100836"/>
                  </a:cubicBezTo>
                  <a:cubicBezTo>
                    <a:pt x="17630" y="100750"/>
                    <a:pt x="18327" y="100626"/>
                    <a:pt x="19005" y="100626"/>
                  </a:cubicBezTo>
                  <a:cubicBezTo>
                    <a:pt x="19489" y="100626"/>
                    <a:pt x="19963" y="100690"/>
                    <a:pt x="20413" y="100875"/>
                  </a:cubicBezTo>
                  <a:cubicBezTo>
                    <a:pt x="21482" y="101317"/>
                    <a:pt x="22166" y="102352"/>
                    <a:pt x="23058" y="103088"/>
                  </a:cubicBezTo>
                  <a:cubicBezTo>
                    <a:pt x="23580" y="103519"/>
                    <a:pt x="24303" y="103823"/>
                    <a:pt x="24961" y="103823"/>
                  </a:cubicBezTo>
                  <a:cubicBezTo>
                    <a:pt x="25427" y="103823"/>
                    <a:pt x="25861" y="103670"/>
                    <a:pt x="26168" y="103301"/>
                  </a:cubicBezTo>
                  <a:lnTo>
                    <a:pt x="26168" y="103301"/>
                  </a:lnTo>
                  <a:cubicBezTo>
                    <a:pt x="25321" y="105399"/>
                    <a:pt x="25557" y="107902"/>
                    <a:pt x="26779" y="109805"/>
                  </a:cubicBezTo>
                  <a:cubicBezTo>
                    <a:pt x="28099" y="111859"/>
                    <a:pt x="30559" y="113484"/>
                    <a:pt x="30509" y="115926"/>
                  </a:cubicBezTo>
                  <a:cubicBezTo>
                    <a:pt x="30482" y="117190"/>
                    <a:pt x="29748" y="118318"/>
                    <a:pt x="29403" y="119536"/>
                  </a:cubicBezTo>
                  <a:cubicBezTo>
                    <a:pt x="27829" y="125109"/>
                    <a:pt x="34415" y="129657"/>
                    <a:pt x="35455" y="135354"/>
                  </a:cubicBezTo>
                  <a:cubicBezTo>
                    <a:pt x="35736" y="136888"/>
                    <a:pt x="35735" y="138735"/>
                    <a:pt x="37029" y="139601"/>
                  </a:cubicBezTo>
                  <a:cubicBezTo>
                    <a:pt x="37625" y="139999"/>
                    <a:pt x="38374" y="140081"/>
                    <a:pt x="39090" y="140127"/>
                  </a:cubicBezTo>
                  <a:cubicBezTo>
                    <a:pt x="39409" y="140148"/>
                    <a:pt x="39736" y="140158"/>
                    <a:pt x="40067" y="140158"/>
                  </a:cubicBezTo>
                  <a:cubicBezTo>
                    <a:pt x="43538" y="140158"/>
                    <a:pt x="47454" y="138962"/>
                    <a:pt x="48151" y="135675"/>
                  </a:cubicBezTo>
                  <a:cubicBezTo>
                    <a:pt x="48366" y="134657"/>
                    <a:pt x="48212" y="133602"/>
                    <a:pt x="48243" y="132560"/>
                  </a:cubicBezTo>
                  <a:cubicBezTo>
                    <a:pt x="48336" y="129451"/>
                    <a:pt x="50239" y="126459"/>
                    <a:pt x="53017" y="125056"/>
                  </a:cubicBezTo>
                  <a:cubicBezTo>
                    <a:pt x="53771" y="124675"/>
                    <a:pt x="54600" y="124390"/>
                    <a:pt x="55202" y="123799"/>
                  </a:cubicBezTo>
                  <a:cubicBezTo>
                    <a:pt x="56528" y="122495"/>
                    <a:pt x="56234" y="120283"/>
                    <a:pt x="55553" y="118553"/>
                  </a:cubicBezTo>
                  <a:cubicBezTo>
                    <a:pt x="54872" y="116821"/>
                    <a:pt x="53881" y="115076"/>
                    <a:pt x="54120" y="113231"/>
                  </a:cubicBezTo>
                  <a:cubicBezTo>
                    <a:pt x="54502" y="110269"/>
                    <a:pt x="57681" y="108706"/>
                    <a:pt x="60090" y="106941"/>
                  </a:cubicBezTo>
                  <a:cubicBezTo>
                    <a:pt x="63716" y="104284"/>
                    <a:pt x="66206" y="100125"/>
                    <a:pt x="66835" y="95675"/>
                  </a:cubicBezTo>
                  <a:lnTo>
                    <a:pt x="66835" y="95675"/>
                  </a:lnTo>
                  <a:cubicBezTo>
                    <a:pt x="65061" y="96232"/>
                    <a:pt x="63075" y="96745"/>
                    <a:pt x="61220" y="96745"/>
                  </a:cubicBezTo>
                  <a:cubicBezTo>
                    <a:pt x="59581" y="96745"/>
                    <a:pt x="58045" y="96344"/>
                    <a:pt x="56849" y="95215"/>
                  </a:cubicBezTo>
                  <a:cubicBezTo>
                    <a:pt x="55965" y="94380"/>
                    <a:pt x="55421" y="93259"/>
                    <a:pt x="54897" y="92162"/>
                  </a:cubicBezTo>
                  <a:lnTo>
                    <a:pt x="50173" y="82291"/>
                  </a:lnTo>
                  <a:cubicBezTo>
                    <a:pt x="49966" y="81857"/>
                    <a:pt x="49755" y="81362"/>
                    <a:pt x="49925" y="80912"/>
                  </a:cubicBezTo>
                  <a:cubicBezTo>
                    <a:pt x="50074" y="80517"/>
                    <a:pt x="50366" y="80356"/>
                    <a:pt x="50717" y="80356"/>
                  </a:cubicBezTo>
                  <a:cubicBezTo>
                    <a:pt x="51453" y="80356"/>
                    <a:pt x="52449" y="81064"/>
                    <a:pt x="52928" y="81807"/>
                  </a:cubicBezTo>
                  <a:cubicBezTo>
                    <a:pt x="55452" y="85724"/>
                    <a:pt x="57718" y="89804"/>
                    <a:pt x="59707" y="94020"/>
                  </a:cubicBezTo>
                  <a:cubicBezTo>
                    <a:pt x="63791" y="93273"/>
                    <a:pt x="67648" y="91596"/>
                    <a:pt x="70980" y="89118"/>
                  </a:cubicBezTo>
                  <a:cubicBezTo>
                    <a:pt x="72037" y="88329"/>
                    <a:pt x="73088" y="87386"/>
                    <a:pt x="73445" y="86117"/>
                  </a:cubicBezTo>
                  <a:cubicBezTo>
                    <a:pt x="73802" y="84846"/>
                    <a:pt x="73146" y="83218"/>
                    <a:pt x="71846" y="82993"/>
                  </a:cubicBezTo>
                  <a:cubicBezTo>
                    <a:pt x="71723" y="82971"/>
                    <a:pt x="71600" y="82963"/>
                    <a:pt x="71476" y="82963"/>
                  </a:cubicBezTo>
                  <a:cubicBezTo>
                    <a:pt x="71093" y="82963"/>
                    <a:pt x="70708" y="83045"/>
                    <a:pt x="70324" y="83086"/>
                  </a:cubicBezTo>
                  <a:cubicBezTo>
                    <a:pt x="70133" y="83106"/>
                    <a:pt x="69943" y="83115"/>
                    <a:pt x="69755" y="83115"/>
                  </a:cubicBezTo>
                  <a:cubicBezTo>
                    <a:pt x="66927" y="83115"/>
                    <a:pt x="64468" y="80925"/>
                    <a:pt x="62588" y="78727"/>
                  </a:cubicBezTo>
                  <a:cubicBezTo>
                    <a:pt x="63132" y="78118"/>
                    <a:pt x="63852" y="77890"/>
                    <a:pt x="64640" y="77890"/>
                  </a:cubicBezTo>
                  <a:cubicBezTo>
                    <a:pt x="65842" y="77890"/>
                    <a:pt x="67201" y="78421"/>
                    <a:pt x="68334" y="78941"/>
                  </a:cubicBezTo>
                  <a:cubicBezTo>
                    <a:pt x="71699" y="80486"/>
                    <a:pt x="75249" y="81588"/>
                    <a:pt x="78895" y="82221"/>
                  </a:cubicBezTo>
                  <a:cubicBezTo>
                    <a:pt x="79803" y="82378"/>
                    <a:pt x="80736" y="82513"/>
                    <a:pt x="81554" y="82936"/>
                  </a:cubicBezTo>
                  <a:cubicBezTo>
                    <a:pt x="82126" y="83232"/>
                    <a:pt x="82622" y="83658"/>
                    <a:pt x="83095" y="84096"/>
                  </a:cubicBezTo>
                  <a:cubicBezTo>
                    <a:pt x="87298" y="87967"/>
                    <a:pt x="90407" y="93013"/>
                    <a:pt x="91975" y="98509"/>
                  </a:cubicBezTo>
                  <a:cubicBezTo>
                    <a:pt x="92104" y="98538"/>
                    <a:pt x="92231" y="98552"/>
                    <a:pt x="92354" y="98552"/>
                  </a:cubicBezTo>
                  <a:cubicBezTo>
                    <a:pt x="93754" y="98552"/>
                    <a:pt x="94717" y="96760"/>
                    <a:pt x="94833" y="95252"/>
                  </a:cubicBezTo>
                  <a:cubicBezTo>
                    <a:pt x="94960" y="93612"/>
                    <a:pt x="94769" y="91722"/>
                    <a:pt x="95948" y="90578"/>
                  </a:cubicBezTo>
                  <a:cubicBezTo>
                    <a:pt x="96875" y="89678"/>
                    <a:pt x="98399" y="89556"/>
                    <a:pt x="99214" y="88552"/>
                  </a:cubicBezTo>
                  <a:cubicBezTo>
                    <a:pt x="100238" y="87289"/>
                    <a:pt x="99703" y="85157"/>
                    <a:pt x="100900" y="84056"/>
                  </a:cubicBezTo>
                  <a:cubicBezTo>
                    <a:pt x="101284" y="83704"/>
                    <a:pt x="101728" y="83552"/>
                    <a:pt x="102190" y="83552"/>
                  </a:cubicBezTo>
                  <a:cubicBezTo>
                    <a:pt x="103537" y="83552"/>
                    <a:pt x="105034" y="84844"/>
                    <a:pt x="105630" y="86240"/>
                  </a:cubicBezTo>
                  <a:cubicBezTo>
                    <a:pt x="106431" y="88116"/>
                    <a:pt x="106723" y="90422"/>
                    <a:pt x="108410" y="91569"/>
                  </a:cubicBezTo>
                  <a:lnTo>
                    <a:pt x="111137" y="91176"/>
                  </a:lnTo>
                  <a:cubicBezTo>
                    <a:pt x="111152" y="95778"/>
                    <a:pt x="112750" y="100362"/>
                    <a:pt x="115602" y="103975"/>
                  </a:cubicBezTo>
                  <a:cubicBezTo>
                    <a:pt x="117157" y="103161"/>
                    <a:pt x="116453" y="100795"/>
                    <a:pt x="115480" y="99330"/>
                  </a:cubicBezTo>
                  <a:cubicBezTo>
                    <a:pt x="114508" y="97866"/>
                    <a:pt x="113554" y="95681"/>
                    <a:pt x="114936" y="94596"/>
                  </a:cubicBezTo>
                  <a:lnTo>
                    <a:pt x="114936" y="94596"/>
                  </a:lnTo>
                  <a:cubicBezTo>
                    <a:pt x="116854" y="94614"/>
                    <a:pt x="117747" y="97259"/>
                    <a:pt x="119611" y="97712"/>
                  </a:cubicBezTo>
                  <a:cubicBezTo>
                    <a:pt x="119777" y="97752"/>
                    <a:pt x="119940" y="97771"/>
                    <a:pt x="120101" y="97771"/>
                  </a:cubicBezTo>
                  <a:cubicBezTo>
                    <a:pt x="121744" y="97771"/>
                    <a:pt x="123089" y="95790"/>
                    <a:pt x="122784" y="94080"/>
                  </a:cubicBezTo>
                  <a:cubicBezTo>
                    <a:pt x="122451" y="92201"/>
                    <a:pt x="120835" y="90820"/>
                    <a:pt x="119169" y="89895"/>
                  </a:cubicBezTo>
                  <a:cubicBezTo>
                    <a:pt x="117675" y="88258"/>
                    <a:pt x="119833" y="85644"/>
                    <a:pt x="122018" y="85274"/>
                  </a:cubicBezTo>
                  <a:cubicBezTo>
                    <a:pt x="122730" y="85153"/>
                    <a:pt x="123464" y="85138"/>
                    <a:pt x="124199" y="85138"/>
                  </a:cubicBezTo>
                  <a:cubicBezTo>
                    <a:pt x="124443" y="85138"/>
                    <a:pt x="124686" y="85140"/>
                    <a:pt x="124930" y="85140"/>
                  </a:cubicBezTo>
                  <a:cubicBezTo>
                    <a:pt x="126201" y="85140"/>
                    <a:pt x="127452" y="85095"/>
                    <a:pt x="128573" y="84531"/>
                  </a:cubicBezTo>
                  <a:cubicBezTo>
                    <a:pt x="130946" y="83339"/>
                    <a:pt x="131739" y="80207"/>
                    <a:pt x="131200" y="77607"/>
                  </a:cubicBezTo>
                  <a:cubicBezTo>
                    <a:pt x="130659" y="75007"/>
                    <a:pt x="129117" y="72748"/>
                    <a:pt x="127857" y="70410"/>
                  </a:cubicBezTo>
                  <a:cubicBezTo>
                    <a:pt x="126781" y="68413"/>
                    <a:pt x="126249" y="65298"/>
                    <a:pt x="128341" y="64420"/>
                  </a:cubicBezTo>
                  <a:cubicBezTo>
                    <a:pt x="128900" y="64186"/>
                    <a:pt x="129528" y="64195"/>
                    <a:pt x="130135" y="64170"/>
                  </a:cubicBezTo>
                  <a:cubicBezTo>
                    <a:pt x="138047" y="63837"/>
                    <a:pt x="144592" y="55459"/>
                    <a:pt x="143005" y="47701"/>
                  </a:cubicBezTo>
                  <a:cubicBezTo>
                    <a:pt x="142706" y="46238"/>
                    <a:pt x="142140" y="44786"/>
                    <a:pt x="141097" y="43719"/>
                  </a:cubicBezTo>
                  <a:cubicBezTo>
                    <a:pt x="139216" y="41800"/>
                    <a:pt x="136024" y="41349"/>
                    <a:pt x="134619" y="39057"/>
                  </a:cubicBezTo>
                  <a:cubicBezTo>
                    <a:pt x="132900" y="36255"/>
                    <a:pt x="135025" y="32537"/>
                    <a:pt x="137778" y="30737"/>
                  </a:cubicBezTo>
                  <a:cubicBezTo>
                    <a:pt x="140529" y="28938"/>
                    <a:pt x="143891" y="28156"/>
                    <a:pt x="146461" y="26105"/>
                  </a:cubicBezTo>
                  <a:cubicBezTo>
                    <a:pt x="147145" y="26087"/>
                    <a:pt x="147512" y="25417"/>
                    <a:pt x="147638" y="24743"/>
                  </a:cubicBezTo>
                  <a:cubicBezTo>
                    <a:pt x="147716" y="24319"/>
                    <a:pt x="147611" y="23887"/>
                    <a:pt x="147608" y="23456"/>
                  </a:cubicBezTo>
                  <a:cubicBezTo>
                    <a:pt x="147598" y="22276"/>
                    <a:pt x="148442" y="21139"/>
                    <a:pt x="149574" y="20805"/>
                  </a:cubicBezTo>
                  <a:cubicBezTo>
                    <a:pt x="149811" y="20736"/>
                    <a:pt x="150056" y="20702"/>
                    <a:pt x="150302" y="20702"/>
                  </a:cubicBezTo>
                  <a:cubicBezTo>
                    <a:pt x="151231" y="20702"/>
                    <a:pt x="152165" y="21179"/>
                    <a:pt x="152664" y="21968"/>
                  </a:cubicBezTo>
                  <a:cubicBezTo>
                    <a:pt x="153442" y="23198"/>
                    <a:pt x="153129" y="24821"/>
                    <a:pt x="152563" y="26163"/>
                  </a:cubicBezTo>
                  <a:cubicBezTo>
                    <a:pt x="151998" y="27505"/>
                    <a:pt x="151199" y="28790"/>
                    <a:pt x="151051" y="30239"/>
                  </a:cubicBezTo>
                  <a:cubicBezTo>
                    <a:pt x="150905" y="31687"/>
                    <a:pt x="151726" y="33391"/>
                    <a:pt x="153173" y="33553"/>
                  </a:cubicBezTo>
                  <a:cubicBezTo>
                    <a:pt x="153252" y="33562"/>
                    <a:pt x="153330" y="33566"/>
                    <a:pt x="153406" y="33566"/>
                  </a:cubicBezTo>
                  <a:cubicBezTo>
                    <a:pt x="155043" y="33566"/>
                    <a:pt x="156090" y="31574"/>
                    <a:pt x="156201" y="29877"/>
                  </a:cubicBezTo>
                  <a:cubicBezTo>
                    <a:pt x="156318" y="28099"/>
                    <a:pt x="155972" y="26160"/>
                    <a:pt x="156925" y="24659"/>
                  </a:cubicBezTo>
                  <a:cubicBezTo>
                    <a:pt x="158377" y="22374"/>
                    <a:pt x="162385" y="21839"/>
                    <a:pt x="162490" y="19133"/>
                  </a:cubicBezTo>
                  <a:cubicBezTo>
                    <a:pt x="162574" y="16945"/>
                    <a:pt x="159821" y="15661"/>
                    <a:pt x="159327" y="13530"/>
                  </a:cubicBezTo>
                  <a:cubicBezTo>
                    <a:pt x="159129" y="12668"/>
                    <a:pt x="159325" y="11773"/>
                    <a:pt x="159405" y="10894"/>
                  </a:cubicBezTo>
                  <a:cubicBezTo>
                    <a:pt x="159709" y="7612"/>
                    <a:pt x="158263" y="4218"/>
                    <a:pt x="155688" y="2163"/>
                  </a:cubicBezTo>
                  <a:cubicBezTo>
                    <a:pt x="153919" y="751"/>
                    <a:pt x="151652" y="0"/>
                    <a:pt x="149391" y="0"/>
                  </a:cubicBezTo>
                  <a:close/>
                </a:path>
              </a:pathLst>
            </a:custGeom>
            <a:solidFill>
              <a:srgbClr val="BAC8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64" name="Google Shape;9397;p65">
              <a:extLst>
                <a:ext uri="{FF2B5EF4-FFF2-40B4-BE49-F238E27FC236}">
                  <a16:creationId xmlns:a16="http://schemas.microsoft.com/office/drawing/2014/main" id="{6625EE32-8902-C718-F7E6-B2DAF606CBD1}"/>
                </a:ext>
              </a:extLst>
            </p:cNvPr>
            <p:cNvSpPr/>
            <p:nvPr/>
          </p:nvSpPr>
          <p:spPr>
            <a:xfrm>
              <a:off x="6146600" y="3671525"/>
              <a:ext cx="342925" cy="189500"/>
            </a:xfrm>
            <a:custGeom>
              <a:avLst/>
              <a:gdLst/>
              <a:ahLst/>
              <a:cxnLst/>
              <a:rect l="l" t="t" r="r" b="b"/>
              <a:pathLst>
                <a:path w="13717" h="7580" extrusionOk="0">
                  <a:moveTo>
                    <a:pt x="9951" y="0"/>
                  </a:moveTo>
                  <a:cubicBezTo>
                    <a:pt x="6355" y="0"/>
                    <a:pt x="1" y="1281"/>
                    <a:pt x="2486" y="4894"/>
                  </a:cubicBezTo>
                  <a:cubicBezTo>
                    <a:pt x="3169" y="5885"/>
                    <a:pt x="4297" y="6467"/>
                    <a:pt x="5404" y="6938"/>
                  </a:cubicBezTo>
                  <a:cubicBezTo>
                    <a:pt x="6217" y="7282"/>
                    <a:pt x="7136" y="7580"/>
                    <a:pt x="8003" y="7580"/>
                  </a:cubicBezTo>
                  <a:cubicBezTo>
                    <a:pt x="8565" y="7580"/>
                    <a:pt x="9106" y="7454"/>
                    <a:pt x="9581" y="7134"/>
                  </a:cubicBezTo>
                  <a:cubicBezTo>
                    <a:pt x="10406" y="6577"/>
                    <a:pt x="13156" y="2774"/>
                    <a:pt x="13348" y="1948"/>
                  </a:cubicBezTo>
                  <a:cubicBezTo>
                    <a:pt x="13716" y="358"/>
                    <a:pt x="13186" y="447"/>
                    <a:pt x="11597" y="126"/>
                  </a:cubicBezTo>
                  <a:cubicBezTo>
                    <a:pt x="11194" y="44"/>
                    <a:pt x="10620" y="0"/>
                    <a:pt x="9951" y="0"/>
                  </a:cubicBezTo>
                  <a:close/>
                </a:path>
              </a:pathLst>
            </a:custGeom>
            <a:solidFill>
              <a:srgbClr val="BAC8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65" name="Google Shape;9398;p65">
              <a:extLst>
                <a:ext uri="{FF2B5EF4-FFF2-40B4-BE49-F238E27FC236}">
                  <a16:creationId xmlns:a16="http://schemas.microsoft.com/office/drawing/2014/main" id="{C9D9092D-F727-7F55-2D66-A04CF747164E}"/>
                </a:ext>
              </a:extLst>
            </p:cNvPr>
            <p:cNvSpPr/>
            <p:nvPr/>
          </p:nvSpPr>
          <p:spPr>
            <a:xfrm>
              <a:off x="5901600" y="3652500"/>
              <a:ext cx="558700" cy="402875"/>
            </a:xfrm>
            <a:custGeom>
              <a:avLst/>
              <a:gdLst/>
              <a:ahLst/>
              <a:cxnLst/>
              <a:rect l="l" t="t" r="r" b="b"/>
              <a:pathLst>
                <a:path w="22348" h="16115" extrusionOk="0">
                  <a:moveTo>
                    <a:pt x="946" y="1"/>
                  </a:moveTo>
                  <a:cubicBezTo>
                    <a:pt x="616" y="1"/>
                    <a:pt x="299" y="66"/>
                    <a:pt x="1" y="208"/>
                  </a:cubicBezTo>
                  <a:cubicBezTo>
                    <a:pt x="742" y="1762"/>
                    <a:pt x="2032" y="3475"/>
                    <a:pt x="2935" y="5119"/>
                  </a:cubicBezTo>
                  <a:cubicBezTo>
                    <a:pt x="6575" y="11745"/>
                    <a:pt x="13987" y="16115"/>
                    <a:pt x="21544" y="16115"/>
                  </a:cubicBezTo>
                  <a:cubicBezTo>
                    <a:pt x="21635" y="16115"/>
                    <a:pt x="21726" y="16114"/>
                    <a:pt x="21817" y="16113"/>
                  </a:cubicBezTo>
                  <a:cubicBezTo>
                    <a:pt x="22347" y="15571"/>
                    <a:pt x="21564" y="14744"/>
                    <a:pt x="20866" y="14448"/>
                  </a:cubicBezTo>
                  <a:cubicBezTo>
                    <a:pt x="18934" y="13634"/>
                    <a:pt x="16857" y="13226"/>
                    <a:pt x="14879" y="12532"/>
                  </a:cubicBezTo>
                  <a:cubicBezTo>
                    <a:pt x="12900" y="11839"/>
                    <a:pt x="10943" y="10790"/>
                    <a:pt x="9769" y="9051"/>
                  </a:cubicBezTo>
                  <a:cubicBezTo>
                    <a:pt x="9280" y="8326"/>
                    <a:pt x="8945" y="7508"/>
                    <a:pt x="8542" y="6731"/>
                  </a:cubicBezTo>
                  <a:cubicBezTo>
                    <a:pt x="7503" y="4729"/>
                    <a:pt x="3759" y="1"/>
                    <a:pt x="946" y="1"/>
                  </a:cubicBezTo>
                  <a:close/>
                </a:path>
              </a:pathLst>
            </a:custGeom>
            <a:solidFill>
              <a:srgbClr val="BAC8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66" name="Google Shape;9399;p65">
              <a:extLst>
                <a:ext uri="{FF2B5EF4-FFF2-40B4-BE49-F238E27FC236}">
                  <a16:creationId xmlns:a16="http://schemas.microsoft.com/office/drawing/2014/main" id="{C6184EDE-6C1D-EF6B-933A-B3195A5E8305}"/>
                </a:ext>
              </a:extLst>
            </p:cNvPr>
            <p:cNvSpPr/>
            <p:nvPr/>
          </p:nvSpPr>
          <p:spPr>
            <a:xfrm>
              <a:off x="6249675" y="4061675"/>
              <a:ext cx="964575" cy="811125"/>
            </a:xfrm>
            <a:custGeom>
              <a:avLst/>
              <a:gdLst/>
              <a:ahLst/>
              <a:cxnLst/>
              <a:rect l="l" t="t" r="r" b="b"/>
              <a:pathLst>
                <a:path w="38583" h="32445" extrusionOk="0">
                  <a:moveTo>
                    <a:pt x="17573" y="0"/>
                  </a:moveTo>
                  <a:cubicBezTo>
                    <a:pt x="14431" y="0"/>
                    <a:pt x="10968" y="2180"/>
                    <a:pt x="9011" y="4369"/>
                  </a:cubicBezTo>
                  <a:cubicBezTo>
                    <a:pt x="8028" y="5468"/>
                    <a:pt x="7111" y="6810"/>
                    <a:pt x="5676" y="7153"/>
                  </a:cubicBezTo>
                  <a:cubicBezTo>
                    <a:pt x="4830" y="7356"/>
                    <a:pt x="3925" y="7164"/>
                    <a:pt x="3076" y="7361"/>
                  </a:cubicBezTo>
                  <a:cubicBezTo>
                    <a:pt x="581" y="7938"/>
                    <a:pt x="1" y="11293"/>
                    <a:pt x="569" y="13791"/>
                  </a:cubicBezTo>
                  <a:cubicBezTo>
                    <a:pt x="1136" y="16289"/>
                    <a:pt x="2307" y="18910"/>
                    <a:pt x="1374" y="21296"/>
                  </a:cubicBezTo>
                  <a:cubicBezTo>
                    <a:pt x="1185" y="21776"/>
                    <a:pt x="913" y="22246"/>
                    <a:pt x="921" y="22762"/>
                  </a:cubicBezTo>
                  <a:cubicBezTo>
                    <a:pt x="932" y="23380"/>
                    <a:pt x="1355" y="23921"/>
                    <a:pt x="1849" y="24293"/>
                  </a:cubicBezTo>
                  <a:cubicBezTo>
                    <a:pt x="2646" y="24890"/>
                    <a:pt x="3559" y="25128"/>
                    <a:pt x="4517" y="25128"/>
                  </a:cubicBezTo>
                  <a:cubicBezTo>
                    <a:pt x="6301" y="25128"/>
                    <a:pt x="8239" y="24301"/>
                    <a:pt x="9868" y="23418"/>
                  </a:cubicBezTo>
                  <a:cubicBezTo>
                    <a:pt x="11665" y="22444"/>
                    <a:pt x="13735" y="21414"/>
                    <a:pt x="15685" y="21414"/>
                  </a:cubicBezTo>
                  <a:cubicBezTo>
                    <a:pt x="16453" y="21414"/>
                    <a:pt x="17203" y="21574"/>
                    <a:pt x="17910" y="21960"/>
                  </a:cubicBezTo>
                  <a:cubicBezTo>
                    <a:pt x="20585" y="23420"/>
                    <a:pt x="20837" y="27119"/>
                    <a:pt x="22486" y="29685"/>
                  </a:cubicBezTo>
                  <a:cubicBezTo>
                    <a:pt x="23522" y="31296"/>
                    <a:pt x="25450" y="32445"/>
                    <a:pt x="27291" y="32445"/>
                  </a:cubicBezTo>
                  <a:cubicBezTo>
                    <a:pt x="28027" y="32445"/>
                    <a:pt x="28749" y="32261"/>
                    <a:pt x="29394" y="31851"/>
                  </a:cubicBezTo>
                  <a:cubicBezTo>
                    <a:pt x="30163" y="31362"/>
                    <a:pt x="30731" y="30624"/>
                    <a:pt x="31285" y="29900"/>
                  </a:cubicBezTo>
                  <a:lnTo>
                    <a:pt x="34684" y="25460"/>
                  </a:lnTo>
                  <a:cubicBezTo>
                    <a:pt x="36183" y="23501"/>
                    <a:pt x="37736" y="21414"/>
                    <a:pt x="38025" y="18965"/>
                  </a:cubicBezTo>
                  <a:cubicBezTo>
                    <a:pt x="38582" y="14235"/>
                    <a:pt x="34390" y="10436"/>
                    <a:pt x="30609" y="7540"/>
                  </a:cubicBezTo>
                  <a:cubicBezTo>
                    <a:pt x="30407" y="6031"/>
                    <a:pt x="30190" y="4479"/>
                    <a:pt x="29421" y="3165"/>
                  </a:cubicBezTo>
                  <a:cubicBezTo>
                    <a:pt x="28683" y="1906"/>
                    <a:pt x="27576" y="1186"/>
                    <a:pt x="26718" y="1186"/>
                  </a:cubicBezTo>
                  <a:cubicBezTo>
                    <a:pt x="25783" y="1186"/>
                    <a:pt x="25141" y="2039"/>
                    <a:pt x="25589" y="3982"/>
                  </a:cubicBezTo>
                  <a:cubicBezTo>
                    <a:pt x="25561" y="3983"/>
                    <a:pt x="25533" y="3983"/>
                    <a:pt x="25505" y="3983"/>
                  </a:cubicBezTo>
                  <a:cubicBezTo>
                    <a:pt x="23077" y="3983"/>
                    <a:pt x="21095" y="399"/>
                    <a:pt x="18382" y="51"/>
                  </a:cubicBezTo>
                  <a:cubicBezTo>
                    <a:pt x="18115" y="17"/>
                    <a:pt x="17846" y="0"/>
                    <a:pt x="17573" y="0"/>
                  </a:cubicBezTo>
                  <a:close/>
                </a:path>
              </a:pathLst>
            </a:custGeom>
            <a:solidFill>
              <a:srgbClr val="BAC8D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267" name="Google Shape;9400;p65">
            <a:extLst>
              <a:ext uri="{FF2B5EF4-FFF2-40B4-BE49-F238E27FC236}">
                <a16:creationId xmlns:a16="http://schemas.microsoft.com/office/drawing/2014/main" id="{AB4B4B7B-31C3-3F8B-1005-D1E1A60B8D46}"/>
              </a:ext>
            </a:extLst>
          </p:cNvPr>
          <p:cNvGrpSpPr/>
          <p:nvPr/>
        </p:nvGrpSpPr>
        <p:grpSpPr>
          <a:xfrm>
            <a:off x="990171" y="4085923"/>
            <a:ext cx="3497168" cy="1778053"/>
            <a:chOff x="238125" y="1038125"/>
            <a:chExt cx="7146800" cy="3633625"/>
          </a:xfrm>
        </p:grpSpPr>
        <p:sp>
          <p:nvSpPr>
            <p:cNvPr id="268" name="Google Shape;9401;p65">
              <a:extLst>
                <a:ext uri="{FF2B5EF4-FFF2-40B4-BE49-F238E27FC236}">
                  <a16:creationId xmlns:a16="http://schemas.microsoft.com/office/drawing/2014/main" id="{B17567EE-A528-6B21-B578-AE19F1880BB8}"/>
                </a:ext>
              </a:extLst>
            </p:cNvPr>
            <p:cNvSpPr/>
            <p:nvPr/>
          </p:nvSpPr>
          <p:spPr>
            <a:xfrm>
              <a:off x="62561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69" name="Google Shape;9402;p65">
              <a:extLst>
                <a:ext uri="{FF2B5EF4-FFF2-40B4-BE49-F238E27FC236}">
                  <a16:creationId xmlns:a16="http://schemas.microsoft.com/office/drawing/2014/main" id="{900AA671-A1BB-F303-23EF-E75123AA8230}"/>
                </a:ext>
              </a:extLst>
            </p:cNvPr>
            <p:cNvSpPr/>
            <p:nvPr/>
          </p:nvSpPr>
          <p:spPr>
            <a:xfrm>
              <a:off x="62561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0" name="Google Shape;9403;p65">
              <a:extLst>
                <a:ext uri="{FF2B5EF4-FFF2-40B4-BE49-F238E27FC236}">
                  <a16:creationId xmlns:a16="http://schemas.microsoft.com/office/drawing/2014/main" id="{4599B6C8-CCFA-9355-0E77-D00A8A132ACA}"/>
                </a:ext>
              </a:extLst>
            </p:cNvPr>
            <p:cNvSpPr/>
            <p:nvPr/>
          </p:nvSpPr>
          <p:spPr>
            <a:xfrm>
              <a:off x="625615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1" name="Google Shape;9404;p65">
              <a:extLst>
                <a:ext uri="{FF2B5EF4-FFF2-40B4-BE49-F238E27FC236}">
                  <a16:creationId xmlns:a16="http://schemas.microsoft.com/office/drawing/2014/main" id="{AD626015-E9DB-ABF3-B741-8E6D591333C8}"/>
                </a:ext>
              </a:extLst>
            </p:cNvPr>
            <p:cNvSpPr/>
            <p:nvPr/>
          </p:nvSpPr>
          <p:spPr>
            <a:xfrm>
              <a:off x="63323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2" name="Google Shape;9405;p65">
              <a:extLst>
                <a:ext uri="{FF2B5EF4-FFF2-40B4-BE49-F238E27FC236}">
                  <a16:creationId xmlns:a16="http://schemas.microsoft.com/office/drawing/2014/main" id="{00861F54-B8E1-1963-62EB-C048FFF426CA}"/>
                </a:ext>
              </a:extLst>
            </p:cNvPr>
            <p:cNvSpPr/>
            <p:nvPr/>
          </p:nvSpPr>
          <p:spPr>
            <a:xfrm>
              <a:off x="63323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3" name="Google Shape;9406;p65">
              <a:extLst>
                <a:ext uri="{FF2B5EF4-FFF2-40B4-BE49-F238E27FC236}">
                  <a16:creationId xmlns:a16="http://schemas.microsoft.com/office/drawing/2014/main" id="{D53EE1FA-851D-E892-E67F-F54617A7837D}"/>
                </a:ext>
              </a:extLst>
            </p:cNvPr>
            <p:cNvSpPr/>
            <p:nvPr/>
          </p:nvSpPr>
          <p:spPr>
            <a:xfrm>
              <a:off x="64083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4" name="Google Shape;9407;p65">
              <a:extLst>
                <a:ext uri="{FF2B5EF4-FFF2-40B4-BE49-F238E27FC236}">
                  <a16:creationId xmlns:a16="http://schemas.microsoft.com/office/drawing/2014/main" id="{37588F4D-6DAC-167A-E278-9A433A09AF58}"/>
                </a:ext>
              </a:extLst>
            </p:cNvPr>
            <p:cNvSpPr/>
            <p:nvPr/>
          </p:nvSpPr>
          <p:spPr>
            <a:xfrm>
              <a:off x="64083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5" name="Google Shape;9408;p65">
              <a:extLst>
                <a:ext uri="{FF2B5EF4-FFF2-40B4-BE49-F238E27FC236}">
                  <a16:creationId xmlns:a16="http://schemas.microsoft.com/office/drawing/2014/main" id="{381E6EC5-20BE-92BB-CD35-81EAE28D4847}"/>
                </a:ext>
              </a:extLst>
            </p:cNvPr>
            <p:cNvSpPr/>
            <p:nvPr/>
          </p:nvSpPr>
          <p:spPr>
            <a:xfrm>
              <a:off x="64083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6" name="Google Shape;9409;p65">
              <a:extLst>
                <a:ext uri="{FF2B5EF4-FFF2-40B4-BE49-F238E27FC236}">
                  <a16:creationId xmlns:a16="http://schemas.microsoft.com/office/drawing/2014/main" id="{77479564-6D30-AE8F-D60A-0E1DCA7459AA}"/>
                </a:ext>
              </a:extLst>
            </p:cNvPr>
            <p:cNvSpPr/>
            <p:nvPr/>
          </p:nvSpPr>
          <p:spPr>
            <a:xfrm>
              <a:off x="64845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7" name="Google Shape;9410;p65">
              <a:extLst>
                <a:ext uri="{FF2B5EF4-FFF2-40B4-BE49-F238E27FC236}">
                  <a16:creationId xmlns:a16="http://schemas.microsoft.com/office/drawing/2014/main" id="{CC903743-B418-8295-E240-E33E85AF4E1B}"/>
                </a:ext>
              </a:extLst>
            </p:cNvPr>
            <p:cNvSpPr/>
            <p:nvPr/>
          </p:nvSpPr>
          <p:spPr>
            <a:xfrm>
              <a:off x="64845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8" name="Google Shape;9411;p65">
              <a:extLst>
                <a:ext uri="{FF2B5EF4-FFF2-40B4-BE49-F238E27FC236}">
                  <a16:creationId xmlns:a16="http://schemas.microsoft.com/office/drawing/2014/main" id="{814056B8-3DA8-50BD-59AF-93C837035620}"/>
                </a:ext>
              </a:extLst>
            </p:cNvPr>
            <p:cNvSpPr/>
            <p:nvPr/>
          </p:nvSpPr>
          <p:spPr>
            <a:xfrm>
              <a:off x="648457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79" name="Google Shape;9412;p65">
              <a:extLst>
                <a:ext uri="{FF2B5EF4-FFF2-40B4-BE49-F238E27FC236}">
                  <a16:creationId xmlns:a16="http://schemas.microsoft.com/office/drawing/2014/main" id="{0B7BC1EB-DAD1-2CA1-1D2B-2339CF84DD1B}"/>
                </a:ext>
              </a:extLst>
            </p:cNvPr>
            <p:cNvSpPr/>
            <p:nvPr/>
          </p:nvSpPr>
          <p:spPr>
            <a:xfrm>
              <a:off x="64845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0" name="Google Shape;9413;p65">
              <a:extLst>
                <a:ext uri="{FF2B5EF4-FFF2-40B4-BE49-F238E27FC236}">
                  <a16:creationId xmlns:a16="http://schemas.microsoft.com/office/drawing/2014/main" id="{00E08CC9-5C88-0786-EBDD-4BD7B1CA03FD}"/>
                </a:ext>
              </a:extLst>
            </p:cNvPr>
            <p:cNvSpPr/>
            <p:nvPr/>
          </p:nvSpPr>
          <p:spPr>
            <a:xfrm>
              <a:off x="64845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1" name="Google Shape;9414;p65">
              <a:extLst>
                <a:ext uri="{FF2B5EF4-FFF2-40B4-BE49-F238E27FC236}">
                  <a16:creationId xmlns:a16="http://schemas.microsoft.com/office/drawing/2014/main" id="{1539D11C-83C2-B86C-54C2-C6F122C1BCAB}"/>
                </a:ext>
              </a:extLst>
            </p:cNvPr>
            <p:cNvSpPr/>
            <p:nvPr/>
          </p:nvSpPr>
          <p:spPr>
            <a:xfrm>
              <a:off x="663842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2" name="Google Shape;9415;p65">
              <a:extLst>
                <a:ext uri="{FF2B5EF4-FFF2-40B4-BE49-F238E27FC236}">
                  <a16:creationId xmlns:a16="http://schemas.microsoft.com/office/drawing/2014/main" id="{A44168B4-2FF2-1364-9C6A-55253AF2B0CE}"/>
                </a:ext>
              </a:extLst>
            </p:cNvPr>
            <p:cNvSpPr/>
            <p:nvPr/>
          </p:nvSpPr>
          <p:spPr>
            <a:xfrm>
              <a:off x="66384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3" name="Google Shape;9416;p65">
              <a:extLst>
                <a:ext uri="{FF2B5EF4-FFF2-40B4-BE49-F238E27FC236}">
                  <a16:creationId xmlns:a16="http://schemas.microsoft.com/office/drawing/2014/main" id="{05A2A67D-6B91-2A2F-DBBE-071C6E5E386C}"/>
                </a:ext>
              </a:extLst>
            </p:cNvPr>
            <p:cNvSpPr/>
            <p:nvPr/>
          </p:nvSpPr>
          <p:spPr>
            <a:xfrm>
              <a:off x="6638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4" name="Google Shape;9417;p65">
              <a:extLst>
                <a:ext uri="{FF2B5EF4-FFF2-40B4-BE49-F238E27FC236}">
                  <a16:creationId xmlns:a16="http://schemas.microsoft.com/office/drawing/2014/main" id="{BE6EB2EF-BAC4-CE01-FF5B-3F8A0578DA0A}"/>
                </a:ext>
              </a:extLst>
            </p:cNvPr>
            <p:cNvSpPr/>
            <p:nvPr/>
          </p:nvSpPr>
          <p:spPr>
            <a:xfrm>
              <a:off x="6638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5" name="Google Shape;9418;p65">
              <a:extLst>
                <a:ext uri="{FF2B5EF4-FFF2-40B4-BE49-F238E27FC236}">
                  <a16:creationId xmlns:a16="http://schemas.microsoft.com/office/drawing/2014/main" id="{2B6F58EF-4C9F-D7AF-48C9-012FAC2C273C}"/>
                </a:ext>
              </a:extLst>
            </p:cNvPr>
            <p:cNvSpPr/>
            <p:nvPr/>
          </p:nvSpPr>
          <p:spPr>
            <a:xfrm>
              <a:off x="6638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6" name="Google Shape;9419;p65">
              <a:extLst>
                <a:ext uri="{FF2B5EF4-FFF2-40B4-BE49-F238E27FC236}">
                  <a16:creationId xmlns:a16="http://schemas.microsoft.com/office/drawing/2014/main" id="{3261F70E-28CB-EB39-8F1D-443F442ECB89}"/>
                </a:ext>
              </a:extLst>
            </p:cNvPr>
            <p:cNvSpPr/>
            <p:nvPr/>
          </p:nvSpPr>
          <p:spPr>
            <a:xfrm>
              <a:off x="67154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7" name="Google Shape;9420;p65">
              <a:extLst>
                <a:ext uri="{FF2B5EF4-FFF2-40B4-BE49-F238E27FC236}">
                  <a16:creationId xmlns:a16="http://schemas.microsoft.com/office/drawing/2014/main" id="{A87F8843-74A0-78CE-1129-122F21C011C9}"/>
                </a:ext>
              </a:extLst>
            </p:cNvPr>
            <p:cNvSpPr/>
            <p:nvPr/>
          </p:nvSpPr>
          <p:spPr>
            <a:xfrm>
              <a:off x="67154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8" name="Google Shape;9421;p65">
              <a:extLst>
                <a:ext uri="{FF2B5EF4-FFF2-40B4-BE49-F238E27FC236}">
                  <a16:creationId xmlns:a16="http://schemas.microsoft.com/office/drawing/2014/main" id="{5C536733-1E42-B69B-160F-D5D903BA26A4}"/>
                </a:ext>
              </a:extLst>
            </p:cNvPr>
            <p:cNvSpPr/>
            <p:nvPr/>
          </p:nvSpPr>
          <p:spPr>
            <a:xfrm>
              <a:off x="67154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89" name="Google Shape;9422;p65">
              <a:extLst>
                <a:ext uri="{FF2B5EF4-FFF2-40B4-BE49-F238E27FC236}">
                  <a16:creationId xmlns:a16="http://schemas.microsoft.com/office/drawing/2014/main" id="{96B15BED-87B7-7B25-6F92-2469A613258F}"/>
                </a:ext>
              </a:extLst>
            </p:cNvPr>
            <p:cNvSpPr/>
            <p:nvPr/>
          </p:nvSpPr>
          <p:spPr>
            <a:xfrm>
              <a:off x="64083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0" name="Google Shape;9423;p65">
              <a:extLst>
                <a:ext uri="{FF2B5EF4-FFF2-40B4-BE49-F238E27FC236}">
                  <a16:creationId xmlns:a16="http://schemas.microsoft.com/office/drawing/2014/main" id="{EB5C4C83-CCAD-66E5-8BAD-4F15776A5DC6}"/>
                </a:ext>
              </a:extLst>
            </p:cNvPr>
            <p:cNvSpPr/>
            <p:nvPr/>
          </p:nvSpPr>
          <p:spPr>
            <a:xfrm>
              <a:off x="63323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1" name="Google Shape;9424;p65">
              <a:extLst>
                <a:ext uri="{FF2B5EF4-FFF2-40B4-BE49-F238E27FC236}">
                  <a16:creationId xmlns:a16="http://schemas.microsoft.com/office/drawing/2014/main" id="{D8A5FDA6-9323-BF34-85A5-A6DF15BCAAC3}"/>
                </a:ext>
              </a:extLst>
            </p:cNvPr>
            <p:cNvSpPr/>
            <p:nvPr/>
          </p:nvSpPr>
          <p:spPr>
            <a:xfrm>
              <a:off x="625615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2" name="Google Shape;9425;p65">
              <a:extLst>
                <a:ext uri="{FF2B5EF4-FFF2-40B4-BE49-F238E27FC236}">
                  <a16:creationId xmlns:a16="http://schemas.microsoft.com/office/drawing/2014/main" id="{81D65D34-AB72-1336-F1AC-312B7FA328F3}"/>
                </a:ext>
              </a:extLst>
            </p:cNvPr>
            <p:cNvSpPr/>
            <p:nvPr/>
          </p:nvSpPr>
          <p:spPr>
            <a:xfrm>
              <a:off x="59514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3" name="Google Shape;9426;p65">
              <a:extLst>
                <a:ext uri="{FF2B5EF4-FFF2-40B4-BE49-F238E27FC236}">
                  <a16:creationId xmlns:a16="http://schemas.microsoft.com/office/drawing/2014/main" id="{E0CBF25F-B97D-1C10-4F43-4FDD8E2C57C4}"/>
                </a:ext>
              </a:extLst>
            </p:cNvPr>
            <p:cNvSpPr/>
            <p:nvPr/>
          </p:nvSpPr>
          <p:spPr>
            <a:xfrm>
              <a:off x="59514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4" name="Google Shape;9427;p65">
              <a:extLst>
                <a:ext uri="{FF2B5EF4-FFF2-40B4-BE49-F238E27FC236}">
                  <a16:creationId xmlns:a16="http://schemas.microsoft.com/office/drawing/2014/main" id="{7AEF9A92-E242-CC6F-19AF-79045D2B871D}"/>
                </a:ext>
              </a:extLst>
            </p:cNvPr>
            <p:cNvSpPr/>
            <p:nvPr/>
          </p:nvSpPr>
          <p:spPr>
            <a:xfrm>
              <a:off x="602750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5" name="Google Shape;9428;p65">
              <a:extLst>
                <a:ext uri="{FF2B5EF4-FFF2-40B4-BE49-F238E27FC236}">
                  <a16:creationId xmlns:a16="http://schemas.microsoft.com/office/drawing/2014/main" id="{F046BA4E-05C2-CF5F-F065-6739B0585FEA}"/>
                </a:ext>
              </a:extLst>
            </p:cNvPr>
            <p:cNvSpPr/>
            <p:nvPr/>
          </p:nvSpPr>
          <p:spPr>
            <a:xfrm>
              <a:off x="602750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5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6" name="Google Shape;9429;p65">
              <a:extLst>
                <a:ext uri="{FF2B5EF4-FFF2-40B4-BE49-F238E27FC236}">
                  <a16:creationId xmlns:a16="http://schemas.microsoft.com/office/drawing/2014/main" id="{C710DF8F-6A1D-2186-45D5-7B9D23FFBD93}"/>
                </a:ext>
              </a:extLst>
            </p:cNvPr>
            <p:cNvSpPr/>
            <p:nvPr/>
          </p:nvSpPr>
          <p:spPr>
            <a:xfrm>
              <a:off x="60275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7" name="Google Shape;9430;p65">
              <a:extLst>
                <a:ext uri="{FF2B5EF4-FFF2-40B4-BE49-F238E27FC236}">
                  <a16:creationId xmlns:a16="http://schemas.microsoft.com/office/drawing/2014/main" id="{F9170008-FD8A-962D-3EFD-C4261303B768}"/>
                </a:ext>
              </a:extLst>
            </p:cNvPr>
            <p:cNvSpPr/>
            <p:nvPr/>
          </p:nvSpPr>
          <p:spPr>
            <a:xfrm>
              <a:off x="61037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8" name="Google Shape;9431;p65">
              <a:extLst>
                <a:ext uri="{FF2B5EF4-FFF2-40B4-BE49-F238E27FC236}">
                  <a16:creationId xmlns:a16="http://schemas.microsoft.com/office/drawing/2014/main" id="{857F03EE-DF85-4D65-32BD-193663B3D34B}"/>
                </a:ext>
              </a:extLst>
            </p:cNvPr>
            <p:cNvSpPr/>
            <p:nvPr/>
          </p:nvSpPr>
          <p:spPr>
            <a:xfrm>
              <a:off x="6103700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299" name="Google Shape;9432;p65">
              <a:extLst>
                <a:ext uri="{FF2B5EF4-FFF2-40B4-BE49-F238E27FC236}">
                  <a16:creationId xmlns:a16="http://schemas.microsoft.com/office/drawing/2014/main" id="{B0DB48D5-84B3-D55F-E3E3-88057417996F}"/>
                </a:ext>
              </a:extLst>
            </p:cNvPr>
            <p:cNvSpPr/>
            <p:nvPr/>
          </p:nvSpPr>
          <p:spPr>
            <a:xfrm>
              <a:off x="610370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0" name="Google Shape;9433;p65">
              <a:extLst>
                <a:ext uri="{FF2B5EF4-FFF2-40B4-BE49-F238E27FC236}">
                  <a16:creationId xmlns:a16="http://schemas.microsoft.com/office/drawing/2014/main" id="{24F8CFDE-D60F-F249-335B-7DF9ADC66E6D}"/>
                </a:ext>
              </a:extLst>
            </p:cNvPr>
            <p:cNvSpPr/>
            <p:nvPr/>
          </p:nvSpPr>
          <p:spPr>
            <a:xfrm>
              <a:off x="610370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1" name="Google Shape;9434;p65">
              <a:extLst>
                <a:ext uri="{FF2B5EF4-FFF2-40B4-BE49-F238E27FC236}">
                  <a16:creationId xmlns:a16="http://schemas.microsoft.com/office/drawing/2014/main" id="{8FF9AA59-545E-E234-0D7D-BB8562F1E418}"/>
                </a:ext>
              </a:extLst>
            </p:cNvPr>
            <p:cNvSpPr/>
            <p:nvPr/>
          </p:nvSpPr>
          <p:spPr>
            <a:xfrm>
              <a:off x="6179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2" name="Google Shape;9435;p65">
              <a:extLst>
                <a:ext uri="{FF2B5EF4-FFF2-40B4-BE49-F238E27FC236}">
                  <a16:creationId xmlns:a16="http://schemas.microsoft.com/office/drawing/2014/main" id="{387D51DE-105D-10C2-3D6D-18CF23B9BB54}"/>
                </a:ext>
              </a:extLst>
            </p:cNvPr>
            <p:cNvSpPr/>
            <p:nvPr/>
          </p:nvSpPr>
          <p:spPr>
            <a:xfrm>
              <a:off x="61799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3" name="Google Shape;9436;p65">
              <a:extLst>
                <a:ext uri="{FF2B5EF4-FFF2-40B4-BE49-F238E27FC236}">
                  <a16:creationId xmlns:a16="http://schemas.microsoft.com/office/drawing/2014/main" id="{22231AFC-8BC4-9906-D4AE-F9D778AE027C}"/>
                </a:ext>
              </a:extLst>
            </p:cNvPr>
            <p:cNvSpPr/>
            <p:nvPr/>
          </p:nvSpPr>
          <p:spPr>
            <a:xfrm>
              <a:off x="61799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4" name="Google Shape;9437;p65">
              <a:extLst>
                <a:ext uri="{FF2B5EF4-FFF2-40B4-BE49-F238E27FC236}">
                  <a16:creationId xmlns:a16="http://schemas.microsoft.com/office/drawing/2014/main" id="{E448D54F-ECB0-8A13-731C-CD923F6BFA97}"/>
                </a:ext>
              </a:extLst>
            </p:cNvPr>
            <p:cNvSpPr/>
            <p:nvPr/>
          </p:nvSpPr>
          <p:spPr>
            <a:xfrm>
              <a:off x="61799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5" name="Google Shape;9438;p65">
              <a:extLst>
                <a:ext uri="{FF2B5EF4-FFF2-40B4-BE49-F238E27FC236}">
                  <a16:creationId xmlns:a16="http://schemas.microsoft.com/office/drawing/2014/main" id="{11161F83-6076-C793-F113-2FFA89432F29}"/>
                </a:ext>
              </a:extLst>
            </p:cNvPr>
            <p:cNvSpPr/>
            <p:nvPr/>
          </p:nvSpPr>
          <p:spPr>
            <a:xfrm>
              <a:off x="61799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6" name="Google Shape;9439;p65">
              <a:extLst>
                <a:ext uri="{FF2B5EF4-FFF2-40B4-BE49-F238E27FC236}">
                  <a16:creationId xmlns:a16="http://schemas.microsoft.com/office/drawing/2014/main" id="{DD4718A8-DF7D-8D19-10D9-557B9BF0A851}"/>
                </a:ext>
              </a:extLst>
            </p:cNvPr>
            <p:cNvSpPr/>
            <p:nvPr/>
          </p:nvSpPr>
          <p:spPr>
            <a:xfrm>
              <a:off x="71703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7" name="Google Shape;9440;p65">
              <a:extLst>
                <a:ext uri="{FF2B5EF4-FFF2-40B4-BE49-F238E27FC236}">
                  <a16:creationId xmlns:a16="http://schemas.microsoft.com/office/drawing/2014/main" id="{236CACB8-114D-964E-0199-952E97EBBE6A}"/>
                </a:ext>
              </a:extLst>
            </p:cNvPr>
            <p:cNvSpPr/>
            <p:nvPr/>
          </p:nvSpPr>
          <p:spPr>
            <a:xfrm>
              <a:off x="68656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8" name="Google Shape;9441;p65">
              <a:extLst>
                <a:ext uri="{FF2B5EF4-FFF2-40B4-BE49-F238E27FC236}">
                  <a16:creationId xmlns:a16="http://schemas.microsoft.com/office/drawing/2014/main" id="{DBB20D23-38DB-A815-1327-F51DC4AC10DD}"/>
                </a:ext>
              </a:extLst>
            </p:cNvPr>
            <p:cNvSpPr/>
            <p:nvPr/>
          </p:nvSpPr>
          <p:spPr>
            <a:xfrm>
              <a:off x="68656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09" name="Google Shape;9442;p65">
              <a:extLst>
                <a:ext uri="{FF2B5EF4-FFF2-40B4-BE49-F238E27FC236}">
                  <a16:creationId xmlns:a16="http://schemas.microsoft.com/office/drawing/2014/main" id="{1472499A-AA44-9043-1136-A7BE552F024B}"/>
                </a:ext>
              </a:extLst>
            </p:cNvPr>
            <p:cNvSpPr/>
            <p:nvPr/>
          </p:nvSpPr>
          <p:spPr>
            <a:xfrm>
              <a:off x="69418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0" name="Google Shape;9443;p65">
              <a:extLst>
                <a:ext uri="{FF2B5EF4-FFF2-40B4-BE49-F238E27FC236}">
                  <a16:creationId xmlns:a16="http://schemas.microsoft.com/office/drawing/2014/main" id="{4BE69C57-4229-2D90-01E9-D00084F6C4F2}"/>
                </a:ext>
              </a:extLst>
            </p:cNvPr>
            <p:cNvSpPr/>
            <p:nvPr/>
          </p:nvSpPr>
          <p:spPr>
            <a:xfrm>
              <a:off x="67892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1" name="Google Shape;9444;p65">
              <a:extLst>
                <a:ext uri="{FF2B5EF4-FFF2-40B4-BE49-F238E27FC236}">
                  <a16:creationId xmlns:a16="http://schemas.microsoft.com/office/drawing/2014/main" id="{A4583FA0-3EC9-9F34-3E68-6C0D4DAA8A22}"/>
                </a:ext>
              </a:extLst>
            </p:cNvPr>
            <p:cNvSpPr/>
            <p:nvPr/>
          </p:nvSpPr>
          <p:spPr>
            <a:xfrm>
              <a:off x="6637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2" name="Google Shape;9445;p65">
              <a:extLst>
                <a:ext uri="{FF2B5EF4-FFF2-40B4-BE49-F238E27FC236}">
                  <a16:creationId xmlns:a16="http://schemas.microsoft.com/office/drawing/2014/main" id="{886F11EF-8D8B-0411-E5A1-34FF4D2214B1}"/>
                </a:ext>
              </a:extLst>
            </p:cNvPr>
            <p:cNvSpPr/>
            <p:nvPr/>
          </p:nvSpPr>
          <p:spPr>
            <a:xfrm>
              <a:off x="625615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1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3" name="Google Shape;9446;p65">
              <a:extLst>
                <a:ext uri="{FF2B5EF4-FFF2-40B4-BE49-F238E27FC236}">
                  <a16:creationId xmlns:a16="http://schemas.microsoft.com/office/drawing/2014/main" id="{E8418968-E878-AC36-9405-AB3B313940F7}"/>
                </a:ext>
              </a:extLst>
            </p:cNvPr>
            <p:cNvSpPr/>
            <p:nvPr/>
          </p:nvSpPr>
          <p:spPr>
            <a:xfrm>
              <a:off x="64845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4" name="Google Shape;9447;p65">
              <a:extLst>
                <a:ext uri="{FF2B5EF4-FFF2-40B4-BE49-F238E27FC236}">
                  <a16:creationId xmlns:a16="http://schemas.microsoft.com/office/drawing/2014/main" id="{0F6864D3-77EC-1758-1376-93AF19C2E71B}"/>
                </a:ext>
              </a:extLst>
            </p:cNvPr>
            <p:cNvSpPr/>
            <p:nvPr/>
          </p:nvSpPr>
          <p:spPr>
            <a:xfrm>
              <a:off x="64845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5" name="Google Shape;9448;p65">
              <a:extLst>
                <a:ext uri="{FF2B5EF4-FFF2-40B4-BE49-F238E27FC236}">
                  <a16:creationId xmlns:a16="http://schemas.microsoft.com/office/drawing/2014/main" id="{1A6101BC-7431-53F9-FF4E-3F0B98896F61}"/>
                </a:ext>
              </a:extLst>
            </p:cNvPr>
            <p:cNvSpPr/>
            <p:nvPr/>
          </p:nvSpPr>
          <p:spPr>
            <a:xfrm>
              <a:off x="64083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6" name="Google Shape;9449;p65">
              <a:extLst>
                <a:ext uri="{FF2B5EF4-FFF2-40B4-BE49-F238E27FC236}">
                  <a16:creationId xmlns:a16="http://schemas.microsoft.com/office/drawing/2014/main" id="{1326BF46-89DD-63E5-E2CE-D7B35ED30D9C}"/>
                </a:ext>
              </a:extLst>
            </p:cNvPr>
            <p:cNvSpPr/>
            <p:nvPr/>
          </p:nvSpPr>
          <p:spPr>
            <a:xfrm>
              <a:off x="64083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7" name="Google Shape;9450;p65">
              <a:extLst>
                <a:ext uri="{FF2B5EF4-FFF2-40B4-BE49-F238E27FC236}">
                  <a16:creationId xmlns:a16="http://schemas.microsoft.com/office/drawing/2014/main" id="{97938120-33AE-E859-9A75-CC79C9DF5900}"/>
                </a:ext>
              </a:extLst>
            </p:cNvPr>
            <p:cNvSpPr/>
            <p:nvPr/>
          </p:nvSpPr>
          <p:spPr>
            <a:xfrm>
              <a:off x="63323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8" name="Google Shape;9451;p65">
              <a:extLst>
                <a:ext uri="{FF2B5EF4-FFF2-40B4-BE49-F238E27FC236}">
                  <a16:creationId xmlns:a16="http://schemas.microsoft.com/office/drawing/2014/main" id="{61C05051-38E0-229B-7594-A8BE6E49F533}"/>
                </a:ext>
              </a:extLst>
            </p:cNvPr>
            <p:cNvSpPr/>
            <p:nvPr/>
          </p:nvSpPr>
          <p:spPr>
            <a:xfrm>
              <a:off x="63323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19" name="Google Shape;9452;p65">
              <a:extLst>
                <a:ext uri="{FF2B5EF4-FFF2-40B4-BE49-F238E27FC236}">
                  <a16:creationId xmlns:a16="http://schemas.microsoft.com/office/drawing/2014/main" id="{5D02B32D-D484-699A-5DF6-A7CED4BFEE67}"/>
                </a:ext>
              </a:extLst>
            </p:cNvPr>
            <p:cNvSpPr/>
            <p:nvPr/>
          </p:nvSpPr>
          <p:spPr>
            <a:xfrm>
              <a:off x="70940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0" name="Google Shape;9453;p65">
              <a:extLst>
                <a:ext uri="{FF2B5EF4-FFF2-40B4-BE49-F238E27FC236}">
                  <a16:creationId xmlns:a16="http://schemas.microsoft.com/office/drawing/2014/main" id="{0BA6167F-7EDD-E943-119E-0240729BC082}"/>
                </a:ext>
              </a:extLst>
            </p:cNvPr>
            <p:cNvSpPr/>
            <p:nvPr/>
          </p:nvSpPr>
          <p:spPr>
            <a:xfrm>
              <a:off x="7017875" y="43898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1" name="Google Shape;9454;p65">
              <a:extLst>
                <a:ext uri="{FF2B5EF4-FFF2-40B4-BE49-F238E27FC236}">
                  <a16:creationId xmlns:a16="http://schemas.microsoft.com/office/drawing/2014/main" id="{A4745BDD-421F-65F5-4B7D-BE931B65ABB0}"/>
                </a:ext>
              </a:extLst>
            </p:cNvPr>
            <p:cNvSpPr/>
            <p:nvPr/>
          </p:nvSpPr>
          <p:spPr>
            <a:xfrm>
              <a:off x="7017875" y="43136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2" name="Google Shape;9455;p65">
              <a:extLst>
                <a:ext uri="{FF2B5EF4-FFF2-40B4-BE49-F238E27FC236}">
                  <a16:creationId xmlns:a16="http://schemas.microsoft.com/office/drawing/2014/main" id="{69AE6367-4EDC-D97E-7087-EDF8A4A8F1A1}"/>
                </a:ext>
              </a:extLst>
            </p:cNvPr>
            <p:cNvSpPr/>
            <p:nvPr/>
          </p:nvSpPr>
          <p:spPr>
            <a:xfrm>
              <a:off x="69418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3" name="Google Shape;9456;p65">
              <a:extLst>
                <a:ext uri="{FF2B5EF4-FFF2-40B4-BE49-F238E27FC236}">
                  <a16:creationId xmlns:a16="http://schemas.microsoft.com/office/drawing/2014/main" id="{CAFF9EFC-123D-4476-0CB7-40AAB1A7AA1D}"/>
                </a:ext>
              </a:extLst>
            </p:cNvPr>
            <p:cNvSpPr/>
            <p:nvPr/>
          </p:nvSpPr>
          <p:spPr>
            <a:xfrm>
              <a:off x="648457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4" name="Google Shape;9457;p65">
              <a:extLst>
                <a:ext uri="{FF2B5EF4-FFF2-40B4-BE49-F238E27FC236}">
                  <a16:creationId xmlns:a16="http://schemas.microsoft.com/office/drawing/2014/main" id="{42867D46-B48C-22DC-F4B8-AC0E6D109C9A}"/>
                </a:ext>
              </a:extLst>
            </p:cNvPr>
            <p:cNvSpPr/>
            <p:nvPr/>
          </p:nvSpPr>
          <p:spPr>
            <a:xfrm>
              <a:off x="6560800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5" name="Google Shape;9458;p65">
              <a:extLst>
                <a:ext uri="{FF2B5EF4-FFF2-40B4-BE49-F238E27FC236}">
                  <a16:creationId xmlns:a16="http://schemas.microsoft.com/office/drawing/2014/main" id="{870B1E22-D678-AE89-AA5E-A8BF9928EDFF}"/>
                </a:ext>
              </a:extLst>
            </p:cNvPr>
            <p:cNvSpPr/>
            <p:nvPr/>
          </p:nvSpPr>
          <p:spPr>
            <a:xfrm>
              <a:off x="6560800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6" name="Google Shape;9459;p65">
              <a:extLst>
                <a:ext uri="{FF2B5EF4-FFF2-40B4-BE49-F238E27FC236}">
                  <a16:creationId xmlns:a16="http://schemas.microsoft.com/office/drawing/2014/main" id="{FD299DD5-907C-2BB5-FA9C-B7E3031EB426}"/>
                </a:ext>
              </a:extLst>
            </p:cNvPr>
            <p:cNvSpPr/>
            <p:nvPr/>
          </p:nvSpPr>
          <p:spPr>
            <a:xfrm>
              <a:off x="656080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7" name="Google Shape;9460;p65">
              <a:extLst>
                <a:ext uri="{FF2B5EF4-FFF2-40B4-BE49-F238E27FC236}">
                  <a16:creationId xmlns:a16="http://schemas.microsoft.com/office/drawing/2014/main" id="{42D5AE3D-9D55-B386-C769-D3B64E364DB6}"/>
                </a:ext>
              </a:extLst>
            </p:cNvPr>
            <p:cNvSpPr/>
            <p:nvPr/>
          </p:nvSpPr>
          <p:spPr>
            <a:xfrm>
              <a:off x="6560800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8" name="Google Shape;9461;p65">
              <a:extLst>
                <a:ext uri="{FF2B5EF4-FFF2-40B4-BE49-F238E27FC236}">
                  <a16:creationId xmlns:a16="http://schemas.microsoft.com/office/drawing/2014/main" id="{E5F68C88-BC2D-3162-0077-E87AEF03B5A4}"/>
                </a:ext>
              </a:extLst>
            </p:cNvPr>
            <p:cNvSpPr/>
            <p:nvPr/>
          </p:nvSpPr>
          <p:spPr>
            <a:xfrm>
              <a:off x="6560800" y="39328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29" name="Google Shape;9462;p65">
              <a:extLst>
                <a:ext uri="{FF2B5EF4-FFF2-40B4-BE49-F238E27FC236}">
                  <a16:creationId xmlns:a16="http://schemas.microsoft.com/office/drawing/2014/main" id="{D0C88674-A9B4-5738-33B4-21BFAC9CB224}"/>
                </a:ext>
              </a:extLst>
            </p:cNvPr>
            <p:cNvSpPr/>
            <p:nvPr/>
          </p:nvSpPr>
          <p:spPr>
            <a:xfrm>
              <a:off x="65608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0" name="Google Shape;9463;p65">
              <a:extLst>
                <a:ext uri="{FF2B5EF4-FFF2-40B4-BE49-F238E27FC236}">
                  <a16:creationId xmlns:a16="http://schemas.microsoft.com/office/drawing/2014/main" id="{32CAADE4-3F48-85C4-F252-B5E1A5A5121C}"/>
                </a:ext>
              </a:extLst>
            </p:cNvPr>
            <p:cNvSpPr/>
            <p:nvPr/>
          </p:nvSpPr>
          <p:spPr>
            <a:xfrm>
              <a:off x="65608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1" name="Google Shape;9464;p65">
              <a:extLst>
                <a:ext uri="{FF2B5EF4-FFF2-40B4-BE49-F238E27FC236}">
                  <a16:creationId xmlns:a16="http://schemas.microsoft.com/office/drawing/2014/main" id="{0611A14A-4C65-43ED-373A-389AB95E2DF2}"/>
                </a:ext>
              </a:extLst>
            </p:cNvPr>
            <p:cNvSpPr/>
            <p:nvPr/>
          </p:nvSpPr>
          <p:spPr>
            <a:xfrm>
              <a:off x="648457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2" name="Google Shape;9465;p65">
              <a:extLst>
                <a:ext uri="{FF2B5EF4-FFF2-40B4-BE49-F238E27FC236}">
                  <a16:creationId xmlns:a16="http://schemas.microsoft.com/office/drawing/2014/main" id="{01CBCA6D-AE5C-3D9F-7818-DBA04C0FCEBD}"/>
                </a:ext>
              </a:extLst>
            </p:cNvPr>
            <p:cNvSpPr/>
            <p:nvPr/>
          </p:nvSpPr>
          <p:spPr>
            <a:xfrm>
              <a:off x="64845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3" name="Google Shape;9466;p65">
              <a:extLst>
                <a:ext uri="{FF2B5EF4-FFF2-40B4-BE49-F238E27FC236}">
                  <a16:creationId xmlns:a16="http://schemas.microsoft.com/office/drawing/2014/main" id="{7825D962-A224-A607-D2ED-00FE12F37EC6}"/>
                </a:ext>
              </a:extLst>
            </p:cNvPr>
            <p:cNvSpPr/>
            <p:nvPr/>
          </p:nvSpPr>
          <p:spPr>
            <a:xfrm>
              <a:off x="64845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4" name="Google Shape;9467;p65">
              <a:extLst>
                <a:ext uri="{FF2B5EF4-FFF2-40B4-BE49-F238E27FC236}">
                  <a16:creationId xmlns:a16="http://schemas.microsoft.com/office/drawing/2014/main" id="{296908F2-E091-2220-E4F9-C7BE253301E0}"/>
                </a:ext>
              </a:extLst>
            </p:cNvPr>
            <p:cNvSpPr/>
            <p:nvPr/>
          </p:nvSpPr>
          <p:spPr>
            <a:xfrm>
              <a:off x="6408350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5" name="Google Shape;9468;p65">
              <a:extLst>
                <a:ext uri="{FF2B5EF4-FFF2-40B4-BE49-F238E27FC236}">
                  <a16:creationId xmlns:a16="http://schemas.microsoft.com/office/drawing/2014/main" id="{F37E2970-FC30-4538-1C07-CF0F74A92963}"/>
                </a:ext>
              </a:extLst>
            </p:cNvPr>
            <p:cNvSpPr/>
            <p:nvPr/>
          </p:nvSpPr>
          <p:spPr>
            <a:xfrm>
              <a:off x="6408350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6" name="Google Shape;9469;p65">
              <a:extLst>
                <a:ext uri="{FF2B5EF4-FFF2-40B4-BE49-F238E27FC236}">
                  <a16:creationId xmlns:a16="http://schemas.microsoft.com/office/drawing/2014/main" id="{F6F2AB1D-5D9D-A90A-3ABD-FAC45EC2E20F}"/>
                </a:ext>
              </a:extLst>
            </p:cNvPr>
            <p:cNvSpPr/>
            <p:nvPr/>
          </p:nvSpPr>
          <p:spPr>
            <a:xfrm>
              <a:off x="6408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7" name="Google Shape;9470;p65">
              <a:extLst>
                <a:ext uri="{FF2B5EF4-FFF2-40B4-BE49-F238E27FC236}">
                  <a16:creationId xmlns:a16="http://schemas.microsoft.com/office/drawing/2014/main" id="{260FAF12-A14B-34A3-2643-911E3BB7350A}"/>
                </a:ext>
              </a:extLst>
            </p:cNvPr>
            <p:cNvSpPr/>
            <p:nvPr/>
          </p:nvSpPr>
          <p:spPr>
            <a:xfrm>
              <a:off x="64083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8" name="Google Shape;9471;p65">
              <a:extLst>
                <a:ext uri="{FF2B5EF4-FFF2-40B4-BE49-F238E27FC236}">
                  <a16:creationId xmlns:a16="http://schemas.microsoft.com/office/drawing/2014/main" id="{10E61E1F-A04B-2C70-B652-823B39C8B869}"/>
                </a:ext>
              </a:extLst>
            </p:cNvPr>
            <p:cNvSpPr/>
            <p:nvPr/>
          </p:nvSpPr>
          <p:spPr>
            <a:xfrm>
              <a:off x="6332350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39" name="Google Shape;9472;p65">
              <a:extLst>
                <a:ext uri="{FF2B5EF4-FFF2-40B4-BE49-F238E27FC236}">
                  <a16:creationId xmlns:a16="http://schemas.microsoft.com/office/drawing/2014/main" id="{B7C810A6-17A0-2DC0-2258-74333F0F3653}"/>
                </a:ext>
              </a:extLst>
            </p:cNvPr>
            <p:cNvSpPr/>
            <p:nvPr/>
          </p:nvSpPr>
          <p:spPr>
            <a:xfrm>
              <a:off x="63323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0" name="Google Shape;9473;p65">
              <a:extLst>
                <a:ext uri="{FF2B5EF4-FFF2-40B4-BE49-F238E27FC236}">
                  <a16:creationId xmlns:a16="http://schemas.microsoft.com/office/drawing/2014/main" id="{256CCE5C-85EE-21FC-BE49-2DA3B7FC3D8F}"/>
                </a:ext>
              </a:extLst>
            </p:cNvPr>
            <p:cNvSpPr/>
            <p:nvPr/>
          </p:nvSpPr>
          <p:spPr>
            <a:xfrm>
              <a:off x="63323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1" name="Google Shape;9474;p65">
              <a:extLst>
                <a:ext uri="{FF2B5EF4-FFF2-40B4-BE49-F238E27FC236}">
                  <a16:creationId xmlns:a16="http://schemas.microsoft.com/office/drawing/2014/main" id="{6348A3F0-D029-D2D4-2DB1-C9DF7D0DC5F9}"/>
                </a:ext>
              </a:extLst>
            </p:cNvPr>
            <p:cNvSpPr/>
            <p:nvPr/>
          </p:nvSpPr>
          <p:spPr>
            <a:xfrm>
              <a:off x="63323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2" name="Google Shape;9475;p65">
              <a:extLst>
                <a:ext uri="{FF2B5EF4-FFF2-40B4-BE49-F238E27FC236}">
                  <a16:creationId xmlns:a16="http://schemas.microsoft.com/office/drawing/2014/main" id="{F7C57A4F-3883-D046-0813-1D37FFDFA9C9}"/>
                </a:ext>
              </a:extLst>
            </p:cNvPr>
            <p:cNvSpPr/>
            <p:nvPr/>
          </p:nvSpPr>
          <p:spPr>
            <a:xfrm>
              <a:off x="6256150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3" name="Google Shape;9476;p65">
              <a:extLst>
                <a:ext uri="{FF2B5EF4-FFF2-40B4-BE49-F238E27FC236}">
                  <a16:creationId xmlns:a16="http://schemas.microsoft.com/office/drawing/2014/main" id="{F616C317-2B95-AFA8-5B2B-A29C04A83592}"/>
                </a:ext>
              </a:extLst>
            </p:cNvPr>
            <p:cNvSpPr/>
            <p:nvPr/>
          </p:nvSpPr>
          <p:spPr>
            <a:xfrm>
              <a:off x="62561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4" name="Google Shape;9477;p65">
              <a:extLst>
                <a:ext uri="{FF2B5EF4-FFF2-40B4-BE49-F238E27FC236}">
                  <a16:creationId xmlns:a16="http://schemas.microsoft.com/office/drawing/2014/main" id="{00931FAD-093D-3E36-4444-6FCDCD1ED98B}"/>
                </a:ext>
              </a:extLst>
            </p:cNvPr>
            <p:cNvSpPr/>
            <p:nvPr/>
          </p:nvSpPr>
          <p:spPr>
            <a:xfrm>
              <a:off x="62561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5" name="Google Shape;9478;p65">
              <a:extLst>
                <a:ext uri="{FF2B5EF4-FFF2-40B4-BE49-F238E27FC236}">
                  <a16:creationId xmlns:a16="http://schemas.microsoft.com/office/drawing/2014/main" id="{B0EAC168-7C9E-F8FB-1F83-4E30FFE540DD}"/>
                </a:ext>
              </a:extLst>
            </p:cNvPr>
            <p:cNvSpPr/>
            <p:nvPr/>
          </p:nvSpPr>
          <p:spPr>
            <a:xfrm>
              <a:off x="61799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6" name="Google Shape;9479;p65">
              <a:extLst>
                <a:ext uri="{FF2B5EF4-FFF2-40B4-BE49-F238E27FC236}">
                  <a16:creationId xmlns:a16="http://schemas.microsoft.com/office/drawing/2014/main" id="{26739568-DE68-A1F5-8519-0AA5F7100136}"/>
                </a:ext>
              </a:extLst>
            </p:cNvPr>
            <p:cNvSpPr/>
            <p:nvPr/>
          </p:nvSpPr>
          <p:spPr>
            <a:xfrm>
              <a:off x="6179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7" name="Google Shape;9480;p65">
              <a:extLst>
                <a:ext uri="{FF2B5EF4-FFF2-40B4-BE49-F238E27FC236}">
                  <a16:creationId xmlns:a16="http://schemas.microsoft.com/office/drawing/2014/main" id="{31FD4C7B-407B-105E-C80E-670CB296CE8D}"/>
                </a:ext>
              </a:extLst>
            </p:cNvPr>
            <p:cNvSpPr/>
            <p:nvPr/>
          </p:nvSpPr>
          <p:spPr>
            <a:xfrm>
              <a:off x="61037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97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8" name="Google Shape;9481;p65">
              <a:extLst>
                <a:ext uri="{FF2B5EF4-FFF2-40B4-BE49-F238E27FC236}">
                  <a16:creationId xmlns:a16="http://schemas.microsoft.com/office/drawing/2014/main" id="{F60593E1-682C-E9D8-F85D-FAFAE4BD9F83}"/>
                </a:ext>
              </a:extLst>
            </p:cNvPr>
            <p:cNvSpPr/>
            <p:nvPr/>
          </p:nvSpPr>
          <p:spPr>
            <a:xfrm>
              <a:off x="61037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49" name="Google Shape;9482;p65">
              <a:extLst>
                <a:ext uri="{FF2B5EF4-FFF2-40B4-BE49-F238E27FC236}">
                  <a16:creationId xmlns:a16="http://schemas.microsoft.com/office/drawing/2014/main" id="{272591E2-CBE5-B230-7C40-C131EC01AFAD}"/>
                </a:ext>
              </a:extLst>
            </p:cNvPr>
            <p:cNvSpPr/>
            <p:nvPr/>
          </p:nvSpPr>
          <p:spPr>
            <a:xfrm>
              <a:off x="602750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1"/>
                  </a:cubicBezTo>
                  <a:cubicBezTo>
                    <a:pt x="2496" y="1147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0" name="Google Shape;9483;p65">
              <a:extLst>
                <a:ext uri="{FF2B5EF4-FFF2-40B4-BE49-F238E27FC236}">
                  <a16:creationId xmlns:a16="http://schemas.microsoft.com/office/drawing/2014/main" id="{DB483AFE-2AC0-1D82-3725-A45AC8EA4697}"/>
                </a:ext>
              </a:extLst>
            </p:cNvPr>
            <p:cNvSpPr/>
            <p:nvPr/>
          </p:nvSpPr>
          <p:spPr>
            <a:xfrm>
              <a:off x="60275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6" y="1146"/>
                    <a:pt x="2025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1" name="Google Shape;9484;p65">
              <a:extLst>
                <a:ext uri="{FF2B5EF4-FFF2-40B4-BE49-F238E27FC236}">
                  <a16:creationId xmlns:a16="http://schemas.microsoft.com/office/drawing/2014/main" id="{1A55B668-60C5-2AAD-78B1-EE841A978603}"/>
                </a:ext>
              </a:extLst>
            </p:cNvPr>
            <p:cNvSpPr/>
            <p:nvPr/>
          </p:nvSpPr>
          <p:spPr>
            <a:xfrm>
              <a:off x="602750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2" name="Google Shape;9485;p65">
              <a:extLst>
                <a:ext uri="{FF2B5EF4-FFF2-40B4-BE49-F238E27FC236}">
                  <a16:creationId xmlns:a16="http://schemas.microsoft.com/office/drawing/2014/main" id="{AF625D24-1E65-C38F-8C4D-FEBACD715B7C}"/>
                </a:ext>
              </a:extLst>
            </p:cNvPr>
            <p:cNvSpPr/>
            <p:nvPr/>
          </p:nvSpPr>
          <p:spPr>
            <a:xfrm>
              <a:off x="59514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3" name="Google Shape;9486;p65">
              <a:extLst>
                <a:ext uri="{FF2B5EF4-FFF2-40B4-BE49-F238E27FC236}">
                  <a16:creationId xmlns:a16="http://schemas.microsoft.com/office/drawing/2014/main" id="{D61A4C96-A09F-3541-E331-6EC6E618004F}"/>
                </a:ext>
              </a:extLst>
            </p:cNvPr>
            <p:cNvSpPr/>
            <p:nvPr/>
          </p:nvSpPr>
          <p:spPr>
            <a:xfrm>
              <a:off x="59514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4" name="Google Shape;9487;p65">
              <a:extLst>
                <a:ext uri="{FF2B5EF4-FFF2-40B4-BE49-F238E27FC236}">
                  <a16:creationId xmlns:a16="http://schemas.microsoft.com/office/drawing/2014/main" id="{18454054-331E-92C5-3AE8-DBE6FEB365DF}"/>
                </a:ext>
              </a:extLst>
            </p:cNvPr>
            <p:cNvSpPr/>
            <p:nvPr/>
          </p:nvSpPr>
          <p:spPr>
            <a:xfrm>
              <a:off x="59514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5" name="Google Shape;9488;p65">
              <a:extLst>
                <a:ext uri="{FF2B5EF4-FFF2-40B4-BE49-F238E27FC236}">
                  <a16:creationId xmlns:a16="http://schemas.microsoft.com/office/drawing/2014/main" id="{482304E4-24FD-029B-8C3A-68B80BD6CC72}"/>
                </a:ext>
              </a:extLst>
            </p:cNvPr>
            <p:cNvSpPr/>
            <p:nvPr/>
          </p:nvSpPr>
          <p:spPr>
            <a:xfrm>
              <a:off x="5875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6" name="Google Shape;9489;p65">
              <a:extLst>
                <a:ext uri="{FF2B5EF4-FFF2-40B4-BE49-F238E27FC236}">
                  <a16:creationId xmlns:a16="http://schemas.microsoft.com/office/drawing/2014/main" id="{C8DBB753-BD6D-0416-7E5D-FAAAF196C02D}"/>
                </a:ext>
              </a:extLst>
            </p:cNvPr>
            <p:cNvSpPr/>
            <p:nvPr/>
          </p:nvSpPr>
          <p:spPr>
            <a:xfrm>
              <a:off x="5875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7" name="Google Shape;9490;p65">
              <a:extLst>
                <a:ext uri="{FF2B5EF4-FFF2-40B4-BE49-F238E27FC236}">
                  <a16:creationId xmlns:a16="http://schemas.microsoft.com/office/drawing/2014/main" id="{CE0D0899-9472-8E92-315C-5E0C247504A4}"/>
                </a:ext>
              </a:extLst>
            </p:cNvPr>
            <p:cNvSpPr/>
            <p:nvPr/>
          </p:nvSpPr>
          <p:spPr>
            <a:xfrm>
              <a:off x="587527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8" name="Google Shape;9491;p65">
              <a:extLst>
                <a:ext uri="{FF2B5EF4-FFF2-40B4-BE49-F238E27FC236}">
                  <a16:creationId xmlns:a16="http://schemas.microsoft.com/office/drawing/2014/main" id="{5A5566C1-42B7-D61F-A2AB-6F98850D9D32}"/>
                </a:ext>
              </a:extLst>
            </p:cNvPr>
            <p:cNvSpPr/>
            <p:nvPr/>
          </p:nvSpPr>
          <p:spPr>
            <a:xfrm>
              <a:off x="587527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59" name="Google Shape;9492;p65">
              <a:extLst>
                <a:ext uri="{FF2B5EF4-FFF2-40B4-BE49-F238E27FC236}">
                  <a16:creationId xmlns:a16="http://schemas.microsoft.com/office/drawing/2014/main" id="{37F70EDA-5EB7-A327-4E47-696BD8E5894E}"/>
                </a:ext>
              </a:extLst>
            </p:cNvPr>
            <p:cNvSpPr/>
            <p:nvPr/>
          </p:nvSpPr>
          <p:spPr>
            <a:xfrm>
              <a:off x="450405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0" name="Google Shape;9493;p65">
              <a:extLst>
                <a:ext uri="{FF2B5EF4-FFF2-40B4-BE49-F238E27FC236}">
                  <a16:creationId xmlns:a16="http://schemas.microsoft.com/office/drawing/2014/main" id="{8328251C-64EE-15F4-C46E-01445726C1F5}"/>
                </a:ext>
              </a:extLst>
            </p:cNvPr>
            <p:cNvSpPr/>
            <p:nvPr/>
          </p:nvSpPr>
          <p:spPr>
            <a:xfrm>
              <a:off x="450405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1" name="Google Shape;9494;p65">
              <a:extLst>
                <a:ext uri="{FF2B5EF4-FFF2-40B4-BE49-F238E27FC236}">
                  <a16:creationId xmlns:a16="http://schemas.microsoft.com/office/drawing/2014/main" id="{1D28C713-6EEE-98B8-1D77-8345502D6978}"/>
                </a:ext>
              </a:extLst>
            </p:cNvPr>
            <p:cNvSpPr/>
            <p:nvPr/>
          </p:nvSpPr>
          <p:spPr>
            <a:xfrm>
              <a:off x="450405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2" name="Google Shape;9495;p65">
              <a:extLst>
                <a:ext uri="{FF2B5EF4-FFF2-40B4-BE49-F238E27FC236}">
                  <a16:creationId xmlns:a16="http://schemas.microsoft.com/office/drawing/2014/main" id="{79EF3F65-7CDC-5F1B-417A-328AB8270603}"/>
                </a:ext>
              </a:extLst>
            </p:cNvPr>
            <p:cNvSpPr/>
            <p:nvPr/>
          </p:nvSpPr>
          <p:spPr>
            <a:xfrm>
              <a:off x="442782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3" name="Google Shape;9496;p65">
              <a:extLst>
                <a:ext uri="{FF2B5EF4-FFF2-40B4-BE49-F238E27FC236}">
                  <a16:creationId xmlns:a16="http://schemas.microsoft.com/office/drawing/2014/main" id="{328D37FA-377C-B946-BF7D-D50A9E548E5E}"/>
                </a:ext>
              </a:extLst>
            </p:cNvPr>
            <p:cNvSpPr/>
            <p:nvPr/>
          </p:nvSpPr>
          <p:spPr>
            <a:xfrm>
              <a:off x="4427825" y="3856775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4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4" name="Google Shape;9497;p65">
              <a:extLst>
                <a:ext uri="{FF2B5EF4-FFF2-40B4-BE49-F238E27FC236}">
                  <a16:creationId xmlns:a16="http://schemas.microsoft.com/office/drawing/2014/main" id="{06AB04FB-1E7E-AAFC-C442-9E8BB14D8A77}"/>
                </a:ext>
              </a:extLst>
            </p:cNvPr>
            <p:cNvSpPr/>
            <p:nvPr/>
          </p:nvSpPr>
          <p:spPr>
            <a:xfrm>
              <a:off x="44278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5" name="Google Shape;9498;p65">
              <a:extLst>
                <a:ext uri="{FF2B5EF4-FFF2-40B4-BE49-F238E27FC236}">
                  <a16:creationId xmlns:a16="http://schemas.microsoft.com/office/drawing/2014/main" id="{33D22771-A6DD-9C33-833F-1D09CB2CEBCF}"/>
                </a:ext>
              </a:extLst>
            </p:cNvPr>
            <p:cNvSpPr/>
            <p:nvPr/>
          </p:nvSpPr>
          <p:spPr>
            <a:xfrm>
              <a:off x="4351600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6" name="Google Shape;9499;p65">
              <a:extLst>
                <a:ext uri="{FF2B5EF4-FFF2-40B4-BE49-F238E27FC236}">
                  <a16:creationId xmlns:a16="http://schemas.microsoft.com/office/drawing/2014/main" id="{F257CBEC-44AF-BEA7-D3F3-9E4AED61BFFE}"/>
                </a:ext>
              </a:extLst>
            </p:cNvPr>
            <p:cNvSpPr/>
            <p:nvPr/>
          </p:nvSpPr>
          <p:spPr>
            <a:xfrm>
              <a:off x="43516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7" name="Google Shape;9500;p65">
              <a:extLst>
                <a:ext uri="{FF2B5EF4-FFF2-40B4-BE49-F238E27FC236}">
                  <a16:creationId xmlns:a16="http://schemas.microsoft.com/office/drawing/2014/main" id="{64F63349-3611-71B0-B4F9-C24BCEBCD02A}"/>
                </a:ext>
              </a:extLst>
            </p:cNvPr>
            <p:cNvSpPr/>
            <p:nvPr/>
          </p:nvSpPr>
          <p:spPr>
            <a:xfrm>
              <a:off x="39709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8" name="Google Shape;9501;p65">
              <a:extLst>
                <a:ext uri="{FF2B5EF4-FFF2-40B4-BE49-F238E27FC236}">
                  <a16:creationId xmlns:a16="http://schemas.microsoft.com/office/drawing/2014/main" id="{46FF1F4F-2E2C-605B-6B8B-3E376F13DE75}"/>
                </a:ext>
              </a:extLst>
            </p:cNvPr>
            <p:cNvSpPr/>
            <p:nvPr/>
          </p:nvSpPr>
          <p:spPr>
            <a:xfrm>
              <a:off x="39709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69" name="Google Shape;9502;p65">
              <a:extLst>
                <a:ext uri="{FF2B5EF4-FFF2-40B4-BE49-F238E27FC236}">
                  <a16:creationId xmlns:a16="http://schemas.microsoft.com/office/drawing/2014/main" id="{E077AFCE-7728-8287-44B3-B82420AD46D2}"/>
                </a:ext>
              </a:extLst>
            </p:cNvPr>
            <p:cNvSpPr/>
            <p:nvPr/>
          </p:nvSpPr>
          <p:spPr>
            <a:xfrm>
              <a:off x="39709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0" name="Google Shape;9503;p65">
              <a:extLst>
                <a:ext uri="{FF2B5EF4-FFF2-40B4-BE49-F238E27FC236}">
                  <a16:creationId xmlns:a16="http://schemas.microsoft.com/office/drawing/2014/main" id="{EC07F0FE-E0D4-E724-A4BC-C4BDFBA63781}"/>
                </a:ext>
              </a:extLst>
            </p:cNvPr>
            <p:cNvSpPr/>
            <p:nvPr/>
          </p:nvSpPr>
          <p:spPr>
            <a:xfrm>
              <a:off x="39709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1" name="Google Shape;9504;p65">
              <a:extLst>
                <a:ext uri="{FF2B5EF4-FFF2-40B4-BE49-F238E27FC236}">
                  <a16:creationId xmlns:a16="http://schemas.microsoft.com/office/drawing/2014/main" id="{029607B6-EAB4-ECD0-54C7-2476486F01E5}"/>
                </a:ext>
              </a:extLst>
            </p:cNvPr>
            <p:cNvSpPr/>
            <p:nvPr/>
          </p:nvSpPr>
          <p:spPr>
            <a:xfrm>
              <a:off x="39709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2" name="Google Shape;9505;p65">
              <a:extLst>
                <a:ext uri="{FF2B5EF4-FFF2-40B4-BE49-F238E27FC236}">
                  <a16:creationId xmlns:a16="http://schemas.microsoft.com/office/drawing/2014/main" id="{F69816D1-FD01-E382-FD70-802540DAC7AF}"/>
                </a:ext>
              </a:extLst>
            </p:cNvPr>
            <p:cNvSpPr/>
            <p:nvPr/>
          </p:nvSpPr>
          <p:spPr>
            <a:xfrm>
              <a:off x="3970950" y="31710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3" name="Google Shape;9506;p65">
              <a:extLst>
                <a:ext uri="{FF2B5EF4-FFF2-40B4-BE49-F238E27FC236}">
                  <a16:creationId xmlns:a16="http://schemas.microsoft.com/office/drawing/2014/main" id="{5E8AC98F-C2EB-4F9C-D047-1777B8C07AB6}"/>
                </a:ext>
              </a:extLst>
            </p:cNvPr>
            <p:cNvSpPr/>
            <p:nvPr/>
          </p:nvSpPr>
          <p:spPr>
            <a:xfrm>
              <a:off x="397095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4" name="Google Shape;9507;p65">
              <a:extLst>
                <a:ext uri="{FF2B5EF4-FFF2-40B4-BE49-F238E27FC236}">
                  <a16:creationId xmlns:a16="http://schemas.microsoft.com/office/drawing/2014/main" id="{A4179C79-E444-F18F-B738-525684C4A9B7}"/>
                </a:ext>
              </a:extLst>
            </p:cNvPr>
            <p:cNvSpPr/>
            <p:nvPr/>
          </p:nvSpPr>
          <p:spPr>
            <a:xfrm>
              <a:off x="397095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5" name="Google Shape;9508;p65">
              <a:extLst>
                <a:ext uri="{FF2B5EF4-FFF2-40B4-BE49-F238E27FC236}">
                  <a16:creationId xmlns:a16="http://schemas.microsoft.com/office/drawing/2014/main" id="{809D3153-CA3D-C6EB-0DB0-BAC976F4D98C}"/>
                </a:ext>
              </a:extLst>
            </p:cNvPr>
            <p:cNvSpPr/>
            <p:nvPr/>
          </p:nvSpPr>
          <p:spPr>
            <a:xfrm>
              <a:off x="397095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6" name="Google Shape;9509;p65">
              <a:extLst>
                <a:ext uri="{FF2B5EF4-FFF2-40B4-BE49-F238E27FC236}">
                  <a16:creationId xmlns:a16="http://schemas.microsoft.com/office/drawing/2014/main" id="{ACCF6754-579A-6646-CB92-C3ED35AEA951}"/>
                </a:ext>
              </a:extLst>
            </p:cNvPr>
            <p:cNvSpPr/>
            <p:nvPr/>
          </p:nvSpPr>
          <p:spPr>
            <a:xfrm>
              <a:off x="39709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7" name="Google Shape;9510;p65">
              <a:extLst>
                <a:ext uri="{FF2B5EF4-FFF2-40B4-BE49-F238E27FC236}">
                  <a16:creationId xmlns:a16="http://schemas.microsoft.com/office/drawing/2014/main" id="{57112BB5-F6A2-9478-136B-2414D6893F69}"/>
                </a:ext>
              </a:extLst>
            </p:cNvPr>
            <p:cNvSpPr/>
            <p:nvPr/>
          </p:nvSpPr>
          <p:spPr>
            <a:xfrm>
              <a:off x="397095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8" name="Google Shape;9511;p65">
              <a:extLst>
                <a:ext uri="{FF2B5EF4-FFF2-40B4-BE49-F238E27FC236}">
                  <a16:creationId xmlns:a16="http://schemas.microsoft.com/office/drawing/2014/main" id="{EB0A735D-6690-EEE2-56D4-B4E7FCE8493A}"/>
                </a:ext>
              </a:extLst>
            </p:cNvPr>
            <p:cNvSpPr/>
            <p:nvPr/>
          </p:nvSpPr>
          <p:spPr>
            <a:xfrm>
              <a:off x="39709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79" name="Google Shape;9512;p65">
              <a:extLst>
                <a:ext uri="{FF2B5EF4-FFF2-40B4-BE49-F238E27FC236}">
                  <a16:creationId xmlns:a16="http://schemas.microsoft.com/office/drawing/2014/main" id="{60E760FF-B7F8-11FA-6F97-BCFD060AC55C}"/>
                </a:ext>
              </a:extLst>
            </p:cNvPr>
            <p:cNvSpPr/>
            <p:nvPr/>
          </p:nvSpPr>
          <p:spPr>
            <a:xfrm>
              <a:off x="39709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0" name="Google Shape;9513;p65">
              <a:extLst>
                <a:ext uri="{FF2B5EF4-FFF2-40B4-BE49-F238E27FC236}">
                  <a16:creationId xmlns:a16="http://schemas.microsoft.com/office/drawing/2014/main" id="{C4BF0D1E-E868-5C05-4091-1A54597D5F4E}"/>
                </a:ext>
              </a:extLst>
            </p:cNvPr>
            <p:cNvSpPr/>
            <p:nvPr/>
          </p:nvSpPr>
          <p:spPr>
            <a:xfrm>
              <a:off x="3970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1" name="Google Shape;9514;p65">
              <a:extLst>
                <a:ext uri="{FF2B5EF4-FFF2-40B4-BE49-F238E27FC236}">
                  <a16:creationId xmlns:a16="http://schemas.microsoft.com/office/drawing/2014/main" id="{3EF3CBEE-CF74-43A6-C6E6-33E55658A46A}"/>
                </a:ext>
              </a:extLst>
            </p:cNvPr>
            <p:cNvSpPr/>
            <p:nvPr/>
          </p:nvSpPr>
          <p:spPr>
            <a:xfrm>
              <a:off x="3970950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2" name="Google Shape;9515;p65">
              <a:extLst>
                <a:ext uri="{FF2B5EF4-FFF2-40B4-BE49-F238E27FC236}">
                  <a16:creationId xmlns:a16="http://schemas.microsoft.com/office/drawing/2014/main" id="{9A0594DC-73FE-245A-3B98-F7D0FFF7C37F}"/>
                </a:ext>
              </a:extLst>
            </p:cNvPr>
            <p:cNvSpPr/>
            <p:nvPr/>
          </p:nvSpPr>
          <p:spPr>
            <a:xfrm>
              <a:off x="39709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3" name="Google Shape;9516;p65">
              <a:extLst>
                <a:ext uri="{FF2B5EF4-FFF2-40B4-BE49-F238E27FC236}">
                  <a16:creationId xmlns:a16="http://schemas.microsoft.com/office/drawing/2014/main" id="{E13FF9B3-D15C-A9D8-277A-C0F62DED070A}"/>
                </a:ext>
              </a:extLst>
            </p:cNvPr>
            <p:cNvSpPr/>
            <p:nvPr/>
          </p:nvSpPr>
          <p:spPr>
            <a:xfrm>
              <a:off x="40469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4" name="Google Shape;9517;p65">
              <a:extLst>
                <a:ext uri="{FF2B5EF4-FFF2-40B4-BE49-F238E27FC236}">
                  <a16:creationId xmlns:a16="http://schemas.microsoft.com/office/drawing/2014/main" id="{2137C9B5-1C89-B814-EE62-E50DB8A87B1D}"/>
                </a:ext>
              </a:extLst>
            </p:cNvPr>
            <p:cNvSpPr/>
            <p:nvPr/>
          </p:nvSpPr>
          <p:spPr>
            <a:xfrm>
              <a:off x="40469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5" name="Google Shape;9518;p65">
              <a:extLst>
                <a:ext uri="{FF2B5EF4-FFF2-40B4-BE49-F238E27FC236}">
                  <a16:creationId xmlns:a16="http://schemas.microsoft.com/office/drawing/2014/main" id="{606C8BDC-2608-CA0D-2E86-74F72E81BAA9}"/>
                </a:ext>
              </a:extLst>
            </p:cNvPr>
            <p:cNvSpPr/>
            <p:nvPr/>
          </p:nvSpPr>
          <p:spPr>
            <a:xfrm>
              <a:off x="40469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6" name="Google Shape;9519;p65">
              <a:extLst>
                <a:ext uri="{FF2B5EF4-FFF2-40B4-BE49-F238E27FC236}">
                  <a16:creationId xmlns:a16="http://schemas.microsoft.com/office/drawing/2014/main" id="{771D4214-9B25-9E45-9E2A-EA16AC0E9BA2}"/>
                </a:ext>
              </a:extLst>
            </p:cNvPr>
            <p:cNvSpPr/>
            <p:nvPr/>
          </p:nvSpPr>
          <p:spPr>
            <a:xfrm>
              <a:off x="40469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7" name="Google Shape;9520;p65">
              <a:extLst>
                <a:ext uri="{FF2B5EF4-FFF2-40B4-BE49-F238E27FC236}">
                  <a16:creationId xmlns:a16="http://schemas.microsoft.com/office/drawing/2014/main" id="{4A10A26E-DA3A-1C17-5799-7184AA3250D9}"/>
                </a:ext>
              </a:extLst>
            </p:cNvPr>
            <p:cNvSpPr/>
            <p:nvPr/>
          </p:nvSpPr>
          <p:spPr>
            <a:xfrm>
              <a:off x="40469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8" name="Google Shape;9521;p65">
              <a:extLst>
                <a:ext uri="{FF2B5EF4-FFF2-40B4-BE49-F238E27FC236}">
                  <a16:creationId xmlns:a16="http://schemas.microsoft.com/office/drawing/2014/main" id="{348586FE-AA82-708D-A666-E985F81D697A}"/>
                </a:ext>
              </a:extLst>
            </p:cNvPr>
            <p:cNvSpPr/>
            <p:nvPr/>
          </p:nvSpPr>
          <p:spPr>
            <a:xfrm>
              <a:off x="40469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89" name="Google Shape;9522;p65">
              <a:extLst>
                <a:ext uri="{FF2B5EF4-FFF2-40B4-BE49-F238E27FC236}">
                  <a16:creationId xmlns:a16="http://schemas.microsoft.com/office/drawing/2014/main" id="{335C930D-BAC0-6320-6576-3A65DA2A38B9}"/>
                </a:ext>
              </a:extLst>
            </p:cNvPr>
            <p:cNvSpPr/>
            <p:nvPr/>
          </p:nvSpPr>
          <p:spPr>
            <a:xfrm>
              <a:off x="40469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0" name="Google Shape;9523;p65">
              <a:extLst>
                <a:ext uri="{FF2B5EF4-FFF2-40B4-BE49-F238E27FC236}">
                  <a16:creationId xmlns:a16="http://schemas.microsoft.com/office/drawing/2014/main" id="{7B1F3739-2776-E5F7-20C9-A00939CA6BBA}"/>
                </a:ext>
              </a:extLst>
            </p:cNvPr>
            <p:cNvSpPr/>
            <p:nvPr/>
          </p:nvSpPr>
          <p:spPr>
            <a:xfrm>
              <a:off x="40469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1" name="Google Shape;9524;p65">
              <a:extLst>
                <a:ext uri="{FF2B5EF4-FFF2-40B4-BE49-F238E27FC236}">
                  <a16:creationId xmlns:a16="http://schemas.microsoft.com/office/drawing/2014/main" id="{F57CA572-0C09-F66F-8683-C6004182FE43}"/>
                </a:ext>
              </a:extLst>
            </p:cNvPr>
            <p:cNvSpPr/>
            <p:nvPr/>
          </p:nvSpPr>
          <p:spPr>
            <a:xfrm>
              <a:off x="40469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2" name="Google Shape;9525;p65">
              <a:extLst>
                <a:ext uri="{FF2B5EF4-FFF2-40B4-BE49-F238E27FC236}">
                  <a16:creationId xmlns:a16="http://schemas.microsoft.com/office/drawing/2014/main" id="{147ECC46-B080-C27E-6527-51B93F83DD8C}"/>
                </a:ext>
              </a:extLst>
            </p:cNvPr>
            <p:cNvSpPr/>
            <p:nvPr/>
          </p:nvSpPr>
          <p:spPr>
            <a:xfrm>
              <a:off x="4046950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3" name="Google Shape;9526;p65">
              <a:extLst>
                <a:ext uri="{FF2B5EF4-FFF2-40B4-BE49-F238E27FC236}">
                  <a16:creationId xmlns:a16="http://schemas.microsoft.com/office/drawing/2014/main" id="{8A47287F-4A72-F2F3-B5A0-299BED25F9D3}"/>
                </a:ext>
              </a:extLst>
            </p:cNvPr>
            <p:cNvSpPr/>
            <p:nvPr/>
          </p:nvSpPr>
          <p:spPr>
            <a:xfrm>
              <a:off x="404695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4" name="Google Shape;9527;p65">
              <a:extLst>
                <a:ext uri="{FF2B5EF4-FFF2-40B4-BE49-F238E27FC236}">
                  <a16:creationId xmlns:a16="http://schemas.microsoft.com/office/drawing/2014/main" id="{20150BA3-F3E8-3C81-78EE-83DEAB27FCA0}"/>
                </a:ext>
              </a:extLst>
            </p:cNvPr>
            <p:cNvSpPr/>
            <p:nvPr/>
          </p:nvSpPr>
          <p:spPr>
            <a:xfrm>
              <a:off x="4046950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5" name="Google Shape;9528;p65">
              <a:extLst>
                <a:ext uri="{FF2B5EF4-FFF2-40B4-BE49-F238E27FC236}">
                  <a16:creationId xmlns:a16="http://schemas.microsoft.com/office/drawing/2014/main" id="{5F540F82-9E5A-06DA-79C3-308B5E7722FD}"/>
                </a:ext>
              </a:extLst>
            </p:cNvPr>
            <p:cNvSpPr/>
            <p:nvPr/>
          </p:nvSpPr>
          <p:spPr>
            <a:xfrm>
              <a:off x="4046950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6" name="Google Shape;9529;p65">
              <a:extLst>
                <a:ext uri="{FF2B5EF4-FFF2-40B4-BE49-F238E27FC236}">
                  <a16:creationId xmlns:a16="http://schemas.microsoft.com/office/drawing/2014/main" id="{7C22230D-4968-C8DF-A471-0B545DF4510C}"/>
                </a:ext>
              </a:extLst>
            </p:cNvPr>
            <p:cNvSpPr/>
            <p:nvPr/>
          </p:nvSpPr>
          <p:spPr>
            <a:xfrm>
              <a:off x="41231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7" name="Google Shape;9530;p65">
              <a:extLst>
                <a:ext uri="{FF2B5EF4-FFF2-40B4-BE49-F238E27FC236}">
                  <a16:creationId xmlns:a16="http://schemas.microsoft.com/office/drawing/2014/main" id="{77D14F92-A67C-6ACB-7422-E0CF6B8F24D0}"/>
                </a:ext>
              </a:extLst>
            </p:cNvPr>
            <p:cNvSpPr/>
            <p:nvPr/>
          </p:nvSpPr>
          <p:spPr>
            <a:xfrm>
              <a:off x="41231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8" name="Google Shape;9531;p65">
              <a:extLst>
                <a:ext uri="{FF2B5EF4-FFF2-40B4-BE49-F238E27FC236}">
                  <a16:creationId xmlns:a16="http://schemas.microsoft.com/office/drawing/2014/main" id="{CE38C57C-CF62-A970-06C5-6BD97811E42E}"/>
                </a:ext>
              </a:extLst>
            </p:cNvPr>
            <p:cNvSpPr/>
            <p:nvPr/>
          </p:nvSpPr>
          <p:spPr>
            <a:xfrm>
              <a:off x="41231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399" name="Google Shape;9532;p65">
              <a:extLst>
                <a:ext uri="{FF2B5EF4-FFF2-40B4-BE49-F238E27FC236}">
                  <a16:creationId xmlns:a16="http://schemas.microsoft.com/office/drawing/2014/main" id="{42BF90D2-2E6C-EA41-C229-C445106233AE}"/>
                </a:ext>
              </a:extLst>
            </p:cNvPr>
            <p:cNvSpPr/>
            <p:nvPr/>
          </p:nvSpPr>
          <p:spPr>
            <a:xfrm>
              <a:off x="41231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0" name="Google Shape;9533;p65">
              <a:extLst>
                <a:ext uri="{FF2B5EF4-FFF2-40B4-BE49-F238E27FC236}">
                  <a16:creationId xmlns:a16="http://schemas.microsoft.com/office/drawing/2014/main" id="{A5A73409-EC70-B47C-8F53-632865A8F038}"/>
                </a:ext>
              </a:extLst>
            </p:cNvPr>
            <p:cNvSpPr/>
            <p:nvPr/>
          </p:nvSpPr>
          <p:spPr>
            <a:xfrm>
              <a:off x="41231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1" name="Google Shape;9534;p65">
              <a:extLst>
                <a:ext uri="{FF2B5EF4-FFF2-40B4-BE49-F238E27FC236}">
                  <a16:creationId xmlns:a16="http://schemas.microsoft.com/office/drawing/2014/main" id="{A2C47EED-B10E-BBED-966B-8BE3E0D76AD5}"/>
                </a:ext>
              </a:extLst>
            </p:cNvPr>
            <p:cNvSpPr/>
            <p:nvPr/>
          </p:nvSpPr>
          <p:spPr>
            <a:xfrm>
              <a:off x="4123175" y="31710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2" name="Google Shape;9535;p65">
              <a:extLst>
                <a:ext uri="{FF2B5EF4-FFF2-40B4-BE49-F238E27FC236}">
                  <a16:creationId xmlns:a16="http://schemas.microsoft.com/office/drawing/2014/main" id="{9EB7A6CC-1003-3710-8D65-F0E76CDB883B}"/>
                </a:ext>
              </a:extLst>
            </p:cNvPr>
            <p:cNvSpPr/>
            <p:nvPr/>
          </p:nvSpPr>
          <p:spPr>
            <a:xfrm>
              <a:off x="41231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3" name="Google Shape;9536;p65">
              <a:extLst>
                <a:ext uri="{FF2B5EF4-FFF2-40B4-BE49-F238E27FC236}">
                  <a16:creationId xmlns:a16="http://schemas.microsoft.com/office/drawing/2014/main" id="{AEF56C28-A297-B9F4-CC89-BA82BFE25CFC}"/>
                </a:ext>
              </a:extLst>
            </p:cNvPr>
            <p:cNvSpPr/>
            <p:nvPr/>
          </p:nvSpPr>
          <p:spPr>
            <a:xfrm>
              <a:off x="41231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4" name="Google Shape;9537;p65">
              <a:extLst>
                <a:ext uri="{FF2B5EF4-FFF2-40B4-BE49-F238E27FC236}">
                  <a16:creationId xmlns:a16="http://schemas.microsoft.com/office/drawing/2014/main" id="{DA1C9654-FA6E-1AD7-6FAB-5206B6AF9D4F}"/>
                </a:ext>
              </a:extLst>
            </p:cNvPr>
            <p:cNvSpPr/>
            <p:nvPr/>
          </p:nvSpPr>
          <p:spPr>
            <a:xfrm>
              <a:off x="41231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5" name="Google Shape;9538;p65">
              <a:extLst>
                <a:ext uri="{FF2B5EF4-FFF2-40B4-BE49-F238E27FC236}">
                  <a16:creationId xmlns:a16="http://schemas.microsoft.com/office/drawing/2014/main" id="{907FBDD6-445C-C7AB-4974-30B6EDDED032}"/>
                </a:ext>
              </a:extLst>
            </p:cNvPr>
            <p:cNvSpPr/>
            <p:nvPr/>
          </p:nvSpPr>
          <p:spPr>
            <a:xfrm>
              <a:off x="41231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6" name="Google Shape;9539;p65">
              <a:extLst>
                <a:ext uri="{FF2B5EF4-FFF2-40B4-BE49-F238E27FC236}">
                  <a16:creationId xmlns:a16="http://schemas.microsoft.com/office/drawing/2014/main" id="{1E2CDF43-6F9B-D8B5-E971-EE02E9FB1E5B}"/>
                </a:ext>
              </a:extLst>
            </p:cNvPr>
            <p:cNvSpPr/>
            <p:nvPr/>
          </p:nvSpPr>
          <p:spPr>
            <a:xfrm>
              <a:off x="4123175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7" name="Google Shape;9540;p65">
              <a:extLst>
                <a:ext uri="{FF2B5EF4-FFF2-40B4-BE49-F238E27FC236}">
                  <a16:creationId xmlns:a16="http://schemas.microsoft.com/office/drawing/2014/main" id="{C6CDE543-443A-CC03-7B09-6BA90E61D443}"/>
                </a:ext>
              </a:extLst>
            </p:cNvPr>
            <p:cNvSpPr/>
            <p:nvPr/>
          </p:nvSpPr>
          <p:spPr>
            <a:xfrm>
              <a:off x="412317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8" name="Google Shape;9541;p65">
              <a:extLst>
                <a:ext uri="{FF2B5EF4-FFF2-40B4-BE49-F238E27FC236}">
                  <a16:creationId xmlns:a16="http://schemas.microsoft.com/office/drawing/2014/main" id="{1FCF1490-AD18-F1F9-3C14-88A66509B711}"/>
                </a:ext>
              </a:extLst>
            </p:cNvPr>
            <p:cNvSpPr/>
            <p:nvPr/>
          </p:nvSpPr>
          <p:spPr>
            <a:xfrm>
              <a:off x="41994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09" name="Google Shape;9542;p65">
              <a:extLst>
                <a:ext uri="{FF2B5EF4-FFF2-40B4-BE49-F238E27FC236}">
                  <a16:creationId xmlns:a16="http://schemas.microsoft.com/office/drawing/2014/main" id="{FBDC98E2-D223-EC69-5E52-FEB49A45F8EA}"/>
                </a:ext>
              </a:extLst>
            </p:cNvPr>
            <p:cNvSpPr/>
            <p:nvPr/>
          </p:nvSpPr>
          <p:spPr>
            <a:xfrm>
              <a:off x="41994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0" name="Google Shape;9543;p65">
              <a:extLst>
                <a:ext uri="{FF2B5EF4-FFF2-40B4-BE49-F238E27FC236}">
                  <a16:creationId xmlns:a16="http://schemas.microsoft.com/office/drawing/2014/main" id="{F17DE661-6F54-D934-5783-F05EFD86BFBC}"/>
                </a:ext>
              </a:extLst>
            </p:cNvPr>
            <p:cNvSpPr/>
            <p:nvPr/>
          </p:nvSpPr>
          <p:spPr>
            <a:xfrm>
              <a:off x="41994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1" name="Google Shape;9544;p65">
              <a:extLst>
                <a:ext uri="{FF2B5EF4-FFF2-40B4-BE49-F238E27FC236}">
                  <a16:creationId xmlns:a16="http://schemas.microsoft.com/office/drawing/2014/main" id="{CEE19C22-ABFB-F6AD-D3A1-5FB66B8D2A86}"/>
                </a:ext>
              </a:extLst>
            </p:cNvPr>
            <p:cNvSpPr/>
            <p:nvPr/>
          </p:nvSpPr>
          <p:spPr>
            <a:xfrm>
              <a:off x="41994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2" name="Google Shape;9545;p65">
              <a:extLst>
                <a:ext uri="{FF2B5EF4-FFF2-40B4-BE49-F238E27FC236}">
                  <a16:creationId xmlns:a16="http://schemas.microsoft.com/office/drawing/2014/main" id="{9C297D79-510C-9EEC-D510-0411BEC0262A}"/>
                </a:ext>
              </a:extLst>
            </p:cNvPr>
            <p:cNvSpPr/>
            <p:nvPr/>
          </p:nvSpPr>
          <p:spPr>
            <a:xfrm>
              <a:off x="427560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3" name="Google Shape;9546;p65">
              <a:extLst>
                <a:ext uri="{FF2B5EF4-FFF2-40B4-BE49-F238E27FC236}">
                  <a16:creationId xmlns:a16="http://schemas.microsoft.com/office/drawing/2014/main" id="{C0328CDD-3848-8203-956F-F476FF9411FD}"/>
                </a:ext>
              </a:extLst>
            </p:cNvPr>
            <p:cNvSpPr/>
            <p:nvPr/>
          </p:nvSpPr>
          <p:spPr>
            <a:xfrm>
              <a:off x="42756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4" name="Google Shape;9547;p65">
              <a:extLst>
                <a:ext uri="{FF2B5EF4-FFF2-40B4-BE49-F238E27FC236}">
                  <a16:creationId xmlns:a16="http://schemas.microsoft.com/office/drawing/2014/main" id="{B8E5EA06-FD92-441B-9EB3-B56104342C92}"/>
                </a:ext>
              </a:extLst>
            </p:cNvPr>
            <p:cNvSpPr/>
            <p:nvPr/>
          </p:nvSpPr>
          <p:spPr>
            <a:xfrm>
              <a:off x="42756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5" name="Google Shape;9548;p65">
              <a:extLst>
                <a:ext uri="{FF2B5EF4-FFF2-40B4-BE49-F238E27FC236}">
                  <a16:creationId xmlns:a16="http://schemas.microsoft.com/office/drawing/2014/main" id="{7F141C3F-72AC-FA65-B923-C98BDB4EC3DB}"/>
                </a:ext>
              </a:extLst>
            </p:cNvPr>
            <p:cNvSpPr/>
            <p:nvPr/>
          </p:nvSpPr>
          <p:spPr>
            <a:xfrm>
              <a:off x="42756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6" name="Google Shape;9549;p65">
              <a:extLst>
                <a:ext uri="{FF2B5EF4-FFF2-40B4-BE49-F238E27FC236}">
                  <a16:creationId xmlns:a16="http://schemas.microsoft.com/office/drawing/2014/main" id="{D5C42580-4820-723D-3F6A-BB185A08EF93}"/>
                </a:ext>
              </a:extLst>
            </p:cNvPr>
            <p:cNvSpPr/>
            <p:nvPr/>
          </p:nvSpPr>
          <p:spPr>
            <a:xfrm>
              <a:off x="4275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8"/>
                    <a:pt x="6" y="480"/>
                    <a:pt x="6" y="1065"/>
                  </a:cubicBezTo>
                  <a:cubicBezTo>
                    <a:pt x="0" y="1709"/>
                    <a:pt x="527" y="2137"/>
                    <a:pt x="1075" y="2137"/>
                  </a:cubicBezTo>
                  <a:cubicBezTo>
                    <a:pt x="1337" y="2137"/>
                    <a:pt x="1603" y="2039"/>
                    <a:pt x="1818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7" name="Google Shape;9550;p65">
              <a:extLst>
                <a:ext uri="{FF2B5EF4-FFF2-40B4-BE49-F238E27FC236}">
                  <a16:creationId xmlns:a16="http://schemas.microsoft.com/office/drawing/2014/main" id="{E974788E-C734-966E-F834-AFB8C4368480}"/>
                </a:ext>
              </a:extLst>
            </p:cNvPr>
            <p:cNvSpPr/>
            <p:nvPr/>
          </p:nvSpPr>
          <p:spPr>
            <a:xfrm>
              <a:off x="4199400" y="332330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8" name="Google Shape;9551;p65">
              <a:extLst>
                <a:ext uri="{FF2B5EF4-FFF2-40B4-BE49-F238E27FC236}">
                  <a16:creationId xmlns:a16="http://schemas.microsoft.com/office/drawing/2014/main" id="{C8C5514A-55D4-C632-F2B2-C20B3B81FB80}"/>
                </a:ext>
              </a:extLst>
            </p:cNvPr>
            <p:cNvSpPr/>
            <p:nvPr/>
          </p:nvSpPr>
          <p:spPr>
            <a:xfrm>
              <a:off x="4199400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19" name="Google Shape;9552;p65">
              <a:extLst>
                <a:ext uri="{FF2B5EF4-FFF2-40B4-BE49-F238E27FC236}">
                  <a16:creationId xmlns:a16="http://schemas.microsoft.com/office/drawing/2014/main" id="{42E09CAD-5AE5-811C-92C7-C1A61D264CF3}"/>
                </a:ext>
              </a:extLst>
            </p:cNvPr>
            <p:cNvSpPr/>
            <p:nvPr/>
          </p:nvSpPr>
          <p:spPr>
            <a:xfrm>
              <a:off x="4199400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0" name="Google Shape;9553;p65">
              <a:extLst>
                <a:ext uri="{FF2B5EF4-FFF2-40B4-BE49-F238E27FC236}">
                  <a16:creationId xmlns:a16="http://schemas.microsoft.com/office/drawing/2014/main" id="{88C4E237-B32C-A455-0369-2770C04ACA6A}"/>
                </a:ext>
              </a:extLst>
            </p:cNvPr>
            <p:cNvSpPr/>
            <p:nvPr/>
          </p:nvSpPr>
          <p:spPr>
            <a:xfrm>
              <a:off x="4199400" y="355192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1" name="Google Shape;9554;p65">
              <a:extLst>
                <a:ext uri="{FF2B5EF4-FFF2-40B4-BE49-F238E27FC236}">
                  <a16:creationId xmlns:a16="http://schemas.microsoft.com/office/drawing/2014/main" id="{97B1A3E5-37B7-49F5-735D-7568ADACD706}"/>
                </a:ext>
              </a:extLst>
            </p:cNvPr>
            <p:cNvSpPr/>
            <p:nvPr/>
          </p:nvSpPr>
          <p:spPr>
            <a:xfrm>
              <a:off x="419940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2" name="Google Shape;9555;p65">
              <a:extLst>
                <a:ext uri="{FF2B5EF4-FFF2-40B4-BE49-F238E27FC236}">
                  <a16:creationId xmlns:a16="http://schemas.microsoft.com/office/drawing/2014/main" id="{8CC9956A-AA13-EE05-4C90-C53911F49615}"/>
                </a:ext>
              </a:extLst>
            </p:cNvPr>
            <p:cNvSpPr/>
            <p:nvPr/>
          </p:nvSpPr>
          <p:spPr>
            <a:xfrm>
              <a:off x="4199400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3" name="Google Shape;9556;p65">
              <a:extLst>
                <a:ext uri="{FF2B5EF4-FFF2-40B4-BE49-F238E27FC236}">
                  <a16:creationId xmlns:a16="http://schemas.microsoft.com/office/drawing/2014/main" id="{7CC0AF4E-5982-6C12-F06E-B49F8DEE7E86}"/>
                </a:ext>
              </a:extLst>
            </p:cNvPr>
            <p:cNvSpPr/>
            <p:nvPr/>
          </p:nvSpPr>
          <p:spPr>
            <a:xfrm>
              <a:off x="412317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4" name="Google Shape;9557;p65">
              <a:extLst>
                <a:ext uri="{FF2B5EF4-FFF2-40B4-BE49-F238E27FC236}">
                  <a16:creationId xmlns:a16="http://schemas.microsoft.com/office/drawing/2014/main" id="{001C2D87-74DC-DDB2-0F6C-521EEC38AAB9}"/>
                </a:ext>
              </a:extLst>
            </p:cNvPr>
            <p:cNvSpPr/>
            <p:nvPr/>
          </p:nvSpPr>
          <p:spPr>
            <a:xfrm>
              <a:off x="412317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5" name="Google Shape;9558;p65">
              <a:extLst>
                <a:ext uri="{FF2B5EF4-FFF2-40B4-BE49-F238E27FC236}">
                  <a16:creationId xmlns:a16="http://schemas.microsoft.com/office/drawing/2014/main" id="{528BAEA3-3D7D-D102-1EE0-9EC356DA69D0}"/>
                </a:ext>
              </a:extLst>
            </p:cNvPr>
            <p:cNvSpPr/>
            <p:nvPr/>
          </p:nvSpPr>
          <p:spPr>
            <a:xfrm>
              <a:off x="404695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7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6" name="Google Shape;9559;p65">
              <a:extLst>
                <a:ext uri="{FF2B5EF4-FFF2-40B4-BE49-F238E27FC236}">
                  <a16:creationId xmlns:a16="http://schemas.microsoft.com/office/drawing/2014/main" id="{18DD8032-3545-5D34-9553-505F31C3AAB3}"/>
                </a:ext>
              </a:extLst>
            </p:cNvPr>
            <p:cNvSpPr/>
            <p:nvPr/>
          </p:nvSpPr>
          <p:spPr>
            <a:xfrm>
              <a:off x="4046950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7" name="Google Shape;9560;p65">
              <a:extLst>
                <a:ext uri="{FF2B5EF4-FFF2-40B4-BE49-F238E27FC236}">
                  <a16:creationId xmlns:a16="http://schemas.microsoft.com/office/drawing/2014/main" id="{A7861DD0-173B-A255-85AE-456D5C3A9561}"/>
                </a:ext>
              </a:extLst>
            </p:cNvPr>
            <p:cNvSpPr/>
            <p:nvPr/>
          </p:nvSpPr>
          <p:spPr>
            <a:xfrm>
              <a:off x="4046950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8" name="Google Shape;9561;p65">
              <a:extLst>
                <a:ext uri="{FF2B5EF4-FFF2-40B4-BE49-F238E27FC236}">
                  <a16:creationId xmlns:a16="http://schemas.microsoft.com/office/drawing/2014/main" id="{8E25C78C-D7C4-4BDD-5C5A-30254AFE7906}"/>
                </a:ext>
              </a:extLst>
            </p:cNvPr>
            <p:cNvSpPr/>
            <p:nvPr/>
          </p:nvSpPr>
          <p:spPr>
            <a:xfrm>
              <a:off x="4046950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29" name="Google Shape;9562;p65">
              <a:extLst>
                <a:ext uri="{FF2B5EF4-FFF2-40B4-BE49-F238E27FC236}">
                  <a16:creationId xmlns:a16="http://schemas.microsoft.com/office/drawing/2014/main" id="{4D81FA6C-A9B5-F96D-2ECB-CCDAAEB77CD0}"/>
                </a:ext>
              </a:extLst>
            </p:cNvPr>
            <p:cNvSpPr/>
            <p:nvPr/>
          </p:nvSpPr>
          <p:spPr>
            <a:xfrm>
              <a:off x="3970950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0" name="Google Shape;9563;p65">
              <a:extLst>
                <a:ext uri="{FF2B5EF4-FFF2-40B4-BE49-F238E27FC236}">
                  <a16:creationId xmlns:a16="http://schemas.microsoft.com/office/drawing/2014/main" id="{4F2FDB16-7023-9FEB-33DB-546233ED9D09}"/>
                </a:ext>
              </a:extLst>
            </p:cNvPr>
            <p:cNvSpPr/>
            <p:nvPr/>
          </p:nvSpPr>
          <p:spPr>
            <a:xfrm>
              <a:off x="35898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1" name="Google Shape;9564;p65">
              <a:extLst>
                <a:ext uri="{FF2B5EF4-FFF2-40B4-BE49-F238E27FC236}">
                  <a16:creationId xmlns:a16="http://schemas.microsoft.com/office/drawing/2014/main" id="{4335E463-A44A-399F-CFAD-E0A08E6A64A6}"/>
                </a:ext>
              </a:extLst>
            </p:cNvPr>
            <p:cNvSpPr/>
            <p:nvPr/>
          </p:nvSpPr>
          <p:spPr>
            <a:xfrm>
              <a:off x="35898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2" name="Google Shape;9565;p65">
              <a:extLst>
                <a:ext uri="{FF2B5EF4-FFF2-40B4-BE49-F238E27FC236}">
                  <a16:creationId xmlns:a16="http://schemas.microsoft.com/office/drawing/2014/main" id="{A349AAF0-1E4A-10D9-8F54-C6A1C014962C}"/>
                </a:ext>
              </a:extLst>
            </p:cNvPr>
            <p:cNvSpPr/>
            <p:nvPr/>
          </p:nvSpPr>
          <p:spPr>
            <a:xfrm>
              <a:off x="358987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3" name="Google Shape;9566;p65">
              <a:extLst>
                <a:ext uri="{FF2B5EF4-FFF2-40B4-BE49-F238E27FC236}">
                  <a16:creationId xmlns:a16="http://schemas.microsoft.com/office/drawing/2014/main" id="{45CBCA9E-3FB5-DEF9-DBD5-E2D106BF7F45}"/>
                </a:ext>
              </a:extLst>
            </p:cNvPr>
            <p:cNvSpPr/>
            <p:nvPr/>
          </p:nvSpPr>
          <p:spPr>
            <a:xfrm>
              <a:off x="358987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4" name="Google Shape;9567;p65">
              <a:extLst>
                <a:ext uri="{FF2B5EF4-FFF2-40B4-BE49-F238E27FC236}">
                  <a16:creationId xmlns:a16="http://schemas.microsoft.com/office/drawing/2014/main" id="{57F1F030-2CAD-47B4-6E58-867F511225C5}"/>
                </a:ext>
              </a:extLst>
            </p:cNvPr>
            <p:cNvSpPr/>
            <p:nvPr/>
          </p:nvSpPr>
          <p:spPr>
            <a:xfrm>
              <a:off x="35898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5" name="Google Shape;9568;p65">
              <a:extLst>
                <a:ext uri="{FF2B5EF4-FFF2-40B4-BE49-F238E27FC236}">
                  <a16:creationId xmlns:a16="http://schemas.microsoft.com/office/drawing/2014/main" id="{1B1296AC-524E-F868-FA86-E766C3CF758C}"/>
                </a:ext>
              </a:extLst>
            </p:cNvPr>
            <p:cNvSpPr/>
            <p:nvPr/>
          </p:nvSpPr>
          <p:spPr>
            <a:xfrm>
              <a:off x="35898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6" name="Google Shape;9569;p65">
              <a:extLst>
                <a:ext uri="{FF2B5EF4-FFF2-40B4-BE49-F238E27FC236}">
                  <a16:creationId xmlns:a16="http://schemas.microsoft.com/office/drawing/2014/main" id="{986192CA-56DF-A192-43CC-1FB7B1A62C66}"/>
                </a:ext>
              </a:extLst>
            </p:cNvPr>
            <p:cNvSpPr/>
            <p:nvPr/>
          </p:nvSpPr>
          <p:spPr>
            <a:xfrm>
              <a:off x="35898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7" name="Google Shape;9570;p65">
              <a:extLst>
                <a:ext uri="{FF2B5EF4-FFF2-40B4-BE49-F238E27FC236}">
                  <a16:creationId xmlns:a16="http://schemas.microsoft.com/office/drawing/2014/main" id="{340A6368-1457-73E8-E3C4-D2751042F5BF}"/>
                </a:ext>
              </a:extLst>
            </p:cNvPr>
            <p:cNvSpPr/>
            <p:nvPr/>
          </p:nvSpPr>
          <p:spPr>
            <a:xfrm>
              <a:off x="32852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8" name="Google Shape;9571;p65">
              <a:extLst>
                <a:ext uri="{FF2B5EF4-FFF2-40B4-BE49-F238E27FC236}">
                  <a16:creationId xmlns:a16="http://schemas.microsoft.com/office/drawing/2014/main" id="{2E29C0EB-D968-265F-5E00-814695458E08}"/>
                </a:ext>
              </a:extLst>
            </p:cNvPr>
            <p:cNvSpPr/>
            <p:nvPr/>
          </p:nvSpPr>
          <p:spPr>
            <a:xfrm>
              <a:off x="32852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39" name="Google Shape;9572;p65">
              <a:extLst>
                <a:ext uri="{FF2B5EF4-FFF2-40B4-BE49-F238E27FC236}">
                  <a16:creationId xmlns:a16="http://schemas.microsoft.com/office/drawing/2014/main" id="{43388124-0163-0E15-A8A0-FE014B89CA33}"/>
                </a:ext>
              </a:extLst>
            </p:cNvPr>
            <p:cNvSpPr/>
            <p:nvPr/>
          </p:nvSpPr>
          <p:spPr>
            <a:xfrm>
              <a:off x="32852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0" name="Google Shape;9573;p65">
              <a:extLst>
                <a:ext uri="{FF2B5EF4-FFF2-40B4-BE49-F238E27FC236}">
                  <a16:creationId xmlns:a16="http://schemas.microsoft.com/office/drawing/2014/main" id="{C978FE33-CE5E-CC31-B20A-9A355C6664F4}"/>
                </a:ext>
              </a:extLst>
            </p:cNvPr>
            <p:cNvSpPr/>
            <p:nvPr/>
          </p:nvSpPr>
          <p:spPr>
            <a:xfrm>
              <a:off x="33614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1" name="Google Shape;9574;p65">
              <a:extLst>
                <a:ext uri="{FF2B5EF4-FFF2-40B4-BE49-F238E27FC236}">
                  <a16:creationId xmlns:a16="http://schemas.microsoft.com/office/drawing/2014/main" id="{5D525457-E63E-4F1A-D419-4A9DA012430E}"/>
                </a:ext>
              </a:extLst>
            </p:cNvPr>
            <p:cNvSpPr/>
            <p:nvPr/>
          </p:nvSpPr>
          <p:spPr>
            <a:xfrm>
              <a:off x="33614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2" name="Google Shape;9575;p65">
              <a:extLst>
                <a:ext uri="{FF2B5EF4-FFF2-40B4-BE49-F238E27FC236}">
                  <a16:creationId xmlns:a16="http://schemas.microsoft.com/office/drawing/2014/main" id="{BE15F205-0E5D-9C72-C1FA-4AE721FE32FC}"/>
                </a:ext>
              </a:extLst>
            </p:cNvPr>
            <p:cNvSpPr/>
            <p:nvPr/>
          </p:nvSpPr>
          <p:spPr>
            <a:xfrm>
              <a:off x="33614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3" name="Google Shape;9576;p65">
              <a:extLst>
                <a:ext uri="{FF2B5EF4-FFF2-40B4-BE49-F238E27FC236}">
                  <a16:creationId xmlns:a16="http://schemas.microsoft.com/office/drawing/2014/main" id="{C2ED9EA2-02AC-5222-C6EA-8E6FA646C31E}"/>
                </a:ext>
              </a:extLst>
            </p:cNvPr>
            <p:cNvSpPr/>
            <p:nvPr/>
          </p:nvSpPr>
          <p:spPr>
            <a:xfrm>
              <a:off x="336145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4" name="Google Shape;9577;p65">
              <a:extLst>
                <a:ext uri="{FF2B5EF4-FFF2-40B4-BE49-F238E27FC236}">
                  <a16:creationId xmlns:a16="http://schemas.microsoft.com/office/drawing/2014/main" id="{7A566EFA-ADDA-8B57-F4F5-B7B5A80844D7}"/>
                </a:ext>
              </a:extLst>
            </p:cNvPr>
            <p:cNvSpPr/>
            <p:nvPr/>
          </p:nvSpPr>
          <p:spPr>
            <a:xfrm>
              <a:off x="33614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5" name="Google Shape;9578;p65">
              <a:extLst>
                <a:ext uri="{FF2B5EF4-FFF2-40B4-BE49-F238E27FC236}">
                  <a16:creationId xmlns:a16="http://schemas.microsoft.com/office/drawing/2014/main" id="{2982C22F-2617-0F64-CD59-417C8B3C7BA9}"/>
                </a:ext>
              </a:extLst>
            </p:cNvPr>
            <p:cNvSpPr/>
            <p:nvPr/>
          </p:nvSpPr>
          <p:spPr>
            <a:xfrm>
              <a:off x="34374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6" name="Google Shape;9579;p65">
              <a:extLst>
                <a:ext uri="{FF2B5EF4-FFF2-40B4-BE49-F238E27FC236}">
                  <a16:creationId xmlns:a16="http://schemas.microsoft.com/office/drawing/2014/main" id="{34A0A38A-666C-734B-74FD-AAE393E81DD8}"/>
                </a:ext>
              </a:extLst>
            </p:cNvPr>
            <p:cNvSpPr/>
            <p:nvPr/>
          </p:nvSpPr>
          <p:spPr>
            <a:xfrm>
              <a:off x="34374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7" name="Google Shape;9580;p65">
              <a:extLst>
                <a:ext uri="{FF2B5EF4-FFF2-40B4-BE49-F238E27FC236}">
                  <a16:creationId xmlns:a16="http://schemas.microsoft.com/office/drawing/2014/main" id="{A15E92E3-9033-387E-5574-1EAC54886076}"/>
                </a:ext>
              </a:extLst>
            </p:cNvPr>
            <p:cNvSpPr/>
            <p:nvPr/>
          </p:nvSpPr>
          <p:spPr>
            <a:xfrm>
              <a:off x="343745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8" name="Google Shape;9581;p65">
              <a:extLst>
                <a:ext uri="{FF2B5EF4-FFF2-40B4-BE49-F238E27FC236}">
                  <a16:creationId xmlns:a16="http://schemas.microsoft.com/office/drawing/2014/main" id="{2D449DD1-DF6C-E0A3-6B1E-76E1281E4847}"/>
                </a:ext>
              </a:extLst>
            </p:cNvPr>
            <p:cNvSpPr/>
            <p:nvPr/>
          </p:nvSpPr>
          <p:spPr>
            <a:xfrm>
              <a:off x="34374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49" name="Google Shape;9582;p65">
              <a:extLst>
                <a:ext uri="{FF2B5EF4-FFF2-40B4-BE49-F238E27FC236}">
                  <a16:creationId xmlns:a16="http://schemas.microsoft.com/office/drawing/2014/main" id="{F83BF1BA-5D75-1D63-1A0A-FA5FE561417B}"/>
                </a:ext>
              </a:extLst>
            </p:cNvPr>
            <p:cNvSpPr/>
            <p:nvPr/>
          </p:nvSpPr>
          <p:spPr>
            <a:xfrm>
              <a:off x="343745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0" name="Google Shape;9583;p65">
              <a:extLst>
                <a:ext uri="{FF2B5EF4-FFF2-40B4-BE49-F238E27FC236}">
                  <a16:creationId xmlns:a16="http://schemas.microsoft.com/office/drawing/2014/main" id="{BF196BA0-AB12-4768-23C4-438300A45F0F}"/>
                </a:ext>
              </a:extLst>
            </p:cNvPr>
            <p:cNvSpPr/>
            <p:nvPr/>
          </p:nvSpPr>
          <p:spPr>
            <a:xfrm>
              <a:off x="343745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1" name="Google Shape;9584;p65">
              <a:extLst>
                <a:ext uri="{FF2B5EF4-FFF2-40B4-BE49-F238E27FC236}">
                  <a16:creationId xmlns:a16="http://schemas.microsoft.com/office/drawing/2014/main" id="{465F306B-63AD-6B95-C049-8FE3343124E5}"/>
                </a:ext>
              </a:extLst>
            </p:cNvPr>
            <p:cNvSpPr/>
            <p:nvPr/>
          </p:nvSpPr>
          <p:spPr>
            <a:xfrm>
              <a:off x="343745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8" y="2134"/>
                  </a:cubicBezTo>
                  <a:cubicBezTo>
                    <a:pt x="1340" y="2134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2" name="Google Shape;9585;p65">
              <a:extLst>
                <a:ext uri="{FF2B5EF4-FFF2-40B4-BE49-F238E27FC236}">
                  <a16:creationId xmlns:a16="http://schemas.microsoft.com/office/drawing/2014/main" id="{6FB2D984-F2A3-95B6-DDE0-68407DB25A46}"/>
                </a:ext>
              </a:extLst>
            </p:cNvPr>
            <p:cNvSpPr/>
            <p:nvPr/>
          </p:nvSpPr>
          <p:spPr>
            <a:xfrm>
              <a:off x="35136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3" name="Google Shape;9586;p65">
              <a:extLst>
                <a:ext uri="{FF2B5EF4-FFF2-40B4-BE49-F238E27FC236}">
                  <a16:creationId xmlns:a16="http://schemas.microsoft.com/office/drawing/2014/main" id="{4420417C-2D77-DDC2-98C1-6BF9F3ED2708}"/>
                </a:ext>
              </a:extLst>
            </p:cNvPr>
            <p:cNvSpPr/>
            <p:nvPr/>
          </p:nvSpPr>
          <p:spPr>
            <a:xfrm>
              <a:off x="35136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4" name="Google Shape;9587;p65">
              <a:extLst>
                <a:ext uri="{FF2B5EF4-FFF2-40B4-BE49-F238E27FC236}">
                  <a16:creationId xmlns:a16="http://schemas.microsoft.com/office/drawing/2014/main" id="{5F224AD6-6588-8487-BF8C-0D9B293D5830}"/>
                </a:ext>
              </a:extLst>
            </p:cNvPr>
            <p:cNvSpPr/>
            <p:nvPr/>
          </p:nvSpPr>
          <p:spPr>
            <a:xfrm>
              <a:off x="35136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5" name="Google Shape;9588;p65">
              <a:extLst>
                <a:ext uri="{FF2B5EF4-FFF2-40B4-BE49-F238E27FC236}">
                  <a16:creationId xmlns:a16="http://schemas.microsoft.com/office/drawing/2014/main" id="{7AC2051F-474B-50CA-B189-D7FA862AD925}"/>
                </a:ext>
              </a:extLst>
            </p:cNvPr>
            <p:cNvSpPr/>
            <p:nvPr/>
          </p:nvSpPr>
          <p:spPr>
            <a:xfrm>
              <a:off x="35136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6" name="Google Shape;9589;p65">
              <a:extLst>
                <a:ext uri="{FF2B5EF4-FFF2-40B4-BE49-F238E27FC236}">
                  <a16:creationId xmlns:a16="http://schemas.microsoft.com/office/drawing/2014/main" id="{C08DB8E0-ED9A-A003-4686-036BC4A5730F}"/>
                </a:ext>
              </a:extLst>
            </p:cNvPr>
            <p:cNvSpPr/>
            <p:nvPr/>
          </p:nvSpPr>
          <p:spPr>
            <a:xfrm>
              <a:off x="351367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7" name="Google Shape;9590;p65">
              <a:extLst>
                <a:ext uri="{FF2B5EF4-FFF2-40B4-BE49-F238E27FC236}">
                  <a16:creationId xmlns:a16="http://schemas.microsoft.com/office/drawing/2014/main" id="{41D67F31-F2C9-111D-0BE6-AB858A18A1CD}"/>
                </a:ext>
              </a:extLst>
            </p:cNvPr>
            <p:cNvSpPr/>
            <p:nvPr/>
          </p:nvSpPr>
          <p:spPr>
            <a:xfrm>
              <a:off x="351367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8" name="Google Shape;9591;p65">
              <a:extLst>
                <a:ext uri="{FF2B5EF4-FFF2-40B4-BE49-F238E27FC236}">
                  <a16:creationId xmlns:a16="http://schemas.microsoft.com/office/drawing/2014/main" id="{E6C9DCAD-1AED-0158-D914-F56535EC1734}"/>
                </a:ext>
              </a:extLst>
            </p:cNvPr>
            <p:cNvSpPr/>
            <p:nvPr/>
          </p:nvSpPr>
          <p:spPr>
            <a:xfrm>
              <a:off x="351367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59" name="Google Shape;9592;p65">
              <a:extLst>
                <a:ext uri="{FF2B5EF4-FFF2-40B4-BE49-F238E27FC236}">
                  <a16:creationId xmlns:a16="http://schemas.microsoft.com/office/drawing/2014/main" id="{398EC860-6604-E0CF-869F-D9A5E24F5FC4}"/>
                </a:ext>
              </a:extLst>
            </p:cNvPr>
            <p:cNvSpPr/>
            <p:nvPr/>
          </p:nvSpPr>
          <p:spPr>
            <a:xfrm>
              <a:off x="35136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0" name="Google Shape;9593;p65">
              <a:extLst>
                <a:ext uri="{FF2B5EF4-FFF2-40B4-BE49-F238E27FC236}">
                  <a16:creationId xmlns:a16="http://schemas.microsoft.com/office/drawing/2014/main" id="{071DFB5F-7E9A-1180-795A-39B6B8A3C9AA}"/>
                </a:ext>
              </a:extLst>
            </p:cNvPr>
            <p:cNvSpPr/>
            <p:nvPr/>
          </p:nvSpPr>
          <p:spPr>
            <a:xfrm>
              <a:off x="35898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1" name="Google Shape;9594;p65">
              <a:extLst>
                <a:ext uri="{FF2B5EF4-FFF2-40B4-BE49-F238E27FC236}">
                  <a16:creationId xmlns:a16="http://schemas.microsoft.com/office/drawing/2014/main" id="{2F3CDCF6-4C27-E1A8-9934-F18C4C3F9643}"/>
                </a:ext>
              </a:extLst>
            </p:cNvPr>
            <p:cNvSpPr/>
            <p:nvPr/>
          </p:nvSpPr>
          <p:spPr>
            <a:xfrm>
              <a:off x="366610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2" name="Google Shape;9595;p65">
              <a:extLst>
                <a:ext uri="{FF2B5EF4-FFF2-40B4-BE49-F238E27FC236}">
                  <a16:creationId xmlns:a16="http://schemas.microsoft.com/office/drawing/2014/main" id="{D4CC1B35-7ED7-A504-43E7-D95D7B30535C}"/>
                </a:ext>
              </a:extLst>
            </p:cNvPr>
            <p:cNvSpPr/>
            <p:nvPr/>
          </p:nvSpPr>
          <p:spPr>
            <a:xfrm>
              <a:off x="366610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3" name="Google Shape;9596;p65">
              <a:extLst>
                <a:ext uri="{FF2B5EF4-FFF2-40B4-BE49-F238E27FC236}">
                  <a16:creationId xmlns:a16="http://schemas.microsoft.com/office/drawing/2014/main" id="{9F4E3C5B-6616-B1F5-EE5B-EED8E710D9A2}"/>
                </a:ext>
              </a:extLst>
            </p:cNvPr>
            <p:cNvSpPr/>
            <p:nvPr/>
          </p:nvSpPr>
          <p:spPr>
            <a:xfrm>
              <a:off x="36661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4" name="Google Shape;9597;p65">
              <a:extLst>
                <a:ext uri="{FF2B5EF4-FFF2-40B4-BE49-F238E27FC236}">
                  <a16:creationId xmlns:a16="http://schemas.microsoft.com/office/drawing/2014/main" id="{9984CCD9-5183-A52D-BC0B-A38A3C8BD1FF}"/>
                </a:ext>
              </a:extLst>
            </p:cNvPr>
            <p:cNvSpPr/>
            <p:nvPr/>
          </p:nvSpPr>
          <p:spPr>
            <a:xfrm>
              <a:off x="36661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5" name="Google Shape;9598;p65">
              <a:extLst>
                <a:ext uri="{FF2B5EF4-FFF2-40B4-BE49-F238E27FC236}">
                  <a16:creationId xmlns:a16="http://schemas.microsoft.com/office/drawing/2014/main" id="{84197108-823D-5C40-C643-0E8BAC0EB237}"/>
                </a:ext>
              </a:extLst>
            </p:cNvPr>
            <p:cNvSpPr/>
            <p:nvPr/>
          </p:nvSpPr>
          <p:spPr>
            <a:xfrm>
              <a:off x="3666100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6" name="Google Shape;9599;p65">
              <a:extLst>
                <a:ext uri="{FF2B5EF4-FFF2-40B4-BE49-F238E27FC236}">
                  <a16:creationId xmlns:a16="http://schemas.microsoft.com/office/drawing/2014/main" id="{67D64B15-EAEA-B29B-18CD-D58D67D2E7BE}"/>
                </a:ext>
              </a:extLst>
            </p:cNvPr>
            <p:cNvSpPr/>
            <p:nvPr/>
          </p:nvSpPr>
          <p:spPr>
            <a:xfrm>
              <a:off x="366610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7" name="Google Shape;9600;p65">
              <a:extLst>
                <a:ext uri="{FF2B5EF4-FFF2-40B4-BE49-F238E27FC236}">
                  <a16:creationId xmlns:a16="http://schemas.microsoft.com/office/drawing/2014/main" id="{46758B89-9518-4F9B-ECF4-8DE2BD73A346}"/>
                </a:ext>
              </a:extLst>
            </p:cNvPr>
            <p:cNvSpPr/>
            <p:nvPr/>
          </p:nvSpPr>
          <p:spPr>
            <a:xfrm>
              <a:off x="366610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8" name="Google Shape;9601;p65">
              <a:extLst>
                <a:ext uri="{FF2B5EF4-FFF2-40B4-BE49-F238E27FC236}">
                  <a16:creationId xmlns:a16="http://schemas.microsoft.com/office/drawing/2014/main" id="{29E8ECBE-B19B-D2C5-2B2F-1D8CB42E1A19}"/>
                </a:ext>
              </a:extLst>
            </p:cNvPr>
            <p:cNvSpPr/>
            <p:nvPr/>
          </p:nvSpPr>
          <p:spPr>
            <a:xfrm>
              <a:off x="37423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69" name="Google Shape;9602;p65">
              <a:extLst>
                <a:ext uri="{FF2B5EF4-FFF2-40B4-BE49-F238E27FC236}">
                  <a16:creationId xmlns:a16="http://schemas.microsoft.com/office/drawing/2014/main" id="{8240088C-EA22-BF9A-9752-3EC99949F63C}"/>
                </a:ext>
              </a:extLst>
            </p:cNvPr>
            <p:cNvSpPr/>
            <p:nvPr/>
          </p:nvSpPr>
          <p:spPr>
            <a:xfrm>
              <a:off x="37423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0" name="Google Shape;9603;p65">
              <a:extLst>
                <a:ext uri="{FF2B5EF4-FFF2-40B4-BE49-F238E27FC236}">
                  <a16:creationId xmlns:a16="http://schemas.microsoft.com/office/drawing/2014/main" id="{5FD72DD8-A592-4877-A551-BB23E2F5161A}"/>
                </a:ext>
              </a:extLst>
            </p:cNvPr>
            <p:cNvSpPr/>
            <p:nvPr/>
          </p:nvSpPr>
          <p:spPr>
            <a:xfrm>
              <a:off x="37423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1" name="Google Shape;9604;p65">
              <a:extLst>
                <a:ext uri="{FF2B5EF4-FFF2-40B4-BE49-F238E27FC236}">
                  <a16:creationId xmlns:a16="http://schemas.microsoft.com/office/drawing/2014/main" id="{B605BF63-AAC0-C21A-EF44-CB3CCECB3892}"/>
                </a:ext>
              </a:extLst>
            </p:cNvPr>
            <p:cNvSpPr/>
            <p:nvPr/>
          </p:nvSpPr>
          <p:spPr>
            <a:xfrm>
              <a:off x="37423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2" name="Google Shape;9605;p65">
              <a:extLst>
                <a:ext uri="{FF2B5EF4-FFF2-40B4-BE49-F238E27FC236}">
                  <a16:creationId xmlns:a16="http://schemas.microsoft.com/office/drawing/2014/main" id="{080A682B-2663-F92E-CEB0-AB4A48E43685}"/>
                </a:ext>
              </a:extLst>
            </p:cNvPr>
            <p:cNvSpPr/>
            <p:nvPr/>
          </p:nvSpPr>
          <p:spPr>
            <a:xfrm>
              <a:off x="3742300" y="30186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3" name="Google Shape;9606;p65">
              <a:extLst>
                <a:ext uri="{FF2B5EF4-FFF2-40B4-BE49-F238E27FC236}">
                  <a16:creationId xmlns:a16="http://schemas.microsoft.com/office/drawing/2014/main" id="{8503638C-E823-3046-82DA-B68C0FE38A45}"/>
                </a:ext>
              </a:extLst>
            </p:cNvPr>
            <p:cNvSpPr/>
            <p:nvPr/>
          </p:nvSpPr>
          <p:spPr>
            <a:xfrm>
              <a:off x="37423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4" name="Google Shape;9607;p65">
              <a:extLst>
                <a:ext uri="{FF2B5EF4-FFF2-40B4-BE49-F238E27FC236}">
                  <a16:creationId xmlns:a16="http://schemas.microsoft.com/office/drawing/2014/main" id="{F61D99C6-1A5D-0D4F-EA17-5C78F97CDA1C}"/>
                </a:ext>
              </a:extLst>
            </p:cNvPr>
            <p:cNvSpPr/>
            <p:nvPr/>
          </p:nvSpPr>
          <p:spPr>
            <a:xfrm>
              <a:off x="374230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5"/>
                    <a:pt x="528" y="2131"/>
                    <a:pt x="1076" y="2131"/>
                  </a:cubicBezTo>
                  <a:cubicBezTo>
                    <a:pt x="1335" y="2131"/>
                    <a:pt x="1599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5" name="Google Shape;9608;p65">
              <a:extLst>
                <a:ext uri="{FF2B5EF4-FFF2-40B4-BE49-F238E27FC236}">
                  <a16:creationId xmlns:a16="http://schemas.microsoft.com/office/drawing/2014/main" id="{297D239B-7AFE-A185-0DA3-F09168DC634A}"/>
                </a:ext>
              </a:extLst>
            </p:cNvPr>
            <p:cNvSpPr/>
            <p:nvPr/>
          </p:nvSpPr>
          <p:spPr>
            <a:xfrm>
              <a:off x="3742300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6" name="Google Shape;9609;p65">
              <a:extLst>
                <a:ext uri="{FF2B5EF4-FFF2-40B4-BE49-F238E27FC236}">
                  <a16:creationId xmlns:a16="http://schemas.microsoft.com/office/drawing/2014/main" id="{79CA4429-9EEC-58CE-25BA-6EEF4ED782D4}"/>
                </a:ext>
              </a:extLst>
            </p:cNvPr>
            <p:cNvSpPr/>
            <p:nvPr/>
          </p:nvSpPr>
          <p:spPr>
            <a:xfrm>
              <a:off x="38185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7" name="Google Shape;9610;p65">
              <a:extLst>
                <a:ext uri="{FF2B5EF4-FFF2-40B4-BE49-F238E27FC236}">
                  <a16:creationId xmlns:a16="http://schemas.microsoft.com/office/drawing/2014/main" id="{D0655592-4D35-8619-DF4E-3F16208E0AB1}"/>
                </a:ext>
              </a:extLst>
            </p:cNvPr>
            <p:cNvSpPr/>
            <p:nvPr/>
          </p:nvSpPr>
          <p:spPr>
            <a:xfrm>
              <a:off x="38185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8" name="Google Shape;9611;p65">
              <a:extLst>
                <a:ext uri="{FF2B5EF4-FFF2-40B4-BE49-F238E27FC236}">
                  <a16:creationId xmlns:a16="http://schemas.microsoft.com/office/drawing/2014/main" id="{8A8DBB51-7ECE-3667-D5A8-EACA6012ECAA}"/>
                </a:ext>
              </a:extLst>
            </p:cNvPr>
            <p:cNvSpPr/>
            <p:nvPr/>
          </p:nvSpPr>
          <p:spPr>
            <a:xfrm>
              <a:off x="38185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79" name="Google Shape;9612;p65">
              <a:extLst>
                <a:ext uri="{FF2B5EF4-FFF2-40B4-BE49-F238E27FC236}">
                  <a16:creationId xmlns:a16="http://schemas.microsoft.com/office/drawing/2014/main" id="{9F72F98E-8D13-5B92-7D4D-C0ACAD176435}"/>
                </a:ext>
              </a:extLst>
            </p:cNvPr>
            <p:cNvSpPr/>
            <p:nvPr/>
          </p:nvSpPr>
          <p:spPr>
            <a:xfrm>
              <a:off x="38185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0" name="Google Shape;9613;p65">
              <a:extLst>
                <a:ext uri="{FF2B5EF4-FFF2-40B4-BE49-F238E27FC236}">
                  <a16:creationId xmlns:a16="http://schemas.microsoft.com/office/drawing/2014/main" id="{9B6EC919-6788-4BDF-41DC-32B8688E7DE1}"/>
                </a:ext>
              </a:extLst>
            </p:cNvPr>
            <p:cNvSpPr/>
            <p:nvPr/>
          </p:nvSpPr>
          <p:spPr>
            <a:xfrm>
              <a:off x="38185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1" name="Google Shape;9614;p65">
              <a:extLst>
                <a:ext uri="{FF2B5EF4-FFF2-40B4-BE49-F238E27FC236}">
                  <a16:creationId xmlns:a16="http://schemas.microsoft.com/office/drawing/2014/main" id="{9E759FDF-774F-B5C8-5DB7-F34F1B4FC743}"/>
                </a:ext>
              </a:extLst>
            </p:cNvPr>
            <p:cNvSpPr/>
            <p:nvPr/>
          </p:nvSpPr>
          <p:spPr>
            <a:xfrm>
              <a:off x="38185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2" name="Google Shape;9615;p65">
              <a:extLst>
                <a:ext uri="{FF2B5EF4-FFF2-40B4-BE49-F238E27FC236}">
                  <a16:creationId xmlns:a16="http://schemas.microsoft.com/office/drawing/2014/main" id="{1A6C6D6E-0479-6ABD-AB93-7EB074322F1D}"/>
                </a:ext>
              </a:extLst>
            </p:cNvPr>
            <p:cNvSpPr/>
            <p:nvPr/>
          </p:nvSpPr>
          <p:spPr>
            <a:xfrm>
              <a:off x="38185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3" name="Google Shape;9616;p65">
              <a:extLst>
                <a:ext uri="{FF2B5EF4-FFF2-40B4-BE49-F238E27FC236}">
                  <a16:creationId xmlns:a16="http://schemas.microsoft.com/office/drawing/2014/main" id="{E152B89E-7053-C2A0-3965-7D22BF180893}"/>
                </a:ext>
              </a:extLst>
            </p:cNvPr>
            <p:cNvSpPr/>
            <p:nvPr/>
          </p:nvSpPr>
          <p:spPr>
            <a:xfrm>
              <a:off x="381852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4" name="Google Shape;9617;p65">
              <a:extLst>
                <a:ext uri="{FF2B5EF4-FFF2-40B4-BE49-F238E27FC236}">
                  <a16:creationId xmlns:a16="http://schemas.microsoft.com/office/drawing/2014/main" id="{21EA29A4-EC65-BA25-134D-1AD5AC10004B}"/>
                </a:ext>
              </a:extLst>
            </p:cNvPr>
            <p:cNvSpPr/>
            <p:nvPr/>
          </p:nvSpPr>
          <p:spPr>
            <a:xfrm>
              <a:off x="38185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5" name="Google Shape;9618;p65">
              <a:extLst>
                <a:ext uri="{FF2B5EF4-FFF2-40B4-BE49-F238E27FC236}">
                  <a16:creationId xmlns:a16="http://schemas.microsoft.com/office/drawing/2014/main" id="{AC18392E-8F97-56BD-7299-FB5DFACB7F4B}"/>
                </a:ext>
              </a:extLst>
            </p:cNvPr>
            <p:cNvSpPr/>
            <p:nvPr/>
          </p:nvSpPr>
          <p:spPr>
            <a:xfrm>
              <a:off x="38185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6" name="Google Shape;9619;p65">
              <a:extLst>
                <a:ext uri="{FF2B5EF4-FFF2-40B4-BE49-F238E27FC236}">
                  <a16:creationId xmlns:a16="http://schemas.microsoft.com/office/drawing/2014/main" id="{9A51CCA4-0F6D-3FD9-73C2-43311A2D1202}"/>
                </a:ext>
              </a:extLst>
            </p:cNvPr>
            <p:cNvSpPr/>
            <p:nvPr/>
          </p:nvSpPr>
          <p:spPr>
            <a:xfrm>
              <a:off x="38947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7" name="Google Shape;9620;p65">
              <a:extLst>
                <a:ext uri="{FF2B5EF4-FFF2-40B4-BE49-F238E27FC236}">
                  <a16:creationId xmlns:a16="http://schemas.microsoft.com/office/drawing/2014/main" id="{2828ADB1-1366-94BB-5C7D-4E41CE4AA29B}"/>
                </a:ext>
              </a:extLst>
            </p:cNvPr>
            <p:cNvSpPr/>
            <p:nvPr/>
          </p:nvSpPr>
          <p:spPr>
            <a:xfrm>
              <a:off x="38947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8" name="Google Shape;9621;p65">
              <a:extLst>
                <a:ext uri="{FF2B5EF4-FFF2-40B4-BE49-F238E27FC236}">
                  <a16:creationId xmlns:a16="http://schemas.microsoft.com/office/drawing/2014/main" id="{EE0C6395-4C12-BFFA-0FA5-6775AEE82788}"/>
                </a:ext>
              </a:extLst>
            </p:cNvPr>
            <p:cNvSpPr/>
            <p:nvPr/>
          </p:nvSpPr>
          <p:spPr>
            <a:xfrm>
              <a:off x="3894725" y="385677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89" name="Google Shape;9622;p65">
              <a:extLst>
                <a:ext uri="{FF2B5EF4-FFF2-40B4-BE49-F238E27FC236}">
                  <a16:creationId xmlns:a16="http://schemas.microsoft.com/office/drawing/2014/main" id="{9C0EB6A3-F119-256C-226F-FB616B979016}"/>
                </a:ext>
              </a:extLst>
            </p:cNvPr>
            <p:cNvSpPr/>
            <p:nvPr/>
          </p:nvSpPr>
          <p:spPr>
            <a:xfrm>
              <a:off x="3894725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0" name="Google Shape;9623;p65">
              <a:extLst>
                <a:ext uri="{FF2B5EF4-FFF2-40B4-BE49-F238E27FC236}">
                  <a16:creationId xmlns:a16="http://schemas.microsoft.com/office/drawing/2014/main" id="{F40AC68E-2414-15CD-BEE8-70DCDE7BB770}"/>
                </a:ext>
              </a:extLst>
            </p:cNvPr>
            <p:cNvSpPr/>
            <p:nvPr/>
          </p:nvSpPr>
          <p:spPr>
            <a:xfrm>
              <a:off x="38947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1" name="Google Shape;9624;p65">
              <a:extLst>
                <a:ext uri="{FF2B5EF4-FFF2-40B4-BE49-F238E27FC236}">
                  <a16:creationId xmlns:a16="http://schemas.microsoft.com/office/drawing/2014/main" id="{2CE982B1-E625-3B13-1820-A4C27448D358}"/>
                </a:ext>
              </a:extLst>
            </p:cNvPr>
            <p:cNvSpPr/>
            <p:nvPr/>
          </p:nvSpPr>
          <p:spPr>
            <a:xfrm>
              <a:off x="38947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2" name="Google Shape;9625;p65">
              <a:extLst>
                <a:ext uri="{FF2B5EF4-FFF2-40B4-BE49-F238E27FC236}">
                  <a16:creationId xmlns:a16="http://schemas.microsoft.com/office/drawing/2014/main" id="{191776F5-DB16-619A-9441-668879E23F43}"/>
                </a:ext>
              </a:extLst>
            </p:cNvPr>
            <p:cNvSpPr/>
            <p:nvPr/>
          </p:nvSpPr>
          <p:spPr>
            <a:xfrm>
              <a:off x="3894725" y="3551925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4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3" name="Google Shape;9626;p65">
              <a:extLst>
                <a:ext uri="{FF2B5EF4-FFF2-40B4-BE49-F238E27FC236}">
                  <a16:creationId xmlns:a16="http://schemas.microsoft.com/office/drawing/2014/main" id="{1054A55C-4807-50CA-2C95-26B9B01F5471}"/>
                </a:ext>
              </a:extLst>
            </p:cNvPr>
            <p:cNvSpPr/>
            <p:nvPr/>
          </p:nvSpPr>
          <p:spPr>
            <a:xfrm>
              <a:off x="38947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4" name="Google Shape;9627;p65">
              <a:extLst>
                <a:ext uri="{FF2B5EF4-FFF2-40B4-BE49-F238E27FC236}">
                  <a16:creationId xmlns:a16="http://schemas.microsoft.com/office/drawing/2014/main" id="{155EC41C-7CA1-5E92-2AD1-CFC596F675E3}"/>
                </a:ext>
              </a:extLst>
            </p:cNvPr>
            <p:cNvSpPr/>
            <p:nvPr/>
          </p:nvSpPr>
          <p:spPr>
            <a:xfrm>
              <a:off x="389472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5" name="Google Shape;9628;p65">
              <a:extLst>
                <a:ext uri="{FF2B5EF4-FFF2-40B4-BE49-F238E27FC236}">
                  <a16:creationId xmlns:a16="http://schemas.microsoft.com/office/drawing/2014/main" id="{2B1DA786-74B0-98F0-9463-6879675CE498}"/>
                </a:ext>
              </a:extLst>
            </p:cNvPr>
            <p:cNvSpPr/>
            <p:nvPr/>
          </p:nvSpPr>
          <p:spPr>
            <a:xfrm>
              <a:off x="389460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6" name="Google Shape;9629;p65">
              <a:extLst>
                <a:ext uri="{FF2B5EF4-FFF2-40B4-BE49-F238E27FC236}">
                  <a16:creationId xmlns:a16="http://schemas.microsoft.com/office/drawing/2014/main" id="{4780F328-2E59-81F4-BD97-D5E590F7086B}"/>
                </a:ext>
              </a:extLst>
            </p:cNvPr>
            <p:cNvSpPr/>
            <p:nvPr/>
          </p:nvSpPr>
          <p:spPr>
            <a:xfrm>
              <a:off x="389472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7" name="Google Shape;9630;p65">
              <a:extLst>
                <a:ext uri="{FF2B5EF4-FFF2-40B4-BE49-F238E27FC236}">
                  <a16:creationId xmlns:a16="http://schemas.microsoft.com/office/drawing/2014/main" id="{F9B15A95-CD7A-7B1A-4B64-947FC24202F2}"/>
                </a:ext>
              </a:extLst>
            </p:cNvPr>
            <p:cNvSpPr/>
            <p:nvPr/>
          </p:nvSpPr>
          <p:spPr>
            <a:xfrm>
              <a:off x="38947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8" name="Google Shape;9631;p65">
              <a:extLst>
                <a:ext uri="{FF2B5EF4-FFF2-40B4-BE49-F238E27FC236}">
                  <a16:creationId xmlns:a16="http://schemas.microsoft.com/office/drawing/2014/main" id="{64751C08-ED7F-F868-86F5-582CDC58D376}"/>
                </a:ext>
              </a:extLst>
            </p:cNvPr>
            <p:cNvSpPr/>
            <p:nvPr/>
          </p:nvSpPr>
          <p:spPr>
            <a:xfrm>
              <a:off x="38947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499" name="Google Shape;9632;p65">
              <a:extLst>
                <a:ext uri="{FF2B5EF4-FFF2-40B4-BE49-F238E27FC236}">
                  <a16:creationId xmlns:a16="http://schemas.microsoft.com/office/drawing/2014/main" id="{7CB4EC80-BFA4-676C-51BE-FB87D5B3C07B}"/>
                </a:ext>
              </a:extLst>
            </p:cNvPr>
            <p:cNvSpPr/>
            <p:nvPr/>
          </p:nvSpPr>
          <p:spPr>
            <a:xfrm>
              <a:off x="38947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0" name="Google Shape;9633;p65">
              <a:extLst>
                <a:ext uri="{FF2B5EF4-FFF2-40B4-BE49-F238E27FC236}">
                  <a16:creationId xmlns:a16="http://schemas.microsoft.com/office/drawing/2014/main" id="{CD567928-528A-6C7F-F5D6-62C884CFCB8E}"/>
                </a:ext>
              </a:extLst>
            </p:cNvPr>
            <p:cNvSpPr/>
            <p:nvPr/>
          </p:nvSpPr>
          <p:spPr>
            <a:xfrm>
              <a:off x="38947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1" name="Google Shape;9634;p65">
              <a:extLst>
                <a:ext uri="{FF2B5EF4-FFF2-40B4-BE49-F238E27FC236}">
                  <a16:creationId xmlns:a16="http://schemas.microsoft.com/office/drawing/2014/main" id="{1B369B04-7855-6DAD-D2A1-D7E63839A500}"/>
                </a:ext>
              </a:extLst>
            </p:cNvPr>
            <p:cNvSpPr/>
            <p:nvPr/>
          </p:nvSpPr>
          <p:spPr>
            <a:xfrm>
              <a:off x="38947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2" name="Google Shape;9635;p65">
              <a:extLst>
                <a:ext uri="{FF2B5EF4-FFF2-40B4-BE49-F238E27FC236}">
                  <a16:creationId xmlns:a16="http://schemas.microsoft.com/office/drawing/2014/main" id="{5DC4ECF4-5BDA-1A22-3C81-6874F4EA1566}"/>
                </a:ext>
              </a:extLst>
            </p:cNvPr>
            <p:cNvSpPr/>
            <p:nvPr/>
          </p:nvSpPr>
          <p:spPr>
            <a:xfrm>
              <a:off x="38185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3" name="Google Shape;9636;p65">
              <a:extLst>
                <a:ext uri="{FF2B5EF4-FFF2-40B4-BE49-F238E27FC236}">
                  <a16:creationId xmlns:a16="http://schemas.microsoft.com/office/drawing/2014/main" id="{F4D3BE56-3AF5-54A1-6956-D595E747719F}"/>
                </a:ext>
              </a:extLst>
            </p:cNvPr>
            <p:cNvSpPr/>
            <p:nvPr/>
          </p:nvSpPr>
          <p:spPr>
            <a:xfrm>
              <a:off x="3742300" y="2866425"/>
              <a:ext cx="62225" cy="53225"/>
            </a:xfrm>
            <a:custGeom>
              <a:avLst/>
              <a:gdLst/>
              <a:ahLst/>
              <a:cxnLst/>
              <a:rect l="l" t="t" r="r" b="b"/>
              <a:pathLst>
                <a:path w="2489" h="2129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1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4" name="Google Shape;9637;p65">
              <a:extLst>
                <a:ext uri="{FF2B5EF4-FFF2-40B4-BE49-F238E27FC236}">
                  <a16:creationId xmlns:a16="http://schemas.microsoft.com/office/drawing/2014/main" id="{095FDF27-58EA-090C-4DBF-F5DC07279530}"/>
                </a:ext>
              </a:extLst>
            </p:cNvPr>
            <p:cNvSpPr/>
            <p:nvPr/>
          </p:nvSpPr>
          <p:spPr>
            <a:xfrm>
              <a:off x="36661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5" name="Google Shape;9638;p65">
              <a:extLst>
                <a:ext uri="{FF2B5EF4-FFF2-40B4-BE49-F238E27FC236}">
                  <a16:creationId xmlns:a16="http://schemas.microsoft.com/office/drawing/2014/main" id="{F83512B5-6A04-6F73-90FE-233C9A5FC319}"/>
                </a:ext>
              </a:extLst>
            </p:cNvPr>
            <p:cNvSpPr/>
            <p:nvPr/>
          </p:nvSpPr>
          <p:spPr>
            <a:xfrm>
              <a:off x="450405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6" name="Google Shape;9639;p65">
              <a:extLst>
                <a:ext uri="{FF2B5EF4-FFF2-40B4-BE49-F238E27FC236}">
                  <a16:creationId xmlns:a16="http://schemas.microsoft.com/office/drawing/2014/main" id="{A2AFBBB4-74BB-5271-6975-FE0C7D5F46F7}"/>
                </a:ext>
              </a:extLst>
            </p:cNvPr>
            <p:cNvSpPr/>
            <p:nvPr/>
          </p:nvSpPr>
          <p:spPr>
            <a:xfrm>
              <a:off x="4504050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7" name="Google Shape;9640;p65">
              <a:extLst>
                <a:ext uri="{FF2B5EF4-FFF2-40B4-BE49-F238E27FC236}">
                  <a16:creationId xmlns:a16="http://schemas.microsoft.com/office/drawing/2014/main" id="{72798B7E-ED52-3376-22F0-66910DCE65D9}"/>
                </a:ext>
              </a:extLst>
            </p:cNvPr>
            <p:cNvSpPr/>
            <p:nvPr/>
          </p:nvSpPr>
          <p:spPr>
            <a:xfrm>
              <a:off x="4504050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8" name="Google Shape;9641;p65">
              <a:extLst>
                <a:ext uri="{FF2B5EF4-FFF2-40B4-BE49-F238E27FC236}">
                  <a16:creationId xmlns:a16="http://schemas.microsoft.com/office/drawing/2014/main" id="{A6912A91-B4F0-4200-0E78-796E0D8F56FD}"/>
                </a:ext>
              </a:extLst>
            </p:cNvPr>
            <p:cNvSpPr/>
            <p:nvPr/>
          </p:nvSpPr>
          <p:spPr>
            <a:xfrm>
              <a:off x="44278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09" name="Google Shape;9642;p65">
              <a:extLst>
                <a:ext uri="{FF2B5EF4-FFF2-40B4-BE49-F238E27FC236}">
                  <a16:creationId xmlns:a16="http://schemas.microsoft.com/office/drawing/2014/main" id="{2F68DC40-FB30-7C82-B61B-3A054E6F0929}"/>
                </a:ext>
              </a:extLst>
            </p:cNvPr>
            <p:cNvSpPr/>
            <p:nvPr/>
          </p:nvSpPr>
          <p:spPr>
            <a:xfrm>
              <a:off x="44278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0" name="Google Shape;9643;p65">
              <a:extLst>
                <a:ext uri="{FF2B5EF4-FFF2-40B4-BE49-F238E27FC236}">
                  <a16:creationId xmlns:a16="http://schemas.microsoft.com/office/drawing/2014/main" id="{C2DBEE46-6B18-A308-DC6C-E3406CF0D355}"/>
                </a:ext>
              </a:extLst>
            </p:cNvPr>
            <p:cNvSpPr/>
            <p:nvPr/>
          </p:nvSpPr>
          <p:spPr>
            <a:xfrm>
              <a:off x="44278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1" name="Google Shape;9644;p65">
              <a:extLst>
                <a:ext uri="{FF2B5EF4-FFF2-40B4-BE49-F238E27FC236}">
                  <a16:creationId xmlns:a16="http://schemas.microsoft.com/office/drawing/2014/main" id="{8B99329A-7D4E-6BA3-8E20-F161D916B892}"/>
                </a:ext>
              </a:extLst>
            </p:cNvPr>
            <p:cNvSpPr/>
            <p:nvPr/>
          </p:nvSpPr>
          <p:spPr>
            <a:xfrm>
              <a:off x="4427825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2" name="Google Shape;9645;p65">
              <a:extLst>
                <a:ext uri="{FF2B5EF4-FFF2-40B4-BE49-F238E27FC236}">
                  <a16:creationId xmlns:a16="http://schemas.microsoft.com/office/drawing/2014/main" id="{304873B9-E4E3-DA43-01FB-9D4D712603BE}"/>
                </a:ext>
              </a:extLst>
            </p:cNvPr>
            <p:cNvSpPr/>
            <p:nvPr/>
          </p:nvSpPr>
          <p:spPr>
            <a:xfrm>
              <a:off x="4427825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3" name="Google Shape;9646;p65">
              <a:extLst>
                <a:ext uri="{FF2B5EF4-FFF2-40B4-BE49-F238E27FC236}">
                  <a16:creationId xmlns:a16="http://schemas.microsoft.com/office/drawing/2014/main" id="{3CBC6D24-996A-BF26-0240-0BB8050861FE}"/>
                </a:ext>
              </a:extLst>
            </p:cNvPr>
            <p:cNvSpPr/>
            <p:nvPr/>
          </p:nvSpPr>
          <p:spPr>
            <a:xfrm>
              <a:off x="43516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4" name="Google Shape;9647;p65">
              <a:extLst>
                <a:ext uri="{FF2B5EF4-FFF2-40B4-BE49-F238E27FC236}">
                  <a16:creationId xmlns:a16="http://schemas.microsoft.com/office/drawing/2014/main" id="{36A8401A-4EF2-4A95-75A0-71C814A6FE8F}"/>
                </a:ext>
              </a:extLst>
            </p:cNvPr>
            <p:cNvSpPr/>
            <p:nvPr/>
          </p:nvSpPr>
          <p:spPr>
            <a:xfrm>
              <a:off x="43516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5" name="Google Shape;9648;p65">
              <a:extLst>
                <a:ext uri="{FF2B5EF4-FFF2-40B4-BE49-F238E27FC236}">
                  <a16:creationId xmlns:a16="http://schemas.microsoft.com/office/drawing/2014/main" id="{65D7490C-1627-60F8-346E-8F2E66C27F55}"/>
                </a:ext>
              </a:extLst>
            </p:cNvPr>
            <p:cNvSpPr/>
            <p:nvPr/>
          </p:nvSpPr>
          <p:spPr>
            <a:xfrm>
              <a:off x="43516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6" name="Google Shape;9649;p65">
              <a:extLst>
                <a:ext uri="{FF2B5EF4-FFF2-40B4-BE49-F238E27FC236}">
                  <a16:creationId xmlns:a16="http://schemas.microsoft.com/office/drawing/2014/main" id="{19007A20-743B-1DC7-10FF-F32315CD2918}"/>
                </a:ext>
              </a:extLst>
            </p:cNvPr>
            <p:cNvSpPr/>
            <p:nvPr/>
          </p:nvSpPr>
          <p:spPr>
            <a:xfrm>
              <a:off x="4351600" y="30186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7" name="Google Shape;9650;p65">
              <a:extLst>
                <a:ext uri="{FF2B5EF4-FFF2-40B4-BE49-F238E27FC236}">
                  <a16:creationId xmlns:a16="http://schemas.microsoft.com/office/drawing/2014/main" id="{96873BB7-5BC9-C3C5-699F-263C361E308D}"/>
                </a:ext>
              </a:extLst>
            </p:cNvPr>
            <p:cNvSpPr/>
            <p:nvPr/>
          </p:nvSpPr>
          <p:spPr>
            <a:xfrm>
              <a:off x="4351600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8" name="Google Shape;9651;p65">
              <a:extLst>
                <a:ext uri="{FF2B5EF4-FFF2-40B4-BE49-F238E27FC236}">
                  <a16:creationId xmlns:a16="http://schemas.microsoft.com/office/drawing/2014/main" id="{381B5BE9-82BB-034B-E6B1-EAB28773080F}"/>
                </a:ext>
              </a:extLst>
            </p:cNvPr>
            <p:cNvSpPr/>
            <p:nvPr/>
          </p:nvSpPr>
          <p:spPr>
            <a:xfrm>
              <a:off x="4275600" y="37803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19" name="Google Shape;9652;p65">
              <a:extLst>
                <a:ext uri="{FF2B5EF4-FFF2-40B4-BE49-F238E27FC236}">
                  <a16:creationId xmlns:a16="http://schemas.microsoft.com/office/drawing/2014/main" id="{5646E135-B3C8-63BD-A2FD-1330108F35A0}"/>
                </a:ext>
              </a:extLst>
            </p:cNvPr>
            <p:cNvSpPr/>
            <p:nvPr/>
          </p:nvSpPr>
          <p:spPr>
            <a:xfrm>
              <a:off x="42756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0" name="Google Shape;9653;p65">
              <a:extLst>
                <a:ext uri="{FF2B5EF4-FFF2-40B4-BE49-F238E27FC236}">
                  <a16:creationId xmlns:a16="http://schemas.microsoft.com/office/drawing/2014/main" id="{9AAF97C0-7446-9CFB-F1D6-790F6D186F87}"/>
                </a:ext>
              </a:extLst>
            </p:cNvPr>
            <p:cNvSpPr/>
            <p:nvPr/>
          </p:nvSpPr>
          <p:spPr>
            <a:xfrm>
              <a:off x="42756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1" name="Google Shape;9654;p65">
              <a:extLst>
                <a:ext uri="{FF2B5EF4-FFF2-40B4-BE49-F238E27FC236}">
                  <a16:creationId xmlns:a16="http://schemas.microsoft.com/office/drawing/2014/main" id="{D48A3342-3200-8F10-CE80-4922060AE2FE}"/>
                </a:ext>
              </a:extLst>
            </p:cNvPr>
            <p:cNvSpPr/>
            <p:nvPr/>
          </p:nvSpPr>
          <p:spPr>
            <a:xfrm>
              <a:off x="4275600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2" name="Google Shape;9655;p65">
              <a:extLst>
                <a:ext uri="{FF2B5EF4-FFF2-40B4-BE49-F238E27FC236}">
                  <a16:creationId xmlns:a16="http://schemas.microsoft.com/office/drawing/2014/main" id="{886D00B3-2D08-049D-1E20-6ADA282571E5}"/>
                </a:ext>
              </a:extLst>
            </p:cNvPr>
            <p:cNvSpPr/>
            <p:nvPr/>
          </p:nvSpPr>
          <p:spPr>
            <a:xfrm>
              <a:off x="42756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3" name="Google Shape;9656;p65">
              <a:extLst>
                <a:ext uri="{FF2B5EF4-FFF2-40B4-BE49-F238E27FC236}">
                  <a16:creationId xmlns:a16="http://schemas.microsoft.com/office/drawing/2014/main" id="{4C696949-CE3B-81AA-A18A-3FEAB5FA6E56}"/>
                </a:ext>
              </a:extLst>
            </p:cNvPr>
            <p:cNvSpPr/>
            <p:nvPr/>
          </p:nvSpPr>
          <p:spPr>
            <a:xfrm>
              <a:off x="42756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4" name="Google Shape;9657;p65">
              <a:extLst>
                <a:ext uri="{FF2B5EF4-FFF2-40B4-BE49-F238E27FC236}">
                  <a16:creationId xmlns:a16="http://schemas.microsoft.com/office/drawing/2014/main" id="{7C0BF775-BB30-0AA3-4C70-C8F8D500A7CF}"/>
                </a:ext>
              </a:extLst>
            </p:cNvPr>
            <p:cNvSpPr/>
            <p:nvPr/>
          </p:nvSpPr>
          <p:spPr>
            <a:xfrm>
              <a:off x="42756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5" name="Google Shape;9658;p65">
              <a:extLst>
                <a:ext uri="{FF2B5EF4-FFF2-40B4-BE49-F238E27FC236}">
                  <a16:creationId xmlns:a16="http://schemas.microsoft.com/office/drawing/2014/main" id="{1D1E6E7A-C136-D543-9754-0C5AF45704D2}"/>
                </a:ext>
              </a:extLst>
            </p:cNvPr>
            <p:cNvSpPr/>
            <p:nvPr/>
          </p:nvSpPr>
          <p:spPr>
            <a:xfrm>
              <a:off x="42756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6" name="Google Shape;9659;p65">
              <a:extLst>
                <a:ext uri="{FF2B5EF4-FFF2-40B4-BE49-F238E27FC236}">
                  <a16:creationId xmlns:a16="http://schemas.microsoft.com/office/drawing/2014/main" id="{AFAEB9D6-7594-AA26-1DCF-6D586B58D916}"/>
                </a:ext>
              </a:extLst>
            </p:cNvPr>
            <p:cNvSpPr/>
            <p:nvPr/>
          </p:nvSpPr>
          <p:spPr>
            <a:xfrm>
              <a:off x="4199400" y="3856775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7" name="Google Shape;9660;p65">
              <a:extLst>
                <a:ext uri="{FF2B5EF4-FFF2-40B4-BE49-F238E27FC236}">
                  <a16:creationId xmlns:a16="http://schemas.microsoft.com/office/drawing/2014/main" id="{B64497C4-CCE5-1877-EA0E-A052B90FE919}"/>
                </a:ext>
              </a:extLst>
            </p:cNvPr>
            <p:cNvSpPr/>
            <p:nvPr/>
          </p:nvSpPr>
          <p:spPr>
            <a:xfrm>
              <a:off x="4199400" y="37803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8" name="Google Shape;9661;p65">
              <a:extLst>
                <a:ext uri="{FF2B5EF4-FFF2-40B4-BE49-F238E27FC236}">
                  <a16:creationId xmlns:a16="http://schemas.microsoft.com/office/drawing/2014/main" id="{2B5F7ADF-78F5-93F7-3C5F-78F83BC9F3C8}"/>
                </a:ext>
              </a:extLst>
            </p:cNvPr>
            <p:cNvSpPr/>
            <p:nvPr/>
          </p:nvSpPr>
          <p:spPr>
            <a:xfrm>
              <a:off x="419940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29" name="Google Shape;9662;p65">
              <a:extLst>
                <a:ext uri="{FF2B5EF4-FFF2-40B4-BE49-F238E27FC236}">
                  <a16:creationId xmlns:a16="http://schemas.microsoft.com/office/drawing/2014/main" id="{232F2CD3-6E5C-9C63-D96C-ED9F73CFA268}"/>
                </a:ext>
              </a:extLst>
            </p:cNvPr>
            <p:cNvSpPr/>
            <p:nvPr/>
          </p:nvSpPr>
          <p:spPr>
            <a:xfrm>
              <a:off x="419940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0" name="Google Shape;9663;p65">
              <a:extLst>
                <a:ext uri="{FF2B5EF4-FFF2-40B4-BE49-F238E27FC236}">
                  <a16:creationId xmlns:a16="http://schemas.microsoft.com/office/drawing/2014/main" id="{5C831449-7DE6-F390-104F-E5E663628398}"/>
                </a:ext>
              </a:extLst>
            </p:cNvPr>
            <p:cNvSpPr/>
            <p:nvPr/>
          </p:nvSpPr>
          <p:spPr>
            <a:xfrm>
              <a:off x="412317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1"/>
                  </a:cubicBezTo>
                  <a:cubicBezTo>
                    <a:pt x="2496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1" name="Google Shape;9664;p65">
              <a:extLst>
                <a:ext uri="{FF2B5EF4-FFF2-40B4-BE49-F238E27FC236}">
                  <a16:creationId xmlns:a16="http://schemas.microsoft.com/office/drawing/2014/main" id="{44127F5A-CA30-A514-DABC-1CDA85835C86}"/>
                </a:ext>
              </a:extLst>
            </p:cNvPr>
            <p:cNvSpPr/>
            <p:nvPr/>
          </p:nvSpPr>
          <p:spPr>
            <a:xfrm>
              <a:off x="412317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2" name="Google Shape;9665;p65">
              <a:extLst>
                <a:ext uri="{FF2B5EF4-FFF2-40B4-BE49-F238E27FC236}">
                  <a16:creationId xmlns:a16="http://schemas.microsoft.com/office/drawing/2014/main" id="{62D0939B-AFB0-0A65-6549-5718A87ED1EF}"/>
                </a:ext>
              </a:extLst>
            </p:cNvPr>
            <p:cNvSpPr/>
            <p:nvPr/>
          </p:nvSpPr>
          <p:spPr>
            <a:xfrm>
              <a:off x="4123175" y="39328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3" name="Google Shape;9666;p65">
              <a:extLst>
                <a:ext uri="{FF2B5EF4-FFF2-40B4-BE49-F238E27FC236}">
                  <a16:creationId xmlns:a16="http://schemas.microsoft.com/office/drawing/2014/main" id="{F635BE62-FE43-DA2F-70D1-C0607B6D5FE9}"/>
                </a:ext>
              </a:extLst>
            </p:cNvPr>
            <p:cNvSpPr/>
            <p:nvPr/>
          </p:nvSpPr>
          <p:spPr>
            <a:xfrm>
              <a:off x="4123175" y="385677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4" name="Google Shape;9667;p65">
              <a:extLst>
                <a:ext uri="{FF2B5EF4-FFF2-40B4-BE49-F238E27FC236}">
                  <a16:creationId xmlns:a16="http://schemas.microsoft.com/office/drawing/2014/main" id="{A5B861CF-44DD-834C-C82C-B845810C1C94}"/>
                </a:ext>
              </a:extLst>
            </p:cNvPr>
            <p:cNvSpPr/>
            <p:nvPr/>
          </p:nvSpPr>
          <p:spPr>
            <a:xfrm>
              <a:off x="41231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5" name="Google Shape;9668;p65">
              <a:extLst>
                <a:ext uri="{FF2B5EF4-FFF2-40B4-BE49-F238E27FC236}">
                  <a16:creationId xmlns:a16="http://schemas.microsoft.com/office/drawing/2014/main" id="{B28DA4C0-05AA-DA68-4626-4327D6824925}"/>
                </a:ext>
              </a:extLst>
            </p:cNvPr>
            <p:cNvSpPr/>
            <p:nvPr/>
          </p:nvSpPr>
          <p:spPr>
            <a:xfrm>
              <a:off x="4046950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6" name="Google Shape;9669;p65">
              <a:extLst>
                <a:ext uri="{FF2B5EF4-FFF2-40B4-BE49-F238E27FC236}">
                  <a16:creationId xmlns:a16="http://schemas.microsoft.com/office/drawing/2014/main" id="{CDFEB871-654A-7E8B-51A0-96005633F651}"/>
                </a:ext>
              </a:extLst>
            </p:cNvPr>
            <p:cNvSpPr/>
            <p:nvPr/>
          </p:nvSpPr>
          <p:spPr>
            <a:xfrm>
              <a:off x="404695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7" name="Google Shape;9670;p65">
              <a:extLst>
                <a:ext uri="{FF2B5EF4-FFF2-40B4-BE49-F238E27FC236}">
                  <a16:creationId xmlns:a16="http://schemas.microsoft.com/office/drawing/2014/main" id="{36547075-51C5-2E34-C2C9-771D148DA3AD}"/>
                </a:ext>
              </a:extLst>
            </p:cNvPr>
            <p:cNvSpPr/>
            <p:nvPr/>
          </p:nvSpPr>
          <p:spPr>
            <a:xfrm>
              <a:off x="40469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8" name="Google Shape;9671;p65">
              <a:extLst>
                <a:ext uri="{FF2B5EF4-FFF2-40B4-BE49-F238E27FC236}">
                  <a16:creationId xmlns:a16="http://schemas.microsoft.com/office/drawing/2014/main" id="{AD5E5368-39B7-4714-7AF8-E3A2F9B923A8}"/>
                </a:ext>
              </a:extLst>
            </p:cNvPr>
            <p:cNvSpPr/>
            <p:nvPr/>
          </p:nvSpPr>
          <p:spPr>
            <a:xfrm>
              <a:off x="39709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39" name="Google Shape;9672;p65">
              <a:extLst>
                <a:ext uri="{FF2B5EF4-FFF2-40B4-BE49-F238E27FC236}">
                  <a16:creationId xmlns:a16="http://schemas.microsoft.com/office/drawing/2014/main" id="{5C02418C-5890-16EA-831D-4D9A6763BF44}"/>
                </a:ext>
              </a:extLst>
            </p:cNvPr>
            <p:cNvSpPr/>
            <p:nvPr/>
          </p:nvSpPr>
          <p:spPr>
            <a:xfrm>
              <a:off x="39709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0" name="Google Shape;9673;p65">
              <a:extLst>
                <a:ext uri="{FF2B5EF4-FFF2-40B4-BE49-F238E27FC236}">
                  <a16:creationId xmlns:a16="http://schemas.microsoft.com/office/drawing/2014/main" id="{E1F15F34-7A4F-3559-D092-1D71461CC1F8}"/>
                </a:ext>
              </a:extLst>
            </p:cNvPr>
            <p:cNvSpPr/>
            <p:nvPr/>
          </p:nvSpPr>
          <p:spPr>
            <a:xfrm>
              <a:off x="39709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1" name="Google Shape;9674;p65">
              <a:extLst>
                <a:ext uri="{FF2B5EF4-FFF2-40B4-BE49-F238E27FC236}">
                  <a16:creationId xmlns:a16="http://schemas.microsoft.com/office/drawing/2014/main" id="{E192B186-FDCC-FBEE-8BAE-8D90044D9845}"/>
                </a:ext>
              </a:extLst>
            </p:cNvPr>
            <p:cNvSpPr/>
            <p:nvPr/>
          </p:nvSpPr>
          <p:spPr>
            <a:xfrm>
              <a:off x="389472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2" name="Google Shape;9675;p65">
              <a:extLst>
                <a:ext uri="{FF2B5EF4-FFF2-40B4-BE49-F238E27FC236}">
                  <a16:creationId xmlns:a16="http://schemas.microsoft.com/office/drawing/2014/main" id="{E03D8C6A-499D-9374-39D8-0FE0EE919D6B}"/>
                </a:ext>
              </a:extLst>
            </p:cNvPr>
            <p:cNvSpPr/>
            <p:nvPr/>
          </p:nvSpPr>
          <p:spPr>
            <a:xfrm>
              <a:off x="38947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3" name="Google Shape;9676;p65">
              <a:extLst>
                <a:ext uri="{FF2B5EF4-FFF2-40B4-BE49-F238E27FC236}">
                  <a16:creationId xmlns:a16="http://schemas.microsoft.com/office/drawing/2014/main" id="{4FD8D021-2976-B769-060D-BE0EBC6866A2}"/>
                </a:ext>
              </a:extLst>
            </p:cNvPr>
            <p:cNvSpPr/>
            <p:nvPr/>
          </p:nvSpPr>
          <p:spPr>
            <a:xfrm>
              <a:off x="38947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4" name="Google Shape;9677;p65">
              <a:extLst>
                <a:ext uri="{FF2B5EF4-FFF2-40B4-BE49-F238E27FC236}">
                  <a16:creationId xmlns:a16="http://schemas.microsoft.com/office/drawing/2014/main" id="{EB5976E5-8819-C913-00EF-D876FAEB8FC3}"/>
                </a:ext>
              </a:extLst>
            </p:cNvPr>
            <p:cNvSpPr/>
            <p:nvPr/>
          </p:nvSpPr>
          <p:spPr>
            <a:xfrm>
              <a:off x="38947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5" name="Google Shape;9678;p65">
              <a:extLst>
                <a:ext uri="{FF2B5EF4-FFF2-40B4-BE49-F238E27FC236}">
                  <a16:creationId xmlns:a16="http://schemas.microsoft.com/office/drawing/2014/main" id="{813786D6-2068-3E8F-D4B5-B22563945FA4}"/>
                </a:ext>
              </a:extLst>
            </p:cNvPr>
            <p:cNvSpPr/>
            <p:nvPr/>
          </p:nvSpPr>
          <p:spPr>
            <a:xfrm>
              <a:off x="381852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6" name="Google Shape;9679;p65">
              <a:extLst>
                <a:ext uri="{FF2B5EF4-FFF2-40B4-BE49-F238E27FC236}">
                  <a16:creationId xmlns:a16="http://schemas.microsoft.com/office/drawing/2014/main" id="{B7F07269-5609-EF93-9775-A18DDEC630EF}"/>
                </a:ext>
              </a:extLst>
            </p:cNvPr>
            <p:cNvSpPr/>
            <p:nvPr/>
          </p:nvSpPr>
          <p:spPr>
            <a:xfrm>
              <a:off x="3818525" y="39328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7" name="Google Shape;9680;p65">
              <a:extLst>
                <a:ext uri="{FF2B5EF4-FFF2-40B4-BE49-F238E27FC236}">
                  <a16:creationId xmlns:a16="http://schemas.microsoft.com/office/drawing/2014/main" id="{2B4DAC93-33CB-47A4-D6F7-20362EC1A495}"/>
                </a:ext>
              </a:extLst>
            </p:cNvPr>
            <p:cNvSpPr/>
            <p:nvPr/>
          </p:nvSpPr>
          <p:spPr>
            <a:xfrm>
              <a:off x="3818525" y="385677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8" name="Google Shape;9681;p65">
              <a:extLst>
                <a:ext uri="{FF2B5EF4-FFF2-40B4-BE49-F238E27FC236}">
                  <a16:creationId xmlns:a16="http://schemas.microsoft.com/office/drawing/2014/main" id="{69C6DA3E-D720-1739-D28A-33CD80D1515A}"/>
                </a:ext>
              </a:extLst>
            </p:cNvPr>
            <p:cNvSpPr/>
            <p:nvPr/>
          </p:nvSpPr>
          <p:spPr>
            <a:xfrm>
              <a:off x="38185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49" name="Google Shape;9682;p65">
              <a:extLst>
                <a:ext uri="{FF2B5EF4-FFF2-40B4-BE49-F238E27FC236}">
                  <a16:creationId xmlns:a16="http://schemas.microsoft.com/office/drawing/2014/main" id="{A1505244-4B4F-B57A-ADA4-17C70954BC2F}"/>
                </a:ext>
              </a:extLst>
            </p:cNvPr>
            <p:cNvSpPr/>
            <p:nvPr/>
          </p:nvSpPr>
          <p:spPr>
            <a:xfrm>
              <a:off x="38185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0" name="Google Shape;9683;p65">
              <a:extLst>
                <a:ext uri="{FF2B5EF4-FFF2-40B4-BE49-F238E27FC236}">
                  <a16:creationId xmlns:a16="http://schemas.microsoft.com/office/drawing/2014/main" id="{DD86A273-D0BE-7EF0-9864-F6FCCDC70E37}"/>
                </a:ext>
              </a:extLst>
            </p:cNvPr>
            <p:cNvSpPr/>
            <p:nvPr/>
          </p:nvSpPr>
          <p:spPr>
            <a:xfrm>
              <a:off x="381852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1" name="Google Shape;9684;p65">
              <a:extLst>
                <a:ext uri="{FF2B5EF4-FFF2-40B4-BE49-F238E27FC236}">
                  <a16:creationId xmlns:a16="http://schemas.microsoft.com/office/drawing/2014/main" id="{94D5A123-17C8-1313-93CB-2960E298EBBB}"/>
                </a:ext>
              </a:extLst>
            </p:cNvPr>
            <p:cNvSpPr/>
            <p:nvPr/>
          </p:nvSpPr>
          <p:spPr>
            <a:xfrm>
              <a:off x="38185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2" name="Google Shape;9685;p65">
              <a:extLst>
                <a:ext uri="{FF2B5EF4-FFF2-40B4-BE49-F238E27FC236}">
                  <a16:creationId xmlns:a16="http://schemas.microsoft.com/office/drawing/2014/main" id="{DC0979B1-2BE4-78F1-1DE0-3E86356CA019}"/>
                </a:ext>
              </a:extLst>
            </p:cNvPr>
            <p:cNvSpPr/>
            <p:nvPr/>
          </p:nvSpPr>
          <p:spPr>
            <a:xfrm>
              <a:off x="38185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3" name="Google Shape;9686;p65">
              <a:extLst>
                <a:ext uri="{FF2B5EF4-FFF2-40B4-BE49-F238E27FC236}">
                  <a16:creationId xmlns:a16="http://schemas.microsoft.com/office/drawing/2014/main" id="{5FD82351-ABB9-5245-6ABA-1D513EE5E220}"/>
                </a:ext>
              </a:extLst>
            </p:cNvPr>
            <p:cNvSpPr/>
            <p:nvPr/>
          </p:nvSpPr>
          <p:spPr>
            <a:xfrm>
              <a:off x="3742300" y="37803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4" name="Google Shape;9687;p65">
              <a:extLst>
                <a:ext uri="{FF2B5EF4-FFF2-40B4-BE49-F238E27FC236}">
                  <a16:creationId xmlns:a16="http://schemas.microsoft.com/office/drawing/2014/main" id="{6B87BA6A-A6B7-5617-9D23-9035F7FAAC8F}"/>
                </a:ext>
              </a:extLst>
            </p:cNvPr>
            <p:cNvSpPr/>
            <p:nvPr/>
          </p:nvSpPr>
          <p:spPr>
            <a:xfrm>
              <a:off x="37423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5" name="Google Shape;9688;p65">
              <a:extLst>
                <a:ext uri="{FF2B5EF4-FFF2-40B4-BE49-F238E27FC236}">
                  <a16:creationId xmlns:a16="http://schemas.microsoft.com/office/drawing/2014/main" id="{2E0C9E7B-8D2C-5C3A-2451-941AED9BD409}"/>
                </a:ext>
              </a:extLst>
            </p:cNvPr>
            <p:cNvSpPr/>
            <p:nvPr/>
          </p:nvSpPr>
          <p:spPr>
            <a:xfrm>
              <a:off x="37423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6" name="Google Shape;9689;p65">
              <a:extLst>
                <a:ext uri="{FF2B5EF4-FFF2-40B4-BE49-F238E27FC236}">
                  <a16:creationId xmlns:a16="http://schemas.microsoft.com/office/drawing/2014/main" id="{D09B2EE9-5463-7C0B-1FD9-8AA484D7C3E2}"/>
                </a:ext>
              </a:extLst>
            </p:cNvPr>
            <p:cNvSpPr/>
            <p:nvPr/>
          </p:nvSpPr>
          <p:spPr>
            <a:xfrm>
              <a:off x="37423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7" name="Google Shape;9690;p65">
              <a:extLst>
                <a:ext uri="{FF2B5EF4-FFF2-40B4-BE49-F238E27FC236}">
                  <a16:creationId xmlns:a16="http://schemas.microsoft.com/office/drawing/2014/main" id="{4BCA59C0-1864-0D2D-D208-AD77A61A7A06}"/>
                </a:ext>
              </a:extLst>
            </p:cNvPr>
            <p:cNvSpPr/>
            <p:nvPr/>
          </p:nvSpPr>
          <p:spPr>
            <a:xfrm>
              <a:off x="37421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8" name="Google Shape;9691;p65">
              <a:extLst>
                <a:ext uri="{FF2B5EF4-FFF2-40B4-BE49-F238E27FC236}">
                  <a16:creationId xmlns:a16="http://schemas.microsoft.com/office/drawing/2014/main" id="{89E71763-022E-9D10-BFEE-B0203122F487}"/>
                </a:ext>
              </a:extLst>
            </p:cNvPr>
            <p:cNvSpPr/>
            <p:nvPr/>
          </p:nvSpPr>
          <p:spPr>
            <a:xfrm>
              <a:off x="37423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59" name="Google Shape;9692;p65">
              <a:extLst>
                <a:ext uri="{FF2B5EF4-FFF2-40B4-BE49-F238E27FC236}">
                  <a16:creationId xmlns:a16="http://schemas.microsoft.com/office/drawing/2014/main" id="{8026C4B6-8FF4-97BC-3D69-A56D5CF02FC8}"/>
                </a:ext>
              </a:extLst>
            </p:cNvPr>
            <p:cNvSpPr/>
            <p:nvPr/>
          </p:nvSpPr>
          <p:spPr>
            <a:xfrm>
              <a:off x="3665950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0" name="Google Shape;9693;p65">
              <a:extLst>
                <a:ext uri="{FF2B5EF4-FFF2-40B4-BE49-F238E27FC236}">
                  <a16:creationId xmlns:a16="http://schemas.microsoft.com/office/drawing/2014/main" id="{08C16F2E-44B0-549C-A9AD-AF3869ADEF0C}"/>
                </a:ext>
              </a:extLst>
            </p:cNvPr>
            <p:cNvSpPr/>
            <p:nvPr/>
          </p:nvSpPr>
          <p:spPr>
            <a:xfrm>
              <a:off x="3666100" y="32470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1" name="Google Shape;9694;p65">
              <a:extLst>
                <a:ext uri="{FF2B5EF4-FFF2-40B4-BE49-F238E27FC236}">
                  <a16:creationId xmlns:a16="http://schemas.microsoft.com/office/drawing/2014/main" id="{3F9F0610-2161-C536-CBDA-7056E73E1A51}"/>
                </a:ext>
              </a:extLst>
            </p:cNvPr>
            <p:cNvSpPr/>
            <p:nvPr/>
          </p:nvSpPr>
          <p:spPr>
            <a:xfrm>
              <a:off x="36661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2" name="Google Shape;9695;p65">
              <a:extLst>
                <a:ext uri="{FF2B5EF4-FFF2-40B4-BE49-F238E27FC236}">
                  <a16:creationId xmlns:a16="http://schemas.microsoft.com/office/drawing/2014/main" id="{37CB6873-F2A0-D008-9D6A-0AA9C0517703}"/>
                </a:ext>
              </a:extLst>
            </p:cNvPr>
            <p:cNvSpPr/>
            <p:nvPr/>
          </p:nvSpPr>
          <p:spPr>
            <a:xfrm>
              <a:off x="35898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3" name="Google Shape;9696;p65">
              <a:extLst>
                <a:ext uri="{FF2B5EF4-FFF2-40B4-BE49-F238E27FC236}">
                  <a16:creationId xmlns:a16="http://schemas.microsoft.com/office/drawing/2014/main" id="{83FA07D7-1BEE-60AE-F9B4-022786D6DAA0}"/>
                </a:ext>
              </a:extLst>
            </p:cNvPr>
            <p:cNvSpPr/>
            <p:nvPr/>
          </p:nvSpPr>
          <p:spPr>
            <a:xfrm>
              <a:off x="35898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4" name="Google Shape;9697;p65">
              <a:extLst>
                <a:ext uri="{FF2B5EF4-FFF2-40B4-BE49-F238E27FC236}">
                  <a16:creationId xmlns:a16="http://schemas.microsoft.com/office/drawing/2014/main" id="{241A94FE-83DE-4703-B4F6-FBB9688784F1}"/>
                </a:ext>
              </a:extLst>
            </p:cNvPr>
            <p:cNvSpPr/>
            <p:nvPr/>
          </p:nvSpPr>
          <p:spPr>
            <a:xfrm>
              <a:off x="35898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5" name="Google Shape;9698;p65">
              <a:extLst>
                <a:ext uri="{FF2B5EF4-FFF2-40B4-BE49-F238E27FC236}">
                  <a16:creationId xmlns:a16="http://schemas.microsoft.com/office/drawing/2014/main" id="{C8B9E111-0D26-7B4B-088D-83A5CB58DCB1}"/>
                </a:ext>
              </a:extLst>
            </p:cNvPr>
            <p:cNvSpPr/>
            <p:nvPr/>
          </p:nvSpPr>
          <p:spPr>
            <a:xfrm>
              <a:off x="35136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6" name="Google Shape;9699;p65">
              <a:extLst>
                <a:ext uri="{FF2B5EF4-FFF2-40B4-BE49-F238E27FC236}">
                  <a16:creationId xmlns:a16="http://schemas.microsoft.com/office/drawing/2014/main" id="{266D4D49-C99C-42E3-C75A-4B1A940C88B0}"/>
                </a:ext>
              </a:extLst>
            </p:cNvPr>
            <p:cNvSpPr/>
            <p:nvPr/>
          </p:nvSpPr>
          <p:spPr>
            <a:xfrm>
              <a:off x="35136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7" name="Google Shape;9700;p65">
              <a:extLst>
                <a:ext uri="{FF2B5EF4-FFF2-40B4-BE49-F238E27FC236}">
                  <a16:creationId xmlns:a16="http://schemas.microsoft.com/office/drawing/2014/main" id="{7FF9530D-25EA-F7E4-398E-7CCB95A4E4BC}"/>
                </a:ext>
              </a:extLst>
            </p:cNvPr>
            <p:cNvSpPr/>
            <p:nvPr/>
          </p:nvSpPr>
          <p:spPr>
            <a:xfrm>
              <a:off x="35136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8" name="Google Shape;9701;p65">
              <a:extLst>
                <a:ext uri="{FF2B5EF4-FFF2-40B4-BE49-F238E27FC236}">
                  <a16:creationId xmlns:a16="http://schemas.microsoft.com/office/drawing/2014/main" id="{BB2A973D-529B-AD16-D399-113CBE7201CD}"/>
                </a:ext>
              </a:extLst>
            </p:cNvPr>
            <p:cNvSpPr/>
            <p:nvPr/>
          </p:nvSpPr>
          <p:spPr>
            <a:xfrm>
              <a:off x="343745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69" name="Google Shape;9702;p65">
              <a:extLst>
                <a:ext uri="{FF2B5EF4-FFF2-40B4-BE49-F238E27FC236}">
                  <a16:creationId xmlns:a16="http://schemas.microsoft.com/office/drawing/2014/main" id="{A446A4EE-E682-8F65-CE4C-26AD45D624BB}"/>
                </a:ext>
              </a:extLst>
            </p:cNvPr>
            <p:cNvSpPr/>
            <p:nvPr/>
          </p:nvSpPr>
          <p:spPr>
            <a:xfrm>
              <a:off x="343745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0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0" name="Google Shape;9703;p65">
              <a:extLst>
                <a:ext uri="{FF2B5EF4-FFF2-40B4-BE49-F238E27FC236}">
                  <a16:creationId xmlns:a16="http://schemas.microsoft.com/office/drawing/2014/main" id="{AED196C3-0028-DA0D-9922-C2A66A5AD886}"/>
                </a:ext>
              </a:extLst>
            </p:cNvPr>
            <p:cNvSpPr/>
            <p:nvPr/>
          </p:nvSpPr>
          <p:spPr>
            <a:xfrm>
              <a:off x="343745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1" name="Google Shape;9704;p65">
              <a:extLst>
                <a:ext uri="{FF2B5EF4-FFF2-40B4-BE49-F238E27FC236}">
                  <a16:creationId xmlns:a16="http://schemas.microsoft.com/office/drawing/2014/main" id="{67A93C22-1610-14CE-D4A0-0053073AE182}"/>
                </a:ext>
              </a:extLst>
            </p:cNvPr>
            <p:cNvSpPr/>
            <p:nvPr/>
          </p:nvSpPr>
          <p:spPr>
            <a:xfrm>
              <a:off x="34374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2" name="Google Shape;9705;p65">
              <a:extLst>
                <a:ext uri="{FF2B5EF4-FFF2-40B4-BE49-F238E27FC236}">
                  <a16:creationId xmlns:a16="http://schemas.microsoft.com/office/drawing/2014/main" id="{736FA74E-17ED-B23E-4D7D-89A23A49B999}"/>
                </a:ext>
              </a:extLst>
            </p:cNvPr>
            <p:cNvSpPr/>
            <p:nvPr/>
          </p:nvSpPr>
          <p:spPr>
            <a:xfrm>
              <a:off x="3361450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3" name="Google Shape;9706;p65">
              <a:extLst>
                <a:ext uri="{FF2B5EF4-FFF2-40B4-BE49-F238E27FC236}">
                  <a16:creationId xmlns:a16="http://schemas.microsoft.com/office/drawing/2014/main" id="{8A1C479C-3B82-24B8-3F85-8778E0A8E0BB}"/>
                </a:ext>
              </a:extLst>
            </p:cNvPr>
            <p:cNvSpPr/>
            <p:nvPr/>
          </p:nvSpPr>
          <p:spPr>
            <a:xfrm>
              <a:off x="33614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4" name="Google Shape;9707;p65">
              <a:extLst>
                <a:ext uri="{FF2B5EF4-FFF2-40B4-BE49-F238E27FC236}">
                  <a16:creationId xmlns:a16="http://schemas.microsoft.com/office/drawing/2014/main" id="{BCAB686A-B07C-FF66-4F2E-C3604CC090C1}"/>
                </a:ext>
              </a:extLst>
            </p:cNvPr>
            <p:cNvSpPr/>
            <p:nvPr/>
          </p:nvSpPr>
          <p:spPr>
            <a:xfrm>
              <a:off x="33614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5" name="Google Shape;9708;p65">
              <a:extLst>
                <a:ext uri="{FF2B5EF4-FFF2-40B4-BE49-F238E27FC236}">
                  <a16:creationId xmlns:a16="http://schemas.microsoft.com/office/drawing/2014/main" id="{E09E51E0-65F7-34DC-8C7A-B5A5815F2E26}"/>
                </a:ext>
              </a:extLst>
            </p:cNvPr>
            <p:cNvSpPr/>
            <p:nvPr/>
          </p:nvSpPr>
          <p:spPr>
            <a:xfrm>
              <a:off x="33614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2" y="2137"/>
                    <a:pt x="1597" y="2039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6" name="Google Shape;9709;p65">
              <a:extLst>
                <a:ext uri="{FF2B5EF4-FFF2-40B4-BE49-F238E27FC236}">
                  <a16:creationId xmlns:a16="http://schemas.microsoft.com/office/drawing/2014/main" id="{D04F6738-6E3C-C08F-9C14-70986B89210C}"/>
                </a:ext>
              </a:extLst>
            </p:cNvPr>
            <p:cNvSpPr/>
            <p:nvPr/>
          </p:nvSpPr>
          <p:spPr>
            <a:xfrm>
              <a:off x="32852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7" name="Google Shape;9710;p65">
              <a:extLst>
                <a:ext uri="{FF2B5EF4-FFF2-40B4-BE49-F238E27FC236}">
                  <a16:creationId xmlns:a16="http://schemas.microsoft.com/office/drawing/2014/main" id="{3F04FA52-2AEB-5118-04F1-42FAF189D683}"/>
                </a:ext>
              </a:extLst>
            </p:cNvPr>
            <p:cNvSpPr/>
            <p:nvPr/>
          </p:nvSpPr>
          <p:spPr>
            <a:xfrm>
              <a:off x="32852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8" name="Google Shape;9711;p65">
              <a:extLst>
                <a:ext uri="{FF2B5EF4-FFF2-40B4-BE49-F238E27FC236}">
                  <a16:creationId xmlns:a16="http://schemas.microsoft.com/office/drawing/2014/main" id="{A3D1CF68-35DC-DC7D-5E21-ED4134518907}"/>
                </a:ext>
              </a:extLst>
            </p:cNvPr>
            <p:cNvSpPr/>
            <p:nvPr/>
          </p:nvSpPr>
          <p:spPr>
            <a:xfrm>
              <a:off x="32852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79" name="Google Shape;9712;p65">
              <a:extLst>
                <a:ext uri="{FF2B5EF4-FFF2-40B4-BE49-F238E27FC236}">
                  <a16:creationId xmlns:a16="http://schemas.microsoft.com/office/drawing/2014/main" id="{A36E7565-1022-6D2F-01BB-231F8AF8988B}"/>
                </a:ext>
              </a:extLst>
            </p:cNvPr>
            <p:cNvSpPr/>
            <p:nvPr/>
          </p:nvSpPr>
          <p:spPr>
            <a:xfrm>
              <a:off x="32852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0" name="Google Shape;9713;p65">
              <a:extLst>
                <a:ext uri="{FF2B5EF4-FFF2-40B4-BE49-F238E27FC236}">
                  <a16:creationId xmlns:a16="http://schemas.microsoft.com/office/drawing/2014/main" id="{BBAFF847-8EFB-9B35-4B84-E9CD7F717803}"/>
                </a:ext>
              </a:extLst>
            </p:cNvPr>
            <p:cNvSpPr/>
            <p:nvPr/>
          </p:nvSpPr>
          <p:spPr>
            <a:xfrm>
              <a:off x="3209025" y="30948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1" name="Google Shape;9714;p65">
              <a:extLst>
                <a:ext uri="{FF2B5EF4-FFF2-40B4-BE49-F238E27FC236}">
                  <a16:creationId xmlns:a16="http://schemas.microsoft.com/office/drawing/2014/main" id="{10B19FC7-2D12-F7C7-693F-E61B76CD5FB4}"/>
                </a:ext>
              </a:extLst>
            </p:cNvPr>
            <p:cNvSpPr/>
            <p:nvPr/>
          </p:nvSpPr>
          <p:spPr>
            <a:xfrm>
              <a:off x="32090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2" name="Google Shape;9715;p65">
              <a:extLst>
                <a:ext uri="{FF2B5EF4-FFF2-40B4-BE49-F238E27FC236}">
                  <a16:creationId xmlns:a16="http://schemas.microsoft.com/office/drawing/2014/main" id="{9CFFAA34-6BCF-73FE-042C-29FD8023AB79}"/>
                </a:ext>
              </a:extLst>
            </p:cNvPr>
            <p:cNvSpPr/>
            <p:nvPr/>
          </p:nvSpPr>
          <p:spPr>
            <a:xfrm>
              <a:off x="32090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3" name="Google Shape;9716;p65">
              <a:extLst>
                <a:ext uri="{FF2B5EF4-FFF2-40B4-BE49-F238E27FC236}">
                  <a16:creationId xmlns:a16="http://schemas.microsoft.com/office/drawing/2014/main" id="{6B7BEBA5-7F87-2D2D-3ADF-2BAE5794CC7C}"/>
                </a:ext>
              </a:extLst>
            </p:cNvPr>
            <p:cNvSpPr/>
            <p:nvPr/>
          </p:nvSpPr>
          <p:spPr>
            <a:xfrm>
              <a:off x="32090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4" name="Google Shape;9717;p65">
              <a:extLst>
                <a:ext uri="{FF2B5EF4-FFF2-40B4-BE49-F238E27FC236}">
                  <a16:creationId xmlns:a16="http://schemas.microsoft.com/office/drawing/2014/main" id="{183EF5DA-9DC8-8673-7F69-120DD9AF629C}"/>
                </a:ext>
              </a:extLst>
            </p:cNvPr>
            <p:cNvSpPr/>
            <p:nvPr/>
          </p:nvSpPr>
          <p:spPr>
            <a:xfrm>
              <a:off x="32090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5" name="Google Shape;9718;p65">
              <a:extLst>
                <a:ext uri="{FF2B5EF4-FFF2-40B4-BE49-F238E27FC236}">
                  <a16:creationId xmlns:a16="http://schemas.microsoft.com/office/drawing/2014/main" id="{76532B43-EC81-7434-6BD8-DE4F0FECDA58}"/>
                </a:ext>
              </a:extLst>
            </p:cNvPr>
            <p:cNvSpPr/>
            <p:nvPr/>
          </p:nvSpPr>
          <p:spPr>
            <a:xfrm>
              <a:off x="419940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6" name="Google Shape;9719;p65">
              <a:extLst>
                <a:ext uri="{FF2B5EF4-FFF2-40B4-BE49-F238E27FC236}">
                  <a16:creationId xmlns:a16="http://schemas.microsoft.com/office/drawing/2014/main" id="{4B028430-8B11-F38C-1BBA-BD1B77D3C020}"/>
                </a:ext>
              </a:extLst>
            </p:cNvPr>
            <p:cNvSpPr/>
            <p:nvPr/>
          </p:nvSpPr>
          <p:spPr>
            <a:xfrm>
              <a:off x="3132800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7" name="Google Shape;9720;p65">
              <a:extLst>
                <a:ext uri="{FF2B5EF4-FFF2-40B4-BE49-F238E27FC236}">
                  <a16:creationId xmlns:a16="http://schemas.microsoft.com/office/drawing/2014/main" id="{C19AFCED-42D0-367E-2E9E-6D42109030A7}"/>
                </a:ext>
              </a:extLst>
            </p:cNvPr>
            <p:cNvSpPr/>
            <p:nvPr/>
          </p:nvSpPr>
          <p:spPr>
            <a:xfrm>
              <a:off x="305680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8" name="Google Shape;9721;p65">
              <a:extLst>
                <a:ext uri="{FF2B5EF4-FFF2-40B4-BE49-F238E27FC236}">
                  <a16:creationId xmlns:a16="http://schemas.microsoft.com/office/drawing/2014/main" id="{8CF712E7-965C-861C-16CF-E7E9B4DD272D}"/>
                </a:ext>
              </a:extLst>
            </p:cNvPr>
            <p:cNvSpPr/>
            <p:nvPr/>
          </p:nvSpPr>
          <p:spPr>
            <a:xfrm>
              <a:off x="43516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89" name="Google Shape;9722;p65">
              <a:extLst>
                <a:ext uri="{FF2B5EF4-FFF2-40B4-BE49-F238E27FC236}">
                  <a16:creationId xmlns:a16="http://schemas.microsoft.com/office/drawing/2014/main" id="{A2ABE31E-CDE3-BB09-8415-30164E95A206}"/>
                </a:ext>
              </a:extLst>
            </p:cNvPr>
            <p:cNvSpPr/>
            <p:nvPr/>
          </p:nvSpPr>
          <p:spPr>
            <a:xfrm>
              <a:off x="43516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0" name="Google Shape;9723;p65">
              <a:extLst>
                <a:ext uri="{FF2B5EF4-FFF2-40B4-BE49-F238E27FC236}">
                  <a16:creationId xmlns:a16="http://schemas.microsoft.com/office/drawing/2014/main" id="{6F30CC1D-3563-6F75-5A5E-C3B8E588E80A}"/>
                </a:ext>
              </a:extLst>
            </p:cNvPr>
            <p:cNvSpPr/>
            <p:nvPr/>
          </p:nvSpPr>
          <p:spPr>
            <a:xfrm>
              <a:off x="43516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1" name="Google Shape;9724;p65">
              <a:extLst>
                <a:ext uri="{FF2B5EF4-FFF2-40B4-BE49-F238E27FC236}">
                  <a16:creationId xmlns:a16="http://schemas.microsoft.com/office/drawing/2014/main" id="{1A0DE4F2-38D3-ABB0-5D1D-3EF82F24469A}"/>
                </a:ext>
              </a:extLst>
            </p:cNvPr>
            <p:cNvSpPr/>
            <p:nvPr/>
          </p:nvSpPr>
          <p:spPr>
            <a:xfrm>
              <a:off x="43516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2" name="Google Shape;9725;p65">
              <a:extLst>
                <a:ext uri="{FF2B5EF4-FFF2-40B4-BE49-F238E27FC236}">
                  <a16:creationId xmlns:a16="http://schemas.microsoft.com/office/drawing/2014/main" id="{B1CAF90D-2E1D-2DC7-5D72-BB6186BB819E}"/>
                </a:ext>
              </a:extLst>
            </p:cNvPr>
            <p:cNvSpPr/>
            <p:nvPr/>
          </p:nvSpPr>
          <p:spPr>
            <a:xfrm>
              <a:off x="43516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3" name="Google Shape;9726;p65">
              <a:extLst>
                <a:ext uri="{FF2B5EF4-FFF2-40B4-BE49-F238E27FC236}">
                  <a16:creationId xmlns:a16="http://schemas.microsoft.com/office/drawing/2014/main" id="{0E2BC771-F9E5-B349-6448-6C25C3FC93A7}"/>
                </a:ext>
              </a:extLst>
            </p:cNvPr>
            <p:cNvSpPr/>
            <p:nvPr/>
          </p:nvSpPr>
          <p:spPr>
            <a:xfrm>
              <a:off x="43516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4" name="Google Shape;9727;p65">
              <a:extLst>
                <a:ext uri="{FF2B5EF4-FFF2-40B4-BE49-F238E27FC236}">
                  <a16:creationId xmlns:a16="http://schemas.microsoft.com/office/drawing/2014/main" id="{3BB18116-D4EE-D086-097D-86DA1EECADA8}"/>
                </a:ext>
              </a:extLst>
            </p:cNvPr>
            <p:cNvSpPr/>
            <p:nvPr/>
          </p:nvSpPr>
          <p:spPr>
            <a:xfrm>
              <a:off x="43516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5" name="Google Shape;9728;p65">
              <a:extLst>
                <a:ext uri="{FF2B5EF4-FFF2-40B4-BE49-F238E27FC236}">
                  <a16:creationId xmlns:a16="http://schemas.microsoft.com/office/drawing/2014/main" id="{58779E2C-1856-1180-F14D-B6DCE97C0857}"/>
                </a:ext>
              </a:extLst>
            </p:cNvPr>
            <p:cNvSpPr/>
            <p:nvPr/>
          </p:nvSpPr>
          <p:spPr>
            <a:xfrm>
              <a:off x="397095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6" name="Google Shape;9729;p65">
              <a:extLst>
                <a:ext uri="{FF2B5EF4-FFF2-40B4-BE49-F238E27FC236}">
                  <a16:creationId xmlns:a16="http://schemas.microsoft.com/office/drawing/2014/main" id="{6C39F9C3-22B7-7B44-EC7E-9FEFF2C53BD7}"/>
                </a:ext>
              </a:extLst>
            </p:cNvPr>
            <p:cNvSpPr/>
            <p:nvPr/>
          </p:nvSpPr>
          <p:spPr>
            <a:xfrm>
              <a:off x="39709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7" name="Google Shape;9730;p65">
              <a:extLst>
                <a:ext uri="{FF2B5EF4-FFF2-40B4-BE49-F238E27FC236}">
                  <a16:creationId xmlns:a16="http://schemas.microsoft.com/office/drawing/2014/main" id="{760532A4-B2BA-6AED-A8A6-C4C8F07E89CA}"/>
                </a:ext>
              </a:extLst>
            </p:cNvPr>
            <p:cNvSpPr/>
            <p:nvPr/>
          </p:nvSpPr>
          <p:spPr>
            <a:xfrm>
              <a:off x="36661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8" name="Google Shape;9731;p65">
              <a:extLst>
                <a:ext uri="{FF2B5EF4-FFF2-40B4-BE49-F238E27FC236}">
                  <a16:creationId xmlns:a16="http://schemas.microsoft.com/office/drawing/2014/main" id="{39DEE4F1-5FC9-AE48-5E47-836222DA149C}"/>
                </a:ext>
              </a:extLst>
            </p:cNvPr>
            <p:cNvSpPr/>
            <p:nvPr/>
          </p:nvSpPr>
          <p:spPr>
            <a:xfrm>
              <a:off x="37423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599" name="Google Shape;9732;p65">
              <a:extLst>
                <a:ext uri="{FF2B5EF4-FFF2-40B4-BE49-F238E27FC236}">
                  <a16:creationId xmlns:a16="http://schemas.microsoft.com/office/drawing/2014/main" id="{96DB5198-7886-DD67-37AE-2433C726FB6F}"/>
                </a:ext>
              </a:extLst>
            </p:cNvPr>
            <p:cNvSpPr/>
            <p:nvPr/>
          </p:nvSpPr>
          <p:spPr>
            <a:xfrm>
              <a:off x="37423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0" name="Google Shape;9733;p65">
              <a:extLst>
                <a:ext uri="{FF2B5EF4-FFF2-40B4-BE49-F238E27FC236}">
                  <a16:creationId xmlns:a16="http://schemas.microsoft.com/office/drawing/2014/main" id="{F0A430C9-3200-5008-1419-D21C95C53DFF}"/>
                </a:ext>
              </a:extLst>
            </p:cNvPr>
            <p:cNvSpPr/>
            <p:nvPr/>
          </p:nvSpPr>
          <p:spPr>
            <a:xfrm>
              <a:off x="38185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1" name="Google Shape;9734;p65">
              <a:extLst>
                <a:ext uri="{FF2B5EF4-FFF2-40B4-BE49-F238E27FC236}">
                  <a16:creationId xmlns:a16="http://schemas.microsoft.com/office/drawing/2014/main" id="{6CB18B5E-D3DE-06F6-0D00-A1C6F6259C08}"/>
                </a:ext>
              </a:extLst>
            </p:cNvPr>
            <p:cNvSpPr/>
            <p:nvPr/>
          </p:nvSpPr>
          <p:spPr>
            <a:xfrm>
              <a:off x="38947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2" name="Google Shape;9735;p65">
              <a:extLst>
                <a:ext uri="{FF2B5EF4-FFF2-40B4-BE49-F238E27FC236}">
                  <a16:creationId xmlns:a16="http://schemas.microsoft.com/office/drawing/2014/main" id="{F5C54F1D-75CF-E241-AA37-1894010E7559}"/>
                </a:ext>
              </a:extLst>
            </p:cNvPr>
            <p:cNvSpPr/>
            <p:nvPr/>
          </p:nvSpPr>
          <p:spPr>
            <a:xfrm>
              <a:off x="38947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3" name="Google Shape;9736;p65">
              <a:extLst>
                <a:ext uri="{FF2B5EF4-FFF2-40B4-BE49-F238E27FC236}">
                  <a16:creationId xmlns:a16="http://schemas.microsoft.com/office/drawing/2014/main" id="{AE0F46EB-D750-D155-FD5B-32B327401971}"/>
                </a:ext>
              </a:extLst>
            </p:cNvPr>
            <p:cNvSpPr/>
            <p:nvPr/>
          </p:nvSpPr>
          <p:spPr>
            <a:xfrm>
              <a:off x="39709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4" name="Google Shape;9737;p65">
              <a:extLst>
                <a:ext uri="{FF2B5EF4-FFF2-40B4-BE49-F238E27FC236}">
                  <a16:creationId xmlns:a16="http://schemas.microsoft.com/office/drawing/2014/main" id="{3D5DE069-2EB5-E00D-A12E-108089685B1D}"/>
                </a:ext>
              </a:extLst>
            </p:cNvPr>
            <p:cNvSpPr/>
            <p:nvPr/>
          </p:nvSpPr>
          <p:spPr>
            <a:xfrm>
              <a:off x="39709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5" name="Google Shape;9738;p65">
              <a:extLst>
                <a:ext uri="{FF2B5EF4-FFF2-40B4-BE49-F238E27FC236}">
                  <a16:creationId xmlns:a16="http://schemas.microsoft.com/office/drawing/2014/main" id="{73C61107-12AC-F5A1-0A90-799037FA7B70}"/>
                </a:ext>
              </a:extLst>
            </p:cNvPr>
            <p:cNvSpPr/>
            <p:nvPr/>
          </p:nvSpPr>
          <p:spPr>
            <a:xfrm>
              <a:off x="40469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6" name="Google Shape;9739;p65">
              <a:extLst>
                <a:ext uri="{FF2B5EF4-FFF2-40B4-BE49-F238E27FC236}">
                  <a16:creationId xmlns:a16="http://schemas.microsoft.com/office/drawing/2014/main" id="{3388C93F-20D3-B0F4-44AC-C0DF6E2164CE}"/>
                </a:ext>
              </a:extLst>
            </p:cNvPr>
            <p:cNvSpPr/>
            <p:nvPr/>
          </p:nvSpPr>
          <p:spPr>
            <a:xfrm>
              <a:off x="40469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7" name="Google Shape;9740;p65">
              <a:extLst>
                <a:ext uri="{FF2B5EF4-FFF2-40B4-BE49-F238E27FC236}">
                  <a16:creationId xmlns:a16="http://schemas.microsoft.com/office/drawing/2014/main" id="{F42CB4E3-38AE-9EDD-AE3E-89C84FD3A962}"/>
                </a:ext>
              </a:extLst>
            </p:cNvPr>
            <p:cNvSpPr/>
            <p:nvPr/>
          </p:nvSpPr>
          <p:spPr>
            <a:xfrm>
              <a:off x="40469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8" name="Google Shape;9741;p65">
              <a:extLst>
                <a:ext uri="{FF2B5EF4-FFF2-40B4-BE49-F238E27FC236}">
                  <a16:creationId xmlns:a16="http://schemas.microsoft.com/office/drawing/2014/main" id="{07540E75-A76E-AF5A-972D-7537AA8AC11D}"/>
                </a:ext>
              </a:extLst>
            </p:cNvPr>
            <p:cNvSpPr/>
            <p:nvPr/>
          </p:nvSpPr>
          <p:spPr>
            <a:xfrm>
              <a:off x="40469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09" name="Google Shape;9742;p65">
              <a:extLst>
                <a:ext uri="{FF2B5EF4-FFF2-40B4-BE49-F238E27FC236}">
                  <a16:creationId xmlns:a16="http://schemas.microsoft.com/office/drawing/2014/main" id="{005C701B-A89A-B528-59C9-1111AAEE18DD}"/>
                </a:ext>
              </a:extLst>
            </p:cNvPr>
            <p:cNvSpPr/>
            <p:nvPr/>
          </p:nvSpPr>
          <p:spPr>
            <a:xfrm>
              <a:off x="41231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0" name="Google Shape;9743;p65">
              <a:extLst>
                <a:ext uri="{FF2B5EF4-FFF2-40B4-BE49-F238E27FC236}">
                  <a16:creationId xmlns:a16="http://schemas.microsoft.com/office/drawing/2014/main" id="{9EB2616E-3590-4CF7-48B7-045A7E7D25E2}"/>
                </a:ext>
              </a:extLst>
            </p:cNvPr>
            <p:cNvSpPr/>
            <p:nvPr/>
          </p:nvSpPr>
          <p:spPr>
            <a:xfrm>
              <a:off x="41231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1" name="Google Shape;9744;p65">
              <a:extLst>
                <a:ext uri="{FF2B5EF4-FFF2-40B4-BE49-F238E27FC236}">
                  <a16:creationId xmlns:a16="http://schemas.microsoft.com/office/drawing/2014/main" id="{56FE27BD-DCC4-A6E7-CD4E-01B702146A3D}"/>
                </a:ext>
              </a:extLst>
            </p:cNvPr>
            <p:cNvSpPr/>
            <p:nvPr/>
          </p:nvSpPr>
          <p:spPr>
            <a:xfrm>
              <a:off x="41231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2" name="Google Shape;9745;p65">
              <a:extLst>
                <a:ext uri="{FF2B5EF4-FFF2-40B4-BE49-F238E27FC236}">
                  <a16:creationId xmlns:a16="http://schemas.microsoft.com/office/drawing/2014/main" id="{E4DE9504-8142-885E-8EF1-7D8E252382AC}"/>
                </a:ext>
              </a:extLst>
            </p:cNvPr>
            <p:cNvSpPr/>
            <p:nvPr/>
          </p:nvSpPr>
          <p:spPr>
            <a:xfrm>
              <a:off x="41231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3" name="Google Shape;9746;p65">
              <a:extLst>
                <a:ext uri="{FF2B5EF4-FFF2-40B4-BE49-F238E27FC236}">
                  <a16:creationId xmlns:a16="http://schemas.microsoft.com/office/drawing/2014/main" id="{254C2622-7D98-E005-68FD-CE949C947FAD}"/>
                </a:ext>
              </a:extLst>
            </p:cNvPr>
            <p:cNvSpPr/>
            <p:nvPr/>
          </p:nvSpPr>
          <p:spPr>
            <a:xfrm>
              <a:off x="41231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4" name="Google Shape;9747;p65">
              <a:extLst>
                <a:ext uri="{FF2B5EF4-FFF2-40B4-BE49-F238E27FC236}">
                  <a16:creationId xmlns:a16="http://schemas.microsoft.com/office/drawing/2014/main" id="{D55B2BF5-BB55-3431-E905-22CBBEE82AE7}"/>
                </a:ext>
              </a:extLst>
            </p:cNvPr>
            <p:cNvSpPr/>
            <p:nvPr/>
          </p:nvSpPr>
          <p:spPr>
            <a:xfrm>
              <a:off x="41231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5" name="Google Shape;9748;p65">
              <a:extLst>
                <a:ext uri="{FF2B5EF4-FFF2-40B4-BE49-F238E27FC236}">
                  <a16:creationId xmlns:a16="http://schemas.microsoft.com/office/drawing/2014/main" id="{922AC925-3E2F-8534-BB9C-1AA8FACE3671}"/>
                </a:ext>
              </a:extLst>
            </p:cNvPr>
            <p:cNvSpPr/>
            <p:nvPr/>
          </p:nvSpPr>
          <p:spPr>
            <a:xfrm>
              <a:off x="41994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6" name="Google Shape;9749;p65">
              <a:extLst>
                <a:ext uri="{FF2B5EF4-FFF2-40B4-BE49-F238E27FC236}">
                  <a16:creationId xmlns:a16="http://schemas.microsoft.com/office/drawing/2014/main" id="{0BFC57A0-5E72-6AEE-F31A-34B8C73E40E2}"/>
                </a:ext>
              </a:extLst>
            </p:cNvPr>
            <p:cNvSpPr/>
            <p:nvPr/>
          </p:nvSpPr>
          <p:spPr>
            <a:xfrm>
              <a:off x="41994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7" name="Google Shape;9750;p65">
              <a:extLst>
                <a:ext uri="{FF2B5EF4-FFF2-40B4-BE49-F238E27FC236}">
                  <a16:creationId xmlns:a16="http://schemas.microsoft.com/office/drawing/2014/main" id="{B5D29675-8D9D-CBA7-92F9-8B74FF88F822}"/>
                </a:ext>
              </a:extLst>
            </p:cNvPr>
            <p:cNvSpPr/>
            <p:nvPr/>
          </p:nvSpPr>
          <p:spPr>
            <a:xfrm>
              <a:off x="41994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8" name="Google Shape;9751;p65">
              <a:extLst>
                <a:ext uri="{FF2B5EF4-FFF2-40B4-BE49-F238E27FC236}">
                  <a16:creationId xmlns:a16="http://schemas.microsoft.com/office/drawing/2014/main" id="{A76F9170-4240-6580-F55A-1F7023F1ACC2}"/>
                </a:ext>
              </a:extLst>
            </p:cNvPr>
            <p:cNvSpPr/>
            <p:nvPr/>
          </p:nvSpPr>
          <p:spPr>
            <a:xfrm>
              <a:off x="41994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19" name="Google Shape;9752;p65">
              <a:extLst>
                <a:ext uri="{FF2B5EF4-FFF2-40B4-BE49-F238E27FC236}">
                  <a16:creationId xmlns:a16="http://schemas.microsoft.com/office/drawing/2014/main" id="{064D8DCC-9D74-75EE-BA1C-0D5EF829C307}"/>
                </a:ext>
              </a:extLst>
            </p:cNvPr>
            <p:cNvSpPr/>
            <p:nvPr/>
          </p:nvSpPr>
          <p:spPr>
            <a:xfrm>
              <a:off x="41994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0" name="Google Shape;9753;p65">
              <a:extLst>
                <a:ext uri="{FF2B5EF4-FFF2-40B4-BE49-F238E27FC236}">
                  <a16:creationId xmlns:a16="http://schemas.microsoft.com/office/drawing/2014/main" id="{A761FC63-602C-DF8B-BD21-23F2C7F545BA}"/>
                </a:ext>
              </a:extLst>
            </p:cNvPr>
            <p:cNvSpPr/>
            <p:nvPr/>
          </p:nvSpPr>
          <p:spPr>
            <a:xfrm>
              <a:off x="41994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1" name="Google Shape;9754;p65">
              <a:extLst>
                <a:ext uri="{FF2B5EF4-FFF2-40B4-BE49-F238E27FC236}">
                  <a16:creationId xmlns:a16="http://schemas.microsoft.com/office/drawing/2014/main" id="{B0727EC3-6C45-B4CE-3E9D-FF9771D490DC}"/>
                </a:ext>
              </a:extLst>
            </p:cNvPr>
            <p:cNvSpPr/>
            <p:nvPr/>
          </p:nvSpPr>
          <p:spPr>
            <a:xfrm>
              <a:off x="41994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2" name="Google Shape;9755;p65">
              <a:extLst>
                <a:ext uri="{FF2B5EF4-FFF2-40B4-BE49-F238E27FC236}">
                  <a16:creationId xmlns:a16="http://schemas.microsoft.com/office/drawing/2014/main" id="{BAA995B2-6BE4-2ABC-2C93-F23DA944C880}"/>
                </a:ext>
              </a:extLst>
            </p:cNvPr>
            <p:cNvSpPr/>
            <p:nvPr/>
          </p:nvSpPr>
          <p:spPr>
            <a:xfrm>
              <a:off x="42756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3" name="Google Shape;9756;p65">
              <a:extLst>
                <a:ext uri="{FF2B5EF4-FFF2-40B4-BE49-F238E27FC236}">
                  <a16:creationId xmlns:a16="http://schemas.microsoft.com/office/drawing/2014/main" id="{FA9C29B2-D1FA-435A-C3E0-8A1A4BC19D3F}"/>
                </a:ext>
              </a:extLst>
            </p:cNvPr>
            <p:cNvSpPr/>
            <p:nvPr/>
          </p:nvSpPr>
          <p:spPr>
            <a:xfrm>
              <a:off x="42756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4" name="Google Shape;9757;p65">
              <a:extLst>
                <a:ext uri="{FF2B5EF4-FFF2-40B4-BE49-F238E27FC236}">
                  <a16:creationId xmlns:a16="http://schemas.microsoft.com/office/drawing/2014/main" id="{A44D1A2B-5430-A28D-5CF3-D1E94EAE8ECE}"/>
                </a:ext>
              </a:extLst>
            </p:cNvPr>
            <p:cNvSpPr/>
            <p:nvPr/>
          </p:nvSpPr>
          <p:spPr>
            <a:xfrm>
              <a:off x="42756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5" name="Google Shape;9758;p65">
              <a:extLst>
                <a:ext uri="{FF2B5EF4-FFF2-40B4-BE49-F238E27FC236}">
                  <a16:creationId xmlns:a16="http://schemas.microsoft.com/office/drawing/2014/main" id="{4045C27A-BFF9-FE5C-1125-90F4348A68C5}"/>
                </a:ext>
              </a:extLst>
            </p:cNvPr>
            <p:cNvSpPr/>
            <p:nvPr/>
          </p:nvSpPr>
          <p:spPr>
            <a:xfrm>
              <a:off x="42756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6" name="Google Shape;9759;p65">
              <a:extLst>
                <a:ext uri="{FF2B5EF4-FFF2-40B4-BE49-F238E27FC236}">
                  <a16:creationId xmlns:a16="http://schemas.microsoft.com/office/drawing/2014/main" id="{8281E291-EF23-0783-EFC5-1E335294BE59}"/>
                </a:ext>
              </a:extLst>
            </p:cNvPr>
            <p:cNvSpPr/>
            <p:nvPr/>
          </p:nvSpPr>
          <p:spPr>
            <a:xfrm>
              <a:off x="42756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7" name="Google Shape;9760;p65">
              <a:extLst>
                <a:ext uri="{FF2B5EF4-FFF2-40B4-BE49-F238E27FC236}">
                  <a16:creationId xmlns:a16="http://schemas.microsoft.com/office/drawing/2014/main" id="{7D18EC6E-879D-8D33-4FAA-49A8F0F77948}"/>
                </a:ext>
              </a:extLst>
            </p:cNvPr>
            <p:cNvSpPr/>
            <p:nvPr/>
          </p:nvSpPr>
          <p:spPr>
            <a:xfrm>
              <a:off x="42756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8" name="Google Shape;9761;p65">
              <a:extLst>
                <a:ext uri="{FF2B5EF4-FFF2-40B4-BE49-F238E27FC236}">
                  <a16:creationId xmlns:a16="http://schemas.microsoft.com/office/drawing/2014/main" id="{0C1994F4-B513-C001-4E3A-CEFFEA6E0B51}"/>
                </a:ext>
              </a:extLst>
            </p:cNvPr>
            <p:cNvSpPr/>
            <p:nvPr/>
          </p:nvSpPr>
          <p:spPr>
            <a:xfrm>
              <a:off x="42756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29" name="Google Shape;9762;p65">
              <a:extLst>
                <a:ext uri="{FF2B5EF4-FFF2-40B4-BE49-F238E27FC236}">
                  <a16:creationId xmlns:a16="http://schemas.microsoft.com/office/drawing/2014/main" id="{55D6BD60-9FF8-152A-BC6F-D83B8F111ED6}"/>
                </a:ext>
              </a:extLst>
            </p:cNvPr>
            <p:cNvSpPr/>
            <p:nvPr/>
          </p:nvSpPr>
          <p:spPr>
            <a:xfrm>
              <a:off x="42756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0" name="Google Shape;9763;p65">
              <a:extLst>
                <a:ext uri="{FF2B5EF4-FFF2-40B4-BE49-F238E27FC236}">
                  <a16:creationId xmlns:a16="http://schemas.microsoft.com/office/drawing/2014/main" id="{BF1CAE15-6F5F-0FF2-F2BA-6283EE86521D}"/>
                </a:ext>
              </a:extLst>
            </p:cNvPr>
            <p:cNvSpPr/>
            <p:nvPr/>
          </p:nvSpPr>
          <p:spPr>
            <a:xfrm>
              <a:off x="43516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1" name="Google Shape;9764;p65">
              <a:extLst>
                <a:ext uri="{FF2B5EF4-FFF2-40B4-BE49-F238E27FC236}">
                  <a16:creationId xmlns:a16="http://schemas.microsoft.com/office/drawing/2014/main" id="{14816B2E-5D43-B5B5-EB57-B3DD9DF49932}"/>
                </a:ext>
              </a:extLst>
            </p:cNvPr>
            <p:cNvSpPr/>
            <p:nvPr/>
          </p:nvSpPr>
          <p:spPr>
            <a:xfrm>
              <a:off x="44278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2" name="Google Shape;9765;p65">
              <a:extLst>
                <a:ext uri="{FF2B5EF4-FFF2-40B4-BE49-F238E27FC236}">
                  <a16:creationId xmlns:a16="http://schemas.microsoft.com/office/drawing/2014/main" id="{96F8A7A6-C424-B232-DF9B-9B75AA0DAE5C}"/>
                </a:ext>
              </a:extLst>
            </p:cNvPr>
            <p:cNvSpPr/>
            <p:nvPr/>
          </p:nvSpPr>
          <p:spPr>
            <a:xfrm>
              <a:off x="44278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3" name="Google Shape;9766;p65">
              <a:extLst>
                <a:ext uri="{FF2B5EF4-FFF2-40B4-BE49-F238E27FC236}">
                  <a16:creationId xmlns:a16="http://schemas.microsoft.com/office/drawing/2014/main" id="{EF6F6E56-993B-879A-3B27-8051A41221CE}"/>
                </a:ext>
              </a:extLst>
            </p:cNvPr>
            <p:cNvSpPr/>
            <p:nvPr/>
          </p:nvSpPr>
          <p:spPr>
            <a:xfrm>
              <a:off x="44278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4" name="Google Shape;9767;p65">
              <a:extLst>
                <a:ext uri="{FF2B5EF4-FFF2-40B4-BE49-F238E27FC236}">
                  <a16:creationId xmlns:a16="http://schemas.microsoft.com/office/drawing/2014/main" id="{FB198017-F404-7004-58CD-7C214382E7CC}"/>
                </a:ext>
              </a:extLst>
            </p:cNvPr>
            <p:cNvSpPr/>
            <p:nvPr/>
          </p:nvSpPr>
          <p:spPr>
            <a:xfrm>
              <a:off x="44278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5" name="Google Shape;9768;p65">
              <a:extLst>
                <a:ext uri="{FF2B5EF4-FFF2-40B4-BE49-F238E27FC236}">
                  <a16:creationId xmlns:a16="http://schemas.microsoft.com/office/drawing/2014/main" id="{28F35EDF-B451-9DC5-438E-9DCCEB69D4FC}"/>
                </a:ext>
              </a:extLst>
            </p:cNvPr>
            <p:cNvSpPr/>
            <p:nvPr/>
          </p:nvSpPr>
          <p:spPr>
            <a:xfrm>
              <a:off x="44278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6" name="Google Shape;9769;p65">
              <a:extLst>
                <a:ext uri="{FF2B5EF4-FFF2-40B4-BE49-F238E27FC236}">
                  <a16:creationId xmlns:a16="http://schemas.microsoft.com/office/drawing/2014/main" id="{6B1AA5C6-1D13-3390-A29B-4D443091ECE9}"/>
                </a:ext>
              </a:extLst>
            </p:cNvPr>
            <p:cNvSpPr/>
            <p:nvPr/>
          </p:nvSpPr>
          <p:spPr>
            <a:xfrm>
              <a:off x="44278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7" name="Google Shape;9770;p65">
              <a:extLst>
                <a:ext uri="{FF2B5EF4-FFF2-40B4-BE49-F238E27FC236}">
                  <a16:creationId xmlns:a16="http://schemas.microsoft.com/office/drawing/2014/main" id="{716165CD-A461-AE8D-8E91-EE0DB2BD9A28}"/>
                </a:ext>
              </a:extLst>
            </p:cNvPr>
            <p:cNvSpPr/>
            <p:nvPr/>
          </p:nvSpPr>
          <p:spPr>
            <a:xfrm>
              <a:off x="44278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8" name="Google Shape;9771;p65">
              <a:extLst>
                <a:ext uri="{FF2B5EF4-FFF2-40B4-BE49-F238E27FC236}">
                  <a16:creationId xmlns:a16="http://schemas.microsoft.com/office/drawing/2014/main" id="{039921F0-51FB-44C3-F48A-51297943A978}"/>
                </a:ext>
              </a:extLst>
            </p:cNvPr>
            <p:cNvSpPr/>
            <p:nvPr/>
          </p:nvSpPr>
          <p:spPr>
            <a:xfrm>
              <a:off x="44278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39" name="Google Shape;9772;p65">
              <a:extLst>
                <a:ext uri="{FF2B5EF4-FFF2-40B4-BE49-F238E27FC236}">
                  <a16:creationId xmlns:a16="http://schemas.microsoft.com/office/drawing/2014/main" id="{50CCAA47-C78E-A834-B566-028B69A7054F}"/>
                </a:ext>
              </a:extLst>
            </p:cNvPr>
            <p:cNvSpPr/>
            <p:nvPr/>
          </p:nvSpPr>
          <p:spPr>
            <a:xfrm>
              <a:off x="4427825" y="1571400"/>
              <a:ext cx="62350" cy="53250"/>
            </a:xfrm>
            <a:custGeom>
              <a:avLst/>
              <a:gdLst/>
              <a:ahLst/>
              <a:cxnLst/>
              <a:rect l="l" t="t" r="r" b="b"/>
              <a:pathLst>
                <a:path w="2494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4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0" name="Google Shape;9773;p65">
              <a:extLst>
                <a:ext uri="{FF2B5EF4-FFF2-40B4-BE49-F238E27FC236}">
                  <a16:creationId xmlns:a16="http://schemas.microsoft.com/office/drawing/2014/main" id="{95BBBCB4-BE04-3DE4-F16E-006964FBBACD}"/>
                </a:ext>
              </a:extLst>
            </p:cNvPr>
            <p:cNvSpPr/>
            <p:nvPr/>
          </p:nvSpPr>
          <p:spPr>
            <a:xfrm>
              <a:off x="43516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1" name="Google Shape;9774;p65">
              <a:extLst>
                <a:ext uri="{FF2B5EF4-FFF2-40B4-BE49-F238E27FC236}">
                  <a16:creationId xmlns:a16="http://schemas.microsoft.com/office/drawing/2014/main" id="{397B76BD-213F-68E3-FD68-91AF3EF86CC0}"/>
                </a:ext>
              </a:extLst>
            </p:cNvPr>
            <p:cNvSpPr/>
            <p:nvPr/>
          </p:nvSpPr>
          <p:spPr>
            <a:xfrm>
              <a:off x="42756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2" name="Google Shape;9775;p65">
              <a:extLst>
                <a:ext uri="{FF2B5EF4-FFF2-40B4-BE49-F238E27FC236}">
                  <a16:creationId xmlns:a16="http://schemas.microsoft.com/office/drawing/2014/main" id="{D883CBFA-7F37-9B0C-6462-92C363C5EEA2}"/>
                </a:ext>
              </a:extLst>
            </p:cNvPr>
            <p:cNvSpPr/>
            <p:nvPr/>
          </p:nvSpPr>
          <p:spPr>
            <a:xfrm>
              <a:off x="42756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3" name="Google Shape;9776;p65">
              <a:extLst>
                <a:ext uri="{FF2B5EF4-FFF2-40B4-BE49-F238E27FC236}">
                  <a16:creationId xmlns:a16="http://schemas.microsoft.com/office/drawing/2014/main" id="{07015D3E-AAD8-5647-3629-0E6C4D0D54E0}"/>
                </a:ext>
              </a:extLst>
            </p:cNvPr>
            <p:cNvSpPr/>
            <p:nvPr/>
          </p:nvSpPr>
          <p:spPr>
            <a:xfrm>
              <a:off x="41994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4" name="Google Shape;9777;p65">
              <a:extLst>
                <a:ext uri="{FF2B5EF4-FFF2-40B4-BE49-F238E27FC236}">
                  <a16:creationId xmlns:a16="http://schemas.microsoft.com/office/drawing/2014/main" id="{47A20048-7C97-54F1-BD88-526D883C71A8}"/>
                </a:ext>
              </a:extLst>
            </p:cNvPr>
            <p:cNvSpPr/>
            <p:nvPr/>
          </p:nvSpPr>
          <p:spPr>
            <a:xfrm>
              <a:off x="41994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5" name="Google Shape;9778;p65">
              <a:extLst>
                <a:ext uri="{FF2B5EF4-FFF2-40B4-BE49-F238E27FC236}">
                  <a16:creationId xmlns:a16="http://schemas.microsoft.com/office/drawing/2014/main" id="{93B41634-7D39-B183-FE11-D3D5E775782E}"/>
                </a:ext>
              </a:extLst>
            </p:cNvPr>
            <p:cNvSpPr/>
            <p:nvPr/>
          </p:nvSpPr>
          <p:spPr>
            <a:xfrm>
              <a:off x="41994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6" name="Google Shape;9779;p65">
              <a:extLst>
                <a:ext uri="{FF2B5EF4-FFF2-40B4-BE49-F238E27FC236}">
                  <a16:creationId xmlns:a16="http://schemas.microsoft.com/office/drawing/2014/main" id="{5B1C17A6-BA93-B6B1-485E-21C0914C9989}"/>
                </a:ext>
              </a:extLst>
            </p:cNvPr>
            <p:cNvSpPr/>
            <p:nvPr/>
          </p:nvSpPr>
          <p:spPr>
            <a:xfrm>
              <a:off x="41994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7" name="Google Shape;9780;p65">
              <a:extLst>
                <a:ext uri="{FF2B5EF4-FFF2-40B4-BE49-F238E27FC236}">
                  <a16:creationId xmlns:a16="http://schemas.microsoft.com/office/drawing/2014/main" id="{2C284461-00BB-CD5A-9DED-2365434A4CDF}"/>
                </a:ext>
              </a:extLst>
            </p:cNvPr>
            <p:cNvSpPr/>
            <p:nvPr/>
          </p:nvSpPr>
          <p:spPr>
            <a:xfrm>
              <a:off x="41231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8" name="Google Shape;9781;p65">
              <a:extLst>
                <a:ext uri="{FF2B5EF4-FFF2-40B4-BE49-F238E27FC236}">
                  <a16:creationId xmlns:a16="http://schemas.microsoft.com/office/drawing/2014/main" id="{7BBD54C4-AA45-444A-8CD4-D9D2CB36A126}"/>
                </a:ext>
              </a:extLst>
            </p:cNvPr>
            <p:cNvSpPr/>
            <p:nvPr/>
          </p:nvSpPr>
          <p:spPr>
            <a:xfrm>
              <a:off x="41231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49" name="Google Shape;9782;p65">
              <a:extLst>
                <a:ext uri="{FF2B5EF4-FFF2-40B4-BE49-F238E27FC236}">
                  <a16:creationId xmlns:a16="http://schemas.microsoft.com/office/drawing/2014/main" id="{C4434112-F087-03E1-B0C2-B95584EAB4F9}"/>
                </a:ext>
              </a:extLst>
            </p:cNvPr>
            <p:cNvSpPr/>
            <p:nvPr/>
          </p:nvSpPr>
          <p:spPr>
            <a:xfrm>
              <a:off x="41231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0" name="Google Shape;9783;p65">
              <a:extLst>
                <a:ext uri="{FF2B5EF4-FFF2-40B4-BE49-F238E27FC236}">
                  <a16:creationId xmlns:a16="http://schemas.microsoft.com/office/drawing/2014/main" id="{B12806FB-8A8D-6B4E-829F-E95DF5CA7AF6}"/>
                </a:ext>
              </a:extLst>
            </p:cNvPr>
            <p:cNvSpPr/>
            <p:nvPr/>
          </p:nvSpPr>
          <p:spPr>
            <a:xfrm>
              <a:off x="41231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6"/>
                    <a:pt x="1821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1" name="Google Shape;9784;p65">
              <a:extLst>
                <a:ext uri="{FF2B5EF4-FFF2-40B4-BE49-F238E27FC236}">
                  <a16:creationId xmlns:a16="http://schemas.microsoft.com/office/drawing/2014/main" id="{1596B02C-79B4-01A1-6F79-93EE8A5682D0}"/>
                </a:ext>
              </a:extLst>
            </p:cNvPr>
            <p:cNvSpPr/>
            <p:nvPr/>
          </p:nvSpPr>
          <p:spPr>
            <a:xfrm>
              <a:off x="41231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4" y="2037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2" name="Google Shape;9785;p65">
              <a:extLst>
                <a:ext uri="{FF2B5EF4-FFF2-40B4-BE49-F238E27FC236}">
                  <a16:creationId xmlns:a16="http://schemas.microsoft.com/office/drawing/2014/main" id="{2D04966C-A5B8-42ED-54C1-1585D00CFA48}"/>
                </a:ext>
              </a:extLst>
            </p:cNvPr>
            <p:cNvSpPr/>
            <p:nvPr/>
          </p:nvSpPr>
          <p:spPr>
            <a:xfrm>
              <a:off x="41231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3" name="Google Shape;9786;p65">
              <a:extLst>
                <a:ext uri="{FF2B5EF4-FFF2-40B4-BE49-F238E27FC236}">
                  <a16:creationId xmlns:a16="http://schemas.microsoft.com/office/drawing/2014/main" id="{9672C477-AF9C-08C6-1D71-0E239C35581F}"/>
                </a:ext>
              </a:extLst>
            </p:cNvPr>
            <p:cNvSpPr/>
            <p:nvPr/>
          </p:nvSpPr>
          <p:spPr>
            <a:xfrm>
              <a:off x="40469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4" name="Google Shape;9787;p65">
              <a:extLst>
                <a:ext uri="{FF2B5EF4-FFF2-40B4-BE49-F238E27FC236}">
                  <a16:creationId xmlns:a16="http://schemas.microsoft.com/office/drawing/2014/main" id="{A38E807C-265C-F8E6-9535-216240938326}"/>
                </a:ext>
              </a:extLst>
            </p:cNvPr>
            <p:cNvSpPr/>
            <p:nvPr/>
          </p:nvSpPr>
          <p:spPr>
            <a:xfrm>
              <a:off x="40469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5" name="Google Shape;9788;p65">
              <a:extLst>
                <a:ext uri="{FF2B5EF4-FFF2-40B4-BE49-F238E27FC236}">
                  <a16:creationId xmlns:a16="http://schemas.microsoft.com/office/drawing/2014/main" id="{0DEE93B9-F6BA-F9DC-0A0F-BAC0E45390AC}"/>
                </a:ext>
              </a:extLst>
            </p:cNvPr>
            <p:cNvSpPr/>
            <p:nvPr/>
          </p:nvSpPr>
          <p:spPr>
            <a:xfrm>
              <a:off x="40469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6" name="Google Shape;9789;p65">
              <a:extLst>
                <a:ext uri="{FF2B5EF4-FFF2-40B4-BE49-F238E27FC236}">
                  <a16:creationId xmlns:a16="http://schemas.microsoft.com/office/drawing/2014/main" id="{9D7130D1-2F6E-E902-6D3A-6FFA97277F7D}"/>
                </a:ext>
              </a:extLst>
            </p:cNvPr>
            <p:cNvSpPr/>
            <p:nvPr/>
          </p:nvSpPr>
          <p:spPr>
            <a:xfrm>
              <a:off x="40469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7" name="Google Shape;9790;p65">
              <a:extLst>
                <a:ext uri="{FF2B5EF4-FFF2-40B4-BE49-F238E27FC236}">
                  <a16:creationId xmlns:a16="http://schemas.microsoft.com/office/drawing/2014/main" id="{8A4C4D73-1FF3-A249-94B5-E9DC6EBA1B0F}"/>
                </a:ext>
              </a:extLst>
            </p:cNvPr>
            <p:cNvSpPr/>
            <p:nvPr/>
          </p:nvSpPr>
          <p:spPr>
            <a:xfrm>
              <a:off x="40469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8" name="Google Shape;9791;p65">
              <a:extLst>
                <a:ext uri="{FF2B5EF4-FFF2-40B4-BE49-F238E27FC236}">
                  <a16:creationId xmlns:a16="http://schemas.microsoft.com/office/drawing/2014/main" id="{7624E7B8-27CE-6A7B-CEE7-B1E4CCC957D7}"/>
                </a:ext>
              </a:extLst>
            </p:cNvPr>
            <p:cNvSpPr/>
            <p:nvPr/>
          </p:nvSpPr>
          <p:spPr>
            <a:xfrm>
              <a:off x="40469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59" name="Google Shape;9792;p65">
              <a:extLst>
                <a:ext uri="{FF2B5EF4-FFF2-40B4-BE49-F238E27FC236}">
                  <a16:creationId xmlns:a16="http://schemas.microsoft.com/office/drawing/2014/main" id="{0636BB31-D56B-5C09-9CFB-4ABD1D9E1739}"/>
                </a:ext>
              </a:extLst>
            </p:cNvPr>
            <p:cNvSpPr/>
            <p:nvPr/>
          </p:nvSpPr>
          <p:spPr>
            <a:xfrm>
              <a:off x="40469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0" name="Google Shape;9793;p65">
              <a:extLst>
                <a:ext uri="{FF2B5EF4-FFF2-40B4-BE49-F238E27FC236}">
                  <a16:creationId xmlns:a16="http://schemas.microsoft.com/office/drawing/2014/main" id="{19FE75B9-7F0F-CCF5-3604-B3FEA53D74F4}"/>
                </a:ext>
              </a:extLst>
            </p:cNvPr>
            <p:cNvSpPr/>
            <p:nvPr/>
          </p:nvSpPr>
          <p:spPr>
            <a:xfrm>
              <a:off x="40469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1" name="Google Shape;9794;p65">
              <a:extLst>
                <a:ext uri="{FF2B5EF4-FFF2-40B4-BE49-F238E27FC236}">
                  <a16:creationId xmlns:a16="http://schemas.microsoft.com/office/drawing/2014/main" id="{BFA2E657-99C9-0409-DF46-6C6305FE5BF6}"/>
                </a:ext>
              </a:extLst>
            </p:cNvPr>
            <p:cNvSpPr/>
            <p:nvPr/>
          </p:nvSpPr>
          <p:spPr>
            <a:xfrm>
              <a:off x="39709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2" name="Google Shape;9795;p65">
              <a:extLst>
                <a:ext uri="{FF2B5EF4-FFF2-40B4-BE49-F238E27FC236}">
                  <a16:creationId xmlns:a16="http://schemas.microsoft.com/office/drawing/2014/main" id="{C3B9D838-6831-77EF-08CE-0D2DA9C9E8AF}"/>
                </a:ext>
              </a:extLst>
            </p:cNvPr>
            <p:cNvSpPr/>
            <p:nvPr/>
          </p:nvSpPr>
          <p:spPr>
            <a:xfrm>
              <a:off x="39709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3" name="Google Shape;9796;p65">
              <a:extLst>
                <a:ext uri="{FF2B5EF4-FFF2-40B4-BE49-F238E27FC236}">
                  <a16:creationId xmlns:a16="http://schemas.microsoft.com/office/drawing/2014/main" id="{6BB33FF1-1B83-86CA-9ECF-850F16D52FD2}"/>
                </a:ext>
              </a:extLst>
            </p:cNvPr>
            <p:cNvSpPr/>
            <p:nvPr/>
          </p:nvSpPr>
          <p:spPr>
            <a:xfrm>
              <a:off x="39709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4" name="Google Shape;9797;p65">
              <a:extLst>
                <a:ext uri="{FF2B5EF4-FFF2-40B4-BE49-F238E27FC236}">
                  <a16:creationId xmlns:a16="http://schemas.microsoft.com/office/drawing/2014/main" id="{E4882B95-1D6E-1169-A456-4F46CEB91DF4}"/>
                </a:ext>
              </a:extLst>
            </p:cNvPr>
            <p:cNvSpPr/>
            <p:nvPr/>
          </p:nvSpPr>
          <p:spPr>
            <a:xfrm>
              <a:off x="39709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5" name="Google Shape;9798;p65">
              <a:extLst>
                <a:ext uri="{FF2B5EF4-FFF2-40B4-BE49-F238E27FC236}">
                  <a16:creationId xmlns:a16="http://schemas.microsoft.com/office/drawing/2014/main" id="{BD73B2BD-DB57-B39C-EF1F-0C9B2DE50161}"/>
                </a:ext>
              </a:extLst>
            </p:cNvPr>
            <p:cNvSpPr/>
            <p:nvPr/>
          </p:nvSpPr>
          <p:spPr>
            <a:xfrm>
              <a:off x="39709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6" name="Google Shape;9799;p65">
              <a:extLst>
                <a:ext uri="{FF2B5EF4-FFF2-40B4-BE49-F238E27FC236}">
                  <a16:creationId xmlns:a16="http://schemas.microsoft.com/office/drawing/2014/main" id="{B213AD3A-9B0D-B376-37EA-3C58769C7D21}"/>
                </a:ext>
              </a:extLst>
            </p:cNvPr>
            <p:cNvSpPr/>
            <p:nvPr/>
          </p:nvSpPr>
          <p:spPr>
            <a:xfrm>
              <a:off x="39709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7" name="Google Shape;9800;p65">
              <a:extLst>
                <a:ext uri="{FF2B5EF4-FFF2-40B4-BE49-F238E27FC236}">
                  <a16:creationId xmlns:a16="http://schemas.microsoft.com/office/drawing/2014/main" id="{1AA3CB61-7E9E-6851-2021-BB408B8B1751}"/>
                </a:ext>
              </a:extLst>
            </p:cNvPr>
            <p:cNvSpPr/>
            <p:nvPr/>
          </p:nvSpPr>
          <p:spPr>
            <a:xfrm>
              <a:off x="39709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8" name="Google Shape;9801;p65">
              <a:extLst>
                <a:ext uri="{FF2B5EF4-FFF2-40B4-BE49-F238E27FC236}">
                  <a16:creationId xmlns:a16="http://schemas.microsoft.com/office/drawing/2014/main" id="{618BF4CE-134C-7A6B-BBC3-A5200BFF49D5}"/>
                </a:ext>
              </a:extLst>
            </p:cNvPr>
            <p:cNvSpPr/>
            <p:nvPr/>
          </p:nvSpPr>
          <p:spPr>
            <a:xfrm>
              <a:off x="39709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69" name="Google Shape;9802;p65">
              <a:extLst>
                <a:ext uri="{FF2B5EF4-FFF2-40B4-BE49-F238E27FC236}">
                  <a16:creationId xmlns:a16="http://schemas.microsoft.com/office/drawing/2014/main" id="{7C159F15-646D-35C1-D9E6-AD3A2295FBBA}"/>
                </a:ext>
              </a:extLst>
            </p:cNvPr>
            <p:cNvSpPr/>
            <p:nvPr/>
          </p:nvSpPr>
          <p:spPr>
            <a:xfrm>
              <a:off x="39709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0" name="Google Shape;9803;p65">
              <a:extLst>
                <a:ext uri="{FF2B5EF4-FFF2-40B4-BE49-F238E27FC236}">
                  <a16:creationId xmlns:a16="http://schemas.microsoft.com/office/drawing/2014/main" id="{5244BF8F-9474-57A9-3623-0FACFE1DFE7D}"/>
                </a:ext>
              </a:extLst>
            </p:cNvPr>
            <p:cNvSpPr/>
            <p:nvPr/>
          </p:nvSpPr>
          <p:spPr>
            <a:xfrm>
              <a:off x="38947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1" name="Google Shape;9804;p65">
              <a:extLst>
                <a:ext uri="{FF2B5EF4-FFF2-40B4-BE49-F238E27FC236}">
                  <a16:creationId xmlns:a16="http://schemas.microsoft.com/office/drawing/2014/main" id="{A122DEBD-1D92-C432-370C-EF85B190F463}"/>
                </a:ext>
              </a:extLst>
            </p:cNvPr>
            <p:cNvSpPr/>
            <p:nvPr/>
          </p:nvSpPr>
          <p:spPr>
            <a:xfrm>
              <a:off x="38947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4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2" name="Google Shape;9805;p65">
              <a:extLst>
                <a:ext uri="{FF2B5EF4-FFF2-40B4-BE49-F238E27FC236}">
                  <a16:creationId xmlns:a16="http://schemas.microsoft.com/office/drawing/2014/main" id="{4E8C1495-3624-A0E2-03AD-7212BAA23720}"/>
                </a:ext>
              </a:extLst>
            </p:cNvPr>
            <p:cNvSpPr/>
            <p:nvPr/>
          </p:nvSpPr>
          <p:spPr>
            <a:xfrm>
              <a:off x="38947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3" name="Google Shape;9806;p65">
              <a:extLst>
                <a:ext uri="{FF2B5EF4-FFF2-40B4-BE49-F238E27FC236}">
                  <a16:creationId xmlns:a16="http://schemas.microsoft.com/office/drawing/2014/main" id="{F2054A26-4854-0917-6A72-0325DDC14261}"/>
                </a:ext>
              </a:extLst>
            </p:cNvPr>
            <p:cNvSpPr/>
            <p:nvPr/>
          </p:nvSpPr>
          <p:spPr>
            <a:xfrm>
              <a:off x="38947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4" name="Google Shape;9807;p65">
              <a:extLst>
                <a:ext uri="{FF2B5EF4-FFF2-40B4-BE49-F238E27FC236}">
                  <a16:creationId xmlns:a16="http://schemas.microsoft.com/office/drawing/2014/main" id="{937EA7B6-ED36-5D79-47F4-7BC889159C36}"/>
                </a:ext>
              </a:extLst>
            </p:cNvPr>
            <p:cNvSpPr/>
            <p:nvPr/>
          </p:nvSpPr>
          <p:spPr>
            <a:xfrm>
              <a:off x="38947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5" name="Google Shape;9808;p65">
              <a:extLst>
                <a:ext uri="{FF2B5EF4-FFF2-40B4-BE49-F238E27FC236}">
                  <a16:creationId xmlns:a16="http://schemas.microsoft.com/office/drawing/2014/main" id="{6C18F8C9-08A5-C1BA-79F6-AF640EAD4C1B}"/>
                </a:ext>
              </a:extLst>
            </p:cNvPr>
            <p:cNvSpPr/>
            <p:nvPr/>
          </p:nvSpPr>
          <p:spPr>
            <a:xfrm>
              <a:off x="3894725" y="1571400"/>
              <a:ext cx="62175" cy="53250"/>
            </a:xfrm>
            <a:custGeom>
              <a:avLst/>
              <a:gdLst/>
              <a:ahLst/>
              <a:cxnLst/>
              <a:rect l="l" t="t" r="r" b="b"/>
              <a:pathLst>
                <a:path w="2487" h="2130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6" name="Google Shape;9809;p65">
              <a:extLst>
                <a:ext uri="{FF2B5EF4-FFF2-40B4-BE49-F238E27FC236}">
                  <a16:creationId xmlns:a16="http://schemas.microsoft.com/office/drawing/2014/main" id="{F23087ED-FC97-C4F5-1CE5-5846396C60B0}"/>
                </a:ext>
              </a:extLst>
            </p:cNvPr>
            <p:cNvSpPr/>
            <p:nvPr/>
          </p:nvSpPr>
          <p:spPr>
            <a:xfrm>
              <a:off x="38947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7" name="Google Shape;9810;p65">
              <a:extLst>
                <a:ext uri="{FF2B5EF4-FFF2-40B4-BE49-F238E27FC236}">
                  <a16:creationId xmlns:a16="http://schemas.microsoft.com/office/drawing/2014/main" id="{AE27E2A2-5F44-9156-BC28-ABA4AD6E8379}"/>
                </a:ext>
              </a:extLst>
            </p:cNvPr>
            <p:cNvSpPr/>
            <p:nvPr/>
          </p:nvSpPr>
          <p:spPr>
            <a:xfrm>
              <a:off x="38947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8" name="Google Shape;9811;p65">
              <a:extLst>
                <a:ext uri="{FF2B5EF4-FFF2-40B4-BE49-F238E27FC236}">
                  <a16:creationId xmlns:a16="http://schemas.microsoft.com/office/drawing/2014/main" id="{1FCDFC1A-6274-3030-C9AC-3032B2828E9F}"/>
                </a:ext>
              </a:extLst>
            </p:cNvPr>
            <p:cNvSpPr/>
            <p:nvPr/>
          </p:nvSpPr>
          <p:spPr>
            <a:xfrm>
              <a:off x="38947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79" name="Google Shape;9812;p65">
              <a:extLst>
                <a:ext uri="{FF2B5EF4-FFF2-40B4-BE49-F238E27FC236}">
                  <a16:creationId xmlns:a16="http://schemas.microsoft.com/office/drawing/2014/main" id="{10965BCB-BD51-351C-6B61-C41A56FB6FAE}"/>
                </a:ext>
              </a:extLst>
            </p:cNvPr>
            <p:cNvSpPr/>
            <p:nvPr/>
          </p:nvSpPr>
          <p:spPr>
            <a:xfrm>
              <a:off x="38947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0" name="Google Shape;9813;p65">
              <a:extLst>
                <a:ext uri="{FF2B5EF4-FFF2-40B4-BE49-F238E27FC236}">
                  <a16:creationId xmlns:a16="http://schemas.microsoft.com/office/drawing/2014/main" id="{80B09995-9618-19DE-2A89-71FE667793D6}"/>
                </a:ext>
              </a:extLst>
            </p:cNvPr>
            <p:cNvSpPr/>
            <p:nvPr/>
          </p:nvSpPr>
          <p:spPr>
            <a:xfrm>
              <a:off x="38185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1" name="Google Shape;9814;p65">
              <a:extLst>
                <a:ext uri="{FF2B5EF4-FFF2-40B4-BE49-F238E27FC236}">
                  <a16:creationId xmlns:a16="http://schemas.microsoft.com/office/drawing/2014/main" id="{1F5EB3F1-69AC-7FE0-81C5-7A3CD5FE0A17}"/>
                </a:ext>
              </a:extLst>
            </p:cNvPr>
            <p:cNvSpPr/>
            <p:nvPr/>
          </p:nvSpPr>
          <p:spPr>
            <a:xfrm>
              <a:off x="38185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2" name="Google Shape;9815;p65">
              <a:extLst>
                <a:ext uri="{FF2B5EF4-FFF2-40B4-BE49-F238E27FC236}">
                  <a16:creationId xmlns:a16="http://schemas.microsoft.com/office/drawing/2014/main" id="{B0991E4A-256F-6A78-F591-878B7D3BAF28}"/>
                </a:ext>
              </a:extLst>
            </p:cNvPr>
            <p:cNvSpPr/>
            <p:nvPr/>
          </p:nvSpPr>
          <p:spPr>
            <a:xfrm>
              <a:off x="38185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3" name="Google Shape;9816;p65">
              <a:extLst>
                <a:ext uri="{FF2B5EF4-FFF2-40B4-BE49-F238E27FC236}">
                  <a16:creationId xmlns:a16="http://schemas.microsoft.com/office/drawing/2014/main" id="{85766689-1174-F815-5111-EC1C7D864E66}"/>
                </a:ext>
              </a:extLst>
            </p:cNvPr>
            <p:cNvSpPr/>
            <p:nvPr/>
          </p:nvSpPr>
          <p:spPr>
            <a:xfrm>
              <a:off x="38185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4" name="Google Shape;9817;p65">
              <a:extLst>
                <a:ext uri="{FF2B5EF4-FFF2-40B4-BE49-F238E27FC236}">
                  <a16:creationId xmlns:a16="http://schemas.microsoft.com/office/drawing/2014/main" id="{7C1A0243-1465-D5B1-57EA-1F52631F2B12}"/>
                </a:ext>
              </a:extLst>
            </p:cNvPr>
            <p:cNvSpPr/>
            <p:nvPr/>
          </p:nvSpPr>
          <p:spPr>
            <a:xfrm>
              <a:off x="38185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5" name="Google Shape;9818;p65">
              <a:extLst>
                <a:ext uri="{FF2B5EF4-FFF2-40B4-BE49-F238E27FC236}">
                  <a16:creationId xmlns:a16="http://schemas.microsoft.com/office/drawing/2014/main" id="{6DD1DB7C-1A84-2470-FF9C-C07286DB14ED}"/>
                </a:ext>
              </a:extLst>
            </p:cNvPr>
            <p:cNvSpPr/>
            <p:nvPr/>
          </p:nvSpPr>
          <p:spPr>
            <a:xfrm>
              <a:off x="38185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6" name="Google Shape;9819;p65">
              <a:extLst>
                <a:ext uri="{FF2B5EF4-FFF2-40B4-BE49-F238E27FC236}">
                  <a16:creationId xmlns:a16="http://schemas.microsoft.com/office/drawing/2014/main" id="{57723B0F-883C-BF0E-FCB0-3D8BBEA9F5F7}"/>
                </a:ext>
              </a:extLst>
            </p:cNvPr>
            <p:cNvSpPr/>
            <p:nvPr/>
          </p:nvSpPr>
          <p:spPr>
            <a:xfrm>
              <a:off x="38185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7" name="Google Shape;9820;p65">
              <a:extLst>
                <a:ext uri="{FF2B5EF4-FFF2-40B4-BE49-F238E27FC236}">
                  <a16:creationId xmlns:a16="http://schemas.microsoft.com/office/drawing/2014/main" id="{91E6483F-D24B-3D0A-4CFD-3BEBD5187E76}"/>
                </a:ext>
              </a:extLst>
            </p:cNvPr>
            <p:cNvSpPr/>
            <p:nvPr/>
          </p:nvSpPr>
          <p:spPr>
            <a:xfrm>
              <a:off x="38185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8" name="Google Shape;9821;p65">
              <a:extLst>
                <a:ext uri="{FF2B5EF4-FFF2-40B4-BE49-F238E27FC236}">
                  <a16:creationId xmlns:a16="http://schemas.microsoft.com/office/drawing/2014/main" id="{612E2782-16FF-6F1F-7807-8B0536F7AA87}"/>
                </a:ext>
              </a:extLst>
            </p:cNvPr>
            <p:cNvSpPr/>
            <p:nvPr/>
          </p:nvSpPr>
          <p:spPr>
            <a:xfrm>
              <a:off x="38185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89" name="Google Shape;9822;p65">
              <a:extLst>
                <a:ext uri="{FF2B5EF4-FFF2-40B4-BE49-F238E27FC236}">
                  <a16:creationId xmlns:a16="http://schemas.microsoft.com/office/drawing/2014/main" id="{D1FA3BC8-AAEF-2A47-6C8B-F51DB15717F5}"/>
                </a:ext>
              </a:extLst>
            </p:cNvPr>
            <p:cNvSpPr/>
            <p:nvPr/>
          </p:nvSpPr>
          <p:spPr>
            <a:xfrm>
              <a:off x="38185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0" name="Google Shape;9823;p65">
              <a:extLst>
                <a:ext uri="{FF2B5EF4-FFF2-40B4-BE49-F238E27FC236}">
                  <a16:creationId xmlns:a16="http://schemas.microsoft.com/office/drawing/2014/main" id="{11C49B27-6042-AA57-4BD8-70824EA15A7C}"/>
                </a:ext>
              </a:extLst>
            </p:cNvPr>
            <p:cNvSpPr/>
            <p:nvPr/>
          </p:nvSpPr>
          <p:spPr>
            <a:xfrm>
              <a:off x="38185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1" name="Google Shape;9824;p65">
              <a:extLst>
                <a:ext uri="{FF2B5EF4-FFF2-40B4-BE49-F238E27FC236}">
                  <a16:creationId xmlns:a16="http://schemas.microsoft.com/office/drawing/2014/main" id="{687C2611-2B00-64AA-3D50-679DC8E3889C}"/>
                </a:ext>
              </a:extLst>
            </p:cNvPr>
            <p:cNvSpPr/>
            <p:nvPr/>
          </p:nvSpPr>
          <p:spPr>
            <a:xfrm>
              <a:off x="37423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2" name="Google Shape;9825;p65">
              <a:extLst>
                <a:ext uri="{FF2B5EF4-FFF2-40B4-BE49-F238E27FC236}">
                  <a16:creationId xmlns:a16="http://schemas.microsoft.com/office/drawing/2014/main" id="{1846B0D1-5AFF-7071-5EBB-5F38C8CA974B}"/>
                </a:ext>
              </a:extLst>
            </p:cNvPr>
            <p:cNvSpPr/>
            <p:nvPr/>
          </p:nvSpPr>
          <p:spPr>
            <a:xfrm>
              <a:off x="37423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3" name="Google Shape;9826;p65">
              <a:extLst>
                <a:ext uri="{FF2B5EF4-FFF2-40B4-BE49-F238E27FC236}">
                  <a16:creationId xmlns:a16="http://schemas.microsoft.com/office/drawing/2014/main" id="{79FCC30F-8B47-16B0-D45C-900C9E2CDDD3}"/>
                </a:ext>
              </a:extLst>
            </p:cNvPr>
            <p:cNvSpPr/>
            <p:nvPr/>
          </p:nvSpPr>
          <p:spPr>
            <a:xfrm>
              <a:off x="37423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5"/>
                    <a:pt x="528" y="2132"/>
                    <a:pt x="1076" y="2132"/>
                  </a:cubicBezTo>
                  <a:cubicBezTo>
                    <a:pt x="1335" y="2132"/>
                    <a:pt x="1599" y="2036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4" name="Google Shape;9827;p65">
              <a:extLst>
                <a:ext uri="{FF2B5EF4-FFF2-40B4-BE49-F238E27FC236}">
                  <a16:creationId xmlns:a16="http://schemas.microsoft.com/office/drawing/2014/main" id="{893757F2-17DA-1CC5-3E92-0A657B0CA410}"/>
                </a:ext>
              </a:extLst>
            </p:cNvPr>
            <p:cNvSpPr/>
            <p:nvPr/>
          </p:nvSpPr>
          <p:spPr>
            <a:xfrm>
              <a:off x="37423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5" name="Google Shape;9828;p65">
              <a:extLst>
                <a:ext uri="{FF2B5EF4-FFF2-40B4-BE49-F238E27FC236}">
                  <a16:creationId xmlns:a16="http://schemas.microsoft.com/office/drawing/2014/main" id="{BFCA3B93-69A4-19B0-335F-D4E9B89D02D1}"/>
                </a:ext>
              </a:extLst>
            </p:cNvPr>
            <p:cNvSpPr/>
            <p:nvPr/>
          </p:nvSpPr>
          <p:spPr>
            <a:xfrm>
              <a:off x="37423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6" name="Google Shape;9829;p65">
              <a:extLst>
                <a:ext uri="{FF2B5EF4-FFF2-40B4-BE49-F238E27FC236}">
                  <a16:creationId xmlns:a16="http://schemas.microsoft.com/office/drawing/2014/main" id="{2ECE6DB3-6717-973E-D25B-B94280BDFB43}"/>
                </a:ext>
              </a:extLst>
            </p:cNvPr>
            <p:cNvSpPr/>
            <p:nvPr/>
          </p:nvSpPr>
          <p:spPr>
            <a:xfrm>
              <a:off x="37423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7" name="Google Shape;9830;p65">
              <a:extLst>
                <a:ext uri="{FF2B5EF4-FFF2-40B4-BE49-F238E27FC236}">
                  <a16:creationId xmlns:a16="http://schemas.microsoft.com/office/drawing/2014/main" id="{358B470E-6CC1-0B3E-6F83-134C976F3D2C}"/>
                </a:ext>
              </a:extLst>
            </p:cNvPr>
            <p:cNvSpPr/>
            <p:nvPr/>
          </p:nvSpPr>
          <p:spPr>
            <a:xfrm>
              <a:off x="37423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8" name="Google Shape;9831;p65">
              <a:extLst>
                <a:ext uri="{FF2B5EF4-FFF2-40B4-BE49-F238E27FC236}">
                  <a16:creationId xmlns:a16="http://schemas.microsoft.com/office/drawing/2014/main" id="{DC2E0A9F-F5D7-B642-BCBC-103925652BB6}"/>
                </a:ext>
              </a:extLst>
            </p:cNvPr>
            <p:cNvSpPr/>
            <p:nvPr/>
          </p:nvSpPr>
          <p:spPr>
            <a:xfrm>
              <a:off x="37423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699" name="Google Shape;9832;p65">
              <a:extLst>
                <a:ext uri="{FF2B5EF4-FFF2-40B4-BE49-F238E27FC236}">
                  <a16:creationId xmlns:a16="http://schemas.microsoft.com/office/drawing/2014/main" id="{09165958-BD7A-7D8F-DBF6-38994A11FF57}"/>
                </a:ext>
              </a:extLst>
            </p:cNvPr>
            <p:cNvSpPr/>
            <p:nvPr/>
          </p:nvSpPr>
          <p:spPr>
            <a:xfrm>
              <a:off x="37423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0" name="Google Shape;9833;p65">
              <a:extLst>
                <a:ext uri="{FF2B5EF4-FFF2-40B4-BE49-F238E27FC236}">
                  <a16:creationId xmlns:a16="http://schemas.microsoft.com/office/drawing/2014/main" id="{B1277F87-7E42-81B3-BA6C-444EF74F2AE3}"/>
                </a:ext>
              </a:extLst>
            </p:cNvPr>
            <p:cNvSpPr/>
            <p:nvPr/>
          </p:nvSpPr>
          <p:spPr>
            <a:xfrm>
              <a:off x="36661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1" name="Google Shape;9834;p65">
              <a:extLst>
                <a:ext uri="{FF2B5EF4-FFF2-40B4-BE49-F238E27FC236}">
                  <a16:creationId xmlns:a16="http://schemas.microsoft.com/office/drawing/2014/main" id="{06D561F4-D7DF-2743-B728-438C396C8244}"/>
                </a:ext>
              </a:extLst>
            </p:cNvPr>
            <p:cNvSpPr/>
            <p:nvPr/>
          </p:nvSpPr>
          <p:spPr>
            <a:xfrm>
              <a:off x="36661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2" name="Google Shape;9835;p65">
              <a:extLst>
                <a:ext uri="{FF2B5EF4-FFF2-40B4-BE49-F238E27FC236}">
                  <a16:creationId xmlns:a16="http://schemas.microsoft.com/office/drawing/2014/main" id="{0C217CEE-5EFD-1E46-AF08-D383E5851D9D}"/>
                </a:ext>
              </a:extLst>
            </p:cNvPr>
            <p:cNvSpPr/>
            <p:nvPr/>
          </p:nvSpPr>
          <p:spPr>
            <a:xfrm>
              <a:off x="36661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3" name="Google Shape;9836;p65">
              <a:extLst>
                <a:ext uri="{FF2B5EF4-FFF2-40B4-BE49-F238E27FC236}">
                  <a16:creationId xmlns:a16="http://schemas.microsoft.com/office/drawing/2014/main" id="{A7C5A986-B646-7B79-978A-862279CF9708}"/>
                </a:ext>
              </a:extLst>
            </p:cNvPr>
            <p:cNvSpPr/>
            <p:nvPr/>
          </p:nvSpPr>
          <p:spPr>
            <a:xfrm>
              <a:off x="36661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4" name="Google Shape;9837;p65">
              <a:extLst>
                <a:ext uri="{FF2B5EF4-FFF2-40B4-BE49-F238E27FC236}">
                  <a16:creationId xmlns:a16="http://schemas.microsoft.com/office/drawing/2014/main" id="{598022D9-2849-F70B-D4A7-58694E3F3F16}"/>
                </a:ext>
              </a:extLst>
            </p:cNvPr>
            <p:cNvSpPr/>
            <p:nvPr/>
          </p:nvSpPr>
          <p:spPr>
            <a:xfrm>
              <a:off x="366610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5" name="Google Shape;9838;p65">
              <a:extLst>
                <a:ext uri="{FF2B5EF4-FFF2-40B4-BE49-F238E27FC236}">
                  <a16:creationId xmlns:a16="http://schemas.microsoft.com/office/drawing/2014/main" id="{5C915EB1-25B6-3E84-5090-AFD99C0F36B4}"/>
                </a:ext>
              </a:extLst>
            </p:cNvPr>
            <p:cNvSpPr/>
            <p:nvPr/>
          </p:nvSpPr>
          <p:spPr>
            <a:xfrm>
              <a:off x="35898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6" name="Google Shape;9839;p65">
              <a:extLst>
                <a:ext uri="{FF2B5EF4-FFF2-40B4-BE49-F238E27FC236}">
                  <a16:creationId xmlns:a16="http://schemas.microsoft.com/office/drawing/2014/main" id="{C2B650C7-029C-5D96-5276-CC61F4F67D14}"/>
                </a:ext>
              </a:extLst>
            </p:cNvPr>
            <p:cNvSpPr/>
            <p:nvPr/>
          </p:nvSpPr>
          <p:spPr>
            <a:xfrm>
              <a:off x="35898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7" name="Google Shape;9840;p65">
              <a:extLst>
                <a:ext uri="{FF2B5EF4-FFF2-40B4-BE49-F238E27FC236}">
                  <a16:creationId xmlns:a16="http://schemas.microsoft.com/office/drawing/2014/main" id="{2AAD6369-4A61-1B6C-A346-954E8884EC38}"/>
                </a:ext>
              </a:extLst>
            </p:cNvPr>
            <p:cNvSpPr/>
            <p:nvPr/>
          </p:nvSpPr>
          <p:spPr>
            <a:xfrm>
              <a:off x="35898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8" name="Google Shape;9841;p65">
              <a:extLst>
                <a:ext uri="{FF2B5EF4-FFF2-40B4-BE49-F238E27FC236}">
                  <a16:creationId xmlns:a16="http://schemas.microsoft.com/office/drawing/2014/main" id="{92744699-1645-7A34-2CEA-6D55C61616BA}"/>
                </a:ext>
              </a:extLst>
            </p:cNvPr>
            <p:cNvSpPr/>
            <p:nvPr/>
          </p:nvSpPr>
          <p:spPr>
            <a:xfrm>
              <a:off x="35898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09" name="Google Shape;9842;p65">
              <a:extLst>
                <a:ext uri="{FF2B5EF4-FFF2-40B4-BE49-F238E27FC236}">
                  <a16:creationId xmlns:a16="http://schemas.microsoft.com/office/drawing/2014/main" id="{56713615-7E96-263D-8F9F-1CF5F3B7C8AE}"/>
                </a:ext>
              </a:extLst>
            </p:cNvPr>
            <p:cNvSpPr/>
            <p:nvPr/>
          </p:nvSpPr>
          <p:spPr>
            <a:xfrm>
              <a:off x="35898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0" name="Google Shape;9843;p65">
              <a:extLst>
                <a:ext uri="{FF2B5EF4-FFF2-40B4-BE49-F238E27FC236}">
                  <a16:creationId xmlns:a16="http://schemas.microsoft.com/office/drawing/2014/main" id="{07DD6B1E-7DD0-6A68-730B-439BFCB201AD}"/>
                </a:ext>
              </a:extLst>
            </p:cNvPr>
            <p:cNvSpPr/>
            <p:nvPr/>
          </p:nvSpPr>
          <p:spPr>
            <a:xfrm>
              <a:off x="35136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1" name="Google Shape;9844;p65">
              <a:extLst>
                <a:ext uri="{FF2B5EF4-FFF2-40B4-BE49-F238E27FC236}">
                  <a16:creationId xmlns:a16="http://schemas.microsoft.com/office/drawing/2014/main" id="{2E7A69ED-0FB9-C8EA-09D9-87B6B6793729}"/>
                </a:ext>
              </a:extLst>
            </p:cNvPr>
            <p:cNvSpPr/>
            <p:nvPr/>
          </p:nvSpPr>
          <p:spPr>
            <a:xfrm>
              <a:off x="35136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2" name="Google Shape;9845;p65">
              <a:extLst>
                <a:ext uri="{FF2B5EF4-FFF2-40B4-BE49-F238E27FC236}">
                  <a16:creationId xmlns:a16="http://schemas.microsoft.com/office/drawing/2014/main" id="{0123400C-8810-19D6-E933-B00502F6A9A5}"/>
                </a:ext>
              </a:extLst>
            </p:cNvPr>
            <p:cNvSpPr/>
            <p:nvPr/>
          </p:nvSpPr>
          <p:spPr>
            <a:xfrm>
              <a:off x="35136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3" name="Google Shape;9846;p65">
              <a:extLst>
                <a:ext uri="{FF2B5EF4-FFF2-40B4-BE49-F238E27FC236}">
                  <a16:creationId xmlns:a16="http://schemas.microsoft.com/office/drawing/2014/main" id="{AF1527D5-377B-479D-BDDB-AB3754E3108E}"/>
                </a:ext>
              </a:extLst>
            </p:cNvPr>
            <p:cNvSpPr/>
            <p:nvPr/>
          </p:nvSpPr>
          <p:spPr>
            <a:xfrm>
              <a:off x="35136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4" name="Google Shape;9847;p65">
              <a:extLst>
                <a:ext uri="{FF2B5EF4-FFF2-40B4-BE49-F238E27FC236}">
                  <a16:creationId xmlns:a16="http://schemas.microsoft.com/office/drawing/2014/main" id="{2A72A4F8-700E-5385-1087-F05A98E2DB39}"/>
                </a:ext>
              </a:extLst>
            </p:cNvPr>
            <p:cNvSpPr/>
            <p:nvPr/>
          </p:nvSpPr>
          <p:spPr>
            <a:xfrm>
              <a:off x="35136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5" name="Google Shape;9848;p65">
              <a:extLst>
                <a:ext uri="{FF2B5EF4-FFF2-40B4-BE49-F238E27FC236}">
                  <a16:creationId xmlns:a16="http://schemas.microsoft.com/office/drawing/2014/main" id="{25560BDE-C296-B68E-5AAC-9161E21109CF}"/>
                </a:ext>
              </a:extLst>
            </p:cNvPr>
            <p:cNvSpPr/>
            <p:nvPr/>
          </p:nvSpPr>
          <p:spPr>
            <a:xfrm>
              <a:off x="35136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6" name="Google Shape;9849;p65">
              <a:extLst>
                <a:ext uri="{FF2B5EF4-FFF2-40B4-BE49-F238E27FC236}">
                  <a16:creationId xmlns:a16="http://schemas.microsoft.com/office/drawing/2014/main" id="{BE02EC9E-DE56-8399-F017-735C00E86091}"/>
                </a:ext>
              </a:extLst>
            </p:cNvPr>
            <p:cNvSpPr/>
            <p:nvPr/>
          </p:nvSpPr>
          <p:spPr>
            <a:xfrm>
              <a:off x="35136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7" name="Google Shape;9850;p65">
              <a:extLst>
                <a:ext uri="{FF2B5EF4-FFF2-40B4-BE49-F238E27FC236}">
                  <a16:creationId xmlns:a16="http://schemas.microsoft.com/office/drawing/2014/main" id="{8E4453FA-7486-5213-AC58-F759B2EE0531}"/>
                </a:ext>
              </a:extLst>
            </p:cNvPr>
            <p:cNvSpPr/>
            <p:nvPr/>
          </p:nvSpPr>
          <p:spPr>
            <a:xfrm>
              <a:off x="34374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8" name="Google Shape;9851;p65">
              <a:extLst>
                <a:ext uri="{FF2B5EF4-FFF2-40B4-BE49-F238E27FC236}">
                  <a16:creationId xmlns:a16="http://schemas.microsoft.com/office/drawing/2014/main" id="{ABC83444-51A6-B00D-438E-08754527EF16}"/>
                </a:ext>
              </a:extLst>
            </p:cNvPr>
            <p:cNvSpPr/>
            <p:nvPr/>
          </p:nvSpPr>
          <p:spPr>
            <a:xfrm>
              <a:off x="34374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19" name="Google Shape;9852;p65">
              <a:extLst>
                <a:ext uri="{FF2B5EF4-FFF2-40B4-BE49-F238E27FC236}">
                  <a16:creationId xmlns:a16="http://schemas.microsoft.com/office/drawing/2014/main" id="{C9511471-1E65-5C93-EE7C-0B27D277C7E2}"/>
                </a:ext>
              </a:extLst>
            </p:cNvPr>
            <p:cNvSpPr/>
            <p:nvPr/>
          </p:nvSpPr>
          <p:spPr>
            <a:xfrm>
              <a:off x="34374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0" name="Google Shape;9853;p65">
              <a:extLst>
                <a:ext uri="{FF2B5EF4-FFF2-40B4-BE49-F238E27FC236}">
                  <a16:creationId xmlns:a16="http://schemas.microsoft.com/office/drawing/2014/main" id="{153BCEB5-294A-BC03-6CB0-A021756201A0}"/>
                </a:ext>
              </a:extLst>
            </p:cNvPr>
            <p:cNvSpPr/>
            <p:nvPr/>
          </p:nvSpPr>
          <p:spPr>
            <a:xfrm>
              <a:off x="34374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1" name="Google Shape;9854;p65">
              <a:extLst>
                <a:ext uri="{FF2B5EF4-FFF2-40B4-BE49-F238E27FC236}">
                  <a16:creationId xmlns:a16="http://schemas.microsoft.com/office/drawing/2014/main" id="{5A214034-4646-7E61-049B-A73C34F30904}"/>
                </a:ext>
              </a:extLst>
            </p:cNvPr>
            <p:cNvSpPr/>
            <p:nvPr/>
          </p:nvSpPr>
          <p:spPr>
            <a:xfrm>
              <a:off x="34374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2" name="Google Shape;9855;p65">
              <a:extLst>
                <a:ext uri="{FF2B5EF4-FFF2-40B4-BE49-F238E27FC236}">
                  <a16:creationId xmlns:a16="http://schemas.microsoft.com/office/drawing/2014/main" id="{FF2C41BC-CEAC-E9EF-E45F-6591E824ECFE}"/>
                </a:ext>
              </a:extLst>
            </p:cNvPr>
            <p:cNvSpPr/>
            <p:nvPr/>
          </p:nvSpPr>
          <p:spPr>
            <a:xfrm>
              <a:off x="34374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3" name="Google Shape;9856;p65">
              <a:extLst>
                <a:ext uri="{FF2B5EF4-FFF2-40B4-BE49-F238E27FC236}">
                  <a16:creationId xmlns:a16="http://schemas.microsoft.com/office/drawing/2014/main" id="{8170CCB4-676E-C05C-E0BD-125E8E342C7B}"/>
                </a:ext>
              </a:extLst>
            </p:cNvPr>
            <p:cNvSpPr/>
            <p:nvPr/>
          </p:nvSpPr>
          <p:spPr>
            <a:xfrm>
              <a:off x="34374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4" name="Google Shape;9857;p65">
              <a:extLst>
                <a:ext uri="{FF2B5EF4-FFF2-40B4-BE49-F238E27FC236}">
                  <a16:creationId xmlns:a16="http://schemas.microsoft.com/office/drawing/2014/main" id="{B8A2F5E8-61E7-E01E-68B4-8AC1844192D5}"/>
                </a:ext>
              </a:extLst>
            </p:cNvPr>
            <p:cNvSpPr/>
            <p:nvPr/>
          </p:nvSpPr>
          <p:spPr>
            <a:xfrm>
              <a:off x="33614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5" name="Google Shape;9858;p65">
              <a:extLst>
                <a:ext uri="{FF2B5EF4-FFF2-40B4-BE49-F238E27FC236}">
                  <a16:creationId xmlns:a16="http://schemas.microsoft.com/office/drawing/2014/main" id="{C9403582-D736-1B43-3DC3-F0EE136925D0}"/>
                </a:ext>
              </a:extLst>
            </p:cNvPr>
            <p:cNvSpPr/>
            <p:nvPr/>
          </p:nvSpPr>
          <p:spPr>
            <a:xfrm>
              <a:off x="33614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6" name="Google Shape;9859;p65">
              <a:extLst>
                <a:ext uri="{FF2B5EF4-FFF2-40B4-BE49-F238E27FC236}">
                  <a16:creationId xmlns:a16="http://schemas.microsoft.com/office/drawing/2014/main" id="{19559EF9-D8A2-ED43-E9B4-6C5DAC67863C}"/>
                </a:ext>
              </a:extLst>
            </p:cNvPr>
            <p:cNvSpPr/>
            <p:nvPr/>
          </p:nvSpPr>
          <p:spPr>
            <a:xfrm>
              <a:off x="33614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7" name="Google Shape;9860;p65">
              <a:extLst>
                <a:ext uri="{FF2B5EF4-FFF2-40B4-BE49-F238E27FC236}">
                  <a16:creationId xmlns:a16="http://schemas.microsoft.com/office/drawing/2014/main" id="{D1F2ECD0-F262-8D91-72AE-07241D5A11A9}"/>
                </a:ext>
              </a:extLst>
            </p:cNvPr>
            <p:cNvSpPr/>
            <p:nvPr/>
          </p:nvSpPr>
          <p:spPr>
            <a:xfrm>
              <a:off x="33614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8" name="Google Shape;9861;p65">
              <a:extLst>
                <a:ext uri="{FF2B5EF4-FFF2-40B4-BE49-F238E27FC236}">
                  <a16:creationId xmlns:a16="http://schemas.microsoft.com/office/drawing/2014/main" id="{44C0AA93-B326-CC00-FB32-022FA78F5C01}"/>
                </a:ext>
              </a:extLst>
            </p:cNvPr>
            <p:cNvSpPr/>
            <p:nvPr/>
          </p:nvSpPr>
          <p:spPr>
            <a:xfrm>
              <a:off x="32852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29" name="Google Shape;9862;p65">
              <a:extLst>
                <a:ext uri="{FF2B5EF4-FFF2-40B4-BE49-F238E27FC236}">
                  <a16:creationId xmlns:a16="http://schemas.microsoft.com/office/drawing/2014/main" id="{AB49A46E-F713-8AA4-7492-593F0C0DED1A}"/>
                </a:ext>
              </a:extLst>
            </p:cNvPr>
            <p:cNvSpPr/>
            <p:nvPr/>
          </p:nvSpPr>
          <p:spPr>
            <a:xfrm>
              <a:off x="31328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0" name="Google Shape;9863;p65">
              <a:extLst>
                <a:ext uri="{FF2B5EF4-FFF2-40B4-BE49-F238E27FC236}">
                  <a16:creationId xmlns:a16="http://schemas.microsoft.com/office/drawing/2014/main" id="{9E67CA20-8B53-858F-56E7-125EE88A55C6}"/>
                </a:ext>
              </a:extLst>
            </p:cNvPr>
            <p:cNvSpPr/>
            <p:nvPr/>
          </p:nvSpPr>
          <p:spPr>
            <a:xfrm>
              <a:off x="30568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1" name="Google Shape;9864;p65">
              <a:extLst>
                <a:ext uri="{FF2B5EF4-FFF2-40B4-BE49-F238E27FC236}">
                  <a16:creationId xmlns:a16="http://schemas.microsoft.com/office/drawing/2014/main" id="{BFC6AD54-44A2-7B4E-2402-20E9876EB111}"/>
                </a:ext>
              </a:extLst>
            </p:cNvPr>
            <p:cNvSpPr/>
            <p:nvPr/>
          </p:nvSpPr>
          <p:spPr>
            <a:xfrm>
              <a:off x="3056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2" name="Google Shape;9865;p65">
              <a:extLst>
                <a:ext uri="{FF2B5EF4-FFF2-40B4-BE49-F238E27FC236}">
                  <a16:creationId xmlns:a16="http://schemas.microsoft.com/office/drawing/2014/main" id="{72975379-A7AF-6FE6-83B6-105F774FEACB}"/>
                </a:ext>
              </a:extLst>
            </p:cNvPr>
            <p:cNvSpPr/>
            <p:nvPr/>
          </p:nvSpPr>
          <p:spPr>
            <a:xfrm>
              <a:off x="29805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3" name="Google Shape;9866;p65">
              <a:extLst>
                <a:ext uri="{FF2B5EF4-FFF2-40B4-BE49-F238E27FC236}">
                  <a16:creationId xmlns:a16="http://schemas.microsoft.com/office/drawing/2014/main" id="{DDEB404E-4798-B41C-AC8E-4F6B6CE967BE}"/>
                </a:ext>
              </a:extLst>
            </p:cNvPr>
            <p:cNvSpPr/>
            <p:nvPr/>
          </p:nvSpPr>
          <p:spPr>
            <a:xfrm>
              <a:off x="29805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4" name="Google Shape;9867;p65">
              <a:extLst>
                <a:ext uri="{FF2B5EF4-FFF2-40B4-BE49-F238E27FC236}">
                  <a16:creationId xmlns:a16="http://schemas.microsoft.com/office/drawing/2014/main" id="{FFF88330-F495-1C66-124D-9E421C4F720E}"/>
                </a:ext>
              </a:extLst>
            </p:cNvPr>
            <p:cNvSpPr/>
            <p:nvPr/>
          </p:nvSpPr>
          <p:spPr>
            <a:xfrm>
              <a:off x="29805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5" name="Google Shape;9868;p65">
              <a:extLst>
                <a:ext uri="{FF2B5EF4-FFF2-40B4-BE49-F238E27FC236}">
                  <a16:creationId xmlns:a16="http://schemas.microsoft.com/office/drawing/2014/main" id="{92B8B4EB-D2F5-ACD8-DB6F-90A2F41C96D0}"/>
                </a:ext>
              </a:extLst>
            </p:cNvPr>
            <p:cNvSpPr/>
            <p:nvPr/>
          </p:nvSpPr>
          <p:spPr>
            <a:xfrm>
              <a:off x="29805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6" name="Google Shape;9869;p65">
              <a:extLst>
                <a:ext uri="{FF2B5EF4-FFF2-40B4-BE49-F238E27FC236}">
                  <a16:creationId xmlns:a16="http://schemas.microsoft.com/office/drawing/2014/main" id="{E712E6DD-991A-3CA5-EC84-2662C36B6907}"/>
                </a:ext>
              </a:extLst>
            </p:cNvPr>
            <p:cNvSpPr/>
            <p:nvPr/>
          </p:nvSpPr>
          <p:spPr>
            <a:xfrm>
              <a:off x="29805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7" name="Google Shape;9870;p65">
              <a:extLst>
                <a:ext uri="{FF2B5EF4-FFF2-40B4-BE49-F238E27FC236}">
                  <a16:creationId xmlns:a16="http://schemas.microsoft.com/office/drawing/2014/main" id="{351ADFDE-65DE-1194-BBBE-F7C9EACE9D76}"/>
                </a:ext>
              </a:extLst>
            </p:cNvPr>
            <p:cNvSpPr/>
            <p:nvPr/>
          </p:nvSpPr>
          <p:spPr>
            <a:xfrm>
              <a:off x="29805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8" name="Google Shape;9871;p65">
              <a:extLst>
                <a:ext uri="{FF2B5EF4-FFF2-40B4-BE49-F238E27FC236}">
                  <a16:creationId xmlns:a16="http://schemas.microsoft.com/office/drawing/2014/main" id="{512953E8-B338-A51C-13EF-1F9F857DF4AD}"/>
                </a:ext>
              </a:extLst>
            </p:cNvPr>
            <p:cNvSpPr/>
            <p:nvPr/>
          </p:nvSpPr>
          <p:spPr>
            <a:xfrm>
              <a:off x="29043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39" name="Google Shape;9872;p65">
              <a:extLst>
                <a:ext uri="{FF2B5EF4-FFF2-40B4-BE49-F238E27FC236}">
                  <a16:creationId xmlns:a16="http://schemas.microsoft.com/office/drawing/2014/main" id="{6BEF141D-BF83-D285-97D3-A6F89CA91A9C}"/>
                </a:ext>
              </a:extLst>
            </p:cNvPr>
            <p:cNvSpPr/>
            <p:nvPr/>
          </p:nvSpPr>
          <p:spPr>
            <a:xfrm>
              <a:off x="29043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0" name="Google Shape;9873;p65">
              <a:extLst>
                <a:ext uri="{FF2B5EF4-FFF2-40B4-BE49-F238E27FC236}">
                  <a16:creationId xmlns:a16="http://schemas.microsoft.com/office/drawing/2014/main" id="{921B4205-52E5-2046-8F49-8D6E44E0994E}"/>
                </a:ext>
              </a:extLst>
            </p:cNvPr>
            <p:cNvSpPr/>
            <p:nvPr/>
          </p:nvSpPr>
          <p:spPr>
            <a:xfrm>
              <a:off x="29043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1" name="Google Shape;9874;p65">
              <a:extLst>
                <a:ext uri="{FF2B5EF4-FFF2-40B4-BE49-F238E27FC236}">
                  <a16:creationId xmlns:a16="http://schemas.microsoft.com/office/drawing/2014/main" id="{602F09D2-8A70-3092-632F-A41954EF189C}"/>
                </a:ext>
              </a:extLst>
            </p:cNvPr>
            <p:cNvSpPr/>
            <p:nvPr/>
          </p:nvSpPr>
          <p:spPr>
            <a:xfrm>
              <a:off x="29043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2" name="Google Shape;9875;p65">
              <a:extLst>
                <a:ext uri="{FF2B5EF4-FFF2-40B4-BE49-F238E27FC236}">
                  <a16:creationId xmlns:a16="http://schemas.microsoft.com/office/drawing/2014/main" id="{5C4A6D06-911B-6C91-8A8B-DF9EC434EE1F}"/>
                </a:ext>
              </a:extLst>
            </p:cNvPr>
            <p:cNvSpPr/>
            <p:nvPr/>
          </p:nvSpPr>
          <p:spPr>
            <a:xfrm>
              <a:off x="29043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3" name="Google Shape;9876;p65">
              <a:extLst>
                <a:ext uri="{FF2B5EF4-FFF2-40B4-BE49-F238E27FC236}">
                  <a16:creationId xmlns:a16="http://schemas.microsoft.com/office/drawing/2014/main" id="{521F767D-6778-AEF9-6A59-4CB819228ECF}"/>
                </a:ext>
              </a:extLst>
            </p:cNvPr>
            <p:cNvSpPr/>
            <p:nvPr/>
          </p:nvSpPr>
          <p:spPr>
            <a:xfrm>
              <a:off x="29043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4" name="Google Shape;9877;p65">
              <a:extLst>
                <a:ext uri="{FF2B5EF4-FFF2-40B4-BE49-F238E27FC236}">
                  <a16:creationId xmlns:a16="http://schemas.microsoft.com/office/drawing/2014/main" id="{5D458F31-B284-13CD-0513-02383DF1FF8A}"/>
                </a:ext>
              </a:extLst>
            </p:cNvPr>
            <p:cNvSpPr/>
            <p:nvPr/>
          </p:nvSpPr>
          <p:spPr>
            <a:xfrm>
              <a:off x="29043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5" name="Google Shape;9878;p65">
              <a:extLst>
                <a:ext uri="{FF2B5EF4-FFF2-40B4-BE49-F238E27FC236}">
                  <a16:creationId xmlns:a16="http://schemas.microsoft.com/office/drawing/2014/main" id="{C80723BA-2A37-8B92-28F5-02CA09CA3C61}"/>
                </a:ext>
              </a:extLst>
            </p:cNvPr>
            <p:cNvSpPr/>
            <p:nvPr/>
          </p:nvSpPr>
          <p:spPr>
            <a:xfrm>
              <a:off x="28281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6" y="1"/>
                  </a:moveTo>
                  <a:cubicBezTo>
                    <a:pt x="1072" y="1"/>
                    <a:pt x="1069" y="1"/>
                    <a:pt x="1066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6" name="Google Shape;9879;p65">
              <a:extLst>
                <a:ext uri="{FF2B5EF4-FFF2-40B4-BE49-F238E27FC236}">
                  <a16:creationId xmlns:a16="http://schemas.microsoft.com/office/drawing/2014/main" id="{E68323EE-AA5E-C8D9-2161-B64C47ECF441}"/>
                </a:ext>
              </a:extLst>
            </p:cNvPr>
            <p:cNvSpPr/>
            <p:nvPr/>
          </p:nvSpPr>
          <p:spPr>
            <a:xfrm>
              <a:off x="28281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7" name="Google Shape;9880;p65">
              <a:extLst>
                <a:ext uri="{FF2B5EF4-FFF2-40B4-BE49-F238E27FC236}">
                  <a16:creationId xmlns:a16="http://schemas.microsoft.com/office/drawing/2014/main" id="{C8DC864B-F57A-0F86-6CA3-BB2F87075909}"/>
                </a:ext>
              </a:extLst>
            </p:cNvPr>
            <p:cNvSpPr/>
            <p:nvPr/>
          </p:nvSpPr>
          <p:spPr>
            <a:xfrm>
              <a:off x="28281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8" name="Google Shape;9881;p65">
              <a:extLst>
                <a:ext uri="{FF2B5EF4-FFF2-40B4-BE49-F238E27FC236}">
                  <a16:creationId xmlns:a16="http://schemas.microsoft.com/office/drawing/2014/main" id="{80F44E94-3036-C4B1-0590-548716C62655}"/>
                </a:ext>
              </a:extLst>
            </p:cNvPr>
            <p:cNvSpPr/>
            <p:nvPr/>
          </p:nvSpPr>
          <p:spPr>
            <a:xfrm>
              <a:off x="28281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49" name="Google Shape;9882;p65">
              <a:extLst>
                <a:ext uri="{FF2B5EF4-FFF2-40B4-BE49-F238E27FC236}">
                  <a16:creationId xmlns:a16="http://schemas.microsoft.com/office/drawing/2014/main" id="{6E609FD5-1CED-8E6F-8E94-AF92344A9B05}"/>
                </a:ext>
              </a:extLst>
            </p:cNvPr>
            <p:cNvSpPr/>
            <p:nvPr/>
          </p:nvSpPr>
          <p:spPr>
            <a:xfrm>
              <a:off x="28281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0" name="Google Shape;9883;p65">
              <a:extLst>
                <a:ext uri="{FF2B5EF4-FFF2-40B4-BE49-F238E27FC236}">
                  <a16:creationId xmlns:a16="http://schemas.microsoft.com/office/drawing/2014/main" id="{6D5B660C-A90F-AAFC-7D1C-99D2EAC00CD0}"/>
                </a:ext>
              </a:extLst>
            </p:cNvPr>
            <p:cNvSpPr/>
            <p:nvPr/>
          </p:nvSpPr>
          <p:spPr>
            <a:xfrm>
              <a:off x="28281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1" name="Google Shape;9884;p65">
              <a:extLst>
                <a:ext uri="{FF2B5EF4-FFF2-40B4-BE49-F238E27FC236}">
                  <a16:creationId xmlns:a16="http://schemas.microsoft.com/office/drawing/2014/main" id="{044AD7CD-E446-AD0A-A129-F88D6B8B52B8}"/>
                </a:ext>
              </a:extLst>
            </p:cNvPr>
            <p:cNvSpPr/>
            <p:nvPr/>
          </p:nvSpPr>
          <p:spPr>
            <a:xfrm>
              <a:off x="28281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2" name="Google Shape;9885;p65">
              <a:extLst>
                <a:ext uri="{FF2B5EF4-FFF2-40B4-BE49-F238E27FC236}">
                  <a16:creationId xmlns:a16="http://schemas.microsoft.com/office/drawing/2014/main" id="{3710E66A-F9F5-639E-45C4-7D6BEDE7B67F}"/>
                </a:ext>
              </a:extLst>
            </p:cNvPr>
            <p:cNvSpPr/>
            <p:nvPr/>
          </p:nvSpPr>
          <p:spPr>
            <a:xfrm>
              <a:off x="282815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3" name="Google Shape;9886;p65">
              <a:extLst>
                <a:ext uri="{FF2B5EF4-FFF2-40B4-BE49-F238E27FC236}">
                  <a16:creationId xmlns:a16="http://schemas.microsoft.com/office/drawing/2014/main" id="{00386922-6F68-6CDC-430B-D5193F67A934}"/>
                </a:ext>
              </a:extLst>
            </p:cNvPr>
            <p:cNvSpPr/>
            <p:nvPr/>
          </p:nvSpPr>
          <p:spPr>
            <a:xfrm>
              <a:off x="27519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4" name="Google Shape;9887;p65">
              <a:extLst>
                <a:ext uri="{FF2B5EF4-FFF2-40B4-BE49-F238E27FC236}">
                  <a16:creationId xmlns:a16="http://schemas.microsoft.com/office/drawing/2014/main" id="{7DBFB449-6C38-F56E-8E02-8748026886B6}"/>
                </a:ext>
              </a:extLst>
            </p:cNvPr>
            <p:cNvSpPr/>
            <p:nvPr/>
          </p:nvSpPr>
          <p:spPr>
            <a:xfrm>
              <a:off x="27519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5" name="Google Shape;9888;p65">
              <a:extLst>
                <a:ext uri="{FF2B5EF4-FFF2-40B4-BE49-F238E27FC236}">
                  <a16:creationId xmlns:a16="http://schemas.microsoft.com/office/drawing/2014/main" id="{AB40F3FD-1F62-D3BB-402C-9DDE1B5DCA1A}"/>
                </a:ext>
              </a:extLst>
            </p:cNvPr>
            <p:cNvSpPr/>
            <p:nvPr/>
          </p:nvSpPr>
          <p:spPr>
            <a:xfrm>
              <a:off x="27519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6" name="Google Shape;9889;p65">
              <a:extLst>
                <a:ext uri="{FF2B5EF4-FFF2-40B4-BE49-F238E27FC236}">
                  <a16:creationId xmlns:a16="http://schemas.microsoft.com/office/drawing/2014/main" id="{A8C10B61-FBFE-AA33-9CF2-CE7F0BD32592}"/>
                </a:ext>
              </a:extLst>
            </p:cNvPr>
            <p:cNvSpPr/>
            <p:nvPr/>
          </p:nvSpPr>
          <p:spPr>
            <a:xfrm>
              <a:off x="27519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7" name="Google Shape;9890;p65">
              <a:extLst>
                <a:ext uri="{FF2B5EF4-FFF2-40B4-BE49-F238E27FC236}">
                  <a16:creationId xmlns:a16="http://schemas.microsoft.com/office/drawing/2014/main" id="{7AA201AA-5B6A-5E51-281C-715811402E68}"/>
                </a:ext>
              </a:extLst>
            </p:cNvPr>
            <p:cNvSpPr/>
            <p:nvPr/>
          </p:nvSpPr>
          <p:spPr>
            <a:xfrm>
              <a:off x="27519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8" name="Google Shape;9891;p65">
              <a:extLst>
                <a:ext uri="{FF2B5EF4-FFF2-40B4-BE49-F238E27FC236}">
                  <a16:creationId xmlns:a16="http://schemas.microsoft.com/office/drawing/2014/main" id="{6E2D3C32-BADE-4DCD-7AC8-F6DAB8547B79}"/>
                </a:ext>
              </a:extLst>
            </p:cNvPr>
            <p:cNvSpPr/>
            <p:nvPr/>
          </p:nvSpPr>
          <p:spPr>
            <a:xfrm>
              <a:off x="275195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59" name="Google Shape;9892;p65">
              <a:extLst>
                <a:ext uri="{FF2B5EF4-FFF2-40B4-BE49-F238E27FC236}">
                  <a16:creationId xmlns:a16="http://schemas.microsoft.com/office/drawing/2014/main" id="{E060BC9E-0240-34B4-CFB6-B05A905E9255}"/>
                </a:ext>
              </a:extLst>
            </p:cNvPr>
            <p:cNvSpPr/>
            <p:nvPr/>
          </p:nvSpPr>
          <p:spPr>
            <a:xfrm>
              <a:off x="27519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0" name="Google Shape;9893;p65">
              <a:extLst>
                <a:ext uri="{FF2B5EF4-FFF2-40B4-BE49-F238E27FC236}">
                  <a16:creationId xmlns:a16="http://schemas.microsoft.com/office/drawing/2014/main" id="{D5287380-4CBB-1600-51ED-1CA69A595675}"/>
                </a:ext>
              </a:extLst>
            </p:cNvPr>
            <p:cNvSpPr/>
            <p:nvPr/>
          </p:nvSpPr>
          <p:spPr>
            <a:xfrm>
              <a:off x="2751950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1" name="Google Shape;9894;p65">
              <a:extLst>
                <a:ext uri="{FF2B5EF4-FFF2-40B4-BE49-F238E27FC236}">
                  <a16:creationId xmlns:a16="http://schemas.microsoft.com/office/drawing/2014/main" id="{7E57A7DC-E6E7-EE06-E0B2-48583D246CFD}"/>
                </a:ext>
              </a:extLst>
            </p:cNvPr>
            <p:cNvSpPr/>
            <p:nvPr/>
          </p:nvSpPr>
          <p:spPr>
            <a:xfrm>
              <a:off x="2675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2" name="Google Shape;9895;p65">
              <a:extLst>
                <a:ext uri="{FF2B5EF4-FFF2-40B4-BE49-F238E27FC236}">
                  <a16:creationId xmlns:a16="http://schemas.microsoft.com/office/drawing/2014/main" id="{99B400BC-399D-2FA7-AD98-876B26C818EE}"/>
                </a:ext>
              </a:extLst>
            </p:cNvPr>
            <p:cNvSpPr/>
            <p:nvPr/>
          </p:nvSpPr>
          <p:spPr>
            <a:xfrm>
              <a:off x="2675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3" name="Google Shape;9896;p65">
              <a:extLst>
                <a:ext uri="{FF2B5EF4-FFF2-40B4-BE49-F238E27FC236}">
                  <a16:creationId xmlns:a16="http://schemas.microsoft.com/office/drawing/2014/main" id="{40528695-A8E4-1DF2-6044-4F4E472643E5}"/>
                </a:ext>
              </a:extLst>
            </p:cNvPr>
            <p:cNvSpPr/>
            <p:nvPr/>
          </p:nvSpPr>
          <p:spPr>
            <a:xfrm>
              <a:off x="2675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4" name="Google Shape;9897;p65">
              <a:extLst>
                <a:ext uri="{FF2B5EF4-FFF2-40B4-BE49-F238E27FC236}">
                  <a16:creationId xmlns:a16="http://schemas.microsoft.com/office/drawing/2014/main" id="{462757A7-D7B9-56BD-443B-22BD2B1C49FF}"/>
                </a:ext>
              </a:extLst>
            </p:cNvPr>
            <p:cNvSpPr/>
            <p:nvPr/>
          </p:nvSpPr>
          <p:spPr>
            <a:xfrm>
              <a:off x="2675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5" name="Google Shape;9898;p65">
              <a:extLst>
                <a:ext uri="{FF2B5EF4-FFF2-40B4-BE49-F238E27FC236}">
                  <a16:creationId xmlns:a16="http://schemas.microsoft.com/office/drawing/2014/main" id="{22D89CB5-D1F6-8043-9F12-5BD1CB48915C}"/>
                </a:ext>
              </a:extLst>
            </p:cNvPr>
            <p:cNvSpPr/>
            <p:nvPr/>
          </p:nvSpPr>
          <p:spPr>
            <a:xfrm>
              <a:off x="26759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6" name="Google Shape;9899;p65">
              <a:extLst>
                <a:ext uri="{FF2B5EF4-FFF2-40B4-BE49-F238E27FC236}">
                  <a16:creationId xmlns:a16="http://schemas.microsoft.com/office/drawing/2014/main" id="{65266F67-F810-A2C5-1694-F0359D09F73E}"/>
                </a:ext>
              </a:extLst>
            </p:cNvPr>
            <p:cNvSpPr/>
            <p:nvPr/>
          </p:nvSpPr>
          <p:spPr>
            <a:xfrm>
              <a:off x="267592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7" name="Google Shape;9900;p65">
              <a:extLst>
                <a:ext uri="{FF2B5EF4-FFF2-40B4-BE49-F238E27FC236}">
                  <a16:creationId xmlns:a16="http://schemas.microsoft.com/office/drawing/2014/main" id="{B7F15F5D-B6CC-5E9A-A884-D216015F3EB8}"/>
                </a:ext>
              </a:extLst>
            </p:cNvPr>
            <p:cNvSpPr/>
            <p:nvPr/>
          </p:nvSpPr>
          <p:spPr>
            <a:xfrm>
              <a:off x="26759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8" name="Google Shape;9901;p65">
              <a:extLst>
                <a:ext uri="{FF2B5EF4-FFF2-40B4-BE49-F238E27FC236}">
                  <a16:creationId xmlns:a16="http://schemas.microsoft.com/office/drawing/2014/main" id="{FFD3CE1C-6A3E-99D5-434A-FC2A3AF67638}"/>
                </a:ext>
              </a:extLst>
            </p:cNvPr>
            <p:cNvSpPr/>
            <p:nvPr/>
          </p:nvSpPr>
          <p:spPr>
            <a:xfrm>
              <a:off x="26759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69" name="Google Shape;9902;p65">
              <a:extLst>
                <a:ext uri="{FF2B5EF4-FFF2-40B4-BE49-F238E27FC236}">
                  <a16:creationId xmlns:a16="http://schemas.microsoft.com/office/drawing/2014/main" id="{05BC51C3-FAAD-DBF4-F648-F13EC807B77F}"/>
                </a:ext>
              </a:extLst>
            </p:cNvPr>
            <p:cNvSpPr/>
            <p:nvPr/>
          </p:nvSpPr>
          <p:spPr>
            <a:xfrm>
              <a:off x="25997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0" name="Google Shape;9903;p65">
              <a:extLst>
                <a:ext uri="{FF2B5EF4-FFF2-40B4-BE49-F238E27FC236}">
                  <a16:creationId xmlns:a16="http://schemas.microsoft.com/office/drawing/2014/main" id="{D6BE1920-B2E5-BA73-594A-EA4538CCC1BC}"/>
                </a:ext>
              </a:extLst>
            </p:cNvPr>
            <p:cNvSpPr/>
            <p:nvPr/>
          </p:nvSpPr>
          <p:spPr>
            <a:xfrm>
              <a:off x="25997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1" name="Google Shape;9904;p65">
              <a:extLst>
                <a:ext uri="{FF2B5EF4-FFF2-40B4-BE49-F238E27FC236}">
                  <a16:creationId xmlns:a16="http://schemas.microsoft.com/office/drawing/2014/main" id="{8504991C-CC2A-5325-8E60-2F9DEBF59575}"/>
                </a:ext>
              </a:extLst>
            </p:cNvPr>
            <p:cNvSpPr/>
            <p:nvPr/>
          </p:nvSpPr>
          <p:spPr>
            <a:xfrm>
              <a:off x="25997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2" name="Google Shape;9905;p65">
              <a:extLst>
                <a:ext uri="{FF2B5EF4-FFF2-40B4-BE49-F238E27FC236}">
                  <a16:creationId xmlns:a16="http://schemas.microsoft.com/office/drawing/2014/main" id="{87BFFCD8-F1BD-4C23-C8C3-EDD5BEABAFFD}"/>
                </a:ext>
              </a:extLst>
            </p:cNvPr>
            <p:cNvSpPr/>
            <p:nvPr/>
          </p:nvSpPr>
          <p:spPr>
            <a:xfrm>
              <a:off x="25997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3" name="Google Shape;9906;p65">
              <a:extLst>
                <a:ext uri="{FF2B5EF4-FFF2-40B4-BE49-F238E27FC236}">
                  <a16:creationId xmlns:a16="http://schemas.microsoft.com/office/drawing/2014/main" id="{CE94938F-D6F8-1E51-F5F1-0FFEA7B658B3}"/>
                </a:ext>
              </a:extLst>
            </p:cNvPr>
            <p:cNvSpPr/>
            <p:nvPr/>
          </p:nvSpPr>
          <p:spPr>
            <a:xfrm>
              <a:off x="25997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4" name="Google Shape;9907;p65">
              <a:extLst>
                <a:ext uri="{FF2B5EF4-FFF2-40B4-BE49-F238E27FC236}">
                  <a16:creationId xmlns:a16="http://schemas.microsoft.com/office/drawing/2014/main" id="{473A9959-7303-506C-7F98-E4A80156033F}"/>
                </a:ext>
              </a:extLst>
            </p:cNvPr>
            <p:cNvSpPr/>
            <p:nvPr/>
          </p:nvSpPr>
          <p:spPr>
            <a:xfrm>
              <a:off x="25997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5" name="Google Shape;9908;p65">
              <a:extLst>
                <a:ext uri="{FF2B5EF4-FFF2-40B4-BE49-F238E27FC236}">
                  <a16:creationId xmlns:a16="http://schemas.microsoft.com/office/drawing/2014/main" id="{F18492E0-CD46-5071-679B-C48807218769}"/>
                </a:ext>
              </a:extLst>
            </p:cNvPr>
            <p:cNvSpPr/>
            <p:nvPr/>
          </p:nvSpPr>
          <p:spPr>
            <a:xfrm>
              <a:off x="259972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6" name="Google Shape;9909;p65">
              <a:extLst>
                <a:ext uri="{FF2B5EF4-FFF2-40B4-BE49-F238E27FC236}">
                  <a16:creationId xmlns:a16="http://schemas.microsoft.com/office/drawing/2014/main" id="{177DEEBA-076C-FF95-C198-8F880A5F47A3}"/>
                </a:ext>
              </a:extLst>
            </p:cNvPr>
            <p:cNvSpPr/>
            <p:nvPr/>
          </p:nvSpPr>
          <p:spPr>
            <a:xfrm>
              <a:off x="259972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7" name="Google Shape;9910;p65">
              <a:extLst>
                <a:ext uri="{FF2B5EF4-FFF2-40B4-BE49-F238E27FC236}">
                  <a16:creationId xmlns:a16="http://schemas.microsoft.com/office/drawing/2014/main" id="{41A88A09-A6E3-2A12-E817-9FD9E410EF82}"/>
                </a:ext>
              </a:extLst>
            </p:cNvPr>
            <p:cNvSpPr/>
            <p:nvPr/>
          </p:nvSpPr>
          <p:spPr>
            <a:xfrm>
              <a:off x="259972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8" name="Google Shape;9911;p65">
              <a:extLst>
                <a:ext uri="{FF2B5EF4-FFF2-40B4-BE49-F238E27FC236}">
                  <a16:creationId xmlns:a16="http://schemas.microsoft.com/office/drawing/2014/main" id="{32F931DB-8F9E-D0C5-378B-BCBEB9E8CAC1}"/>
                </a:ext>
              </a:extLst>
            </p:cNvPr>
            <p:cNvSpPr/>
            <p:nvPr/>
          </p:nvSpPr>
          <p:spPr>
            <a:xfrm>
              <a:off x="25235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79" name="Google Shape;9912;p65">
              <a:extLst>
                <a:ext uri="{FF2B5EF4-FFF2-40B4-BE49-F238E27FC236}">
                  <a16:creationId xmlns:a16="http://schemas.microsoft.com/office/drawing/2014/main" id="{74D51E24-06CD-8191-5BB2-F544D20B68F5}"/>
                </a:ext>
              </a:extLst>
            </p:cNvPr>
            <p:cNvSpPr/>
            <p:nvPr/>
          </p:nvSpPr>
          <p:spPr>
            <a:xfrm>
              <a:off x="25235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0" name="Google Shape;9913;p65">
              <a:extLst>
                <a:ext uri="{FF2B5EF4-FFF2-40B4-BE49-F238E27FC236}">
                  <a16:creationId xmlns:a16="http://schemas.microsoft.com/office/drawing/2014/main" id="{17E3D019-1A03-19FD-107B-AECF604E087E}"/>
                </a:ext>
              </a:extLst>
            </p:cNvPr>
            <p:cNvSpPr/>
            <p:nvPr/>
          </p:nvSpPr>
          <p:spPr>
            <a:xfrm>
              <a:off x="25235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1" name="Google Shape;9914;p65">
              <a:extLst>
                <a:ext uri="{FF2B5EF4-FFF2-40B4-BE49-F238E27FC236}">
                  <a16:creationId xmlns:a16="http://schemas.microsoft.com/office/drawing/2014/main" id="{60A26B14-C39B-5140-3AE9-47ED68447D5A}"/>
                </a:ext>
              </a:extLst>
            </p:cNvPr>
            <p:cNvSpPr/>
            <p:nvPr/>
          </p:nvSpPr>
          <p:spPr>
            <a:xfrm>
              <a:off x="2523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2" name="Google Shape;9915;p65">
              <a:extLst>
                <a:ext uri="{FF2B5EF4-FFF2-40B4-BE49-F238E27FC236}">
                  <a16:creationId xmlns:a16="http://schemas.microsoft.com/office/drawing/2014/main" id="{40A34D9D-0042-711C-50FF-3345898E9C6D}"/>
                </a:ext>
              </a:extLst>
            </p:cNvPr>
            <p:cNvSpPr/>
            <p:nvPr/>
          </p:nvSpPr>
          <p:spPr>
            <a:xfrm>
              <a:off x="2523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3" name="Google Shape;9916;p65">
              <a:extLst>
                <a:ext uri="{FF2B5EF4-FFF2-40B4-BE49-F238E27FC236}">
                  <a16:creationId xmlns:a16="http://schemas.microsoft.com/office/drawing/2014/main" id="{0939A386-773B-1229-01BB-FAFB24702691}"/>
                </a:ext>
              </a:extLst>
            </p:cNvPr>
            <p:cNvSpPr/>
            <p:nvPr/>
          </p:nvSpPr>
          <p:spPr>
            <a:xfrm>
              <a:off x="25235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4" name="Google Shape;9917;p65">
              <a:extLst>
                <a:ext uri="{FF2B5EF4-FFF2-40B4-BE49-F238E27FC236}">
                  <a16:creationId xmlns:a16="http://schemas.microsoft.com/office/drawing/2014/main" id="{FC1897CA-667F-F60F-1AA1-884C5A5C7AE7}"/>
                </a:ext>
              </a:extLst>
            </p:cNvPr>
            <p:cNvSpPr/>
            <p:nvPr/>
          </p:nvSpPr>
          <p:spPr>
            <a:xfrm>
              <a:off x="25235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5" name="Google Shape;9918;p65">
              <a:extLst>
                <a:ext uri="{FF2B5EF4-FFF2-40B4-BE49-F238E27FC236}">
                  <a16:creationId xmlns:a16="http://schemas.microsoft.com/office/drawing/2014/main" id="{AA8B81DC-1F13-3A43-B162-4CA5622D37A7}"/>
                </a:ext>
              </a:extLst>
            </p:cNvPr>
            <p:cNvSpPr/>
            <p:nvPr/>
          </p:nvSpPr>
          <p:spPr>
            <a:xfrm>
              <a:off x="2523500" y="11905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6" name="Google Shape;9919;p65">
              <a:extLst>
                <a:ext uri="{FF2B5EF4-FFF2-40B4-BE49-F238E27FC236}">
                  <a16:creationId xmlns:a16="http://schemas.microsoft.com/office/drawing/2014/main" id="{70906511-E9D4-04D2-5165-F8A77E4D2B20}"/>
                </a:ext>
              </a:extLst>
            </p:cNvPr>
            <p:cNvSpPr/>
            <p:nvPr/>
          </p:nvSpPr>
          <p:spPr>
            <a:xfrm>
              <a:off x="25235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7" name="Google Shape;9920;p65">
              <a:extLst>
                <a:ext uri="{FF2B5EF4-FFF2-40B4-BE49-F238E27FC236}">
                  <a16:creationId xmlns:a16="http://schemas.microsoft.com/office/drawing/2014/main" id="{155F00D2-23AA-F4F5-96FF-3C7A9368F8B9}"/>
                </a:ext>
              </a:extLst>
            </p:cNvPr>
            <p:cNvSpPr/>
            <p:nvPr/>
          </p:nvSpPr>
          <p:spPr>
            <a:xfrm>
              <a:off x="25235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8" name="Google Shape;9921;p65">
              <a:extLst>
                <a:ext uri="{FF2B5EF4-FFF2-40B4-BE49-F238E27FC236}">
                  <a16:creationId xmlns:a16="http://schemas.microsoft.com/office/drawing/2014/main" id="{4439BB83-11DD-659C-6878-1C1204109155}"/>
                </a:ext>
              </a:extLst>
            </p:cNvPr>
            <p:cNvSpPr/>
            <p:nvPr/>
          </p:nvSpPr>
          <p:spPr>
            <a:xfrm>
              <a:off x="24473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89" name="Google Shape;9922;p65">
              <a:extLst>
                <a:ext uri="{FF2B5EF4-FFF2-40B4-BE49-F238E27FC236}">
                  <a16:creationId xmlns:a16="http://schemas.microsoft.com/office/drawing/2014/main" id="{E8D0BF3A-EFD2-5AEA-A33C-C39E0EEFB525}"/>
                </a:ext>
              </a:extLst>
            </p:cNvPr>
            <p:cNvSpPr/>
            <p:nvPr/>
          </p:nvSpPr>
          <p:spPr>
            <a:xfrm>
              <a:off x="24473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0" name="Google Shape;9923;p65">
              <a:extLst>
                <a:ext uri="{FF2B5EF4-FFF2-40B4-BE49-F238E27FC236}">
                  <a16:creationId xmlns:a16="http://schemas.microsoft.com/office/drawing/2014/main" id="{83BFD162-45D8-E04C-6A21-01E6C31EEABA}"/>
                </a:ext>
              </a:extLst>
            </p:cNvPr>
            <p:cNvSpPr/>
            <p:nvPr/>
          </p:nvSpPr>
          <p:spPr>
            <a:xfrm>
              <a:off x="24473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1" name="Google Shape;9924;p65">
              <a:extLst>
                <a:ext uri="{FF2B5EF4-FFF2-40B4-BE49-F238E27FC236}">
                  <a16:creationId xmlns:a16="http://schemas.microsoft.com/office/drawing/2014/main" id="{9149AB85-F0D8-D2FD-DCED-18E2C48DE1B3}"/>
                </a:ext>
              </a:extLst>
            </p:cNvPr>
            <p:cNvSpPr/>
            <p:nvPr/>
          </p:nvSpPr>
          <p:spPr>
            <a:xfrm>
              <a:off x="24473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2" name="Google Shape;9925;p65">
              <a:extLst>
                <a:ext uri="{FF2B5EF4-FFF2-40B4-BE49-F238E27FC236}">
                  <a16:creationId xmlns:a16="http://schemas.microsoft.com/office/drawing/2014/main" id="{98787772-1048-12A1-C6FC-8E4BF9D8D7DC}"/>
                </a:ext>
              </a:extLst>
            </p:cNvPr>
            <p:cNvSpPr/>
            <p:nvPr/>
          </p:nvSpPr>
          <p:spPr>
            <a:xfrm>
              <a:off x="24473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3" name="Google Shape;9926;p65">
              <a:extLst>
                <a:ext uri="{FF2B5EF4-FFF2-40B4-BE49-F238E27FC236}">
                  <a16:creationId xmlns:a16="http://schemas.microsoft.com/office/drawing/2014/main" id="{EA9BFDD4-0CB1-27E4-745A-D5FBC92FD533}"/>
                </a:ext>
              </a:extLst>
            </p:cNvPr>
            <p:cNvSpPr/>
            <p:nvPr/>
          </p:nvSpPr>
          <p:spPr>
            <a:xfrm>
              <a:off x="24473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4" name="Google Shape;9927;p65">
              <a:extLst>
                <a:ext uri="{FF2B5EF4-FFF2-40B4-BE49-F238E27FC236}">
                  <a16:creationId xmlns:a16="http://schemas.microsoft.com/office/drawing/2014/main" id="{DEE58749-6F59-AEFF-CA5B-DC3BE33BB8FA}"/>
                </a:ext>
              </a:extLst>
            </p:cNvPr>
            <p:cNvSpPr/>
            <p:nvPr/>
          </p:nvSpPr>
          <p:spPr>
            <a:xfrm>
              <a:off x="2447300" y="12665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5" name="Google Shape;9928;p65">
              <a:extLst>
                <a:ext uri="{FF2B5EF4-FFF2-40B4-BE49-F238E27FC236}">
                  <a16:creationId xmlns:a16="http://schemas.microsoft.com/office/drawing/2014/main" id="{9FCF2241-ABE7-5653-8D84-858301497831}"/>
                </a:ext>
              </a:extLst>
            </p:cNvPr>
            <p:cNvSpPr/>
            <p:nvPr/>
          </p:nvSpPr>
          <p:spPr>
            <a:xfrm>
              <a:off x="24473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6" name="Google Shape;9929;p65">
              <a:extLst>
                <a:ext uri="{FF2B5EF4-FFF2-40B4-BE49-F238E27FC236}">
                  <a16:creationId xmlns:a16="http://schemas.microsoft.com/office/drawing/2014/main" id="{6627F38E-F37E-EDC9-5316-4744237C387F}"/>
                </a:ext>
              </a:extLst>
            </p:cNvPr>
            <p:cNvSpPr/>
            <p:nvPr/>
          </p:nvSpPr>
          <p:spPr>
            <a:xfrm>
              <a:off x="2447300" y="11143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7" name="Google Shape;9930;p65">
              <a:extLst>
                <a:ext uri="{FF2B5EF4-FFF2-40B4-BE49-F238E27FC236}">
                  <a16:creationId xmlns:a16="http://schemas.microsoft.com/office/drawing/2014/main" id="{7EE73429-BD1F-ACF5-BC59-EC26DC2A9598}"/>
                </a:ext>
              </a:extLst>
            </p:cNvPr>
            <p:cNvSpPr/>
            <p:nvPr/>
          </p:nvSpPr>
          <p:spPr>
            <a:xfrm>
              <a:off x="24473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8" name="Google Shape;9931;p65">
              <a:extLst>
                <a:ext uri="{FF2B5EF4-FFF2-40B4-BE49-F238E27FC236}">
                  <a16:creationId xmlns:a16="http://schemas.microsoft.com/office/drawing/2014/main" id="{C22B5487-A176-BA7C-D4E0-4946822A8459}"/>
                </a:ext>
              </a:extLst>
            </p:cNvPr>
            <p:cNvSpPr/>
            <p:nvPr/>
          </p:nvSpPr>
          <p:spPr>
            <a:xfrm>
              <a:off x="2371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799" name="Google Shape;9932;p65">
              <a:extLst>
                <a:ext uri="{FF2B5EF4-FFF2-40B4-BE49-F238E27FC236}">
                  <a16:creationId xmlns:a16="http://schemas.microsoft.com/office/drawing/2014/main" id="{F2B36298-42BC-E783-D211-9B1B82DF706F}"/>
                </a:ext>
              </a:extLst>
            </p:cNvPr>
            <p:cNvSpPr/>
            <p:nvPr/>
          </p:nvSpPr>
          <p:spPr>
            <a:xfrm>
              <a:off x="2371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0" name="Google Shape;9933;p65">
              <a:extLst>
                <a:ext uri="{FF2B5EF4-FFF2-40B4-BE49-F238E27FC236}">
                  <a16:creationId xmlns:a16="http://schemas.microsoft.com/office/drawing/2014/main" id="{BAA704A7-5C1D-06A3-4444-C7B68FDEE47A}"/>
                </a:ext>
              </a:extLst>
            </p:cNvPr>
            <p:cNvSpPr/>
            <p:nvPr/>
          </p:nvSpPr>
          <p:spPr>
            <a:xfrm>
              <a:off x="2371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1" name="Google Shape;9934;p65">
              <a:extLst>
                <a:ext uri="{FF2B5EF4-FFF2-40B4-BE49-F238E27FC236}">
                  <a16:creationId xmlns:a16="http://schemas.microsoft.com/office/drawing/2014/main" id="{B72DEC51-745A-5C09-3B39-27931F9B9853}"/>
                </a:ext>
              </a:extLst>
            </p:cNvPr>
            <p:cNvSpPr/>
            <p:nvPr/>
          </p:nvSpPr>
          <p:spPr>
            <a:xfrm>
              <a:off x="2371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2" name="Google Shape;9935;p65">
              <a:extLst>
                <a:ext uri="{FF2B5EF4-FFF2-40B4-BE49-F238E27FC236}">
                  <a16:creationId xmlns:a16="http://schemas.microsoft.com/office/drawing/2014/main" id="{54AFD46E-301D-C4D2-BECA-B973F803A4FC}"/>
                </a:ext>
              </a:extLst>
            </p:cNvPr>
            <p:cNvSpPr/>
            <p:nvPr/>
          </p:nvSpPr>
          <p:spPr>
            <a:xfrm>
              <a:off x="2371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3" name="Google Shape;9936;p65">
              <a:extLst>
                <a:ext uri="{FF2B5EF4-FFF2-40B4-BE49-F238E27FC236}">
                  <a16:creationId xmlns:a16="http://schemas.microsoft.com/office/drawing/2014/main" id="{A0854E61-101A-304A-BD22-B24C2FD5B3FF}"/>
                </a:ext>
              </a:extLst>
            </p:cNvPr>
            <p:cNvSpPr/>
            <p:nvPr/>
          </p:nvSpPr>
          <p:spPr>
            <a:xfrm>
              <a:off x="23712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4" name="Google Shape;9937;p65">
              <a:extLst>
                <a:ext uri="{FF2B5EF4-FFF2-40B4-BE49-F238E27FC236}">
                  <a16:creationId xmlns:a16="http://schemas.microsoft.com/office/drawing/2014/main" id="{295B0B0C-AB11-7D2D-8EAE-C0CFDF1BA621}"/>
                </a:ext>
              </a:extLst>
            </p:cNvPr>
            <p:cNvSpPr/>
            <p:nvPr/>
          </p:nvSpPr>
          <p:spPr>
            <a:xfrm>
              <a:off x="23712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5" name="Google Shape;9938;p65">
              <a:extLst>
                <a:ext uri="{FF2B5EF4-FFF2-40B4-BE49-F238E27FC236}">
                  <a16:creationId xmlns:a16="http://schemas.microsoft.com/office/drawing/2014/main" id="{29A01206-064E-18F1-B15E-869A93621A32}"/>
                </a:ext>
              </a:extLst>
            </p:cNvPr>
            <p:cNvSpPr/>
            <p:nvPr/>
          </p:nvSpPr>
          <p:spPr>
            <a:xfrm>
              <a:off x="23712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6" name="Google Shape;9939;p65">
              <a:extLst>
                <a:ext uri="{FF2B5EF4-FFF2-40B4-BE49-F238E27FC236}">
                  <a16:creationId xmlns:a16="http://schemas.microsoft.com/office/drawing/2014/main" id="{386E5B2A-7D3B-9E29-9D07-4C54DF13C656}"/>
                </a:ext>
              </a:extLst>
            </p:cNvPr>
            <p:cNvSpPr/>
            <p:nvPr/>
          </p:nvSpPr>
          <p:spPr>
            <a:xfrm>
              <a:off x="237127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7" name="Google Shape;9940;p65">
              <a:extLst>
                <a:ext uri="{FF2B5EF4-FFF2-40B4-BE49-F238E27FC236}">
                  <a16:creationId xmlns:a16="http://schemas.microsoft.com/office/drawing/2014/main" id="{559832A8-9432-501A-E5BF-042AC9FAF057}"/>
                </a:ext>
              </a:extLst>
            </p:cNvPr>
            <p:cNvSpPr/>
            <p:nvPr/>
          </p:nvSpPr>
          <p:spPr>
            <a:xfrm>
              <a:off x="22950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8" name="Google Shape;9941;p65">
              <a:extLst>
                <a:ext uri="{FF2B5EF4-FFF2-40B4-BE49-F238E27FC236}">
                  <a16:creationId xmlns:a16="http://schemas.microsoft.com/office/drawing/2014/main" id="{C9F1963C-325E-C358-47B9-C6F9E65C3E87}"/>
                </a:ext>
              </a:extLst>
            </p:cNvPr>
            <p:cNvSpPr/>
            <p:nvPr/>
          </p:nvSpPr>
          <p:spPr>
            <a:xfrm>
              <a:off x="22950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09" name="Google Shape;9942;p65">
              <a:extLst>
                <a:ext uri="{FF2B5EF4-FFF2-40B4-BE49-F238E27FC236}">
                  <a16:creationId xmlns:a16="http://schemas.microsoft.com/office/drawing/2014/main" id="{D22996F5-B1B1-AB11-5C24-207A51606055}"/>
                </a:ext>
              </a:extLst>
            </p:cNvPr>
            <p:cNvSpPr/>
            <p:nvPr/>
          </p:nvSpPr>
          <p:spPr>
            <a:xfrm>
              <a:off x="2295075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0" name="Google Shape;9943;p65">
              <a:extLst>
                <a:ext uri="{FF2B5EF4-FFF2-40B4-BE49-F238E27FC236}">
                  <a16:creationId xmlns:a16="http://schemas.microsoft.com/office/drawing/2014/main" id="{09ED35B4-1C80-29BD-7397-B6FA01DAD145}"/>
                </a:ext>
              </a:extLst>
            </p:cNvPr>
            <p:cNvSpPr/>
            <p:nvPr/>
          </p:nvSpPr>
          <p:spPr>
            <a:xfrm>
              <a:off x="2295075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1" name="Google Shape;9944;p65">
              <a:extLst>
                <a:ext uri="{FF2B5EF4-FFF2-40B4-BE49-F238E27FC236}">
                  <a16:creationId xmlns:a16="http://schemas.microsoft.com/office/drawing/2014/main" id="{35B37E09-F561-D322-D792-5BBDCE981F56}"/>
                </a:ext>
              </a:extLst>
            </p:cNvPr>
            <p:cNvSpPr/>
            <p:nvPr/>
          </p:nvSpPr>
          <p:spPr>
            <a:xfrm>
              <a:off x="22186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9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2" name="Google Shape;9945;p65">
              <a:extLst>
                <a:ext uri="{FF2B5EF4-FFF2-40B4-BE49-F238E27FC236}">
                  <a16:creationId xmlns:a16="http://schemas.microsoft.com/office/drawing/2014/main" id="{1B3BCE9E-7663-2CB4-773C-A8EF14E879C6}"/>
                </a:ext>
              </a:extLst>
            </p:cNvPr>
            <p:cNvSpPr/>
            <p:nvPr/>
          </p:nvSpPr>
          <p:spPr>
            <a:xfrm>
              <a:off x="221865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3" name="Google Shape;9946;p65">
              <a:extLst>
                <a:ext uri="{FF2B5EF4-FFF2-40B4-BE49-F238E27FC236}">
                  <a16:creationId xmlns:a16="http://schemas.microsoft.com/office/drawing/2014/main" id="{7210581C-D9AC-7E2F-B654-ED7D1E01CDBE}"/>
                </a:ext>
              </a:extLst>
            </p:cNvPr>
            <p:cNvSpPr/>
            <p:nvPr/>
          </p:nvSpPr>
          <p:spPr>
            <a:xfrm>
              <a:off x="22186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4" name="Google Shape;9947;p65">
              <a:extLst>
                <a:ext uri="{FF2B5EF4-FFF2-40B4-BE49-F238E27FC236}">
                  <a16:creationId xmlns:a16="http://schemas.microsoft.com/office/drawing/2014/main" id="{95523FCA-BA43-8312-10B5-D91D3694BB59}"/>
                </a:ext>
              </a:extLst>
            </p:cNvPr>
            <p:cNvSpPr/>
            <p:nvPr/>
          </p:nvSpPr>
          <p:spPr>
            <a:xfrm>
              <a:off x="21424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5" name="Google Shape;9948;p65">
              <a:extLst>
                <a:ext uri="{FF2B5EF4-FFF2-40B4-BE49-F238E27FC236}">
                  <a16:creationId xmlns:a16="http://schemas.microsoft.com/office/drawing/2014/main" id="{870137FC-DCF7-01D0-AF77-DAE75BD014B5}"/>
                </a:ext>
              </a:extLst>
            </p:cNvPr>
            <p:cNvSpPr/>
            <p:nvPr/>
          </p:nvSpPr>
          <p:spPr>
            <a:xfrm>
              <a:off x="214242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6" name="Google Shape;9949;p65">
              <a:extLst>
                <a:ext uri="{FF2B5EF4-FFF2-40B4-BE49-F238E27FC236}">
                  <a16:creationId xmlns:a16="http://schemas.microsoft.com/office/drawing/2014/main" id="{ECB37B28-3A3D-4387-BC0A-35283F1FD631}"/>
                </a:ext>
              </a:extLst>
            </p:cNvPr>
            <p:cNvSpPr/>
            <p:nvPr/>
          </p:nvSpPr>
          <p:spPr>
            <a:xfrm>
              <a:off x="2751950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7" name="Google Shape;9950;p65">
              <a:extLst>
                <a:ext uri="{FF2B5EF4-FFF2-40B4-BE49-F238E27FC236}">
                  <a16:creationId xmlns:a16="http://schemas.microsoft.com/office/drawing/2014/main" id="{979242AF-B862-1EE6-40AB-4079776FBE83}"/>
                </a:ext>
              </a:extLst>
            </p:cNvPr>
            <p:cNvSpPr/>
            <p:nvPr/>
          </p:nvSpPr>
          <p:spPr>
            <a:xfrm>
              <a:off x="2751950" y="35519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4" y="2033"/>
                    <a:pt x="1821" y="1814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8" name="Google Shape;9951;p65">
              <a:extLst>
                <a:ext uri="{FF2B5EF4-FFF2-40B4-BE49-F238E27FC236}">
                  <a16:creationId xmlns:a16="http://schemas.microsoft.com/office/drawing/2014/main" id="{1F0AD92F-5B58-583E-2F6D-62BB8D439FE6}"/>
                </a:ext>
              </a:extLst>
            </p:cNvPr>
            <p:cNvSpPr/>
            <p:nvPr/>
          </p:nvSpPr>
          <p:spPr>
            <a:xfrm>
              <a:off x="2751950" y="3475725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19" name="Google Shape;9952;p65">
              <a:extLst>
                <a:ext uri="{FF2B5EF4-FFF2-40B4-BE49-F238E27FC236}">
                  <a16:creationId xmlns:a16="http://schemas.microsoft.com/office/drawing/2014/main" id="{28CA1756-BEC7-A939-AECC-726E89EB2803}"/>
                </a:ext>
              </a:extLst>
            </p:cNvPr>
            <p:cNvSpPr/>
            <p:nvPr/>
          </p:nvSpPr>
          <p:spPr>
            <a:xfrm>
              <a:off x="2675925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0" name="Google Shape;9953;p65">
              <a:extLst>
                <a:ext uri="{FF2B5EF4-FFF2-40B4-BE49-F238E27FC236}">
                  <a16:creationId xmlns:a16="http://schemas.microsoft.com/office/drawing/2014/main" id="{C85BB655-5525-337C-6967-1D82B6559A78}"/>
                </a:ext>
              </a:extLst>
            </p:cNvPr>
            <p:cNvSpPr/>
            <p:nvPr/>
          </p:nvSpPr>
          <p:spPr>
            <a:xfrm>
              <a:off x="26757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1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1" name="Google Shape;9954;p65">
              <a:extLst>
                <a:ext uri="{FF2B5EF4-FFF2-40B4-BE49-F238E27FC236}">
                  <a16:creationId xmlns:a16="http://schemas.microsoft.com/office/drawing/2014/main" id="{63956CC5-C1E7-E967-1815-DCCDA25E45B9}"/>
                </a:ext>
              </a:extLst>
            </p:cNvPr>
            <p:cNvSpPr/>
            <p:nvPr/>
          </p:nvSpPr>
          <p:spPr>
            <a:xfrm>
              <a:off x="26759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2" name="Google Shape;9955;p65">
              <a:extLst>
                <a:ext uri="{FF2B5EF4-FFF2-40B4-BE49-F238E27FC236}">
                  <a16:creationId xmlns:a16="http://schemas.microsoft.com/office/drawing/2014/main" id="{A9B86820-0A22-DBAA-6C75-721B10952FEE}"/>
                </a:ext>
              </a:extLst>
            </p:cNvPr>
            <p:cNvSpPr/>
            <p:nvPr/>
          </p:nvSpPr>
          <p:spPr>
            <a:xfrm>
              <a:off x="26759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3" name="Google Shape;9956;p65">
              <a:extLst>
                <a:ext uri="{FF2B5EF4-FFF2-40B4-BE49-F238E27FC236}">
                  <a16:creationId xmlns:a16="http://schemas.microsoft.com/office/drawing/2014/main" id="{AFC80D77-F6C0-9AF6-2B9E-C18AF5DA835A}"/>
                </a:ext>
              </a:extLst>
            </p:cNvPr>
            <p:cNvSpPr/>
            <p:nvPr/>
          </p:nvSpPr>
          <p:spPr>
            <a:xfrm>
              <a:off x="26759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4" name="Google Shape;9957;p65">
              <a:extLst>
                <a:ext uri="{FF2B5EF4-FFF2-40B4-BE49-F238E27FC236}">
                  <a16:creationId xmlns:a16="http://schemas.microsoft.com/office/drawing/2014/main" id="{3E5DCC47-BC11-E17F-CEBE-4B6D1E0A7245}"/>
                </a:ext>
              </a:extLst>
            </p:cNvPr>
            <p:cNvSpPr/>
            <p:nvPr/>
          </p:nvSpPr>
          <p:spPr>
            <a:xfrm>
              <a:off x="26759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5" name="Google Shape;9958;p65">
              <a:extLst>
                <a:ext uri="{FF2B5EF4-FFF2-40B4-BE49-F238E27FC236}">
                  <a16:creationId xmlns:a16="http://schemas.microsoft.com/office/drawing/2014/main" id="{8DBB61EB-4E1A-720F-CA0E-60F3F243DA96}"/>
                </a:ext>
              </a:extLst>
            </p:cNvPr>
            <p:cNvSpPr/>
            <p:nvPr/>
          </p:nvSpPr>
          <p:spPr>
            <a:xfrm>
              <a:off x="259972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6" name="Google Shape;9959;p65">
              <a:extLst>
                <a:ext uri="{FF2B5EF4-FFF2-40B4-BE49-F238E27FC236}">
                  <a16:creationId xmlns:a16="http://schemas.microsoft.com/office/drawing/2014/main" id="{2CA51C34-75B0-BA1C-3D5A-0DC960A0BF68}"/>
                </a:ext>
              </a:extLst>
            </p:cNvPr>
            <p:cNvSpPr/>
            <p:nvPr/>
          </p:nvSpPr>
          <p:spPr>
            <a:xfrm>
              <a:off x="2599725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72" y="0"/>
                    <a:pt x="0" y="480"/>
                    <a:pt x="0" y="1073"/>
                  </a:cubicBezTo>
                  <a:cubicBezTo>
                    <a:pt x="0" y="1715"/>
                    <a:pt x="526" y="2139"/>
                    <a:pt x="1073" y="2139"/>
                  </a:cubicBezTo>
                  <a:cubicBezTo>
                    <a:pt x="1336" y="2139"/>
                    <a:pt x="1604" y="2040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7" name="Google Shape;9960;p65">
              <a:extLst>
                <a:ext uri="{FF2B5EF4-FFF2-40B4-BE49-F238E27FC236}">
                  <a16:creationId xmlns:a16="http://schemas.microsoft.com/office/drawing/2014/main" id="{AFADCFA0-7D29-19D9-ADA4-16AA78BD933D}"/>
                </a:ext>
              </a:extLst>
            </p:cNvPr>
            <p:cNvSpPr/>
            <p:nvPr/>
          </p:nvSpPr>
          <p:spPr>
            <a:xfrm>
              <a:off x="259972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8" name="Google Shape;9961;p65">
              <a:extLst>
                <a:ext uri="{FF2B5EF4-FFF2-40B4-BE49-F238E27FC236}">
                  <a16:creationId xmlns:a16="http://schemas.microsoft.com/office/drawing/2014/main" id="{8383EC75-83AE-44FE-5744-B3FEFFE9807E}"/>
                </a:ext>
              </a:extLst>
            </p:cNvPr>
            <p:cNvSpPr/>
            <p:nvPr/>
          </p:nvSpPr>
          <p:spPr>
            <a:xfrm>
              <a:off x="259972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29" name="Google Shape;9962;p65">
              <a:extLst>
                <a:ext uri="{FF2B5EF4-FFF2-40B4-BE49-F238E27FC236}">
                  <a16:creationId xmlns:a16="http://schemas.microsoft.com/office/drawing/2014/main" id="{87BCE4E8-96D0-6F3C-5BAE-B1F841F2EBC2}"/>
                </a:ext>
              </a:extLst>
            </p:cNvPr>
            <p:cNvSpPr/>
            <p:nvPr/>
          </p:nvSpPr>
          <p:spPr>
            <a:xfrm>
              <a:off x="259972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0" name="Google Shape;9963;p65">
              <a:extLst>
                <a:ext uri="{FF2B5EF4-FFF2-40B4-BE49-F238E27FC236}">
                  <a16:creationId xmlns:a16="http://schemas.microsoft.com/office/drawing/2014/main" id="{227282E6-A476-A9F4-8848-8A75552245A0}"/>
                </a:ext>
              </a:extLst>
            </p:cNvPr>
            <p:cNvSpPr/>
            <p:nvPr/>
          </p:nvSpPr>
          <p:spPr>
            <a:xfrm>
              <a:off x="259972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1" name="Google Shape;9964;p65">
              <a:extLst>
                <a:ext uri="{FF2B5EF4-FFF2-40B4-BE49-F238E27FC236}">
                  <a16:creationId xmlns:a16="http://schemas.microsoft.com/office/drawing/2014/main" id="{2AAB94A9-131B-FCAF-E360-BB4678BF0C25}"/>
                </a:ext>
              </a:extLst>
            </p:cNvPr>
            <p:cNvSpPr/>
            <p:nvPr/>
          </p:nvSpPr>
          <p:spPr>
            <a:xfrm>
              <a:off x="252350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2" name="Google Shape;9965;p65">
              <a:extLst>
                <a:ext uri="{FF2B5EF4-FFF2-40B4-BE49-F238E27FC236}">
                  <a16:creationId xmlns:a16="http://schemas.microsoft.com/office/drawing/2014/main" id="{9B4CAEF8-F82F-8F1A-EB05-8F430F0FCEEA}"/>
                </a:ext>
              </a:extLst>
            </p:cNvPr>
            <p:cNvSpPr/>
            <p:nvPr/>
          </p:nvSpPr>
          <p:spPr>
            <a:xfrm>
              <a:off x="252350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3" name="Google Shape;9966;p65">
              <a:extLst>
                <a:ext uri="{FF2B5EF4-FFF2-40B4-BE49-F238E27FC236}">
                  <a16:creationId xmlns:a16="http://schemas.microsoft.com/office/drawing/2014/main" id="{F1936266-0AD2-3D2A-01C4-00C3150BD710}"/>
                </a:ext>
              </a:extLst>
            </p:cNvPr>
            <p:cNvSpPr/>
            <p:nvPr/>
          </p:nvSpPr>
          <p:spPr>
            <a:xfrm>
              <a:off x="252350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4" name="Google Shape;9967;p65">
              <a:extLst>
                <a:ext uri="{FF2B5EF4-FFF2-40B4-BE49-F238E27FC236}">
                  <a16:creationId xmlns:a16="http://schemas.microsoft.com/office/drawing/2014/main" id="{201ABD66-7051-519A-A48E-B105DB4B950A}"/>
                </a:ext>
              </a:extLst>
            </p:cNvPr>
            <p:cNvSpPr/>
            <p:nvPr/>
          </p:nvSpPr>
          <p:spPr>
            <a:xfrm>
              <a:off x="252350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5" name="Google Shape;9968;p65">
              <a:extLst>
                <a:ext uri="{FF2B5EF4-FFF2-40B4-BE49-F238E27FC236}">
                  <a16:creationId xmlns:a16="http://schemas.microsoft.com/office/drawing/2014/main" id="{2F96BFBD-4ADD-9942-8768-874E78B78944}"/>
                </a:ext>
              </a:extLst>
            </p:cNvPr>
            <p:cNvSpPr/>
            <p:nvPr/>
          </p:nvSpPr>
          <p:spPr>
            <a:xfrm>
              <a:off x="2523500" y="362795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66" y="0"/>
                  </a:moveTo>
                  <a:cubicBezTo>
                    <a:pt x="480" y="8"/>
                    <a:pt x="1" y="488"/>
                    <a:pt x="1" y="1073"/>
                  </a:cubicBezTo>
                  <a:cubicBezTo>
                    <a:pt x="1" y="1715"/>
                    <a:pt x="527" y="2139"/>
                    <a:pt x="1073" y="2139"/>
                  </a:cubicBezTo>
                  <a:cubicBezTo>
                    <a:pt x="1337" y="2139"/>
                    <a:pt x="1605" y="2040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6" name="Google Shape;9969;p65">
              <a:extLst>
                <a:ext uri="{FF2B5EF4-FFF2-40B4-BE49-F238E27FC236}">
                  <a16:creationId xmlns:a16="http://schemas.microsoft.com/office/drawing/2014/main" id="{C3D6C9AA-CB16-6BD5-04D6-D8046F7BD57A}"/>
                </a:ext>
              </a:extLst>
            </p:cNvPr>
            <p:cNvSpPr/>
            <p:nvPr/>
          </p:nvSpPr>
          <p:spPr>
            <a:xfrm>
              <a:off x="25235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7" name="Google Shape;9970;p65">
              <a:extLst>
                <a:ext uri="{FF2B5EF4-FFF2-40B4-BE49-F238E27FC236}">
                  <a16:creationId xmlns:a16="http://schemas.microsoft.com/office/drawing/2014/main" id="{34E56946-734F-6B47-9528-B1BD1C95A76E}"/>
                </a:ext>
              </a:extLst>
            </p:cNvPr>
            <p:cNvSpPr/>
            <p:nvPr/>
          </p:nvSpPr>
          <p:spPr>
            <a:xfrm>
              <a:off x="25235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8" name="Google Shape;9971;p65">
              <a:extLst>
                <a:ext uri="{FF2B5EF4-FFF2-40B4-BE49-F238E27FC236}">
                  <a16:creationId xmlns:a16="http://schemas.microsoft.com/office/drawing/2014/main" id="{F28773A9-E303-AB44-11A3-2A5278003E3F}"/>
                </a:ext>
              </a:extLst>
            </p:cNvPr>
            <p:cNvSpPr/>
            <p:nvPr/>
          </p:nvSpPr>
          <p:spPr>
            <a:xfrm>
              <a:off x="25235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39" name="Google Shape;9972;p65">
              <a:extLst>
                <a:ext uri="{FF2B5EF4-FFF2-40B4-BE49-F238E27FC236}">
                  <a16:creationId xmlns:a16="http://schemas.microsoft.com/office/drawing/2014/main" id="{CCBE5AAE-1167-3846-03B5-D3B5A2826DCB}"/>
                </a:ext>
              </a:extLst>
            </p:cNvPr>
            <p:cNvSpPr/>
            <p:nvPr/>
          </p:nvSpPr>
          <p:spPr>
            <a:xfrm>
              <a:off x="2447300" y="40852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0" name="Google Shape;9973;p65">
              <a:extLst>
                <a:ext uri="{FF2B5EF4-FFF2-40B4-BE49-F238E27FC236}">
                  <a16:creationId xmlns:a16="http://schemas.microsoft.com/office/drawing/2014/main" id="{E9A96B5B-AE50-7775-FCBC-BB8A8301378F}"/>
                </a:ext>
              </a:extLst>
            </p:cNvPr>
            <p:cNvSpPr/>
            <p:nvPr/>
          </p:nvSpPr>
          <p:spPr>
            <a:xfrm>
              <a:off x="2447300" y="4009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9" y="2134"/>
                    <a:pt x="1078" y="2134"/>
                  </a:cubicBezTo>
                  <a:cubicBezTo>
                    <a:pt x="1339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1" name="Google Shape;9974;p65">
              <a:extLst>
                <a:ext uri="{FF2B5EF4-FFF2-40B4-BE49-F238E27FC236}">
                  <a16:creationId xmlns:a16="http://schemas.microsoft.com/office/drawing/2014/main" id="{616BA891-2995-AD56-8DA4-D038294EC735}"/>
                </a:ext>
              </a:extLst>
            </p:cNvPr>
            <p:cNvSpPr/>
            <p:nvPr/>
          </p:nvSpPr>
          <p:spPr>
            <a:xfrm>
              <a:off x="2447300" y="3932800"/>
              <a:ext cx="62200" cy="53475"/>
            </a:xfrm>
            <a:custGeom>
              <a:avLst/>
              <a:gdLst/>
              <a:ahLst/>
              <a:cxnLst/>
              <a:rect l="l" t="t" r="r" b="b"/>
              <a:pathLst>
                <a:path w="2488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4" y="2041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2" name="Google Shape;9975;p65">
              <a:extLst>
                <a:ext uri="{FF2B5EF4-FFF2-40B4-BE49-F238E27FC236}">
                  <a16:creationId xmlns:a16="http://schemas.microsoft.com/office/drawing/2014/main" id="{73A6DD13-38E4-6359-4527-332B0F00C9BE}"/>
                </a:ext>
              </a:extLst>
            </p:cNvPr>
            <p:cNvSpPr/>
            <p:nvPr/>
          </p:nvSpPr>
          <p:spPr>
            <a:xfrm>
              <a:off x="2447300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3" name="Google Shape;9976;p65">
              <a:extLst>
                <a:ext uri="{FF2B5EF4-FFF2-40B4-BE49-F238E27FC236}">
                  <a16:creationId xmlns:a16="http://schemas.microsoft.com/office/drawing/2014/main" id="{3C0A9B1D-3B26-4287-217B-7B1FEAC22CDC}"/>
                </a:ext>
              </a:extLst>
            </p:cNvPr>
            <p:cNvSpPr/>
            <p:nvPr/>
          </p:nvSpPr>
          <p:spPr>
            <a:xfrm>
              <a:off x="2447300" y="3780375"/>
              <a:ext cx="62400" cy="53475"/>
            </a:xfrm>
            <a:custGeom>
              <a:avLst/>
              <a:gdLst/>
              <a:ahLst/>
              <a:cxnLst/>
              <a:rect l="l" t="t" r="r" b="b"/>
              <a:pathLst>
                <a:path w="2496" h="2139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29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4" name="Google Shape;9977;p65">
              <a:extLst>
                <a:ext uri="{FF2B5EF4-FFF2-40B4-BE49-F238E27FC236}">
                  <a16:creationId xmlns:a16="http://schemas.microsoft.com/office/drawing/2014/main" id="{26385A91-261B-7A64-9F21-D7DCB8B56317}"/>
                </a:ext>
              </a:extLst>
            </p:cNvPr>
            <p:cNvSpPr/>
            <p:nvPr/>
          </p:nvSpPr>
          <p:spPr>
            <a:xfrm>
              <a:off x="2447300" y="37041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5" name="Google Shape;9978;p65">
              <a:extLst>
                <a:ext uri="{FF2B5EF4-FFF2-40B4-BE49-F238E27FC236}">
                  <a16:creationId xmlns:a16="http://schemas.microsoft.com/office/drawing/2014/main" id="{685CFECB-CCC2-2B08-B333-A0227CDD7552}"/>
                </a:ext>
              </a:extLst>
            </p:cNvPr>
            <p:cNvSpPr/>
            <p:nvPr/>
          </p:nvSpPr>
          <p:spPr>
            <a:xfrm>
              <a:off x="2447300" y="36279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8" y="2137"/>
                    <a:pt x="1076" y="2137"/>
                  </a:cubicBezTo>
                  <a:cubicBezTo>
                    <a:pt x="1339" y="2137"/>
                    <a:pt x="1605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6" name="Google Shape;9979;p65">
              <a:extLst>
                <a:ext uri="{FF2B5EF4-FFF2-40B4-BE49-F238E27FC236}">
                  <a16:creationId xmlns:a16="http://schemas.microsoft.com/office/drawing/2014/main" id="{80147482-D246-48E1-5B73-EC3F67A6ECFA}"/>
                </a:ext>
              </a:extLst>
            </p:cNvPr>
            <p:cNvSpPr/>
            <p:nvPr/>
          </p:nvSpPr>
          <p:spPr>
            <a:xfrm>
              <a:off x="2447300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7" name="Google Shape;9980;p65">
              <a:extLst>
                <a:ext uri="{FF2B5EF4-FFF2-40B4-BE49-F238E27FC236}">
                  <a16:creationId xmlns:a16="http://schemas.microsoft.com/office/drawing/2014/main" id="{F3C389C9-5F7F-1778-A137-123DAE3E79E9}"/>
                </a:ext>
              </a:extLst>
            </p:cNvPr>
            <p:cNvSpPr/>
            <p:nvPr/>
          </p:nvSpPr>
          <p:spPr>
            <a:xfrm>
              <a:off x="2447300" y="34757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8" name="Google Shape;9981;p65">
              <a:extLst>
                <a:ext uri="{FF2B5EF4-FFF2-40B4-BE49-F238E27FC236}">
                  <a16:creationId xmlns:a16="http://schemas.microsoft.com/office/drawing/2014/main" id="{636FBA9E-B52E-E634-158E-0EA0191398EB}"/>
                </a:ext>
              </a:extLst>
            </p:cNvPr>
            <p:cNvSpPr/>
            <p:nvPr/>
          </p:nvSpPr>
          <p:spPr>
            <a:xfrm>
              <a:off x="2447300" y="33995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49" name="Google Shape;9982;p65">
              <a:extLst>
                <a:ext uri="{FF2B5EF4-FFF2-40B4-BE49-F238E27FC236}">
                  <a16:creationId xmlns:a16="http://schemas.microsoft.com/office/drawing/2014/main" id="{44A12BC5-2F43-D4F4-07B9-431763220D1C}"/>
                </a:ext>
              </a:extLst>
            </p:cNvPr>
            <p:cNvSpPr/>
            <p:nvPr/>
          </p:nvSpPr>
          <p:spPr>
            <a:xfrm>
              <a:off x="2447300" y="332330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0" name="Google Shape;9983;p65">
              <a:extLst>
                <a:ext uri="{FF2B5EF4-FFF2-40B4-BE49-F238E27FC236}">
                  <a16:creationId xmlns:a16="http://schemas.microsoft.com/office/drawing/2014/main" id="{05417AE0-DC12-0A7F-3D48-30A699721E01}"/>
                </a:ext>
              </a:extLst>
            </p:cNvPr>
            <p:cNvSpPr/>
            <p:nvPr/>
          </p:nvSpPr>
          <p:spPr>
            <a:xfrm>
              <a:off x="237127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8" y="1155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1" name="Google Shape;9984;p65">
              <a:extLst>
                <a:ext uri="{FF2B5EF4-FFF2-40B4-BE49-F238E27FC236}">
                  <a16:creationId xmlns:a16="http://schemas.microsoft.com/office/drawing/2014/main" id="{CC488C97-9726-91BF-20CB-723AF84C0D3F}"/>
                </a:ext>
              </a:extLst>
            </p:cNvPr>
            <p:cNvSpPr/>
            <p:nvPr/>
          </p:nvSpPr>
          <p:spPr>
            <a:xfrm>
              <a:off x="237127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2" name="Google Shape;9985;p65">
              <a:extLst>
                <a:ext uri="{FF2B5EF4-FFF2-40B4-BE49-F238E27FC236}">
                  <a16:creationId xmlns:a16="http://schemas.microsoft.com/office/drawing/2014/main" id="{412BC474-3565-966F-97C1-40EA78F3512A}"/>
                </a:ext>
              </a:extLst>
            </p:cNvPr>
            <p:cNvSpPr/>
            <p:nvPr/>
          </p:nvSpPr>
          <p:spPr>
            <a:xfrm>
              <a:off x="2371275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47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3" name="Google Shape;9986;p65">
              <a:extLst>
                <a:ext uri="{FF2B5EF4-FFF2-40B4-BE49-F238E27FC236}">
                  <a16:creationId xmlns:a16="http://schemas.microsoft.com/office/drawing/2014/main" id="{184E7B12-723D-1F55-6C75-5D6748A04B9C}"/>
                </a:ext>
              </a:extLst>
            </p:cNvPr>
            <p:cNvSpPr/>
            <p:nvPr/>
          </p:nvSpPr>
          <p:spPr>
            <a:xfrm>
              <a:off x="2371275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10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4" name="Google Shape;9987;p65">
              <a:extLst>
                <a:ext uri="{FF2B5EF4-FFF2-40B4-BE49-F238E27FC236}">
                  <a16:creationId xmlns:a16="http://schemas.microsoft.com/office/drawing/2014/main" id="{CC77838F-A201-0C59-C819-FF884AE45013}"/>
                </a:ext>
              </a:extLst>
            </p:cNvPr>
            <p:cNvSpPr/>
            <p:nvPr/>
          </p:nvSpPr>
          <p:spPr>
            <a:xfrm>
              <a:off x="237107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5" name="Google Shape;9988;p65">
              <a:extLst>
                <a:ext uri="{FF2B5EF4-FFF2-40B4-BE49-F238E27FC236}">
                  <a16:creationId xmlns:a16="http://schemas.microsoft.com/office/drawing/2014/main" id="{235F59B7-FBB4-C561-1CCA-D5A49856A885}"/>
                </a:ext>
              </a:extLst>
            </p:cNvPr>
            <p:cNvSpPr/>
            <p:nvPr/>
          </p:nvSpPr>
          <p:spPr>
            <a:xfrm>
              <a:off x="237107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6" name="Google Shape;9989;p65">
              <a:extLst>
                <a:ext uri="{FF2B5EF4-FFF2-40B4-BE49-F238E27FC236}">
                  <a16:creationId xmlns:a16="http://schemas.microsoft.com/office/drawing/2014/main" id="{5289DBC0-6CA5-18C9-8F87-5CC4A38970B4}"/>
                </a:ext>
              </a:extLst>
            </p:cNvPr>
            <p:cNvSpPr/>
            <p:nvPr/>
          </p:nvSpPr>
          <p:spPr>
            <a:xfrm>
              <a:off x="237107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7" name="Google Shape;9990;p65">
              <a:extLst>
                <a:ext uri="{FF2B5EF4-FFF2-40B4-BE49-F238E27FC236}">
                  <a16:creationId xmlns:a16="http://schemas.microsoft.com/office/drawing/2014/main" id="{69CA7B94-6F4B-706F-852A-F40817F954E9}"/>
                </a:ext>
              </a:extLst>
            </p:cNvPr>
            <p:cNvSpPr/>
            <p:nvPr/>
          </p:nvSpPr>
          <p:spPr>
            <a:xfrm>
              <a:off x="237127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8" name="Google Shape;9991;p65">
              <a:extLst>
                <a:ext uri="{FF2B5EF4-FFF2-40B4-BE49-F238E27FC236}">
                  <a16:creationId xmlns:a16="http://schemas.microsoft.com/office/drawing/2014/main" id="{308E0ABF-0CEE-66CF-717A-0DDA7E7D626B}"/>
                </a:ext>
              </a:extLst>
            </p:cNvPr>
            <p:cNvSpPr/>
            <p:nvPr/>
          </p:nvSpPr>
          <p:spPr>
            <a:xfrm>
              <a:off x="237127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59" name="Google Shape;9992;p65">
              <a:extLst>
                <a:ext uri="{FF2B5EF4-FFF2-40B4-BE49-F238E27FC236}">
                  <a16:creationId xmlns:a16="http://schemas.microsoft.com/office/drawing/2014/main" id="{3B73DCAE-C6FF-E7FB-B573-31DC998EC106}"/>
                </a:ext>
              </a:extLst>
            </p:cNvPr>
            <p:cNvSpPr/>
            <p:nvPr/>
          </p:nvSpPr>
          <p:spPr>
            <a:xfrm>
              <a:off x="237107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0" name="Google Shape;9993;p65">
              <a:extLst>
                <a:ext uri="{FF2B5EF4-FFF2-40B4-BE49-F238E27FC236}">
                  <a16:creationId xmlns:a16="http://schemas.microsoft.com/office/drawing/2014/main" id="{63E7D63C-C8BC-C234-F6CC-71F61AD1DE0E}"/>
                </a:ext>
              </a:extLst>
            </p:cNvPr>
            <p:cNvSpPr/>
            <p:nvPr/>
          </p:nvSpPr>
          <p:spPr>
            <a:xfrm>
              <a:off x="237107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1" name="Google Shape;9994;p65">
              <a:extLst>
                <a:ext uri="{FF2B5EF4-FFF2-40B4-BE49-F238E27FC236}">
                  <a16:creationId xmlns:a16="http://schemas.microsoft.com/office/drawing/2014/main" id="{0CB711E6-74DD-58B1-0081-A04001AE4A21}"/>
                </a:ext>
              </a:extLst>
            </p:cNvPr>
            <p:cNvSpPr/>
            <p:nvPr/>
          </p:nvSpPr>
          <p:spPr>
            <a:xfrm>
              <a:off x="237107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2" name="Google Shape;9995;p65">
              <a:extLst>
                <a:ext uri="{FF2B5EF4-FFF2-40B4-BE49-F238E27FC236}">
                  <a16:creationId xmlns:a16="http://schemas.microsoft.com/office/drawing/2014/main" id="{7C7C0811-80B9-76A7-598C-29CCAF8D753C}"/>
                </a:ext>
              </a:extLst>
            </p:cNvPr>
            <p:cNvSpPr/>
            <p:nvPr/>
          </p:nvSpPr>
          <p:spPr>
            <a:xfrm>
              <a:off x="237107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6" y="1154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3" name="Google Shape;9996;p65">
              <a:extLst>
                <a:ext uri="{FF2B5EF4-FFF2-40B4-BE49-F238E27FC236}">
                  <a16:creationId xmlns:a16="http://schemas.microsoft.com/office/drawing/2014/main" id="{AF956024-4A6D-BFBE-1BC1-3FBC8EC3DE3B}"/>
                </a:ext>
              </a:extLst>
            </p:cNvPr>
            <p:cNvSpPr/>
            <p:nvPr/>
          </p:nvSpPr>
          <p:spPr>
            <a:xfrm>
              <a:off x="237107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4" name="Google Shape;9997;p65">
              <a:extLst>
                <a:ext uri="{FF2B5EF4-FFF2-40B4-BE49-F238E27FC236}">
                  <a16:creationId xmlns:a16="http://schemas.microsoft.com/office/drawing/2014/main" id="{96686D54-D28F-E47D-2F38-5CD0E2CB72B5}"/>
                </a:ext>
              </a:extLst>
            </p:cNvPr>
            <p:cNvSpPr/>
            <p:nvPr/>
          </p:nvSpPr>
          <p:spPr>
            <a:xfrm>
              <a:off x="2295075" y="43136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5" name="Google Shape;9998;p65">
              <a:extLst>
                <a:ext uri="{FF2B5EF4-FFF2-40B4-BE49-F238E27FC236}">
                  <a16:creationId xmlns:a16="http://schemas.microsoft.com/office/drawing/2014/main" id="{1ECD0CDE-1F6D-1403-196A-18A80DC0A689}"/>
                </a:ext>
              </a:extLst>
            </p:cNvPr>
            <p:cNvSpPr/>
            <p:nvPr/>
          </p:nvSpPr>
          <p:spPr>
            <a:xfrm>
              <a:off x="2295075" y="42374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6" name="Google Shape;9999;p65">
              <a:extLst>
                <a:ext uri="{FF2B5EF4-FFF2-40B4-BE49-F238E27FC236}">
                  <a16:creationId xmlns:a16="http://schemas.microsoft.com/office/drawing/2014/main" id="{EF01E861-BAA0-118E-A7CA-B02E4CA2A480}"/>
                </a:ext>
              </a:extLst>
            </p:cNvPr>
            <p:cNvSpPr/>
            <p:nvPr/>
          </p:nvSpPr>
          <p:spPr>
            <a:xfrm>
              <a:off x="2295075" y="41614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7" name="Google Shape;10000;p65">
              <a:extLst>
                <a:ext uri="{FF2B5EF4-FFF2-40B4-BE49-F238E27FC236}">
                  <a16:creationId xmlns:a16="http://schemas.microsoft.com/office/drawing/2014/main" id="{B2ABACB2-CD47-DE1C-512B-84B56A976F18}"/>
                </a:ext>
              </a:extLst>
            </p:cNvPr>
            <p:cNvSpPr/>
            <p:nvPr/>
          </p:nvSpPr>
          <p:spPr>
            <a:xfrm>
              <a:off x="2295075" y="40852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1"/>
                  </a:cubicBezTo>
                  <a:cubicBezTo>
                    <a:pt x="2488" y="1147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8" name="Google Shape;10001;p65">
              <a:extLst>
                <a:ext uri="{FF2B5EF4-FFF2-40B4-BE49-F238E27FC236}">
                  <a16:creationId xmlns:a16="http://schemas.microsoft.com/office/drawing/2014/main" id="{4C847302-A292-059A-C460-D03FF1CE2212}"/>
                </a:ext>
              </a:extLst>
            </p:cNvPr>
            <p:cNvSpPr/>
            <p:nvPr/>
          </p:nvSpPr>
          <p:spPr>
            <a:xfrm>
              <a:off x="2295075" y="4009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10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69" name="Google Shape;10002;p65">
              <a:extLst>
                <a:ext uri="{FF2B5EF4-FFF2-40B4-BE49-F238E27FC236}">
                  <a16:creationId xmlns:a16="http://schemas.microsoft.com/office/drawing/2014/main" id="{6EE4C496-3314-F7E0-2EA3-DF0A3DFA4A28}"/>
                </a:ext>
              </a:extLst>
            </p:cNvPr>
            <p:cNvSpPr/>
            <p:nvPr/>
          </p:nvSpPr>
          <p:spPr>
            <a:xfrm>
              <a:off x="2294850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1" y="2139"/>
                    <a:pt x="1078" y="2139"/>
                  </a:cubicBezTo>
                  <a:cubicBezTo>
                    <a:pt x="1342" y="2139"/>
                    <a:pt x="1611" y="2041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0" name="Google Shape;10003;p65">
              <a:extLst>
                <a:ext uri="{FF2B5EF4-FFF2-40B4-BE49-F238E27FC236}">
                  <a16:creationId xmlns:a16="http://schemas.microsoft.com/office/drawing/2014/main" id="{72CE6545-FF70-9616-695C-70CEE08E0E26}"/>
                </a:ext>
              </a:extLst>
            </p:cNvPr>
            <p:cNvSpPr/>
            <p:nvPr/>
          </p:nvSpPr>
          <p:spPr>
            <a:xfrm>
              <a:off x="2295075" y="385677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1" name="Google Shape;10004;p65">
              <a:extLst>
                <a:ext uri="{FF2B5EF4-FFF2-40B4-BE49-F238E27FC236}">
                  <a16:creationId xmlns:a16="http://schemas.microsoft.com/office/drawing/2014/main" id="{A0278B17-D3BB-94F3-5F8C-2A59134E4BEB}"/>
                </a:ext>
              </a:extLst>
            </p:cNvPr>
            <p:cNvSpPr/>
            <p:nvPr/>
          </p:nvSpPr>
          <p:spPr>
            <a:xfrm>
              <a:off x="2294850" y="3780375"/>
              <a:ext cx="62625" cy="53475"/>
            </a:xfrm>
            <a:custGeom>
              <a:avLst/>
              <a:gdLst/>
              <a:ahLst/>
              <a:cxnLst/>
              <a:rect l="l" t="t" r="r" b="b"/>
              <a:pathLst>
                <a:path w="2505" h="2139" extrusionOk="0">
                  <a:moveTo>
                    <a:pt x="1074" y="0"/>
                  </a:moveTo>
                  <a:cubicBezTo>
                    <a:pt x="481" y="0"/>
                    <a:pt x="1" y="480"/>
                    <a:pt x="9" y="1073"/>
                  </a:cubicBezTo>
                  <a:cubicBezTo>
                    <a:pt x="9" y="1715"/>
                    <a:pt x="535" y="2139"/>
                    <a:pt x="1082" y="2139"/>
                  </a:cubicBezTo>
                  <a:cubicBezTo>
                    <a:pt x="1345" y="2139"/>
                    <a:pt x="1613" y="2040"/>
                    <a:pt x="1830" y="1821"/>
                  </a:cubicBezTo>
                  <a:cubicBezTo>
                    <a:pt x="2505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2" name="Google Shape;10005;p65">
              <a:extLst>
                <a:ext uri="{FF2B5EF4-FFF2-40B4-BE49-F238E27FC236}">
                  <a16:creationId xmlns:a16="http://schemas.microsoft.com/office/drawing/2014/main" id="{A5DC6DF3-F07A-5759-F079-830B6C7802FD}"/>
                </a:ext>
              </a:extLst>
            </p:cNvPr>
            <p:cNvSpPr/>
            <p:nvPr/>
          </p:nvSpPr>
          <p:spPr>
            <a:xfrm>
              <a:off x="2295075" y="37041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3" name="Google Shape;10006;p65">
              <a:extLst>
                <a:ext uri="{FF2B5EF4-FFF2-40B4-BE49-F238E27FC236}">
                  <a16:creationId xmlns:a16="http://schemas.microsoft.com/office/drawing/2014/main" id="{6AC783FC-7279-089C-95BA-B011BD1CEFD7}"/>
                </a:ext>
              </a:extLst>
            </p:cNvPr>
            <p:cNvSpPr/>
            <p:nvPr/>
          </p:nvSpPr>
          <p:spPr>
            <a:xfrm>
              <a:off x="2295075" y="36279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4" name="Google Shape;10007;p65">
              <a:extLst>
                <a:ext uri="{FF2B5EF4-FFF2-40B4-BE49-F238E27FC236}">
                  <a16:creationId xmlns:a16="http://schemas.microsoft.com/office/drawing/2014/main" id="{DC67CFB1-D0D4-B0D2-CA31-9A04EA835113}"/>
                </a:ext>
              </a:extLst>
            </p:cNvPr>
            <p:cNvSpPr/>
            <p:nvPr/>
          </p:nvSpPr>
          <p:spPr>
            <a:xfrm>
              <a:off x="2295075" y="3551925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5" name="Google Shape;10008;p65">
              <a:extLst>
                <a:ext uri="{FF2B5EF4-FFF2-40B4-BE49-F238E27FC236}">
                  <a16:creationId xmlns:a16="http://schemas.microsoft.com/office/drawing/2014/main" id="{166CBBB3-402E-D0E8-658F-0B3E68103116}"/>
                </a:ext>
              </a:extLst>
            </p:cNvPr>
            <p:cNvSpPr/>
            <p:nvPr/>
          </p:nvSpPr>
          <p:spPr>
            <a:xfrm>
              <a:off x="2295075" y="34757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6" name="Google Shape;10009;p65">
              <a:extLst>
                <a:ext uri="{FF2B5EF4-FFF2-40B4-BE49-F238E27FC236}">
                  <a16:creationId xmlns:a16="http://schemas.microsoft.com/office/drawing/2014/main" id="{38E9D5AD-C281-FC35-DE5B-194901A6ECC6}"/>
                </a:ext>
              </a:extLst>
            </p:cNvPr>
            <p:cNvSpPr/>
            <p:nvPr/>
          </p:nvSpPr>
          <p:spPr>
            <a:xfrm>
              <a:off x="2295075" y="33995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7" name="Google Shape;10010;p65">
              <a:extLst>
                <a:ext uri="{FF2B5EF4-FFF2-40B4-BE49-F238E27FC236}">
                  <a16:creationId xmlns:a16="http://schemas.microsoft.com/office/drawing/2014/main" id="{40CBBA56-14A1-54DD-4F63-8980FE43EC40}"/>
                </a:ext>
              </a:extLst>
            </p:cNvPr>
            <p:cNvSpPr/>
            <p:nvPr/>
          </p:nvSpPr>
          <p:spPr>
            <a:xfrm>
              <a:off x="22949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4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8" name="Google Shape;10011;p65">
              <a:extLst>
                <a:ext uri="{FF2B5EF4-FFF2-40B4-BE49-F238E27FC236}">
                  <a16:creationId xmlns:a16="http://schemas.microsoft.com/office/drawing/2014/main" id="{206DA2C8-0EE3-DC18-572C-243F2547A751}"/>
                </a:ext>
              </a:extLst>
            </p:cNvPr>
            <p:cNvSpPr/>
            <p:nvPr/>
          </p:nvSpPr>
          <p:spPr>
            <a:xfrm>
              <a:off x="229492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79" name="Google Shape;10012;p65">
              <a:extLst>
                <a:ext uri="{FF2B5EF4-FFF2-40B4-BE49-F238E27FC236}">
                  <a16:creationId xmlns:a16="http://schemas.microsoft.com/office/drawing/2014/main" id="{1E33B66E-9639-40CA-F184-C00F736CF83C}"/>
                </a:ext>
              </a:extLst>
            </p:cNvPr>
            <p:cNvSpPr/>
            <p:nvPr/>
          </p:nvSpPr>
          <p:spPr>
            <a:xfrm>
              <a:off x="2295075" y="317107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2"/>
                    <a:pt x="1813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0" name="Google Shape;10013;p65">
              <a:extLst>
                <a:ext uri="{FF2B5EF4-FFF2-40B4-BE49-F238E27FC236}">
                  <a16:creationId xmlns:a16="http://schemas.microsoft.com/office/drawing/2014/main" id="{281D2792-311D-37BE-20A7-60FFBB8D6F66}"/>
                </a:ext>
              </a:extLst>
            </p:cNvPr>
            <p:cNvSpPr/>
            <p:nvPr/>
          </p:nvSpPr>
          <p:spPr>
            <a:xfrm>
              <a:off x="22950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1" name="Google Shape;10014;p65">
              <a:extLst>
                <a:ext uri="{FF2B5EF4-FFF2-40B4-BE49-F238E27FC236}">
                  <a16:creationId xmlns:a16="http://schemas.microsoft.com/office/drawing/2014/main" id="{AE62B4EA-BE72-CD8B-C065-69DEAF3CF92B}"/>
                </a:ext>
              </a:extLst>
            </p:cNvPr>
            <p:cNvSpPr/>
            <p:nvPr/>
          </p:nvSpPr>
          <p:spPr>
            <a:xfrm>
              <a:off x="221865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2" name="Google Shape;10015;p65">
              <a:extLst>
                <a:ext uri="{FF2B5EF4-FFF2-40B4-BE49-F238E27FC236}">
                  <a16:creationId xmlns:a16="http://schemas.microsoft.com/office/drawing/2014/main" id="{C377FDB2-8A47-B7C3-B164-28E3C2BA7E20}"/>
                </a:ext>
              </a:extLst>
            </p:cNvPr>
            <p:cNvSpPr/>
            <p:nvPr/>
          </p:nvSpPr>
          <p:spPr>
            <a:xfrm>
              <a:off x="2218650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3" name="Google Shape;10016;p65">
              <a:extLst>
                <a:ext uri="{FF2B5EF4-FFF2-40B4-BE49-F238E27FC236}">
                  <a16:creationId xmlns:a16="http://schemas.microsoft.com/office/drawing/2014/main" id="{2E60AFAC-25F3-6D71-3022-6EE3F0D9E091}"/>
                </a:ext>
              </a:extLst>
            </p:cNvPr>
            <p:cNvSpPr/>
            <p:nvPr/>
          </p:nvSpPr>
          <p:spPr>
            <a:xfrm>
              <a:off x="2218650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4" name="Google Shape;10017;p65">
              <a:extLst>
                <a:ext uri="{FF2B5EF4-FFF2-40B4-BE49-F238E27FC236}">
                  <a16:creationId xmlns:a16="http://schemas.microsoft.com/office/drawing/2014/main" id="{ABBA45E0-D020-E6CE-5484-0CD6357BEF93}"/>
                </a:ext>
              </a:extLst>
            </p:cNvPr>
            <p:cNvSpPr/>
            <p:nvPr/>
          </p:nvSpPr>
          <p:spPr>
            <a:xfrm>
              <a:off x="2218650" y="41614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5" name="Google Shape;10018;p65">
              <a:extLst>
                <a:ext uri="{FF2B5EF4-FFF2-40B4-BE49-F238E27FC236}">
                  <a16:creationId xmlns:a16="http://schemas.microsoft.com/office/drawing/2014/main" id="{47B0631D-1BAC-3AB8-CEAA-186B8DDF6E82}"/>
                </a:ext>
              </a:extLst>
            </p:cNvPr>
            <p:cNvSpPr/>
            <p:nvPr/>
          </p:nvSpPr>
          <p:spPr>
            <a:xfrm>
              <a:off x="2218650" y="40852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6" name="Google Shape;10019;p65">
              <a:extLst>
                <a:ext uri="{FF2B5EF4-FFF2-40B4-BE49-F238E27FC236}">
                  <a16:creationId xmlns:a16="http://schemas.microsoft.com/office/drawing/2014/main" id="{E6E9540E-B930-18F2-6858-2F1E2841ACE5}"/>
                </a:ext>
              </a:extLst>
            </p:cNvPr>
            <p:cNvSpPr/>
            <p:nvPr/>
          </p:nvSpPr>
          <p:spPr>
            <a:xfrm>
              <a:off x="2218650" y="4009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7" name="Google Shape;10020;p65">
              <a:extLst>
                <a:ext uri="{FF2B5EF4-FFF2-40B4-BE49-F238E27FC236}">
                  <a16:creationId xmlns:a16="http://schemas.microsoft.com/office/drawing/2014/main" id="{80494536-4513-CBBE-2192-A0E8F1C84CC6}"/>
                </a:ext>
              </a:extLst>
            </p:cNvPr>
            <p:cNvSpPr/>
            <p:nvPr/>
          </p:nvSpPr>
          <p:spPr>
            <a:xfrm>
              <a:off x="2218650" y="3932800"/>
              <a:ext cx="62225" cy="53475"/>
            </a:xfrm>
            <a:custGeom>
              <a:avLst/>
              <a:gdLst/>
              <a:ahLst/>
              <a:cxnLst/>
              <a:rect l="l" t="t" r="r" b="b"/>
              <a:pathLst>
                <a:path w="2489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7" y="2139"/>
                    <a:pt x="1605" y="2041"/>
                    <a:pt x="1821" y="1821"/>
                  </a:cubicBezTo>
                  <a:cubicBezTo>
                    <a:pt x="2488" y="1146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8" name="Google Shape;10021;p65">
              <a:extLst>
                <a:ext uri="{FF2B5EF4-FFF2-40B4-BE49-F238E27FC236}">
                  <a16:creationId xmlns:a16="http://schemas.microsoft.com/office/drawing/2014/main" id="{BD38EE76-7027-3046-ADCE-326377FB58D0}"/>
                </a:ext>
              </a:extLst>
            </p:cNvPr>
            <p:cNvSpPr/>
            <p:nvPr/>
          </p:nvSpPr>
          <p:spPr>
            <a:xfrm>
              <a:off x="2218650" y="38567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89" name="Google Shape;10022;p65">
              <a:extLst>
                <a:ext uri="{FF2B5EF4-FFF2-40B4-BE49-F238E27FC236}">
                  <a16:creationId xmlns:a16="http://schemas.microsoft.com/office/drawing/2014/main" id="{100F7550-7F83-5DCF-9299-076A20FCA8B1}"/>
                </a:ext>
              </a:extLst>
            </p:cNvPr>
            <p:cNvSpPr/>
            <p:nvPr/>
          </p:nvSpPr>
          <p:spPr>
            <a:xfrm>
              <a:off x="2218650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6" y="1715"/>
                    <a:pt x="530" y="2139"/>
                    <a:pt x="1077" y="2139"/>
                  </a:cubicBezTo>
                  <a:cubicBezTo>
                    <a:pt x="1341" y="2139"/>
                    <a:pt x="1610" y="2040"/>
                    <a:pt x="1830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0" name="Google Shape;10023;p65">
              <a:extLst>
                <a:ext uri="{FF2B5EF4-FFF2-40B4-BE49-F238E27FC236}">
                  <a16:creationId xmlns:a16="http://schemas.microsoft.com/office/drawing/2014/main" id="{7FF6906F-CD73-07E9-485E-6250BE37C1EE}"/>
                </a:ext>
              </a:extLst>
            </p:cNvPr>
            <p:cNvSpPr/>
            <p:nvPr/>
          </p:nvSpPr>
          <p:spPr>
            <a:xfrm>
              <a:off x="2218650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1" name="Google Shape;10024;p65">
              <a:extLst>
                <a:ext uri="{FF2B5EF4-FFF2-40B4-BE49-F238E27FC236}">
                  <a16:creationId xmlns:a16="http://schemas.microsoft.com/office/drawing/2014/main" id="{7A89E0CF-B228-8417-FC94-922743EA0610}"/>
                </a:ext>
              </a:extLst>
            </p:cNvPr>
            <p:cNvSpPr/>
            <p:nvPr/>
          </p:nvSpPr>
          <p:spPr>
            <a:xfrm>
              <a:off x="221865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74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2" name="Google Shape;10025;p65">
              <a:extLst>
                <a:ext uri="{FF2B5EF4-FFF2-40B4-BE49-F238E27FC236}">
                  <a16:creationId xmlns:a16="http://schemas.microsoft.com/office/drawing/2014/main" id="{6E3BA68C-B878-FE33-B657-A8BB91F48A07}"/>
                </a:ext>
              </a:extLst>
            </p:cNvPr>
            <p:cNvSpPr/>
            <p:nvPr/>
          </p:nvSpPr>
          <p:spPr>
            <a:xfrm>
              <a:off x="221865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3" name="Google Shape;10026;p65">
              <a:extLst>
                <a:ext uri="{FF2B5EF4-FFF2-40B4-BE49-F238E27FC236}">
                  <a16:creationId xmlns:a16="http://schemas.microsoft.com/office/drawing/2014/main" id="{7F704BCD-A60E-F874-C484-3175EFF2461B}"/>
                </a:ext>
              </a:extLst>
            </p:cNvPr>
            <p:cNvSpPr/>
            <p:nvPr/>
          </p:nvSpPr>
          <p:spPr>
            <a:xfrm>
              <a:off x="22186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4" name="Google Shape;10027;p65">
              <a:extLst>
                <a:ext uri="{FF2B5EF4-FFF2-40B4-BE49-F238E27FC236}">
                  <a16:creationId xmlns:a16="http://schemas.microsoft.com/office/drawing/2014/main" id="{27B573B0-75D4-7986-944F-564A17EEBA0F}"/>
                </a:ext>
              </a:extLst>
            </p:cNvPr>
            <p:cNvSpPr/>
            <p:nvPr/>
          </p:nvSpPr>
          <p:spPr>
            <a:xfrm>
              <a:off x="221865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5" name="Google Shape;10028;p65">
              <a:extLst>
                <a:ext uri="{FF2B5EF4-FFF2-40B4-BE49-F238E27FC236}">
                  <a16:creationId xmlns:a16="http://schemas.microsoft.com/office/drawing/2014/main" id="{CCA9CF45-2E14-6E89-B613-A01D58E756C1}"/>
                </a:ext>
              </a:extLst>
            </p:cNvPr>
            <p:cNvSpPr/>
            <p:nvPr/>
          </p:nvSpPr>
          <p:spPr>
            <a:xfrm>
              <a:off x="221865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7" y="8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6" name="Google Shape;10029;p65">
              <a:extLst>
                <a:ext uri="{FF2B5EF4-FFF2-40B4-BE49-F238E27FC236}">
                  <a16:creationId xmlns:a16="http://schemas.microsoft.com/office/drawing/2014/main" id="{8B6CCFD5-FA3D-FD04-24F9-105D16F036C0}"/>
                </a:ext>
              </a:extLst>
            </p:cNvPr>
            <p:cNvSpPr/>
            <p:nvPr/>
          </p:nvSpPr>
          <p:spPr>
            <a:xfrm>
              <a:off x="2218650" y="3247075"/>
              <a:ext cx="62425" cy="53500"/>
            </a:xfrm>
            <a:custGeom>
              <a:avLst/>
              <a:gdLst/>
              <a:ahLst/>
              <a:cxnLst/>
              <a:rect l="l" t="t" r="r" b="b"/>
              <a:pathLst>
                <a:path w="2497" h="2140" extrusionOk="0">
                  <a:moveTo>
                    <a:pt x="1074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11"/>
                    <a:pt x="529" y="2140"/>
                    <a:pt x="1079" y="2140"/>
                  </a:cubicBezTo>
                  <a:cubicBezTo>
                    <a:pt x="1339" y="2140"/>
                    <a:pt x="1605" y="2044"/>
                    <a:pt x="1821" y="1830"/>
                  </a:cubicBezTo>
                  <a:cubicBezTo>
                    <a:pt x="2496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7" name="Google Shape;10030;p65">
              <a:extLst>
                <a:ext uri="{FF2B5EF4-FFF2-40B4-BE49-F238E27FC236}">
                  <a16:creationId xmlns:a16="http://schemas.microsoft.com/office/drawing/2014/main" id="{6D5D688A-D81D-BED6-E1CF-FA9B1C18F06A}"/>
                </a:ext>
              </a:extLst>
            </p:cNvPr>
            <p:cNvSpPr/>
            <p:nvPr/>
          </p:nvSpPr>
          <p:spPr>
            <a:xfrm>
              <a:off x="2218650" y="3171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74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5"/>
                    <a:pt x="528" y="2131"/>
                    <a:pt x="1078" y="2131"/>
                  </a:cubicBezTo>
                  <a:cubicBezTo>
                    <a:pt x="1339" y="2131"/>
                    <a:pt x="1604" y="2036"/>
                    <a:pt x="1821" y="1821"/>
                  </a:cubicBezTo>
                  <a:cubicBezTo>
                    <a:pt x="2488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8" name="Google Shape;10031;p65">
              <a:extLst>
                <a:ext uri="{FF2B5EF4-FFF2-40B4-BE49-F238E27FC236}">
                  <a16:creationId xmlns:a16="http://schemas.microsoft.com/office/drawing/2014/main" id="{DBC0D0EE-D1EA-1075-CE10-961A822B4304}"/>
                </a:ext>
              </a:extLst>
            </p:cNvPr>
            <p:cNvSpPr/>
            <p:nvPr/>
          </p:nvSpPr>
          <p:spPr>
            <a:xfrm>
              <a:off x="22186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74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899" name="Google Shape;10032;p65">
              <a:extLst>
                <a:ext uri="{FF2B5EF4-FFF2-40B4-BE49-F238E27FC236}">
                  <a16:creationId xmlns:a16="http://schemas.microsoft.com/office/drawing/2014/main" id="{EA72ED9D-3AB7-AF2D-38E2-F3AEA17B4916}"/>
                </a:ext>
              </a:extLst>
            </p:cNvPr>
            <p:cNvSpPr/>
            <p:nvPr/>
          </p:nvSpPr>
          <p:spPr>
            <a:xfrm>
              <a:off x="22186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0" name="Google Shape;10033;p65">
              <a:extLst>
                <a:ext uri="{FF2B5EF4-FFF2-40B4-BE49-F238E27FC236}">
                  <a16:creationId xmlns:a16="http://schemas.microsoft.com/office/drawing/2014/main" id="{4A0E90B7-E6A6-DE4A-98E1-64F1AD1DC57C}"/>
                </a:ext>
              </a:extLst>
            </p:cNvPr>
            <p:cNvSpPr/>
            <p:nvPr/>
          </p:nvSpPr>
          <p:spPr>
            <a:xfrm>
              <a:off x="22186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74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9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1" name="Google Shape;10034;p65">
              <a:extLst>
                <a:ext uri="{FF2B5EF4-FFF2-40B4-BE49-F238E27FC236}">
                  <a16:creationId xmlns:a16="http://schemas.microsoft.com/office/drawing/2014/main" id="{1D552E9C-DDFB-25D9-D507-D963CBD721F2}"/>
                </a:ext>
              </a:extLst>
            </p:cNvPr>
            <p:cNvSpPr/>
            <p:nvPr/>
          </p:nvSpPr>
          <p:spPr>
            <a:xfrm>
              <a:off x="2142425" y="46183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2" name="Google Shape;10035;p65">
              <a:extLst>
                <a:ext uri="{FF2B5EF4-FFF2-40B4-BE49-F238E27FC236}">
                  <a16:creationId xmlns:a16="http://schemas.microsoft.com/office/drawing/2014/main" id="{763A13F9-ECA9-6410-141E-CA19307480E9}"/>
                </a:ext>
              </a:extLst>
            </p:cNvPr>
            <p:cNvSpPr/>
            <p:nvPr/>
          </p:nvSpPr>
          <p:spPr>
            <a:xfrm>
              <a:off x="2142425" y="43898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3" name="Google Shape;10036;p65">
              <a:extLst>
                <a:ext uri="{FF2B5EF4-FFF2-40B4-BE49-F238E27FC236}">
                  <a16:creationId xmlns:a16="http://schemas.microsoft.com/office/drawing/2014/main" id="{6F99F462-0CB8-B1A4-0E15-B8A2529A1D5F}"/>
                </a:ext>
              </a:extLst>
            </p:cNvPr>
            <p:cNvSpPr/>
            <p:nvPr/>
          </p:nvSpPr>
          <p:spPr>
            <a:xfrm>
              <a:off x="2142425" y="43136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4" name="Google Shape;10037;p65">
              <a:extLst>
                <a:ext uri="{FF2B5EF4-FFF2-40B4-BE49-F238E27FC236}">
                  <a16:creationId xmlns:a16="http://schemas.microsoft.com/office/drawing/2014/main" id="{D3174232-BD20-3ABF-6507-0A7AAEA504DA}"/>
                </a:ext>
              </a:extLst>
            </p:cNvPr>
            <p:cNvSpPr/>
            <p:nvPr/>
          </p:nvSpPr>
          <p:spPr>
            <a:xfrm>
              <a:off x="2142425" y="42374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5" name="Google Shape;10038;p65">
              <a:extLst>
                <a:ext uri="{FF2B5EF4-FFF2-40B4-BE49-F238E27FC236}">
                  <a16:creationId xmlns:a16="http://schemas.microsoft.com/office/drawing/2014/main" id="{EFE17938-3F3B-D083-873A-0E51B135AF79}"/>
                </a:ext>
              </a:extLst>
            </p:cNvPr>
            <p:cNvSpPr/>
            <p:nvPr/>
          </p:nvSpPr>
          <p:spPr>
            <a:xfrm>
              <a:off x="2142425" y="41614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6" name="Google Shape;10039;p65">
              <a:extLst>
                <a:ext uri="{FF2B5EF4-FFF2-40B4-BE49-F238E27FC236}">
                  <a16:creationId xmlns:a16="http://schemas.microsoft.com/office/drawing/2014/main" id="{CDB482C3-EE7B-2134-95BC-117A03194421}"/>
                </a:ext>
              </a:extLst>
            </p:cNvPr>
            <p:cNvSpPr/>
            <p:nvPr/>
          </p:nvSpPr>
          <p:spPr>
            <a:xfrm>
              <a:off x="2142425" y="40852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7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7" name="Google Shape;10040;p65">
              <a:extLst>
                <a:ext uri="{FF2B5EF4-FFF2-40B4-BE49-F238E27FC236}">
                  <a16:creationId xmlns:a16="http://schemas.microsoft.com/office/drawing/2014/main" id="{6C965D83-30CA-43F9-095E-4A4DDA5B8388}"/>
                </a:ext>
              </a:extLst>
            </p:cNvPr>
            <p:cNvSpPr/>
            <p:nvPr/>
          </p:nvSpPr>
          <p:spPr>
            <a:xfrm>
              <a:off x="2142425" y="4009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10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8" name="Google Shape;10041;p65">
              <a:extLst>
                <a:ext uri="{FF2B5EF4-FFF2-40B4-BE49-F238E27FC236}">
                  <a16:creationId xmlns:a16="http://schemas.microsoft.com/office/drawing/2014/main" id="{44E9F34C-D9F9-5245-5147-1E3D6B1BB64B}"/>
                </a:ext>
              </a:extLst>
            </p:cNvPr>
            <p:cNvSpPr/>
            <p:nvPr/>
          </p:nvSpPr>
          <p:spPr>
            <a:xfrm>
              <a:off x="2142425" y="3932800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5" y="2139"/>
                  </a:cubicBezTo>
                  <a:cubicBezTo>
                    <a:pt x="1338" y="2139"/>
                    <a:pt x="1605" y="2041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09" name="Google Shape;10042;p65">
              <a:extLst>
                <a:ext uri="{FF2B5EF4-FFF2-40B4-BE49-F238E27FC236}">
                  <a16:creationId xmlns:a16="http://schemas.microsoft.com/office/drawing/2014/main" id="{86BD669D-B89A-FD29-A29A-580207985708}"/>
                </a:ext>
              </a:extLst>
            </p:cNvPr>
            <p:cNvSpPr/>
            <p:nvPr/>
          </p:nvSpPr>
          <p:spPr>
            <a:xfrm>
              <a:off x="2142425" y="385677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0" name="Google Shape;10043;p65">
              <a:extLst>
                <a:ext uri="{FF2B5EF4-FFF2-40B4-BE49-F238E27FC236}">
                  <a16:creationId xmlns:a16="http://schemas.microsoft.com/office/drawing/2014/main" id="{DAD242C1-7CD2-1330-C41E-7A6B494F0506}"/>
                </a:ext>
              </a:extLst>
            </p:cNvPr>
            <p:cNvSpPr/>
            <p:nvPr/>
          </p:nvSpPr>
          <p:spPr>
            <a:xfrm>
              <a:off x="2142425" y="3780375"/>
              <a:ext cx="62425" cy="53475"/>
            </a:xfrm>
            <a:custGeom>
              <a:avLst/>
              <a:gdLst/>
              <a:ahLst/>
              <a:cxnLst/>
              <a:rect l="l" t="t" r="r" b="b"/>
              <a:pathLst>
                <a:path w="2497" h="2139" extrusionOk="0">
                  <a:moveTo>
                    <a:pt x="1074" y="0"/>
                  </a:moveTo>
                  <a:cubicBezTo>
                    <a:pt x="481" y="0"/>
                    <a:pt x="1" y="480"/>
                    <a:pt x="1" y="1073"/>
                  </a:cubicBezTo>
                  <a:cubicBezTo>
                    <a:pt x="6" y="1715"/>
                    <a:pt x="530" y="2139"/>
                    <a:pt x="1078" y="2139"/>
                  </a:cubicBezTo>
                  <a:cubicBezTo>
                    <a:pt x="1342" y="2139"/>
                    <a:pt x="1611" y="2040"/>
                    <a:pt x="1830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1" name="Google Shape;10044;p65">
              <a:extLst>
                <a:ext uri="{FF2B5EF4-FFF2-40B4-BE49-F238E27FC236}">
                  <a16:creationId xmlns:a16="http://schemas.microsoft.com/office/drawing/2014/main" id="{517E86DE-4D56-1DC8-001A-962BB647B41C}"/>
                </a:ext>
              </a:extLst>
            </p:cNvPr>
            <p:cNvSpPr/>
            <p:nvPr/>
          </p:nvSpPr>
          <p:spPr>
            <a:xfrm>
              <a:off x="2142425" y="37041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2" name="Google Shape;10045;p65">
              <a:extLst>
                <a:ext uri="{FF2B5EF4-FFF2-40B4-BE49-F238E27FC236}">
                  <a16:creationId xmlns:a16="http://schemas.microsoft.com/office/drawing/2014/main" id="{65CCCE2F-DF1C-AF9E-8DB9-72A9FF2B5080}"/>
                </a:ext>
              </a:extLst>
            </p:cNvPr>
            <p:cNvSpPr/>
            <p:nvPr/>
          </p:nvSpPr>
          <p:spPr>
            <a:xfrm>
              <a:off x="2142425" y="362795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3" name="Google Shape;10046;p65">
              <a:extLst>
                <a:ext uri="{FF2B5EF4-FFF2-40B4-BE49-F238E27FC236}">
                  <a16:creationId xmlns:a16="http://schemas.microsoft.com/office/drawing/2014/main" id="{47FE9F5B-E611-A125-8B13-8013443EB3EB}"/>
                </a:ext>
              </a:extLst>
            </p:cNvPr>
            <p:cNvSpPr/>
            <p:nvPr/>
          </p:nvSpPr>
          <p:spPr>
            <a:xfrm>
              <a:off x="2142425" y="3551925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6" y="1708"/>
                    <a:pt x="530" y="2131"/>
                    <a:pt x="1075" y="2131"/>
                  </a:cubicBezTo>
                  <a:cubicBezTo>
                    <a:pt x="1338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4" name="Google Shape;10047;p65">
              <a:extLst>
                <a:ext uri="{FF2B5EF4-FFF2-40B4-BE49-F238E27FC236}">
                  <a16:creationId xmlns:a16="http://schemas.microsoft.com/office/drawing/2014/main" id="{C10C7E88-AE59-617E-9445-F96ED4A7F39F}"/>
                </a:ext>
              </a:extLst>
            </p:cNvPr>
            <p:cNvSpPr/>
            <p:nvPr/>
          </p:nvSpPr>
          <p:spPr>
            <a:xfrm>
              <a:off x="2142425" y="34757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5" name="Google Shape;10048;p65">
              <a:extLst>
                <a:ext uri="{FF2B5EF4-FFF2-40B4-BE49-F238E27FC236}">
                  <a16:creationId xmlns:a16="http://schemas.microsoft.com/office/drawing/2014/main" id="{A5562460-443E-4D0D-E805-62DA31778E5B}"/>
                </a:ext>
              </a:extLst>
            </p:cNvPr>
            <p:cNvSpPr/>
            <p:nvPr/>
          </p:nvSpPr>
          <p:spPr>
            <a:xfrm>
              <a:off x="2142425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6" name="Google Shape;10049;p65">
              <a:extLst>
                <a:ext uri="{FF2B5EF4-FFF2-40B4-BE49-F238E27FC236}">
                  <a16:creationId xmlns:a16="http://schemas.microsoft.com/office/drawing/2014/main" id="{AC46F698-F874-AED2-18AC-11C57F6694E9}"/>
                </a:ext>
              </a:extLst>
            </p:cNvPr>
            <p:cNvSpPr/>
            <p:nvPr/>
          </p:nvSpPr>
          <p:spPr>
            <a:xfrm>
              <a:off x="2142425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7" name="Google Shape;10050;p65">
              <a:extLst>
                <a:ext uri="{FF2B5EF4-FFF2-40B4-BE49-F238E27FC236}">
                  <a16:creationId xmlns:a16="http://schemas.microsoft.com/office/drawing/2014/main" id="{98329F53-F4F0-D750-FD34-1E1BBB70B8E8}"/>
                </a:ext>
              </a:extLst>
            </p:cNvPr>
            <p:cNvSpPr/>
            <p:nvPr/>
          </p:nvSpPr>
          <p:spPr>
            <a:xfrm>
              <a:off x="2142425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8" name="Google Shape;10051;p65">
              <a:extLst>
                <a:ext uri="{FF2B5EF4-FFF2-40B4-BE49-F238E27FC236}">
                  <a16:creationId xmlns:a16="http://schemas.microsoft.com/office/drawing/2014/main" id="{A73EB3C9-8603-0FC3-36AB-DFF3DDE22131}"/>
                </a:ext>
              </a:extLst>
            </p:cNvPr>
            <p:cNvSpPr/>
            <p:nvPr/>
          </p:nvSpPr>
          <p:spPr>
            <a:xfrm>
              <a:off x="214242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19" name="Google Shape;10052;p65">
              <a:extLst>
                <a:ext uri="{FF2B5EF4-FFF2-40B4-BE49-F238E27FC236}">
                  <a16:creationId xmlns:a16="http://schemas.microsoft.com/office/drawing/2014/main" id="{BAFC052D-0749-008E-46EA-C70862CEEB8B}"/>
                </a:ext>
              </a:extLst>
            </p:cNvPr>
            <p:cNvSpPr/>
            <p:nvPr/>
          </p:nvSpPr>
          <p:spPr>
            <a:xfrm>
              <a:off x="21424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0" name="Google Shape;10053;p65">
              <a:extLst>
                <a:ext uri="{FF2B5EF4-FFF2-40B4-BE49-F238E27FC236}">
                  <a16:creationId xmlns:a16="http://schemas.microsoft.com/office/drawing/2014/main" id="{FF6E6346-1B81-420F-38E2-5F84DC675B17}"/>
                </a:ext>
              </a:extLst>
            </p:cNvPr>
            <p:cNvSpPr/>
            <p:nvPr/>
          </p:nvSpPr>
          <p:spPr>
            <a:xfrm>
              <a:off x="21424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1" name="Google Shape;10054;p65">
              <a:extLst>
                <a:ext uri="{FF2B5EF4-FFF2-40B4-BE49-F238E27FC236}">
                  <a16:creationId xmlns:a16="http://schemas.microsoft.com/office/drawing/2014/main" id="{E64A612F-8C6A-B179-3DA1-DBE5F3141CBC}"/>
                </a:ext>
              </a:extLst>
            </p:cNvPr>
            <p:cNvSpPr/>
            <p:nvPr/>
          </p:nvSpPr>
          <p:spPr>
            <a:xfrm>
              <a:off x="21424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2" name="Google Shape;10055;p65">
              <a:extLst>
                <a:ext uri="{FF2B5EF4-FFF2-40B4-BE49-F238E27FC236}">
                  <a16:creationId xmlns:a16="http://schemas.microsoft.com/office/drawing/2014/main" id="{4691F907-3C90-7BDA-9509-9CF6FC010FB7}"/>
                </a:ext>
              </a:extLst>
            </p:cNvPr>
            <p:cNvSpPr/>
            <p:nvPr/>
          </p:nvSpPr>
          <p:spPr>
            <a:xfrm>
              <a:off x="21424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3" name="Google Shape;10056;p65">
              <a:extLst>
                <a:ext uri="{FF2B5EF4-FFF2-40B4-BE49-F238E27FC236}">
                  <a16:creationId xmlns:a16="http://schemas.microsoft.com/office/drawing/2014/main" id="{933F1B08-C76F-BDCF-D729-ED2F2B939CB9}"/>
                </a:ext>
              </a:extLst>
            </p:cNvPr>
            <p:cNvSpPr/>
            <p:nvPr/>
          </p:nvSpPr>
          <p:spPr>
            <a:xfrm>
              <a:off x="21424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4" name="Google Shape;10057;p65">
              <a:extLst>
                <a:ext uri="{FF2B5EF4-FFF2-40B4-BE49-F238E27FC236}">
                  <a16:creationId xmlns:a16="http://schemas.microsoft.com/office/drawing/2014/main" id="{BB6CECDE-3A21-2713-4734-DBE09C2D8B50}"/>
                </a:ext>
              </a:extLst>
            </p:cNvPr>
            <p:cNvSpPr/>
            <p:nvPr/>
          </p:nvSpPr>
          <p:spPr>
            <a:xfrm>
              <a:off x="21424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5" name="Google Shape;10058;p65">
              <a:extLst>
                <a:ext uri="{FF2B5EF4-FFF2-40B4-BE49-F238E27FC236}">
                  <a16:creationId xmlns:a16="http://schemas.microsoft.com/office/drawing/2014/main" id="{E1C061E6-6F2E-DDBC-1205-B4DFCD6BC8D3}"/>
                </a:ext>
              </a:extLst>
            </p:cNvPr>
            <p:cNvSpPr/>
            <p:nvPr/>
          </p:nvSpPr>
          <p:spPr>
            <a:xfrm>
              <a:off x="21424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6" name="Google Shape;10059;p65">
              <a:extLst>
                <a:ext uri="{FF2B5EF4-FFF2-40B4-BE49-F238E27FC236}">
                  <a16:creationId xmlns:a16="http://schemas.microsoft.com/office/drawing/2014/main" id="{05515E18-C5F7-4CBE-644D-4DBCF128416C}"/>
                </a:ext>
              </a:extLst>
            </p:cNvPr>
            <p:cNvSpPr/>
            <p:nvPr/>
          </p:nvSpPr>
          <p:spPr>
            <a:xfrm>
              <a:off x="2142425" y="1038125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7" name="Google Shape;10060;p65">
              <a:extLst>
                <a:ext uri="{FF2B5EF4-FFF2-40B4-BE49-F238E27FC236}">
                  <a16:creationId xmlns:a16="http://schemas.microsoft.com/office/drawing/2014/main" id="{40AAFAFA-1CFA-B118-3215-9BD86363765A}"/>
                </a:ext>
              </a:extLst>
            </p:cNvPr>
            <p:cNvSpPr/>
            <p:nvPr/>
          </p:nvSpPr>
          <p:spPr>
            <a:xfrm>
              <a:off x="2066425" y="46183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8" name="Google Shape;10061;p65">
              <a:extLst>
                <a:ext uri="{FF2B5EF4-FFF2-40B4-BE49-F238E27FC236}">
                  <a16:creationId xmlns:a16="http://schemas.microsoft.com/office/drawing/2014/main" id="{D84D6A6A-2477-E3B9-8E63-31703F578E59}"/>
                </a:ext>
              </a:extLst>
            </p:cNvPr>
            <p:cNvSpPr/>
            <p:nvPr/>
          </p:nvSpPr>
          <p:spPr>
            <a:xfrm>
              <a:off x="2066425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29" name="Google Shape;10062;p65">
              <a:extLst>
                <a:ext uri="{FF2B5EF4-FFF2-40B4-BE49-F238E27FC236}">
                  <a16:creationId xmlns:a16="http://schemas.microsoft.com/office/drawing/2014/main" id="{DD26ED44-36AC-5AF4-4A7A-DB066177B3DA}"/>
                </a:ext>
              </a:extLst>
            </p:cNvPr>
            <p:cNvSpPr/>
            <p:nvPr/>
          </p:nvSpPr>
          <p:spPr>
            <a:xfrm>
              <a:off x="2066425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0" name="Google Shape;10063;p65">
              <a:extLst>
                <a:ext uri="{FF2B5EF4-FFF2-40B4-BE49-F238E27FC236}">
                  <a16:creationId xmlns:a16="http://schemas.microsoft.com/office/drawing/2014/main" id="{1806E49F-D2D3-9250-8BB9-960156E4B0E2}"/>
                </a:ext>
              </a:extLst>
            </p:cNvPr>
            <p:cNvSpPr/>
            <p:nvPr/>
          </p:nvSpPr>
          <p:spPr>
            <a:xfrm>
              <a:off x="2066425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7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1" name="Google Shape;10064;p65">
              <a:extLst>
                <a:ext uri="{FF2B5EF4-FFF2-40B4-BE49-F238E27FC236}">
                  <a16:creationId xmlns:a16="http://schemas.microsoft.com/office/drawing/2014/main" id="{AD87C678-07F8-1371-13A4-A6AD185975D5}"/>
                </a:ext>
              </a:extLst>
            </p:cNvPr>
            <p:cNvSpPr/>
            <p:nvPr/>
          </p:nvSpPr>
          <p:spPr>
            <a:xfrm>
              <a:off x="2066425" y="43136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2" name="Google Shape;10065;p65">
              <a:extLst>
                <a:ext uri="{FF2B5EF4-FFF2-40B4-BE49-F238E27FC236}">
                  <a16:creationId xmlns:a16="http://schemas.microsoft.com/office/drawing/2014/main" id="{7E027ACB-1E18-9987-D898-8E4437C4BEA1}"/>
                </a:ext>
              </a:extLst>
            </p:cNvPr>
            <p:cNvSpPr/>
            <p:nvPr/>
          </p:nvSpPr>
          <p:spPr>
            <a:xfrm>
              <a:off x="2066425" y="42374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3" name="Google Shape;10066;p65">
              <a:extLst>
                <a:ext uri="{FF2B5EF4-FFF2-40B4-BE49-F238E27FC236}">
                  <a16:creationId xmlns:a16="http://schemas.microsoft.com/office/drawing/2014/main" id="{8556E86F-91E1-6212-F5DE-FD817DF7E3C9}"/>
                </a:ext>
              </a:extLst>
            </p:cNvPr>
            <p:cNvSpPr/>
            <p:nvPr/>
          </p:nvSpPr>
          <p:spPr>
            <a:xfrm>
              <a:off x="2066425" y="41614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4" name="Google Shape;10067;p65">
              <a:extLst>
                <a:ext uri="{FF2B5EF4-FFF2-40B4-BE49-F238E27FC236}">
                  <a16:creationId xmlns:a16="http://schemas.microsoft.com/office/drawing/2014/main" id="{E44DC284-EABE-2D09-3DCD-305A8372C21B}"/>
                </a:ext>
              </a:extLst>
            </p:cNvPr>
            <p:cNvSpPr/>
            <p:nvPr/>
          </p:nvSpPr>
          <p:spPr>
            <a:xfrm>
              <a:off x="2066425" y="37041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5" name="Google Shape;10068;p65">
              <a:extLst>
                <a:ext uri="{FF2B5EF4-FFF2-40B4-BE49-F238E27FC236}">
                  <a16:creationId xmlns:a16="http://schemas.microsoft.com/office/drawing/2014/main" id="{84E65673-5008-FC24-FBE5-17BEFED15FDB}"/>
                </a:ext>
              </a:extLst>
            </p:cNvPr>
            <p:cNvSpPr/>
            <p:nvPr/>
          </p:nvSpPr>
          <p:spPr>
            <a:xfrm>
              <a:off x="2066425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6" name="Google Shape;10069;p65">
              <a:extLst>
                <a:ext uri="{FF2B5EF4-FFF2-40B4-BE49-F238E27FC236}">
                  <a16:creationId xmlns:a16="http://schemas.microsoft.com/office/drawing/2014/main" id="{78C5EC6F-002F-97EF-8D78-E4FB2617D563}"/>
                </a:ext>
              </a:extLst>
            </p:cNvPr>
            <p:cNvSpPr/>
            <p:nvPr/>
          </p:nvSpPr>
          <p:spPr>
            <a:xfrm>
              <a:off x="2066425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7" name="Google Shape;10070;p65">
              <a:extLst>
                <a:ext uri="{FF2B5EF4-FFF2-40B4-BE49-F238E27FC236}">
                  <a16:creationId xmlns:a16="http://schemas.microsoft.com/office/drawing/2014/main" id="{A04A206F-943E-CD2F-C9D6-690DF75B530D}"/>
                </a:ext>
              </a:extLst>
            </p:cNvPr>
            <p:cNvSpPr/>
            <p:nvPr/>
          </p:nvSpPr>
          <p:spPr>
            <a:xfrm>
              <a:off x="20664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8" name="Google Shape;10071;p65">
              <a:extLst>
                <a:ext uri="{FF2B5EF4-FFF2-40B4-BE49-F238E27FC236}">
                  <a16:creationId xmlns:a16="http://schemas.microsoft.com/office/drawing/2014/main" id="{23B5ECCE-E5D5-F441-4EA7-489FE725CE19}"/>
                </a:ext>
              </a:extLst>
            </p:cNvPr>
            <p:cNvSpPr/>
            <p:nvPr/>
          </p:nvSpPr>
          <p:spPr>
            <a:xfrm>
              <a:off x="2066275" y="3399500"/>
              <a:ext cx="62375" cy="53350"/>
            </a:xfrm>
            <a:custGeom>
              <a:avLst/>
              <a:gdLst/>
              <a:ahLst/>
              <a:cxnLst/>
              <a:rect l="l" t="t" r="r" b="b"/>
              <a:pathLst>
                <a:path w="2495" h="2134" extrusionOk="0">
                  <a:moveTo>
                    <a:pt x="1071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47"/>
                    <a:pt x="2014" y="1"/>
                    <a:pt x="1071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39" name="Google Shape;10072;p65">
              <a:extLst>
                <a:ext uri="{FF2B5EF4-FFF2-40B4-BE49-F238E27FC236}">
                  <a16:creationId xmlns:a16="http://schemas.microsoft.com/office/drawing/2014/main" id="{6014B8FB-B728-6E06-6577-413E552A5ADC}"/>
                </a:ext>
              </a:extLst>
            </p:cNvPr>
            <p:cNvSpPr/>
            <p:nvPr/>
          </p:nvSpPr>
          <p:spPr>
            <a:xfrm>
              <a:off x="2066275" y="332330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3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0" name="Google Shape;10073;p65">
              <a:extLst>
                <a:ext uri="{FF2B5EF4-FFF2-40B4-BE49-F238E27FC236}">
                  <a16:creationId xmlns:a16="http://schemas.microsoft.com/office/drawing/2014/main" id="{EC99F4A8-1309-6BB7-898E-CB027EF971CF}"/>
                </a:ext>
              </a:extLst>
            </p:cNvPr>
            <p:cNvSpPr/>
            <p:nvPr/>
          </p:nvSpPr>
          <p:spPr>
            <a:xfrm>
              <a:off x="2066275" y="3247075"/>
              <a:ext cx="62375" cy="53450"/>
            </a:xfrm>
            <a:custGeom>
              <a:avLst/>
              <a:gdLst/>
              <a:ahLst/>
              <a:cxnLst/>
              <a:rect l="l" t="t" r="r" b="b"/>
              <a:pathLst>
                <a:path w="2495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40"/>
                    <a:pt x="1819" y="1822"/>
                  </a:cubicBezTo>
                  <a:cubicBezTo>
                    <a:pt x="2494" y="1155"/>
                    <a:pt x="2023" y="1"/>
                    <a:pt x="1071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1" name="Google Shape;10074;p65">
              <a:extLst>
                <a:ext uri="{FF2B5EF4-FFF2-40B4-BE49-F238E27FC236}">
                  <a16:creationId xmlns:a16="http://schemas.microsoft.com/office/drawing/2014/main" id="{E76F24E3-61E8-3C34-138A-632ECE9E7899}"/>
                </a:ext>
              </a:extLst>
            </p:cNvPr>
            <p:cNvSpPr/>
            <p:nvPr/>
          </p:nvSpPr>
          <p:spPr>
            <a:xfrm>
              <a:off x="206642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2" name="Google Shape;10075;p65">
              <a:extLst>
                <a:ext uri="{FF2B5EF4-FFF2-40B4-BE49-F238E27FC236}">
                  <a16:creationId xmlns:a16="http://schemas.microsoft.com/office/drawing/2014/main" id="{782341C6-728E-67E1-C0AE-32A97D29C82F}"/>
                </a:ext>
              </a:extLst>
            </p:cNvPr>
            <p:cNvSpPr/>
            <p:nvPr/>
          </p:nvSpPr>
          <p:spPr>
            <a:xfrm>
              <a:off x="206642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3" name="Google Shape;10076;p65">
              <a:extLst>
                <a:ext uri="{FF2B5EF4-FFF2-40B4-BE49-F238E27FC236}">
                  <a16:creationId xmlns:a16="http://schemas.microsoft.com/office/drawing/2014/main" id="{671D3050-20C1-E59D-0077-67590758D41C}"/>
                </a:ext>
              </a:extLst>
            </p:cNvPr>
            <p:cNvSpPr/>
            <p:nvPr/>
          </p:nvSpPr>
          <p:spPr>
            <a:xfrm>
              <a:off x="20664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4" name="Google Shape;10077;p65">
              <a:extLst>
                <a:ext uri="{FF2B5EF4-FFF2-40B4-BE49-F238E27FC236}">
                  <a16:creationId xmlns:a16="http://schemas.microsoft.com/office/drawing/2014/main" id="{B42F2D93-053B-B4EA-79E6-16EE4D2C7F93}"/>
                </a:ext>
              </a:extLst>
            </p:cNvPr>
            <p:cNvSpPr/>
            <p:nvPr/>
          </p:nvSpPr>
          <p:spPr>
            <a:xfrm>
              <a:off x="20664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5" name="Google Shape;10078;p65">
              <a:extLst>
                <a:ext uri="{FF2B5EF4-FFF2-40B4-BE49-F238E27FC236}">
                  <a16:creationId xmlns:a16="http://schemas.microsoft.com/office/drawing/2014/main" id="{FC8D81BB-0D01-5093-736E-AEF3CD8DD2E2}"/>
                </a:ext>
              </a:extLst>
            </p:cNvPr>
            <p:cNvSpPr/>
            <p:nvPr/>
          </p:nvSpPr>
          <p:spPr>
            <a:xfrm>
              <a:off x="20664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6" name="Google Shape;10079;p65">
              <a:extLst>
                <a:ext uri="{FF2B5EF4-FFF2-40B4-BE49-F238E27FC236}">
                  <a16:creationId xmlns:a16="http://schemas.microsoft.com/office/drawing/2014/main" id="{5F52BA5A-834E-D865-E1F6-9B2DB8C9D858}"/>
                </a:ext>
              </a:extLst>
            </p:cNvPr>
            <p:cNvSpPr/>
            <p:nvPr/>
          </p:nvSpPr>
          <p:spPr>
            <a:xfrm>
              <a:off x="20664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7" name="Google Shape;10080;p65">
              <a:extLst>
                <a:ext uri="{FF2B5EF4-FFF2-40B4-BE49-F238E27FC236}">
                  <a16:creationId xmlns:a16="http://schemas.microsoft.com/office/drawing/2014/main" id="{9A56E523-92F5-9EED-E9FB-40771F0779A8}"/>
                </a:ext>
              </a:extLst>
            </p:cNvPr>
            <p:cNvSpPr/>
            <p:nvPr/>
          </p:nvSpPr>
          <p:spPr>
            <a:xfrm>
              <a:off x="20664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8" name="Google Shape;10081;p65">
              <a:extLst>
                <a:ext uri="{FF2B5EF4-FFF2-40B4-BE49-F238E27FC236}">
                  <a16:creationId xmlns:a16="http://schemas.microsoft.com/office/drawing/2014/main" id="{0392D615-173D-F2EB-31C6-EE3B91859B42}"/>
                </a:ext>
              </a:extLst>
            </p:cNvPr>
            <p:cNvSpPr/>
            <p:nvPr/>
          </p:nvSpPr>
          <p:spPr>
            <a:xfrm>
              <a:off x="20664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49" name="Google Shape;10082;p65">
              <a:extLst>
                <a:ext uri="{FF2B5EF4-FFF2-40B4-BE49-F238E27FC236}">
                  <a16:creationId xmlns:a16="http://schemas.microsoft.com/office/drawing/2014/main" id="{EAE72034-ED33-7B73-3EE5-17096E92940E}"/>
                </a:ext>
              </a:extLst>
            </p:cNvPr>
            <p:cNvSpPr/>
            <p:nvPr/>
          </p:nvSpPr>
          <p:spPr>
            <a:xfrm>
              <a:off x="20664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0" name="Google Shape;10083;p65">
              <a:extLst>
                <a:ext uri="{FF2B5EF4-FFF2-40B4-BE49-F238E27FC236}">
                  <a16:creationId xmlns:a16="http://schemas.microsoft.com/office/drawing/2014/main" id="{FDF3E323-E2AB-6CFA-8C6E-C267217FD4A5}"/>
                </a:ext>
              </a:extLst>
            </p:cNvPr>
            <p:cNvSpPr/>
            <p:nvPr/>
          </p:nvSpPr>
          <p:spPr>
            <a:xfrm>
              <a:off x="20664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1" name="Google Shape;10084;p65">
              <a:extLst>
                <a:ext uri="{FF2B5EF4-FFF2-40B4-BE49-F238E27FC236}">
                  <a16:creationId xmlns:a16="http://schemas.microsoft.com/office/drawing/2014/main" id="{97C436D3-1222-3822-DAE0-26566A9562EC}"/>
                </a:ext>
              </a:extLst>
            </p:cNvPr>
            <p:cNvSpPr/>
            <p:nvPr/>
          </p:nvSpPr>
          <p:spPr>
            <a:xfrm>
              <a:off x="20664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2" name="Google Shape;10085;p65">
              <a:extLst>
                <a:ext uri="{FF2B5EF4-FFF2-40B4-BE49-F238E27FC236}">
                  <a16:creationId xmlns:a16="http://schemas.microsoft.com/office/drawing/2014/main" id="{6B3F742C-E71E-E78A-9051-FF7ACFC6F36B}"/>
                </a:ext>
              </a:extLst>
            </p:cNvPr>
            <p:cNvSpPr/>
            <p:nvPr/>
          </p:nvSpPr>
          <p:spPr>
            <a:xfrm>
              <a:off x="20664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3" name="Google Shape;10086;p65">
              <a:extLst>
                <a:ext uri="{FF2B5EF4-FFF2-40B4-BE49-F238E27FC236}">
                  <a16:creationId xmlns:a16="http://schemas.microsoft.com/office/drawing/2014/main" id="{508C242B-A84A-D1E4-FE90-A27B40C6488B}"/>
                </a:ext>
              </a:extLst>
            </p:cNvPr>
            <p:cNvSpPr/>
            <p:nvPr/>
          </p:nvSpPr>
          <p:spPr>
            <a:xfrm>
              <a:off x="206642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4" name="Google Shape;10087;p65">
              <a:extLst>
                <a:ext uri="{FF2B5EF4-FFF2-40B4-BE49-F238E27FC236}">
                  <a16:creationId xmlns:a16="http://schemas.microsoft.com/office/drawing/2014/main" id="{749BEBDA-E1D1-671B-2290-423105388133}"/>
                </a:ext>
              </a:extLst>
            </p:cNvPr>
            <p:cNvSpPr/>
            <p:nvPr/>
          </p:nvSpPr>
          <p:spPr>
            <a:xfrm>
              <a:off x="2066425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5" name="Google Shape;10088;p65">
              <a:extLst>
                <a:ext uri="{FF2B5EF4-FFF2-40B4-BE49-F238E27FC236}">
                  <a16:creationId xmlns:a16="http://schemas.microsoft.com/office/drawing/2014/main" id="{1BCE22DC-7280-69F5-3193-0E781F71F7E6}"/>
                </a:ext>
              </a:extLst>
            </p:cNvPr>
            <p:cNvSpPr/>
            <p:nvPr/>
          </p:nvSpPr>
          <p:spPr>
            <a:xfrm>
              <a:off x="1990200" y="454230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6" name="Google Shape;10089;p65">
              <a:extLst>
                <a:ext uri="{FF2B5EF4-FFF2-40B4-BE49-F238E27FC236}">
                  <a16:creationId xmlns:a16="http://schemas.microsoft.com/office/drawing/2014/main" id="{E337FC98-F0D6-FBE9-EC71-4FCF043DDC94}"/>
                </a:ext>
              </a:extLst>
            </p:cNvPr>
            <p:cNvSpPr/>
            <p:nvPr/>
          </p:nvSpPr>
          <p:spPr>
            <a:xfrm>
              <a:off x="1990200" y="446607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7" name="Google Shape;10090;p65">
              <a:extLst>
                <a:ext uri="{FF2B5EF4-FFF2-40B4-BE49-F238E27FC236}">
                  <a16:creationId xmlns:a16="http://schemas.microsoft.com/office/drawing/2014/main" id="{1F9867A1-6001-9A69-D063-8F7BE9F61CCF}"/>
                </a:ext>
              </a:extLst>
            </p:cNvPr>
            <p:cNvSpPr/>
            <p:nvPr/>
          </p:nvSpPr>
          <p:spPr>
            <a:xfrm>
              <a:off x="1990200" y="43898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7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8" name="Google Shape;10091;p65">
              <a:extLst>
                <a:ext uri="{FF2B5EF4-FFF2-40B4-BE49-F238E27FC236}">
                  <a16:creationId xmlns:a16="http://schemas.microsoft.com/office/drawing/2014/main" id="{90628ECE-3FC9-8B2B-6E81-0051FF159B54}"/>
                </a:ext>
              </a:extLst>
            </p:cNvPr>
            <p:cNvSpPr/>
            <p:nvPr/>
          </p:nvSpPr>
          <p:spPr>
            <a:xfrm>
              <a:off x="1990200" y="36279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1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59" name="Google Shape;10092;p65">
              <a:extLst>
                <a:ext uri="{FF2B5EF4-FFF2-40B4-BE49-F238E27FC236}">
                  <a16:creationId xmlns:a16="http://schemas.microsoft.com/office/drawing/2014/main" id="{9E4A7364-1520-C931-56CC-30EA457AFF14}"/>
                </a:ext>
              </a:extLst>
            </p:cNvPr>
            <p:cNvSpPr/>
            <p:nvPr/>
          </p:nvSpPr>
          <p:spPr>
            <a:xfrm>
              <a:off x="19902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0" name="Google Shape;10093;p65">
              <a:extLst>
                <a:ext uri="{FF2B5EF4-FFF2-40B4-BE49-F238E27FC236}">
                  <a16:creationId xmlns:a16="http://schemas.microsoft.com/office/drawing/2014/main" id="{8C0BBEBA-D061-F534-3141-7DF0B389D4BE}"/>
                </a:ext>
              </a:extLst>
            </p:cNvPr>
            <p:cNvSpPr/>
            <p:nvPr/>
          </p:nvSpPr>
          <p:spPr>
            <a:xfrm>
              <a:off x="19902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1" name="Google Shape;10094;p65">
              <a:extLst>
                <a:ext uri="{FF2B5EF4-FFF2-40B4-BE49-F238E27FC236}">
                  <a16:creationId xmlns:a16="http://schemas.microsoft.com/office/drawing/2014/main" id="{03F8A0D0-F0AF-04D2-9CB0-047711792CDA}"/>
                </a:ext>
              </a:extLst>
            </p:cNvPr>
            <p:cNvSpPr/>
            <p:nvPr/>
          </p:nvSpPr>
          <p:spPr>
            <a:xfrm>
              <a:off x="19902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2" name="Google Shape;10095;p65">
              <a:extLst>
                <a:ext uri="{FF2B5EF4-FFF2-40B4-BE49-F238E27FC236}">
                  <a16:creationId xmlns:a16="http://schemas.microsoft.com/office/drawing/2014/main" id="{24E60C19-9065-8E42-5A14-BF90522A4CCA}"/>
                </a:ext>
              </a:extLst>
            </p:cNvPr>
            <p:cNvSpPr/>
            <p:nvPr/>
          </p:nvSpPr>
          <p:spPr>
            <a:xfrm>
              <a:off x="19900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8"/>
                    <a:pt x="6" y="480"/>
                    <a:pt x="6" y="1065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3" name="Google Shape;10096;p65">
              <a:extLst>
                <a:ext uri="{FF2B5EF4-FFF2-40B4-BE49-F238E27FC236}">
                  <a16:creationId xmlns:a16="http://schemas.microsoft.com/office/drawing/2014/main" id="{09DD75ED-DE9F-1FAF-0796-179F70564187}"/>
                </a:ext>
              </a:extLst>
            </p:cNvPr>
            <p:cNvSpPr/>
            <p:nvPr/>
          </p:nvSpPr>
          <p:spPr>
            <a:xfrm>
              <a:off x="1990075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8" y="2137"/>
                    <a:pt x="1075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4" name="Google Shape;10097;p65">
              <a:extLst>
                <a:ext uri="{FF2B5EF4-FFF2-40B4-BE49-F238E27FC236}">
                  <a16:creationId xmlns:a16="http://schemas.microsoft.com/office/drawing/2014/main" id="{A6973172-3CBD-6FC1-9536-4E5A657DBFC3}"/>
                </a:ext>
              </a:extLst>
            </p:cNvPr>
            <p:cNvSpPr/>
            <p:nvPr/>
          </p:nvSpPr>
          <p:spPr>
            <a:xfrm>
              <a:off x="19902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5" name="Google Shape;10098;p65">
              <a:extLst>
                <a:ext uri="{FF2B5EF4-FFF2-40B4-BE49-F238E27FC236}">
                  <a16:creationId xmlns:a16="http://schemas.microsoft.com/office/drawing/2014/main" id="{CCAF2674-5A7F-E11E-4664-E7F2A061FE08}"/>
                </a:ext>
              </a:extLst>
            </p:cNvPr>
            <p:cNvSpPr/>
            <p:nvPr/>
          </p:nvSpPr>
          <p:spPr>
            <a:xfrm>
              <a:off x="19902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6" name="Google Shape;10099;p65">
              <a:extLst>
                <a:ext uri="{FF2B5EF4-FFF2-40B4-BE49-F238E27FC236}">
                  <a16:creationId xmlns:a16="http://schemas.microsoft.com/office/drawing/2014/main" id="{31EC0901-A339-3E2F-A6BA-A6587B95E7DF}"/>
                </a:ext>
              </a:extLst>
            </p:cNvPr>
            <p:cNvSpPr/>
            <p:nvPr/>
          </p:nvSpPr>
          <p:spPr>
            <a:xfrm>
              <a:off x="19902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7" name="Google Shape;10100;p65">
              <a:extLst>
                <a:ext uri="{FF2B5EF4-FFF2-40B4-BE49-F238E27FC236}">
                  <a16:creationId xmlns:a16="http://schemas.microsoft.com/office/drawing/2014/main" id="{6E22721D-506A-DA4E-854D-42CAE8B78119}"/>
                </a:ext>
              </a:extLst>
            </p:cNvPr>
            <p:cNvSpPr/>
            <p:nvPr/>
          </p:nvSpPr>
          <p:spPr>
            <a:xfrm>
              <a:off x="19902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8" name="Google Shape;10101;p65">
              <a:extLst>
                <a:ext uri="{FF2B5EF4-FFF2-40B4-BE49-F238E27FC236}">
                  <a16:creationId xmlns:a16="http://schemas.microsoft.com/office/drawing/2014/main" id="{0DB45194-A7CC-DA9E-0414-BBF14138DE3A}"/>
                </a:ext>
              </a:extLst>
            </p:cNvPr>
            <p:cNvSpPr/>
            <p:nvPr/>
          </p:nvSpPr>
          <p:spPr>
            <a:xfrm>
              <a:off x="19902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69" name="Google Shape;10102;p65">
              <a:extLst>
                <a:ext uri="{FF2B5EF4-FFF2-40B4-BE49-F238E27FC236}">
                  <a16:creationId xmlns:a16="http://schemas.microsoft.com/office/drawing/2014/main" id="{D3FE79ED-86A7-4514-7704-AA47CAC724E4}"/>
                </a:ext>
              </a:extLst>
            </p:cNvPr>
            <p:cNvSpPr/>
            <p:nvPr/>
          </p:nvSpPr>
          <p:spPr>
            <a:xfrm>
              <a:off x="19902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0" name="Google Shape;10103;p65">
              <a:extLst>
                <a:ext uri="{FF2B5EF4-FFF2-40B4-BE49-F238E27FC236}">
                  <a16:creationId xmlns:a16="http://schemas.microsoft.com/office/drawing/2014/main" id="{1747B818-BE57-D817-B5F0-1A144AACD483}"/>
                </a:ext>
              </a:extLst>
            </p:cNvPr>
            <p:cNvSpPr/>
            <p:nvPr/>
          </p:nvSpPr>
          <p:spPr>
            <a:xfrm>
              <a:off x="19902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1" name="Google Shape;10104;p65">
              <a:extLst>
                <a:ext uri="{FF2B5EF4-FFF2-40B4-BE49-F238E27FC236}">
                  <a16:creationId xmlns:a16="http://schemas.microsoft.com/office/drawing/2014/main" id="{A7935357-E55B-C5E5-2900-D2EDDDAE797A}"/>
                </a:ext>
              </a:extLst>
            </p:cNvPr>
            <p:cNvSpPr/>
            <p:nvPr/>
          </p:nvSpPr>
          <p:spPr>
            <a:xfrm>
              <a:off x="19902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2" name="Google Shape;10105;p65">
              <a:extLst>
                <a:ext uri="{FF2B5EF4-FFF2-40B4-BE49-F238E27FC236}">
                  <a16:creationId xmlns:a16="http://schemas.microsoft.com/office/drawing/2014/main" id="{000EB1A2-A1D9-AB93-407D-CC15BF0FABB2}"/>
                </a:ext>
              </a:extLst>
            </p:cNvPr>
            <p:cNvSpPr/>
            <p:nvPr/>
          </p:nvSpPr>
          <p:spPr>
            <a:xfrm>
              <a:off x="19902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3" name="Google Shape;10106;p65">
              <a:extLst>
                <a:ext uri="{FF2B5EF4-FFF2-40B4-BE49-F238E27FC236}">
                  <a16:creationId xmlns:a16="http://schemas.microsoft.com/office/drawing/2014/main" id="{9DFEABFE-B228-4750-B625-6BD83A389591}"/>
                </a:ext>
              </a:extLst>
            </p:cNvPr>
            <p:cNvSpPr/>
            <p:nvPr/>
          </p:nvSpPr>
          <p:spPr>
            <a:xfrm>
              <a:off x="19902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4" name="Google Shape;10107;p65">
              <a:extLst>
                <a:ext uri="{FF2B5EF4-FFF2-40B4-BE49-F238E27FC236}">
                  <a16:creationId xmlns:a16="http://schemas.microsoft.com/office/drawing/2014/main" id="{EDCFDACF-D2AF-4CFA-784D-37396BF5C0AE}"/>
                </a:ext>
              </a:extLst>
            </p:cNvPr>
            <p:cNvSpPr/>
            <p:nvPr/>
          </p:nvSpPr>
          <p:spPr>
            <a:xfrm>
              <a:off x="19902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5" name="Google Shape;10108;p65">
              <a:extLst>
                <a:ext uri="{FF2B5EF4-FFF2-40B4-BE49-F238E27FC236}">
                  <a16:creationId xmlns:a16="http://schemas.microsoft.com/office/drawing/2014/main" id="{7FA62503-579B-DE42-8C09-834090412B92}"/>
                </a:ext>
              </a:extLst>
            </p:cNvPr>
            <p:cNvSpPr/>
            <p:nvPr/>
          </p:nvSpPr>
          <p:spPr>
            <a:xfrm>
              <a:off x="19902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1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6" name="Google Shape;10109;p65">
              <a:extLst>
                <a:ext uri="{FF2B5EF4-FFF2-40B4-BE49-F238E27FC236}">
                  <a16:creationId xmlns:a16="http://schemas.microsoft.com/office/drawing/2014/main" id="{F46E1474-48C5-A822-5A0B-BB7C2461068C}"/>
                </a:ext>
              </a:extLst>
            </p:cNvPr>
            <p:cNvSpPr/>
            <p:nvPr/>
          </p:nvSpPr>
          <p:spPr>
            <a:xfrm>
              <a:off x="19902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7" name="Google Shape;10110;p65">
              <a:extLst>
                <a:ext uri="{FF2B5EF4-FFF2-40B4-BE49-F238E27FC236}">
                  <a16:creationId xmlns:a16="http://schemas.microsoft.com/office/drawing/2014/main" id="{72AB101B-C3C8-4939-E034-21D338331C1C}"/>
                </a:ext>
              </a:extLst>
            </p:cNvPr>
            <p:cNvSpPr/>
            <p:nvPr/>
          </p:nvSpPr>
          <p:spPr>
            <a:xfrm>
              <a:off x="19902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8" name="Google Shape;10111;p65">
              <a:extLst>
                <a:ext uri="{FF2B5EF4-FFF2-40B4-BE49-F238E27FC236}">
                  <a16:creationId xmlns:a16="http://schemas.microsoft.com/office/drawing/2014/main" id="{7FD73B9F-5854-AF9B-AE5D-A63BD91C424F}"/>
                </a:ext>
              </a:extLst>
            </p:cNvPr>
            <p:cNvSpPr/>
            <p:nvPr/>
          </p:nvSpPr>
          <p:spPr>
            <a:xfrm>
              <a:off x="19902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79" name="Google Shape;10112;p65">
              <a:extLst>
                <a:ext uri="{FF2B5EF4-FFF2-40B4-BE49-F238E27FC236}">
                  <a16:creationId xmlns:a16="http://schemas.microsoft.com/office/drawing/2014/main" id="{180A515B-94F4-0582-0C96-3F2984B7ECC6}"/>
                </a:ext>
              </a:extLst>
            </p:cNvPr>
            <p:cNvSpPr/>
            <p:nvPr/>
          </p:nvSpPr>
          <p:spPr>
            <a:xfrm>
              <a:off x="19902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0" name="Google Shape;10113;p65">
              <a:extLst>
                <a:ext uri="{FF2B5EF4-FFF2-40B4-BE49-F238E27FC236}">
                  <a16:creationId xmlns:a16="http://schemas.microsoft.com/office/drawing/2014/main" id="{C68C8F3F-1582-6EF8-59CB-702A878E7B1A}"/>
                </a:ext>
              </a:extLst>
            </p:cNvPr>
            <p:cNvSpPr/>
            <p:nvPr/>
          </p:nvSpPr>
          <p:spPr>
            <a:xfrm>
              <a:off x="1990200" y="1038125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1" name="Google Shape;10114;p65">
              <a:extLst>
                <a:ext uri="{FF2B5EF4-FFF2-40B4-BE49-F238E27FC236}">
                  <a16:creationId xmlns:a16="http://schemas.microsoft.com/office/drawing/2014/main" id="{57F1674E-9B61-8056-7388-790BCE088ED9}"/>
                </a:ext>
              </a:extLst>
            </p:cNvPr>
            <p:cNvSpPr/>
            <p:nvPr/>
          </p:nvSpPr>
          <p:spPr>
            <a:xfrm>
              <a:off x="1914000" y="3551925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2" name="Google Shape;10115;p65">
              <a:extLst>
                <a:ext uri="{FF2B5EF4-FFF2-40B4-BE49-F238E27FC236}">
                  <a16:creationId xmlns:a16="http://schemas.microsoft.com/office/drawing/2014/main" id="{482D89E8-C1CE-9F9D-B420-C7AE00E4A12B}"/>
                </a:ext>
              </a:extLst>
            </p:cNvPr>
            <p:cNvSpPr/>
            <p:nvPr/>
          </p:nvSpPr>
          <p:spPr>
            <a:xfrm>
              <a:off x="191400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3" name="Google Shape;10116;p65">
              <a:extLst>
                <a:ext uri="{FF2B5EF4-FFF2-40B4-BE49-F238E27FC236}">
                  <a16:creationId xmlns:a16="http://schemas.microsoft.com/office/drawing/2014/main" id="{D63DA022-B305-A09A-3B85-47973C739C3B}"/>
                </a:ext>
              </a:extLst>
            </p:cNvPr>
            <p:cNvSpPr/>
            <p:nvPr/>
          </p:nvSpPr>
          <p:spPr>
            <a:xfrm>
              <a:off x="1914000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4" name="Google Shape;10117;p65">
              <a:extLst>
                <a:ext uri="{FF2B5EF4-FFF2-40B4-BE49-F238E27FC236}">
                  <a16:creationId xmlns:a16="http://schemas.microsoft.com/office/drawing/2014/main" id="{C4055B0E-BEB2-66BD-89B2-EABBA7B6105E}"/>
                </a:ext>
              </a:extLst>
            </p:cNvPr>
            <p:cNvSpPr/>
            <p:nvPr/>
          </p:nvSpPr>
          <p:spPr>
            <a:xfrm>
              <a:off x="1914000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5" name="Google Shape;10118;p65">
              <a:extLst>
                <a:ext uri="{FF2B5EF4-FFF2-40B4-BE49-F238E27FC236}">
                  <a16:creationId xmlns:a16="http://schemas.microsoft.com/office/drawing/2014/main" id="{622A1FF7-4331-D3D6-9108-9908BC1A5A22}"/>
                </a:ext>
              </a:extLst>
            </p:cNvPr>
            <p:cNvSpPr/>
            <p:nvPr/>
          </p:nvSpPr>
          <p:spPr>
            <a:xfrm>
              <a:off x="1914000" y="32470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6" name="Google Shape;10119;p65">
              <a:extLst>
                <a:ext uri="{FF2B5EF4-FFF2-40B4-BE49-F238E27FC236}">
                  <a16:creationId xmlns:a16="http://schemas.microsoft.com/office/drawing/2014/main" id="{5D9E6357-FC35-D0E5-2F0C-F5F087ABA34E}"/>
                </a:ext>
              </a:extLst>
            </p:cNvPr>
            <p:cNvSpPr/>
            <p:nvPr/>
          </p:nvSpPr>
          <p:spPr>
            <a:xfrm>
              <a:off x="1914000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7" name="Google Shape;10120;p65">
              <a:extLst>
                <a:ext uri="{FF2B5EF4-FFF2-40B4-BE49-F238E27FC236}">
                  <a16:creationId xmlns:a16="http://schemas.microsoft.com/office/drawing/2014/main" id="{A6D4C961-E8D1-00EB-DBE0-B742823BDB78}"/>
                </a:ext>
              </a:extLst>
            </p:cNvPr>
            <p:cNvSpPr/>
            <p:nvPr/>
          </p:nvSpPr>
          <p:spPr>
            <a:xfrm>
              <a:off x="19140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8" name="Google Shape;10121;p65">
              <a:extLst>
                <a:ext uri="{FF2B5EF4-FFF2-40B4-BE49-F238E27FC236}">
                  <a16:creationId xmlns:a16="http://schemas.microsoft.com/office/drawing/2014/main" id="{0CB2F19F-EAB2-C251-18F8-29F87EEE761A}"/>
                </a:ext>
              </a:extLst>
            </p:cNvPr>
            <p:cNvSpPr/>
            <p:nvPr/>
          </p:nvSpPr>
          <p:spPr>
            <a:xfrm>
              <a:off x="19140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89" name="Google Shape;10122;p65">
              <a:extLst>
                <a:ext uri="{FF2B5EF4-FFF2-40B4-BE49-F238E27FC236}">
                  <a16:creationId xmlns:a16="http://schemas.microsoft.com/office/drawing/2014/main" id="{48618046-5456-CD64-68D3-03E9976FD65A}"/>
                </a:ext>
              </a:extLst>
            </p:cNvPr>
            <p:cNvSpPr/>
            <p:nvPr/>
          </p:nvSpPr>
          <p:spPr>
            <a:xfrm>
              <a:off x="19140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0" name="Google Shape;10123;p65">
              <a:extLst>
                <a:ext uri="{FF2B5EF4-FFF2-40B4-BE49-F238E27FC236}">
                  <a16:creationId xmlns:a16="http://schemas.microsoft.com/office/drawing/2014/main" id="{E1D6C2E6-7DAE-2FB7-07B6-2177B998A9CF}"/>
                </a:ext>
              </a:extLst>
            </p:cNvPr>
            <p:cNvSpPr/>
            <p:nvPr/>
          </p:nvSpPr>
          <p:spPr>
            <a:xfrm>
              <a:off x="19140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1" name="Google Shape;10124;p65">
              <a:extLst>
                <a:ext uri="{FF2B5EF4-FFF2-40B4-BE49-F238E27FC236}">
                  <a16:creationId xmlns:a16="http://schemas.microsoft.com/office/drawing/2014/main" id="{E2716BEA-6036-A499-B655-1D70736DA7AB}"/>
                </a:ext>
              </a:extLst>
            </p:cNvPr>
            <p:cNvSpPr/>
            <p:nvPr/>
          </p:nvSpPr>
          <p:spPr>
            <a:xfrm>
              <a:off x="19140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30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2" name="Google Shape;10125;p65">
              <a:extLst>
                <a:ext uri="{FF2B5EF4-FFF2-40B4-BE49-F238E27FC236}">
                  <a16:creationId xmlns:a16="http://schemas.microsoft.com/office/drawing/2014/main" id="{BBE9D087-4320-3827-8B70-8D110CED1A3C}"/>
                </a:ext>
              </a:extLst>
            </p:cNvPr>
            <p:cNvSpPr/>
            <p:nvPr/>
          </p:nvSpPr>
          <p:spPr>
            <a:xfrm>
              <a:off x="19140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3" name="Google Shape;10126;p65">
              <a:extLst>
                <a:ext uri="{FF2B5EF4-FFF2-40B4-BE49-F238E27FC236}">
                  <a16:creationId xmlns:a16="http://schemas.microsoft.com/office/drawing/2014/main" id="{C5B79F3A-C0BA-4FED-96BA-438200A15D1E}"/>
                </a:ext>
              </a:extLst>
            </p:cNvPr>
            <p:cNvSpPr/>
            <p:nvPr/>
          </p:nvSpPr>
          <p:spPr>
            <a:xfrm>
              <a:off x="19140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4" name="Google Shape;10127;p65">
              <a:extLst>
                <a:ext uri="{FF2B5EF4-FFF2-40B4-BE49-F238E27FC236}">
                  <a16:creationId xmlns:a16="http://schemas.microsoft.com/office/drawing/2014/main" id="{84F5B4D5-BF2E-51A4-8F2A-412F8D44B5E1}"/>
                </a:ext>
              </a:extLst>
            </p:cNvPr>
            <p:cNvSpPr/>
            <p:nvPr/>
          </p:nvSpPr>
          <p:spPr>
            <a:xfrm>
              <a:off x="19140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5" name="Google Shape;10128;p65">
              <a:extLst>
                <a:ext uri="{FF2B5EF4-FFF2-40B4-BE49-F238E27FC236}">
                  <a16:creationId xmlns:a16="http://schemas.microsoft.com/office/drawing/2014/main" id="{4D6ED841-30D8-A7D3-8FE5-5DAAC6E63454}"/>
                </a:ext>
              </a:extLst>
            </p:cNvPr>
            <p:cNvSpPr/>
            <p:nvPr/>
          </p:nvSpPr>
          <p:spPr>
            <a:xfrm>
              <a:off x="1914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6" name="Google Shape;10129;p65">
              <a:extLst>
                <a:ext uri="{FF2B5EF4-FFF2-40B4-BE49-F238E27FC236}">
                  <a16:creationId xmlns:a16="http://schemas.microsoft.com/office/drawing/2014/main" id="{A3C6DC9D-A214-8CE3-A0F6-0501F6B409A4}"/>
                </a:ext>
              </a:extLst>
            </p:cNvPr>
            <p:cNvSpPr/>
            <p:nvPr/>
          </p:nvSpPr>
          <p:spPr>
            <a:xfrm>
              <a:off x="1914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7" name="Google Shape;10130;p65">
              <a:extLst>
                <a:ext uri="{FF2B5EF4-FFF2-40B4-BE49-F238E27FC236}">
                  <a16:creationId xmlns:a16="http://schemas.microsoft.com/office/drawing/2014/main" id="{424E2927-336A-BC84-E563-B70DE76ECF53}"/>
                </a:ext>
              </a:extLst>
            </p:cNvPr>
            <p:cNvSpPr/>
            <p:nvPr/>
          </p:nvSpPr>
          <p:spPr>
            <a:xfrm>
              <a:off x="19140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8" name="Google Shape;10131;p65">
              <a:extLst>
                <a:ext uri="{FF2B5EF4-FFF2-40B4-BE49-F238E27FC236}">
                  <a16:creationId xmlns:a16="http://schemas.microsoft.com/office/drawing/2014/main" id="{F33152F5-8093-C8FC-2047-1728A174C571}"/>
                </a:ext>
              </a:extLst>
            </p:cNvPr>
            <p:cNvSpPr/>
            <p:nvPr/>
          </p:nvSpPr>
          <p:spPr>
            <a:xfrm>
              <a:off x="191400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999" name="Google Shape;10132;p65">
              <a:extLst>
                <a:ext uri="{FF2B5EF4-FFF2-40B4-BE49-F238E27FC236}">
                  <a16:creationId xmlns:a16="http://schemas.microsoft.com/office/drawing/2014/main" id="{E5589102-2701-1D88-732C-DC99FAE3E298}"/>
                </a:ext>
              </a:extLst>
            </p:cNvPr>
            <p:cNvSpPr/>
            <p:nvPr/>
          </p:nvSpPr>
          <p:spPr>
            <a:xfrm>
              <a:off x="1837775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0" name="Google Shape;10133;p65">
              <a:extLst>
                <a:ext uri="{FF2B5EF4-FFF2-40B4-BE49-F238E27FC236}">
                  <a16:creationId xmlns:a16="http://schemas.microsoft.com/office/drawing/2014/main" id="{CB45256C-800D-A89D-F6AF-C4C0F8DE63C7}"/>
                </a:ext>
              </a:extLst>
            </p:cNvPr>
            <p:cNvSpPr/>
            <p:nvPr/>
          </p:nvSpPr>
          <p:spPr>
            <a:xfrm>
              <a:off x="183777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1" y="472"/>
                    <a:pt x="1" y="1065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1" name="Google Shape;10134;p65">
              <a:extLst>
                <a:ext uri="{FF2B5EF4-FFF2-40B4-BE49-F238E27FC236}">
                  <a16:creationId xmlns:a16="http://schemas.microsoft.com/office/drawing/2014/main" id="{9C18714B-7F64-789E-A974-D8CC5E3632D9}"/>
                </a:ext>
              </a:extLst>
            </p:cNvPr>
            <p:cNvSpPr/>
            <p:nvPr/>
          </p:nvSpPr>
          <p:spPr>
            <a:xfrm>
              <a:off x="18377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2" name="Google Shape;10135;p65">
              <a:extLst>
                <a:ext uri="{FF2B5EF4-FFF2-40B4-BE49-F238E27FC236}">
                  <a16:creationId xmlns:a16="http://schemas.microsoft.com/office/drawing/2014/main" id="{7BAD78CE-732B-EE9E-492D-50AA852E28A4}"/>
                </a:ext>
              </a:extLst>
            </p:cNvPr>
            <p:cNvSpPr/>
            <p:nvPr/>
          </p:nvSpPr>
          <p:spPr>
            <a:xfrm>
              <a:off x="18377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3" name="Google Shape;10136;p65">
              <a:extLst>
                <a:ext uri="{FF2B5EF4-FFF2-40B4-BE49-F238E27FC236}">
                  <a16:creationId xmlns:a16="http://schemas.microsoft.com/office/drawing/2014/main" id="{75B2F1DA-A717-20EA-D744-CFFB53E889E7}"/>
                </a:ext>
              </a:extLst>
            </p:cNvPr>
            <p:cNvSpPr/>
            <p:nvPr/>
          </p:nvSpPr>
          <p:spPr>
            <a:xfrm>
              <a:off x="18377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4" name="Google Shape;10137;p65">
              <a:extLst>
                <a:ext uri="{FF2B5EF4-FFF2-40B4-BE49-F238E27FC236}">
                  <a16:creationId xmlns:a16="http://schemas.microsoft.com/office/drawing/2014/main" id="{870DEC9E-98F0-3D11-DE06-6820AD78B511}"/>
                </a:ext>
              </a:extLst>
            </p:cNvPr>
            <p:cNvSpPr/>
            <p:nvPr/>
          </p:nvSpPr>
          <p:spPr>
            <a:xfrm>
              <a:off x="18377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5" name="Google Shape;10138;p65">
              <a:extLst>
                <a:ext uri="{FF2B5EF4-FFF2-40B4-BE49-F238E27FC236}">
                  <a16:creationId xmlns:a16="http://schemas.microsoft.com/office/drawing/2014/main" id="{BF50B9E0-0FF1-CF82-5611-77A57AAF352F}"/>
                </a:ext>
              </a:extLst>
            </p:cNvPr>
            <p:cNvSpPr/>
            <p:nvPr/>
          </p:nvSpPr>
          <p:spPr>
            <a:xfrm>
              <a:off x="18377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6" name="Google Shape;10139;p65">
              <a:extLst>
                <a:ext uri="{FF2B5EF4-FFF2-40B4-BE49-F238E27FC236}">
                  <a16:creationId xmlns:a16="http://schemas.microsoft.com/office/drawing/2014/main" id="{F8CEF5BE-D491-CFE8-06DB-4911849578DF}"/>
                </a:ext>
              </a:extLst>
            </p:cNvPr>
            <p:cNvSpPr/>
            <p:nvPr/>
          </p:nvSpPr>
          <p:spPr>
            <a:xfrm>
              <a:off x="18377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7" name="Google Shape;10140;p65">
              <a:extLst>
                <a:ext uri="{FF2B5EF4-FFF2-40B4-BE49-F238E27FC236}">
                  <a16:creationId xmlns:a16="http://schemas.microsoft.com/office/drawing/2014/main" id="{D1C7515A-0D3D-00CF-9809-493B9FD60351}"/>
                </a:ext>
              </a:extLst>
            </p:cNvPr>
            <p:cNvSpPr/>
            <p:nvPr/>
          </p:nvSpPr>
          <p:spPr>
            <a:xfrm>
              <a:off x="18377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8" name="Google Shape;10141;p65">
              <a:extLst>
                <a:ext uri="{FF2B5EF4-FFF2-40B4-BE49-F238E27FC236}">
                  <a16:creationId xmlns:a16="http://schemas.microsoft.com/office/drawing/2014/main" id="{7502E193-734F-3611-BCA4-B62A89F5F746}"/>
                </a:ext>
              </a:extLst>
            </p:cNvPr>
            <p:cNvSpPr/>
            <p:nvPr/>
          </p:nvSpPr>
          <p:spPr>
            <a:xfrm>
              <a:off x="18377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09" name="Google Shape;10142;p65">
              <a:extLst>
                <a:ext uri="{FF2B5EF4-FFF2-40B4-BE49-F238E27FC236}">
                  <a16:creationId xmlns:a16="http://schemas.microsoft.com/office/drawing/2014/main" id="{9E33D250-CBDA-93AB-41E2-DEE839C6AC19}"/>
                </a:ext>
              </a:extLst>
            </p:cNvPr>
            <p:cNvSpPr/>
            <p:nvPr/>
          </p:nvSpPr>
          <p:spPr>
            <a:xfrm>
              <a:off x="18377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0" name="Google Shape;10143;p65">
              <a:extLst>
                <a:ext uri="{FF2B5EF4-FFF2-40B4-BE49-F238E27FC236}">
                  <a16:creationId xmlns:a16="http://schemas.microsoft.com/office/drawing/2014/main" id="{72B7E5E2-7032-6867-1323-8D73FE382F35}"/>
                </a:ext>
              </a:extLst>
            </p:cNvPr>
            <p:cNvSpPr/>
            <p:nvPr/>
          </p:nvSpPr>
          <p:spPr>
            <a:xfrm>
              <a:off x="18377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1" name="Google Shape;10144;p65">
              <a:extLst>
                <a:ext uri="{FF2B5EF4-FFF2-40B4-BE49-F238E27FC236}">
                  <a16:creationId xmlns:a16="http://schemas.microsoft.com/office/drawing/2014/main" id="{C3A3BA0C-42C6-6DE2-CAFF-C1D2D7E502A0}"/>
                </a:ext>
              </a:extLst>
            </p:cNvPr>
            <p:cNvSpPr/>
            <p:nvPr/>
          </p:nvSpPr>
          <p:spPr>
            <a:xfrm>
              <a:off x="18377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2" name="Google Shape;10145;p65">
              <a:extLst>
                <a:ext uri="{FF2B5EF4-FFF2-40B4-BE49-F238E27FC236}">
                  <a16:creationId xmlns:a16="http://schemas.microsoft.com/office/drawing/2014/main" id="{92F3DEC0-8663-7454-D634-DABBB17779D6}"/>
                </a:ext>
              </a:extLst>
            </p:cNvPr>
            <p:cNvSpPr/>
            <p:nvPr/>
          </p:nvSpPr>
          <p:spPr>
            <a:xfrm>
              <a:off x="18377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3" name="Google Shape;10146;p65">
              <a:extLst>
                <a:ext uri="{FF2B5EF4-FFF2-40B4-BE49-F238E27FC236}">
                  <a16:creationId xmlns:a16="http://schemas.microsoft.com/office/drawing/2014/main" id="{17E72A4D-4DF6-9FC6-CC2C-E357332B1982}"/>
                </a:ext>
              </a:extLst>
            </p:cNvPr>
            <p:cNvSpPr/>
            <p:nvPr/>
          </p:nvSpPr>
          <p:spPr>
            <a:xfrm>
              <a:off x="18377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4" name="Google Shape;10147;p65">
              <a:extLst>
                <a:ext uri="{FF2B5EF4-FFF2-40B4-BE49-F238E27FC236}">
                  <a16:creationId xmlns:a16="http://schemas.microsoft.com/office/drawing/2014/main" id="{C3ED5BE7-9787-8B5B-C432-0EE237C51F0D}"/>
                </a:ext>
              </a:extLst>
            </p:cNvPr>
            <p:cNvSpPr/>
            <p:nvPr/>
          </p:nvSpPr>
          <p:spPr>
            <a:xfrm>
              <a:off x="18377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5" name="Google Shape;10148;p65">
              <a:extLst>
                <a:ext uri="{FF2B5EF4-FFF2-40B4-BE49-F238E27FC236}">
                  <a16:creationId xmlns:a16="http://schemas.microsoft.com/office/drawing/2014/main" id="{9B9B9177-01CF-952B-4DF4-14C8807A2C34}"/>
                </a:ext>
              </a:extLst>
            </p:cNvPr>
            <p:cNvSpPr/>
            <p:nvPr/>
          </p:nvSpPr>
          <p:spPr>
            <a:xfrm>
              <a:off x="18377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6" name="Google Shape;10149;p65">
              <a:extLst>
                <a:ext uri="{FF2B5EF4-FFF2-40B4-BE49-F238E27FC236}">
                  <a16:creationId xmlns:a16="http://schemas.microsoft.com/office/drawing/2014/main" id="{C4A57C52-E583-CA3B-1A90-8E9AF9E785E4}"/>
                </a:ext>
              </a:extLst>
            </p:cNvPr>
            <p:cNvSpPr/>
            <p:nvPr/>
          </p:nvSpPr>
          <p:spPr>
            <a:xfrm>
              <a:off x="1837775" y="11143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7" name="Google Shape;10150;p65">
              <a:extLst>
                <a:ext uri="{FF2B5EF4-FFF2-40B4-BE49-F238E27FC236}">
                  <a16:creationId xmlns:a16="http://schemas.microsoft.com/office/drawing/2014/main" id="{2AC56D57-ABEC-3FD3-A490-3D1B49ECC1AA}"/>
                </a:ext>
              </a:extLst>
            </p:cNvPr>
            <p:cNvSpPr/>
            <p:nvPr/>
          </p:nvSpPr>
          <p:spPr>
            <a:xfrm>
              <a:off x="1761775" y="317107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2"/>
                    <a:pt x="1813" y="1813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8" name="Google Shape;10151;p65">
              <a:extLst>
                <a:ext uri="{FF2B5EF4-FFF2-40B4-BE49-F238E27FC236}">
                  <a16:creationId xmlns:a16="http://schemas.microsoft.com/office/drawing/2014/main" id="{BF109FD3-6589-2CAB-0D4D-8AFE22EF94F3}"/>
                </a:ext>
              </a:extLst>
            </p:cNvPr>
            <p:cNvSpPr/>
            <p:nvPr/>
          </p:nvSpPr>
          <p:spPr>
            <a:xfrm>
              <a:off x="17617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19" name="Google Shape;10152;p65">
              <a:extLst>
                <a:ext uri="{FF2B5EF4-FFF2-40B4-BE49-F238E27FC236}">
                  <a16:creationId xmlns:a16="http://schemas.microsoft.com/office/drawing/2014/main" id="{5CA29AFC-8DB9-4218-9924-0707C294C0F1}"/>
                </a:ext>
              </a:extLst>
            </p:cNvPr>
            <p:cNvSpPr/>
            <p:nvPr/>
          </p:nvSpPr>
          <p:spPr>
            <a:xfrm>
              <a:off x="176177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0" name="Google Shape;10153;p65">
              <a:extLst>
                <a:ext uri="{FF2B5EF4-FFF2-40B4-BE49-F238E27FC236}">
                  <a16:creationId xmlns:a16="http://schemas.microsoft.com/office/drawing/2014/main" id="{376751D0-BA9D-6F9C-7AE0-24A41488C6DE}"/>
                </a:ext>
              </a:extLst>
            </p:cNvPr>
            <p:cNvSpPr/>
            <p:nvPr/>
          </p:nvSpPr>
          <p:spPr>
            <a:xfrm>
              <a:off x="17617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1" name="Google Shape;10154;p65">
              <a:extLst>
                <a:ext uri="{FF2B5EF4-FFF2-40B4-BE49-F238E27FC236}">
                  <a16:creationId xmlns:a16="http://schemas.microsoft.com/office/drawing/2014/main" id="{A4D3E3A1-4829-AEEC-D028-1A8402352D71}"/>
                </a:ext>
              </a:extLst>
            </p:cNvPr>
            <p:cNvSpPr/>
            <p:nvPr/>
          </p:nvSpPr>
          <p:spPr>
            <a:xfrm>
              <a:off x="17617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4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2" name="Google Shape;10155;p65">
              <a:extLst>
                <a:ext uri="{FF2B5EF4-FFF2-40B4-BE49-F238E27FC236}">
                  <a16:creationId xmlns:a16="http://schemas.microsoft.com/office/drawing/2014/main" id="{47A8CFA2-C61D-B64A-3BBA-B9A4F787AF09}"/>
                </a:ext>
              </a:extLst>
            </p:cNvPr>
            <p:cNvSpPr/>
            <p:nvPr/>
          </p:nvSpPr>
          <p:spPr>
            <a:xfrm>
              <a:off x="17617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3" name="Google Shape;10156;p65">
              <a:extLst>
                <a:ext uri="{FF2B5EF4-FFF2-40B4-BE49-F238E27FC236}">
                  <a16:creationId xmlns:a16="http://schemas.microsoft.com/office/drawing/2014/main" id="{04A0E284-D58B-6DA7-F1A1-03C36DCA9CBF}"/>
                </a:ext>
              </a:extLst>
            </p:cNvPr>
            <p:cNvSpPr/>
            <p:nvPr/>
          </p:nvSpPr>
          <p:spPr>
            <a:xfrm>
              <a:off x="17617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4" name="Google Shape;10157;p65">
              <a:extLst>
                <a:ext uri="{FF2B5EF4-FFF2-40B4-BE49-F238E27FC236}">
                  <a16:creationId xmlns:a16="http://schemas.microsoft.com/office/drawing/2014/main" id="{66CD543C-35A5-EC32-1316-FCC8B8F5FA6E}"/>
                </a:ext>
              </a:extLst>
            </p:cNvPr>
            <p:cNvSpPr/>
            <p:nvPr/>
          </p:nvSpPr>
          <p:spPr>
            <a:xfrm>
              <a:off x="17617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5" name="Google Shape;10158;p65">
              <a:extLst>
                <a:ext uri="{FF2B5EF4-FFF2-40B4-BE49-F238E27FC236}">
                  <a16:creationId xmlns:a16="http://schemas.microsoft.com/office/drawing/2014/main" id="{7F177A8A-AC4D-DFC8-4005-0FB025A2A534}"/>
                </a:ext>
              </a:extLst>
            </p:cNvPr>
            <p:cNvSpPr/>
            <p:nvPr/>
          </p:nvSpPr>
          <p:spPr>
            <a:xfrm>
              <a:off x="17617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6" name="Google Shape;10159;p65">
              <a:extLst>
                <a:ext uri="{FF2B5EF4-FFF2-40B4-BE49-F238E27FC236}">
                  <a16:creationId xmlns:a16="http://schemas.microsoft.com/office/drawing/2014/main" id="{7BF49F45-A014-2AAD-E082-8BDD6D6C55D1}"/>
                </a:ext>
              </a:extLst>
            </p:cNvPr>
            <p:cNvSpPr/>
            <p:nvPr/>
          </p:nvSpPr>
          <p:spPr>
            <a:xfrm>
              <a:off x="17617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7" name="Google Shape;10160;p65">
              <a:extLst>
                <a:ext uri="{FF2B5EF4-FFF2-40B4-BE49-F238E27FC236}">
                  <a16:creationId xmlns:a16="http://schemas.microsoft.com/office/drawing/2014/main" id="{1A140BB7-3227-A63E-C034-F60E171CFE5D}"/>
                </a:ext>
              </a:extLst>
            </p:cNvPr>
            <p:cNvSpPr/>
            <p:nvPr/>
          </p:nvSpPr>
          <p:spPr>
            <a:xfrm>
              <a:off x="17617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8" name="Google Shape;10161;p65">
              <a:extLst>
                <a:ext uri="{FF2B5EF4-FFF2-40B4-BE49-F238E27FC236}">
                  <a16:creationId xmlns:a16="http://schemas.microsoft.com/office/drawing/2014/main" id="{6254BEBF-9E75-9020-1BAD-B8F95969FD2C}"/>
                </a:ext>
              </a:extLst>
            </p:cNvPr>
            <p:cNvSpPr/>
            <p:nvPr/>
          </p:nvSpPr>
          <p:spPr>
            <a:xfrm>
              <a:off x="17617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29" name="Google Shape;10162;p65">
              <a:extLst>
                <a:ext uri="{FF2B5EF4-FFF2-40B4-BE49-F238E27FC236}">
                  <a16:creationId xmlns:a16="http://schemas.microsoft.com/office/drawing/2014/main" id="{690046C5-CEC8-71A9-9E7E-8E0179DBCE12}"/>
                </a:ext>
              </a:extLst>
            </p:cNvPr>
            <p:cNvSpPr/>
            <p:nvPr/>
          </p:nvSpPr>
          <p:spPr>
            <a:xfrm>
              <a:off x="17617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0" name="Google Shape;10163;p65">
              <a:extLst>
                <a:ext uri="{FF2B5EF4-FFF2-40B4-BE49-F238E27FC236}">
                  <a16:creationId xmlns:a16="http://schemas.microsoft.com/office/drawing/2014/main" id="{27D41135-EC6A-0349-827C-8F72F2F5552A}"/>
                </a:ext>
              </a:extLst>
            </p:cNvPr>
            <p:cNvSpPr/>
            <p:nvPr/>
          </p:nvSpPr>
          <p:spPr>
            <a:xfrm>
              <a:off x="17617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1" name="Google Shape;10164;p65">
              <a:extLst>
                <a:ext uri="{FF2B5EF4-FFF2-40B4-BE49-F238E27FC236}">
                  <a16:creationId xmlns:a16="http://schemas.microsoft.com/office/drawing/2014/main" id="{CCD6D5BE-1EC1-75DB-980E-947C9CDB761A}"/>
                </a:ext>
              </a:extLst>
            </p:cNvPr>
            <p:cNvSpPr/>
            <p:nvPr/>
          </p:nvSpPr>
          <p:spPr>
            <a:xfrm>
              <a:off x="1761775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2" name="Google Shape;10165;p65">
              <a:extLst>
                <a:ext uri="{FF2B5EF4-FFF2-40B4-BE49-F238E27FC236}">
                  <a16:creationId xmlns:a16="http://schemas.microsoft.com/office/drawing/2014/main" id="{8C1FB446-CDC5-8C15-27C4-3B2A7F336929}"/>
                </a:ext>
              </a:extLst>
            </p:cNvPr>
            <p:cNvSpPr/>
            <p:nvPr/>
          </p:nvSpPr>
          <p:spPr>
            <a:xfrm>
              <a:off x="1761775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3" name="Google Shape;10166;p65">
              <a:extLst>
                <a:ext uri="{FF2B5EF4-FFF2-40B4-BE49-F238E27FC236}">
                  <a16:creationId xmlns:a16="http://schemas.microsoft.com/office/drawing/2014/main" id="{6F6091D3-E9DD-235F-5714-A1F5A8C702D6}"/>
                </a:ext>
              </a:extLst>
            </p:cNvPr>
            <p:cNvSpPr/>
            <p:nvPr/>
          </p:nvSpPr>
          <p:spPr>
            <a:xfrm>
              <a:off x="16855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4" name="Google Shape;10167;p65">
              <a:extLst>
                <a:ext uri="{FF2B5EF4-FFF2-40B4-BE49-F238E27FC236}">
                  <a16:creationId xmlns:a16="http://schemas.microsoft.com/office/drawing/2014/main" id="{BD174827-232A-B654-A067-4CEE886FBC2B}"/>
                </a:ext>
              </a:extLst>
            </p:cNvPr>
            <p:cNvSpPr/>
            <p:nvPr/>
          </p:nvSpPr>
          <p:spPr>
            <a:xfrm>
              <a:off x="16855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5" name="Google Shape;10168;p65">
              <a:extLst>
                <a:ext uri="{FF2B5EF4-FFF2-40B4-BE49-F238E27FC236}">
                  <a16:creationId xmlns:a16="http://schemas.microsoft.com/office/drawing/2014/main" id="{37D9E7E4-3E5E-53BB-502C-EDFFCBE4B23D}"/>
                </a:ext>
              </a:extLst>
            </p:cNvPr>
            <p:cNvSpPr/>
            <p:nvPr/>
          </p:nvSpPr>
          <p:spPr>
            <a:xfrm>
              <a:off x="16855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6" name="Google Shape;10169;p65">
              <a:extLst>
                <a:ext uri="{FF2B5EF4-FFF2-40B4-BE49-F238E27FC236}">
                  <a16:creationId xmlns:a16="http://schemas.microsoft.com/office/drawing/2014/main" id="{CF1B5119-F4C9-7790-D46A-D6C5E819C689}"/>
                </a:ext>
              </a:extLst>
            </p:cNvPr>
            <p:cNvSpPr/>
            <p:nvPr/>
          </p:nvSpPr>
          <p:spPr>
            <a:xfrm>
              <a:off x="1685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7" name="Google Shape;10170;p65">
              <a:extLst>
                <a:ext uri="{FF2B5EF4-FFF2-40B4-BE49-F238E27FC236}">
                  <a16:creationId xmlns:a16="http://schemas.microsoft.com/office/drawing/2014/main" id="{E1E4DA14-3A7C-94D3-2662-F7952B9C6A1D}"/>
                </a:ext>
              </a:extLst>
            </p:cNvPr>
            <p:cNvSpPr/>
            <p:nvPr/>
          </p:nvSpPr>
          <p:spPr>
            <a:xfrm>
              <a:off x="16855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8" name="Google Shape;10171;p65">
              <a:extLst>
                <a:ext uri="{FF2B5EF4-FFF2-40B4-BE49-F238E27FC236}">
                  <a16:creationId xmlns:a16="http://schemas.microsoft.com/office/drawing/2014/main" id="{A666A68C-5BB7-9404-A4DF-98B5F5105C4E}"/>
                </a:ext>
              </a:extLst>
            </p:cNvPr>
            <p:cNvSpPr/>
            <p:nvPr/>
          </p:nvSpPr>
          <p:spPr>
            <a:xfrm>
              <a:off x="1685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39" name="Google Shape;10172;p65">
              <a:extLst>
                <a:ext uri="{FF2B5EF4-FFF2-40B4-BE49-F238E27FC236}">
                  <a16:creationId xmlns:a16="http://schemas.microsoft.com/office/drawing/2014/main" id="{4B2C8B73-DD8B-E677-9461-CEC2EC405158}"/>
                </a:ext>
              </a:extLst>
            </p:cNvPr>
            <p:cNvSpPr/>
            <p:nvPr/>
          </p:nvSpPr>
          <p:spPr>
            <a:xfrm>
              <a:off x="16855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0" name="Google Shape;10173;p65">
              <a:extLst>
                <a:ext uri="{FF2B5EF4-FFF2-40B4-BE49-F238E27FC236}">
                  <a16:creationId xmlns:a16="http://schemas.microsoft.com/office/drawing/2014/main" id="{AFBD7F0B-3AF8-99DA-80F9-02B3DECA4E39}"/>
                </a:ext>
              </a:extLst>
            </p:cNvPr>
            <p:cNvSpPr/>
            <p:nvPr/>
          </p:nvSpPr>
          <p:spPr>
            <a:xfrm>
              <a:off x="168555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1" name="Google Shape;10174;p65">
              <a:extLst>
                <a:ext uri="{FF2B5EF4-FFF2-40B4-BE49-F238E27FC236}">
                  <a16:creationId xmlns:a16="http://schemas.microsoft.com/office/drawing/2014/main" id="{6362BF53-A17F-DC3E-F7D8-CD514E6D9F4E}"/>
                </a:ext>
              </a:extLst>
            </p:cNvPr>
            <p:cNvSpPr/>
            <p:nvPr/>
          </p:nvSpPr>
          <p:spPr>
            <a:xfrm>
              <a:off x="1685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2" name="Google Shape;10175;p65">
              <a:extLst>
                <a:ext uri="{FF2B5EF4-FFF2-40B4-BE49-F238E27FC236}">
                  <a16:creationId xmlns:a16="http://schemas.microsoft.com/office/drawing/2014/main" id="{D65CF950-E760-5CA3-534C-079AF80066EC}"/>
                </a:ext>
              </a:extLst>
            </p:cNvPr>
            <p:cNvSpPr/>
            <p:nvPr/>
          </p:nvSpPr>
          <p:spPr>
            <a:xfrm>
              <a:off x="1685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3" name="Google Shape;10176;p65">
              <a:extLst>
                <a:ext uri="{FF2B5EF4-FFF2-40B4-BE49-F238E27FC236}">
                  <a16:creationId xmlns:a16="http://schemas.microsoft.com/office/drawing/2014/main" id="{514FCFDE-33EA-EBD1-BC13-9C2B3066D433}"/>
                </a:ext>
              </a:extLst>
            </p:cNvPr>
            <p:cNvSpPr/>
            <p:nvPr/>
          </p:nvSpPr>
          <p:spPr>
            <a:xfrm>
              <a:off x="16855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4" name="Google Shape;10177;p65">
              <a:extLst>
                <a:ext uri="{FF2B5EF4-FFF2-40B4-BE49-F238E27FC236}">
                  <a16:creationId xmlns:a16="http://schemas.microsoft.com/office/drawing/2014/main" id="{B69F4543-AA1B-413D-B616-372CD51C0AD9}"/>
                </a:ext>
              </a:extLst>
            </p:cNvPr>
            <p:cNvSpPr/>
            <p:nvPr/>
          </p:nvSpPr>
          <p:spPr>
            <a:xfrm>
              <a:off x="1685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5" name="Google Shape;10178;p65">
              <a:extLst>
                <a:ext uri="{FF2B5EF4-FFF2-40B4-BE49-F238E27FC236}">
                  <a16:creationId xmlns:a16="http://schemas.microsoft.com/office/drawing/2014/main" id="{E6DBE26F-A6D1-638E-5140-8D9F1D3CCAB5}"/>
                </a:ext>
              </a:extLst>
            </p:cNvPr>
            <p:cNvSpPr/>
            <p:nvPr/>
          </p:nvSpPr>
          <p:spPr>
            <a:xfrm>
              <a:off x="16855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6" name="Google Shape;10179;p65">
              <a:extLst>
                <a:ext uri="{FF2B5EF4-FFF2-40B4-BE49-F238E27FC236}">
                  <a16:creationId xmlns:a16="http://schemas.microsoft.com/office/drawing/2014/main" id="{D8C29F2C-1E5E-71C0-30E5-A0A14A172B83}"/>
                </a:ext>
              </a:extLst>
            </p:cNvPr>
            <p:cNvSpPr/>
            <p:nvPr/>
          </p:nvSpPr>
          <p:spPr>
            <a:xfrm>
              <a:off x="1685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7" name="Google Shape;10180;p65">
              <a:extLst>
                <a:ext uri="{FF2B5EF4-FFF2-40B4-BE49-F238E27FC236}">
                  <a16:creationId xmlns:a16="http://schemas.microsoft.com/office/drawing/2014/main" id="{C62621AD-6B17-9F5E-8916-714B7E7E4EA5}"/>
                </a:ext>
              </a:extLst>
            </p:cNvPr>
            <p:cNvSpPr/>
            <p:nvPr/>
          </p:nvSpPr>
          <p:spPr>
            <a:xfrm>
              <a:off x="16855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8" name="Google Shape;10181;p65">
              <a:extLst>
                <a:ext uri="{FF2B5EF4-FFF2-40B4-BE49-F238E27FC236}">
                  <a16:creationId xmlns:a16="http://schemas.microsoft.com/office/drawing/2014/main" id="{D0B5783C-CF71-2441-84FF-5CB3E665149F}"/>
                </a:ext>
              </a:extLst>
            </p:cNvPr>
            <p:cNvSpPr/>
            <p:nvPr/>
          </p:nvSpPr>
          <p:spPr>
            <a:xfrm>
              <a:off x="1685550" y="11143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49" name="Google Shape;10182;p65">
              <a:extLst>
                <a:ext uri="{FF2B5EF4-FFF2-40B4-BE49-F238E27FC236}">
                  <a16:creationId xmlns:a16="http://schemas.microsoft.com/office/drawing/2014/main" id="{99C59006-B6D7-B85E-A2CD-E294154D238E}"/>
                </a:ext>
              </a:extLst>
            </p:cNvPr>
            <p:cNvSpPr/>
            <p:nvPr/>
          </p:nvSpPr>
          <p:spPr>
            <a:xfrm>
              <a:off x="16093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0" name="Google Shape;10183;p65">
              <a:extLst>
                <a:ext uri="{FF2B5EF4-FFF2-40B4-BE49-F238E27FC236}">
                  <a16:creationId xmlns:a16="http://schemas.microsoft.com/office/drawing/2014/main" id="{5CAB01B4-3713-8833-D303-08D1DF87D87A}"/>
                </a:ext>
              </a:extLst>
            </p:cNvPr>
            <p:cNvSpPr/>
            <p:nvPr/>
          </p:nvSpPr>
          <p:spPr>
            <a:xfrm>
              <a:off x="16093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1" name="Google Shape;10184;p65">
              <a:extLst>
                <a:ext uri="{FF2B5EF4-FFF2-40B4-BE49-F238E27FC236}">
                  <a16:creationId xmlns:a16="http://schemas.microsoft.com/office/drawing/2014/main" id="{DE7F0A0A-D0C7-9FD0-C1D1-83829777E1DE}"/>
                </a:ext>
              </a:extLst>
            </p:cNvPr>
            <p:cNvSpPr/>
            <p:nvPr/>
          </p:nvSpPr>
          <p:spPr>
            <a:xfrm>
              <a:off x="16093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2" name="Google Shape;10185;p65">
              <a:extLst>
                <a:ext uri="{FF2B5EF4-FFF2-40B4-BE49-F238E27FC236}">
                  <a16:creationId xmlns:a16="http://schemas.microsoft.com/office/drawing/2014/main" id="{1849619E-512E-1D0B-ED4A-6B9608BBADB8}"/>
                </a:ext>
              </a:extLst>
            </p:cNvPr>
            <p:cNvSpPr/>
            <p:nvPr/>
          </p:nvSpPr>
          <p:spPr>
            <a:xfrm>
              <a:off x="16093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3" name="Google Shape;10186;p65">
              <a:extLst>
                <a:ext uri="{FF2B5EF4-FFF2-40B4-BE49-F238E27FC236}">
                  <a16:creationId xmlns:a16="http://schemas.microsoft.com/office/drawing/2014/main" id="{2F7B282F-2328-8F65-EE8C-65162125FD57}"/>
                </a:ext>
              </a:extLst>
            </p:cNvPr>
            <p:cNvSpPr/>
            <p:nvPr/>
          </p:nvSpPr>
          <p:spPr>
            <a:xfrm>
              <a:off x="16093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4" name="Google Shape;10187;p65">
              <a:extLst>
                <a:ext uri="{FF2B5EF4-FFF2-40B4-BE49-F238E27FC236}">
                  <a16:creationId xmlns:a16="http://schemas.microsoft.com/office/drawing/2014/main" id="{602B68C4-5C02-E403-97CF-183CE80DFC45}"/>
                </a:ext>
              </a:extLst>
            </p:cNvPr>
            <p:cNvSpPr/>
            <p:nvPr/>
          </p:nvSpPr>
          <p:spPr>
            <a:xfrm>
              <a:off x="16093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5" name="Google Shape;10188;p65">
              <a:extLst>
                <a:ext uri="{FF2B5EF4-FFF2-40B4-BE49-F238E27FC236}">
                  <a16:creationId xmlns:a16="http://schemas.microsoft.com/office/drawing/2014/main" id="{93FDA077-EBF1-085E-C378-CAD81EFD22E6}"/>
                </a:ext>
              </a:extLst>
            </p:cNvPr>
            <p:cNvSpPr/>
            <p:nvPr/>
          </p:nvSpPr>
          <p:spPr>
            <a:xfrm>
              <a:off x="16093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6" name="Google Shape;10189;p65">
              <a:extLst>
                <a:ext uri="{FF2B5EF4-FFF2-40B4-BE49-F238E27FC236}">
                  <a16:creationId xmlns:a16="http://schemas.microsoft.com/office/drawing/2014/main" id="{7114E0D1-5C83-6E8A-8D77-3A34E10D9675}"/>
                </a:ext>
              </a:extLst>
            </p:cNvPr>
            <p:cNvSpPr/>
            <p:nvPr/>
          </p:nvSpPr>
          <p:spPr>
            <a:xfrm>
              <a:off x="16093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7" name="Google Shape;10190;p65">
              <a:extLst>
                <a:ext uri="{FF2B5EF4-FFF2-40B4-BE49-F238E27FC236}">
                  <a16:creationId xmlns:a16="http://schemas.microsoft.com/office/drawing/2014/main" id="{4DA75259-51CA-9863-7905-FBC8C6B6DEBB}"/>
                </a:ext>
              </a:extLst>
            </p:cNvPr>
            <p:cNvSpPr/>
            <p:nvPr/>
          </p:nvSpPr>
          <p:spPr>
            <a:xfrm>
              <a:off x="16093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8" name="Google Shape;10191;p65">
              <a:extLst>
                <a:ext uri="{FF2B5EF4-FFF2-40B4-BE49-F238E27FC236}">
                  <a16:creationId xmlns:a16="http://schemas.microsoft.com/office/drawing/2014/main" id="{354BC3B0-A553-40F9-A756-7C4922134AB5}"/>
                </a:ext>
              </a:extLst>
            </p:cNvPr>
            <p:cNvSpPr/>
            <p:nvPr/>
          </p:nvSpPr>
          <p:spPr>
            <a:xfrm>
              <a:off x="16093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59" name="Google Shape;10192;p65">
              <a:extLst>
                <a:ext uri="{FF2B5EF4-FFF2-40B4-BE49-F238E27FC236}">
                  <a16:creationId xmlns:a16="http://schemas.microsoft.com/office/drawing/2014/main" id="{D9D51F3E-9E08-3B1C-8F3D-D841A8EB8CE5}"/>
                </a:ext>
              </a:extLst>
            </p:cNvPr>
            <p:cNvSpPr/>
            <p:nvPr/>
          </p:nvSpPr>
          <p:spPr>
            <a:xfrm>
              <a:off x="16093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0" name="Google Shape;10193;p65">
              <a:extLst>
                <a:ext uri="{FF2B5EF4-FFF2-40B4-BE49-F238E27FC236}">
                  <a16:creationId xmlns:a16="http://schemas.microsoft.com/office/drawing/2014/main" id="{7891DF9D-7AD7-EDB4-E982-9A689D81EF4B}"/>
                </a:ext>
              </a:extLst>
            </p:cNvPr>
            <p:cNvSpPr/>
            <p:nvPr/>
          </p:nvSpPr>
          <p:spPr>
            <a:xfrm>
              <a:off x="16093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1" name="Google Shape;10194;p65">
              <a:extLst>
                <a:ext uri="{FF2B5EF4-FFF2-40B4-BE49-F238E27FC236}">
                  <a16:creationId xmlns:a16="http://schemas.microsoft.com/office/drawing/2014/main" id="{CE1C2988-1397-53BC-2C98-F650BFEF9A37}"/>
                </a:ext>
              </a:extLst>
            </p:cNvPr>
            <p:cNvSpPr/>
            <p:nvPr/>
          </p:nvSpPr>
          <p:spPr>
            <a:xfrm>
              <a:off x="16093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2" name="Google Shape;10195;p65">
              <a:extLst>
                <a:ext uri="{FF2B5EF4-FFF2-40B4-BE49-F238E27FC236}">
                  <a16:creationId xmlns:a16="http://schemas.microsoft.com/office/drawing/2014/main" id="{342A9260-DC15-7BE8-7CCE-86179BFA7C29}"/>
                </a:ext>
              </a:extLst>
            </p:cNvPr>
            <p:cNvSpPr/>
            <p:nvPr/>
          </p:nvSpPr>
          <p:spPr>
            <a:xfrm>
              <a:off x="16093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3" name="Google Shape;10196;p65">
              <a:extLst>
                <a:ext uri="{FF2B5EF4-FFF2-40B4-BE49-F238E27FC236}">
                  <a16:creationId xmlns:a16="http://schemas.microsoft.com/office/drawing/2014/main" id="{3E60F89C-DC1A-1BCD-6B09-E14322584963}"/>
                </a:ext>
              </a:extLst>
            </p:cNvPr>
            <p:cNvSpPr/>
            <p:nvPr/>
          </p:nvSpPr>
          <p:spPr>
            <a:xfrm>
              <a:off x="16093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4" name="Google Shape;10197;p65">
              <a:extLst>
                <a:ext uri="{FF2B5EF4-FFF2-40B4-BE49-F238E27FC236}">
                  <a16:creationId xmlns:a16="http://schemas.microsoft.com/office/drawing/2014/main" id="{2AF62F36-3832-4242-ABB8-90D101198240}"/>
                </a:ext>
              </a:extLst>
            </p:cNvPr>
            <p:cNvSpPr/>
            <p:nvPr/>
          </p:nvSpPr>
          <p:spPr>
            <a:xfrm>
              <a:off x="16093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5" name="Google Shape;10198;p65">
              <a:extLst>
                <a:ext uri="{FF2B5EF4-FFF2-40B4-BE49-F238E27FC236}">
                  <a16:creationId xmlns:a16="http://schemas.microsoft.com/office/drawing/2014/main" id="{DA8440CB-3EB5-434D-2F77-158F3A2F776E}"/>
                </a:ext>
              </a:extLst>
            </p:cNvPr>
            <p:cNvSpPr/>
            <p:nvPr/>
          </p:nvSpPr>
          <p:spPr>
            <a:xfrm>
              <a:off x="160935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6" name="Google Shape;10199;p65">
              <a:extLst>
                <a:ext uri="{FF2B5EF4-FFF2-40B4-BE49-F238E27FC236}">
                  <a16:creationId xmlns:a16="http://schemas.microsoft.com/office/drawing/2014/main" id="{D6405BA6-0F77-F4C1-22E6-B36EEC5CD23C}"/>
                </a:ext>
              </a:extLst>
            </p:cNvPr>
            <p:cNvSpPr/>
            <p:nvPr/>
          </p:nvSpPr>
          <p:spPr>
            <a:xfrm>
              <a:off x="16093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7" name="Google Shape;10200;p65">
              <a:extLst>
                <a:ext uri="{FF2B5EF4-FFF2-40B4-BE49-F238E27FC236}">
                  <a16:creationId xmlns:a16="http://schemas.microsoft.com/office/drawing/2014/main" id="{C914D158-8722-7B97-14FB-81B0C8288F09}"/>
                </a:ext>
              </a:extLst>
            </p:cNvPr>
            <p:cNvSpPr/>
            <p:nvPr/>
          </p:nvSpPr>
          <p:spPr>
            <a:xfrm>
              <a:off x="15331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8" name="Google Shape;10201;p65">
              <a:extLst>
                <a:ext uri="{FF2B5EF4-FFF2-40B4-BE49-F238E27FC236}">
                  <a16:creationId xmlns:a16="http://schemas.microsoft.com/office/drawing/2014/main" id="{A7720B64-B6A6-6E16-9809-C2B6C97457ED}"/>
                </a:ext>
              </a:extLst>
            </p:cNvPr>
            <p:cNvSpPr/>
            <p:nvPr/>
          </p:nvSpPr>
          <p:spPr>
            <a:xfrm>
              <a:off x="15331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69" name="Google Shape;10202;p65">
              <a:extLst>
                <a:ext uri="{FF2B5EF4-FFF2-40B4-BE49-F238E27FC236}">
                  <a16:creationId xmlns:a16="http://schemas.microsoft.com/office/drawing/2014/main" id="{3CB8C9F8-F402-E6F0-A2B6-40FA9F818042}"/>
                </a:ext>
              </a:extLst>
            </p:cNvPr>
            <p:cNvSpPr/>
            <p:nvPr/>
          </p:nvSpPr>
          <p:spPr>
            <a:xfrm>
              <a:off x="15331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97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0" name="Google Shape;10203;p65">
              <a:extLst>
                <a:ext uri="{FF2B5EF4-FFF2-40B4-BE49-F238E27FC236}">
                  <a16:creationId xmlns:a16="http://schemas.microsoft.com/office/drawing/2014/main" id="{8877FB2C-6806-3F82-2773-3261C0C9DC47}"/>
                </a:ext>
              </a:extLst>
            </p:cNvPr>
            <p:cNvSpPr/>
            <p:nvPr/>
          </p:nvSpPr>
          <p:spPr>
            <a:xfrm>
              <a:off x="15331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1" name="Google Shape;10204;p65">
              <a:extLst>
                <a:ext uri="{FF2B5EF4-FFF2-40B4-BE49-F238E27FC236}">
                  <a16:creationId xmlns:a16="http://schemas.microsoft.com/office/drawing/2014/main" id="{B0004017-13D9-747A-29CF-5C6A2F963241}"/>
                </a:ext>
              </a:extLst>
            </p:cNvPr>
            <p:cNvSpPr/>
            <p:nvPr/>
          </p:nvSpPr>
          <p:spPr>
            <a:xfrm>
              <a:off x="15331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2" name="Google Shape;10205;p65">
              <a:extLst>
                <a:ext uri="{FF2B5EF4-FFF2-40B4-BE49-F238E27FC236}">
                  <a16:creationId xmlns:a16="http://schemas.microsoft.com/office/drawing/2014/main" id="{BF2D2D2D-ECA3-A8F5-5CE6-B051B634F3B1}"/>
                </a:ext>
              </a:extLst>
            </p:cNvPr>
            <p:cNvSpPr/>
            <p:nvPr/>
          </p:nvSpPr>
          <p:spPr>
            <a:xfrm>
              <a:off x="15331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3" name="Google Shape;10206;p65">
              <a:extLst>
                <a:ext uri="{FF2B5EF4-FFF2-40B4-BE49-F238E27FC236}">
                  <a16:creationId xmlns:a16="http://schemas.microsoft.com/office/drawing/2014/main" id="{6C15CAB6-ACB0-9C7E-DC38-C16F813F9ACD}"/>
                </a:ext>
              </a:extLst>
            </p:cNvPr>
            <p:cNvSpPr/>
            <p:nvPr/>
          </p:nvSpPr>
          <p:spPr>
            <a:xfrm>
              <a:off x="15331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4" name="Google Shape;10207;p65">
              <a:extLst>
                <a:ext uri="{FF2B5EF4-FFF2-40B4-BE49-F238E27FC236}">
                  <a16:creationId xmlns:a16="http://schemas.microsoft.com/office/drawing/2014/main" id="{9218F34A-68C4-E6E6-1EDC-5BA98EAF28FD}"/>
                </a:ext>
              </a:extLst>
            </p:cNvPr>
            <p:cNvSpPr/>
            <p:nvPr/>
          </p:nvSpPr>
          <p:spPr>
            <a:xfrm>
              <a:off x="15331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5" name="Google Shape;10208;p65">
              <a:extLst>
                <a:ext uri="{FF2B5EF4-FFF2-40B4-BE49-F238E27FC236}">
                  <a16:creationId xmlns:a16="http://schemas.microsoft.com/office/drawing/2014/main" id="{DCA9E2C1-3C63-C1CC-F0F5-0CFF76C4BB20}"/>
                </a:ext>
              </a:extLst>
            </p:cNvPr>
            <p:cNvSpPr/>
            <p:nvPr/>
          </p:nvSpPr>
          <p:spPr>
            <a:xfrm>
              <a:off x="15331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6" name="Google Shape;10209;p65">
              <a:extLst>
                <a:ext uri="{FF2B5EF4-FFF2-40B4-BE49-F238E27FC236}">
                  <a16:creationId xmlns:a16="http://schemas.microsoft.com/office/drawing/2014/main" id="{FA4D5D67-3193-B32E-5D49-57730D04BB94}"/>
                </a:ext>
              </a:extLst>
            </p:cNvPr>
            <p:cNvSpPr/>
            <p:nvPr/>
          </p:nvSpPr>
          <p:spPr>
            <a:xfrm>
              <a:off x="15331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7" name="Google Shape;10210;p65">
              <a:extLst>
                <a:ext uri="{FF2B5EF4-FFF2-40B4-BE49-F238E27FC236}">
                  <a16:creationId xmlns:a16="http://schemas.microsoft.com/office/drawing/2014/main" id="{26CE8801-ABAE-8158-973E-0031646420E5}"/>
                </a:ext>
              </a:extLst>
            </p:cNvPr>
            <p:cNvSpPr/>
            <p:nvPr/>
          </p:nvSpPr>
          <p:spPr>
            <a:xfrm>
              <a:off x="15331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8" name="Google Shape;10211;p65">
              <a:extLst>
                <a:ext uri="{FF2B5EF4-FFF2-40B4-BE49-F238E27FC236}">
                  <a16:creationId xmlns:a16="http://schemas.microsoft.com/office/drawing/2014/main" id="{072F0819-4A3F-C336-4017-F54F0E1D9E7E}"/>
                </a:ext>
              </a:extLst>
            </p:cNvPr>
            <p:cNvSpPr/>
            <p:nvPr/>
          </p:nvSpPr>
          <p:spPr>
            <a:xfrm>
              <a:off x="15331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79" name="Google Shape;10212;p65">
              <a:extLst>
                <a:ext uri="{FF2B5EF4-FFF2-40B4-BE49-F238E27FC236}">
                  <a16:creationId xmlns:a16="http://schemas.microsoft.com/office/drawing/2014/main" id="{94F430C6-F71F-6F96-785F-49059D9F9C38}"/>
                </a:ext>
              </a:extLst>
            </p:cNvPr>
            <p:cNvSpPr/>
            <p:nvPr/>
          </p:nvSpPr>
          <p:spPr>
            <a:xfrm>
              <a:off x="15331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0" name="Google Shape;10213;p65">
              <a:extLst>
                <a:ext uri="{FF2B5EF4-FFF2-40B4-BE49-F238E27FC236}">
                  <a16:creationId xmlns:a16="http://schemas.microsoft.com/office/drawing/2014/main" id="{A41C1F15-5723-24BA-91E7-97142D16055A}"/>
                </a:ext>
              </a:extLst>
            </p:cNvPr>
            <p:cNvSpPr/>
            <p:nvPr/>
          </p:nvSpPr>
          <p:spPr>
            <a:xfrm>
              <a:off x="15331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1" name="Google Shape;10214;p65">
              <a:extLst>
                <a:ext uri="{FF2B5EF4-FFF2-40B4-BE49-F238E27FC236}">
                  <a16:creationId xmlns:a16="http://schemas.microsoft.com/office/drawing/2014/main" id="{6227132E-AAED-704A-0CCE-EFC7444FE8F9}"/>
                </a:ext>
              </a:extLst>
            </p:cNvPr>
            <p:cNvSpPr/>
            <p:nvPr/>
          </p:nvSpPr>
          <p:spPr>
            <a:xfrm>
              <a:off x="15331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2" name="Google Shape;10215;p65">
              <a:extLst>
                <a:ext uri="{FF2B5EF4-FFF2-40B4-BE49-F238E27FC236}">
                  <a16:creationId xmlns:a16="http://schemas.microsoft.com/office/drawing/2014/main" id="{81D8FC1D-BA66-B695-70A5-45979545B10B}"/>
                </a:ext>
              </a:extLst>
            </p:cNvPr>
            <p:cNvSpPr/>
            <p:nvPr/>
          </p:nvSpPr>
          <p:spPr>
            <a:xfrm>
              <a:off x="15331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3" name="Google Shape;10216;p65">
              <a:extLst>
                <a:ext uri="{FF2B5EF4-FFF2-40B4-BE49-F238E27FC236}">
                  <a16:creationId xmlns:a16="http://schemas.microsoft.com/office/drawing/2014/main" id="{91D719A6-FC25-3888-6D97-D8BD63FB4ADD}"/>
                </a:ext>
              </a:extLst>
            </p:cNvPr>
            <p:cNvSpPr/>
            <p:nvPr/>
          </p:nvSpPr>
          <p:spPr>
            <a:xfrm>
              <a:off x="14569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4" name="Google Shape;10217;p65">
              <a:extLst>
                <a:ext uri="{FF2B5EF4-FFF2-40B4-BE49-F238E27FC236}">
                  <a16:creationId xmlns:a16="http://schemas.microsoft.com/office/drawing/2014/main" id="{EEAEB49A-3D86-A620-3469-1ABE7CC2A889}"/>
                </a:ext>
              </a:extLst>
            </p:cNvPr>
            <p:cNvSpPr/>
            <p:nvPr/>
          </p:nvSpPr>
          <p:spPr>
            <a:xfrm>
              <a:off x="14569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5" name="Google Shape;10218;p65">
              <a:extLst>
                <a:ext uri="{FF2B5EF4-FFF2-40B4-BE49-F238E27FC236}">
                  <a16:creationId xmlns:a16="http://schemas.microsoft.com/office/drawing/2014/main" id="{9168C0B3-94A7-C148-A3E2-CA7ACE8D03EA}"/>
                </a:ext>
              </a:extLst>
            </p:cNvPr>
            <p:cNvSpPr/>
            <p:nvPr/>
          </p:nvSpPr>
          <p:spPr>
            <a:xfrm>
              <a:off x="14569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6" name="Google Shape;10219;p65">
              <a:extLst>
                <a:ext uri="{FF2B5EF4-FFF2-40B4-BE49-F238E27FC236}">
                  <a16:creationId xmlns:a16="http://schemas.microsoft.com/office/drawing/2014/main" id="{AD4195A0-7628-0B7C-7D4C-210BCEEA8B7C}"/>
                </a:ext>
              </a:extLst>
            </p:cNvPr>
            <p:cNvSpPr/>
            <p:nvPr/>
          </p:nvSpPr>
          <p:spPr>
            <a:xfrm>
              <a:off x="14569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7" name="Google Shape;10220;p65">
              <a:extLst>
                <a:ext uri="{FF2B5EF4-FFF2-40B4-BE49-F238E27FC236}">
                  <a16:creationId xmlns:a16="http://schemas.microsoft.com/office/drawing/2014/main" id="{5817EF56-6AB2-E699-566B-7E30C475A6FF}"/>
                </a:ext>
              </a:extLst>
            </p:cNvPr>
            <p:cNvSpPr/>
            <p:nvPr/>
          </p:nvSpPr>
          <p:spPr>
            <a:xfrm>
              <a:off x="14569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8" name="Google Shape;10221;p65">
              <a:extLst>
                <a:ext uri="{FF2B5EF4-FFF2-40B4-BE49-F238E27FC236}">
                  <a16:creationId xmlns:a16="http://schemas.microsoft.com/office/drawing/2014/main" id="{FF83B66A-FF91-5759-ECE6-7832DB37BE8B}"/>
                </a:ext>
              </a:extLst>
            </p:cNvPr>
            <p:cNvSpPr/>
            <p:nvPr/>
          </p:nvSpPr>
          <p:spPr>
            <a:xfrm>
              <a:off x="14569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89" name="Google Shape;10222;p65">
              <a:extLst>
                <a:ext uri="{FF2B5EF4-FFF2-40B4-BE49-F238E27FC236}">
                  <a16:creationId xmlns:a16="http://schemas.microsoft.com/office/drawing/2014/main" id="{F553FB7F-2F25-B077-977C-1C2FE8EC23C0}"/>
                </a:ext>
              </a:extLst>
            </p:cNvPr>
            <p:cNvSpPr/>
            <p:nvPr/>
          </p:nvSpPr>
          <p:spPr>
            <a:xfrm>
              <a:off x="14569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0" name="Google Shape;10223;p65">
              <a:extLst>
                <a:ext uri="{FF2B5EF4-FFF2-40B4-BE49-F238E27FC236}">
                  <a16:creationId xmlns:a16="http://schemas.microsoft.com/office/drawing/2014/main" id="{5778DA78-9C6A-73D9-D9C4-2E6B7B72678F}"/>
                </a:ext>
              </a:extLst>
            </p:cNvPr>
            <p:cNvSpPr/>
            <p:nvPr/>
          </p:nvSpPr>
          <p:spPr>
            <a:xfrm>
              <a:off x="14569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1" name="Google Shape;10224;p65">
              <a:extLst>
                <a:ext uri="{FF2B5EF4-FFF2-40B4-BE49-F238E27FC236}">
                  <a16:creationId xmlns:a16="http://schemas.microsoft.com/office/drawing/2014/main" id="{2635FF32-799A-1DC5-B41D-92C58FA0364A}"/>
                </a:ext>
              </a:extLst>
            </p:cNvPr>
            <p:cNvSpPr/>
            <p:nvPr/>
          </p:nvSpPr>
          <p:spPr>
            <a:xfrm>
              <a:off x="145692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2" name="Google Shape;10225;p65">
              <a:extLst>
                <a:ext uri="{FF2B5EF4-FFF2-40B4-BE49-F238E27FC236}">
                  <a16:creationId xmlns:a16="http://schemas.microsoft.com/office/drawing/2014/main" id="{23C517A1-B96E-BCC6-4139-F571837AB5B3}"/>
                </a:ext>
              </a:extLst>
            </p:cNvPr>
            <p:cNvSpPr/>
            <p:nvPr/>
          </p:nvSpPr>
          <p:spPr>
            <a:xfrm>
              <a:off x="145692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3" name="Google Shape;10226;p65">
              <a:extLst>
                <a:ext uri="{FF2B5EF4-FFF2-40B4-BE49-F238E27FC236}">
                  <a16:creationId xmlns:a16="http://schemas.microsoft.com/office/drawing/2014/main" id="{E2B3BB46-04A0-EA61-E512-121FD5DD73C2}"/>
                </a:ext>
              </a:extLst>
            </p:cNvPr>
            <p:cNvSpPr/>
            <p:nvPr/>
          </p:nvSpPr>
          <p:spPr>
            <a:xfrm>
              <a:off x="145692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4" name="Google Shape;10227;p65">
              <a:extLst>
                <a:ext uri="{FF2B5EF4-FFF2-40B4-BE49-F238E27FC236}">
                  <a16:creationId xmlns:a16="http://schemas.microsoft.com/office/drawing/2014/main" id="{FCA49B70-5958-E42C-5B1A-3B848E9A51E7}"/>
                </a:ext>
              </a:extLst>
            </p:cNvPr>
            <p:cNvSpPr/>
            <p:nvPr/>
          </p:nvSpPr>
          <p:spPr>
            <a:xfrm>
              <a:off x="145692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5" name="Google Shape;10228;p65">
              <a:extLst>
                <a:ext uri="{FF2B5EF4-FFF2-40B4-BE49-F238E27FC236}">
                  <a16:creationId xmlns:a16="http://schemas.microsoft.com/office/drawing/2014/main" id="{31C2C074-F50F-5AE8-C4A6-AFBF90F56827}"/>
                </a:ext>
              </a:extLst>
            </p:cNvPr>
            <p:cNvSpPr/>
            <p:nvPr/>
          </p:nvSpPr>
          <p:spPr>
            <a:xfrm>
              <a:off x="145692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6" name="Google Shape;10229;p65">
              <a:extLst>
                <a:ext uri="{FF2B5EF4-FFF2-40B4-BE49-F238E27FC236}">
                  <a16:creationId xmlns:a16="http://schemas.microsoft.com/office/drawing/2014/main" id="{EE60D73A-A8D5-B0F8-4960-2C445BCA2963}"/>
                </a:ext>
              </a:extLst>
            </p:cNvPr>
            <p:cNvSpPr/>
            <p:nvPr/>
          </p:nvSpPr>
          <p:spPr>
            <a:xfrm>
              <a:off x="145692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7" name="Google Shape;10230;p65">
              <a:extLst>
                <a:ext uri="{FF2B5EF4-FFF2-40B4-BE49-F238E27FC236}">
                  <a16:creationId xmlns:a16="http://schemas.microsoft.com/office/drawing/2014/main" id="{C8698986-903C-F06A-6198-8773E886AE0F}"/>
                </a:ext>
              </a:extLst>
            </p:cNvPr>
            <p:cNvSpPr/>
            <p:nvPr/>
          </p:nvSpPr>
          <p:spPr>
            <a:xfrm>
              <a:off x="14569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8" name="Google Shape;10231;p65">
              <a:extLst>
                <a:ext uri="{FF2B5EF4-FFF2-40B4-BE49-F238E27FC236}">
                  <a16:creationId xmlns:a16="http://schemas.microsoft.com/office/drawing/2014/main" id="{A16DE9FD-F265-2B5E-82E4-68F2CFB0BAF5}"/>
                </a:ext>
              </a:extLst>
            </p:cNvPr>
            <p:cNvSpPr/>
            <p:nvPr/>
          </p:nvSpPr>
          <p:spPr>
            <a:xfrm>
              <a:off x="14569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099" name="Google Shape;10232;p65">
              <a:extLst>
                <a:ext uri="{FF2B5EF4-FFF2-40B4-BE49-F238E27FC236}">
                  <a16:creationId xmlns:a16="http://schemas.microsoft.com/office/drawing/2014/main" id="{FC7F6E65-99AA-7DF1-8C14-61AE8A7166EB}"/>
                </a:ext>
              </a:extLst>
            </p:cNvPr>
            <p:cNvSpPr/>
            <p:nvPr/>
          </p:nvSpPr>
          <p:spPr>
            <a:xfrm>
              <a:off x="145692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0" name="Google Shape;10233;p65">
              <a:extLst>
                <a:ext uri="{FF2B5EF4-FFF2-40B4-BE49-F238E27FC236}">
                  <a16:creationId xmlns:a16="http://schemas.microsoft.com/office/drawing/2014/main" id="{2D993476-4F8D-3BC3-0537-3C4A886B7E42}"/>
                </a:ext>
              </a:extLst>
            </p:cNvPr>
            <p:cNvSpPr/>
            <p:nvPr/>
          </p:nvSpPr>
          <p:spPr>
            <a:xfrm>
              <a:off x="14569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1" name="Google Shape;10234;p65">
              <a:extLst>
                <a:ext uri="{FF2B5EF4-FFF2-40B4-BE49-F238E27FC236}">
                  <a16:creationId xmlns:a16="http://schemas.microsoft.com/office/drawing/2014/main" id="{E02BC2E3-1E4E-2BCA-17DA-D9433825EDA1}"/>
                </a:ext>
              </a:extLst>
            </p:cNvPr>
            <p:cNvSpPr/>
            <p:nvPr/>
          </p:nvSpPr>
          <p:spPr>
            <a:xfrm>
              <a:off x="145692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2" name="Google Shape;10235;p65">
              <a:extLst>
                <a:ext uri="{FF2B5EF4-FFF2-40B4-BE49-F238E27FC236}">
                  <a16:creationId xmlns:a16="http://schemas.microsoft.com/office/drawing/2014/main" id="{3B042CA0-24D7-70BA-9CDE-86CC0EA311C8}"/>
                </a:ext>
              </a:extLst>
            </p:cNvPr>
            <p:cNvSpPr/>
            <p:nvPr/>
          </p:nvSpPr>
          <p:spPr>
            <a:xfrm>
              <a:off x="13809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3" name="Google Shape;10236;p65">
              <a:extLst>
                <a:ext uri="{FF2B5EF4-FFF2-40B4-BE49-F238E27FC236}">
                  <a16:creationId xmlns:a16="http://schemas.microsoft.com/office/drawing/2014/main" id="{F114B3F2-C960-4377-9DB8-C726BDD1BD13}"/>
                </a:ext>
              </a:extLst>
            </p:cNvPr>
            <p:cNvSpPr/>
            <p:nvPr/>
          </p:nvSpPr>
          <p:spPr>
            <a:xfrm>
              <a:off x="13809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4" name="Google Shape;10237;p65">
              <a:extLst>
                <a:ext uri="{FF2B5EF4-FFF2-40B4-BE49-F238E27FC236}">
                  <a16:creationId xmlns:a16="http://schemas.microsoft.com/office/drawing/2014/main" id="{7E95639D-CEDA-D02E-7E46-961A1A7ED677}"/>
                </a:ext>
              </a:extLst>
            </p:cNvPr>
            <p:cNvSpPr/>
            <p:nvPr/>
          </p:nvSpPr>
          <p:spPr>
            <a:xfrm>
              <a:off x="1380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5" name="Google Shape;10238;p65">
              <a:extLst>
                <a:ext uri="{FF2B5EF4-FFF2-40B4-BE49-F238E27FC236}">
                  <a16:creationId xmlns:a16="http://schemas.microsoft.com/office/drawing/2014/main" id="{E8852FEE-BC73-2C05-D0C0-AE4F031AF4DB}"/>
                </a:ext>
              </a:extLst>
            </p:cNvPr>
            <p:cNvSpPr/>
            <p:nvPr/>
          </p:nvSpPr>
          <p:spPr>
            <a:xfrm>
              <a:off x="1380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6" name="Google Shape;10239;p65">
              <a:extLst>
                <a:ext uri="{FF2B5EF4-FFF2-40B4-BE49-F238E27FC236}">
                  <a16:creationId xmlns:a16="http://schemas.microsoft.com/office/drawing/2014/main" id="{DE760D68-AA7A-231C-4C7C-4E1B95EAEF99}"/>
                </a:ext>
              </a:extLst>
            </p:cNvPr>
            <p:cNvSpPr/>
            <p:nvPr/>
          </p:nvSpPr>
          <p:spPr>
            <a:xfrm>
              <a:off x="1380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7" name="Google Shape;10240;p65">
              <a:extLst>
                <a:ext uri="{FF2B5EF4-FFF2-40B4-BE49-F238E27FC236}">
                  <a16:creationId xmlns:a16="http://schemas.microsoft.com/office/drawing/2014/main" id="{420B042D-2E93-DA2B-8B1F-CE61DC2ECE79}"/>
                </a:ext>
              </a:extLst>
            </p:cNvPr>
            <p:cNvSpPr/>
            <p:nvPr/>
          </p:nvSpPr>
          <p:spPr>
            <a:xfrm>
              <a:off x="1380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8" name="Google Shape;10241;p65">
              <a:extLst>
                <a:ext uri="{FF2B5EF4-FFF2-40B4-BE49-F238E27FC236}">
                  <a16:creationId xmlns:a16="http://schemas.microsoft.com/office/drawing/2014/main" id="{9DD14D35-1301-5187-8E4B-040392424406}"/>
                </a:ext>
              </a:extLst>
            </p:cNvPr>
            <p:cNvSpPr/>
            <p:nvPr/>
          </p:nvSpPr>
          <p:spPr>
            <a:xfrm>
              <a:off x="1380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09" name="Google Shape;10242;p65">
              <a:extLst>
                <a:ext uri="{FF2B5EF4-FFF2-40B4-BE49-F238E27FC236}">
                  <a16:creationId xmlns:a16="http://schemas.microsoft.com/office/drawing/2014/main" id="{975424B9-9A6D-80FA-2A43-9027A065F114}"/>
                </a:ext>
              </a:extLst>
            </p:cNvPr>
            <p:cNvSpPr/>
            <p:nvPr/>
          </p:nvSpPr>
          <p:spPr>
            <a:xfrm>
              <a:off x="1380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0" name="Google Shape;10243;p65">
              <a:extLst>
                <a:ext uri="{FF2B5EF4-FFF2-40B4-BE49-F238E27FC236}">
                  <a16:creationId xmlns:a16="http://schemas.microsoft.com/office/drawing/2014/main" id="{40F917C2-5E0D-6AE2-E787-9E7E2B169D8B}"/>
                </a:ext>
              </a:extLst>
            </p:cNvPr>
            <p:cNvSpPr/>
            <p:nvPr/>
          </p:nvSpPr>
          <p:spPr>
            <a:xfrm>
              <a:off x="1380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1" name="Google Shape;10244;p65">
              <a:extLst>
                <a:ext uri="{FF2B5EF4-FFF2-40B4-BE49-F238E27FC236}">
                  <a16:creationId xmlns:a16="http://schemas.microsoft.com/office/drawing/2014/main" id="{8269990E-246E-C953-11B0-18BD4A5887AD}"/>
                </a:ext>
              </a:extLst>
            </p:cNvPr>
            <p:cNvSpPr/>
            <p:nvPr/>
          </p:nvSpPr>
          <p:spPr>
            <a:xfrm>
              <a:off x="1380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2" name="Google Shape;10245;p65">
              <a:extLst>
                <a:ext uri="{FF2B5EF4-FFF2-40B4-BE49-F238E27FC236}">
                  <a16:creationId xmlns:a16="http://schemas.microsoft.com/office/drawing/2014/main" id="{68BA342A-BAF2-D2A2-6446-E12F1BFFE4D1}"/>
                </a:ext>
              </a:extLst>
            </p:cNvPr>
            <p:cNvSpPr/>
            <p:nvPr/>
          </p:nvSpPr>
          <p:spPr>
            <a:xfrm>
              <a:off x="1380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3" name="Google Shape;10246;p65">
              <a:extLst>
                <a:ext uri="{FF2B5EF4-FFF2-40B4-BE49-F238E27FC236}">
                  <a16:creationId xmlns:a16="http://schemas.microsoft.com/office/drawing/2014/main" id="{72D47315-49E2-A7EA-CB65-FDA963FDAC41}"/>
                </a:ext>
              </a:extLst>
            </p:cNvPr>
            <p:cNvSpPr/>
            <p:nvPr/>
          </p:nvSpPr>
          <p:spPr>
            <a:xfrm>
              <a:off x="1380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4" name="Google Shape;10247;p65">
              <a:extLst>
                <a:ext uri="{FF2B5EF4-FFF2-40B4-BE49-F238E27FC236}">
                  <a16:creationId xmlns:a16="http://schemas.microsoft.com/office/drawing/2014/main" id="{7A7D53A1-8136-A110-FDB5-4FF5C46C08DB}"/>
                </a:ext>
              </a:extLst>
            </p:cNvPr>
            <p:cNvSpPr/>
            <p:nvPr/>
          </p:nvSpPr>
          <p:spPr>
            <a:xfrm>
              <a:off x="138090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5" name="Google Shape;10248;p65">
              <a:extLst>
                <a:ext uri="{FF2B5EF4-FFF2-40B4-BE49-F238E27FC236}">
                  <a16:creationId xmlns:a16="http://schemas.microsoft.com/office/drawing/2014/main" id="{D00B5CAF-5CCF-BB2F-0950-E49088F1CE23}"/>
                </a:ext>
              </a:extLst>
            </p:cNvPr>
            <p:cNvSpPr/>
            <p:nvPr/>
          </p:nvSpPr>
          <p:spPr>
            <a:xfrm>
              <a:off x="1380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6" name="Google Shape;10249;p65">
              <a:extLst>
                <a:ext uri="{FF2B5EF4-FFF2-40B4-BE49-F238E27FC236}">
                  <a16:creationId xmlns:a16="http://schemas.microsoft.com/office/drawing/2014/main" id="{68316586-CA3D-9915-5BAF-5E75AD2A3525}"/>
                </a:ext>
              </a:extLst>
            </p:cNvPr>
            <p:cNvSpPr/>
            <p:nvPr/>
          </p:nvSpPr>
          <p:spPr>
            <a:xfrm>
              <a:off x="1380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7" name="Google Shape;10250;p65">
              <a:extLst>
                <a:ext uri="{FF2B5EF4-FFF2-40B4-BE49-F238E27FC236}">
                  <a16:creationId xmlns:a16="http://schemas.microsoft.com/office/drawing/2014/main" id="{97981939-6B07-70C6-7CF5-3FFC9D3EDB7F}"/>
                </a:ext>
              </a:extLst>
            </p:cNvPr>
            <p:cNvSpPr/>
            <p:nvPr/>
          </p:nvSpPr>
          <p:spPr>
            <a:xfrm>
              <a:off x="1380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8" name="Google Shape;10251;p65">
              <a:extLst>
                <a:ext uri="{FF2B5EF4-FFF2-40B4-BE49-F238E27FC236}">
                  <a16:creationId xmlns:a16="http://schemas.microsoft.com/office/drawing/2014/main" id="{891C7C22-E612-956B-8023-2D714D4A8C17}"/>
                </a:ext>
              </a:extLst>
            </p:cNvPr>
            <p:cNvSpPr/>
            <p:nvPr/>
          </p:nvSpPr>
          <p:spPr>
            <a:xfrm>
              <a:off x="1380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19" name="Google Shape;10252;p65">
              <a:extLst>
                <a:ext uri="{FF2B5EF4-FFF2-40B4-BE49-F238E27FC236}">
                  <a16:creationId xmlns:a16="http://schemas.microsoft.com/office/drawing/2014/main" id="{2C5628B9-A431-9B60-F255-13F3BF758A00}"/>
                </a:ext>
              </a:extLst>
            </p:cNvPr>
            <p:cNvSpPr/>
            <p:nvPr/>
          </p:nvSpPr>
          <p:spPr>
            <a:xfrm>
              <a:off x="1380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0" name="Google Shape;10253;p65">
              <a:extLst>
                <a:ext uri="{FF2B5EF4-FFF2-40B4-BE49-F238E27FC236}">
                  <a16:creationId xmlns:a16="http://schemas.microsoft.com/office/drawing/2014/main" id="{5793F803-40B4-588F-6368-3CB7B7E0C37A}"/>
                </a:ext>
              </a:extLst>
            </p:cNvPr>
            <p:cNvSpPr/>
            <p:nvPr/>
          </p:nvSpPr>
          <p:spPr>
            <a:xfrm>
              <a:off x="130470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1" name="Google Shape;10254;p65">
              <a:extLst>
                <a:ext uri="{FF2B5EF4-FFF2-40B4-BE49-F238E27FC236}">
                  <a16:creationId xmlns:a16="http://schemas.microsoft.com/office/drawing/2014/main" id="{2DBF228F-6B53-D275-9961-4A08779A0D58}"/>
                </a:ext>
              </a:extLst>
            </p:cNvPr>
            <p:cNvSpPr/>
            <p:nvPr/>
          </p:nvSpPr>
          <p:spPr>
            <a:xfrm>
              <a:off x="13047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2" name="Google Shape;10255;p65">
              <a:extLst>
                <a:ext uri="{FF2B5EF4-FFF2-40B4-BE49-F238E27FC236}">
                  <a16:creationId xmlns:a16="http://schemas.microsoft.com/office/drawing/2014/main" id="{FD7D0D7C-3578-A459-2482-A2258646F66E}"/>
                </a:ext>
              </a:extLst>
            </p:cNvPr>
            <p:cNvSpPr/>
            <p:nvPr/>
          </p:nvSpPr>
          <p:spPr>
            <a:xfrm>
              <a:off x="130470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3" name="Google Shape;10256;p65">
              <a:extLst>
                <a:ext uri="{FF2B5EF4-FFF2-40B4-BE49-F238E27FC236}">
                  <a16:creationId xmlns:a16="http://schemas.microsoft.com/office/drawing/2014/main" id="{1E0B8DF9-A069-BFB2-677A-DF28D94A35B4}"/>
                </a:ext>
              </a:extLst>
            </p:cNvPr>
            <p:cNvSpPr/>
            <p:nvPr/>
          </p:nvSpPr>
          <p:spPr>
            <a:xfrm>
              <a:off x="13047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4" name="Google Shape;10257;p65">
              <a:extLst>
                <a:ext uri="{FF2B5EF4-FFF2-40B4-BE49-F238E27FC236}">
                  <a16:creationId xmlns:a16="http://schemas.microsoft.com/office/drawing/2014/main" id="{6CBB1052-64CC-F379-4647-A46DAA4E7CEB}"/>
                </a:ext>
              </a:extLst>
            </p:cNvPr>
            <p:cNvSpPr/>
            <p:nvPr/>
          </p:nvSpPr>
          <p:spPr>
            <a:xfrm>
              <a:off x="13047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5" name="Google Shape;10258;p65">
              <a:extLst>
                <a:ext uri="{FF2B5EF4-FFF2-40B4-BE49-F238E27FC236}">
                  <a16:creationId xmlns:a16="http://schemas.microsoft.com/office/drawing/2014/main" id="{6F78070F-C86C-96F3-4A07-832EF6CA8230}"/>
                </a:ext>
              </a:extLst>
            </p:cNvPr>
            <p:cNvSpPr/>
            <p:nvPr/>
          </p:nvSpPr>
          <p:spPr>
            <a:xfrm>
              <a:off x="130470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6" name="Google Shape;10259;p65">
              <a:extLst>
                <a:ext uri="{FF2B5EF4-FFF2-40B4-BE49-F238E27FC236}">
                  <a16:creationId xmlns:a16="http://schemas.microsoft.com/office/drawing/2014/main" id="{534B2B79-6D06-08A2-764D-4F864FCFDD06}"/>
                </a:ext>
              </a:extLst>
            </p:cNvPr>
            <p:cNvSpPr/>
            <p:nvPr/>
          </p:nvSpPr>
          <p:spPr>
            <a:xfrm>
              <a:off x="130470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7" name="Google Shape;10260;p65">
              <a:extLst>
                <a:ext uri="{FF2B5EF4-FFF2-40B4-BE49-F238E27FC236}">
                  <a16:creationId xmlns:a16="http://schemas.microsoft.com/office/drawing/2014/main" id="{4636FBE6-1AD6-1154-B285-AADF680957B5}"/>
                </a:ext>
              </a:extLst>
            </p:cNvPr>
            <p:cNvSpPr/>
            <p:nvPr/>
          </p:nvSpPr>
          <p:spPr>
            <a:xfrm>
              <a:off x="130470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8" name="Google Shape;10261;p65">
              <a:extLst>
                <a:ext uri="{FF2B5EF4-FFF2-40B4-BE49-F238E27FC236}">
                  <a16:creationId xmlns:a16="http://schemas.microsoft.com/office/drawing/2014/main" id="{BD5B201D-E752-70D0-CE05-C88F9BC46760}"/>
                </a:ext>
              </a:extLst>
            </p:cNvPr>
            <p:cNvSpPr/>
            <p:nvPr/>
          </p:nvSpPr>
          <p:spPr>
            <a:xfrm>
              <a:off x="130470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29" name="Google Shape;10262;p65">
              <a:extLst>
                <a:ext uri="{FF2B5EF4-FFF2-40B4-BE49-F238E27FC236}">
                  <a16:creationId xmlns:a16="http://schemas.microsoft.com/office/drawing/2014/main" id="{EE6AC3B9-F062-B240-93B8-7DC92FEE6CA8}"/>
                </a:ext>
              </a:extLst>
            </p:cNvPr>
            <p:cNvSpPr/>
            <p:nvPr/>
          </p:nvSpPr>
          <p:spPr>
            <a:xfrm>
              <a:off x="130470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0" name="Google Shape;10263;p65">
              <a:extLst>
                <a:ext uri="{FF2B5EF4-FFF2-40B4-BE49-F238E27FC236}">
                  <a16:creationId xmlns:a16="http://schemas.microsoft.com/office/drawing/2014/main" id="{CFF35F87-A690-37FF-EF35-D6CE63F7E214}"/>
                </a:ext>
              </a:extLst>
            </p:cNvPr>
            <p:cNvSpPr/>
            <p:nvPr/>
          </p:nvSpPr>
          <p:spPr>
            <a:xfrm>
              <a:off x="13047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1" name="Google Shape;10264;p65">
              <a:extLst>
                <a:ext uri="{FF2B5EF4-FFF2-40B4-BE49-F238E27FC236}">
                  <a16:creationId xmlns:a16="http://schemas.microsoft.com/office/drawing/2014/main" id="{49EB8F13-4DDD-B8C2-BB13-2AD691A39E8C}"/>
                </a:ext>
              </a:extLst>
            </p:cNvPr>
            <p:cNvSpPr/>
            <p:nvPr/>
          </p:nvSpPr>
          <p:spPr>
            <a:xfrm>
              <a:off x="13047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2" name="Google Shape;10265;p65">
              <a:extLst>
                <a:ext uri="{FF2B5EF4-FFF2-40B4-BE49-F238E27FC236}">
                  <a16:creationId xmlns:a16="http://schemas.microsoft.com/office/drawing/2014/main" id="{AFE72BFC-C933-7B0E-F5DA-893376D942E6}"/>
                </a:ext>
              </a:extLst>
            </p:cNvPr>
            <p:cNvSpPr/>
            <p:nvPr/>
          </p:nvSpPr>
          <p:spPr>
            <a:xfrm>
              <a:off x="13047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3" name="Google Shape;10266;p65">
              <a:extLst>
                <a:ext uri="{FF2B5EF4-FFF2-40B4-BE49-F238E27FC236}">
                  <a16:creationId xmlns:a16="http://schemas.microsoft.com/office/drawing/2014/main" id="{3FB56CFE-4A61-8494-8040-3E69E2E10966}"/>
                </a:ext>
              </a:extLst>
            </p:cNvPr>
            <p:cNvSpPr/>
            <p:nvPr/>
          </p:nvSpPr>
          <p:spPr>
            <a:xfrm>
              <a:off x="13047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4" name="Google Shape;10267;p65">
              <a:extLst>
                <a:ext uri="{FF2B5EF4-FFF2-40B4-BE49-F238E27FC236}">
                  <a16:creationId xmlns:a16="http://schemas.microsoft.com/office/drawing/2014/main" id="{8CC49DB9-8FCF-F247-771D-9EEBB14EF689}"/>
                </a:ext>
              </a:extLst>
            </p:cNvPr>
            <p:cNvSpPr/>
            <p:nvPr/>
          </p:nvSpPr>
          <p:spPr>
            <a:xfrm>
              <a:off x="13047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5" name="Google Shape;10268;p65">
              <a:extLst>
                <a:ext uri="{FF2B5EF4-FFF2-40B4-BE49-F238E27FC236}">
                  <a16:creationId xmlns:a16="http://schemas.microsoft.com/office/drawing/2014/main" id="{557DF8CD-6996-FC44-2B01-1EBC95CACE15}"/>
                </a:ext>
              </a:extLst>
            </p:cNvPr>
            <p:cNvSpPr/>
            <p:nvPr/>
          </p:nvSpPr>
          <p:spPr>
            <a:xfrm>
              <a:off x="13047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6" name="Google Shape;10269;p65">
              <a:extLst>
                <a:ext uri="{FF2B5EF4-FFF2-40B4-BE49-F238E27FC236}">
                  <a16:creationId xmlns:a16="http://schemas.microsoft.com/office/drawing/2014/main" id="{204C2E54-42BA-BBF8-38B6-BB70B2820D60}"/>
                </a:ext>
              </a:extLst>
            </p:cNvPr>
            <p:cNvSpPr/>
            <p:nvPr/>
          </p:nvSpPr>
          <p:spPr>
            <a:xfrm>
              <a:off x="1304700" y="11905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7" name="Google Shape;10270;p65">
              <a:extLst>
                <a:ext uri="{FF2B5EF4-FFF2-40B4-BE49-F238E27FC236}">
                  <a16:creationId xmlns:a16="http://schemas.microsoft.com/office/drawing/2014/main" id="{460A01C3-DF93-566D-EAAD-9A6E9A54050C}"/>
                </a:ext>
              </a:extLst>
            </p:cNvPr>
            <p:cNvSpPr/>
            <p:nvPr/>
          </p:nvSpPr>
          <p:spPr>
            <a:xfrm>
              <a:off x="12284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8" name="Google Shape;10271;p65">
              <a:extLst>
                <a:ext uri="{FF2B5EF4-FFF2-40B4-BE49-F238E27FC236}">
                  <a16:creationId xmlns:a16="http://schemas.microsoft.com/office/drawing/2014/main" id="{DC1C8A8D-88EE-C27C-77D5-A5764376F817}"/>
                </a:ext>
              </a:extLst>
            </p:cNvPr>
            <p:cNvSpPr/>
            <p:nvPr/>
          </p:nvSpPr>
          <p:spPr>
            <a:xfrm>
              <a:off x="12284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39" name="Google Shape;10272;p65">
              <a:extLst>
                <a:ext uri="{FF2B5EF4-FFF2-40B4-BE49-F238E27FC236}">
                  <a16:creationId xmlns:a16="http://schemas.microsoft.com/office/drawing/2014/main" id="{E5EF46F8-320F-0B30-9CFC-6068C7BCBBCD}"/>
                </a:ext>
              </a:extLst>
            </p:cNvPr>
            <p:cNvSpPr/>
            <p:nvPr/>
          </p:nvSpPr>
          <p:spPr>
            <a:xfrm>
              <a:off x="12284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0" name="Google Shape;10273;p65">
              <a:extLst>
                <a:ext uri="{FF2B5EF4-FFF2-40B4-BE49-F238E27FC236}">
                  <a16:creationId xmlns:a16="http://schemas.microsoft.com/office/drawing/2014/main" id="{21AA9F36-E0DB-3B1D-FEF7-B9DC4AAD5E69}"/>
                </a:ext>
              </a:extLst>
            </p:cNvPr>
            <p:cNvSpPr/>
            <p:nvPr/>
          </p:nvSpPr>
          <p:spPr>
            <a:xfrm>
              <a:off x="1228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1" name="Google Shape;10274;p65">
              <a:extLst>
                <a:ext uri="{FF2B5EF4-FFF2-40B4-BE49-F238E27FC236}">
                  <a16:creationId xmlns:a16="http://schemas.microsoft.com/office/drawing/2014/main" id="{69BBB14F-A28D-87D3-7B67-FD47CDB4F177}"/>
                </a:ext>
              </a:extLst>
            </p:cNvPr>
            <p:cNvSpPr/>
            <p:nvPr/>
          </p:nvSpPr>
          <p:spPr>
            <a:xfrm>
              <a:off x="1228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2" name="Google Shape;10275;p65">
              <a:extLst>
                <a:ext uri="{FF2B5EF4-FFF2-40B4-BE49-F238E27FC236}">
                  <a16:creationId xmlns:a16="http://schemas.microsoft.com/office/drawing/2014/main" id="{246890F3-F894-77B4-C3F7-A75354ED3C62}"/>
                </a:ext>
              </a:extLst>
            </p:cNvPr>
            <p:cNvSpPr/>
            <p:nvPr/>
          </p:nvSpPr>
          <p:spPr>
            <a:xfrm>
              <a:off x="1228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3" name="Google Shape;10276;p65">
              <a:extLst>
                <a:ext uri="{FF2B5EF4-FFF2-40B4-BE49-F238E27FC236}">
                  <a16:creationId xmlns:a16="http://schemas.microsoft.com/office/drawing/2014/main" id="{5DAFDC89-C6C6-C012-45CB-285E6E874D20}"/>
                </a:ext>
              </a:extLst>
            </p:cNvPr>
            <p:cNvSpPr/>
            <p:nvPr/>
          </p:nvSpPr>
          <p:spPr>
            <a:xfrm>
              <a:off x="122847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4" name="Google Shape;10277;p65">
              <a:extLst>
                <a:ext uri="{FF2B5EF4-FFF2-40B4-BE49-F238E27FC236}">
                  <a16:creationId xmlns:a16="http://schemas.microsoft.com/office/drawing/2014/main" id="{4C90DF41-FEDC-6772-2160-5E177A2EBB14}"/>
                </a:ext>
              </a:extLst>
            </p:cNvPr>
            <p:cNvSpPr/>
            <p:nvPr/>
          </p:nvSpPr>
          <p:spPr>
            <a:xfrm>
              <a:off x="1228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5" name="Google Shape;10278;p65">
              <a:extLst>
                <a:ext uri="{FF2B5EF4-FFF2-40B4-BE49-F238E27FC236}">
                  <a16:creationId xmlns:a16="http://schemas.microsoft.com/office/drawing/2014/main" id="{EDB4BD38-0496-6F6F-6FA9-CAECDD31B45C}"/>
                </a:ext>
              </a:extLst>
            </p:cNvPr>
            <p:cNvSpPr/>
            <p:nvPr/>
          </p:nvSpPr>
          <p:spPr>
            <a:xfrm>
              <a:off x="1228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6" name="Google Shape;10279;p65">
              <a:extLst>
                <a:ext uri="{FF2B5EF4-FFF2-40B4-BE49-F238E27FC236}">
                  <a16:creationId xmlns:a16="http://schemas.microsoft.com/office/drawing/2014/main" id="{36AA45AC-0793-60E8-793E-CB9E92E96719}"/>
                </a:ext>
              </a:extLst>
            </p:cNvPr>
            <p:cNvSpPr/>
            <p:nvPr/>
          </p:nvSpPr>
          <p:spPr>
            <a:xfrm>
              <a:off x="1228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7" name="Google Shape;10280;p65">
              <a:extLst>
                <a:ext uri="{FF2B5EF4-FFF2-40B4-BE49-F238E27FC236}">
                  <a16:creationId xmlns:a16="http://schemas.microsoft.com/office/drawing/2014/main" id="{1C4BC866-A928-76A5-FC5A-5E8B5DB01B85}"/>
                </a:ext>
              </a:extLst>
            </p:cNvPr>
            <p:cNvSpPr/>
            <p:nvPr/>
          </p:nvSpPr>
          <p:spPr>
            <a:xfrm>
              <a:off x="1228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8" name="Google Shape;10281;p65">
              <a:extLst>
                <a:ext uri="{FF2B5EF4-FFF2-40B4-BE49-F238E27FC236}">
                  <a16:creationId xmlns:a16="http://schemas.microsoft.com/office/drawing/2014/main" id="{B19A106F-C94A-65A5-9F2B-166C9471CCC3}"/>
                </a:ext>
              </a:extLst>
            </p:cNvPr>
            <p:cNvSpPr/>
            <p:nvPr/>
          </p:nvSpPr>
          <p:spPr>
            <a:xfrm>
              <a:off x="1228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49" name="Google Shape;10282;p65">
              <a:extLst>
                <a:ext uri="{FF2B5EF4-FFF2-40B4-BE49-F238E27FC236}">
                  <a16:creationId xmlns:a16="http://schemas.microsoft.com/office/drawing/2014/main" id="{C9076AB5-645D-1815-769E-E91D18321E07}"/>
                </a:ext>
              </a:extLst>
            </p:cNvPr>
            <p:cNvSpPr/>
            <p:nvPr/>
          </p:nvSpPr>
          <p:spPr>
            <a:xfrm>
              <a:off x="1228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0" name="Google Shape;10283;p65">
              <a:extLst>
                <a:ext uri="{FF2B5EF4-FFF2-40B4-BE49-F238E27FC236}">
                  <a16:creationId xmlns:a16="http://schemas.microsoft.com/office/drawing/2014/main" id="{3BFD5039-DACC-231F-0D64-2481DCB5737B}"/>
                </a:ext>
              </a:extLst>
            </p:cNvPr>
            <p:cNvSpPr/>
            <p:nvPr/>
          </p:nvSpPr>
          <p:spPr>
            <a:xfrm>
              <a:off x="1228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1" name="Google Shape;10284;p65">
              <a:extLst>
                <a:ext uri="{FF2B5EF4-FFF2-40B4-BE49-F238E27FC236}">
                  <a16:creationId xmlns:a16="http://schemas.microsoft.com/office/drawing/2014/main" id="{2480C782-45F8-4A1A-54B7-5B6A8792181D}"/>
                </a:ext>
              </a:extLst>
            </p:cNvPr>
            <p:cNvSpPr/>
            <p:nvPr/>
          </p:nvSpPr>
          <p:spPr>
            <a:xfrm>
              <a:off x="1228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2" name="Google Shape;10285;p65">
              <a:extLst>
                <a:ext uri="{FF2B5EF4-FFF2-40B4-BE49-F238E27FC236}">
                  <a16:creationId xmlns:a16="http://schemas.microsoft.com/office/drawing/2014/main" id="{ECF2F505-AFDD-3015-5915-5284443BFB6F}"/>
                </a:ext>
              </a:extLst>
            </p:cNvPr>
            <p:cNvSpPr/>
            <p:nvPr/>
          </p:nvSpPr>
          <p:spPr>
            <a:xfrm>
              <a:off x="1228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3" name="Google Shape;10286;p65">
              <a:extLst>
                <a:ext uri="{FF2B5EF4-FFF2-40B4-BE49-F238E27FC236}">
                  <a16:creationId xmlns:a16="http://schemas.microsoft.com/office/drawing/2014/main" id="{21815B5A-99F3-5FC9-8DB7-D367562A7CE7}"/>
                </a:ext>
              </a:extLst>
            </p:cNvPr>
            <p:cNvSpPr/>
            <p:nvPr/>
          </p:nvSpPr>
          <p:spPr>
            <a:xfrm>
              <a:off x="1228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4" name="Google Shape;10287;p65">
              <a:extLst>
                <a:ext uri="{FF2B5EF4-FFF2-40B4-BE49-F238E27FC236}">
                  <a16:creationId xmlns:a16="http://schemas.microsoft.com/office/drawing/2014/main" id="{C5522DF3-6024-75D5-8AA1-C503D326E4CA}"/>
                </a:ext>
              </a:extLst>
            </p:cNvPr>
            <p:cNvSpPr/>
            <p:nvPr/>
          </p:nvSpPr>
          <p:spPr>
            <a:xfrm>
              <a:off x="122847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5" name="Google Shape;10288;p65">
              <a:extLst>
                <a:ext uri="{FF2B5EF4-FFF2-40B4-BE49-F238E27FC236}">
                  <a16:creationId xmlns:a16="http://schemas.microsoft.com/office/drawing/2014/main" id="{4F7C10FD-E435-A082-4E41-A9FA7C0571A1}"/>
                </a:ext>
              </a:extLst>
            </p:cNvPr>
            <p:cNvSpPr/>
            <p:nvPr/>
          </p:nvSpPr>
          <p:spPr>
            <a:xfrm>
              <a:off x="1152275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6" name="Google Shape;10289;p65">
              <a:extLst>
                <a:ext uri="{FF2B5EF4-FFF2-40B4-BE49-F238E27FC236}">
                  <a16:creationId xmlns:a16="http://schemas.microsoft.com/office/drawing/2014/main" id="{5D62D3D2-D54F-1134-E97E-E3512E49ECFF}"/>
                </a:ext>
              </a:extLst>
            </p:cNvPr>
            <p:cNvSpPr/>
            <p:nvPr/>
          </p:nvSpPr>
          <p:spPr>
            <a:xfrm>
              <a:off x="1152275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7" name="Google Shape;10290;p65">
              <a:extLst>
                <a:ext uri="{FF2B5EF4-FFF2-40B4-BE49-F238E27FC236}">
                  <a16:creationId xmlns:a16="http://schemas.microsoft.com/office/drawing/2014/main" id="{39A0EF23-1EB3-F84C-9B04-43DE41EE5221}"/>
                </a:ext>
              </a:extLst>
            </p:cNvPr>
            <p:cNvSpPr/>
            <p:nvPr/>
          </p:nvSpPr>
          <p:spPr>
            <a:xfrm>
              <a:off x="1152275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8" name="Google Shape;10291;p65">
              <a:extLst>
                <a:ext uri="{FF2B5EF4-FFF2-40B4-BE49-F238E27FC236}">
                  <a16:creationId xmlns:a16="http://schemas.microsoft.com/office/drawing/2014/main" id="{5C43DFD3-AE24-C811-5341-62220E4C39E7}"/>
                </a:ext>
              </a:extLst>
            </p:cNvPr>
            <p:cNvSpPr/>
            <p:nvPr/>
          </p:nvSpPr>
          <p:spPr>
            <a:xfrm>
              <a:off x="1152275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59" name="Google Shape;10292;p65">
              <a:extLst>
                <a:ext uri="{FF2B5EF4-FFF2-40B4-BE49-F238E27FC236}">
                  <a16:creationId xmlns:a16="http://schemas.microsoft.com/office/drawing/2014/main" id="{D8A36B49-AE13-ACD5-6D40-68BA305847F9}"/>
                </a:ext>
              </a:extLst>
            </p:cNvPr>
            <p:cNvSpPr/>
            <p:nvPr/>
          </p:nvSpPr>
          <p:spPr>
            <a:xfrm>
              <a:off x="1152275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0" name="Google Shape;10293;p65">
              <a:extLst>
                <a:ext uri="{FF2B5EF4-FFF2-40B4-BE49-F238E27FC236}">
                  <a16:creationId xmlns:a16="http://schemas.microsoft.com/office/drawing/2014/main" id="{FDD3B444-2D93-310C-1A49-DF5E8C0EF02C}"/>
                </a:ext>
              </a:extLst>
            </p:cNvPr>
            <p:cNvSpPr/>
            <p:nvPr/>
          </p:nvSpPr>
          <p:spPr>
            <a:xfrm>
              <a:off x="1152275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1" name="Google Shape;10294;p65">
              <a:extLst>
                <a:ext uri="{FF2B5EF4-FFF2-40B4-BE49-F238E27FC236}">
                  <a16:creationId xmlns:a16="http://schemas.microsoft.com/office/drawing/2014/main" id="{18624DFE-A072-2192-A136-EDDB997A078C}"/>
                </a:ext>
              </a:extLst>
            </p:cNvPr>
            <p:cNvSpPr/>
            <p:nvPr/>
          </p:nvSpPr>
          <p:spPr>
            <a:xfrm>
              <a:off x="1152275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2" name="Google Shape;10295;p65">
              <a:extLst>
                <a:ext uri="{FF2B5EF4-FFF2-40B4-BE49-F238E27FC236}">
                  <a16:creationId xmlns:a16="http://schemas.microsoft.com/office/drawing/2014/main" id="{2D918C75-D1C9-337A-2C5E-4151224242A2}"/>
                </a:ext>
              </a:extLst>
            </p:cNvPr>
            <p:cNvSpPr/>
            <p:nvPr/>
          </p:nvSpPr>
          <p:spPr>
            <a:xfrm>
              <a:off x="1152275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3" name="Google Shape;10296;p65">
              <a:extLst>
                <a:ext uri="{FF2B5EF4-FFF2-40B4-BE49-F238E27FC236}">
                  <a16:creationId xmlns:a16="http://schemas.microsoft.com/office/drawing/2014/main" id="{94433A5F-FC82-0EFF-7363-6EFDE4DD65F9}"/>
                </a:ext>
              </a:extLst>
            </p:cNvPr>
            <p:cNvSpPr/>
            <p:nvPr/>
          </p:nvSpPr>
          <p:spPr>
            <a:xfrm>
              <a:off x="1152275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4" name="Google Shape;10297;p65">
              <a:extLst>
                <a:ext uri="{FF2B5EF4-FFF2-40B4-BE49-F238E27FC236}">
                  <a16:creationId xmlns:a16="http://schemas.microsoft.com/office/drawing/2014/main" id="{2342A5EA-5F9C-C031-42CB-061224B30E7F}"/>
                </a:ext>
              </a:extLst>
            </p:cNvPr>
            <p:cNvSpPr/>
            <p:nvPr/>
          </p:nvSpPr>
          <p:spPr>
            <a:xfrm>
              <a:off x="1152275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5" name="Google Shape;10298;p65">
              <a:extLst>
                <a:ext uri="{FF2B5EF4-FFF2-40B4-BE49-F238E27FC236}">
                  <a16:creationId xmlns:a16="http://schemas.microsoft.com/office/drawing/2014/main" id="{82D1852A-C9BB-E0BE-05DD-2CB39303AEEB}"/>
                </a:ext>
              </a:extLst>
            </p:cNvPr>
            <p:cNvSpPr/>
            <p:nvPr/>
          </p:nvSpPr>
          <p:spPr>
            <a:xfrm>
              <a:off x="11522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6" name="Google Shape;10299;p65">
              <a:extLst>
                <a:ext uri="{FF2B5EF4-FFF2-40B4-BE49-F238E27FC236}">
                  <a16:creationId xmlns:a16="http://schemas.microsoft.com/office/drawing/2014/main" id="{869C2B51-38E1-008B-D7A8-938D43100288}"/>
                </a:ext>
              </a:extLst>
            </p:cNvPr>
            <p:cNvSpPr/>
            <p:nvPr/>
          </p:nvSpPr>
          <p:spPr>
            <a:xfrm>
              <a:off x="11522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7" name="Google Shape;10300;p65">
              <a:extLst>
                <a:ext uri="{FF2B5EF4-FFF2-40B4-BE49-F238E27FC236}">
                  <a16:creationId xmlns:a16="http://schemas.microsoft.com/office/drawing/2014/main" id="{6F4F2340-BBA7-1D07-43B1-2106C1B747CC}"/>
                </a:ext>
              </a:extLst>
            </p:cNvPr>
            <p:cNvSpPr/>
            <p:nvPr/>
          </p:nvSpPr>
          <p:spPr>
            <a:xfrm>
              <a:off x="11522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8" name="Google Shape;10301;p65">
              <a:extLst>
                <a:ext uri="{FF2B5EF4-FFF2-40B4-BE49-F238E27FC236}">
                  <a16:creationId xmlns:a16="http://schemas.microsoft.com/office/drawing/2014/main" id="{21E4CD71-0AAD-BB0A-73D7-14EF5012601D}"/>
                </a:ext>
              </a:extLst>
            </p:cNvPr>
            <p:cNvSpPr/>
            <p:nvPr/>
          </p:nvSpPr>
          <p:spPr>
            <a:xfrm>
              <a:off x="11522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69" name="Google Shape;10302;p65">
              <a:extLst>
                <a:ext uri="{FF2B5EF4-FFF2-40B4-BE49-F238E27FC236}">
                  <a16:creationId xmlns:a16="http://schemas.microsoft.com/office/drawing/2014/main" id="{DC479442-32AF-CAF5-D829-AA50AAECF537}"/>
                </a:ext>
              </a:extLst>
            </p:cNvPr>
            <p:cNvSpPr/>
            <p:nvPr/>
          </p:nvSpPr>
          <p:spPr>
            <a:xfrm>
              <a:off x="1152275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0" name="Google Shape;10303;p65">
              <a:extLst>
                <a:ext uri="{FF2B5EF4-FFF2-40B4-BE49-F238E27FC236}">
                  <a16:creationId xmlns:a16="http://schemas.microsoft.com/office/drawing/2014/main" id="{ACB633F2-A3AF-FF54-00C1-A04B14FB6983}"/>
                </a:ext>
              </a:extLst>
            </p:cNvPr>
            <p:cNvSpPr/>
            <p:nvPr/>
          </p:nvSpPr>
          <p:spPr>
            <a:xfrm>
              <a:off x="107605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1" name="Google Shape;10304;p65">
              <a:extLst>
                <a:ext uri="{FF2B5EF4-FFF2-40B4-BE49-F238E27FC236}">
                  <a16:creationId xmlns:a16="http://schemas.microsoft.com/office/drawing/2014/main" id="{1DEC48C1-9806-60E5-4319-2DE871EB57E6}"/>
                </a:ext>
              </a:extLst>
            </p:cNvPr>
            <p:cNvSpPr/>
            <p:nvPr/>
          </p:nvSpPr>
          <p:spPr>
            <a:xfrm>
              <a:off x="10760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2" name="Google Shape;10305;p65">
              <a:extLst>
                <a:ext uri="{FF2B5EF4-FFF2-40B4-BE49-F238E27FC236}">
                  <a16:creationId xmlns:a16="http://schemas.microsoft.com/office/drawing/2014/main" id="{ABBC8C21-F1DB-A35E-EFBB-5A95D9CAA91A}"/>
                </a:ext>
              </a:extLst>
            </p:cNvPr>
            <p:cNvSpPr/>
            <p:nvPr/>
          </p:nvSpPr>
          <p:spPr>
            <a:xfrm>
              <a:off x="10760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3" name="Google Shape;10306;p65">
              <a:extLst>
                <a:ext uri="{FF2B5EF4-FFF2-40B4-BE49-F238E27FC236}">
                  <a16:creationId xmlns:a16="http://schemas.microsoft.com/office/drawing/2014/main" id="{4648EF02-4927-C6EF-E3D6-2ACFC0C81363}"/>
                </a:ext>
              </a:extLst>
            </p:cNvPr>
            <p:cNvSpPr/>
            <p:nvPr/>
          </p:nvSpPr>
          <p:spPr>
            <a:xfrm>
              <a:off x="107605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4" name="Google Shape;10307;p65">
              <a:extLst>
                <a:ext uri="{FF2B5EF4-FFF2-40B4-BE49-F238E27FC236}">
                  <a16:creationId xmlns:a16="http://schemas.microsoft.com/office/drawing/2014/main" id="{2B962F3F-30C1-2505-0EDB-481A6FAE17AF}"/>
                </a:ext>
              </a:extLst>
            </p:cNvPr>
            <p:cNvSpPr/>
            <p:nvPr/>
          </p:nvSpPr>
          <p:spPr>
            <a:xfrm>
              <a:off x="10760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5" name="Google Shape;10308;p65">
              <a:extLst>
                <a:ext uri="{FF2B5EF4-FFF2-40B4-BE49-F238E27FC236}">
                  <a16:creationId xmlns:a16="http://schemas.microsoft.com/office/drawing/2014/main" id="{274866E3-06D9-F5B7-C521-67701CCC45D6}"/>
                </a:ext>
              </a:extLst>
            </p:cNvPr>
            <p:cNvSpPr/>
            <p:nvPr/>
          </p:nvSpPr>
          <p:spPr>
            <a:xfrm>
              <a:off x="107605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6" name="Google Shape;10309;p65">
              <a:extLst>
                <a:ext uri="{FF2B5EF4-FFF2-40B4-BE49-F238E27FC236}">
                  <a16:creationId xmlns:a16="http://schemas.microsoft.com/office/drawing/2014/main" id="{7C4B3BBC-73DA-3085-F98F-1FC739AB96AB}"/>
                </a:ext>
              </a:extLst>
            </p:cNvPr>
            <p:cNvSpPr/>
            <p:nvPr/>
          </p:nvSpPr>
          <p:spPr>
            <a:xfrm>
              <a:off x="107605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7" name="Google Shape;10310;p65">
              <a:extLst>
                <a:ext uri="{FF2B5EF4-FFF2-40B4-BE49-F238E27FC236}">
                  <a16:creationId xmlns:a16="http://schemas.microsoft.com/office/drawing/2014/main" id="{EF251F35-188A-BE96-D748-4673199A2BCF}"/>
                </a:ext>
              </a:extLst>
            </p:cNvPr>
            <p:cNvSpPr/>
            <p:nvPr/>
          </p:nvSpPr>
          <p:spPr>
            <a:xfrm>
              <a:off x="107605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3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8" name="Google Shape;10311;p65">
              <a:extLst>
                <a:ext uri="{FF2B5EF4-FFF2-40B4-BE49-F238E27FC236}">
                  <a16:creationId xmlns:a16="http://schemas.microsoft.com/office/drawing/2014/main" id="{1CCD2937-43C3-8543-2680-88F0A8BAB37E}"/>
                </a:ext>
              </a:extLst>
            </p:cNvPr>
            <p:cNvSpPr/>
            <p:nvPr/>
          </p:nvSpPr>
          <p:spPr>
            <a:xfrm>
              <a:off x="10760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79" name="Google Shape;10312;p65">
              <a:extLst>
                <a:ext uri="{FF2B5EF4-FFF2-40B4-BE49-F238E27FC236}">
                  <a16:creationId xmlns:a16="http://schemas.microsoft.com/office/drawing/2014/main" id="{B74E4AB2-35C8-A28B-BD6A-9137E0428CDB}"/>
                </a:ext>
              </a:extLst>
            </p:cNvPr>
            <p:cNvSpPr/>
            <p:nvPr/>
          </p:nvSpPr>
          <p:spPr>
            <a:xfrm>
              <a:off x="10760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0" name="Google Shape;10313;p65">
              <a:extLst>
                <a:ext uri="{FF2B5EF4-FFF2-40B4-BE49-F238E27FC236}">
                  <a16:creationId xmlns:a16="http://schemas.microsoft.com/office/drawing/2014/main" id="{92FA7279-D4CF-18F6-0E43-34D875D1F51B}"/>
                </a:ext>
              </a:extLst>
            </p:cNvPr>
            <p:cNvSpPr/>
            <p:nvPr/>
          </p:nvSpPr>
          <p:spPr>
            <a:xfrm>
              <a:off x="10760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1" name="Google Shape;10314;p65">
              <a:extLst>
                <a:ext uri="{FF2B5EF4-FFF2-40B4-BE49-F238E27FC236}">
                  <a16:creationId xmlns:a16="http://schemas.microsoft.com/office/drawing/2014/main" id="{B190A8DF-C41B-E84E-D577-C6FDF72DAAAC}"/>
                </a:ext>
              </a:extLst>
            </p:cNvPr>
            <p:cNvSpPr/>
            <p:nvPr/>
          </p:nvSpPr>
          <p:spPr>
            <a:xfrm>
              <a:off x="10760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2" name="Google Shape;10315;p65">
              <a:extLst>
                <a:ext uri="{FF2B5EF4-FFF2-40B4-BE49-F238E27FC236}">
                  <a16:creationId xmlns:a16="http://schemas.microsoft.com/office/drawing/2014/main" id="{F8235932-A0A8-A11E-204C-8C504FF80D60}"/>
                </a:ext>
              </a:extLst>
            </p:cNvPr>
            <p:cNvSpPr/>
            <p:nvPr/>
          </p:nvSpPr>
          <p:spPr>
            <a:xfrm>
              <a:off x="10760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3" name="Google Shape;10316;p65">
              <a:extLst>
                <a:ext uri="{FF2B5EF4-FFF2-40B4-BE49-F238E27FC236}">
                  <a16:creationId xmlns:a16="http://schemas.microsoft.com/office/drawing/2014/main" id="{F18918DB-0814-79A7-0113-A46E6BFBC59F}"/>
                </a:ext>
              </a:extLst>
            </p:cNvPr>
            <p:cNvSpPr/>
            <p:nvPr/>
          </p:nvSpPr>
          <p:spPr>
            <a:xfrm>
              <a:off x="10760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4" name="Google Shape;10317;p65">
              <a:extLst>
                <a:ext uri="{FF2B5EF4-FFF2-40B4-BE49-F238E27FC236}">
                  <a16:creationId xmlns:a16="http://schemas.microsoft.com/office/drawing/2014/main" id="{763101AA-8AB0-248B-F7A5-909283C5F156}"/>
                </a:ext>
              </a:extLst>
            </p:cNvPr>
            <p:cNvSpPr/>
            <p:nvPr/>
          </p:nvSpPr>
          <p:spPr>
            <a:xfrm>
              <a:off x="10760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6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5" name="Google Shape;10318;p65">
              <a:extLst>
                <a:ext uri="{FF2B5EF4-FFF2-40B4-BE49-F238E27FC236}">
                  <a16:creationId xmlns:a16="http://schemas.microsoft.com/office/drawing/2014/main" id="{3B8194A4-9105-BF50-0204-06A792CC90D0}"/>
                </a:ext>
              </a:extLst>
            </p:cNvPr>
            <p:cNvSpPr/>
            <p:nvPr/>
          </p:nvSpPr>
          <p:spPr>
            <a:xfrm>
              <a:off x="1000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6" name="Google Shape;10319;p65">
              <a:extLst>
                <a:ext uri="{FF2B5EF4-FFF2-40B4-BE49-F238E27FC236}">
                  <a16:creationId xmlns:a16="http://schemas.microsoft.com/office/drawing/2014/main" id="{A651F0B8-0A70-1D89-610E-B7F213F436A3}"/>
                </a:ext>
              </a:extLst>
            </p:cNvPr>
            <p:cNvSpPr/>
            <p:nvPr/>
          </p:nvSpPr>
          <p:spPr>
            <a:xfrm>
              <a:off x="1000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7" name="Google Shape;10320;p65">
              <a:extLst>
                <a:ext uri="{FF2B5EF4-FFF2-40B4-BE49-F238E27FC236}">
                  <a16:creationId xmlns:a16="http://schemas.microsoft.com/office/drawing/2014/main" id="{52CF1B13-DFC5-54C5-C538-3EE7CD29BBC1}"/>
                </a:ext>
              </a:extLst>
            </p:cNvPr>
            <p:cNvSpPr/>
            <p:nvPr/>
          </p:nvSpPr>
          <p:spPr>
            <a:xfrm>
              <a:off x="1000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8" name="Google Shape;10321;p65">
              <a:extLst>
                <a:ext uri="{FF2B5EF4-FFF2-40B4-BE49-F238E27FC236}">
                  <a16:creationId xmlns:a16="http://schemas.microsoft.com/office/drawing/2014/main" id="{EF96B48F-E473-E67F-A5C5-B3786F2014E9}"/>
                </a:ext>
              </a:extLst>
            </p:cNvPr>
            <p:cNvSpPr/>
            <p:nvPr/>
          </p:nvSpPr>
          <p:spPr>
            <a:xfrm>
              <a:off x="1000050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89" name="Google Shape;10322;p65">
              <a:extLst>
                <a:ext uri="{FF2B5EF4-FFF2-40B4-BE49-F238E27FC236}">
                  <a16:creationId xmlns:a16="http://schemas.microsoft.com/office/drawing/2014/main" id="{7A2FF385-39C8-AC7E-1266-9E05308FEEB4}"/>
                </a:ext>
              </a:extLst>
            </p:cNvPr>
            <p:cNvSpPr/>
            <p:nvPr/>
          </p:nvSpPr>
          <p:spPr>
            <a:xfrm>
              <a:off x="1000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0" name="Google Shape;10323;p65">
              <a:extLst>
                <a:ext uri="{FF2B5EF4-FFF2-40B4-BE49-F238E27FC236}">
                  <a16:creationId xmlns:a16="http://schemas.microsoft.com/office/drawing/2014/main" id="{B7674F1F-CEBA-6428-34E3-BAC1AD7DA36A}"/>
                </a:ext>
              </a:extLst>
            </p:cNvPr>
            <p:cNvSpPr/>
            <p:nvPr/>
          </p:nvSpPr>
          <p:spPr>
            <a:xfrm>
              <a:off x="1000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1" name="Google Shape;10324;p65">
              <a:extLst>
                <a:ext uri="{FF2B5EF4-FFF2-40B4-BE49-F238E27FC236}">
                  <a16:creationId xmlns:a16="http://schemas.microsoft.com/office/drawing/2014/main" id="{79267CB0-6036-ED08-BA3D-6282BF0D93CA}"/>
                </a:ext>
              </a:extLst>
            </p:cNvPr>
            <p:cNvSpPr/>
            <p:nvPr/>
          </p:nvSpPr>
          <p:spPr>
            <a:xfrm>
              <a:off x="1000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2" name="Google Shape;10325;p65">
              <a:extLst>
                <a:ext uri="{FF2B5EF4-FFF2-40B4-BE49-F238E27FC236}">
                  <a16:creationId xmlns:a16="http://schemas.microsoft.com/office/drawing/2014/main" id="{7A4446D2-A46A-B118-A15C-02886A0E04AA}"/>
                </a:ext>
              </a:extLst>
            </p:cNvPr>
            <p:cNvSpPr/>
            <p:nvPr/>
          </p:nvSpPr>
          <p:spPr>
            <a:xfrm>
              <a:off x="1000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2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3" name="Google Shape;10326;p65">
              <a:extLst>
                <a:ext uri="{FF2B5EF4-FFF2-40B4-BE49-F238E27FC236}">
                  <a16:creationId xmlns:a16="http://schemas.microsoft.com/office/drawing/2014/main" id="{69CAD3A9-A37D-3541-F3CF-9DE99F129D2D}"/>
                </a:ext>
              </a:extLst>
            </p:cNvPr>
            <p:cNvSpPr/>
            <p:nvPr/>
          </p:nvSpPr>
          <p:spPr>
            <a:xfrm>
              <a:off x="10000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4" name="Google Shape;10327;p65">
              <a:extLst>
                <a:ext uri="{FF2B5EF4-FFF2-40B4-BE49-F238E27FC236}">
                  <a16:creationId xmlns:a16="http://schemas.microsoft.com/office/drawing/2014/main" id="{61BB8AC0-36EE-57AD-0E3F-164192BF2C5A}"/>
                </a:ext>
              </a:extLst>
            </p:cNvPr>
            <p:cNvSpPr/>
            <p:nvPr/>
          </p:nvSpPr>
          <p:spPr>
            <a:xfrm>
              <a:off x="923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5" name="Google Shape;10328;p65">
              <a:extLst>
                <a:ext uri="{FF2B5EF4-FFF2-40B4-BE49-F238E27FC236}">
                  <a16:creationId xmlns:a16="http://schemas.microsoft.com/office/drawing/2014/main" id="{58FF0194-59E1-733A-C6FA-9328DEAF86C2}"/>
                </a:ext>
              </a:extLst>
            </p:cNvPr>
            <p:cNvSpPr/>
            <p:nvPr/>
          </p:nvSpPr>
          <p:spPr>
            <a:xfrm>
              <a:off x="923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6" name="Google Shape;10329;p65">
              <a:extLst>
                <a:ext uri="{FF2B5EF4-FFF2-40B4-BE49-F238E27FC236}">
                  <a16:creationId xmlns:a16="http://schemas.microsoft.com/office/drawing/2014/main" id="{80B17537-A138-36A7-8195-BBB3003390A2}"/>
                </a:ext>
              </a:extLst>
            </p:cNvPr>
            <p:cNvSpPr/>
            <p:nvPr/>
          </p:nvSpPr>
          <p:spPr>
            <a:xfrm>
              <a:off x="923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7" name="Google Shape;10330;p65">
              <a:extLst>
                <a:ext uri="{FF2B5EF4-FFF2-40B4-BE49-F238E27FC236}">
                  <a16:creationId xmlns:a16="http://schemas.microsoft.com/office/drawing/2014/main" id="{622EC188-4ACF-5393-007D-3FE8D01D5274}"/>
                </a:ext>
              </a:extLst>
            </p:cNvPr>
            <p:cNvSpPr/>
            <p:nvPr/>
          </p:nvSpPr>
          <p:spPr>
            <a:xfrm>
              <a:off x="923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8" name="Google Shape;10331;p65">
              <a:extLst>
                <a:ext uri="{FF2B5EF4-FFF2-40B4-BE49-F238E27FC236}">
                  <a16:creationId xmlns:a16="http://schemas.microsoft.com/office/drawing/2014/main" id="{5E4A64A1-5CBB-D7EF-D091-0560800C0419}"/>
                </a:ext>
              </a:extLst>
            </p:cNvPr>
            <p:cNvSpPr/>
            <p:nvPr/>
          </p:nvSpPr>
          <p:spPr>
            <a:xfrm>
              <a:off x="923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199" name="Google Shape;10332;p65">
              <a:extLst>
                <a:ext uri="{FF2B5EF4-FFF2-40B4-BE49-F238E27FC236}">
                  <a16:creationId xmlns:a16="http://schemas.microsoft.com/office/drawing/2014/main" id="{E7EE4672-07E8-E16F-3BEC-8694DFB32101}"/>
                </a:ext>
              </a:extLst>
            </p:cNvPr>
            <p:cNvSpPr/>
            <p:nvPr/>
          </p:nvSpPr>
          <p:spPr>
            <a:xfrm>
              <a:off x="923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0" name="Google Shape;10333;p65">
              <a:extLst>
                <a:ext uri="{FF2B5EF4-FFF2-40B4-BE49-F238E27FC236}">
                  <a16:creationId xmlns:a16="http://schemas.microsoft.com/office/drawing/2014/main" id="{702FEFA7-1F8D-32F2-51DA-01F9053F2D4A}"/>
                </a:ext>
              </a:extLst>
            </p:cNvPr>
            <p:cNvSpPr/>
            <p:nvPr/>
          </p:nvSpPr>
          <p:spPr>
            <a:xfrm>
              <a:off x="923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1" name="Google Shape;10334;p65">
              <a:extLst>
                <a:ext uri="{FF2B5EF4-FFF2-40B4-BE49-F238E27FC236}">
                  <a16:creationId xmlns:a16="http://schemas.microsoft.com/office/drawing/2014/main" id="{8D85FC7E-3977-7F4B-1B76-6D3BDF6FC445}"/>
                </a:ext>
              </a:extLst>
            </p:cNvPr>
            <p:cNvSpPr/>
            <p:nvPr/>
          </p:nvSpPr>
          <p:spPr>
            <a:xfrm>
              <a:off x="847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2" name="Google Shape;10335;p65">
              <a:extLst>
                <a:ext uri="{FF2B5EF4-FFF2-40B4-BE49-F238E27FC236}">
                  <a16:creationId xmlns:a16="http://schemas.microsoft.com/office/drawing/2014/main" id="{730BE523-A205-EE79-BE20-EAF16C674687}"/>
                </a:ext>
              </a:extLst>
            </p:cNvPr>
            <p:cNvSpPr/>
            <p:nvPr/>
          </p:nvSpPr>
          <p:spPr>
            <a:xfrm>
              <a:off x="8476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3" name="Google Shape;10336;p65">
              <a:extLst>
                <a:ext uri="{FF2B5EF4-FFF2-40B4-BE49-F238E27FC236}">
                  <a16:creationId xmlns:a16="http://schemas.microsoft.com/office/drawing/2014/main" id="{5424A8BA-3F8A-AE96-255C-075D4222AC02}"/>
                </a:ext>
              </a:extLst>
            </p:cNvPr>
            <p:cNvSpPr/>
            <p:nvPr/>
          </p:nvSpPr>
          <p:spPr>
            <a:xfrm>
              <a:off x="847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4" name="Google Shape;10337;p65">
              <a:extLst>
                <a:ext uri="{FF2B5EF4-FFF2-40B4-BE49-F238E27FC236}">
                  <a16:creationId xmlns:a16="http://schemas.microsoft.com/office/drawing/2014/main" id="{16628092-F05D-C253-9375-54DF22E193D3}"/>
                </a:ext>
              </a:extLst>
            </p:cNvPr>
            <p:cNvSpPr/>
            <p:nvPr/>
          </p:nvSpPr>
          <p:spPr>
            <a:xfrm>
              <a:off x="847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5" name="Google Shape;10338;p65">
              <a:extLst>
                <a:ext uri="{FF2B5EF4-FFF2-40B4-BE49-F238E27FC236}">
                  <a16:creationId xmlns:a16="http://schemas.microsoft.com/office/drawing/2014/main" id="{FB2EA0EE-F9F6-57AB-E7A2-A008F2BE1D93}"/>
                </a:ext>
              </a:extLst>
            </p:cNvPr>
            <p:cNvSpPr/>
            <p:nvPr/>
          </p:nvSpPr>
          <p:spPr>
            <a:xfrm>
              <a:off x="847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6" name="Google Shape;10339;p65">
              <a:extLst>
                <a:ext uri="{FF2B5EF4-FFF2-40B4-BE49-F238E27FC236}">
                  <a16:creationId xmlns:a16="http://schemas.microsoft.com/office/drawing/2014/main" id="{617B7A39-ED22-A87E-503B-E7D9645C879B}"/>
                </a:ext>
              </a:extLst>
            </p:cNvPr>
            <p:cNvSpPr/>
            <p:nvPr/>
          </p:nvSpPr>
          <p:spPr>
            <a:xfrm>
              <a:off x="847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7" name="Google Shape;10340;p65">
              <a:extLst>
                <a:ext uri="{FF2B5EF4-FFF2-40B4-BE49-F238E27FC236}">
                  <a16:creationId xmlns:a16="http://schemas.microsoft.com/office/drawing/2014/main" id="{CE6DF9F9-C015-95BA-F97F-26F044A9A17D}"/>
                </a:ext>
              </a:extLst>
            </p:cNvPr>
            <p:cNvSpPr/>
            <p:nvPr/>
          </p:nvSpPr>
          <p:spPr>
            <a:xfrm>
              <a:off x="7714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8" name="Google Shape;10341;p65">
              <a:extLst>
                <a:ext uri="{FF2B5EF4-FFF2-40B4-BE49-F238E27FC236}">
                  <a16:creationId xmlns:a16="http://schemas.microsoft.com/office/drawing/2014/main" id="{227751F1-E888-0B69-AD04-B7C1DB6BAB62}"/>
                </a:ext>
              </a:extLst>
            </p:cNvPr>
            <p:cNvSpPr/>
            <p:nvPr/>
          </p:nvSpPr>
          <p:spPr>
            <a:xfrm>
              <a:off x="7714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09" name="Google Shape;10342;p65">
              <a:extLst>
                <a:ext uri="{FF2B5EF4-FFF2-40B4-BE49-F238E27FC236}">
                  <a16:creationId xmlns:a16="http://schemas.microsoft.com/office/drawing/2014/main" id="{C9B15475-4171-7FB9-C912-24395EDA9D11}"/>
                </a:ext>
              </a:extLst>
            </p:cNvPr>
            <p:cNvSpPr/>
            <p:nvPr/>
          </p:nvSpPr>
          <p:spPr>
            <a:xfrm>
              <a:off x="7714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0" name="Google Shape;10343;p65">
              <a:extLst>
                <a:ext uri="{FF2B5EF4-FFF2-40B4-BE49-F238E27FC236}">
                  <a16:creationId xmlns:a16="http://schemas.microsoft.com/office/drawing/2014/main" id="{CFD45585-4324-C258-CECF-7B76BA2FC586}"/>
                </a:ext>
              </a:extLst>
            </p:cNvPr>
            <p:cNvSpPr/>
            <p:nvPr/>
          </p:nvSpPr>
          <p:spPr>
            <a:xfrm>
              <a:off x="7714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1" name="Google Shape;10344;p65">
              <a:extLst>
                <a:ext uri="{FF2B5EF4-FFF2-40B4-BE49-F238E27FC236}">
                  <a16:creationId xmlns:a16="http://schemas.microsoft.com/office/drawing/2014/main" id="{37995BDD-DE4B-D3FE-DE60-778B92F7CC2C}"/>
                </a:ext>
              </a:extLst>
            </p:cNvPr>
            <p:cNvSpPr/>
            <p:nvPr/>
          </p:nvSpPr>
          <p:spPr>
            <a:xfrm>
              <a:off x="69520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2" name="Google Shape;10345;p65">
              <a:extLst>
                <a:ext uri="{FF2B5EF4-FFF2-40B4-BE49-F238E27FC236}">
                  <a16:creationId xmlns:a16="http://schemas.microsoft.com/office/drawing/2014/main" id="{5951D036-8E66-4D9C-A4F5-0AFC51F7DC6F}"/>
                </a:ext>
              </a:extLst>
            </p:cNvPr>
            <p:cNvSpPr/>
            <p:nvPr/>
          </p:nvSpPr>
          <p:spPr>
            <a:xfrm>
              <a:off x="69520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3" name="Google Shape;10346;p65">
              <a:extLst>
                <a:ext uri="{FF2B5EF4-FFF2-40B4-BE49-F238E27FC236}">
                  <a16:creationId xmlns:a16="http://schemas.microsoft.com/office/drawing/2014/main" id="{418F6307-E69F-A30C-ADF4-1ADB2616289E}"/>
                </a:ext>
              </a:extLst>
            </p:cNvPr>
            <p:cNvSpPr/>
            <p:nvPr/>
          </p:nvSpPr>
          <p:spPr>
            <a:xfrm>
              <a:off x="6952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4" name="Google Shape;10347;p65">
              <a:extLst>
                <a:ext uri="{FF2B5EF4-FFF2-40B4-BE49-F238E27FC236}">
                  <a16:creationId xmlns:a16="http://schemas.microsoft.com/office/drawing/2014/main" id="{873E1189-B54F-06C9-9339-1DD9FBA43319}"/>
                </a:ext>
              </a:extLst>
            </p:cNvPr>
            <p:cNvSpPr/>
            <p:nvPr/>
          </p:nvSpPr>
          <p:spPr>
            <a:xfrm>
              <a:off x="6952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5" name="Google Shape;10348;p65">
              <a:extLst>
                <a:ext uri="{FF2B5EF4-FFF2-40B4-BE49-F238E27FC236}">
                  <a16:creationId xmlns:a16="http://schemas.microsoft.com/office/drawing/2014/main" id="{48459556-BE3F-F91A-AF8D-F5045BBB6032}"/>
                </a:ext>
              </a:extLst>
            </p:cNvPr>
            <p:cNvSpPr/>
            <p:nvPr/>
          </p:nvSpPr>
          <p:spPr>
            <a:xfrm>
              <a:off x="6189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6" name="Google Shape;10349;p65">
              <a:extLst>
                <a:ext uri="{FF2B5EF4-FFF2-40B4-BE49-F238E27FC236}">
                  <a16:creationId xmlns:a16="http://schemas.microsoft.com/office/drawing/2014/main" id="{CDFDCE12-7855-1F50-0849-FFA518494FBC}"/>
                </a:ext>
              </a:extLst>
            </p:cNvPr>
            <p:cNvSpPr/>
            <p:nvPr/>
          </p:nvSpPr>
          <p:spPr>
            <a:xfrm>
              <a:off x="6189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7" name="Google Shape;10350;p65">
              <a:extLst>
                <a:ext uri="{FF2B5EF4-FFF2-40B4-BE49-F238E27FC236}">
                  <a16:creationId xmlns:a16="http://schemas.microsoft.com/office/drawing/2014/main" id="{14BBB24B-1146-C447-062C-68CD432B7BC4}"/>
                </a:ext>
              </a:extLst>
            </p:cNvPr>
            <p:cNvSpPr/>
            <p:nvPr/>
          </p:nvSpPr>
          <p:spPr>
            <a:xfrm>
              <a:off x="6189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8" name="Google Shape;10351;p65">
              <a:extLst>
                <a:ext uri="{FF2B5EF4-FFF2-40B4-BE49-F238E27FC236}">
                  <a16:creationId xmlns:a16="http://schemas.microsoft.com/office/drawing/2014/main" id="{EE9326F1-EE22-E979-B1E5-C6A2434A133A}"/>
                </a:ext>
              </a:extLst>
            </p:cNvPr>
            <p:cNvSpPr/>
            <p:nvPr/>
          </p:nvSpPr>
          <p:spPr>
            <a:xfrm>
              <a:off x="6189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19" name="Google Shape;10352;p65">
              <a:extLst>
                <a:ext uri="{FF2B5EF4-FFF2-40B4-BE49-F238E27FC236}">
                  <a16:creationId xmlns:a16="http://schemas.microsoft.com/office/drawing/2014/main" id="{1C993B19-4A04-7440-B72E-E4485BFF4842}"/>
                </a:ext>
              </a:extLst>
            </p:cNvPr>
            <p:cNvSpPr/>
            <p:nvPr/>
          </p:nvSpPr>
          <p:spPr>
            <a:xfrm>
              <a:off x="542775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0" name="Google Shape;10353;p65">
              <a:extLst>
                <a:ext uri="{FF2B5EF4-FFF2-40B4-BE49-F238E27FC236}">
                  <a16:creationId xmlns:a16="http://schemas.microsoft.com/office/drawing/2014/main" id="{F5F9B9F0-1BAF-9D80-C8E1-49DB19E9DE58}"/>
                </a:ext>
              </a:extLst>
            </p:cNvPr>
            <p:cNvSpPr/>
            <p:nvPr/>
          </p:nvSpPr>
          <p:spPr>
            <a:xfrm>
              <a:off x="542775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1" name="Google Shape;10354;p65">
              <a:extLst>
                <a:ext uri="{FF2B5EF4-FFF2-40B4-BE49-F238E27FC236}">
                  <a16:creationId xmlns:a16="http://schemas.microsoft.com/office/drawing/2014/main" id="{9DE9A80D-40C1-C37C-EEC7-4448B93DE250}"/>
                </a:ext>
              </a:extLst>
            </p:cNvPr>
            <p:cNvSpPr/>
            <p:nvPr/>
          </p:nvSpPr>
          <p:spPr>
            <a:xfrm>
              <a:off x="542775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2" name="Google Shape;10355;p65">
              <a:extLst>
                <a:ext uri="{FF2B5EF4-FFF2-40B4-BE49-F238E27FC236}">
                  <a16:creationId xmlns:a16="http://schemas.microsoft.com/office/drawing/2014/main" id="{8A18FC9C-8DD4-2960-23E0-8C7E900D1252}"/>
                </a:ext>
              </a:extLst>
            </p:cNvPr>
            <p:cNvSpPr/>
            <p:nvPr/>
          </p:nvSpPr>
          <p:spPr>
            <a:xfrm>
              <a:off x="5427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3" name="Google Shape;10356;p65">
              <a:extLst>
                <a:ext uri="{FF2B5EF4-FFF2-40B4-BE49-F238E27FC236}">
                  <a16:creationId xmlns:a16="http://schemas.microsoft.com/office/drawing/2014/main" id="{0D282CFD-97EA-DFC0-A215-F6F498FF5C43}"/>
                </a:ext>
              </a:extLst>
            </p:cNvPr>
            <p:cNvSpPr/>
            <p:nvPr/>
          </p:nvSpPr>
          <p:spPr>
            <a:xfrm>
              <a:off x="4665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4" name="Google Shape;10357;p65">
              <a:extLst>
                <a:ext uri="{FF2B5EF4-FFF2-40B4-BE49-F238E27FC236}">
                  <a16:creationId xmlns:a16="http://schemas.microsoft.com/office/drawing/2014/main" id="{F9FE43B7-4EC3-A86D-F39A-1582AFBDEB49}"/>
                </a:ext>
              </a:extLst>
            </p:cNvPr>
            <p:cNvSpPr/>
            <p:nvPr/>
          </p:nvSpPr>
          <p:spPr>
            <a:xfrm>
              <a:off x="46655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5" name="Google Shape;10358;p65">
              <a:extLst>
                <a:ext uri="{FF2B5EF4-FFF2-40B4-BE49-F238E27FC236}">
                  <a16:creationId xmlns:a16="http://schemas.microsoft.com/office/drawing/2014/main" id="{D23521CE-BEDD-3588-6BCF-67ADA2526F35}"/>
                </a:ext>
              </a:extLst>
            </p:cNvPr>
            <p:cNvSpPr/>
            <p:nvPr/>
          </p:nvSpPr>
          <p:spPr>
            <a:xfrm>
              <a:off x="4665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6" name="Google Shape;10359;p65">
              <a:extLst>
                <a:ext uri="{FF2B5EF4-FFF2-40B4-BE49-F238E27FC236}">
                  <a16:creationId xmlns:a16="http://schemas.microsoft.com/office/drawing/2014/main" id="{1C1FD9E7-7F13-CED5-1812-520DE444E22E}"/>
                </a:ext>
              </a:extLst>
            </p:cNvPr>
            <p:cNvSpPr/>
            <p:nvPr/>
          </p:nvSpPr>
          <p:spPr>
            <a:xfrm>
              <a:off x="4665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7" name="Google Shape;10360;p65">
              <a:extLst>
                <a:ext uri="{FF2B5EF4-FFF2-40B4-BE49-F238E27FC236}">
                  <a16:creationId xmlns:a16="http://schemas.microsoft.com/office/drawing/2014/main" id="{E0186219-A730-7377-F2F3-998ADA4BFE26}"/>
                </a:ext>
              </a:extLst>
            </p:cNvPr>
            <p:cNvSpPr/>
            <p:nvPr/>
          </p:nvSpPr>
          <p:spPr>
            <a:xfrm>
              <a:off x="390550" y="187605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8" name="Google Shape;10361;p65">
              <a:extLst>
                <a:ext uri="{FF2B5EF4-FFF2-40B4-BE49-F238E27FC236}">
                  <a16:creationId xmlns:a16="http://schemas.microsoft.com/office/drawing/2014/main" id="{E445F69E-41A2-1F73-24D5-4F86514C0940}"/>
                </a:ext>
              </a:extLst>
            </p:cNvPr>
            <p:cNvSpPr/>
            <p:nvPr/>
          </p:nvSpPr>
          <p:spPr>
            <a:xfrm>
              <a:off x="390550" y="1799825"/>
              <a:ext cx="62350" cy="53300"/>
            </a:xfrm>
            <a:custGeom>
              <a:avLst/>
              <a:gdLst/>
              <a:ahLst/>
              <a:cxnLst/>
              <a:rect l="l" t="t" r="r" b="b"/>
              <a:pathLst>
                <a:path w="2494" h="2132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81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3" y="1150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29" name="Google Shape;10362;p65">
              <a:extLst>
                <a:ext uri="{FF2B5EF4-FFF2-40B4-BE49-F238E27FC236}">
                  <a16:creationId xmlns:a16="http://schemas.microsoft.com/office/drawing/2014/main" id="{C7245D92-1113-C573-4AE8-810BE086DEE4}"/>
                </a:ext>
              </a:extLst>
            </p:cNvPr>
            <p:cNvSpPr/>
            <p:nvPr/>
          </p:nvSpPr>
          <p:spPr>
            <a:xfrm>
              <a:off x="3905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39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0" name="Google Shape;10363;p65">
              <a:extLst>
                <a:ext uri="{FF2B5EF4-FFF2-40B4-BE49-F238E27FC236}">
                  <a16:creationId xmlns:a16="http://schemas.microsoft.com/office/drawing/2014/main" id="{AB3E769D-6524-2B09-A933-6D417CF9C77A}"/>
                </a:ext>
              </a:extLst>
            </p:cNvPr>
            <p:cNvSpPr/>
            <p:nvPr/>
          </p:nvSpPr>
          <p:spPr>
            <a:xfrm>
              <a:off x="3905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1" name="Google Shape;10364;p65">
              <a:extLst>
                <a:ext uri="{FF2B5EF4-FFF2-40B4-BE49-F238E27FC236}">
                  <a16:creationId xmlns:a16="http://schemas.microsoft.com/office/drawing/2014/main" id="{B60E0188-BC27-8DCC-39F2-ABA7CBA3F939}"/>
                </a:ext>
              </a:extLst>
            </p:cNvPr>
            <p:cNvSpPr/>
            <p:nvPr/>
          </p:nvSpPr>
          <p:spPr>
            <a:xfrm>
              <a:off x="390550" y="1571400"/>
              <a:ext cx="62350" cy="53275"/>
            </a:xfrm>
            <a:custGeom>
              <a:avLst/>
              <a:gdLst/>
              <a:ahLst/>
              <a:cxnLst/>
              <a:rect l="l" t="t" r="r" b="b"/>
              <a:pathLst>
                <a:path w="2494" h="2131" extrusionOk="0">
                  <a:moveTo>
                    <a:pt x="1075" y="1"/>
                  </a:moveTo>
                  <a:cubicBezTo>
                    <a:pt x="1072" y="1"/>
                    <a:pt x="1068" y="1"/>
                    <a:pt x="1065" y="1"/>
                  </a:cubicBez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3" y="1141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2" name="Google Shape;10365;p65">
              <a:extLst>
                <a:ext uri="{FF2B5EF4-FFF2-40B4-BE49-F238E27FC236}">
                  <a16:creationId xmlns:a16="http://schemas.microsoft.com/office/drawing/2014/main" id="{1F5B9B02-2407-7232-D5DE-BF2544457464}"/>
                </a:ext>
              </a:extLst>
            </p:cNvPr>
            <p:cNvSpPr/>
            <p:nvPr/>
          </p:nvSpPr>
          <p:spPr>
            <a:xfrm>
              <a:off x="314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3" name="Google Shape;10366;p65">
              <a:extLst>
                <a:ext uri="{FF2B5EF4-FFF2-40B4-BE49-F238E27FC236}">
                  <a16:creationId xmlns:a16="http://schemas.microsoft.com/office/drawing/2014/main" id="{30ED47F7-D403-1DDC-671E-88A1AF425364}"/>
                </a:ext>
              </a:extLst>
            </p:cNvPr>
            <p:cNvSpPr/>
            <p:nvPr/>
          </p:nvSpPr>
          <p:spPr>
            <a:xfrm>
              <a:off x="314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4" name="Google Shape;10367;p65">
              <a:extLst>
                <a:ext uri="{FF2B5EF4-FFF2-40B4-BE49-F238E27FC236}">
                  <a16:creationId xmlns:a16="http://schemas.microsoft.com/office/drawing/2014/main" id="{F9B729E1-0043-3DC0-1675-B4827555AF56}"/>
                </a:ext>
              </a:extLst>
            </p:cNvPr>
            <p:cNvSpPr/>
            <p:nvPr/>
          </p:nvSpPr>
          <p:spPr>
            <a:xfrm>
              <a:off x="314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5" name="Google Shape;10368;p65">
              <a:extLst>
                <a:ext uri="{FF2B5EF4-FFF2-40B4-BE49-F238E27FC236}">
                  <a16:creationId xmlns:a16="http://schemas.microsoft.com/office/drawing/2014/main" id="{B3444173-773C-0E0A-1617-021E3455B871}"/>
                </a:ext>
              </a:extLst>
            </p:cNvPr>
            <p:cNvSpPr/>
            <p:nvPr/>
          </p:nvSpPr>
          <p:spPr>
            <a:xfrm>
              <a:off x="314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6" name="Google Shape;10369;p65">
              <a:extLst>
                <a:ext uri="{FF2B5EF4-FFF2-40B4-BE49-F238E27FC236}">
                  <a16:creationId xmlns:a16="http://schemas.microsoft.com/office/drawing/2014/main" id="{840A8C31-D2E0-001F-54EB-AAC3C05642E0}"/>
                </a:ext>
              </a:extLst>
            </p:cNvPr>
            <p:cNvSpPr/>
            <p:nvPr/>
          </p:nvSpPr>
          <p:spPr>
            <a:xfrm>
              <a:off x="314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7" name="Google Shape;10370;p65">
              <a:extLst>
                <a:ext uri="{FF2B5EF4-FFF2-40B4-BE49-F238E27FC236}">
                  <a16:creationId xmlns:a16="http://schemas.microsoft.com/office/drawing/2014/main" id="{881449C1-1546-7975-7D92-CA1F91ECBBBA}"/>
                </a:ext>
              </a:extLst>
            </p:cNvPr>
            <p:cNvSpPr/>
            <p:nvPr/>
          </p:nvSpPr>
          <p:spPr>
            <a:xfrm>
              <a:off x="314325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86" y="1149"/>
                    <a:pt x="2020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8" name="Google Shape;10371;p65">
              <a:extLst>
                <a:ext uri="{FF2B5EF4-FFF2-40B4-BE49-F238E27FC236}">
                  <a16:creationId xmlns:a16="http://schemas.microsoft.com/office/drawing/2014/main" id="{6468EC73-A009-0191-64A4-E348668C79FA}"/>
                </a:ext>
              </a:extLst>
            </p:cNvPr>
            <p:cNvSpPr/>
            <p:nvPr/>
          </p:nvSpPr>
          <p:spPr>
            <a:xfrm>
              <a:off x="238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39" name="Google Shape;10372;p65">
              <a:extLst>
                <a:ext uri="{FF2B5EF4-FFF2-40B4-BE49-F238E27FC236}">
                  <a16:creationId xmlns:a16="http://schemas.microsoft.com/office/drawing/2014/main" id="{9F08C568-31FC-9B9C-AF58-686CAB07A913}"/>
                </a:ext>
              </a:extLst>
            </p:cNvPr>
            <p:cNvSpPr/>
            <p:nvPr/>
          </p:nvSpPr>
          <p:spPr>
            <a:xfrm>
              <a:off x="238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0" name="Google Shape;10373;p65">
              <a:extLst>
                <a:ext uri="{FF2B5EF4-FFF2-40B4-BE49-F238E27FC236}">
                  <a16:creationId xmlns:a16="http://schemas.microsoft.com/office/drawing/2014/main" id="{2F30AFAC-3B1C-3680-B9AC-F1B2492755BF}"/>
                </a:ext>
              </a:extLst>
            </p:cNvPr>
            <p:cNvSpPr/>
            <p:nvPr/>
          </p:nvSpPr>
          <p:spPr>
            <a:xfrm>
              <a:off x="238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1" name="Google Shape;10374;p65">
              <a:extLst>
                <a:ext uri="{FF2B5EF4-FFF2-40B4-BE49-F238E27FC236}">
                  <a16:creationId xmlns:a16="http://schemas.microsoft.com/office/drawing/2014/main" id="{34F7D078-1DAD-64B9-FFDF-4D1BD3ADD370}"/>
                </a:ext>
              </a:extLst>
            </p:cNvPr>
            <p:cNvSpPr/>
            <p:nvPr/>
          </p:nvSpPr>
          <p:spPr>
            <a:xfrm>
              <a:off x="238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2" name="Google Shape;10375;p65">
              <a:extLst>
                <a:ext uri="{FF2B5EF4-FFF2-40B4-BE49-F238E27FC236}">
                  <a16:creationId xmlns:a16="http://schemas.microsoft.com/office/drawing/2014/main" id="{0A569264-406B-E0D1-044C-C142CF3CC4FB}"/>
                </a:ext>
              </a:extLst>
            </p:cNvPr>
            <p:cNvSpPr/>
            <p:nvPr/>
          </p:nvSpPr>
          <p:spPr>
            <a:xfrm>
              <a:off x="442782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3" name="Google Shape;10376;p65">
              <a:extLst>
                <a:ext uri="{FF2B5EF4-FFF2-40B4-BE49-F238E27FC236}">
                  <a16:creationId xmlns:a16="http://schemas.microsoft.com/office/drawing/2014/main" id="{A688DF15-A86D-9E94-2C88-758F670B90DD}"/>
                </a:ext>
              </a:extLst>
            </p:cNvPr>
            <p:cNvSpPr/>
            <p:nvPr/>
          </p:nvSpPr>
          <p:spPr>
            <a:xfrm>
              <a:off x="442782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4" name="Google Shape;10377;p65">
              <a:extLst>
                <a:ext uri="{FF2B5EF4-FFF2-40B4-BE49-F238E27FC236}">
                  <a16:creationId xmlns:a16="http://schemas.microsoft.com/office/drawing/2014/main" id="{D0FF7984-0D4F-7FCF-C00D-17CDED9466C4}"/>
                </a:ext>
              </a:extLst>
            </p:cNvPr>
            <p:cNvSpPr/>
            <p:nvPr/>
          </p:nvSpPr>
          <p:spPr>
            <a:xfrm>
              <a:off x="4504050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5" name="Google Shape;10378;p65">
              <a:extLst>
                <a:ext uri="{FF2B5EF4-FFF2-40B4-BE49-F238E27FC236}">
                  <a16:creationId xmlns:a16="http://schemas.microsoft.com/office/drawing/2014/main" id="{7786EF1B-1100-06E4-7712-1FA11DF19DF8}"/>
                </a:ext>
              </a:extLst>
            </p:cNvPr>
            <p:cNvSpPr/>
            <p:nvPr/>
          </p:nvSpPr>
          <p:spPr>
            <a:xfrm>
              <a:off x="4504050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6" name="Google Shape;10379;p65">
              <a:extLst>
                <a:ext uri="{FF2B5EF4-FFF2-40B4-BE49-F238E27FC236}">
                  <a16:creationId xmlns:a16="http://schemas.microsoft.com/office/drawing/2014/main" id="{B8650245-B21D-BF80-63FC-3FB5126F8A37}"/>
                </a:ext>
              </a:extLst>
            </p:cNvPr>
            <p:cNvSpPr/>
            <p:nvPr/>
          </p:nvSpPr>
          <p:spPr>
            <a:xfrm>
              <a:off x="45802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7" name="Google Shape;10380;p65">
              <a:extLst>
                <a:ext uri="{FF2B5EF4-FFF2-40B4-BE49-F238E27FC236}">
                  <a16:creationId xmlns:a16="http://schemas.microsoft.com/office/drawing/2014/main" id="{BBAAEBB0-620D-0B97-CB80-3F8F1EC03FD0}"/>
                </a:ext>
              </a:extLst>
            </p:cNvPr>
            <p:cNvSpPr/>
            <p:nvPr/>
          </p:nvSpPr>
          <p:spPr>
            <a:xfrm>
              <a:off x="4504050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8" name="Google Shape;10381;p65">
              <a:extLst>
                <a:ext uri="{FF2B5EF4-FFF2-40B4-BE49-F238E27FC236}">
                  <a16:creationId xmlns:a16="http://schemas.microsoft.com/office/drawing/2014/main" id="{EA14F8C9-76F6-497B-C6D9-F52FC4A628DA}"/>
                </a:ext>
              </a:extLst>
            </p:cNvPr>
            <p:cNvSpPr/>
            <p:nvPr/>
          </p:nvSpPr>
          <p:spPr>
            <a:xfrm>
              <a:off x="511335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49" name="Google Shape;10382;p65">
              <a:extLst>
                <a:ext uri="{FF2B5EF4-FFF2-40B4-BE49-F238E27FC236}">
                  <a16:creationId xmlns:a16="http://schemas.microsoft.com/office/drawing/2014/main" id="{FCB2526B-F2FD-8105-10CC-6203BF015D42}"/>
                </a:ext>
              </a:extLst>
            </p:cNvPr>
            <p:cNvSpPr/>
            <p:nvPr/>
          </p:nvSpPr>
          <p:spPr>
            <a:xfrm>
              <a:off x="511335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0" name="Google Shape;10383;p65">
              <a:extLst>
                <a:ext uri="{FF2B5EF4-FFF2-40B4-BE49-F238E27FC236}">
                  <a16:creationId xmlns:a16="http://schemas.microsoft.com/office/drawing/2014/main" id="{8700DA01-734E-800F-AC9B-A1EF4703D2ED}"/>
                </a:ext>
              </a:extLst>
            </p:cNvPr>
            <p:cNvSpPr/>
            <p:nvPr/>
          </p:nvSpPr>
          <p:spPr>
            <a:xfrm>
              <a:off x="511335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1" name="Google Shape;10384;p65">
              <a:extLst>
                <a:ext uri="{FF2B5EF4-FFF2-40B4-BE49-F238E27FC236}">
                  <a16:creationId xmlns:a16="http://schemas.microsoft.com/office/drawing/2014/main" id="{39E1F440-1390-260A-73D8-7B9259219588}"/>
                </a:ext>
              </a:extLst>
            </p:cNvPr>
            <p:cNvSpPr/>
            <p:nvPr/>
          </p:nvSpPr>
          <p:spPr>
            <a:xfrm>
              <a:off x="511335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2" name="Google Shape;10385;p65">
              <a:extLst>
                <a:ext uri="{FF2B5EF4-FFF2-40B4-BE49-F238E27FC236}">
                  <a16:creationId xmlns:a16="http://schemas.microsoft.com/office/drawing/2014/main" id="{D219AB81-6625-3AD9-47D0-D2B221996D79}"/>
                </a:ext>
              </a:extLst>
            </p:cNvPr>
            <p:cNvSpPr/>
            <p:nvPr/>
          </p:nvSpPr>
          <p:spPr>
            <a:xfrm>
              <a:off x="511335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3" name="Google Shape;10386;p65">
              <a:extLst>
                <a:ext uri="{FF2B5EF4-FFF2-40B4-BE49-F238E27FC236}">
                  <a16:creationId xmlns:a16="http://schemas.microsoft.com/office/drawing/2014/main" id="{08CABA66-74E4-0392-0D4D-B219EED7B793}"/>
                </a:ext>
              </a:extLst>
            </p:cNvPr>
            <p:cNvSpPr/>
            <p:nvPr/>
          </p:nvSpPr>
          <p:spPr>
            <a:xfrm>
              <a:off x="5113350" y="18760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4" name="Google Shape;10387;p65">
              <a:extLst>
                <a:ext uri="{FF2B5EF4-FFF2-40B4-BE49-F238E27FC236}">
                  <a16:creationId xmlns:a16="http://schemas.microsoft.com/office/drawing/2014/main" id="{98C6FB7D-8BFF-ACD1-FC3E-2561F037CC9C}"/>
                </a:ext>
              </a:extLst>
            </p:cNvPr>
            <p:cNvSpPr/>
            <p:nvPr/>
          </p:nvSpPr>
          <p:spPr>
            <a:xfrm>
              <a:off x="511335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9"/>
                    <a:pt x="8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5" name="Google Shape;10388;p65">
              <a:extLst>
                <a:ext uri="{FF2B5EF4-FFF2-40B4-BE49-F238E27FC236}">
                  <a16:creationId xmlns:a16="http://schemas.microsoft.com/office/drawing/2014/main" id="{2446CBA8-2290-620B-F1CB-6A2AE7717694}"/>
                </a:ext>
              </a:extLst>
            </p:cNvPr>
            <p:cNvSpPr/>
            <p:nvPr/>
          </p:nvSpPr>
          <p:spPr>
            <a:xfrm>
              <a:off x="511335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6" name="Google Shape;10389;p65">
              <a:extLst>
                <a:ext uri="{FF2B5EF4-FFF2-40B4-BE49-F238E27FC236}">
                  <a16:creationId xmlns:a16="http://schemas.microsoft.com/office/drawing/2014/main" id="{A9FEC234-5D38-8BF7-A8C5-D3CCBAB66C65}"/>
                </a:ext>
              </a:extLst>
            </p:cNvPr>
            <p:cNvSpPr/>
            <p:nvPr/>
          </p:nvSpPr>
          <p:spPr>
            <a:xfrm>
              <a:off x="511335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7" name="Google Shape;10390;p65">
              <a:extLst>
                <a:ext uri="{FF2B5EF4-FFF2-40B4-BE49-F238E27FC236}">
                  <a16:creationId xmlns:a16="http://schemas.microsoft.com/office/drawing/2014/main" id="{0A5EC967-14BE-F92E-7530-EBAC20757ED4}"/>
                </a:ext>
              </a:extLst>
            </p:cNvPr>
            <p:cNvSpPr/>
            <p:nvPr/>
          </p:nvSpPr>
          <p:spPr>
            <a:xfrm>
              <a:off x="511335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8" name="Google Shape;10391;p65">
              <a:extLst>
                <a:ext uri="{FF2B5EF4-FFF2-40B4-BE49-F238E27FC236}">
                  <a16:creationId xmlns:a16="http://schemas.microsoft.com/office/drawing/2014/main" id="{82A49D23-1781-D297-12BE-428EB1D9FE0D}"/>
                </a:ext>
              </a:extLst>
            </p:cNvPr>
            <p:cNvSpPr/>
            <p:nvPr/>
          </p:nvSpPr>
          <p:spPr>
            <a:xfrm>
              <a:off x="511335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83" y="0"/>
                  </a:moveTo>
                  <a:cubicBezTo>
                    <a:pt x="1080" y="0"/>
                    <a:pt x="1077" y="0"/>
                    <a:pt x="1073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8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59" name="Google Shape;10392;p65">
              <a:extLst>
                <a:ext uri="{FF2B5EF4-FFF2-40B4-BE49-F238E27FC236}">
                  <a16:creationId xmlns:a16="http://schemas.microsoft.com/office/drawing/2014/main" id="{1CB0C704-68E8-31DB-868C-B4EA9747C557}"/>
                </a:ext>
              </a:extLst>
            </p:cNvPr>
            <p:cNvSpPr/>
            <p:nvPr/>
          </p:nvSpPr>
          <p:spPr>
            <a:xfrm>
              <a:off x="511335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0" name="Google Shape;10393;p65">
              <a:extLst>
                <a:ext uri="{FF2B5EF4-FFF2-40B4-BE49-F238E27FC236}">
                  <a16:creationId xmlns:a16="http://schemas.microsoft.com/office/drawing/2014/main" id="{2A40AECF-492E-9556-41A2-A33AF77048E1}"/>
                </a:ext>
              </a:extLst>
            </p:cNvPr>
            <p:cNvSpPr/>
            <p:nvPr/>
          </p:nvSpPr>
          <p:spPr>
            <a:xfrm>
              <a:off x="511335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1" name="Google Shape;10394;p65">
              <a:extLst>
                <a:ext uri="{FF2B5EF4-FFF2-40B4-BE49-F238E27FC236}">
                  <a16:creationId xmlns:a16="http://schemas.microsoft.com/office/drawing/2014/main" id="{0D9C28A8-145C-EF74-6C17-2DCF69AC44FF}"/>
                </a:ext>
              </a:extLst>
            </p:cNvPr>
            <p:cNvSpPr/>
            <p:nvPr/>
          </p:nvSpPr>
          <p:spPr>
            <a:xfrm>
              <a:off x="511335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73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4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2" name="Google Shape;10395;p65">
              <a:extLst>
                <a:ext uri="{FF2B5EF4-FFF2-40B4-BE49-F238E27FC236}">
                  <a16:creationId xmlns:a16="http://schemas.microsoft.com/office/drawing/2014/main" id="{943598AD-3C1D-CC21-479A-C6E13C830484}"/>
                </a:ext>
              </a:extLst>
            </p:cNvPr>
            <p:cNvSpPr/>
            <p:nvPr/>
          </p:nvSpPr>
          <p:spPr>
            <a:xfrm>
              <a:off x="47324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3" name="Google Shape;10396;p65">
              <a:extLst>
                <a:ext uri="{FF2B5EF4-FFF2-40B4-BE49-F238E27FC236}">
                  <a16:creationId xmlns:a16="http://schemas.microsoft.com/office/drawing/2014/main" id="{515BD25A-B846-D057-653C-0D09C9DA243A}"/>
                </a:ext>
              </a:extLst>
            </p:cNvPr>
            <p:cNvSpPr/>
            <p:nvPr/>
          </p:nvSpPr>
          <p:spPr>
            <a:xfrm>
              <a:off x="47324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4" name="Google Shape;10397;p65">
              <a:extLst>
                <a:ext uri="{FF2B5EF4-FFF2-40B4-BE49-F238E27FC236}">
                  <a16:creationId xmlns:a16="http://schemas.microsoft.com/office/drawing/2014/main" id="{03488F71-BC16-B117-2687-40300A5438F6}"/>
                </a:ext>
              </a:extLst>
            </p:cNvPr>
            <p:cNvSpPr/>
            <p:nvPr/>
          </p:nvSpPr>
          <p:spPr>
            <a:xfrm>
              <a:off x="47324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5" name="Google Shape;10398;p65">
              <a:extLst>
                <a:ext uri="{FF2B5EF4-FFF2-40B4-BE49-F238E27FC236}">
                  <a16:creationId xmlns:a16="http://schemas.microsoft.com/office/drawing/2014/main" id="{461CD081-6B24-D0E2-B877-0958EBC72412}"/>
                </a:ext>
              </a:extLst>
            </p:cNvPr>
            <p:cNvSpPr/>
            <p:nvPr/>
          </p:nvSpPr>
          <p:spPr>
            <a:xfrm>
              <a:off x="47324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6" name="Google Shape;10399;p65">
              <a:extLst>
                <a:ext uri="{FF2B5EF4-FFF2-40B4-BE49-F238E27FC236}">
                  <a16:creationId xmlns:a16="http://schemas.microsoft.com/office/drawing/2014/main" id="{46F81080-A9CF-C491-5F77-FCFAAA148856}"/>
                </a:ext>
              </a:extLst>
            </p:cNvPr>
            <p:cNvSpPr/>
            <p:nvPr/>
          </p:nvSpPr>
          <p:spPr>
            <a:xfrm>
              <a:off x="47324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7" name="Google Shape;10400;p65">
              <a:extLst>
                <a:ext uri="{FF2B5EF4-FFF2-40B4-BE49-F238E27FC236}">
                  <a16:creationId xmlns:a16="http://schemas.microsoft.com/office/drawing/2014/main" id="{D8BB0142-B04E-7A68-CFC3-D1DC98E1676C}"/>
                </a:ext>
              </a:extLst>
            </p:cNvPr>
            <p:cNvSpPr/>
            <p:nvPr/>
          </p:nvSpPr>
          <p:spPr>
            <a:xfrm>
              <a:off x="4732475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8" name="Google Shape;10401;p65">
              <a:extLst>
                <a:ext uri="{FF2B5EF4-FFF2-40B4-BE49-F238E27FC236}">
                  <a16:creationId xmlns:a16="http://schemas.microsoft.com/office/drawing/2014/main" id="{255B1CEB-7175-BA88-37AD-D9E2988BB8F2}"/>
                </a:ext>
              </a:extLst>
            </p:cNvPr>
            <p:cNvSpPr/>
            <p:nvPr/>
          </p:nvSpPr>
          <p:spPr>
            <a:xfrm>
              <a:off x="47324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2" y="1822"/>
                  </a:cubicBezTo>
                  <a:cubicBezTo>
                    <a:pt x="2496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69" name="Google Shape;10402;p65">
              <a:extLst>
                <a:ext uri="{FF2B5EF4-FFF2-40B4-BE49-F238E27FC236}">
                  <a16:creationId xmlns:a16="http://schemas.microsoft.com/office/drawing/2014/main" id="{6B0252F7-0A9F-B0C6-AFC3-37C568D59050}"/>
                </a:ext>
              </a:extLst>
            </p:cNvPr>
            <p:cNvSpPr/>
            <p:nvPr/>
          </p:nvSpPr>
          <p:spPr>
            <a:xfrm>
              <a:off x="47324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0" name="Google Shape;10403;p65">
              <a:extLst>
                <a:ext uri="{FF2B5EF4-FFF2-40B4-BE49-F238E27FC236}">
                  <a16:creationId xmlns:a16="http://schemas.microsoft.com/office/drawing/2014/main" id="{170C98C7-C0E6-9310-5283-20C9C813E506}"/>
                </a:ext>
              </a:extLst>
            </p:cNvPr>
            <p:cNvSpPr/>
            <p:nvPr/>
          </p:nvSpPr>
          <p:spPr>
            <a:xfrm>
              <a:off x="47324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1" name="Google Shape;10404;p65">
              <a:extLst>
                <a:ext uri="{FF2B5EF4-FFF2-40B4-BE49-F238E27FC236}">
                  <a16:creationId xmlns:a16="http://schemas.microsoft.com/office/drawing/2014/main" id="{57025EB2-2B4C-F8ED-B6E3-86380F794DA3}"/>
                </a:ext>
              </a:extLst>
            </p:cNvPr>
            <p:cNvSpPr/>
            <p:nvPr/>
          </p:nvSpPr>
          <p:spPr>
            <a:xfrm>
              <a:off x="47324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2" name="Google Shape;10405;p65">
              <a:extLst>
                <a:ext uri="{FF2B5EF4-FFF2-40B4-BE49-F238E27FC236}">
                  <a16:creationId xmlns:a16="http://schemas.microsoft.com/office/drawing/2014/main" id="{3C260269-E612-C9A0-D931-A49B71016DD3}"/>
                </a:ext>
              </a:extLst>
            </p:cNvPr>
            <p:cNvSpPr/>
            <p:nvPr/>
          </p:nvSpPr>
          <p:spPr>
            <a:xfrm>
              <a:off x="47324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0" y="0"/>
                    <a:pt x="1077" y="0"/>
                    <a:pt x="1074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3" name="Google Shape;10406;p65">
              <a:extLst>
                <a:ext uri="{FF2B5EF4-FFF2-40B4-BE49-F238E27FC236}">
                  <a16:creationId xmlns:a16="http://schemas.microsoft.com/office/drawing/2014/main" id="{BE58F9CF-596D-028E-5540-BDC3B9B830AE}"/>
                </a:ext>
              </a:extLst>
            </p:cNvPr>
            <p:cNvSpPr/>
            <p:nvPr/>
          </p:nvSpPr>
          <p:spPr>
            <a:xfrm>
              <a:off x="47324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4" name="Google Shape;10407;p65">
              <a:extLst>
                <a:ext uri="{FF2B5EF4-FFF2-40B4-BE49-F238E27FC236}">
                  <a16:creationId xmlns:a16="http://schemas.microsoft.com/office/drawing/2014/main" id="{ECD7E15F-46DD-E636-2985-934948419D31}"/>
                </a:ext>
              </a:extLst>
            </p:cNvPr>
            <p:cNvSpPr/>
            <p:nvPr/>
          </p:nvSpPr>
          <p:spPr>
            <a:xfrm>
              <a:off x="43516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5" name="Google Shape;10408;p65">
              <a:extLst>
                <a:ext uri="{FF2B5EF4-FFF2-40B4-BE49-F238E27FC236}">
                  <a16:creationId xmlns:a16="http://schemas.microsoft.com/office/drawing/2014/main" id="{F9071E66-F27A-29E1-925F-B8031D505BFC}"/>
                </a:ext>
              </a:extLst>
            </p:cNvPr>
            <p:cNvSpPr/>
            <p:nvPr/>
          </p:nvSpPr>
          <p:spPr>
            <a:xfrm>
              <a:off x="43516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6" name="Google Shape;10409;p65">
              <a:extLst>
                <a:ext uri="{FF2B5EF4-FFF2-40B4-BE49-F238E27FC236}">
                  <a16:creationId xmlns:a16="http://schemas.microsoft.com/office/drawing/2014/main" id="{280B3E71-D312-E9AF-F157-72A44EB95210}"/>
                </a:ext>
              </a:extLst>
            </p:cNvPr>
            <p:cNvSpPr/>
            <p:nvPr/>
          </p:nvSpPr>
          <p:spPr>
            <a:xfrm>
              <a:off x="43516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7" name="Google Shape;10410;p65">
              <a:extLst>
                <a:ext uri="{FF2B5EF4-FFF2-40B4-BE49-F238E27FC236}">
                  <a16:creationId xmlns:a16="http://schemas.microsoft.com/office/drawing/2014/main" id="{DFBD922F-9E52-930A-06BB-4A0C2ACC9F7D}"/>
                </a:ext>
              </a:extLst>
            </p:cNvPr>
            <p:cNvSpPr/>
            <p:nvPr/>
          </p:nvSpPr>
          <p:spPr>
            <a:xfrm>
              <a:off x="43516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7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8" name="Google Shape;10411;p65">
              <a:extLst>
                <a:ext uri="{FF2B5EF4-FFF2-40B4-BE49-F238E27FC236}">
                  <a16:creationId xmlns:a16="http://schemas.microsoft.com/office/drawing/2014/main" id="{78A5A49C-774F-A5FA-00DD-FFF2B7AB1F9B}"/>
                </a:ext>
              </a:extLst>
            </p:cNvPr>
            <p:cNvSpPr/>
            <p:nvPr/>
          </p:nvSpPr>
          <p:spPr>
            <a:xfrm>
              <a:off x="442782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79" name="Google Shape;10412;p65">
              <a:extLst>
                <a:ext uri="{FF2B5EF4-FFF2-40B4-BE49-F238E27FC236}">
                  <a16:creationId xmlns:a16="http://schemas.microsoft.com/office/drawing/2014/main" id="{096B8B42-68AA-5D21-1B46-186D97B082B8}"/>
                </a:ext>
              </a:extLst>
            </p:cNvPr>
            <p:cNvSpPr/>
            <p:nvPr/>
          </p:nvSpPr>
          <p:spPr>
            <a:xfrm>
              <a:off x="442782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0" name="Google Shape;10413;p65">
              <a:extLst>
                <a:ext uri="{FF2B5EF4-FFF2-40B4-BE49-F238E27FC236}">
                  <a16:creationId xmlns:a16="http://schemas.microsoft.com/office/drawing/2014/main" id="{EBDBE7AA-EE51-41C5-74B3-6553ACCBF2F0}"/>
                </a:ext>
              </a:extLst>
            </p:cNvPr>
            <p:cNvSpPr/>
            <p:nvPr/>
          </p:nvSpPr>
          <p:spPr>
            <a:xfrm>
              <a:off x="45040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1" name="Google Shape;10414;p65">
              <a:extLst>
                <a:ext uri="{FF2B5EF4-FFF2-40B4-BE49-F238E27FC236}">
                  <a16:creationId xmlns:a16="http://schemas.microsoft.com/office/drawing/2014/main" id="{4423DF7E-84FF-89FC-3B57-2BDA3F372236}"/>
                </a:ext>
              </a:extLst>
            </p:cNvPr>
            <p:cNvSpPr/>
            <p:nvPr/>
          </p:nvSpPr>
          <p:spPr>
            <a:xfrm>
              <a:off x="45040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2" name="Google Shape;10415;p65">
              <a:extLst>
                <a:ext uri="{FF2B5EF4-FFF2-40B4-BE49-F238E27FC236}">
                  <a16:creationId xmlns:a16="http://schemas.microsoft.com/office/drawing/2014/main" id="{97F1FA46-FEDC-0779-3692-3C91E0A5CE2F}"/>
                </a:ext>
              </a:extLst>
            </p:cNvPr>
            <p:cNvSpPr/>
            <p:nvPr/>
          </p:nvSpPr>
          <p:spPr>
            <a:xfrm>
              <a:off x="45040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3" name="Google Shape;10416;p65">
              <a:extLst>
                <a:ext uri="{FF2B5EF4-FFF2-40B4-BE49-F238E27FC236}">
                  <a16:creationId xmlns:a16="http://schemas.microsoft.com/office/drawing/2014/main" id="{066B9885-24C3-6E81-7949-2D09BFDC2004}"/>
                </a:ext>
              </a:extLst>
            </p:cNvPr>
            <p:cNvSpPr/>
            <p:nvPr/>
          </p:nvSpPr>
          <p:spPr>
            <a:xfrm>
              <a:off x="45040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4" name="Google Shape;10417;p65">
              <a:extLst>
                <a:ext uri="{FF2B5EF4-FFF2-40B4-BE49-F238E27FC236}">
                  <a16:creationId xmlns:a16="http://schemas.microsoft.com/office/drawing/2014/main" id="{C829B684-2D42-4B48-9356-B3C21C996F5F}"/>
                </a:ext>
              </a:extLst>
            </p:cNvPr>
            <p:cNvSpPr/>
            <p:nvPr/>
          </p:nvSpPr>
          <p:spPr>
            <a:xfrm>
              <a:off x="45040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5" name="Google Shape;10418;p65">
              <a:extLst>
                <a:ext uri="{FF2B5EF4-FFF2-40B4-BE49-F238E27FC236}">
                  <a16:creationId xmlns:a16="http://schemas.microsoft.com/office/drawing/2014/main" id="{FF4FFB19-19C8-3CAB-904A-86A38639EC9B}"/>
                </a:ext>
              </a:extLst>
            </p:cNvPr>
            <p:cNvSpPr/>
            <p:nvPr/>
          </p:nvSpPr>
          <p:spPr>
            <a:xfrm>
              <a:off x="45040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6" name="Google Shape;10419;p65">
              <a:extLst>
                <a:ext uri="{FF2B5EF4-FFF2-40B4-BE49-F238E27FC236}">
                  <a16:creationId xmlns:a16="http://schemas.microsoft.com/office/drawing/2014/main" id="{04E55471-C513-DD2C-D6F4-6A5CF78922DF}"/>
                </a:ext>
              </a:extLst>
            </p:cNvPr>
            <p:cNvSpPr/>
            <p:nvPr/>
          </p:nvSpPr>
          <p:spPr>
            <a:xfrm>
              <a:off x="45040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7" name="Google Shape;10420;p65">
              <a:extLst>
                <a:ext uri="{FF2B5EF4-FFF2-40B4-BE49-F238E27FC236}">
                  <a16:creationId xmlns:a16="http://schemas.microsoft.com/office/drawing/2014/main" id="{36C22309-A97F-894E-00E0-77B933408B59}"/>
                </a:ext>
              </a:extLst>
            </p:cNvPr>
            <p:cNvSpPr/>
            <p:nvPr/>
          </p:nvSpPr>
          <p:spPr>
            <a:xfrm>
              <a:off x="4504050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8" name="Google Shape;10421;p65">
              <a:extLst>
                <a:ext uri="{FF2B5EF4-FFF2-40B4-BE49-F238E27FC236}">
                  <a16:creationId xmlns:a16="http://schemas.microsoft.com/office/drawing/2014/main" id="{385A232E-D603-82F3-E4E3-43D00A7D5346}"/>
                </a:ext>
              </a:extLst>
            </p:cNvPr>
            <p:cNvSpPr/>
            <p:nvPr/>
          </p:nvSpPr>
          <p:spPr>
            <a:xfrm>
              <a:off x="4504050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89" name="Google Shape;10422;p65">
              <a:extLst>
                <a:ext uri="{FF2B5EF4-FFF2-40B4-BE49-F238E27FC236}">
                  <a16:creationId xmlns:a16="http://schemas.microsoft.com/office/drawing/2014/main" id="{B706479F-4F7D-23F6-FAE4-85659A5BA082}"/>
                </a:ext>
              </a:extLst>
            </p:cNvPr>
            <p:cNvSpPr/>
            <p:nvPr/>
          </p:nvSpPr>
          <p:spPr>
            <a:xfrm>
              <a:off x="4504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0" name="Google Shape;10423;p65">
              <a:extLst>
                <a:ext uri="{FF2B5EF4-FFF2-40B4-BE49-F238E27FC236}">
                  <a16:creationId xmlns:a16="http://schemas.microsoft.com/office/drawing/2014/main" id="{CE9DBF9F-C4DB-AB2A-FA7B-0DCFA972FF44}"/>
                </a:ext>
              </a:extLst>
            </p:cNvPr>
            <p:cNvSpPr/>
            <p:nvPr/>
          </p:nvSpPr>
          <p:spPr>
            <a:xfrm>
              <a:off x="450405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1" name="Google Shape;10424;p65">
              <a:extLst>
                <a:ext uri="{FF2B5EF4-FFF2-40B4-BE49-F238E27FC236}">
                  <a16:creationId xmlns:a16="http://schemas.microsoft.com/office/drawing/2014/main" id="{E53B622F-0D18-CBE1-A8F6-DE616094FB89}"/>
                </a:ext>
              </a:extLst>
            </p:cNvPr>
            <p:cNvSpPr/>
            <p:nvPr/>
          </p:nvSpPr>
          <p:spPr>
            <a:xfrm>
              <a:off x="45040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2" name="Google Shape;10425;p65">
              <a:extLst>
                <a:ext uri="{FF2B5EF4-FFF2-40B4-BE49-F238E27FC236}">
                  <a16:creationId xmlns:a16="http://schemas.microsoft.com/office/drawing/2014/main" id="{D45B55E3-CD99-F095-49F4-6AA5E31675E8}"/>
                </a:ext>
              </a:extLst>
            </p:cNvPr>
            <p:cNvSpPr/>
            <p:nvPr/>
          </p:nvSpPr>
          <p:spPr>
            <a:xfrm>
              <a:off x="45802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3" name="Google Shape;10426;p65">
              <a:extLst>
                <a:ext uri="{FF2B5EF4-FFF2-40B4-BE49-F238E27FC236}">
                  <a16:creationId xmlns:a16="http://schemas.microsoft.com/office/drawing/2014/main" id="{DB49A7EF-B354-2C82-968B-209DC8412B52}"/>
                </a:ext>
              </a:extLst>
            </p:cNvPr>
            <p:cNvSpPr/>
            <p:nvPr/>
          </p:nvSpPr>
          <p:spPr>
            <a:xfrm>
              <a:off x="45802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4" name="Google Shape;10427;p65">
              <a:extLst>
                <a:ext uri="{FF2B5EF4-FFF2-40B4-BE49-F238E27FC236}">
                  <a16:creationId xmlns:a16="http://schemas.microsoft.com/office/drawing/2014/main" id="{8C13E449-C961-CAF7-E590-490253A48FB6}"/>
                </a:ext>
              </a:extLst>
            </p:cNvPr>
            <p:cNvSpPr/>
            <p:nvPr/>
          </p:nvSpPr>
          <p:spPr>
            <a:xfrm>
              <a:off x="45802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5" name="Google Shape;10428;p65">
              <a:extLst>
                <a:ext uri="{FF2B5EF4-FFF2-40B4-BE49-F238E27FC236}">
                  <a16:creationId xmlns:a16="http://schemas.microsoft.com/office/drawing/2014/main" id="{2A59AA5F-098C-E70E-25C9-13D29206F30F}"/>
                </a:ext>
              </a:extLst>
            </p:cNvPr>
            <p:cNvSpPr/>
            <p:nvPr/>
          </p:nvSpPr>
          <p:spPr>
            <a:xfrm>
              <a:off x="45802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6" name="Google Shape;10429;p65">
              <a:extLst>
                <a:ext uri="{FF2B5EF4-FFF2-40B4-BE49-F238E27FC236}">
                  <a16:creationId xmlns:a16="http://schemas.microsoft.com/office/drawing/2014/main" id="{D74430A2-F795-1096-0EC6-8C0B498CE31F}"/>
                </a:ext>
              </a:extLst>
            </p:cNvPr>
            <p:cNvSpPr/>
            <p:nvPr/>
          </p:nvSpPr>
          <p:spPr>
            <a:xfrm>
              <a:off x="45802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7" name="Google Shape;10430;p65">
              <a:extLst>
                <a:ext uri="{FF2B5EF4-FFF2-40B4-BE49-F238E27FC236}">
                  <a16:creationId xmlns:a16="http://schemas.microsoft.com/office/drawing/2014/main" id="{BF4CF936-E7E8-A722-D393-A3C925A25EE7}"/>
                </a:ext>
              </a:extLst>
            </p:cNvPr>
            <p:cNvSpPr/>
            <p:nvPr/>
          </p:nvSpPr>
          <p:spPr>
            <a:xfrm>
              <a:off x="45802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8" name="Google Shape;10431;p65">
              <a:extLst>
                <a:ext uri="{FF2B5EF4-FFF2-40B4-BE49-F238E27FC236}">
                  <a16:creationId xmlns:a16="http://schemas.microsoft.com/office/drawing/2014/main" id="{EA17FB3F-FD33-6232-6533-8EC40D939874}"/>
                </a:ext>
              </a:extLst>
            </p:cNvPr>
            <p:cNvSpPr/>
            <p:nvPr/>
          </p:nvSpPr>
          <p:spPr>
            <a:xfrm>
              <a:off x="45802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299" name="Google Shape;10432;p65">
              <a:extLst>
                <a:ext uri="{FF2B5EF4-FFF2-40B4-BE49-F238E27FC236}">
                  <a16:creationId xmlns:a16="http://schemas.microsoft.com/office/drawing/2014/main" id="{B4F5C05E-0B3E-9BC6-6233-6B0C187996D0}"/>
                </a:ext>
              </a:extLst>
            </p:cNvPr>
            <p:cNvSpPr/>
            <p:nvPr/>
          </p:nvSpPr>
          <p:spPr>
            <a:xfrm>
              <a:off x="45802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0" name="Google Shape;10433;p65">
              <a:extLst>
                <a:ext uri="{FF2B5EF4-FFF2-40B4-BE49-F238E27FC236}">
                  <a16:creationId xmlns:a16="http://schemas.microsoft.com/office/drawing/2014/main" id="{64034732-9620-FAF3-6D34-271264EF6445}"/>
                </a:ext>
              </a:extLst>
            </p:cNvPr>
            <p:cNvSpPr/>
            <p:nvPr/>
          </p:nvSpPr>
          <p:spPr>
            <a:xfrm>
              <a:off x="45802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1" name="Google Shape;10434;p65">
              <a:extLst>
                <a:ext uri="{FF2B5EF4-FFF2-40B4-BE49-F238E27FC236}">
                  <a16:creationId xmlns:a16="http://schemas.microsoft.com/office/drawing/2014/main" id="{1B68130B-6C60-A0D0-E80A-CB6BC8DF0773}"/>
                </a:ext>
              </a:extLst>
            </p:cNvPr>
            <p:cNvSpPr/>
            <p:nvPr/>
          </p:nvSpPr>
          <p:spPr>
            <a:xfrm>
              <a:off x="45802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2" name="Google Shape;10435;p65">
              <a:extLst>
                <a:ext uri="{FF2B5EF4-FFF2-40B4-BE49-F238E27FC236}">
                  <a16:creationId xmlns:a16="http://schemas.microsoft.com/office/drawing/2014/main" id="{121133C0-0020-31F3-E32D-70F97749D331}"/>
                </a:ext>
              </a:extLst>
            </p:cNvPr>
            <p:cNvSpPr/>
            <p:nvPr/>
          </p:nvSpPr>
          <p:spPr>
            <a:xfrm>
              <a:off x="45802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3" name="Google Shape;10436;p65">
              <a:extLst>
                <a:ext uri="{FF2B5EF4-FFF2-40B4-BE49-F238E27FC236}">
                  <a16:creationId xmlns:a16="http://schemas.microsoft.com/office/drawing/2014/main" id="{75DDDBE8-639C-D408-F2F9-E0113A6603DF}"/>
                </a:ext>
              </a:extLst>
            </p:cNvPr>
            <p:cNvSpPr/>
            <p:nvPr/>
          </p:nvSpPr>
          <p:spPr>
            <a:xfrm>
              <a:off x="45802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4" name="Google Shape;10437;p65">
              <a:extLst>
                <a:ext uri="{FF2B5EF4-FFF2-40B4-BE49-F238E27FC236}">
                  <a16:creationId xmlns:a16="http://schemas.microsoft.com/office/drawing/2014/main" id="{02E52ED8-40A9-71ED-6358-F6D9D51A0D0C}"/>
                </a:ext>
              </a:extLst>
            </p:cNvPr>
            <p:cNvSpPr/>
            <p:nvPr/>
          </p:nvSpPr>
          <p:spPr>
            <a:xfrm>
              <a:off x="465647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5" name="Google Shape;10438;p65">
              <a:extLst>
                <a:ext uri="{FF2B5EF4-FFF2-40B4-BE49-F238E27FC236}">
                  <a16:creationId xmlns:a16="http://schemas.microsoft.com/office/drawing/2014/main" id="{96F64A1B-1BA8-C0E3-6A54-ACC859F27109}"/>
                </a:ext>
              </a:extLst>
            </p:cNvPr>
            <p:cNvSpPr/>
            <p:nvPr/>
          </p:nvSpPr>
          <p:spPr>
            <a:xfrm>
              <a:off x="46564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6" name="Google Shape;10439;p65">
              <a:extLst>
                <a:ext uri="{FF2B5EF4-FFF2-40B4-BE49-F238E27FC236}">
                  <a16:creationId xmlns:a16="http://schemas.microsoft.com/office/drawing/2014/main" id="{CD1E5644-8A6A-6482-461F-7A207D3383C3}"/>
                </a:ext>
              </a:extLst>
            </p:cNvPr>
            <p:cNvSpPr/>
            <p:nvPr/>
          </p:nvSpPr>
          <p:spPr>
            <a:xfrm>
              <a:off x="46564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7" name="Google Shape;10440;p65">
              <a:extLst>
                <a:ext uri="{FF2B5EF4-FFF2-40B4-BE49-F238E27FC236}">
                  <a16:creationId xmlns:a16="http://schemas.microsoft.com/office/drawing/2014/main" id="{9DE014D9-5D03-5997-A03F-412544D3F4F3}"/>
                </a:ext>
              </a:extLst>
            </p:cNvPr>
            <p:cNvSpPr/>
            <p:nvPr/>
          </p:nvSpPr>
          <p:spPr>
            <a:xfrm>
              <a:off x="46564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8" name="Google Shape;10441;p65">
              <a:extLst>
                <a:ext uri="{FF2B5EF4-FFF2-40B4-BE49-F238E27FC236}">
                  <a16:creationId xmlns:a16="http://schemas.microsoft.com/office/drawing/2014/main" id="{31D13B69-C240-31B4-9D71-35FF7668693D}"/>
                </a:ext>
              </a:extLst>
            </p:cNvPr>
            <p:cNvSpPr/>
            <p:nvPr/>
          </p:nvSpPr>
          <p:spPr>
            <a:xfrm>
              <a:off x="465647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09" name="Google Shape;10442;p65">
              <a:extLst>
                <a:ext uri="{FF2B5EF4-FFF2-40B4-BE49-F238E27FC236}">
                  <a16:creationId xmlns:a16="http://schemas.microsoft.com/office/drawing/2014/main" id="{1CFF0DBD-7CDA-5024-70E3-399473C0055E}"/>
                </a:ext>
              </a:extLst>
            </p:cNvPr>
            <p:cNvSpPr/>
            <p:nvPr/>
          </p:nvSpPr>
          <p:spPr>
            <a:xfrm>
              <a:off x="46564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0" name="Google Shape;10443;p65">
              <a:extLst>
                <a:ext uri="{FF2B5EF4-FFF2-40B4-BE49-F238E27FC236}">
                  <a16:creationId xmlns:a16="http://schemas.microsoft.com/office/drawing/2014/main" id="{3E567BF3-97D0-6018-A8F4-51A4AD545BF4}"/>
                </a:ext>
              </a:extLst>
            </p:cNvPr>
            <p:cNvSpPr/>
            <p:nvPr/>
          </p:nvSpPr>
          <p:spPr>
            <a:xfrm>
              <a:off x="46564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1" name="Google Shape;10444;p65">
              <a:extLst>
                <a:ext uri="{FF2B5EF4-FFF2-40B4-BE49-F238E27FC236}">
                  <a16:creationId xmlns:a16="http://schemas.microsoft.com/office/drawing/2014/main" id="{B0B400A9-AD26-7CB5-E141-A72E0CEB6F98}"/>
                </a:ext>
              </a:extLst>
            </p:cNvPr>
            <p:cNvSpPr/>
            <p:nvPr/>
          </p:nvSpPr>
          <p:spPr>
            <a:xfrm>
              <a:off x="46564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2" name="Google Shape;10445;p65">
              <a:extLst>
                <a:ext uri="{FF2B5EF4-FFF2-40B4-BE49-F238E27FC236}">
                  <a16:creationId xmlns:a16="http://schemas.microsoft.com/office/drawing/2014/main" id="{185F699C-7F8F-724B-5518-D75BD1388C31}"/>
                </a:ext>
              </a:extLst>
            </p:cNvPr>
            <p:cNvSpPr/>
            <p:nvPr/>
          </p:nvSpPr>
          <p:spPr>
            <a:xfrm>
              <a:off x="46564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3" name="Google Shape;10446;p65">
              <a:extLst>
                <a:ext uri="{FF2B5EF4-FFF2-40B4-BE49-F238E27FC236}">
                  <a16:creationId xmlns:a16="http://schemas.microsoft.com/office/drawing/2014/main" id="{C879B8DE-382A-33D7-A077-6F5655CA2BB8}"/>
                </a:ext>
              </a:extLst>
            </p:cNvPr>
            <p:cNvSpPr/>
            <p:nvPr/>
          </p:nvSpPr>
          <p:spPr>
            <a:xfrm>
              <a:off x="46564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4" name="Google Shape;10447;p65">
              <a:extLst>
                <a:ext uri="{FF2B5EF4-FFF2-40B4-BE49-F238E27FC236}">
                  <a16:creationId xmlns:a16="http://schemas.microsoft.com/office/drawing/2014/main" id="{BEB85593-0E60-CE74-186D-6611DD1C897D}"/>
                </a:ext>
              </a:extLst>
            </p:cNvPr>
            <p:cNvSpPr/>
            <p:nvPr/>
          </p:nvSpPr>
          <p:spPr>
            <a:xfrm>
              <a:off x="46564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5" name="Google Shape;10448;p65">
              <a:extLst>
                <a:ext uri="{FF2B5EF4-FFF2-40B4-BE49-F238E27FC236}">
                  <a16:creationId xmlns:a16="http://schemas.microsoft.com/office/drawing/2014/main" id="{AAC2FA79-270B-1C91-A386-A697CE18909A}"/>
                </a:ext>
              </a:extLst>
            </p:cNvPr>
            <p:cNvSpPr/>
            <p:nvPr/>
          </p:nvSpPr>
          <p:spPr>
            <a:xfrm>
              <a:off x="46564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6" name="Google Shape;10449;p65">
              <a:extLst>
                <a:ext uri="{FF2B5EF4-FFF2-40B4-BE49-F238E27FC236}">
                  <a16:creationId xmlns:a16="http://schemas.microsoft.com/office/drawing/2014/main" id="{DD3EEE36-9682-DBE2-F564-FE883BF42E3A}"/>
                </a:ext>
              </a:extLst>
            </p:cNvPr>
            <p:cNvSpPr/>
            <p:nvPr/>
          </p:nvSpPr>
          <p:spPr>
            <a:xfrm>
              <a:off x="47324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7" name="Google Shape;10450;p65">
              <a:extLst>
                <a:ext uri="{FF2B5EF4-FFF2-40B4-BE49-F238E27FC236}">
                  <a16:creationId xmlns:a16="http://schemas.microsoft.com/office/drawing/2014/main" id="{48FC7694-68C9-533F-F851-58B0A14AF85A}"/>
                </a:ext>
              </a:extLst>
            </p:cNvPr>
            <p:cNvSpPr/>
            <p:nvPr/>
          </p:nvSpPr>
          <p:spPr>
            <a:xfrm>
              <a:off x="47324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8" name="Google Shape;10451;p65">
              <a:extLst>
                <a:ext uri="{FF2B5EF4-FFF2-40B4-BE49-F238E27FC236}">
                  <a16:creationId xmlns:a16="http://schemas.microsoft.com/office/drawing/2014/main" id="{052337A5-EDD8-583E-E97F-1EB4B30DD4E5}"/>
                </a:ext>
              </a:extLst>
            </p:cNvPr>
            <p:cNvSpPr/>
            <p:nvPr/>
          </p:nvSpPr>
          <p:spPr>
            <a:xfrm>
              <a:off x="4808700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19" name="Google Shape;10452;p65">
              <a:extLst>
                <a:ext uri="{FF2B5EF4-FFF2-40B4-BE49-F238E27FC236}">
                  <a16:creationId xmlns:a16="http://schemas.microsoft.com/office/drawing/2014/main" id="{0BC17097-3158-E6BA-A517-7C44F333B14D}"/>
                </a:ext>
              </a:extLst>
            </p:cNvPr>
            <p:cNvSpPr/>
            <p:nvPr/>
          </p:nvSpPr>
          <p:spPr>
            <a:xfrm>
              <a:off x="4808700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0" name="Google Shape;10453;p65">
              <a:extLst>
                <a:ext uri="{FF2B5EF4-FFF2-40B4-BE49-F238E27FC236}">
                  <a16:creationId xmlns:a16="http://schemas.microsoft.com/office/drawing/2014/main" id="{8E569BB5-3343-DF13-7B41-EBFB44FFB1B9}"/>
                </a:ext>
              </a:extLst>
            </p:cNvPr>
            <p:cNvSpPr/>
            <p:nvPr/>
          </p:nvSpPr>
          <p:spPr>
            <a:xfrm>
              <a:off x="4808700" y="164740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1" name="Google Shape;10454;p65">
              <a:extLst>
                <a:ext uri="{FF2B5EF4-FFF2-40B4-BE49-F238E27FC236}">
                  <a16:creationId xmlns:a16="http://schemas.microsoft.com/office/drawing/2014/main" id="{B7A845AF-4030-0832-6A83-141ACC6963AB}"/>
                </a:ext>
              </a:extLst>
            </p:cNvPr>
            <p:cNvSpPr/>
            <p:nvPr/>
          </p:nvSpPr>
          <p:spPr>
            <a:xfrm>
              <a:off x="4808700" y="172362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2" name="Google Shape;10455;p65">
              <a:extLst>
                <a:ext uri="{FF2B5EF4-FFF2-40B4-BE49-F238E27FC236}">
                  <a16:creationId xmlns:a16="http://schemas.microsoft.com/office/drawing/2014/main" id="{B55DF81E-E7AF-8577-D0B3-5326F761D3BE}"/>
                </a:ext>
              </a:extLst>
            </p:cNvPr>
            <p:cNvSpPr/>
            <p:nvPr/>
          </p:nvSpPr>
          <p:spPr>
            <a:xfrm>
              <a:off x="4808700" y="17998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3" name="Google Shape;10456;p65">
              <a:extLst>
                <a:ext uri="{FF2B5EF4-FFF2-40B4-BE49-F238E27FC236}">
                  <a16:creationId xmlns:a16="http://schemas.microsoft.com/office/drawing/2014/main" id="{19EA8D55-9BA2-96E7-642D-253BD1116371}"/>
                </a:ext>
              </a:extLst>
            </p:cNvPr>
            <p:cNvSpPr/>
            <p:nvPr/>
          </p:nvSpPr>
          <p:spPr>
            <a:xfrm>
              <a:off x="4808700" y="1876050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4" name="Google Shape;10457;p65">
              <a:extLst>
                <a:ext uri="{FF2B5EF4-FFF2-40B4-BE49-F238E27FC236}">
                  <a16:creationId xmlns:a16="http://schemas.microsoft.com/office/drawing/2014/main" id="{F64F0E5E-A786-CE67-2917-44EFE54CF5F2}"/>
                </a:ext>
              </a:extLst>
            </p:cNvPr>
            <p:cNvSpPr/>
            <p:nvPr/>
          </p:nvSpPr>
          <p:spPr>
            <a:xfrm>
              <a:off x="4808700" y="19520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5" name="Google Shape;10458;p65">
              <a:extLst>
                <a:ext uri="{FF2B5EF4-FFF2-40B4-BE49-F238E27FC236}">
                  <a16:creationId xmlns:a16="http://schemas.microsoft.com/office/drawing/2014/main" id="{C98F3009-5062-B9E3-2788-5DADCC3B99E1}"/>
                </a:ext>
              </a:extLst>
            </p:cNvPr>
            <p:cNvSpPr/>
            <p:nvPr/>
          </p:nvSpPr>
          <p:spPr>
            <a:xfrm>
              <a:off x="4808700" y="20282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6" name="Google Shape;10459;p65">
              <a:extLst>
                <a:ext uri="{FF2B5EF4-FFF2-40B4-BE49-F238E27FC236}">
                  <a16:creationId xmlns:a16="http://schemas.microsoft.com/office/drawing/2014/main" id="{0FFDBB59-E921-EACC-0837-68247EE621B5}"/>
                </a:ext>
              </a:extLst>
            </p:cNvPr>
            <p:cNvSpPr/>
            <p:nvPr/>
          </p:nvSpPr>
          <p:spPr>
            <a:xfrm>
              <a:off x="4808700" y="21045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7" name="Google Shape;10460;p65">
              <a:extLst>
                <a:ext uri="{FF2B5EF4-FFF2-40B4-BE49-F238E27FC236}">
                  <a16:creationId xmlns:a16="http://schemas.microsoft.com/office/drawing/2014/main" id="{D4DCAD8F-56C8-6770-B4A7-63A6D6737388}"/>
                </a:ext>
              </a:extLst>
            </p:cNvPr>
            <p:cNvSpPr/>
            <p:nvPr/>
          </p:nvSpPr>
          <p:spPr>
            <a:xfrm>
              <a:off x="4808700" y="21807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8" name="Google Shape;10461;p65">
              <a:extLst>
                <a:ext uri="{FF2B5EF4-FFF2-40B4-BE49-F238E27FC236}">
                  <a16:creationId xmlns:a16="http://schemas.microsoft.com/office/drawing/2014/main" id="{22D27BA5-AC1E-B0EE-C167-DF9A42DC4739}"/>
                </a:ext>
              </a:extLst>
            </p:cNvPr>
            <p:cNvSpPr/>
            <p:nvPr/>
          </p:nvSpPr>
          <p:spPr>
            <a:xfrm>
              <a:off x="48087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29" name="Google Shape;10462;p65">
              <a:extLst>
                <a:ext uri="{FF2B5EF4-FFF2-40B4-BE49-F238E27FC236}">
                  <a16:creationId xmlns:a16="http://schemas.microsoft.com/office/drawing/2014/main" id="{D6FAAB49-2DCE-B833-EAE0-EEAC48D899FB}"/>
                </a:ext>
              </a:extLst>
            </p:cNvPr>
            <p:cNvSpPr/>
            <p:nvPr/>
          </p:nvSpPr>
          <p:spPr>
            <a:xfrm>
              <a:off x="4808700" y="23331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0" name="Google Shape;10463;p65">
              <a:extLst>
                <a:ext uri="{FF2B5EF4-FFF2-40B4-BE49-F238E27FC236}">
                  <a16:creationId xmlns:a16="http://schemas.microsoft.com/office/drawing/2014/main" id="{7662CBE7-61AB-8FA8-EBD1-5B5AA4557750}"/>
                </a:ext>
              </a:extLst>
            </p:cNvPr>
            <p:cNvSpPr/>
            <p:nvPr/>
          </p:nvSpPr>
          <p:spPr>
            <a:xfrm>
              <a:off x="4808700" y="24093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1" name="Google Shape;10464;p65">
              <a:extLst>
                <a:ext uri="{FF2B5EF4-FFF2-40B4-BE49-F238E27FC236}">
                  <a16:creationId xmlns:a16="http://schemas.microsoft.com/office/drawing/2014/main" id="{34521FDD-4F9A-59E9-0A67-D297F9195A53}"/>
                </a:ext>
              </a:extLst>
            </p:cNvPr>
            <p:cNvSpPr/>
            <p:nvPr/>
          </p:nvSpPr>
          <p:spPr>
            <a:xfrm>
              <a:off x="4808700" y="2485550"/>
              <a:ext cx="62400" cy="53300"/>
            </a:xfrm>
            <a:custGeom>
              <a:avLst/>
              <a:gdLst/>
              <a:ahLst/>
              <a:cxnLst/>
              <a:rect l="l" t="t" r="r" b="b"/>
              <a:pathLst>
                <a:path w="2496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2" name="Google Shape;10465;p65">
              <a:extLst>
                <a:ext uri="{FF2B5EF4-FFF2-40B4-BE49-F238E27FC236}">
                  <a16:creationId xmlns:a16="http://schemas.microsoft.com/office/drawing/2014/main" id="{0F805104-A9C6-5D32-09F0-DDD607069817}"/>
                </a:ext>
              </a:extLst>
            </p:cNvPr>
            <p:cNvSpPr/>
            <p:nvPr/>
          </p:nvSpPr>
          <p:spPr>
            <a:xfrm>
              <a:off x="48849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3" name="Google Shape;10466;p65">
              <a:extLst>
                <a:ext uri="{FF2B5EF4-FFF2-40B4-BE49-F238E27FC236}">
                  <a16:creationId xmlns:a16="http://schemas.microsoft.com/office/drawing/2014/main" id="{D28E9D8C-DE10-5618-5CEF-6E3C62B569C3}"/>
                </a:ext>
              </a:extLst>
            </p:cNvPr>
            <p:cNvSpPr/>
            <p:nvPr/>
          </p:nvSpPr>
          <p:spPr>
            <a:xfrm>
              <a:off x="48849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4" name="Google Shape;10467;p65">
              <a:extLst>
                <a:ext uri="{FF2B5EF4-FFF2-40B4-BE49-F238E27FC236}">
                  <a16:creationId xmlns:a16="http://schemas.microsoft.com/office/drawing/2014/main" id="{AAFC2872-52D9-5027-BDE6-62985D42F167}"/>
                </a:ext>
              </a:extLst>
            </p:cNvPr>
            <p:cNvSpPr/>
            <p:nvPr/>
          </p:nvSpPr>
          <p:spPr>
            <a:xfrm>
              <a:off x="48849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5" name="Google Shape;10468;p65">
              <a:extLst>
                <a:ext uri="{FF2B5EF4-FFF2-40B4-BE49-F238E27FC236}">
                  <a16:creationId xmlns:a16="http://schemas.microsoft.com/office/drawing/2014/main" id="{A56DDD05-1924-3AC3-442D-8BA60B24A3E2}"/>
                </a:ext>
              </a:extLst>
            </p:cNvPr>
            <p:cNvSpPr/>
            <p:nvPr/>
          </p:nvSpPr>
          <p:spPr>
            <a:xfrm>
              <a:off x="48849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6" name="Google Shape;10469;p65">
              <a:extLst>
                <a:ext uri="{FF2B5EF4-FFF2-40B4-BE49-F238E27FC236}">
                  <a16:creationId xmlns:a16="http://schemas.microsoft.com/office/drawing/2014/main" id="{6B1EDFA2-3A5E-C1BF-1B90-7CA35BC385A0}"/>
                </a:ext>
              </a:extLst>
            </p:cNvPr>
            <p:cNvSpPr/>
            <p:nvPr/>
          </p:nvSpPr>
          <p:spPr>
            <a:xfrm>
              <a:off x="48849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7" name="Google Shape;10470;p65">
              <a:extLst>
                <a:ext uri="{FF2B5EF4-FFF2-40B4-BE49-F238E27FC236}">
                  <a16:creationId xmlns:a16="http://schemas.microsoft.com/office/drawing/2014/main" id="{71404A04-6B50-5DC0-9924-C5D3F69A4A16}"/>
                </a:ext>
              </a:extLst>
            </p:cNvPr>
            <p:cNvSpPr/>
            <p:nvPr/>
          </p:nvSpPr>
          <p:spPr>
            <a:xfrm>
              <a:off x="4884900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8" name="Google Shape;10471;p65">
              <a:extLst>
                <a:ext uri="{FF2B5EF4-FFF2-40B4-BE49-F238E27FC236}">
                  <a16:creationId xmlns:a16="http://schemas.microsoft.com/office/drawing/2014/main" id="{0AA4FCDA-BEB8-BF77-C9D4-71C4363475D1}"/>
                </a:ext>
              </a:extLst>
            </p:cNvPr>
            <p:cNvSpPr/>
            <p:nvPr/>
          </p:nvSpPr>
          <p:spPr>
            <a:xfrm>
              <a:off x="48849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3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39" name="Google Shape;10472;p65">
              <a:extLst>
                <a:ext uri="{FF2B5EF4-FFF2-40B4-BE49-F238E27FC236}">
                  <a16:creationId xmlns:a16="http://schemas.microsoft.com/office/drawing/2014/main" id="{7F47735C-D001-C0B9-1E37-CEF99467499C}"/>
                </a:ext>
              </a:extLst>
            </p:cNvPr>
            <p:cNvSpPr/>
            <p:nvPr/>
          </p:nvSpPr>
          <p:spPr>
            <a:xfrm>
              <a:off x="48849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0" name="Google Shape;10473;p65">
              <a:extLst>
                <a:ext uri="{FF2B5EF4-FFF2-40B4-BE49-F238E27FC236}">
                  <a16:creationId xmlns:a16="http://schemas.microsoft.com/office/drawing/2014/main" id="{909E2257-867F-E3CF-736D-34D84FFDFDCE}"/>
                </a:ext>
              </a:extLst>
            </p:cNvPr>
            <p:cNvSpPr/>
            <p:nvPr/>
          </p:nvSpPr>
          <p:spPr>
            <a:xfrm>
              <a:off x="48849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1" name="Google Shape;10474;p65">
              <a:extLst>
                <a:ext uri="{FF2B5EF4-FFF2-40B4-BE49-F238E27FC236}">
                  <a16:creationId xmlns:a16="http://schemas.microsoft.com/office/drawing/2014/main" id="{B294D710-9F9B-38CD-3217-EA2BF2E9FDFE}"/>
                </a:ext>
              </a:extLst>
            </p:cNvPr>
            <p:cNvSpPr/>
            <p:nvPr/>
          </p:nvSpPr>
          <p:spPr>
            <a:xfrm>
              <a:off x="48849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2" name="Google Shape;10475;p65">
              <a:extLst>
                <a:ext uri="{FF2B5EF4-FFF2-40B4-BE49-F238E27FC236}">
                  <a16:creationId xmlns:a16="http://schemas.microsoft.com/office/drawing/2014/main" id="{2E8185AD-9C87-23C5-942F-339D8BA04738}"/>
                </a:ext>
              </a:extLst>
            </p:cNvPr>
            <p:cNvSpPr/>
            <p:nvPr/>
          </p:nvSpPr>
          <p:spPr>
            <a:xfrm>
              <a:off x="48849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3" name="Google Shape;10476;p65">
              <a:extLst>
                <a:ext uri="{FF2B5EF4-FFF2-40B4-BE49-F238E27FC236}">
                  <a16:creationId xmlns:a16="http://schemas.microsoft.com/office/drawing/2014/main" id="{4E3F04E6-B852-D1A8-8AB9-793FFADB494E}"/>
                </a:ext>
              </a:extLst>
            </p:cNvPr>
            <p:cNvSpPr/>
            <p:nvPr/>
          </p:nvSpPr>
          <p:spPr>
            <a:xfrm>
              <a:off x="48849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4" name="Google Shape;10477;p65">
              <a:extLst>
                <a:ext uri="{FF2B5EF4-FFF2-40B4-BE49-F238E27FC236}">
                  <a16:creationId xmlns:a16="http://schemas.microsoft.com/office/drawing/2014/main" id="{6D08EEBB-E551-4460-B0B9-FB3F224BA7BA}"/>
                </a:ext>
              </a:extLst>
            </p:cNvPr>
            <p:cNvSpPr/>
            <p:nvPr/>
          </p:nvSpPr>
          <p:spPr>
            <a:xfrm>
              <a:off x="48849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5" name="Google Shape;10478;p65">
              <a:extLst>
                <a:ext uri="{FF2B5EF4-FFF2-40B4-BE49-F238E27FC236}">
                  <a16:creationId xmlns:a16="http://schemas.microsoft.com/office/drawing/2014/main" id="{CB00AF97-88F1-FD90-02B6-928904F36D8B}"/>
                </a:ext>
              </a:extLst>
            </p:cNvPr>
            <p:cNvSpPr/>
            <p:nvPr/>
          </p:nvSpPr>
          <p:spPr>
            <a:xfrm>
              <a:off x="48849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6" name="Google Shape;10479;p65">
              <a:extLst>
                <a:ext uri="{FF2B5EF4-FFF2-40B4-BE49-F238E27FC236}">
                  <a16:creationId xmlns:a16="http://schemas.microsoft.com/office/drawing/2014/main" id="{EB8936E7-52F5-B2CB-D8D4-36C3DAEC951C}"/>
                </a:ext>
              </a:extLst>
            </p:cNvPr>
            <p:cNvSpPr/>
            <p:nvPr/>
          </p:nvSpPr>
          <p:spPr>
            <a:xfrm>
              <a:off x="48849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39"/>
                    <a:pt x="1822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7" name="Google Shape;10480;p65">
              <a:extLst>
                <a:ext uri="{FF2B5EF4-FFF2-40B4-BE49-F238E27FC236}">
                  <a16:creationId xmlns:a16="http://schemas.microsoft.com/office/drawing/2014/main" id="{8050337F-3596-F5F1-8FEA-BAADDD10A946}"/>
                </a:ext>
              </a:extLst>
            </p:cNvPr>
            <p:cNvSpPr/>
            <p:nvPr/>
          </p:nvSpPr>
          <p:spPr>
            <a:xfrm>
              <a:off x="49611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8" name="Google Shape;10481;p65">
              <a:extLst>
                <a:ext uri="{FF2B5EF4-FFF2-40B4-BE49-F238E27FC236}">
                  <a16:creationId xmlns:a16="http://schemas.microsoft.com/office/drawing/2014/main" id="{EFE6C538-8490-0253-587B-A8E2C91AF1BD}"/>
                </a:ext>
              </a:extLst>
            </p:cNvPr>
            <p:cNvSpPr/>
            <p:nvPr/>
          </p:nvSpPr>
          <p:spPr>
            <a:xfrm>
              <a:off x="49611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49" name="Google Shape;10482;p65">
              <a:extLst>
                <a:ext uri="{FF2B5EF4-FFF2-40B4-BE49-F238E27FC236}">
                  <a16:creationId xmlns:a16="http://schemas.microsoft.com/office/drawing/2014/main" id="{6B0E97E3-46FB-B374-FD72-122FF0D57296}"/>
                </a:ext>
              </a:extLst>
            </p:cNvPr>
            <p:cNvSpPr/>
            <p:nvPr/>
          </p:nvSpPr>
          <p:spPr>
            <a:xfrm>
              <a:off x="49611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0" name="Google Shape;10483;p65">
              <a:extLst>
                <a:ext uri="{FF2B5EF4-FFF2-40B4-BE49-F238E27FC236}">
                  <a16:creationId xmlns:a16="http://schemas.microsoft.com/office/drawing/2014/main" id="{43269725-32F5-4390-694D-DBAF759171D5}"/>
                </a:ext>
              </a:extLst>
            </p:cNvPr>
            <p:cNvSpPr/>
            <p:nvPr/>
          </p:nvSpPr>
          <p:spPr>
            <a:xfrm>
              <a:off x="49611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1" name="Google Shape;10484;p65">
              <a:extLst>
                <a:ext uri="{FF2B5EF4-FFF2-40B4-BE49-F238E27FC236}">
                  <a16:creationId xmlns:a16="http://schemas.microsoft.com/office/drawing/2014/main" id="{E8616881-0C6D-9146-06C8-8C6BC204AAF1}"/>
                </a:ext>
              </a:extLst>
            </p:cNvPr>
            <p:cNvSpPr/>
            <p:nvPr/>
          </p:nvSpPr>
          <p:spPr>
            <a:xfrm>
              <a:off x="49611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2" name="Google Shape;10485;p65">
              <a:extLst>
                <a:ext uri="{FF2B5EF4-FFF2-40B4-BE49-F238E27FC236}">
                  <a16:creationId xmlns:a16="http://schemas.microsoft.com/office/drawing/2014/main" id="{1C98B281-C8CD-03AD-2999-0A7FBCA8D686}"/>
                </a:ext>
              </a:extLst>
            </p:cNvPr>
            <p:cNvSpPr/>
            <p:nvPr/>
          </p:nvSpPr>
          <p:spPr>
            <a:xfrm>
              <a:off x="49611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3" name="Google Shape;10486;p65">
              <a:extLst>
                <a:ext uri="{FF2B5EF4-FFF2-40B4-BE49-F238E27FC236}">
                  <a16:creationId xmlns:a16="http://schemas.microsoft.com/office/drawing/2014/main" id="{BF0CD3B5-29C5-1127-A9A4-3D0C00AE81BD}"/>
                </a:ext>
              </a:extLst>
            </p:cNvPr>
            <p:cNvSpPr/>
            <p:nvPr/>
          </p:nvSpPr>
          <p:spPr>
            <a:xfrm>
              <a:off x="49611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4" name="Google Shape;10487;p65">
              <a:extLst>
                <a:ext uri="{FF2B5EF4-FFF2-40B4-BE49-F238E27FC236}">
                  <a16:creationId xmlns:a16="http://schemas.microsoft.com/office/drawing/2014/main" id="{0B380F67-A007-8A80-99E1-9C6313CE3CCD}"/>
                </a:ext>
              </a:extLst>
            </p:cNvPr>
            <p:cNvSpPr/>
            <p:nvPr/>
          </p:nvSpPr>
          <p:spPr>
            <a:xfrm>
              <a:off x="49611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5" name="Google Shape;10488;p65">
              <a:extLst>
                <a:ext uri="{FF2B5EF4-FFF2-40B4-BE49-F238E27FC236}">
                  <a16:creationId xmlns:a16="http://schemas.microsoft.com/office/drawing/2014/main" id="{DA5CE67F-F828-2729-6C32-A13CF22530F2}"/>
                </a:ext>
              </a:extLst>
            </p:cNvPr>
            <p:cNvSpPr/>
            <p:nvPr/>
          </p:nvSpPr>
          <p:spPr>
            <a:xfrm>
              <a:off x="49611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6" name="Google Shape;10489;p65">
              <a:extLst>
                <a:ext uri="{FF2B5EF4-FFF2-40B4-BE49-F238E27FC236}">
                  <a16:creationId xmlns:a16="http://schemas.microsoft.com/office/drawing/2014/main" id="{4F063B35-4F5E-8D02-B98B-692C8855621C}"/>
                </a:ext>
              </a:extLst>
            </p:cNvPr>
            <p:cNvSpPr/>
            <p:nvPr/>
          </p:nvSpPr>
          <p:spPr>
            <a:xfrm>
              <a:off x="496112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7" name="Google Shape;10490;p65">
              <a:extLst>
                <a:ext uri="{FF2B5EF4-FFF2-40B4-BE49-F238E27FC236}">
                  <a16:creationId xmlns:a16="http://schemas.microsoft.com/office/drawing/2014/main" id="{DB48EADA-CA77-B5BC-788E-B7450A723F06}"/>
                </a:ext>
              </a:extLst>
            </p:cNvPr>
            <p:cNvSpPr/>
            <p:nvPr/>
          </p:nvSpPr>
          <p:spPr>
            <a:xfrm>
              <a:off x="49611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8" name="Google Shape;10491;p65">
              <a:extLst>
                <a:ext uri="{FF2B5EF4-FFF2-40B4-BE49-F238E27FC236}">
                  <a16:creationId xmlns:a16="http://schemas.microsoft.com/office/drawing/2014/main" id="{950664C5-0FCE-7293-7D3F-5E9FEC9E308C}"/>
                </a:ext>
              </a:extLst>
            </p:cNvPr>
            <p:cNvSpPr/>
            <p:nvPr/>
          </p:nvSpPr>
          <p:spPr>
            <a:xfrm>
              <a:off x="49611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59" name="Google Shape;10492;p65">
              <a:extLst>
                <a:ext uri="{FF2B5EF4-FFF2-40B4-BE49-F238E27FC236}">
                  <a16:creationId xmlns:a16="http://schemas.microsoft.com/office/drawing/2014/main" id="{269AD25C-8D69-7A2A-E694-5607DD8CF36C}"/>
                </a:ext>
              </a:extLst>
            </p:cNvPr>
            <p:cNvSpPr/>
            <p:nvPr/>
          </p:nvSpPr>
          <p:spPr>
            <a:xfrm>
              <a:off x="49611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0" name="Google Shape;10493;p65">
              <a:extLst>
                <a:ext uri="{FF2B5EF4-FFF2-40B4-BE49-F238E27FC236}">
                  <a16:creationId xmlns:a16="http://schemas.microsoft.com/office/drawing/2014/main" id="{197971A2-1C37-F273-7EDA-6F4BC88B2ADE}"/>
                </a:ext>
              </a:extLst>
            </p:cNvPr>
            <p:cNvSpPr/>
            <p:nvPr/>
          </p:nvSpPr>
          <p:spPr>
            <a:xfrm>
              <a:off x="49611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1" name="Google Shape;10494;p65">
              <a:extLst>
                <a:ext uri="{FF2B5EF4-FFF2-40B4-BE49-F238E27FC236}">
                  <a16:creationId xmlns:a16="http://schemas.microsoft.com/office/drawing/2014/main" id="{B213C9C8-6BC3-CE2D-E358-E6C40D30470B}"/>
                </a:ext>
              </a:extLst>
            </p:cNvPr>
            <p:cNvSpPr/>
            <p:nvPr/>
          </p:nvSpPr>
          <p:spPr>
            <a:xfrm>
              <a:off x="50373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2" name="Google Shape;10495;p65">
              <a:extLst>
                <a:ext uri="{FF2B5EF4-FFF2-40B4-BE49-F238E27FC236}">
                  <a16:creationId xmlns:a16="http://schemas.microsoft.com/office/drawing/2014/main" id="{7D33EE79-3584-2FC4-7877-339BFC453166}"/>
                </a:ext>
              </a:extLst>
            </p:cNvPr>
            <p:cNvSpPr/>
            <p:nvPr/>
          </p:nvSpPr>
          <p:spPr>
            <a:xfrm>
              <a:off x="50373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3" name="Google Shape;10496;p65">
              <a:extLst>
                <a:ext uri="{FF2B5EF4-FFF2-40B4-BE49-F238E27FC236}">
                  <a16:creationId xmlns:a16="http://schemas.microsoft.com/office/drawing/2014/main" id="{BE13ED37-0905-D31F-3372-8C7F85CDB84C}"/>
                </a:ext>
              </a:extLst>
            </p:cNvPr>
            <p:cNvSpPr/>
            <p:nvPr/>
          </p:nvSpPr>
          <p:spPr>
            <a:xfrm>
              <a:off x="50373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4" name="Google Shape;10497;p65">
              <a:extLst>
                <a:ext uri="{FF2B5EF4-FFF2-40B4-BE49-F238E27FC236}">
                  <a16:creationId xmlns:a16="http://schemas.microsoft.com/office/drawing/2014/main" id="{15EADB4B-93C4-E952-2772-451FAE828F00}"/>
                </a:ext>
              </a:extLst>
            </p:cNvPr>
            <p:cNvSpPr/>
            <p:nvPr/>
          </p:nvSpPr>
          <p:spPr>
            <a:xfrm>
              <a:off x="50373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5" name="Google Shape;10498;p65">
              <a:extLst>
                <a:ext uri="{FF2B5EF4-FFF2-40B4-BE49-F238E27FC236}">
                  <a16:creationId xmlns:a16="http://schemas.microsoft.com/office/drawing/2014/main" id="{2692415C-FB56-6E3D-C818-48350A5BA9CD}"/>
                </a:ext>
              </a:extLst>
            </p:cNvPr>
            <p:cNvSpPr/>
            <p:nvPr/>
          </p:nvSpPr>
          <p:spPr>
            <a:xfrm>
              <a:off x="50373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6" name="Google Shape;10499;p65">
              <a:extLst>
                <a:ext uri="{FF2B5EF4-FFF2-40B4-BE49-F238E27FC236}">
                  <a16:creationId xmlns:a16="http://schemas.microsoft.com/office/drawing/2014/main" id="{3659A28D-74DE-9EAA-0688-F19380FE149A}"/>
                </a:ext>
              </a:extLst>
            </p:cNvPr>
            <p:cNvSpPr/>
            <p:nvPr/>
          </p:nvSpPr>
          <p:spPr>
            <a:xfrm>
              <a:off x="50373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7" name="Google Shape;10500;p65">
              <a:extLst>
                <a:ext uri="{FF2B5EF4-FFF2-40B4-BE49-F238E27FC236}">
                  <a16:creationId xmlns:a16="http://schemas.microsoft.com/office/drawing/2014/main" id="{BB36C577-5646-CCF4-2268-8729ED3D7E17}"/>
                </a:ext>
              </a:extLst>
            </p:cNvPr>
            <p:cNvSpPr/>
            <p:nvPr/>
          </p:nvSpPr>
          <p:spPr>
            <a:xfrm>
              <a:off x="50373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8" name="Google Shape;10501;p65">
              <a:extLst>
                <a:ext uri="{FF2B5EF4-FFF2-40B4-BE49-F238E27FC236}">
                  <a16:creationId xmlns:a16="http://schemas.microsoft.com/office/drawing/2014/main" id="{0F845678-179A-BBA3-39BE-3EB61BF35AB4}"/>
                </a:ext>
              </a:extLst>
            </p:cNvPr>
            <p:cNvSpPr/>
            <p:nvPr/>
          </p:nvSpPr>
          <p:spPr>
            <a:xfrm>
              <a:off x="50373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69" name="Google Shape;10502;p65">
              <a:extLst>
                <a:ext uri="{FF2B5EF4-FFF2-40B4-BE49-F238E27FC236}">
                  <a16:creationId xmlns:a16="http://schemas.microsoft.com/office/drawing/2014/main" id="{E265A44A-A2C7-CAD8-8AA0-801D5497FA85}"/>
                </a:ext>
              </a:extLst>
            </p:cNvPr>
            <p:cNvSpPr/>
            <p:nvPr/>
          </p:nvSpPr>
          <p:spPr>
            <a:xfrm>
              <a:off x="50373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0" name="Google Shape;10503;p65">
              <a:extLst>
                <a:ext uri="{FF2B5EF4-FFF2-40B4-BE49-F238E27FC236}">
                  <a16:creationId xmlns:a16="http://schemas.microsoft.com/office/drawing/2014/main" id="{ADA6FB74-E365-162A-1B86-ACFE20FCC84D}"/>
                </a:ext>
              </a:extLst>
            </p:cNvPr>
            <p:cNvSpPr/>
            <p:nvPr/>
          </p:nvSpPr>
          <p:spPr>
            <a:xfrm>
              <a:off x="50373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1" name="Google Shape;10504;p65">
              <a:extLst>
                <a:ext uri="{FF2B5EF4-FFF2-40B4-BE49-F238E27FC236}">
                  <a16:creationId xmlns:a16="http://schemas.microsoft.com/office/drawing/2014/main" id="{1E57EEE0-4544-67A2-174C-F575F8894895}"/>
                </a:ext>
              </a:extLst>
            </p:cNvPr>
            <p:cNvSpPr/>
            <p:nvPr/>
          </p:nvSpPr>
          <p:spPr>
            <a:xfrm>
              <a:off x="50373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2" name="Google Shape;10505;p65">
              <a:extLst>
                <a:ext uri="{FF2B5EF4-FFF2-40B4-BE49-F238E27FC236}">
                  <a16:creationId xmlns:a16="http://schemas.microsoft.com/office/drawing/2014/main" id="{B195CFFE-AEE6-EE8A-3349-D34052DD2E4D}"/>
                </a:ext>
              </a:extLst>
            </p:cNvPr>
            <p:cNvSpPr/>
            <p:nvPr/>
          </p:nvSpPr>
          <p:spPr>
            <a:xfrm>
              <a:off x="50373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3" name="Google Shape;10506;p65">
              <a:extLst>
                <a:ext uri="{FF2B5EF4-FFF2-40B4-BE49-F238E27FC236}">
                  <a16:creationId xmlns:a16="http://schemas.microsoft.com/office/drawing/2014/main" id="{5D0FEB4D-0117-D31A-0E2B-79E23D4B037D}"/>
                </a:ext>
              </a:extLst>
            </p:cNvPr>
            <p:cNvSpPr/>
            <p:nvPr/>
          </p:nvSpPr>
          <p:spPr>
            <a:xfrm>
              <a:off x="50373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67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4" name="Google Shape;10507;p65">
              <a:extLst>
                <a:ext uri="{FF2B5EF4-FFF2-40B4-BE49-F238E27FC236}">
                  <a16:creationId xmlns:a16="http://schemas.microsoft.com/office/drawing/2014/main" id="{EC8C199A-8132-5790-00AB-BDA38F8A3E07}"/>
                </a:ext>
              </a:extLst>
            </p:cNvPr>
            <p:cNvSpPr/>
            <p:nvPr/>
          </p:nvSpPr>
          <p:spPr>
            <a:xfrm>
              <a:off x="50373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8" y="1154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5" name="Google Shape;10508;p65">
              <a:extLst>
                <a:ext uri="{FF2B5EF4-FFF2-40B4-BE49-F238E27FC236}">
                  <a16:creationId xmlns:a16="http://schemas.microsoft.com/office/drawing/2014/main" id="{CFE58E57-8837-830B-F5D8-5F170C789F1B}"/>
                </a:ext>
              </a:extLst>
            </p:cNvPr>
            <p:cNvSpPr/>
            <p:nvPr/>
          </p:nvSpPr>
          <p:spPr>
            <a:xfrm>
              <a:off x="511335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8"/>
                    <a:pt x="8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6" name="Google Shape;10509;p65">
              <a:extLst>
                <a:ext uri="{FF2B5EF4-FFF2-40B4-BE49-F238E27FC236}">
                  <a16:creationId xmlns:a16="http://schemas.microsoft.com/office/drawing/2014/main" id="{972ACAC0-9001-322F-424E-B6A8E5C7775A}"/>
                </a:ext>
              </a:extLst>
            </p:cNvPr>
            <p:cNvSpPr/>
            <p:nvPr/>
          </p:nvSpPr>
          <p:spPr>
            <a:xfrm>
              <a:off x="511335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8" y="2137"/>
                    <a:pt x="1076" y="2137"/>
                  </a:cubicBezTo>
                  <a:cubicBezTo>
                    <a:pt x="1339" y="2137"/>
                    <a:pt x="1605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7" name="Google Shape;10510;p65">
              <a:extLst>
                <a:ext uri="{FF2B5EF4-FFF2-40B4-BE49-F238E27FC236}">
                  <a16:creationId xmlns:a16="http://schemas.microsoft.com/office/drawing/2014/main" id="{DD8A3883-8C41-E59F-D8DC-1F8A66DF2960}"/>
                </a:ext>
              </a:extLst>
            </p:cNvPr>
            <p:cNvSpPr/>
            <p:nvPr/>
          </p:nvSpPr>
          <p:spPr>
            <a:xfrm>
              <a:off x="51895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8" name="Google Shape;10511;p65">
              <a:extLst>
                <a:ext uri="{FF2B5EF4-FFF2-40B4-BE49-F238E27FC236}">
                  <a16:creationId xmlns:a16="http://schemas.microsoft.com/office/drawing/2014/main" id="{E9E15EA0-75E0-A4ED-A97F-4BCB39478A13}"/>
                </a:ext>
              </a:extLst>
            </p:cNvPr>
            <p:cNvSpPr/>
            <p:nvPr/>
          </p:nvSpPr>
          <p:spPr>
            <a:xfrm>
              <a:off x="51895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79" name="Google Shape;10512;p65">
              <a:extLst>
                <a:ext uri="{FF2B5EF4-FFF2-40B4-BE49-F238E27FC236}">
                  <a16:creationId xmlns:a16="http://schemas.microsoft.com/office/drawing/2014/main" id="{24177D2F-ED4A-6F7D-155B-0000A2B5206C}"/>
                </a:ext>
              </a:extLst>
            </p:cNvPr>
            <p:cNvSpPr/>
            <p:nvPr/>
          </p:nvSpPr>
          <p:spPr>
            <a:xfrm>
              <a:off x="5189550" y="157140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51" y="0"/>
                  </a:moveTo>
                  <a:cubicBezTo>
                    <a:pt x="472" y="0"/>
                    <a:pt x="1" y="477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ubicBezTo>
                    <a:pt x="1061" y="1"/>
                    <a:pt x="1056" y="0"/>
                    <a:pt x="105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0" name="Google Shape;10513;p65">
              <a:extLst>
                <a:ext uri="{FF2B5EF4-FFF2-40B4-BE49-F238E27FC236}">
                  <a16:creationId xmlns:a16="http://schemas.microsoft.com/office/drawing/2014/main" id="{8CD1730E-D90D-5BCB-29C3-481A24C7CDF5}"/>
                </a:ext>
              </a:extLst>
            </p:cNvPr>
            <p:cNvSpPr/>
            <p:nvPr/>
          </p:nvSpPr>
          <p:spPr>
            <a:xfrm>
              <a:off x="51895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8"/>
                    <a:pt x="1068" y="2138"/>
                  </a:cubicBezTo>
                  <a:cubicBezTo>
                    <a:pt x="1329" y="2138"/>
                    <a:pt x="1596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1" name="Google Shape;10514;p65">
              <a:extLst>
                <a:ext uri="{FF2B5EF4-FFF2-40B4-BE49-F238E27FC236}">
                  <a16:creationId xmlns:a16="http://schemas.microsoft.com/office/drawing/2014/main" id="{10FAE30A-7AE4-5093-7E51-F7CC0347B00B}"/>
                </a:ext>
              </a:extLst>
            </p:cNvPr>
            <p:cNvSpPr/>
            <p:nvPr/>
          </p:nvSpPr>
          <p:spPr>
            <a:xfrm>
              <a:off x="51895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2" name="Google Shape;10515;p65">
              <a:extLst>
                <a:ext uri="{FF2B5EF4-FFF2-40B4-BE49-F238E27FC236}">
                  <a16:creationId xmlns:a16="http://schemas.microsoft.com/office/drawing/2014/main" id="{364E5BAD-EBE5-ED4E-F421-FEB2D559A9B3}"/>
                </a:ext>
              </a:extLst>
            </p:cNvPr>
            <p:cNvSpPr/>
            <p:nvPr/>
          </p:nvSpPr>
          <p:spPr>
            <a:xfrm>
              <a:off x="51895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3" name="Google Shape;10516;p65">
              <a:extLst>
                <a:ext uri="{FF2B5EF4-FFF2-40B4-BE49-F238E27FC236}">
                  <a16:creationId xmlns:a16="http://schemas.microsoft.com/office/drawing/2014/main" id="{BA4C5E59-7880-B5F6-1DC0-AB6EE1547E22}"/>
                </a:ext>
              </a:extLst>
            </p:cNvPr>
            <p:cNvSpPr/>
            <p:nvPr/>
          </p:nvSpPr>
          <p:spPr>
            <a:xfrm>
              <a:off x="518955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4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4" name="Google Shape;10517;p65">
              <a:extLst>
                <a:ext uri="{FF2B5EF4-FFF2-40B4-BE49-F238E27FC236}">
                  <a16:creationId xmlns:a16="http://schemas.microsoft.com/office/drawing/2014/main" id="{CB8D95F1-BCAF-9716-FE15-C9409096056B}"/>
                </a:ext>
              </a:extLst>
            </p:cNvPr>
            <p:cNvSpPr/>
            <p:nvPr/>
          </p:nvSpPr>
          <p:spPr>
            <a:xfrm>
              <a:off x="51895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5" name="Google Shape;10518;p65">
              <a:extLst>
                <a:ext uri="{FF2B5EF4-FFF2-40B4-BE49-F238E27FC236}">
                  <a16:creationId xmlns:a16="http://schemas.microsoft.com/office/drawing/2014/main" id="{1B7FD5B1-2EE2-A6EB-5BF1-9B4955D5D92A}"/>
                </a:ext>
              </a:extLst>
            </p:cNvPr>
            <p:cNvSpPr/>
            <p:nvPr/>
          </p:nvSpPr>
          <p:spPr>
            <a:xfrm>
              <a:off x="5189550" y="20282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6" name="Google Shape;10519;p65">
              <a:extLst>
                <a:ext uri="{FF2B5EF4-FFF2-40B4-BE49-F238E27FC236}">
                  <a16:creationId xmlns:a16="http://schemas.microsoft.com/office/drawing/2014/main" id="{0F34B757-4C24-75C4-0A9C-295305E48D05}"/>
                </a:ext>
              </a:extLst>
            </p:cNvPr>
            <p:cNvSpPr/>
            <p:nvPr/>
          </p:nvSpPr>
          <p:spPr>
            <a:xfrm>
              <a:off x="51895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7" name="Google Shape;10520;p65">
              <a:extLst>
                <a:ext uri="{FF2B5EF4-FFF2-40B4-BE49-F238E27FC236}">
                  <a16:creationId xmlns:a16="http://schemas.microsoft.com/office/drawing/2014/main" id="{A42F704B-92E0-1C43-E68F-CFC93CE58D91}"/>
                </a:ext>
              </a:extLst>
            </p:cNvPr>
            <p:cNvSpPr/>
            <p:nvPr/>
          </p:nvSpPr>
          <p:spPr>
            <a:xfrm>
              <a:off x="51895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8" name="Google Shape;10521;p65">
              <a:extLst>
                <a:ext uri="{FF2B5EF4-FFF2-40B4-BE49-F238E27FC236}">
                  <a16:creationId xmlns:a16="http://schemas.microsoft.com/office/drawing/2014/main" id="{771F9345-A404-71A2-0700-6DC579C02AB6}"/>
                </a:ext>
              </a:extLst>
            </p:cNvPr>
            <p:cNvSpPr/>
            <p:nvPr/>
          </p:nvSpPr>
          <p:spPr>
            <a:xfrm>
              <a:off x="5189550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89" name="Google Shape;10522;p65">
              <a:extLst>
                <a:ext uri="{FF2B5EF4-FFF2-40B4-BE49-F238E27FC236}">
                  <a16:creationId xmlns:a16="http://schemas.microsoft.com/office/drawing/2014/main" id="{C1E28FF1-6515-BC3A-FD1A-54777C97DC78}"/>
                </a:ext>
              </a:extLst>
            </p:cNvPr>
            <p:cNvSpPr/>
            <p:nvPr/>
          </p:nvSpPr>
          <p:spPr>
            <a:xfrm>
              <a:off x="5189550" y="23331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0" name="Google Shape;10523;p65">
              <a:extLst>
                <a:ext uri="{FF2B5EF4-FFF2-40B4-BE49-F238E27FC236}">
                  <a16:creationId xmlns:a16="http://schemas.microsoft.com/office/drawing/2014/main" id="{7ECBBF08-9ECD-1B4E-F5CC-FF0C12CCC759}"/>
                </a:ext>
              </a:extLst>
            </p:cNvPr>
            <p:cNvSpPr/>
            <p:nvPr/>
          </p:nvSpPr>
          <p:spPr>
            <a:xfrm>
              <a:off x="51895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1" name="Google Shape;10524;p65">
              <a:extLst>
                <a:ext uri="{FF2B5EF4-FFF2-40B4-BE49-F238E27FC236}">
                  <a16:creationId xmlns:a16="http://schemas.microsoft.com/office/drawing/2014/main" id="{A81B5BF8-F724-6859-8332-F738AD9FEB80}"/>
                </a:ext>
              </a:extLst>
            </p:cNvPr>
            <p:cNvSpPr/>
            <p:nvPr/>
          </p:nvSpPr>
          <p:spPr>
            <a:xfrm>
              <a:off x="51895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2" name="Google Shape;10525;p65">
              <a:extLst>
                <a:ext uri="{FF2B5EF4-FFF2-40B4-BE49-F238E27FC236}">
                  <a16:creationId xmlns:a16="http://schemas.microsoft.com/office/drawing/2014/main" id="{12B83BB7-AE51-9A6A-E0B2-6B42E6EFFA70}"/>
                </a:ext>
              </a:extLst>
            </p:cNvPr>
            <p:cNvSpPr/>
            <p:nvPr/>
          </p:nvSpPr>
          <p:spPr>
            <a:xfrm>
              <a:off x="51895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3" name="Google Shape;10526;p65">
              <a:extLst>
                <a:ext uri="{FF2B5EF4-FFF2-40B4-BE49-F238E27FC236}">
                  <a16:creationId xmlns:a16="http://schemas.microsoft.com/office/drawing/2014/main" id="{67063B7D-AF9A-5561-0653-F347E23C7A51}"/>
                </a:ext>
              </a:extLst>
            </p:cNvPr>
            <p:cNvSpPr/>
            <p:nvPr/>
          </p:nvSpPr>
          <p:spPr>
            <a:xfrm>
              <a:off x="51895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2" y="2133"/>
                    <a:pt x="1069" y="2133"/>
                  </a:cubicBezTo>
                  <a:cubicBezTo>
                    <a:pt x="1329" y="2133"/>
                    <a:pt x="1596" y="2036"/>
                    <a:pt x="1814" y="1821"/>
                  </a:cubicBezTo>
                  <a:cubicBezTo>
                    <a:pt x="2488" y="1155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4" name="Google Shape;10527;p65">
              <a:extLst>
                <a:ext uri="{FF2B5EF4-FFF2-40B4-BE49-F238E27FC236}">
                  <a16:creationId xmlns:a16="http://schemas.microsoft.com/office/drawing/2014/main" id="{04B83613-C758-900A-7B0C-7ACD1BF884B7}"/>
                </a:ext>
              </a:extLst>
            </p:cNvPr>
            <p:cNvSpPr/>
            <p:nvPr/>
          </p:nvSpPr>
          <p:spPr>
            <a:xfrm>
              <a:off x="51895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5" name="Google Shape;10528;p65">
              <a:extLst>
                <a:ext uri="{FF2B5EF4-FFF2-40B4-BE49-F238E27FC236}">
                  <a16:creationId xmlns:a16="http://schemas.microsoft.com/office/drawing/2014/main" id="{BADFD987-543C-5C75-EC0D-3F6F1CCEF063}"/>
                </a:ext>
              </a:extLst>
            </p:cNvPr>
            <p:cNvSpPr/>
            <p:nvPr/>
          </p:nvSpPr>
          <p:spPr>
            <a:xfrm>
              <a:off x="5265775" y="13427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6" name="Google Shape;10529;p65">
              <a:extLst>
                <a:ext uri="{FF2B5EF4-FFF2-40B4-BE49-F238E27FC236}">
                  <a16:creationId xmlns:a16="http://schemas.microsoft.com/office/drawing/2014/main" id="{34C16E35-2733-EB5A-8C64-422021E570AD}"/>
                </a:ext>
              </a:extLst>
            </p:cNvPr>
            <p:cNvSpPr/>
            <p:nvPr/>
          </p:nvSpPr>
          <p:spPr>
            <a:xfrm>
              <a:off x="52657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7" name="Google Shape;10530;p65">
              <a:extLst>
                <a:ext uri="{FF2B5EF4-FFF2-40B4-BE49-F238E27FC236}">
                  <a16:creationId xmlns:a16="http://schemas.microsoft.com/office/drawing/2014/main" id="{8A1D540D-6358-D4F0-7732-1AA01A2ABD01}"/>
                </a:ext>
              </a:extLst>
            </p:cNvPr>
            <p:cNvSpPr/>
            <p:nvPr/>
          </p:nvSpPr>
          <p:spPr>
            <a:xfrm>
              <a:off x="52657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8" name="Google Shape;10531;p65">
              <a:extLst>
                <a:ext uri="{FF2B5EF4-FFF2-40B4-BE49-F238E27FC236}">
                  <a16:creationId xmlns:a16="http://schemas.microsoft.com/office/drawing/2014/main" id="{40CCFA49-436D-136F-AD6D-AFC54C321A5B}"/>
                </a:ext>
              </a:extLst>
            </p:cNvPr>
            <p:cNvSpPr/>
            <p:nvPr/>
          </p:nvSpPr>
          <p:spPr>
            <a:xfrm>
              <a:off x="5265775" y="157140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51" y="0"/>
                  </a:moveTo>
                  <a:cubicBezTo>
                    <a:pt x="472" y="0"/>
                    <a:pt x="0" y="477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ubicBezTo>
                    <a:pt x="1060" y="1"/>
                    <a:pt x="1055" y="0"/>
                    <a:pt x="105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399" name="Google Shape;10532;p65">
              <a:extLst>
                <a:ext uri="{FF2B5EF4-FFF2-40B4-BE49-F238E27FC236}">
                  <a16:creationId xmlns:a16="http://schemas.microsoft.com/office/drawing/2014/main" id="{572B5A4F-E37B-8B69-0631-C1F209381204}"/>
                </a:ext>
              </a:extLst>
            </p:cNvPr>
            <p:cNvSpPr/>
            <p:nvPr/>
          </p:nvSpPr>
          <p:spPr>
            <a:xfrm>
              <a:off x="52657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2" y="2138"/>
                    <a:pt x="1068" y="2138"/>
                  </a:cubicBezTo>
                  <a:cubicBezTo>
                    <a:pt x="1329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0" name="Google Shape;10533;p65">
              <a:extLst>
                <a:ext uri="{FF2B5EF4-FFF2-40B4-BE49-F238E27FC236}">
                  <a16:creationId xmlns:a16="http://schemas.microsoft.com/office/drawing/2014/main" id="{922323E9-A436-4404-5449-CB3127F9EA64}"/>
                </a:ext>
              </a:extLst>
            </p:cNvPr>
            <p:cNvSpPr/>
            <p:nvPr/>
          </p:nvSpPr>
          <p:spPr>
            <a:xfrm>
              <a:off x="52657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1" name="Google Shape;10534;p65">
              <a:extLst>
                <a:ext uri="{FF2B5EF4-FFF2-40B4-BE49-F238E27FC236}">
                  <a16:creationId xmlns:a16="http://schemas.microsoft.com/office/drawing/2014/main" id="{11DD3AB8-C1A4-BF73-935A-92C2FAD35AA8}"/>
                </a:ext>
              </a:extLst>
            </p:cNvPr>
            <p:cNvSpPr/>
            <p:nvPr/>
          </p:nvSpPr>
          <p:spPr>
            <a:xfrm>
              <a:off x="526577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2" name="Google Shape;10535;p65">
              <a:extLst>
                <a:ext uri="{FF2B5EF4-FFF2-40B4-BE49-F238E27FC236}">
                  <a16:creationId xmlns:a16="http://schemas.microsoft.com/office/drawing/2014/main" id="{69F6A853-4D98-794A-2DD1-2C0249A808D4}"/>
                </a:ext>
              </a:extLst>
            </p:cNvPr>
            <p:cNvSpPr/>
            <p:nvPr/>
          </p:nvSpPr>
          <p:spPr>
            <a:xfrm>
              <a:off x="5265775" y="18760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5"/>
                    <a:pt x="524" y="2132"/>
                    <a:pt x="1072" y="2132"/>
                  </a:cubicBezTo>
                  <a:cubicBezTo>
                    <a:pt x="1331" y="2132"/>
                    <a:pt x="1596" y="2036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3" name="Google Shape;10536;p65">
              <a:extLst>
                <a:ext uri="{FF2B5EF4-FFF2-40B4-BE49-F238E27FC236}">
                  <a16:creationId xmlns:a16="http://schemas.microsoft.com/office/drawing/2014/main" id="{F9873F8E-F3E2-B158-5403-DF91F4B2DCC2}"/>
                </a:ext>
              </a:extLst>
            </p:cNvPr>
            <p:cNvSpPr/>
            <p:nvPr/>
          </p:nvSpPr>
          <p:spPr>
            <a:xfrm>
              <a:off x="526577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74"/>
                  </a:cubicBezTo>
                  <a:cubicBezTo>
                    <a:pt x="0" y="1712"/>
                    <a:pt x="521" y="2138"/>
                    <a:pt x="1067" y="2138"/>
                  </a:cubicBezTo>
                  <a:cubicBezTo>
                    <a:pt x="1328" y="2138"/>
                    <a:pt x="1595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4" name="Google Shape;10537;p65">
              <a:extLst>
                <a:ext uri="{FF2B5EF4-FFF2-40B4-BE49-F238E27FC236}">
                  <a16:creationId xmlns:a16="http://schemas.microsoft.com/office/drawing/2014/main" id="{98B639C8-78F9-C3BB-410A-C73387B3FE48}"/>
                </a:ext>
              </a:extLst>
            </p:cNvPr>
            <p:cNvSpPr/>
            <p:nvPr/>
          </p:nvSpPr>
          <p:spPr>
            <a:xfrm>
              <a:off x="5265775" y="20282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1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5" name="Google Shape;10538;p65">
              <a:extLst>
                <a:ext uri="{FF2B5EF4-FFF2-40B4-BE49-F238E27FC236}">
                  <a16:creationId xmlns:a16="http://schemas.microsoft.com/office/drawing/2014/main" id="{993F224C-DC5C-2D08-7CE4-CA903EE9B71C}"/>
                </a:ext>
              </a:extLst>
            </p:cNvPr>
            <p:cNvSpPr/>
            <p:nvPr/>
          </p:nvSpPr>
          <p:spPr>
            <a:xfrm>
              <a:off x="52657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6" name="Google Shape;10539;p65">
              <a:extLst>
                <a:ext uri="{FF2B5EF4-FFF2-40B4-BE49-F238E27FC236}">
                  <a16:creationId xmlns:a16="http://schemas.microsoft.com/office/drawing/2014/main" id="{8EC81E84-08E2-E685-1159-842774D32B8F}"/>
                </a:ext>
              </a:extLst>
            </p:cNvPr>
            <p:cNvSpPr/>
            <p:nvPr/>
          </p:nvSpPr>
          <p:spPr>
            <a:xfrm>
              <a:off x="526577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7" name="Google Shape;10540;p65">
              <a:extLst>
                <a:ext uri="{FF2B5EF4-FFF2-40B4-BE49-F238E27FC236}">
                  <a16:creationId xmlns:a16="http://schemas.microsoft.com/office/drawing/2014/main" id="{054DDB6A-02CC-6AB1-150A-3902FB2173BB}"/>
                </a:ext>
              </a:extLst>
            </p:cNvPr>
            <p:cNvSpPr/>
            <p:nvPr/>
          </p:nvSpPr>
          <p:spPr>
            <a:xfrm>
              <a:off x="5265775" y="225692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8" name="Google Shape;10541;p65">
              <a:extLst>
                <a:ext uri="{FF2B5EF4-FFF2-40B4-BE49-F238E27FC236}">
                  <a16:creationId xmlns:a16="http://schemas.microsoft.com/office/drawing/2014/main" id="{0406FADD-AD56-EA66-48DE-A074EA6537C3}"/>
                </a:ext>
              </a:extLst>
            </p:cNvPr>
            <p:cNvSpPr/>
            <p:nvPr/>
          </p:nvSpPr>
          <p:spPr>
            <a:xfrm>
              <a:off x="5265775" y="23331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09" name="Google Shape;10542;p65">
              <a:extLst>
                <a:ext uri="{FF2B5EF4-FFF2-40B4-BE49-F238E27FC236}">
                  <a16:creationId xmlns:a16="http://schemas.microsoft.com/office/drawing/2014/main" id="{2CEF7B96-F242-9751-12BF-FFF415E3CE4D}"/>
                </a:ext>
              </a:extLst>
            </p:cNvPr>
            <p:cNvSpPr/>
            <p:nvPr/>
          </p:nvSpPr>
          <p:spPr>
            <a:xfrm>
              <a:off x="526577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0" name="Google Shape;10543;p65">
              <a:extLst>
                <a:ext uri="{FF2B5EF4-FFF2-40B4-BE49-F238E27FC236}">
                  <a16:creationId xmlns:a16="http://schemas.microsoft.com/office/drawing/2014/main" id="{01CF8DCC-A71B-E353-263C-70B954AB9E3D}"/>
                </a:ext>
              </a:extLst>
            </p:cNvPr>
            <p:cNvSpPr/>
            <p:nvPr/>
          </p:nvSpPr>
          <p:spPr>
            <a:xfrm>
              <a:off x="5265775" y="24855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10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1" name="Google Shape;10544;p65">
              <a:extLst>
                <a:ext uri="{FF2B5EF4-FFF2-40B4-BE49-F238E27FC236}">
                  <a16:creationId xmlns:a16="http://schemas.microsoft.com/office/drawing/2014/main" id="{9D7AB942-CD24-099B-8751-3353372A2B6A}"/>
                </a:ext>
              </a:extLst>
            </p:cNvPr>
            <p:cNvSpPr/>
            <p:nvPr/>
          </p:nvSpPr>
          <p:spPr>
            <a:xfrm>
              <a:off x="52657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73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2" name="Google Shape;10545;p65">
              <a:extLst>
                <a:ext uri="{FF2B5EF4-FFF2-40B4-BE49-F238E27FC236}">
                  <a16:creationId xmlns:a16="http://schemas.microsoft.com/office/drawing/2014/main" id="{DA8ADEB7-2E09-B0D4-A4E7-45A4074B7723}"/>
                </a:ext>
              </a:extLst>
            </p:cNvPr>
            <p:cNvSpPr/>
            <p:nvPr/>
          </p:nvSpPr>
          <p:spPr>
            <a:xfrm>
              <a:off x="526577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3" name="Google Shape;10546;p65">
              <a:extLst>
                <a:ext uri="{FF2B5EF4-FFF2-40B4-BE49-F238E27FC236}">
                  <a16:creationId xmlns:a16="http://schemas.microsoft.com/office/drawing/2014/main" id="{F7FA234C-270B-DE82-CE61-30814B3B2D04}"/>
                </a:ext>
              </a:extLst>
            </p:cNvPr>
            <p:cNvSpPr/>
            <p:nvPr/>
          </p:nvSpPr>
          <p:spPr>
            <a:xfrm>
              <a:off x="53419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4" name="Google Shape;10547;p65">
              <a:extLst>
                <a:ext uri="{FF2B5EF4-FFF2-40B4-BE49-F238E27FC236}">
                  <a16:creationId xmlns:a16="http://schemas.microsoft.com/office/drawing/2014/main" id="{034E7035-F171-827F-2121-8FDC44493485}"/>
                </a:ext>
              </a:extLst>
            </p:cNvPr>
            <p:cNvSpPr/>
            <p:nvPr/>
          </p:nvSpPr>
          <p:spPr>
            <a:xfrm>
              <a:off x="53419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5" name="Google Shape;10548;p65">
              <a:extLst>
                <a:ext uri="{FF2B5EF4-FFF2-40B4-BE49-F238E27FC236}">
                  <a16:creationId xmlns:a16="http://schemas.microsoft.com/office/drawing/2014/main" id="{1A213061-6D8B-70CE-7BAF-154E0F272795}"/>
                </a:ext>
              </a:extLst>
            </p:cNvPr>
            <p:cNvSpPr/>
            <p:nvPr/>
          </p:nvSpPr>
          <p:spPr>
            <a:xfrm>
              <a:off x="53419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6" name="Google Shape;10549;p65">
              <a:extLst>
                <a:ext uri="{FF2B5EF4-FFF2-40B4-BE49-F238E27FC236}">
                  <a16:creationId xmlns:a16="http://schemas.microsoft.com/office/drawing/2014/main" id="{D2E23CDE-8A1B-38AB-F51F-98FC0C401586}"/>
                </a:ext>
              </a:extLst>
            </p:cNvPr>
            <p:cNvSpPr/>
            <p:nvPr/>
          </p:nvSpPr>
          <p:spPr>
            <a:xfrm>
              <a:off x="5341975" y="1571400"/>
              <a:ext cx="62375" cy="53250"/>
            </a:xfrm>
            <a:custGeom>
              <a:avLst/>
              <a:gdLst/>
              <a:ahLst/>
              <a:cxnLst/>
              <a:rect l="l" t="t" r="r" b="b"/>
              <a:pathLst>
                <a:path w="2495" h="2130" extrusionOk="0">
                  <a:moveTo>
                    <a:pt x="1084" y="1"/>
                  </a:moveTo>
                  <a:cubicBezTo>
                    <a:pt x="1080" y="1"/>
                    <a:pt x="1077" y="1"/>
                    <a:pt x="1074" y="1"/>
                  </a:cubicBez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2" y="1813"/>
                  </a:cubicBezTo>
                  <a:cubicBezTo>
                    <a:pt x="2494" y="1149"/>
                    <a:pt x="2020" y="1"/>
                    <a:pt x="108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7" name="Google Shape;10550;p65">
              <a:extLst>
                <a:ext uri="{FF2B5EF4-FFF2-40B4-BE49-F238E27FC236}">
                  <a16:creationId xmlns:a16="http://schemas.microsoft.com/office/drawing/2014/main" id="{BE2CB685-8617-03BE-7AD4-BDD842268593}"/>
                </a:ext>
              </a:extLst>
            </p:cNvPr>
            <p:cNvSpPr/>
            <p:nvPr/>
          </p:nvSpPr>
          <p:spPr>
            <a:xfrm>
              <a:off x="53419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66"/>
                  </a:cubicBezTo>
                  <a:cubicBezTo>
                    <a:pt x="1" y="1710"/>
                    <a:pt x="530" y="2138"/>
                    <a:pt x="1078" y="2138"/>
                  </a:cubicBezTo>
                  <a:cubicBezTo>
                    <a:pt x="1340" y="2138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8" name="Google Shape;10551;p65">
              <a:extLst>
                <a:ext uri="{FF2B5EF4-FFF2-40B4-BE49-F238E27FC236}">
                  <a16:creationId xmlns:a16="http://schemas.microsoft.com/office/drawing/2014/main" id="{E40910C0-D1A0-115C-05F1-CF4BCB33E388}"/>
                </a:ext>
              </a:extLst>
            </p:cNvPr>
            <p:cNvSpPr/>
            <p:nvPr/>
          </p:nvSpPr>
          <p:spPr>
            <a:xfrm>
              <a:off x="534197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19" name="Google Shape;10552;p65">
              <a:extLst>
                <a:ext uri="{FF2B5EF4-FFF2-40B4-BE49-F238E27FC236}">
                  <a16:creationId xmlns:a16="http://schemas.microsoft.com/office/drawing/2014/main" id="{17C06615-14B2-DFE1-5A57-6007A97E0FD3}"/>
                </a:ext>
              </a:extLst>
            </p:cNvPr>
            <p:cNvSpPr/>
            <p:nvPr/>
          </p:nvSpPr>
          <p:spPr>
            <a:xfrm>
              <a:off x="534197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0" name="Google Shape;10553;p65">
              <a:extLst>
                <a:ext uri="{FF2B5EF4-FFF2-40B4-BE49-F238E27FC236}">
                  <a16:creationId xmlns:a16="http://schemas.microsoft.com/office/drawing/2014/main" id="{5D8E2473-31BB-19C2-2452-A0F1DEA022CE}"/>
                </a:ext>
              </a:extLst>
            </p:cNvPr>
            <p:cNvSpPr/>
            <p:nvPr/>
          </p:nvSpPr>
          <p:spPr>
            <a:xfrm>
              <a:off x="5341975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7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1" name="Google Shape;10554;p65">
              <a:extLst>
                <a:ext uri="{FF2B5EF4-FFF2-40B4-BE49-F238E27FC236}">
                  <a16:creationId xmlns:a16="http://schemas.microsoft.com/office/drawing/2014/main" id="{F4B6E52F-9537-C07B-C3B7-7D5A58484AF0}"/>
                </a:ext>
              </a:extLst>
            </p:cNvPr>
            <p:cNvSpPr/>
            <p:nvPr/>
          </p:nvSpPr>
          <p:spPr>
            <a:xfrm>
              <a:off x="5341975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1"/>
                    <a:pt x="1" y="1074"/>
                  </a:cubicBezTo>
                  <a:cubicBezTo>
                    <a:pt x="1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2" name="Google Shape;10555;p65">
              <a:extLst>
                <a:ext uri="{FF2B5EF4-FFF2-40B4-BE49-F238E27FC236}">
                  <a16:creationId xmlns:a16="http://schemas.microsoft.com/office/drawing/2014/main" id="{6E7B70D2-E7FF-5D29-DAF2-38B0CA27A544}"/>
                </a:ext>
              </a:extLst>
            </p:cNvPr>
            <p:cNvSpPr/>
            <p:nvPr/>
          </p:nvSpPr>
          <p:spPr>
            <a:xfrm>
              <a:off x="5341975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1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3" name="Google Shape;10556;p65">
              <a:extLst>
                <a:ext uri="{FF2B5EF4-FFF2-40B4-BE49-F238E27FC236}">
                  <a16:creationId xmlns:a16="http://schemas.microsoft.com/office/drawing/2014/main" id="{7111810F-C64A-51D2-424A-FD37D9FA8771}"/>
                </a:ext>
              </a:extLst>
            </p:cNvPr>
            <p:cNvSpPr/>
            <p:nvPr/>
          </p:nvSpPr>
          <p:spPr>
            <a:xfrm>
              <a:off x="5341975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4" name="Google Shape;10557;p65">
              <a:extLst>
                <a:ext uri="{FF2B5EF4-FFF2-40B4-BE49-F238E27FC236}">
                  <a16:creationId xmlns:a16="http://schemas.microsoft.com/office/drawing/2014/main" id="{0D99DE47-2A04-BA9A-8C06-80A0F64307BE}"/>
                </a:ext>
              </a:extLst>
            </p:cNvPr>
            <p:cNvSpPr/>
            <p:nvPr/>
          </p:nvSpPr>
          <p:spPr>
            <a:xfrm>
              <a:off x="5341975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5" name="Google Shape;10558;p65">
              <a:extLst>
                <a:ext uri="{FF2B5EF4-FFF2-40B4-BE49-F238E27FC236}">
                  <a16:creationId xmlns:a16="http://schemas.microsoft.com/office/drawing/2014/main" id="{03EC4865-044D-69A7-BD1F-1A669165544E}"/>
                </a:ext>
              </a:extLst>
            </p:cNvPr>
            <p:cNvSpPr/>
            <p:nvPr/>
          </p:nvSpPr>
          <p:spPr>
            <a:xfrm>
              <a:off x="5341975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8" y="0"/>
                    <a:pt x="108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6" name="Google Shape;10559;p65">
              <a:extLst>
                <a:ext uri="{FF2B5EF4-FFF2-40B4-BE49-F238E27FC236}">
                  <a16:creationId xmlns:a16="http://schemas.microsoft.com/office/drawing/2014/main" id="{2E4F103E-195B-393D-1CA0-9053590A588F}"/>
                </a:ext>
              </a:extLst>
            </p:cNvPr>
            <p:cNvSpPr/>
            <p:nvPr/>
          </p:nvSpPr>
          <p:spPr>
            <a:xfrm>
              <a:off x="53419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7" name="Google Shape;10560;p65">
              <a:extLst>
                <a:ext uri="{FF2B5EF4-FFF2-40B4-BE49-F238E27FC236}">
                  <a16:creationId xmlns:a16="http://schemas.microsoft.com/office/drawing/2014/main" id="{48564E85-8253-7481-36F8-6D513762CE41}"/>
                </a:ext>
              </a:extLst>
            </p:cNvPr>
            <p:cNvSpPr/>
            <p:nvPr/>
          </p:nvSpPr>
          <p:spPr>
            <a:xfrm>
              <a:off x="534197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8"/>
                    <a:pt x="527" y="2131"/>
                    <a:pt x="1074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8" name="Google Shape;10561;p65">
              <a:extLst>
                <a:ext uri="{FF2B5EF4-FFF2-40B4-BE49-F238E27FC236}">
                  <a16:creationId xmlns:a16="http://schemas.microsoft.com/office/drawing/2014/main" id="{2A388D2F-7F74-3B2C-3322-6285E308F228}"/>
                </a:ext>
              </a:extLst>
            </p:cNvPr>
            <p:cNvSpPr/>
            <p:nvPr/>
          </p:nvSpPr>
          <p:spPr>
            <a:xfrm>
              <a:off x="53419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29" name="Google Shape;10562;p65">
              <a:extLst>
                <a:ext uri="{FF2B5EF4-FFF2-40B4-BE49-F238E27FC236}">
                  <a16:creationId xmlns:a16="http://schemas.microsoft.com/office/drawing/2014/main" id="{DEEF177A-3AD6-3EDE-9C32-A561B8E18437}"/>
                </a:ext>
              </a:extLst>
            </p:cNvPr>
            <p:cNvSpPr/>
            <p:nvPr/>
          </p:nvSpPr>
          <p:spPr>
            <a:xfrm>
              <a:off x="5341975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0" name="Google Shape;10563;p65">
              <a:extLst>
                <a:ext uri="{FF2B5EF4-FFF2-40B4-BE49-F238E27FC236}">
                  <a16:creationId xmlns:a16="http://schemas.microsoft.com/office/drawing/2014/main" id="{07ADE198-1951-C679-1806-C17BF4D57A22}"/>
                </a:ext>
              </a:extLst>
            </p:cNvPr>
            <p:cNvSpPr/>
            <p:nvPr/>
          </p:nvSpPr>
          <p:spPr>
            <a:xfrm>
              <a:off x="54182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1" name="Google Shape;10564;p65">
              <a:extLst>
                <a:ext uri="{FF2B5EF4-FFF2-40B4-BE49-F238E27FC236}">
                  <a16:creationId xmlns:a16="http://schemas.microsoft.com/office/drawing/2014/main" id="{856ADFD1-B1E2-7050-68E9-AB2FCD38698B}"/>
                </a:ext>
              </a:extLst>
            </p:cNvPr>
            <p:cNvSpPr/>
            <p:nvPr/>
          </p:nvSpPr>
          <p:spPr>
            <a:xfrm>
              <a:off x="54182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2" name="Google Shape;10565;p65">
              <a:extLst>
                <a:ext uri="{FF2B5EF4-FFF2-40B4-BE49-F238E27FC236}">
                  <a16:creationId xmlns:a16="http://schemas.microsoft.com/office/drawing/2014/main" id="{87DE0CD4-C456-E5E4-6CA1-93E0A7D06042}"/>
                </a:ext>
              </a:extLst>
            </p:cNvPr>
            <p:cNvSpPr/>
            <p:nvPr/>
          </p:nvSpPr>
          <p:spPr>
            <a:xfrm>
              <a:off x="54182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3" name="Google Shape;10566;p65">
              <a:extLst>
                <a:ext uri="{FF2B5EF4-FFF2-40B4-BE49-F238E27FC236}">
                  <a16:creationId xmlns:a16="http://schemas.microsoft.com/office/drawing/2014/main" id="{043A90EA-B834-F48B-F3A0-E6301D71C431}"/>
                </a:ext>
              </a:extLst>
            </p:cNvPr>
            <p:cNvSpPr/>
            <p:nvPr/>
          </p:nvSpPr>
          <p:spPr>
            <a:xfrm>
              <a:off x="54182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4" name="Google Shape;10567;p65">
              <a:extLst>
                <a:ext uri="{FF2B5EF4-FFF2-40B4-BE49-F238E27FC236}">
                  <a16:creationId xmlns:a16="http://schemas.microsoft.com/office/drawing/2014/main" id="{8B24ACED-6093-AAB9-4B02-877C7D592D01}"/>
                </a:ext>
              </a:extLst>
            </p:cNvPr>
            <p:cNvSpPr/>
            <p:nvPr/>
          </p:nvSpPr>
          <p:spPr>
            <a:xfrm>
              <a:off x="54182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5" name="Google Shape;10568;p65">
              <a:extLst>
                <a:ext uri="{FF2B5EF4-FFF2-40B4-BE49-F238E27FC236}">
                  <a16:creationId xmlns:a16="http://schemas.microsoft.com/office/drawing/2014/main" id="{805BD46B-980A-07E8-1631-B90723D21108}"/>
                </a:ext>
              </a:extLst>
            </p:cNvPr>
            <p:cNvSpPr/>
            <p:nvPr/>
          </p:nvSpPr>
          <p:spPr>
            <a:xfrm>
              <a:off x="54182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6" name="Google Shape;10569;p65">
              <a:extLst>
                <a:ext uri="{FF2B5EF4-FFF2-40B4-BE49-F238E27FC236}">
                  <a16:creationId xmlns:a16="http://schemas.microsoft.com/office/drawing/2014/main" id="{7DFEFB30-E700-F818-5EFC-8837E5213744}"/>
                </a:ext>
              </a:extLst>
            </p:cNvPr>
            <p:cNvSpPr/>
            <p:nvPr/>
          </p:nvSpPr>
          <p:spPr>
            <a:xfrm>
              <a:off x="54182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7" name="Google Shape;10570;p65">
              <a:extLst>
                <a:ext uri="{FF2B5EF4-FFF2-40B4-BE49-F238E27FC236}">
                  <a16:creationId xmlns:a16="http://schemas.microsoft.com/office/drawing/2014/main" id="{960DB78D-3003-45CC-59E9-AB053AB27383}"/>
                </a:ext>
              </a:extLst>
            </p:cNvPr>
            <p:cNvSpPr/>
            <p:nvPr/>
          </p:nvSpPr>
          <p:spPr>
            <a:xfrm>
              <a:off x="54182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8" name="Google Shape;10571;p65">
              <a:extLst>
                <a:ext uri="{FF2B5EF4-FFF2-40B4-BE49-F238E27FC236}">
                  <a16:creationId xmlns:a16="http://schemas.microsoft.com/office/drawing/2014/main" id="{5E76C42B-1981-86D5-9979-6B79E2FA0FAB}"/>
                </a:ext>
              </a:extLst>
            </p:cNvPr>
            <p:cNvSpPr/>
            <p:nvPr/>
          </p:nvSpPr>
          <p:spPr>
            <a:xfrm>
              <a:off x="54182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39" name="Google Shape;10572;p65">
              <a:extLst>
                <a:ext uri="{FF2B5EF4-FFF2-40B4-BE49-F238E27FC236}">
                  <a16:creationId xmlns:a16="http://schemas.microsoft.com/office/drawing/2014/main" id="{603F0A64-57C3-00E9-69F7-1F10A11B5716}"/>
                </a:ext>
              </a:extLst>
            </p:cNvPr>
            <p:cNvSpPr/>
            <p:nvPr/>
          </p:nvSpPr>
          <p:spPr>
            <a:xfrm>
              <a:off x="54182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0" name="Google Shape;10573;p65">
              <a:extLst>
                <a:ext uri="{FF2B5EF4-FFF2-40B4-BE49-F238E27FC236}">
                  <a16:creationId xmlns:a16="http://schemas.microsoft.com/office/drawing/2014/main" id="{8E4428BE-B624-16D4-87B6-9066D89DD829}"/>
                </a:ext>
              </a:extLst>
            </p:cNvPr>
            <p:cNvSpPr/>
            <p:nvPr/>
          </p:nvSpPr>
          <p:spPr>
            <a:xfrm>
              <a:off x="54182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1" name="Google Shape;10574;p65">
              <a:extLst>
                <a:ext uri="{FF2B5EF4-FFF2-40B4-BE49-F238E27FC236}">
                  <a16:creationId xmlns:a16="http://schemas.microsoft.com/office/drawing/2014/main" id="{B4429E4C-5876-5336-7A29-DED30B7E0F0C}"/>
                </a:ext>
              </a:extLst>
            </p:cNvPr>
            <p:cNvSpPr/>
            <p:nvPr/>
          </p:nvSpPr>
          <p:spPr>
            <a:xfrm>
              <a:off x="54182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2" name="Google Shape;10575;p65">
              <a:extLst>
                <a:ext uri="{FF2B5EF4-FFF2-40B4-BE49-F238E27FC236}">
                  <a16:creationId xmlns:a16="http://schemas.microsoft.com/office/drawing/2014/main" id="{7DF0AD70-5AA2-5D75-8DA9-2E6077B667F1}"/>
                </a:ext>
              </a:extLst>
            </p:cNvPr>
            <p:cNvSpPr/>
            <p:nvPr/>
          </p:nvSpPr>
          <p:spPr>
            <a:xfrm>
              <a:off x="5418200" y="2256925"/>
              <a:ext cx="62550" cy="53425"/>
            </a:xfrm>
            <a:custGeom>
              <a:avLst/>
              <a:gdLst/>
              <a:ahLst/>
              <a:cxnLst/>
              <a:rect l="l" t="t" r="r" b="b"/>
              <a:pathLst>
                <a:path w="2502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502" y="1149"/>
                    <a:pt x="2028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3" name="Google Shape;10576;p65">
              <a:extLst>
                <a:ext uri="{FF2B5EF4-FFF2-40B4-BE49-F238E27FC236}">
                  <a16:creationId xmlns:a16="http://schemas.microsoft.com/office/drawing/2014/main" id="{9F6BCC0D-F3E5-11DB-E2CE-2B97A62B202B}"/>
                </a:ext>
              </a:extLst>
            </p:cNvPr>
            <p:cNvSpPr/>
            <p:nvPr/>
          </p:nvSpPr>
          <p:spPr>
            <a:xfrm>
              <a:off x="54182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4" name="Google Shape;10577;p65">
              <a:extLst>
                <a:ext uri="{FF2B5EF4-FFF2-40B4-BE49-F238E27FC236}">
                  <a16:creationId xmlns:a16="http://schemas.microsoft.com/office/drawing/2014/main" id="{DBAF9305-D462-332E-DED8-157EB3EBEA0B}"/>
                </a:ext>
              </a:extLst>
            </p:cNvPr>
            <p:cNvSpPr/>
            <p:nvPr/>
          </p:nvSpPr>
          <p:spPr>
            <a:xfrm>
              <a:off x="541820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5" name="Google Shape;10578;p65">
              <a:extLst>
                <a:ext uri="{FF2B5EF4-FFF2-40B4-BE49-F238E27FC236}">
                  <a16:creationId xmlns:a16="http://schemas.microsoft.com/office/drawing/2014/main" id="{F32509C0-A4E6-307E-43DB-2763041275BA}"/>
                </a:ext>
              </a:extLst>
            </p:cNvPr>
            <p:cNvSpPr/>
            <p:nvPr/>
          </p:nvSpPr>
          <p:spPr>
            <a:xfrm>
              <a:off x="54182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6" name="Google Shape;10579;p65">
              <a:extLst>
                <a:ext uri="{FF2B5EF4-FFF2-40B4-BE49-F238E27FC236}">
                  <a16:creationId xmlns:a16="http://schemas.microsoft.com/office/drawing/2014/main" id="{FDE18476-1764-4EB6-1A83-FAB5633A13B6}"/>
                </a:ext>
              </a:extLst>
            </p:cNvPr>
            <p:cNvSpPr/>
            <p:nvPr/>
          </p:nvSpPr>
          <p:spPr>
            <a:xfrm>
              <a:off x="54182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8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7" name="Google Shape;10580;p65">
              <a:extLst>
                <a:ext uri="{FF2B5EF4-FFF2-40B4-BE49-F238E27FC236}">
                  <a16:creationId xmlns:a16="http://schemas.microsoft.com/office/drawing/2014/main" id="{B7D015DF-A193-91CA-BE52-0D9F1D41759A}"/>
                </a:ext>
              </a:extLst>
            </p:cNvPr>
            <p:cNvSpPr/>
            <p:nvPr/>
          </p:nvSpPr>
          <p:spPr>
            <a:xfrm>
              <a:off x="54182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8" name="Google Shape;10581;p65">
              <a:extLst>
                <a:ext uri="{FF2B5EF4-FFF2-40B4-BE49-F238E27FC236}">
                  <a16:creationId xmlns:a16="http://schemas.microsoft.com/office/drawing/2014/main" id="{47C1956F-2CAC-1136-B8D1-FE1C4567AE48}"/>
                </a:ext>
              </a:extLst>
            </p:cNvPr>
            <p:cNvSpPr/>
            <p:nvPr/>
          </p:nvSpPr>
          <p:spPr>
            <a:xfrm>
              <a:off x="549440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49" name="Google Shape;10582;p65">
              <a:extLst>
                <a:ext uri="{FF2B5EF4-FFF2-40B4-BE49-F238E27FC236}">
                  <a16:creationId xmlns:a16="http://schemas.microsoft.com/office/drawing/2014/main" id="{2F1A72C2-3AEE-C6B7-7427-609FFECD1FA4}"/>
                </a:ext>
              </a:extLst>
            </p:cNvPr>
            <p:cNvSpPr/>
            <p:nvPr/>
          </p:nvSpPr>
          <p:spPr>
            <a:xfrm>
              <a:off x="54944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0" name="Google Shape;10583;p65">
              <a:extLst>
                <a:ext uri="{FF2B5EF4-FFF2-40B4-BE49-F238E27FC236}">
                  <a16:creationId xmlns:a16="http://schemas.microsoft.com/office/drawing/2014/main" id="{A96B4064-9C90-4331-DDA0-064D52CD05DB}"/>
                </a:ext>
              </a:extLst>
            </p:cNvPr>
            <p:cNvSpPr/>
            <p:nvPr/>
          </p:nvSpPr>
          <p:spPr>
            <a:xfrm>
              <a:off x="54944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1" name="Google Shape;10584;p65">
              <a:extLst>
                <a:ext uri="{FF2B5EF4-FFF2-40B4-BE49-F238E27FC236}">
                  <a16:creationId xmlns:a16="http://schemas.microsoft.com/office/drawing/2014/main" id="{4C1FC94E-9386-E7DC-985E-075F358C3AFF}"/>
                </a:ext>
              </a:extLst>
            </p:cNvPr>
            <p:cNvSpPr/>
            <p:nvPr/>
          </p:nvSpPr>
          <p:spPr>
            <a:xfrm>
              <a:off x="54944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2" name="Google Shape;10585;p65">
              <a:extLst>
                <a:ext uri="{FF2B5EF4-FFF2-40B4-BE49-F238E27FC236}">
                  <a16:creationId xmlns:a16="http://schemas.microsoft.com/office/drawing/2014/main" id="{4FBE44D9-5433-83DD-A9D2-53061DBAD263}"/>
                </a:ext>
              </a:extLst>
            </p:cNvPr>
            <p:cNvSpPr/>
            <p:nvPr/>
          </p:nvSpPr>
          <p:spPr>
            <a:xfrm>
              <a:off x="54944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3" name="Google Shape;10586;p65">
              <a:extLst>
                <a:ext uri="{FF2B5EF4-FFF2-40B4-BE49-F238E27FC236}">
                  <a16:creationId xmlns:a16="http://schemas.microsoft.com/office/drawing/2014/main" id="{6EE63974-6F6B-6F3C-44D8-A1B80CE19B8B}"/>
                </a:ext>
              </a:extLst>
            </p:cNvPr>
            <p:cNvSpPr/>
            <p:nvPr/>
          </p:nvSpPr>
          <p:spPr>
            <a:xfrm>
              <a:off x="63323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4" name="Google Shape;10587;p65">
              <a:extLst>
                <a:ext uri="{FF2B5EF4-FFF2-40B4-BE49-F238E27FC236}">
                  <a16:creationId xmlns:a16="http://schemas.microsoft.com/office/drawing/2014/main" id="{B0904C88-81A5-E61F-82C0-185521168F90}"/>
                </a:ext>
              </a:extLst>
            </p:cNvPr>
            <p:cNvSpPr/>
            <p:nvPr/>
          </p:nvSpPr>
          <p:spPr>
            <a:xfrm>
              <a:off x="63323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5" name="Google Shape;10588;p65">
              <a:extLst>
                <a:ext uri="{FF2B5EF4-FFF2-40B4-BE49-F238E27FC236}">
                  <a16:creationId xmlns:a16="http://schemas.microsoft.com/office/drawing/2014/main" id="{171E45AF-B637-7E15-B5FA-59E5791F1FE9}"/>
                </a:ext>
              </a:extLst>
            </p:cNvPr>
            <p:cNvSpPr/>
            <p:nvPr/>
          </p:nvSpPr>
          <p:spPr>
            <a:xfrm>
              <a:off x="640835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6" name="Google Shape;10589;p65">
              <a:extLst>
                <a:ext uri="{FF2B5EF4-FFF2-40B4-BE49-F238E27FC236}">
                  <a16:creationId xmlns:a16="http://schemas.microsoft.com/office/drawing/2014/main" id="{F8D612EB-7F1C-B997-269C-5E1F2DA4BCF1}"/>
                </a:ext>
              </a:extLst>
            </p:cNvPr>
            <p:cNvSpPr/>
            <p:nvPr/>
          </p:nvSpPr>
          <p:spPr>
            <a:xfrm>
              <a:off x="640835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7" name="Google Shape;10590;p65">
              <a:extLst>
                <a:ext uri="{FF2B5EF4-FFF2-40B4-BE49-F238E27FC236}">
                  <a16:creationId xmlns:a16="http://schemas.microsoft.com/office/drawing/2014/main" id="{38C230E9-FEE0-54F1-0C59-AA803429792F}"/>
                </a:ext>
              </a:extLst>
            </p:cNvPr>
            <p:cNvSpPr/>
            <p:nvPr/>
          </p:nvSpPr>
          <p:spPr>
            <a:xfrm>
              <a:off x="648457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8" name="Google Shape;10591;p65">
              <a:extLst>
                <a:ext uri="{FF2B5EF4-FFF2-40B4-BE49-F238E27FC236}">
                  <a16:creationId xmlns:a16="http://schemas.microsoft.com/office/drawing/2014/main" id="{6C72F02D-6238-41CA-6AC5-25695EF4F223}"/>
                </a:ext>
              </a:extLst>
            </p:cNvPr>
            <p:cNvSpPr/>
            <p:nvPr/>
          </p:nvSpPr>
          <p:spPr>
            <a:xfrm>
              <a:off x="64845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59" name="Google Shape;10592;p65">
              <a:extLst>
                <a:ext uri="{FF2B5EF4-FFF2-40B4-BE49-F238E27FC236}">
                  <a16:creationId xmlns:a16="http://schemas.microsoft.com/office/drawing/2014/main" id="{92059E8A-7FE0-912F-9D82-CD25D30F7E09}"/>
                </a:ext>
              </a:extLst>
            </p:cNvPr>
            <p:cNvSpPr/>
            <p:nvPr/>
          </p:nvSpPr>
          <p:spPr>
            <a:xfrm>
              <a:off x="64845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0" name="Google Shape;10593;p65">
              <a:extLst>
                <a:ext uri="{FF2B5EF4-FFF2-40B4-BE49-F238E27FC236}">
                  <a16:creationId xmlns:a16="http://schemas.microsoft.com/office/drawing/2014/main" id="{F2AB19E8-E927-36F5-3EE6-5994624A9DD0}"/>
                </a:ext>
              </a:extLst>
            </p:cNvPr>
            <p:cNvSpPr/>
            <p:nvPr/>
          </p:nvSpPr>
          <p:spPr>
            <a:xfrm>
              <a:off x="65608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1" name="Google Shape;10594;p65">
              <a:extLst>
                <a:ext uri="{FF2B5EF4-FFF2-40B4-BE49-F238E27FC236}">
                  <a16:creationId xmlns:a16="http://schemas.microsoft.com/office/drawing/2014/main" id="{7E259E5F-E8F6-E71B-312D-702309DAE917}"/>
                </a:ext>
              </a:extLst>
            </p:cNvPr>
            <p:cNvSpPr/>
            <p:nvPr/>
          </p:nvSpPr>
          <p:spPr>
            <a:xfrm>
              <a:off x="65608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2" name="Google Shape;10595;p65">
              <a:extLst>
                <a:ext uri="{FF2B5EF4-FFF2-40B4-BE49-F238E27FC236}">
                  <a16:creationId xmlns:a16="http://schemas.microsoft.com/office/drawing/2014/main" id="{06CD613C-1D27-5962-CFB9-A75D98053D25}"/>
                </a:ext>
              </a:extLst>
            </p:cNvPr>
            <p:cNvSpPr/>
            <p:nvPr/>
          </p:nvSpPr>
          <p:spPr>
            <a:xfrm>
              <a:off x="66370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3" name="Google Shape;10596;p65">
              <a:extLst>
                <a:ext uri="{FF2B5EF4-FFF2-40B4-BE49-F238E27FC236}">
                  <a16:creationId xmlns:a16="http://schemas.microsoft.com/office/drawing/2014/main" id="{70DF8C68-D1AC-63BE-E7D9-FFABB067DFB9}"/>
                </a:ext>
              </a:extLst>
            </p:cNvPr>
            <p:cNvSpPr/>
            <p:nvPr/>
          </p:nvSpPr>
          <p:spPr>
            <a:xfrm>
              <a:off x="709407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4" name="Google Shape;10597;p65">
              <a:extLst>
                <a:ext uri="{FF2B5EF4-FFF2-40B4-BE49-F238E27FC236}">
                  <a16:creationId xmlns:a16="http://schemas.microsoft.com/office/drawing/2014/main" id="{A73113B6-A260-1D3C-E813-37087F486B88}"/>
                </a:ext>
              </a:extLst>
            </p:cNvPr>
            <p:cNvSpPr/>
            <p:nvPr/>
          </p:nvSpPr>
          <p:spPr>
            <a:xfrm>
              <a:off x="67132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5" name="Google Shape;10598;p65">
              <a:extLst>
                <a:ext uri="{FF2B5EF4-FFF2-40B4-BE49-F238E27FC236}">
                  <a16:creationId xmlns:a16="http://schemas.microsoft.com/office/drawing/2014/main" id="{0C3F1A6F-44D1-479A-010F-3D1C798203D2}"/>
                </a:ext>
              </a:extLst>
            </p:cNvPr>
            <p:cNvSpPr/>
            <p:nvPr/>
          </p:nvSpPr>
          <p:spPr>
            <a:xfrm>
              <a:off x="678922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6" name="Google Shape;10599;p65">
              <a:extLst>
                <a:ext uri="{FF2B5EF4-FFF2-40B4-BE49-F238E27FC236}">
                  <a16:creationId xmlns:a16="http://schemas.microsoft.com/office/drawing/2014/main" id="{A2D3D4A2-892C-A556-E6F8-EECE9F733B45}"/>
                </a:ext>
              </a:extLst>
            </p:cNvPr>
            <p:cNvSpPr/>
            <p:nvPr/>
          </p:nvSpPr>
          <p:spPr>
            <a:xfrm>
              <a:off x="68656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7" name="Google Shape;10600;p65">
              <a:extLst>
                <a:ext uri="{FF2B5EF4-FFF2-40B4-BE49-F238E27FC236}">
                  <a16:creationId xmlns:a16="http://schemas.microsoft.com/office/drawing/2014/main" id="{AC9AAA0E-4CBD-9DE9-3C92-AEB23CBF3084}"/>
                </a:ext>
              </a:extLst>
            </p:cNvPr>
            <p:cNvSpPr/>
            <p:nvPr/>
          </p:nvSpPr>
          <p:spPr>
            <a:xfrm>
              <a:off x="701787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8" name="Google Shape;10601;p65">
              <a:extLst>
                <a:ext uri="{FF2B5EF4-FFF2-40B4-BE49-F238E27FC236}">
                  <a16:creationId xmlns:a16="http://schemas.microsoft.com/office/drawing/2014/main" id="{4806720F-CDFF-4928-8A39-36D609097BF3}"/>
                </a:ext>
              </a:extLst>
            </p:cNvPr>
            <p:cNvSpPr/>
            <p:nvPr/>
          </p:nvSpPr>
          <p:spPr>
            <a:xfrm>
              <a:off x="69418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69" name="Google Shape;10602;p65">
              <a:extLst>
                <a:ext uri="{FF2B5EF4-FFF2-40B4-BE49-F238E27FC236}">
                  <a16:creationId xmlns:a16="http://schemas.microsoft.com/office/drawing/2014/main" id="{EEC8411D-FC21-697F-F64D-15C30E53A9D6}"/>
                </a:ext>
              </a:extLst>
            </p:cNvPr>
            <p:cNvSpPr/>
            <p:nvPr/>
          </p:nvSpPr>
          <p:spPr>
            <a:xfrm>
              <a:off x="68656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0" name="Google Shape;10603;p65">
              <a:extLst>
                <a:ext uri="{FF2B5EF4-FFF2-40B4-BE49-F238E27FC236}">
                  <a16:creationId xmlns:a16="http://schemas.microsoft.com/office/drawing/2014/main" id="{51D305A2-8AEE-22F4-CCD1-3D14266949B6}"/>
                </a:ext>
              </a:extLst>
            </p:cNvPr>
            <p:cNvSpPr/>
            <p:nvPr/>
          </p:nvSpPr>
          <p:spPr>
            <a:xfrm>
              <a:off x="6789225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1" name="Google Shape;10604;p65">
              <a:extLst>
                <a:ext uri="{FF2B5EF4-FFF2-40B4-BE49-F238E27FC236}">
                  <a16:creationId xmlns:a16="http://schemas.microsoft.com/office/drawing/2014/main" id="{36AEF160-73E9-D555-EA3A-A5688F8F7B18}"/>
                </a:ext>
              </a:extLst>
            </p:cNvPr>
            <p:cNvSpPr/>
            <p:nvPr/>
          </p:nvSpPr>
          <p:spPr>
            <a:xfrm>
              <a:off x="67132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2" name="Google Shape;10605;p65">
              <a:extLst>
                <a:ext uri="{FF2B5EF4-FFF2-40B4-BE49-F238E27FC236}">
                  <a16:creationId xmlns:a16="http://schemas.microsoft.com/office/drawing/2014/main" id="{2F739C3A-3865-A1FB-D499-3494124FFDC2}"/>
                </a:ext>
              </a:extLst>
            </p:cNvPr>
            <p:cNvSpPr/>
            <p:nvPr/>
          </p:nvSpPr>
          <p:spPr>
            <a:xfrm>
              <a:off x="66370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3" name="Google Shape;10606;p65">
              <a:extLst>
                <a:ext uri="{FF2B5EF4-FFF2-40B4-BE49-F238E27FC236}">
                  <a16:creationId xmlns:a16="http://schemas.microsoft.com/office/drawing/2014/main" id="{EE4AFA05-1A74-750E-E852-73CF7F34C4AC}"/>
                </a:ext>
              </a:extLst>
            </p:cNvPr>
            <p:cNvSpPr/>
            <p:nvPr/>
          </p:nvSpPr>
          <p:spPr>
            <a:xfrm>
              <a:off x="663700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4" name="Google Shape;10607;p65">
              <a:extLst>
                <a:ext uri="{FF2B5EF4-FFF2-40B4-BE49-F238E27FC236}">
                  <a16:creationId xmlns:a16="http://schemas.microsoft.com/office/drawing/2014/main" id="{518867DC-9D61-08AF-A334-1BEF23E7CF42}"/>
                </a:ext>
              </a:extLst>
            </p:cNvPr>
            <p:cNvSpPr/>
            <p:nvPr/>
          </p:nvSpPr>
          <p:spPr>
            <a:xfrm>
              <a:off x="656080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5" name="Google Shape;10608;p65">
              <a:extLst>
                <a:ext uri="{FF2B5EF4-FFF2-40B4-BE49-F238E27FC236}">
                  <a16:creationId xmlns:a16="http://schemas.microsoft.com/office/drawing/2014/main" id="{3B3580B2-4B8B-3E11-C173-6F82756EA590}"/>
                </a:ext>
              </a:extLst>
            </p:cNvPr>
            <p:cNvSpPr/>
            <p:nvPr/>
          </p:nvSpPr>
          <p:spPr>
            <a:xfrm>
              <a:off x="64845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5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6" name="Google Shape;10609;p65">
              <a:extLst>
                <a:ext uri="{FF2B5EF4-FFF2-40B4-BE49-F238E27FC236}">
                  <a16:creationId xmlns:a16="http://schemas.microsoft.com/office/drawing/2014/main" id="{0A9D2B9A-A4E0-CDEA-65F1-C1E8A059F056}"/>
                </a:ext>
              </a:extLst>
            </p:cNvPr>
            <p:cNvSpPr/>
            <p:nvPr/>
          </p:nvSpPr>
          <p:spPr>
            <a:xfrm>
              <a:off x="640835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7" name="Google Shape;10610;p65">
              <a:extLst>
                <a:ext uri="{FF2B5EF4-FFF2-40B4-BE49-F238E27FC236}">
                  <a16:creationId xmlns:a16="http://schemas.microsoft.com/office/drawing/2014/main" id="{ECFF0958-64BF-2A9F-7F1B-A4D2C5236653}"/>
                </a:ext>
              </a:extLst>
            </p:cNvPr>
            <p:cNvSpPr/>
            <p:nvPr/>
          </p:nvSpPr>
          <p:spPr>
            <a:xfrm>
              <a:off x="63323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8" name="Google Shape;10611;p65">
              <a:extLst>
                <a:ext uri="{FF2B5EF4-FFF2-40B4-BE49-F238E27FC236}">
                  <a16:creationId xmlns:a16="http://schemas.microsoft.com/office/drawing/2014/main" id="{7E7C457A-2573-FF48-B3D9-D592A43F2A65}"/>
                </a:ext>
              </a:extLst>
            </p:cNvPr>
            <p:cNvSpPr/>
            <p:nvPr/>
          </p:nvSpPr>
          <p:spPr>
            <a:xfrm>
              <a:off x="58752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79" name="Google Shape;10612;p65">
              <a:extLst>
                <a:ext uri="{FF2B5EF4-FFF2-40B4-BE49-F238E27FC236}">
                  <a16:creationId xmlns:a16="http://schemas.microsoft.com/office/drawing/2014/main" id="{C0EFE3A9-102B-0990-1615-15C0D00F6B02}"/>
                </a:ext>
              </a:extLst>
            </p:cNvPr>
            <p:cNvSpPr/>
            <p:nvPr/>
          </p:nvSpPr>
          <p:spPr>
            <a:xfrm>
              <a:off x="58752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0" name="Google Shape;10613;p65">
              <a:extLst>
                <a:ext uri="{FF2B5EF4-FFF2-40B4-BE49-F238E27FC236}">
                  <a16:creationId xmlns:a16="http://schemas.microsoft.com/office/drawing/2014/main" id="{F75247D8-77E6-0255-F72E-B141BE4A7938}"/>
                </a:ext>
              </a:extLst>
            </p:cNvPr>
            <p:cNvSpPr/>
            <p:nvPr/>
          </p:nvSpPr>
          <p:spPr>
            <a:xfrm>
              <a:off x="59514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1" name="Google Shape;10614;p65">
              <a:extLst>
                <a:ext uri="{FF2B5EF4-FFF2-40B4-BE49-F238E27FC236}">
                  <a16:creationId xmlns:a16="http://schemas.microsoft.com/office/drawing/2014/main" id="{11DDCE0A-3C5F-4F73-7D15-21BDA5994BCC}"/>
                </a:ext>
              </a:extLst>
            </p:cNvPr>
            <p:cNvSpPr/>
            <p:nvPr/>
          </p:nvSpPr>
          <p:spPr>
            <a:xfrm>
              <a:off x="59514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2" name="Google Shape;10615;p65">
              <a:extLst>
                <a:ext uri="{FF2B5EF4-FFF2-40B4-BE49-F238E27FC236}">
                  <a16:creationId xmlns:a16="http://schemas.microsoft.com/office/drawing/2014/main" id="{3D9EA44D-EF86-02C6-4B53-BBC670A29FAD}"/>
                </a:ext>
              </a:extLst>
            </p:cNvPr>
            <p:cNvSpPr/>
            <p:nvPr/>
          </p:nvSpPr>
          <p:spPr>
            <a:xfrm>
              <a:off x="59514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3" name="Google Shape;10616;p65">
              <a:extLst>
                <a:ext uri="{FF2B5EF4-FFF2-40B4-BE49-F238E27FC236}">
                  <a16:creationId xmlns:a16="http://schemas.microsoft.com/office/drawing/2014/main" id="{9165BCA5-0CC9-EBBA-C028-4BD1497A7E9C}"/>
                </a:ext>
              </a:extLst>
            </p:cNvPr>
            <p:cNvSpPr/>
            <p:nvPr/>
          </p:nvSpPr>
          <p:spPr>
            <a:xfrm>
              <a:off x="59514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4" name="Google Shape;10617;p65">
              <a:extLst>
                <a:ext uri="{FF2B5EF4-FFF2-40B4-BE49-F238E27FC236}">
                  <a16:creationId xmlns:a16="http://schemas.microsoft.com/office/drawing/2014/main" id="{26713478-2CB9-4DD7-4419-2F48294D27AA}"/>
                </a:ext>
              </a:extLst>
            </p:cNvPr>
            <p:cNvSpPr/>
            <p:nvPr/>
          </p:nvSpPr>
          <p:spPr>
            <a:xfrm>
              <a:off x="59514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5" name="Google Shape;10618;p65">
              <a:extLst>
                <a:ext uri="{FF2B5EF4-FFF2-40B4-BE49-F238E27FC236}">
                  <a16:creationId xmlns:a16="http://schemas.microsoft.com/office/drawing/2014/main" id="{B1732A29-A991-E71C-5386-6AC50C2BFBBB}"/>
                </a:ext>
              </a:extLst>
            </p:cNvPr>
            <p:cNvSpPr/>
            <p:nvPr/>
          </p:nvSpPr>
          <p:spPr>
            <a:xfrm>
              <a:off x="59514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6" name="Google Shape;10619;p65">
              <a:extLst>
                <a:ext uri="{FF2B5EF4-FFF2-40B4-BE49-F238E27FC236}">
                  <a16:creationId xmlns:a16="http://schemas.microsoft.com/office/drawing/2014/main" id="{790EE0F7-3EFA-E988-5F1F-8C38E4088F21}"/>
                </a:ext>
              </a:extLst>
            </p:cNvPr>
            <p:cNvSpPr/>
            <p:nvPr/>
          </p:nvSpPr>
          <p:spPr>
            <a:xfrm>
              <a:off x="595147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7" name="Google Shape;10620;p65">
              <a:extLst>
                <a:ext uri="{FF2B5EF4-FFF2-40B4-BE49-F238E27FC236}">
                  <a16:creationId xmlns:a16="http://schemas.microsoft.com/office/drawing/2014/main" id="{3B54E677-6F58-0CB7-F0A1-48755964489F}"/>
                </a:ext>
              </a:extLst>
            </p:cNvPr>
            <p:cNvSpPr/>
            <p:nvPr/>
          </p:nvSpPr>
          <p:spPr>
            <a:xfrm>
              <a:off x="59514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8" name="Google Shape;10621;p65">
              <a:extLst>
                <a:ext uri="{FF2B5EF4-FFF2-40B4-BE49-F238E27FC236}">
                  <a16:creationId xmlns:a16="http://schemas.microsoft.com/office/drawing/2014/main" id="{C6E90634-D051-973C-F1CF-0E1F9CD84E6A}"/>
                </a:ext>
              </a:extLst>
            </p:cNvPr>
            <p:cNvSpPr/>
            <p:nvPr/>
          </p:nvSpPr>
          <p:spPr>
            <a:xfrm>
              <a:off x="59514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89" name="Google Shape;10622;p65">
              <a:extLst>
                <a:ext uri="{FF2B5EF4-FFF2-40B4-BE49-F238E27FC236}">
                  <a16:creationId xmlns:a16="http://schemas.microsoft.com/office/drawing/2014/main" id="{F46D852C-868C-4545-BFFE-933F3706850E}"/>
                </a:ext>
              </a:extLst>
            </p:cNvPr>
            <p:cNvSpPr/>
            <p:nvPr/>
          </p:nvSpPr>
          <p:spPr>
            <a:xfrm>
              <a:off x="60275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0" name="Google Shape;10623;p65">
              <a:extLst>
                <a:ext uri="{FF2B5EF4-FFF2-40B4-BE49-F238E27FC236}">
                  <a16:creationId xmlns:a16="http://schemas.microsoft.com/office/drawing/2014/main" id="{D9C3AB5D-EAF6-61F8-5AD0-6C026F88120D}"/>
                </a:ext>
              </a:extLst>
            </p:cNvPr>
            <p:cNvSpPr/>
            <p:nvPr/>
          </p:nvSpPr>
          <p:spPr>
            <a:xfrm>
              <a:off x="60275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1" name="Google Shape;10624;p65">
              <a:extLst>
                <a:ext uri="{FF2B5EF4-FFF2-40B4-BE49-F238E27FC236}">
                  <a16:creationId xmlns:a16="http://schemas.microsoft.com/office/drawing/2014/main" id="{6557F743-6F37-52D3-E5F6-2277D8BDB01D}"/>
                </a:ext>
              </a:extLst>
            </p:cNvPr>
            <p:cNvSpPr/>
            <p:nvPr/>
          </p:nvSpPr>
          <p:spPr>
            <a:xfrm>
              <a:off x="60275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3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2" name="Google Shape;10625;p65">
              <a:extLst>
                <a:ext uri="{FF2B5EF4-FFF2-40B4-BE49-F238E27FC236}">
                  <a16:creationId xmlns:a16="http://schemas.microsoft.com/office/drawing/2014/main" id="{768F96D3-7A38-24A7-8720-D6B3294AD9F8}"/>
                </a:ext>
              </a:extLst>
            </p:cNvPr>
            <p:cNvSpPr/>
            <p:nvPr/>
          </p:nvSpPr>
          <p:spPr>
            <a:xfrm>
              <a:off x="60275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3" name="Google Shape;10626;p65">
              <a:extLst>
                <a:ext uri="{FF2B5EF4-FFF2-40B4-BE49-F238E27FC236}">
                  <a16:creationId xmlns:a16="http://schemas.microsoft.com/office/drawing/2014/main" id="{1913084D-216C-86AF-EE4F-8891B529FB7F}"/>
                </a:ext>
              </a:extLst>
            </p:cNvPr>
            <p:cNvSpPr/>
            <p:nvPr/>
          </p:nvSpPr>
          <p:spPr>
            <a:xfrm>
              <a:off x="60275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4" name="Google Shape;10627;p65">
              <a:extLst>
                <a:ext uri="{FF2B5EF4-FFF2-40B4-BE49-F238E27FC236}">
                  <a16:creationId xmlns:a16="http://schemas.microsoft.com/office/drawing/2014/main" id="{9F26BF76-D40D-A6D5-A2D3-670ED0BC938A}"/>
                </a:ext>
              </a:extLst>
            </p:cNvPr>
            <p:cNvSpPr/>
            <p:nvPr/>
          </p:nvSpPr>
          <p:spPr>
            <a:xfrm>
              <a:off x="60275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5" name="Google Shape;10628;p65">
              <a:extLst>
                <a:ext uri="{FF2B5EF4-FFF2-40B4-BE49-F238E27FC236}">
                  <a16:creationId xmlns:a16="http://schemas.microsoft.com/office/drawing/2014/main" id="{CCF41DFB-2BB8-A221-F15A-B8E357D02608}"/>
                </a:ext>
              </a:extLst>
            </p:cNvPr>
            <p:cNvSpPr/>
            <p:nvPr/>
          </p:nvSpPr>
          <p:spPr>
            <a:xfrm>
              <a:off x="6027500" y="18760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6" name="Google Shape;10629;p65">
              <a:extLst>
                <a:ext uri="{FF2B5EF4-FFF2-40B4-BE49-F238E27FC236}">
                  <a16:creationId xmlns:a16="http://schemas.microsoft.com/office/drawing/2014/main" id="{DCF862BF-A851-4C1E-478B-1579B2440357}"/>
                </a:ext>
              </a:extLst>
            </p:cNvPr>
            <p:cNvSpPr/>
            <p:nvPr/>
          </p:nvSpPr>
          <p:spPr>
            <a:xfrm>
              <a:off x="60275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9" y="481"/>
                    <a:pt x="0" y="1074"/>
                  </a:cubicBezTo>
                  <a:cubicBezTo>
                    <a:pt x="0" y="1712"/>
                    <a:pt x="529" y="2138"/>
                    <a:pt x="1077" y="2138"/>
                  </a:cubicBezTo>
                  <a:cubicBezTo>
                    <a:pt x="1339" y="2138"/>
                    <a:pt x="1606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7" name="Google Shape;10630;p65">
              <a:extLst>
                <a:ext uri="{FF2B5EF4-FFF2-40B4-BE49-F238E27FC236}">
                  <a16:creationId xmlns:a16="http://schemas.microsoft.com/office/drawing/2014/main" id="{F69E12B4-950F-4A45-EC0B-BE3DFCA16DC4}"/>
                </a:ext>
              </a:extLst>
            </p:cNvPr>
            <p:cNvSpPr/>
            <p:nvPr/>
          </p:nvSpPr>
          <p:spPr>
            <a:xfrm>
              <a:off x="6103700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8" name="Google Shape;10631;p65">
              <a:extLst>
                <a:ext uri="{FF2B5EF4-FFF2-40B4-BE49-F238E27FC236}">
                  <a16:creationId xmlns:a16="http://schemas.microsoft.com/office/drawing/2014/main" id="{30829320-D616-398E-DDB8-5624A49E2AAC}"/>
                </a:ext>
              </a:extLst>
            </p:cNvPr>
            <p:cNvSpPr/>
            <p:nvPr/>
          </p:nvSpPr>
          <p:spPr>
            <a:xfrm>
              <a:off x="6103700" y="14952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499" name="Google Shape;10632;p65">
              <a:extLst>
                <a:ext uri="{FF2B5EF4-FFF2-40B4-BE49-F238E27FC236}">
                  <a16:creationId xmlns:a16="http://schemas.microsoft.com/office/drawing/2014/main" id="{1A3ED694-1C1F-1B35-2C30-4F4964912355}"/>
                </a:ext>
              </a:extLst>
            </p:cNvPr>
            <p:cNvSpPr/>
            <p:nvPr/>
          </p:nvSpPr>
          <p:spPr>
            <a:xfrm>
              <a:off x="6103700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4" y="2129"/>
                  </a:cubicBezTo>
                  <a:cubicBezTo>
                    <a:pt x="1336" y="2129"/>
                    <a:pt x="1604" y="2032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0" name="Google Shape;10633;p65">
              <a:extLst>
                <a:ext uri="{FF2B5EF4-FFF2-40B4-BE49-F238E27FC236}">
                  <a16:creationId xmlns:a16="http://schemas.microsoft.com/office/drawing/2014/main" id="{4BAFA36F-332F-F04B-2D9D-01CF8C9AB7B3}"/>
                </a:ext>
              </a:extLst>
            </p:cNvPr>
            <p:cNvSpPr/>
            <p:nvPr/>
          </p:nvSpPr>
          <p:spPr>
            <a:xfrm>
              <a:off x="610370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1" name="Google Shape;10634;p65">
              <a:extLst>
                <a:ext uri="{FF2B5EF4-FFF2-40B4-BE49-F238E27FC236}">
                  <a16:creationId xmlns:a16="http://schemas.microsoft.com/office/drawing/2014/main" id="{D98D3F18-61E8-AB3E-A850-C8D0836EEAA9}"/>
                </a:ext>
              </a:extLst>
            </p:cNvPr>
            <p:cNvSpPr/>
            <p:nvPr/>
          </p:nvSpPr>
          <p:spPr>
            <a:xfrm>
              <a:off x="6103700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2" name="Google Shape;10635;p65">
              <a:extLst>
                <a:ext uri="{FF2B5EF4-FFF2-40B4-BE49-F238E27FC236}">
                  <a16:creationId xmlns:a16="http://schemas.microsoft.com/office/drawing/2014/main" id="{53998D8E-5B08-C1CF-7DF5-2A31483326CC}"/>
                </a:ext>
              </a:extLst>
            </p:cNvPr>
            <p:cNvSpPr/>
            <p:nvPr/>
          </p:nvSpPr>
          <p:spPr>
            <a:xfrm>
              <a:off x="610370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3" name="Google Shape;10636;p65">
              <a:extLst>
                <a:ext uri="{FF2B5EF4-FFF2-40B4-BE49-F238E27FC236}">
                  <a16:creationId xmlns:a16="http://schemas.microsoft.com/office/drawing/2014/main" id="{8C1E6996-58E3-5D06-CC69-2B22ADFE2DD8}"/>
                </a:ext>
              </a:extLst>
            </p:cNvPr>
            <p:cNvSpPr/>
            <p:nvPr/>
          </p:nvSpPr>
          <p:spPr>
            <a:xfrm>
              <a:off x="6103700" y="1876050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1"/>
                  </a:moveTo>
                  <a:cubicBezTo>
                    <a:pt x="481" y="1"/>
                    <a:pt x="9" y="472"/>
                    <a:pt x="1" y="1066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3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4" name="Google Shape;10637;p65">
              <a:extLst>
                <a:ext uri="{FF2B5EF4-FFF2-40B4-BE49-F238E27FC236}">
                  <a16:creationId xmlns:a16="http://schemas.microsoft.com/office/drawing/2014/main" id="{5875F7F1-15FE-869B-B96F-8432B3096EBB}"/>
                </a:ext>
              </a:extLst>
            </p:cNvPr>
            <p:cNvSpPr/>
            <p:nvPr/>
          </p:nvSpPr>
          <p:spPr>
            <a:xfrm>
              <a:off x="6103700" y="19520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9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5" name="Google Shape;10638;p65">
              <a:extLst>
                <a:ext uri="{FF2B5EF4-FFF2-40B4-BE49-F238E27FC236}">
                  <a16:creationId xmlns:a16="http://schemas.microsoft.com/office/drawing/2014/main" id="{56F822F4-FF8F-43DB-E8A4-A09F0CF17C38}"/>
                </a:ext>
              </a:extLst>
            </p:cNvPr>
            <p:cNvSpPr/>
            <p:nvPr/>
          </p:nvSpPr>
          <p:spPr>
            <a:xfrm>
              <a:off x="61799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6" name="Google Shape;10639;p65">
              <a:extLst>
                <a:ext uri="{FF2B5EF4-FFF2-40B4-BE49-F238E27FC236}">
                  <a16:creationId xmlns:a16="http://schemas.microsoft.com/office/drawing/2014/main" id="{B6FA08A2-888E-9EB1-E49B-0E7E74183FFB}"/>
                </a:ext>
              </a:extLst>
            </p:cNvPr>
            <p:cNvSpPr/>
            <p:nvPr/>
          </p:nvSpPr>
          <p:spPr>
            <a:xfrm>
              <a:off x="61799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7" name="Google Shape;10640;p65">
              <a:extLst>
                <a:ext uri="{FF2B5EF4-FFF2-40B4-BE49-F238E27FC236}">
                  <a16:creationId xmlns:a16="http://schemas.microsoft.com/office/drawing/2014/main" id="{42954ACF-76F4-9578-9755-EFA759B6722A}"/>
                </a:ext>
              </a:extLst>
            </p:cNvPr>
            <p:cNvSpPr/>
            <p:nvPr/>
          </p:nvSpPr>
          <p:spPr>
            <a:xfrm>
              <a:off x="61799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8" name="Google Shape;10641;p65">
              <a:extLst>
                <a:ext uri="{FF2B5EF4-FFF2-40B4-BE49-F238E27FC236}">
                  <a16:creationId xmlns:a16="http://schemas.microsoft.com/office/drawing/2014/main" id="{57F8F12A-46EB-EEC2-7079-58D38BF32D7D}"/>
                </a:ext>
              </a:extLst>
            </p:cNvPr>
            <p:cNvSpPr/>
            <p:nvPr/>
          </p:nvSpPr>
          <p:spPr>
            <a:xfrm>
              <a:off x="625615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09" name="Google Shape;10642;p65">
              <a:extLst>
                <a:ext uri="{FF2B5EF4-FFF2-40B4-BE49-F238E27FC236}">
                  <a16:creationId xmlns:a16="http://schemas.microsoft.com/office/drawing/2014/main" id="{A124743E-3543-2EB2-B5C3-0B7F5EC21C16}"/>
                </a:ext>
              </a:extLst>
            </p:cNvPr>
            <p:cNvSpPr/>
            <p:nvPr/>
          </p:nvSpPr>
          <p:spPr>
            <a:xfrm>
              <a:off x="62561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0" name="Google Shape;10643;p65">
              <a:extLst>
                <a:ext uri="{FF2B5EF4-FFF2-40B4-BE49-F238E27FC236}">
                  <a16:creationId xmlns:a16="http://schemas.microsoft.com/office/drawing/2014/main" id="{7AE0CD1C-8AF1-8A5A-B3A8-7B320B2FFEBD}"/>
                </a:ext>
              </a:extLst>
            </p:cNvPr>
            <p:cNvSpPr/>
            <p:nvPr/>
          </p:nvSpPr>
          <p:spPr>
            <a:xfrm>
              <a:off x="62561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4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1" name="Google Shape;10644;p65">
              <a:extLst>
                <a:ext uri="{FF2B5EF4-FFF2-40B4-BE49-F238E27FC236}">
                  <a16:creationId xmlns:a16="http://schemas.microsoft.com/office/drawing/2014/main" id="{BFEF506A-6B1F-8EBD-E3B0-373CF4B3F93A}"/>
                </a:ext>
              </a:extLst>
            </p:cNvPr>
            <p:cNvSpPr/>
            <p:nvPr/>
          </p:nvSpPr>
          <p:spPr>
            <a:xfrm>
              <a:off x="62561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2" name="Google Shape;10645;p65">
              <a:extLst>
                <a:ext uri="{FF2B5EF4-FFF2-40B4-BE49-F238E27FC236}">
                  <a16:creationId xmlns:a16="http://schemas.microsoft.com/office/drawing/2014/main" id="{0624C4D9-6DA7-8D00-AF45-D6F6C31E57D6}"/>
                </a:ext>
              </a:extLst>
            </p:cNvPr>
            <p:cNvSpPr/>
            <p:nvPr/>
          </p:nvSpPr>
          <p:spPr>
            <a:xfrm>
              <a:off x="61799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3" name="Google Shape;10646;p65">
              <a:extLst>
                <a:ext uri="{FF2B5EF4-FFF2-40B4-BE49-F238E27FC236}">
                  <a16:creationId xmlns:a16="http://schemas.microsoft.com/office/drawing/2014/main" id="{483A29AE-2039-4255-4A05-D97A587FED6A}"/>
                </a:ext>
              </a:extLst>
            </p:cNvPr>
            <p:cNvSpPr/>
            <p:nvPr/>
          </p:nvSpPr>
          <p:spPr>
            <a:xfrm>
              <a:off x="61799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4" name="Google Shape;10647;p65">
              <a:extLst>
                <a:ext uri="{FF2B5EF4-FFF2-40B4-BE49-F238E27FC236}">
                  <a16:creationId xmlns:a16="http://schemas.microsoft.com/office/drawing/2014/main" id="{DAD9CC30-7F0C-3985-6EF1-8144221E26E5}"/>
                </a:ext>
              </a:extLst>
            </p:cNvPr>
            <p:cNvSpPr/>
            <p:nvPr/>
          </p:nvSpPr>
          <p:spPr>
            <a:xfrm>
              <a:off x="61799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5" name="Google Shape;10648;p65">
              <a:extLst>
                <a:ext uri="{FF2B5EF4-FFF2-40B4-BE49-F238E27FC236}">
                  <a16:creationId xmlns:a16="http://schemas.microsoft.com/office/drawing/2014/main" id="{AFB63E7A-1ADE-5EE9-B66B-0B46AFB770BB}"/>
                </a:ext>
              </a:extLst>
            </p:cNvPr>
            <p:cNvSpPr/>
            <p:nvPr/>
          </p:nvSpPr>
          <p:spPr>
            <a:xfrm>
              <a:off x="6179925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6" name="Google Shape;10649;p65">
              <a:extLst>
                <a:ext uri="{FF2B5EF4-FFF2-40B4-BE49-F238E27FC236}">
                  <a16:creationId xmlns:a16="http://schemas.microsoft.com/office/drawing/2014/main" id="{79BB3E24-0E12-D381-8839-AC1AC575F59E}"/>
                </a:ext>
              </a:extLst>
            </p:cNvPr>
            <p:cNvSpPr/>
            <p:nvPr/>
          </p:nvSpPr>
          <p:spPr>
            <a:xfrm>
              <a:off x="61799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7" name="Google Shape;10650;p65">
              <a:extLst>
                <a:ext uri="{FF2B5EF4-FFF2-40B4-BE49-F238E27FC236}">
                  <a16:creationId xmlns:a16="http://schemas.microsoft.com/office/drawing/2014/main" id="{BDD8293C-CAE9-D218-8008-EE42697E6D08}"/>
                </a:ext>
              </a:extLst>
            </p:cNvPr>
            <p:cNvSpPr/>
            <p:nvPr/>
          </p:nvSpPr>
          <p:spPr>
            <a:xfrm>
              <a:off x="61799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8" name="Google Shape;10651;p65">
              <a:extLst>
                <a:ext uri="{FF2B5EF4-FFF2-40B4-BE49-F238E27FC236}">
                  <a16:creationId xmlns:a16="http://schemas.microsoft.com/office/drawing/2014/main" id="{5872E114-D998-FD4E-C890-65A4383B51A3}"/>
                </a:ext>
              </a:extLst>
            </p:cNvPr>
            <p:cNvSpPr/>
            <p:nvPr/>
          </p:nvSpPr>
          <p:spPr>
            <a:xfrm>
              <a:off x="61037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19" name="Google Shape;10652;p65">
              <a:extLst>
                <a:ext uri="{FF2B5EF4-FFF2-40B4-BE49-F238E27FC236}">
                  <a16:creationId xmlns:a16="http://schemas.microsoft.com/office/drawing/2014/main" id="{C09CC2B3-4430-675B-2C10-CEDAB9E57B09}"/>
                </a:ext>
              </a:extLst>
            </p:cNvPr>
            <p:cNvSpPr/>
            <p:nvPr/>
          </p:nvSpPr>
          <p:spPr>
            <a:xfrm>
              <a:off x="6027500" y="20282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40"/>
                    <a:pt x="1821" y="1821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0" name="Google Shape;10653;p65">
              <a:extLst>
                <a:ext uri="{FF2B5EF4-FFF2-40B4-BE49-F238E27FC236}">
                  <a16:creationId xmlns:a16="http://schemas.microsoft.com/office/drawing/2014/main" id="{EEA6600F-C62F-6C01-CAC0-6D63B6BF16D1}"/>
                </a:ext>
              </a:extLst>
            </p:cNvPr>
            <p:cNvSpPr/>
            <p:nvPr/>
          </p:nvSpPr>
          <p:spPr>
            <a:xfrm>
              <a:off x="60275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1" name="Google Shape;10654;p65">
              <a:extLst>
                <a:ext uri="{FF2B5EF4-FFF2-40B4-BE49-F238E27FC236}">
                  <a16:creationId xmlns:a16="http://schemas.microsoft.com/office/drawing/2014/main" id="{67284327-B7A7-E999-8082-12988C6E241A}"/>
                </a:ext>
              </a:extLst>
            </p:cNvPr>
            <p:cNvSpPr/>
            <p:nvPr/>
          </p:nvSpPr>
          <p:spPr>
            <a:xfrm>
              <a:off x="59514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2" name="Google Shape;10655;p65">
              <a:extLst>
                <a:ext uri="{FF2B5EF4-FFF2-40B4-BE49-F238E27FC236}">
                  <a16:creationId xmlns:a16="http://schemas.microsoft.com/office/drawing/2014/main" id="{9AE0BF0F-0199-0FCD-3C6A-D2F88FA53EFE}"/>
                </a:ext>
              </a:extLst>
            </p:cNvPr>
            <p:cNvSpPr/>
            <p:nvPr/>
          </p:nvSpPr>
          <p:spPr>
            <a:xfrm>
              <a:off x="54944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3" name="Google Shape;10656;p65">
              <a:extLst>
                <a:ext uri="{FF2B5EF4-FFF2-40B4-BE49-F238E27FC236}">
                  <a16:creationId xmlns:a16="http://schemas.microsoft.com/office/drawing/2014/main" id="{329114F2-97B4-34C9-EAFE-88824E5BDAD8}"/>
                </a:ext>
              </a:extLst>
            </p:cNvPr>
            <p:cNvSpPr/>
            <p:nvPr/>
          </p:nvSpPr>
          <p:spPr>
            <a:xfrm>
              <a:off x="549440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4" name="Google Shape;10657;p65">
              <a:extLst>
                <a:ext uri="{FF2B5EF4-FFF2-40B4-BE49-F238E27FC236}">
                  <a16:creationId xmlns:a16="http://schemas.microsoft.com/office/drawing/2014/main" id="{1991157E-93DE-51DF-7622-12509F7D556F}"/>
                </a:ext>
              </a:extLst>
            </p:cNvPr>
            <p:cNvSpPr/>
            <p:nvPr/>
          </p:nvSpPr>
          <p:spPr>
            <a:xfrm>
              <a:off x="549440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5" name="Google Shape;10658;p65">
              <a:extLst>
                <a:ext uri="{FF2B5EF4-FFF2-40B4-BE49-F238E27FC236}">
                  <a16:creationId xmlns:a16="http://schemas.microsoft.com/office/drawing/2014/main" id="{DC539212-C7C1-1F30-BB41-8168C93750CD}"/>
                </a:ext>
              </a:extLst>
            </p:cNvPr>
            <p:cNvSpPr/>
            <p:nvPr/>
          </p:nvSpPr>
          <p:spPr>
            <a:xfrm>
              <a:off x="5494400" y="18760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5"/>
                    <a:pt x="525" y="2132"/>
                    <a:pt x="1072" y="2132"/>
                  </a:cubicBezTo>
                  <a:cubicBezTo>
                    <a:pt x="1332" y="2132"/>
                    <a:pt x="1597" y="2036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6" name="Google Shape;10659;p65">
              <a:extLst>
                <a:ext uri="{FF2B5EF4-FFF2-40B4-BE49-F238E27FC236}">
                  <a16:creationId xmlns:a16="http://schemas.microsoft.com/office/drawing/2014/main" id="{D0765693-C87B-FF87-695A-9217A4776655}"/>
                </a:ext>
              </a:extLst>
            </p:cNvPr>
            <p:cNvSpPr/>
            <p:nvPr/>
          </p:nvSpPr>
          <p:spPr>
            <a:xfrm>
              <a:off x="549440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7" name="Google Shape;10660;p65">
              <a:extLst>
                <a:ext uri="{FF2B5EF4-FFF2-40B4-BE49-F238E27FC236}">
                  <a16:creationId xmlns:a16="http://schemas.microsoft.com/office/drawing/2014/main" id="{D747EA07-8CC2-44E0-3C9F-4D570CC9C201}"/>
                </a:ext>
              </a:extLst>
            </p:cNvPr>
            <p:cNvSpPr/>
            <p:nvPr/>
          </p:nvSpPr>
          <p:spPr>
            <a:xfrm>
              <a:off x="549440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1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8" name="Google Shape;10661;p65">
              <a:extLst>
                <a:ext uri="{FF2B5EF4-FFF2-40B4-BE49-F238E27FC236}">
                  <a16:creationId xmlns:a16="http://schemas.microsoft.com/office/drawing/2014/main" id="{F8DEEE4C-F023-DB1E-E4DF-68FD0BEEB080}"/>
                </a:ext>
              </a:extLst>
            </p:cNvPr>
            <p:cNvSpPr/>
            <p:nvPr/>
          </p:nvSpPr>
          <p:spPr>
            <a:xfrm>
              <a:off x="549440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29" name="Google Shape;10662;p65">
              <a:extLst>
                <a:ext uri="{FF2B5EF4-FFF2-40B4-BE49-F238E27FC236}">
                  <a16:creationId xmlns:a16="http://schemas.microsoft.com/office/drawing/2014/main" id="{432F5D73-76D5-E509-6E2A-6549DDE8660B}"/>
                </a:ext>
              </a:extLst>
            </p:cNvPr>
            <p:cNvSpPr/>
            <p:nvPr/>
          </p:nvSpPr>
          <p:spPr>
            <a:xfrm>
              <a:off x="549440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0" name="Google Shape;10663;p65">
              <a:extLst>
                <a:ext uri="{FF2B5EF4-FFF2-40B4-BE49-F238E27FC236}">
                  <a16:creationId xmlns:a16="http://schemas.microsoft.com/office/drawing/2014/main" id="{DA59C92C-77DF-C124-46D8-E96F2E462C36}"/>
                </a:ext>
              </a:extLst>
            </p:cNvPr>
            <p:cNvSpPr/>
            <p:nvPr/>
          </p:nvSpPr>
          <p:spPr>
            <a:xfrm>
              <a:off x="5494400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78" y="2137"/>
                  </a:cubicBezTo>
                  <a:cubicBezTo>
                    <a:pt x="1340" y="2137"/>
                    <a:pt x="1606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1" name="Google Shape;10664;p65">
              <a:extLst>
                <a:ext uri="{FF2B5EF4-FFF2-40B4-BE49-F238E27FC236}">
                  <a16:creationId xmlns:a16="http://schemas.microsoft.com/office/drawing/2014/main" id="{CDAE8B3A-E518-0415-BEA8-6A520C6C0AA4}"/>
                </a:ext>
              </a:extLst>
            </p:cNvPr>
            <p:cNvSpPr/>
            <p:nvPr/>
          </p:nvSpPr>
          <p:spPr>
            <a:xfrm>
              <a:off x="54944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2" name="Google Shape;10665;p65">
              <a:extLst>
                <a:ext uri="{FF2B5EF4-FFF2-40B4-BE49-F238E27FC236}">
                  <a16:creationId xmlns:a16="http://schemas.microsoft.com/office/drawing/2014/main" id="{524C4165-55EA-B98D-FE19-4D0E6CC4CB5F}"/>
                </a:ext>
              </a:extLst>
            </p:cNvPr>
            <p:cNvSpPr/>
            <p:nvPr/>
          </p:nvSpPr>
          <p:spPr>
            <a:xfrm>
              <a:off x="54944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3" name="Google Shape;10666;p65">
              <a:extLst>
                <a:ext uri="{FF2B5EF4-FFF2-40B4-BE49-F238E27FC236}">
                  <a16:creationId xmlns:a16="http://schemas.microsoft.com/office/drawing/2014/main" id="{7A4912A9-3B82-4AF0-FAFA-D60B5EEE8926}"/>
                </a:ext>
              </a:extLst>
            </p:cNvPr>
            <p:cNvSpPr/>
            <p:nvPr/>
          </p:nvSpPr>
          <p:spPr>
            <a:xfrm>
              <a:off x="54944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80" y="0"/>
                    <a:pt x="1" y="480"/>
                    <a:pt x="1" y="1073"/>
                  </a:cubicBezTo>
                  <a:cubicBezTo>
                    <a:pt x="1" y="1711"/>
                    <a:pt x="522" y="2137"/>
                    <a:pt x="1067" y="2137"/>
                  </a:cubicBezTo>
                  <a:cubicBezTo>
                    <a:pt x="1329" y="2137"/>
                    <a:pt x="1595" y="2039"/>
                    <a:pt x="1814" y="1821"/>
                  </a:cubicBezTo>
                  <a:cubicBezTo>
                    <a:pt x="2488" y="1154"/>
                    <a:pt x="2017" y="8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4" name="Google Shape;10667;p65">
              <a:extLst>
                <a:ext uri="{FF2B5EF4-FFF2-40B4-BE49-F238E27FC236}">
                  <a16:creationId xmlns:a16="http://schemas.microsoft.com/office/drawing/2014/main" id="{7FE47D76-F31C-EAE6-3D52-3C6C4FF43499}"/>
                </a:ext>
              </a:extLst>
            </p:cNvPr>
            <p:cNvSpPr/>
            <p:nvPr/>
          </p:nvSpPr>
          <p:spPr>
            <a:xfrm>
              <a:off x="54944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5" name="Google Shape;10668;p65">
              <a:extLst>
                <a:ext uri="{FF2B5EF4-FFF2-40B4-BE49-F238E27FC236}">
                  <a16:creationId xmlns:a16="http://schemas.microsoft.com/office/drawing/2014/main" id="{703C474A-705F-59C5-D29B-537232160DAC}"/>
                </a:ext>
              </a:extLst>
            </p:cNvPr>
            <p:cNvSpPr/>
            <p:nvPr/>
          </p:nvSpPr>
          <p:spPr>
            <a:xfrm>
              <a:off x="549440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6" name="Google Shape;10669;p65">
              <a:extLst>
                <a:ext uri="{FF2B5EF4-FFF2-40B4-BE49-F238E27FC236}">
                  <a16:creationId xmlns:a16="http://schemas.microsoft.com/office/drawing/2014/main" id="{6AF8CA24-A5C8-D857-4B60-CC12690C9C29}"/>
                </a:ext>
              </a:extLst>
            </p:cNvPr>
            <p:cNvSpPr/>
            <p:nvPr/>
          </p:nvSpPr>
          <p:spPr>
            <a:xfrm>
              <a:off x="549440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7" name="Google Shape;10670;p65">
              <a:extLst>
                <a:ext uri="{FF2B5EF4-FFF2-40B4-BE49-F238E27FC236}">
                  <a16:creationId xmlns:a16="http://schemas.microsoft.com/office/drawing/2014/main" id="{180D36BF-AB46-D2FC-B96F-CC3FD12584F7}"/>
                </a:ext>
              </a:extLst>
            </p:cNvPr>
            <p:cNvSpPr/>
            <p:nvPr/>
          </p:nvSpPr>
          <p:spPr>
            <a:xfrm>
              <a:off x="55706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8" name="Google Shape;10671;p65">
              <a:extLst>
                <a:ext uri="{FF2B5EF4-FFF2-40B4-BE49-F238E27FC236}">
                  <a16:creationId xmlns:a16="http://schemas.microsoft.com/office/drawing/2014/main" id="{29069794-38E3-2BC7-B090-C66AB708BAC8}"/>
                </a:ext>
              </a:extLst>
            </p:cNvPr>
            <p:cNvSpPr/>
            <p:nvPr/>
          </p:nvSpPr>
          <p:spPr>
            <a:xfrm>
              <a:off x="55706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39" name="Google Shape;10672;p65">
              <a:extLst>
                <a:ext uri="{FF2B5EF4-FFF2-40B4-BE49-F238E27FC236}">
                  <a16:creationId xmlns:a16="http://schemas.microsoft.com/office/drawing/2014/main" id="{324518E4-D718-9871-E6A1-D2C3B0D23FDC}"/>
                </a:ext>
              </a:extLst>
            </p:cNvPr>
            <p:cNvSpPr/>
            <p:nvPr/>
          </p:nvSpPr>
          <p:spPr>
            <a:xfrm>
              <a:off x="55706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0" name="Google Shape;10673;p65">
              <a:extLst>
                <a:ext uri="{FF2B5EF4-FFF2-40B4-BE49-F238E27FC236}">
                  <a16:creationId xmlns:a16="http://schemas.microsoft.com/office/drawing/2014/main" id="{81DAF019-7683-7BEB-0200-DDD7ACDEE040}"/>
                </a:ext>
              </a:extLst>
            </p:cNvPr>
            <p:cNvSpPr/>
            <p:nvPr/>
          </p:nvSpPr>
          <p:spPr>
            <a:xfrm>
              <a:off x="55706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1" name="Google Shape;10674;p65">
              <a:extLst>
                <a:ext uri="{FF2B5EF4-FFF2-40B4-BE49-F238E27FC236}">
                  <a16:creationId xmlns:a16="http://schemas.microsoft.com/office/drawing/2014/main" id="{AB45C235-C3E5-7767-BF2A-5AFD393D34D0}"/>
                </a:ext>
              </a:extLst>
            </p:cNvPr>
            <p:cNvSpPr/>
            <p:nvPr/>
          </p:nvSpPr>
          <p:spPr>
            <a:xfrm>
              <a:off x="55706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2" name="Google Shape;10675;p65">
              <a:extLst>
                <a:ext uri="{FF2B5EF4-FFF2-40B4-BE49-F238E27FC236}">
                  <a16:creationId xmlns:a16="http://schemas.microsoft.com/office/drawing/2014/main" id="{836DFEF7-B5C6-5B87-745C-133AB651E602}"/>
                </a:ext>
              </a:extLst>
            </p:cNvPr>
            <p:cNvSpPr/>
            <p:nvPr/>
          </p:nvSpPr>
          <p:spPr>
            <a:xfrm>
              <a:off x="55706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3" name="Google Shape;10676;p65">
              <a:extLst>
                <a:ext uri="{FF2B5EF4-FFF2-40B4-BE49-F238E27FC236}">
                  <a16:creationId xmlns:a16="http://schemas.microsoft.com/office/drawing/2014/main" id="{17500A9A-3036-FD6D-C023-E540AE0C1192}"/>
                </a:ext>
              </a:extLst>
            </p:cNvPr>
            <p:cNvSpPr/>
            <p:nvPr/>
          </p:nvSpPr>
          <p:spPr>
            <a:xfrm>
              <a:off x="557062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4" name="Google Shape;10677;p65">
              <a:extLst>
                <a:ext uri="{FF2B5EF4-FFF2-40B4-BE49-F238E27FC236}">
                  <a16:creationId xmlns:a16="http://schemas.microsoft.com/office/drawing/2014/main" id="{6499E2BF-DE04-6CF5-7B6F-5D4BC32C7849}"/>
                </a:ext>
              </a:extLst>
            </p:cNvPr>
            <p:cNvSpPr/>
            <p:nvPr/>
          </p:nvSpPr>
          <p:spPr>
            <a:xfrm>
              <a:off x="55706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5" name="Google Shape;10678;p65">
              <a:extLst>
                <a:ext uri="{FF2B5EF4-FFF2-40B4-BE49-F238E27FC236}">
                  <a16:creationId xmlns:a16="http://schemas.microsoft.com/office/drawing/2014/main" id="{6FD00A25-5D4F-1BB6-0716-F0E3A914BDF6}"/>
                </a:ext>
              </a:extLst>
            </p:cNvPr>
            <p:cNvSpPr/>
            <p:nvPr/>
          </p:nvSpPr>
          <p:spPr>
            <a:xfrm>
              <a:off x="5570625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6" name="Google Shape;10679;p65">
              <a:extLst>
                <a:ext uri="{FF2B5EF4-FFF2-40B4-BE49-F238E27FC236}">
                  <a16:creationId xmlns:a16="http://schemas.microsoft.com/office/drawing/2014/main" id="{9D5B31C1-CD2C-2442-EF91-F0AF8E3E307C}"/>
                </a:ext>
              </a:extLst>
            </p:cNvPr>
            <p:cNvSpPr/>
            <p:nvPr/>
          </p:nvSpPr>
          <p:spPr>
            <a:xfrm>
              <a:off x="5570625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16" y="9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7" name="Google Shape;10680;p65">
              <a:extLst>
                <a:ext uri="{FF2B5EF4-FFF2-40B4-BE49-F238E27FC236}">
                  <a16:creationId xmlns:a16="http://schemas.microsoft.com/office/drawing/2014/main" id="{6DA293D3-A48F-A812-8C33-768F44BB8744}"/>
                </a:ext>
              </a:extLst>
            </p:cNvPr>
            <p:cNvSpPr/>
            <p:nvPr/>
          </p:nvSpPr>
          <p:spPr>
            <a:xfrm>
              <a:off x="557062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8" name="Google Shape;10681;p65">
              <a:extLst>
                <a:ext uri="{FF2B5EF4-FFF2-40B4-BE49-F238E27FC236}">
                  <a16:creationId xmlns:a16="http://schemas.microsoft.com/office/drawing/2014/main" id="{C26FCC21-BD89-BF70-F9D7-3D21A1920809}"/>
                </a:ext>
              </a:extLst>
            </p:cNvPr>
            <p:cNvSpPr/>
            <p:nvPr/>
          </p:nvSpPr>
          <p:spPr>
            <a:xfrm>
              <a:off x="557062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49" name="Google Shape;10682;p65">
              <a:extLst>
                <a:ext uri="{FF2B5EF4-FFF2-40B4-BE49-F238E27FC236}">
                  <a16:creationId xmlns:a16="http://schemas.microsoft.com/office/drawing/2014/main" id="{C757200C-4F1F-D1F5-F59E-65CC8FD5500B}"/>
                </a:ext>
              </a:extLst>
            </p:cNvPr>
            <p:cNvSpPr/>
            <p:nvPr/>
          </p:nvSpPr>
          <p:spPr>
            <a:xfrm>
              <a:off x="5570625" y="21807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0" name="Google Shape;10683;p65">
              <a:extLst>
                <a:ext uri="{FF2B5EF4-FFF2-40B4-BE49-F238E27FC236}">
                  <a16:creationId xmlns:a16="http://schemas.microsoft.com/office/drawing/2014/main" id="{7226705A-EBFA-B702-574C-3539417447F1}"/>
                </a:ext>
              </a:extLst>
            </p:cNvPr>
            <p:cNvSpPr/>
            <p:nvPr/>
          </p:nvSpPr>
          <p:spPr>
            <a:xfrm>
              <a:off x="5570625" y="225692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1" name="Google Shape;10684;p65">
              <a:extLst>
                <a:ext uri="{FF2B5EF4-FFF2-40B4-BE49-F238E27FC236}">
                  <a16:creationId xmlns:a16="http://schemas.microsoft.com/office/drawing/2014/main" id="{EB7C327A-4EBF-B34E-E355-D70D7F6C0DC0}"/>
                </a:ext>
              </a:extLst>
            </p:cNvPr>
            <p:cNvSpPr/>
            <p:nvPr/>
          </p:nvSpPr>
          <p:spPr>
            <a:xfrm>
              <a:off x="557062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2" name="Google Shape;10685;p65">
              <a:extLst>
                <a:ext uri="{FF2B5EF4-FFF2-40B4-BE49-F238E27FC236}">
                  <a16:creationId xmlns:a16="http://schemas.microsoft.com/office/drawing/2014/main" id="{489E98B0-84D9-2E38-CB80-61E8257C41EB}"/>
                </a:ext>
              </a:extLst>
            </p:cNvPr>
            <p:cNvSpPr/>
            <p:nvPr/>
          </p:nvSpPr>
          <p:spPr>
            <a:xfrm>
              <a:off x="557062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3" name="Google Shape;10686;p65">
              <a:extLst>
                <a:ext uri="{FF2B5EF4-FFF2-40B4-BE49-F238E27FC236}">
                  <a16:creationId xmlns:a16="http://schemas.microsoft.com/office/drawing/2014/main" id="{592EF300-E852-C3DC-E911-75BB578FA5EF}"/>
                </a:ext>
              </a:extLst>
            </p:cNvPr>
            <p:cNvSpPr/>
            <p:nvPr/>
          </p:nvSpPr>
          <p:spPr>
            <a:xfrm>
              <a:off x="557062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4" name="Google Shape;10687;p65">
              <a:extLst>
                <a:ext uri="{FF2B5EF4-FFF2-40B4-BE49-F238E27FC236}">
                  <a16:creationId xmlns:a16="http://schemas.microsoft.com/office/drawing/2014/main" id="{70D3D8A5-6FB9-1B8A-70BB-F783E01C5D21}"/>
                </a:ext>
              </a:extLst>
            </p:cNvPr>
            <p:cNvSpPr/>
            <p:nvPr/>
          </p:nvSpPr>
          <p:spPr>
            <a:xfrm>
              <a:off x="55706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5" name="Google Shape;10688;p65">
              <a:extLst>
                <a:ext uri="{FF2B5EF4-FFF2-40B4-BE49-F238E27FC236}">
                  <a16:creationId xmlns:a16="http://schemas.microsoft.com/office/drawing/2014/main" id="{B32965A9-0D96-4EBF-4C5E-C3F37FBEE1BB}"/>
                </a:ext>
              </a:extLst>
            </p:cNvPr>
            <p:cNvSpPr/>
            <p:nvPr/>
          </p:nvSpPr>
          <p:spPr>
            <a:xfrm>
              <a:off x="557062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6" name="Google Shape;10689;p65">
              <a:extLst>
                <a:ext uri="{FF2B5EF4-FFF2-40B4-BE49-F238E27FC236}">
                  <a16:creationId xmlns:a16="http://schemas.microsoft.com/office/drawing/2014/main" id="{9EFFFF10-23DC-C89F-978E-07CD412D8DA8}"/>
                </a:ext>
              </a:extLst>
            </p:cNvPr>
            <p:cNvSpPr/>
            <p:nvPr/>
          </p:nvSpPr>
          <p:spPr>
            <a:xfrm>
              <a:off x="557062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7" name="Google Shape;10690;p65">
              <a:extLst>
                <a:ext uri="{FF2B5EF4-FFF2-40B4-BE49-F238E27FC236}">
                  <a16:creationId xmlns:a16="http://schemas.microsoft.com/office/drawing/2014/main" id="{4637AE76-3C3A-8C16-8D54-861298D085E7}"/>
                </a:ext>
              </a:extLst>
            </p:cNvPr>
            <p:cNvSpPr/>
            <p:nvPr/>
          </p:nvSpPr>
          <p:spPr>
            <a:xfrm>
              <a:off x="55706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8" name="Google Shape;10691;p65">
              <a:extLst>
                <a:ext uri="{FF2B5EF4-FFF2-40B4-BE49-F238E27FC236}">
                  <a16:creationId xmlns:a16="http://schemas.microsoft.com/office/drawing/2014/main" id="{14DE4EA0-8799-7DA7-67B5-7A3259C87FB8}"/>
                </a:ext>
              </a:extLst>
            </p:cNvPr>
            <p:cNvSpPr/>
            <p:nvPr/>
          </p:nvSpPr>
          <p:spPr>
            <a:xfrm>
              <a:off x="564682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59" name="Google Shape;10692;p65">
              <a:extLst>
                <a:ext uri="{FF2B5EF4-FFF2-40B4-BE49-F238E27FC236}">
                  <a16:creationId xmlns:a16="http://schemas.microsoft.com/office/drawing/2014/main" id="{491FE9CC-5095-3104-31FD-E159DC150928}"/>
                </a:ext>
              </a:extLst>
            </p:cNvPr>
            <p:cNvSpPr/>
            <p:nvPr/>
          </p:nvSpPr>
          <p:spPr>
            <a:xfrm>
              <a:off x="56468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0" name="Google Shape;10693;p65">
              <a:extLst>
                <a:ext uri="{FF2B5EF4-FFF2-40B4-BE49-F238E27FC236}">
                  <a16:creationId xmlns:a16="http://schemas.microsoft.com/office/drawing/2014/main" id="{D2AED613-7BA8-3831-7655-9FA72B43216D}"/>
                </a:ext>
              </a:extLst>
            </p:cNvPr>
            <p:cNvSpPr/>
            <p:nvPr/>
          </p:nvSpPr>
          <p:spPr>
            <a:xfrm>
              <a:off x="564682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1" name="Google Shape;10694;p65">
              <a:extLst>
                <a:ext uri="{FF2B5EF4-FFF2-40B4-BE49-F238E27FC236}">
                  <a16:creationId xmlns:a16="http://schemas.microsoft.com/office/drawing/2014/main" id="{5023C68D-C90B-1E3F-C1D6-49D726D14B9E}"/>
                </a:ext>
              </a:extLst>
            </p:cNvPr>
            <p:cNvSpPr/>
            <p:nvPr/>
          </p:nvSpPr>
          <p:spPr>
            <a:xfrm>
              <a:off x="564682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2" name="Google Shape;10695;p65">
              <a:extLst>
                <a:ext uri="{FF2B5EF4-FFF2-40B4-BE49-F238E27FC236}">
                  <a16:creationId xmlns:a16="http://schemas.microsoft.com/office/drawing/2014/main" id="{C6DEC30A-3901-5CA2-A493-B0BC1AE0DEB7}"/>
                </a:ext>
              </a:extLst>
            </p:cNvPr>
            <p:cNvSpPr/>
            <p:nvPr/>
          </p:nvSpPr>
          <p:spPr>
            <a:xfrm>
              <a:off x="564682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3" name="Google Shape;10696;p65">
              <a:extLst>
                <a:ext uri="{FF2B5EF4-FFF2-40B4-BE49-F238E27FC236}">
                  <a16:creationId xmlns:a16="http://schemas.microsoft.com/office/drawing/2014/main" id="{D8B21842-A76C-3BAD-EFBC-4689A358C4FD}"/>
                </a:ext>
              </a:extLst>
            </p:cNvPr>
            <p:cNvSpPr/>
            <p:nvPr/>
          </p:nvSpPr>
          <p:spPr>
            <a:xfrm>
              <a:off x="564682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4" name="Google Shape;10697;p65">
              <a:extLst>
                <a:ext uri="{FF2B5EF4-FFF2-40B4-BE49-F238E27FC236}">
                  <a16:creationId xmlns:a16="http://schemas.microsoft.com/office/drawing/2014/main" id="{E1167F2B-6880-9C02-7100-4973E35E22D6}"/>
                </a:ext>
              </a:extLst>
            </p:cNvPr>
            <p:cNvSpPr/>
            <p:nvPr/>
          </p:nvSpPr>
          <p:spPr>
            <a:xfrm>
              <a:off x="564682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5" name="Google Shape;10698;p65">
              <a:extLst>
                <a:ext uri="{FF2B5EF4-FFF2-40B4-BE49-F238E27FC236}">
                  <a16:creationId xmlns:a16="http://schemas.microsoft.com/office/drawing/2014/main" id="{84E28A18-37EE-9495-B094-94B45BBBDB2A}"/>
                </a:ext>
              </a:extLst>
            </p:cNvPr>
            <p:cNvSpPr/>
            <p:nvPr/>
          </p:nvSpPr>
          <p:spPr>
            <a:xfrm>
              <a:off x="564682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6" name="Google Shape;10699;p65">
              <a:extLst>
                <a:ext uri="{FF2B5EF4-FFF2-40B4-BE49-F238E27FC236}">
                  <a16:creationId xmlns:a16="http://schemas.microsoft.com/office/drawing/2014/main" id="{A65164AB-9CA0-75D1-2A0D-427A19BF1D29}"/>
                </a:ext>
              </a:extLst>
            </p:cNvPr>
            <p:cNvSpPr/>
            <p:nvPr/>
          </p:nvSpPr>
          <p:spPr>
            <a:xfrm>
              <a:off x="564682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1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7" name="Google Shape;10700;p65">
              <a:extLst>
                <a:ext uri="{FF2B5EF4-FFF2-40B4-BE49-F238E27FC236}">
                  <a16:creationId xmlns:a16="http://schemas.microsoft.com/office/drawing/2014/main" id="{EB1E026D-C5C8-0336-22E4-9CDA08E93116}"/>
                </a:ext>
              </a:extLst>
            </p:cNvPr>
            <p:cNvSpPr/>
            <p:nvPr/>
          </p:nvSpPr>
          <p:spPr>
            <a:xfrm>
              <a:off x="56468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8" name="Google Shape;10701;p65">
              <a:extLst>
                <a:ext uri="{FF2B5EF4-FFF2-40B4-BE49-F238E27FC236}">
                  <a16:creationId xmlns:a16="http://schemas.microsoft.com/office/drawing/2014/main" id="{B20FCC54-5740-3B4F-CB3F-07A486AC6E9B}"/>
                </a:ext>
              </a:extLst>
            </p:cNvPr>
            <p:cNvSpPr/>
            <p:nvPr/>
          </p:nvSpPr>
          <p:spPr>
            <a:xfrm>
              <a:off x="564682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69" name="Google Shape;10702;p65">
              <a:extLst>
                <a:ext uri="{FF2B5EF4-FFF2-40B4-BE49-F238E27FC236}">
                  <a16:creationId xmlns:a16="http://schemas.microsoft.com/office/drawing/2014/main" id="{C25BE1A2-16D7-3C82-FDC6-0C85B70E2027}"/>
                </a:ext>
              </a:extLst>
            </p:cNvPr>
            <p:cNvSpPr/>
            <p:nvPr/>
          </p:nvSpPr>
          <p:spPr>
            <a:xfrm>
              <a:off x="5646825" y="2256925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0" name="Google Shape;10703;p65">
              <a:extLst>
                <a:ext uri="{FF2B5EF4-FFF2-40B4-BE49-F238E27FC236}">
                  <a16:creationId xmlns:a16="http://schemas.microsoft.com/office/drawing/2014/main" id="{867D3E39-05D3-004F-5C77-A639980D6A2B}"/>
                </a:ext>
              </a:extLst>
            </p:cNvPr>
            <p:cNvSpPr/>
            <p:nvPr/>
          </p:nvSpPr>
          <p:spPr>
            <a:xfrm>
              <a:off x="564682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1" name="Google Shape;10704;p65">
              <a:extLst>
                <a:ext uri="{FF2B5EF4-FFF2-40B4-BE49-F238E27FC236}">
                  <a16:creationId xmlns:a16="http://schemas.microsoft.com/office/drawing/2014/main" id="{D49929A4-1ADE-B1D6-963C-0C926DDEC8F2}"/>
                </a:ext>
              </a:extLst>
            </p:cNvPr>
            <p:cNvSpPr/>
            <p:nvPr/>
          </p:nvSpPr>
          <p:spPr>
            <a:xfrm>
              <a:off x="56468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68" y="2131"/>
                  </a:cubicBezTo>
                  <a:cubicBezTo>
                    <a:pt x="1330" y="2131"/>
                    <a:pt x="1597" y="2033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2" name="Google Shape;10705;p65">
              <a:extLst>
                <a:ext uri="{FF2B5EF4-FFF2-40B4-BE49-F238E27FC236}">
                  <a16:creationId xmlns:a16="http://schemas.microsoft.com/office/drawing/2014/main" id="{86AAE8D3-195B-A10D-1DDD-32F7A4F23312}"/>
                </a:ext>
              </a:extLst>
            </p:cNvPr>
            <p:cNvSpPr/>
            <p:nvPr/>
          </p:nvSpPr>
          <p:spPr>
            <a:xfrm>
              <a:off x="564682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4" y="1821"/>
                  </a:cubicBezTo>
                  <a:cubicBezTo>
                    <a:pt x="2489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3" name="Google Shape;10706;p65">
              <a:extLst>
                <a:ext uri="{FF2B5EF4-FFF2-40B4-BE49-F238E27FC236}">
                  <a16:creationId xmlns:a16="http://schemas.microsoft.com/office/drawing/2014/main" id="{92BD2579-2C1C-70C7-9444-A48814471AE3}"/>
                </a:ext>
              </a:extLst>
            </p:cNvPr>
            <p:cNvSpPr/>
            <p:nvPr/>
          </p:nvSpPr>
          <p:spPr>
            <a:xfrm>
              <a:off x="56468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4" name="Google Shape;10707;p65">
              <a:extLst>
                <a:ext uri="{FF2B5EF4-FFF2-40B4-BE49-F238E27FC236}">
                  <a16:creationId xmlns:a16="http://schemas.microsoft.com/office/drawing/2014/main" id="{955AAF37-B0BB-76AB-1FC1-5EBD37F2D38B}"/>
                </a:ext>
              </a:extLst>
            </p:cNvPr>
            <p:cNvSpPr/>
            <p:nvPr/>
          </p:nvSpPr>
          <p:spPr>
            <a:xfrm>
              <a:off x="56468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9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5" name="Google Shape;10708;p65">
              <a:extLst>
                <a:ext uri="{FF2B5EF4-FFF2-40B4-BE49-F238E27FC236}">
                  <a16:creationId xmlns:a16="http://schemas.microsoft.com/office/drawing/2014/main" id="{5DEFB881-88DA-7370-FEEC-637ED2E0176B}"/>
                </a:ext>
              </a:extLst>
            </p:cNvPr>
            <p:cNvSpPr/>
            <p:nvPr/>
          </p:nvSpPr>
          <p:spPr>
            <a:xfrm>
              <a:off x="57230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6" name="Google Shape;10709;p65">
              <a:extLst>
                <a:ext uri="{FF2B5EF4-FFF2-40B4-BE49-F238E27FC236}">
                  <a16:creationId xmlns:a16="http://schemas.microsoft.com/office/drawing/2014/main" id="{564DC0B3-777D-1C9B-C46F-C6B7A83B1C4B}"/>
                </a:ext>
              </a:extLst>
            </p:cNvPr>
            <p:cNvSpPr/>
            <p:nvPr/>
          </p:nvSpPr>
          <p:spPr>
            <a:xfrm>
              <a:off x="57230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7" name="Google Shape;10710;p65">
              <a:extLst>
                <a:ext uri="{FF2B5EF4-FFF2-40B4-BE49-F238E27FC236}">
                  <a16:creationId xmlns:a16="http://schemas.microsoft.com/office/drawing/2014/main" id="{0EA15C76-7F71-AABB-7B3B-43E5E02BBCE3}"/>
                </a:ext>
              </a:extLst>
            </p:cNvPr>
            <p:cNvSpPr/>
            <p:nvPr/>
          </p:nvSpPr>
          <p:spPr>
            <a:xfrm>
              <a:off x="5723050" y="1571400"/>
              <a:ext cx="62150" cy="53250"/>
            </a:xfrm>
            <a:custGeom>
              <a:avLst/>
              <a:gdLst/>
              <a:ahLst/>
              <a:cxnLst/>
              <a:rect l="l" t="t" r="r" b="b"/>
              <a:pathLst>
                <a:path w="2486" h="2130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3" y="1813"/>
                  </a:cubicBezTo>
                  <a:cubicBezTo>
                    <a:pt x="2486" y="1149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8" name="Google Shape;10711;p65">
              <a:extLst>
                <a:ext uri="{FF2B5EF4-FFF2-40B4-BE49-F238E27FC236}">
                  <a16:creationId xmlns:a16="http://schemas.microsoft.com/office/drawing/2014/main" id="{C254AB28-0D70-F386-CFE4-16EB63F03F3E}"/>
                </a:ext>
              </a:extLst>
            </p:cNvPr>
            <p:cNvSpPr/>
            <p:nvPr/>
          </p:nvSpPr>
          <p:spPr>
            <a:xfrm>
              <a:off x="57230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79" name="Google Shape;10712;p65">
              <a:extLst>
                <a:ext uri="{FF2B5EF4-FFF2-40B4-BE49-F238E27FC236}">
                  <a16:creationId xmlns:a16="http://schemas.microsoft.com/office/drawing/2014/main" id="{8F6B9956-9D39-17B0-2634-E2461B2F18F0}"/>
                </a:ext>
              </a:extLst>
            </p:cNvPr>
            <p:cNvSpPr/>
            <p:nvPr/>
          </p:nvSpPr>
          <p:spPr>
            <a:xfrm>
              <a:off x="57230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0" name="Google Shape;10713;p65">
              <a:extLst>
                <a:ext uri="{FF2B5EF4-FFF2-40B4-BE49-F238E27FC236}">
                  <a16:creationId xmlns:a16="http://schemas.microsoft.com/office/drawing/2014/main" id="{E32A5918-2F0E-C588-C325-5D348804D7C0}"/>
                </a:ext>
              </a:extLst>
            </p:cNvPr>
            <p:cNvSpPr/>
            <p:nvPr/>
          </p:nvSpPr>
          <p:spPr>
            <a:xfrm>
              <a:off x="5723050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1" name="Google Shape;10714;p65">
              <a:extLst>
                <a:ext uri="{FF2B5EF4-FFF2-40B4-BE49-F238E27FC236}">
                  <a16:creationId xmlns:a16="http://schemas.microsoft.com/office/drawing/2014/main" id="{6D5EC301-5FE4-1660-7072-D091E5E2E18C}"/>
                </a:ext>
              </a:extLst>
            </p:cNvPr>
            <p:cNvSpPr/>
            <p:nvPr/>
          </p:nvSpPr>
          <p:spPr>
            <a:xfrm>
              <a:off x="57230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2" name="Google Shape;10715;p65">
              <a:extLst>
                <a:ext uri="{FF2B5EF4-FFF2-40B4-BE49-F238E27FC236}">
                  <a16:creationId xmlns:a16="http://schemas.microsoft.com/office/drawing/2014/main" id="{7AEBF12E-A3D2-98B3-F39A-A1DE2690C5DB}"/>
                </a:ext>
              </a:extLst>
            </p:cNvPr>
            <p:cNvSpPr/>
            <p:nvPr/>
          </p:nvSpPr>
          <p:spPr>
            <a:xfrm>
              <a:off x="57230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3" name="Google Shape;10716;p65">
              <a:extLst>
                <a:ext uri="{FF2B5EF4-FFF2-40B4-BE49-F238E27FC236}">
                  <a16:creationId xmlns:a16="http://schemas.microsoft.com/office/drawing/2014/main" id="{D89D25F1-D478-060A-B87D-0D39BCA271E3}"/>
                </a:ext>
              </a:extLst>
            </p:cNvPr>
            <p:cNvSpPr/>
            <p:nvPr/>
          </p:nvSpPr>
          <p:spPr>
            <a:xfrm>
              <a:off x="5723050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1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4" name="Google Shape;10717;p65">
              <a:extLst>
                <a:ext uri="{FF2B5EF4-FFF2-40B4-BE49-F238E27FC236}">
                  <a16:creationId xmlns:a16="http://schemas.microsoft.com/office/drawing/2014/main" id="{B5A413AD-7FED-0D61-B380-5AAD730047C5}"/>
                </a:ext>
              </a:extLst>
            </p:cNvPr>
            <p:cNvSpPr/>
            <p:nvPr/>
          </p:nvSpPr>
          <p:spPr>
            <a:xfrm>
              <a:off x="5723050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5" name="Google Shape;10718;p65">
              <a:extLst>
                <a:ext uri="{FF2B5EF4-FFF2-40B4-BE49-F238E27FC236}">
                  <a16:creationId xmlns:a16="http://schemas.microsoft.com/office/drawing/2014/main" id="{2588C281-893E-C4CF-E2A8-CEBD8EE53D02}"/>
                </a:ext>
              </a:extLst>
            </p:cNvPr>
            <p:cNvSpPr/>
            <p:nvPr/>
          </p:nvSpPr>
          <p:spPr>
            <a:xfrm>
              <a:off x="5723050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6" name="Google Shape;10719;p65">
              <a:extLst>
                <a:ext uri="{FF2B5EF4-FFF2-40B4-BE49-F238E27FC236}">
                  <a16:creationId xmlns:a16="http://schemas.microsoft.com/office/drawing/2014/main" id="{05A6CF9C-08A5-513A-006D-D745FE7C7DEE}"/>
                </a:ext>
              </a:extLst>
            </p:cNvPr>
            <p:cNvSpPr/>
            <p:nvPr/>
          </p:nvSpPr>
          <p:spPr>
            <a:xfrm>
              <a:off x="572305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7" name="Google Shape;10720;p65">
              <a:extLst>
                <a:ext uri="{FF2B5EF4-FFF2-40B4-BE49-F238E27FC236}">
                  <a16:creationId xmlns:a16="http://schemas.microsoft.com/office/drawing/2014/main" id="{6ECC0993-65B0-5415-66F4-F243515E5F3F}"/>
                </a:ext>
              </a:extLst>
            </p:cNvPr>
            <p:cNvSpPr/>
            <p:nvPr/>
          </p:nvSpPr>
          <p:spPr>
            <a:xfrm>
              <a:off x="57230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8" name="Google Shape;10721;p65">
              <a:extLst>
                <a:ext uri="{FF2B5EF4-FFF2-40B4-BE49-F238E27FC236}">
                  <a16:creationId xmlns:a16="http://schemas.microsoft.com/office/drawing/2014/main" id="{5A19079E-B78A-B1D3-8BEC-7145388DFAD6}"/>
                </a:ext>
              </a:extLst>
            </p:cNvPr>
            <p:cNvSpPr/>
            <p:nvPr/>
          </p:nvSpPr>
          <p:spPr>
            <a:xfrm>
              <a:off x="57228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8"/>
                    <a:pt x="526" y="2131"/>
                    <a:pt x="1073" y="2131"/>
                  </a:cubicBezTo>
                  <a:cubicBezTo>
                    <a:pt x="1336" y="2131"/>
                    <a:pt x="1605" y="2033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89" name="Google Shape;10722;p65">
              <a:extLst>
                <a:ext uri="{FF2B5EF4-FFF2-40B4-BE49-F238E27FC236}">
                  <a16:creationId xmlns:a16="http://schemas.microsoft.com/office/drawing/2014/main" id="{89EFDEEE-B1E7-DE9D-42B3-677938BA5E93}"/>
                </a:ext>
              </a:extLst>
            </p:cNvPr>
            <p:cNvSpPr/>
            <p:nvPr/>
          </p:nvSpPr>
          <p:spPr>
            <a:xfrm>
              <a:off x="572305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0" name="Google Shape;10723;p65">
              <a:extLst>
                <a:ext uri="{FF2B5EF4-FFF2-40B4-BE49-F238E27FC236}">
                  <a16:creationId xmlns:a16="http://schemas.microsoft.com/office/drawing/2014/main" id="{063415A9-FF24-754E-A98D-4E46711DE50D}"/>
                </a:ext>
              </a:extLst>
            </p:cNvPr>
            <p:cNvSpPr/>
            <p:nvPr/>
          </p:nvSpPr>
          <p:spPr>
            <a:xfrm>
              <a:off x="57228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9"/>
                    <a:pt x="8" y="480"/>
                    <a:pt x="0" y="1074"/>
                  </a:cubicBezTo>
                  <a:cubicBezTo>
                    <a:pt x="0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1" name="Google Shape;10724;p65">
              <a:extLst>
                <a:ext uri="{FF2B5EF4-FFF2-40B4-BE49-F238E27FC236}">
                  <a16:creationId xmlns:a16="http://schemas.microsoft.com/office/drawing/2014/main" id="{71CE5878-8A82-3C30-2150-24315A2F87FB}"/>
                </a:ext>
              </a:extLst>
            </p:cNvPr>
            <p:cNvSpPr/>
            <p:nvPr/>
          </p:nvSpPr>
          <p:spPr>
            <a:xfrm>
              <a:off x="57992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2" name="Google Shape;10725;p65">
              <a:extLst>
                <a:ext uri="{FF2B5EF4-FFF2-40B4-BE49-F238E27FC236}">
                  <a16:creationId xmlns:a16="http://schemas.microsoft.com/office/drawing/2014/main" id="{5E4E48CE-55A2-90A5-C1F0-F3320B4A031B}"/>
                </a:ext>
              </a:extLst>
            </p:cNvPr>
            <p:cNvSpPr/>
            <p:nvPr/>
          </p:nvSpPr>
          <p:spPr>
            <a:xfrm>
              <a:off x="5799275" y="14952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0"/>
                    <a:pt x="1067" y="2130"/>
                  </a:cubicBezTo>
                  <a:cubicBezTo>
                    <a:pt x="1329" y="2130"/>
                    <a:pt x="1596" y="2032"/>
                    <a:pt x="1813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3" name="Google Shape;10726;p65">
              <a:extLst>
                <a:ext uri="{FF2B5EF4-FFF2-40B4-BE49-F238E27FC236}">
                  <a16:creationId xmlns:a16="http://schemas.microsoft.com/office/drawing/2014/main" id="{28C2B7C7-03A8-0BD6-C367-9E08976D2EE0}"/>
                </a:ext>
              </a:extLst>
            </p:cNvPr>
            <p:cNvSpPr/>
            <p:nvPr/>
          </p:nvSpPr>
          <p:spPr>
            <a:xfrm>
              <a:off x="5799275" y="15714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1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4" name="Google Shape;10727;p65">
              <a:extLst>
                <a:ext uri="{FF2B5EF4-FFF2-40B4-BE49-F238E27FC236}">
                  <a16:creationId xmlns:a16="http://schemas.microsoft.com/office/drawing/2014/main" id="{9DC4AEE5-D2C4-6273-D4EA-D8072B5960FA}"/>
                </a:ext>
              </a:extLst>
            </p:cNvPr>
            <p:cNvSpPr/>
            <p:nvPr/>
          </p:nvSpPr>
          <p:spPr>
            <a:xfrm>
              <a:off x="579927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5" name="Google Shape;10728;p65">
              <a:extLst>
                <a:ext uri="{FF2B5EF4-FFF2-40B4-BE49-F238E27FC236}">
                  <a16:creationId xmlns:a16="http://schemas.microsoft.com/office/drawing/2014/main" id="{827ECC80-CE35-E299-BC85-9F25D08BA2BE}"/>
                </a:ext>
              </a:extLst>
            </p:cNvPr>
            <p:cNvSpPr/>
            <p:nvPr/>
          </p:nvSpPr>
          <p:spPr>
            <a:xfrm>
              <a:off x="5799275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6" name="Google Shape;10729;p65">
              <a:extLst>
                <a:ext uri="{FF2B5EF4-FFF2-40B4-BE49-F238E27FC236}">
                  <a16:creationId xmlns:a16="http://schemas.microsoft.com/office/drawing/2014/main" id="{7DE6AD66-2C0C-C4EE-5459-7513EF40A13C}"/>
                </a:ext>
              </a:extLst>
            </p:cNvPr>
            <p:cNvSpPr/>
            <p:nvPr/>
          </p:nvSpPr>
          <p:spPr>
            <a:xfrm>
              <a:off x="5799275" y="17998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1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5" y="1150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7" name="Google Shape;10730;p65">
              <a:extLst>
                <a:ext uri="{FF2B5EF4-FFF2-40B4-BE49-F238E27FC236}">
                  <a16:creationId xmlns:a16="http://schemas.microsoft.com/office/drawing/2014/main" id="{B0A90397-DCEB-A9B3-300F-C5C0DFD63E71}"/>
                </a:ext>
              </a:extLst>
            </p:cNvPr>
            <p:cNvSpPr/>
            <p:nvPr/>
          </p:nvSpPr>
          <p:spPr>
            <a:xfrm>
              <a:off x="5799275" y="18760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8" name="Google Shape;10731;p65">
              <a:extLst>
                <a:ext uri="{FF2B5EF4-FFF2-40B4-BE49-F238E27FC236}">
                  <a16:creationId xmlns:a16="http://schemas.microsoft.com/office/drawing/2014/main" id="{37EB4715-430D-0D1B-0790-DA18A4F6302E}"/>
                </a:ext>
              </a:extLst>
            </p:cNvPr>
            <p:cNvSpPr/>
            <p:nvPr/>
          </p:nvSpPr>
          <p:spPr>
            <a:xfrm>
              <a:off x="5799275" y="1952050"/>
              <a:ext cx="62200" cy="53500"/>
            </a:xfrm>
            <a:custGeom>
              <a:avLst/>
              <a:gdLst/>
              <a:ahLst/>
              <a:cxnLst/>
              <a:rect l="l" t="t" r="r" b="b"/>
              <a:pathLst>
                <a:path w="2488" h="2140" extrusionOk="0">
                  <a:moveTo>
                    <a:pt x="1057" y="1"/>
                  </a:moveTo>
                  <a:cubicBezTo>
                    <a:pt x="472" y="9"/>
                    <a:pt x="0" y="481"/>
                    <a:pt x="0" y="1074"/>
                  </a:cubicBezTo>
                  <a:cubicBezTo>
                    <a:pt x="0" y="1716"/>
                    <a:pt x="522" y="2139"/>
                    <a:pt x="1069" y="2139"/>
                  </a:cubicBezTo>
                  <a:cubicBezTo>
                    <a:pt x="1333" y="2139"/>
                    <a:pt x="1602" y="2041"/>
                    <a:pt x="1821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599" name="Google Shape;10732;p65">
              <a:extLst>
                <a:ext uri="{FF2B5EF4-FFF2-40B4-BE49-F238E27FC236}">
                  <a16:creationId xmlns:a16="http://schemas.microsoft.com/office/drawing/2014/main" id="{0F8760AC-5E28-8865-082A-0FF50549D056}"/>
                </a:ext>
              </a:extLst>
            </p:cNvPr>
            <p:cNvSpPr/>
            <p:nvPr/>
          </p:nvSpPr>
          <p:spPr>
            <a:xfrm>
              <a:off x="5799275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5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0" name="Google Shape;10733;p65">
              <a:extLst>
                <a:ext uri="{FF2B5EF4-FFF2-40B4-BE49-F238E27FC236}">
                  <a16:creationId xmlns:a16="http://schemas.microsoft.com/office/drawing/2014/main" id="{20164E7F-D62B-5A58-4F58-FC57B01E27C0}"/>
                </a:ext>
              </a:extLst>
            </p:cNvPr>
            <p:cNvSpPr/>
            <p:nvPr/>
          </p:nvSpPr>
          <p:spPr>
            <a:xfrm>
              <a:off x="5875275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1" name="Google Shape;10734;p65">
              <a:extLst>
                <a:ext uri="{FF2B5EF4-FFF2-40B4-BE49-F238E27FC236}">
                  <a16:creationId xmlns:a16="http://schemas.microsoft.com/office/drawing/2014/main" id="{01E9DDF2-03B1-0899-25A0-FCC71A22BA40}"/>
                </a:ext>
              </a:extLst>
            </p:cNvPr>
            <p:cNvSpPr/>
            <p:nvPr/>
          </p:nvSpPr>
          <p:spPr>
            <a:xfrm>
              <a:off x="587527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2" name="Google Shape;10735;p65">
              <a:extLst>
                <a:ext uri="{FF2B5EF4-FFF2-40B4-BE49-F238E27FC236}">
                  <a16:creationId xmlns:a16="http://schemas.microsoft.com/office/drawing/2014/main" id="{BBF37AEE-D1DE-4D3D-27E5-187FB615A5CE}"/>
                </a:ext>
              </a:extLst>
            </p:cNvPr>
            <p:cNvSpPr/>
            <p:nvPr/>
          </p:nvSpPr>
          <p:spPr>
            <a:xfrm>
              <a:off x="5875275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3" name="Google Shape;10736;p65">
              <a:extLst>
                <a:ext uri="{FF2B5EF4-FFF2-40B4-BE49-F238E27FC236}">
                  <a16:creationId xmlns:a16="http://schemas.microsoft.com/office/drawing/2014/main" id="{6E0DE217-3EA4-41CB-64CC-A8F1C12266D0}"/>
                </a:ext>
              </a:extLst>
            </p:cNvPr>
            <p:cNvSpPr/>
            <p:nvPr/>
          </p:nvSpPr>
          <p:spPr>
            <a:xfrm>
              <a:off x="5875275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4" name="Google Shape;10737;p65">
              <a:extLst>
                <a:ext uri="{FF2B5EF4-FFF2-40B4-BE49-F238E27FC236}">
                  <a16:creationId xmlns:a16="http://schemas.microsoft.com/office/drawing/2014/main" id="{54FDC483-598F-7F5C-6DBB-8B9EEF160CE3}"/>
                </a:ext>
              </a:extLst>
            </p:cNvPr>
            <p:cNvSpPr/>
            <p:nvPr/>
          </p:nvSpPr>
          <p:spPr>
            <a:xfrm>
              <a:off x="5875275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5" name="Google Shape;10738;p65">
              <a:extLst>
                <a:ext uri="{FF2B5EF4-FFF2-40B4-BE49-F238E27FC236}">
                  <a16:creationId xmlns:a16="http://schemas.microsoft.com/office/drawing/2014/main" id="{ED7A0517-E051-1D46-0E7B-69804F236B1F}"/>
                </a:ext>
              </a:extLst>
            </p:cNvPr>
            <p:cNvSpPr/>
            <p:nvPr/>
          </p:nvSpPr>
          <p:spPr>
            <a:xfrm>
              <a:off x="5875275" y="17998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6" name="Google Shape;10739;p65">
              <a:extLst>
                <a:ext uri="{FF2B5EF4-FFF2-40B4-BE49-F238E27FC236}">
                  <a16:creationId xmlns:a16="http://schemas.microsoft.com/office/drawing/2014/main" id="{BD25A7CB-8AF5-C971-4F9F-CF0BBC33C147}"/>
                </a:ext>
              </a:extLst>
            </p:cNvPr>
            <p:cNvSpPr/>
            <p:nvPr/>
          </p:nvSpPr>
          <p:spPr>
            <a:xfrm>
              <a:off x="5875275" y="18760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7" name="Google Shape;10740;p65">
              <a:extLst>
                <a:ext uri="{FF2B5EF4-FFF2-40B4-BE49-F238E27FC236}">
                  <a16:creationId xmlns:a16="http://schemas.microsoft.com/office/drawing/2014/main" id="{7A9DCF28-4C49-62AE-D7F0-3265615229EA}"/>
                </a:ext>
              </a:extLst>
            </p:cNvPr>
            <p:cNvSpPr/>
            <p:nvPr/>
          </p:nvSpPr>
          <p:spPr>
            <a:xfrm>
              <a:off x="5875275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5" y="2138"/>
                    <a:pt x="1073" y="2138"/>
                  </a:cubicBezTo>
                  <a:cubicBezTo>
                    <a:pt x="1335" y="2138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8" name="Google Shape;10741;p65">
              <a:extLst>
                <a:ext uri="{FF2B5EF4-FFF2-40B4-BE49-F238E27FC236}">
                  <a16:creationId xmlns:a16="http://schemas.microsoft.com/office/drawing/2014/main" id="{BD184384-6763-C90A-52ED-ABFFDD8C3347}"/>
                </a:ext>
              </a:extLst>
            </p:cNvPr>
            <p:cNvSpPr/>
            <p:nvPr/>
          </p:nvSpPr>
          <p:spPr>
            <a:xfrm>
              <a:off x="5875275" y="20282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1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09" name="Google Shape;10742;p65">
              <a:extLst>
                <a:ext uri="{FF2B5EF4-FFF2-40B4-BE49-F238E27FC236}">
                  <a16:creationId xmlns:a16="http://schemas.microsoft.com/office/drawing/2014/main" id="{9C76F2D2-2EC6-7C05-BB73-0478098B4977}"/>
                </a:ext>
              </a:extLst>
            </p:cNvPr>
            <p:cNvSpPr/>
            <p:nvPr/>
          </p:nvSpPr>
          <p:spPr>
            <a:xfrm>
              <a:off x="587527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0" name="Google Shape;10743;p65">
              <a:extLst>
                <a:ext uri="{FF2B5EF4-FFF2-40B4-BE49-F238E27FC236}">
                  <a16:creationId xmlns:a16="http://schemas.microsoft.com/office/drawing/2014/main" id="{9322518D-1DDF-6548-FFFF-13F4F5A059EA}"/>
                </a:ext>
              </a:extLst>
            </p:cNvPr>
            <p:cNvSpPr/>
            <p:nvPr/>
          </p:nvSpPr>
          <p:spPr>
            <a:xfrm>
              <a:off x="5799275" y="21045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1" name="Google Shape;10744;p65">
              <a:extLst>
                <a:ext uri="{FF2B5EF4-FFF2-40B4-BE49-F238E27FC236}">
                  <a16:creationId xmlns:a16="http://schemas.microsoft.com/office/drawing/2014/main" id="{A65351AE-FF1B-18B4-17B1-398916BDF23B}"/>
                </a:ext>
              </a:extLst>
            </p:cNvPr>
            <p:cNvSpPr/>
            <p:nvPr/>
          </p:nvSpPr>
          <p:spPr>
            <a:xfrm>
              <a:off x="5799275" y="218070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1"/>
                  </a:moveTo>
                  <a:cubicBezTo>
                    <a:pt x="1064" y="1"/>
                    <a:pt x="1060" y="1"/>
                    <a:pt x="1057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5" y="1149"/>
                    <a:pt x="2011" y="1"/>
                    <a:pt x="106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2" name="Google Shape;10745;p65">
              <a:extLst>
                <a:ext uri="{FF2B5EF4-FFF2-40B4-BE49-F238E27FC236}">
                  <a16:creationId xmlns:a16="http://schemas.microsoft.com/office/drawing/2014/main" id="{3489BA4E-0A9A-0834-87DB-64BEB591FD18}"/>
                </a:ext>
              </a:extLst>
            </p:cNvPr>
            <p:cNvSpPr/>
            <p:nvPr/>
          </p:nvSpPr>
          <p:spPr>
            <a:xfrm>
              <a:off x="5799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3" y="1149"/>
                    <a:pt x="2019" y="0"/>
                    <a:pt x="1067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3" name="Google Shape;10746;p65">
              <a:extLst>
                <a:ext uri="{FF2B5EF4-FFF2-40B4-BE49-F238E27FC236}">
                  <a16:creationId xmlns:a16="http://schemas.microsoft.com/office/drawing/2014/main" id="{BEC3EE72-21B4-4E18-C914-70E21A77A0F7}"/>
                </a:ext>
              </a:extLst>
            </p:cNvPr>
            <p:cNvSpPr/>
            <p:nvPr/>
          </p:nvSpPr>
          <p:spPr>
            <a:xfrm>
              <a:off x="5799275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0"/>
                    <a:pt x="0" y="1066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4" name="Google Shape;10747;p65">
              <a:extLst>
                <a:ext uri="{FF2B5EF4-FFF2-40B4-BE49-F238E27FC236}">
                  <a16:creationId xmlns:a16="http://schemas.microsoft.com/office/drawing/2014/main" id="{69390784-5AFB-A9E1-866E-E8971ABEBAF3}"/>
                </a:ext>
              </a:extLst>
            </p:cNvPr>
            <p:cNvSpPr/>
            <p:nvPr/>
          </p:nvSpPr>
          <p:spPr>
            <a:xfrm>
              <a:off x="579905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5" name="Google Shape;10748;p65">
              <a:extLst>
                <a:ext uri="{FF2B5EF4-FFF2-40B4-BE49-F238E27FC236}">
                  <a16:creationId xmlns:a16="http://schemas.microsoft.com/office/drawing/2014/main" id="{F00E92D4-18C0-13FD-DD3D-F9E5AE847B24}"/>
                </a:ext>
              </a:extLst>
            </p:cNvPr>
            <p:cNvSpPr/>
            <p:nvPr/>
          </p:nvSpPr>
          <p:spPr>
            <a:xfrm>
              <a:off x="5799275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57" y="0"/>
                  </a:moveTo>
                  <a:cubicBezTo>
                    <a:pt x="472" y="8"/>
                    <a:pt x="0" y="480"/>
                    <a:pt x="0" y="1073"/>
                  </a:cubicBezTo>
                  <a:cubicBezTo>
                    <a:pt x="0" y="1711"/>
                    <a:pt x="524" y="2137"/>
                    <a:pt x="1070" y="2137"/>
                  </a:cubicBezTo>
                  <a:cubicBezTo>
                    <a:pt x="1331" y="2137"/>
                    <a:pt x="1597" y="2039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6" name="Google Shape;10749;p65">
              <a:extLst>
                <a:ext uri="{FF2B5EF4-FFF2-40B4-BE49-F238E27FC236}">
                  <a16:creationId xmlns:a16="http://schemas.microsoft.com/office/drawing/2014/main" id="{90091D66-DD93-2F51-EA29-7C4488ED7C88}"/>
                </a:ext>
              </a:extLst>
            </p:cNvPr>
            <p:cNvSpPr/>
            <p:nvPr/>
          </p:nvSpPr>
          <p:spPr>
            <a:xfrm>
              <a:off x="5799050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6" y="1"/>
                  </a:moveTo>
                  <a:cubicBezTo>
                    <a:pt x="481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7" name="Google Shape;10750;p65">
              <a:extLst>
                <a:ext uri="{FF2B5EF4-FFF2-40B4-BE49-F238E27FC236}">
                  <a16:creationId xmlns:a16="http://schemas.microsoft.com/office/drawing/2014/main" id="{F1DAFBAE-5603-B12C-6EB7-BF01B04A5185}"/>
                </a:ext>
              </a:extLst>
            </p:cNvPr>
            <p:cNvSpPr/>
            <p:nvPr/>
          </p:nvSpPr>
          <p:spPr>
            <a:xfrm>
              <a:off x="5799275" y="2409350"/>
              <a:ext cx="62150" cy="53275"/>
            </a:xfrm>
            <a:custGeom>
              <a:avLst/>
              <a:gdLst/>
              <a:ahLst/>
              <a:cxnLst/>
              <a:rect l="l" t="t" r="r" b="b"/>
              <a:pathLst>
                <a:path w="2486" h="2131" extrusionOk="0">
                  <a:moveTo>
                    <a:pt x="1067" y="0"/>
                  </a:moveTo>
                  <a:cubicBezTo>
                    <a:pt x="1064" y="0"/>
                    <a:pt x="1060" y="0"/>
                    <a:pt x="1057" y="0"/>
                  </a:cubicBezTo>
                  <a:cubicBezTo>
                    <a:pt x="472" y="0"/>
                    <a:pt x="0" y="480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5" y="1149"/>
                    <a:pt x="2011" y="0"/>
                    <a:pt x="1067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8" name="Google Shape;10751;p65">
              <a:extLst>
                <a:ext uri="{FF2B5EF4-FFF2-40B4-BE49-F238E27FC236}">
                  <a16:creationId xmlns:a16="http://schemas.microsoft.com/office/drawing/2014/main" id="{48B8C1AA-B6AC-8C13-69F8-021647457625}"/>
                </a:ext>
              </a:extLst>
            </p:cNvPr>
            <p:cNvSpPr/>
            <p:nvPr/>
          </p:nvSpPr>
          <p:spPr>
            <a:xfrm>
              <a:off x="57230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19" name="Google Shape;10752;p65">
              <a:extLst>
                <a:ext uri="{FF2B5EF4-FFF2-40B4-BE49-F238E27FC236}">
                  <a16:creationId xmlns:a16="http://schemas.microsoft.com/office/drawing/2014/main" id="{60C0E16B-7322-53DF-8FC1-3FC608514E83}"/>
                </a:ext>
              </a:extLst>
            </p:cNvPr>
            <p:cNvSpPr/>
            <p:nvPr/>
          </p:nvSpPr>
          <p:spPr>
            <a:xfrm>
              <a:off x="56468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0" name="Google Shape;10753;p65">
              <a:extLst>
                <a:ext uri="{FF2B5EF4-FFF2-40B4-BE49-F238E27FC236}">
                  <a16:creationId xmlns:a16="http://schemas.microsoft.com/office/drawing/2014/main" id="{0E8A0D0B-86B1-DA59-D6EE-2EBF18EF210C}"/>
                </a:ext>
              </a:extLst>
            </p:cNvPr>
            <p:cNvSpPr/>
            <p:nvPr/>
          </p:nvSpPr>
          <p:spPr>
            <a:xfrm>
              <a:off x="5570625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1" name="Google Shape;10754;p65">
              <a:extLst>
                <a:ext uri="{FF2B5EF4-FFF2-40B4-BE49-F238E27FC236}">
                  <a16:creationId xmlns:a16="http://schemas.microsoft.com/office/drawing/2014/main" id="{1BAC0392-9999-192C-6C99-B2385CCEC5C5}"/>
                </a:ext>
              </a:extLst>
            </p:cNvPr>
            <p:cNvSpPr/>
            <p:nvPr/>
          </p:nvSpPr>
          <p:spPr>
            <a:xfrm>
              <a:off x="54944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2" name="Google Shape;10755;p65">
              <a:extLst>
                <a:ext uri="{FF2B5EF4-FFF2-40B4-BE49-F238E27FC236}">
                  <a16:creationId xmlns:a16="http://schemas.microsoft.com/office/drawing/2014/main" id="{8C7F9544-2D1D-DB81-E1A7-8251E048EABA}"/>
                </a:ext>
              </a:extLst>
            </p:cNvPr>
            <p:cNvSpPr/>
            <p:nvPr/>
          </p:nvSpPr>
          <p:spPr>
            <a:xfrm>
              <a:off x="5418200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3" name="Google Shape;10756;p65">
              <a:extLst>
                <a:ext uri="{FF2B5EF4-FFF2-40B4-BE49-F238E27FC236}">
                  <a16:creationId xmlns:a16="http://schemas.microsoft.com/office/drawing/2014/main" id="{F72A9DFD-B48C-9819-2E26-63332A4B91E4}"/>
                </a:ext>
              </a:extLst>
            </p:cNvPr>
            <p:cNvSpPr/>
            <p:nvPr/>
          </p:nvSpPr>
          <p:spPr>
            <a:xfrm>
              <a:off x="534197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4" name="Google Shape;10757;p65">
              <a:extLst>
                <a:ext uri="{FF2B5EF4-FFF2-40B4-BE49-F238E27FC236}">
                  <a16:creationId xmlns:a16="http://schemas.microsoft.com/office/drawing/2014/main" id="{9B723BEF-DB86-14C9-46F5-FE6C2B4AFD34}"/>
                </a:ext>
              </a:extLst>
            </p:cNvPr>
            <p:cNvSpPr/>
            <p:nvPr/>
          </p:nvSpPr>
          <p:spPr>
            <a:xfrm>
              <a:off x="6027500" y="33995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4"/>
                    <a:pt x="1078" y="2134"/>
                  </a:cubicBezTo>
                  <a:cubicBezTo>
                    <a:pt x="1340" y="2134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5" name="Google Shape;10758;p65">
              <a:extLst>
                <a:ext uri="{FF2B5EF4-FFF2-40B4-BE49-F238E27FC236}">
                  <a16:creationId xmlns:a16="http://schemas.microsoft.com/office/drawing/2014/main" id="{4CDB6B4A-4E6A-4116-889C-D85D560D9733}"/>
                </a:ext>
              </a:extLst>
            </p:cNvPr>
            <p:cNvSpPr/>
            <p:nvPr/>
          </p:nvSpPr>
          <p:spPr>
            <a:xfrm>
              <a:off x="6027500" y="3323300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3" y="0"/>
                  </a:moveTo>
                  <a:cubicBezTo>
                    <a:pt x="480" y="0"/>
                    <a:pt x="9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6" y="1154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6" name="Google Shape;10759;p65">
              <a:extLst>
                <a:ext uri="{FF2B5EF4-FFF2-40B4-BE49-F238E27FC236}">
                  <a16:creationId xmlns:a16="http://schemas.microsoft.com/office/drawing/2014/main" id="{A53FE4D7-2C39-DDDB-27BA-070AF97BEC52}"/>
                </a:ext>
              </a:extLst>
            </p:cNvPr>
            <p:cNvSpPr/>
            <p:nvPr/>
          </p:nvSpPr>
          <p:spPr>
            <a:xfrm>
              <a:off x="6103700" y="317107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1" y="0"/>
                    <a:pt x="9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7" name="Google Shape;10760;p65">
              <a:extLst>
                <a:ext uri="{FF2B5EF4-FFF2-40B4-BE49-F238E27FC236}">
                  <a16:creationId xmlns:a16="http://schemas.microsoft.com/office/drawing/2014/main" id="{A50B15B5-3208-177A-437C-3BA806AAFF3B}"/>
                </a:ext>
              </a:extLst>
            </p:cNvPr>
            <p:cNvSpPr/>
            <p:nvPr/>
          </p:nvSpPr>
          <p:spPr>
            <a:xfrm>
              <a:off x="6103700" y="30948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8" name="Google Shape;10761;p65">
              <a:extLst>
                <a:ext uri="{FF2B5EF4-FFF2-40B4-BE49-F238E27FC236}">
                  <a16:creationId xmlns:a16="http://schemas.microsoft.com/office/drawing/2014/main" id="{7122277F-66E1-5EE0-A964-5E7B1FE0ABF6}"/>
                </a:ext>
              </a:extLst>
            </p:cNvPr>
            <p:cNvSpPr/>
            <p:nvPr/>
          </p:nvSpPr>
          <p:spPr>
            <a:xfrm>
              <a:off x="5951475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29" name="Google Shape;10762;p65">
              <a:extLst>
                <a:ext uri="{FF2B5EF4-FFF2-40B4-BE49-F238E27FC236}">
                  <a16:creationId xmlns:a16="http://schemas.microsoft.com/office/drawing/2014/main" id="{D6E4F1DF-8486-DF0D-A11D-DC27562194B1}"/>
                </a:ext>
              </a:extLst>
            </p:cNvPr>
            <p:cNvSpPr/>
            <p:nvPr/>
          </p:nvSpPr>
          <p:spPr>
            <a:xfrm>
              <a:off x="595147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0" name="Google Shape;10763;p65">
              <a:extLst>
                <a:ext uri="{FF2B5EF4-FFF2-40B4-BE49-F238E27FC236}">
                  <a16:creationId xmlns:a16="http://schemas.microsoft.com/office/drawing/2014/main" id="{7F980BF9-88E5-8E34-34BA-8A8498A1D570}"/>
                </a:ext>
              </a:extLst>
            </p:cNvPr>
            <p:cNvSpPr/>
            <p:nvPr/>
          </p:nvSpPr>
          <p:spPr>
            <a:xfrm>
              <a:off x="5875275" y="33995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1" name="Google Shape;10764;p65">
              <a:extLst>
                <a:ext uri="{FF2B5EF4-FFF2-40B4-BE49-F238E27FC236}">
                  <a16:creationId xmlns:a16="http://schemas.microsoft.com/office/drawing/2014/main" id="{803A69BA-3C75-94A7-D87E-04D559F41822}"/>
                </a:ext>
              </a:extLst>
            </p:cNvPr>
            <p:cNvSpPr/>
            <p:nvPr/>
          </p:nvSpPr>
          <p:spPr>
            <a:xfrm>
              <a:off x="5875275" y="332330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2" name="Google Shape;10765;p65">
              <a:extLst>
                <a:ext uri="{FF2B5EF4-FFF2-40B4-BE49-F238E27FC236}">
                  <a16:creationId xmlns:a16="http://schemas.microsoft.com/office/drawing/2014/main" id="{600D3A43-AFE9-6807-76D6-B18691C8B5C1}"/>
                </a:ext>
              </a:extLst>
            </p:cNvPr>
            <p:cNvSpPr/>
            <p:nvPr/>
          </p:nvSpPr>
          <p:spPr>
            <a:xfrm>
              <a:off x="5875275" y="32470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3" name="Google Shape;10766;p65">
              <a:extLst>
                <a:ext uri="{FF2B5EF4-FFF2-40B4-BE49-F238E27FC236}">
                  <a16:creationId xmlns:a16="http://schemas.microsoft.com/office/drawing/2014/main" id="{2F0ADAD3-3A5E-C1E7-C482-655E09E565A1}"/>
                </a:ext>
              </a:extLst>
            </p:cNvPr>
            <p:cNvSpPr/>
            <p:nvPr/>
          </p:nvSpPr>
          <p:spPr>
            <a:xfrm>
              <a:off x="5799125" y="3399500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63" y="1"/>
                  </a:moveTo>
                  <a:cubicBezTo>
                    <a:pt x="478" y="1"/>
                    <a:pt x="6" y="480"/>
                    <a:pt x="6" y="1066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40"/>
                    <a:pt x="1819" y="1822"/>
                  </a:cubicBezTo>
                  <a:cubicBezTo>
                    <a:pt x="2494" y="1147"/>
                    <a:pt x="2014" y="1"/>
                    <a:pt x="106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4" name="Google Shape;10767;p65">
              <a:extLst>
                <a:ext uri="{FF2B5EF4-FFF2-40B4-BE49-F238E27FC236}">
                  <a16:creationId xmlns:a16="http://schemas.microsoft.com/office/drawing/2014/main" id="{41070438-D248-D7C9-8626-CF4422CBEA81}"/>
                </a:ext>
              </a:extLst>
            </p:cNvPr>
            <p:cNvSpPr/>
            <p:nvPr/>
          </p:nvSpPr>
          <p:spPr>
            <a:xfrm>
              <a:off x="579912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8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5" name="Google Shape;10768;p65">
              <a:extLst>
                <a:ext uri="{FF2B5EF4-FFF2-40B4-BE49-F238E27FC236}">
                  <a16:creationId xmlns:a16="http://schemas.microsoft.com/office/drawing/2014/main" id="{2B44B46D-E213-2618-52F7-F42887522C1B}"/>
                </a:ext>
              </a:extLst>
            </p:cNvPr>
            <p:cNvSpPr/>
            <p:nvPr/>
          </p:nvSpPr>
          <p:spPr>
            <a:xfrm>
              <a:off x="6027500" y="3551925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3" y="1"/>
                  </a:moveTo>
                  <a:cubicBezTo>
                    <a:pt x="480" y="1"/>
                    <a:pt x="9" y="472"/>
                    <a:pt x="0" y="1066"/>
                  </a:cubicBezTo>
                  <a:cubicBezTo>
                    <a:pt x="0" y="1704"/>
                    <a:pt x="529" y="2129"/>
                    <a:pt x="1077" y="2129"/>
                  </a:cubicBezTo>
                  <a:cubicBezTo>
                    <a:pt x="1339" y="2129"/>
                    <a:pt x="1606" y="2032"/>
                    <a:pt x="1821" y="1814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6" name="Google Shape;10769;p65">
              <a:extLst>
                <a:ext uri="{FF2B5EF4-FFF2-40B4-BE49-F238E27FC236}">
                  <a16:creationId xmlns:a16="http://schemas.microsoft.com/office/drawing/2014/main" id="{F8D692AA-428F-C357-CD6C-C9434EB939B9}"/>
                </a:ext>
              </a:extLst>
            </p:cNvPr>
            <p:cNvSpPr/>
            <p:nvPr/>
          </p:nvSpPr>
          <p:spPr>
            <a:xfrm>
              <a:off x="59514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4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7" name="Google Shape;10770;p65">
              <a:extLst>
                <a:ext uri="{FF2B5EF4-FFF2-40B4-BE49-F238E27FC236}">
                  <a16:creationId xmlns:a16="http://schemas.microsoft.com/office/drawing/2014/main" id="{4608B79D-5A49-679F-73C6-C4CDBE7771AD}"/>
                </a:ext>
              </a:extLst>
            </p:cNvPr>
            <p:cNvSpPr/>
            <p:nvPr/>
          </p:nvSpPr>
          <p:spPr>
            <a:xfrm>
              <a:off x="5875275" y="3551925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4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8" name="Google Shape;10771;p65">
              <a:extLst>
                <a:ext uri="{FF2B5EF4-FFF2-40B4-BE49-F238E27FC236}">
                  <a16:creationId xmlns:a16="http://schemas.microsoft.com/office/drawing/2014/main" id="{647C86BB-B864-A99A-3247-6CFDC3D60E7E}"/>
                </a:ext>
              </a:extLst>
            </p:cNvPr>
            <p:cNvSpPr/>
            <p:nvPr/>
          </p:nvSpPr>
          <p:spPr>
            <a:xfrm>
              <a:off x="5799050" y="3551925"/>
              <a:ext cx="62375" cy="53300"/>
            </a:xfrm>
            <a:custGeom>
              <a:avLst/>
              <a:gdLst/>
              <a:ahLst/>
              <a:cxnLst/>
              <a:rect l="l" t="t" r="r" b="b"/>
              <a:pathLst>
                <a:path w="2495" h="2132" extrusionOk="0">
                  <a:moveTo>
                    <a:pt x="1076" y="1"/>
                  </a:moveTo>
                  <a:cubicBezTo>
                    <a:pt x="1073" y="1"/>
                    <a:pt x="1069" y="1"/>
                    <a:pt x="1066" y="1"/>
                  </a:cubicBezTo>
                  <a:cubicBezTo>
                    <a:pt x="481" y="1"/>
                    <a:pt x="1" y="480"/>
                    <a:pt x="9" y="1066"/>
                  </a:cubicBezTo>
                  <a:cubicBezTo>
                    <a:pt x="9" y="1708"/>
                    <a:pt x="531" y="2131"/>
                    <a:pt x="1078" y="2131"/>
                  </a:cubicBezTo>
                  <a:cubicBezTo>
                    <a:pt x="1342" y="2131"/>
                    <a:pt x="1611" y="2033"/>
                    <a:pt x="1830" y="1814"/>
                  </a:cubicBezTo>
                  <a:cubicBezTo>
                    <a:pt x="2494" y="1141"/>
                    <a:pt x="2020" y="1"/>
                    <a:pt x="107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39" name="Google Shape;10772;p65">
              <a:extLst>
                <a:ext uri="{FF2B5EF4-FFF2-40B4-BE49-F238E27FC236}">
                  <a16:creationId xmlns:a16="http://schemas.microsoft.com/office/drawing/2014/main" id="{A6311CCC-3811-02D7-D357-9C94E7ABE456}"/>
                </a:ext>
              </a:extLst>
            </p:cNvPr>
            <p:cNvSpPr/>
            <p:nvPr/>
          </p:nvSpPr>
          <p:spPr>
            <a:xfrm>
              <a:off x="5723050" y="3551925"/>
              <a:ext cx="62150" cy="53300"/>
            </a:xfrm>
            <a:custGeom>
              <a:avLst/>
              <a:gdLst/>
              <a:ahLst/>
              <a:cxnLst/>
              <a:rect l="l" t="t" r="r" b="b"/>
              <a:pathLst>
                <a:path w="2486" h="2132" extrusionOk="0">
                  <a:moveTo>
                    <a:pt x="1075" y="1"/>
                  </a:moveTo>
                  <a:cubicBezTo>
                    <a:pt x="1072" y="1"/>
                    <a:pt x="1069" y="1"/>
                    <a:pt x="1065" y="1"/>
                  </a:cubicBez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6" y="1141"/>
                    <a:pt x="2012" y="1"/>
                    <a:pt x="107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0" name="Google Shape;10773;p65">
              <a:extLst>
                <a:ext uri="{FF2B5EF4-FFF2-40B4-BE49-F238E27FC236}">
                  <a16:creationId xmlns:a16="http://schemas.microsoft.com/office/drawing/2014/main" id="{8FED576F-7DFB-860F-7FCB-32BE2776F125}"/>
                </a:ext>
              </a:extLst>
            </p:cNvPr>
            <p:cNvSpPr/>
            <p:nvPr/>
          </p:nvSpPr>
          <p:spPr>
            <a:xfrm>
              <a:off x="5723050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1" name="Google Shape;10774;p65">
              <a:extLst>
                <a:ext uri="{FF2B5EF4-FFF2-40B4-BE49-F238E27FC236}">
                  <a16:creationId xmlns:a16="http://schemas.microsoft.com/office/drawing/2014/main" id="{7689946D-DED0-A624-B19E-B4BD8A774B47}"/>
                </a:ext>
              </a:extLst>
            </p:cNvPr>
            <p:cNvSpPr/>
            <p:nvPr/>
          </p:nvSpPr>
          <p:spPr>
            <a:xfrm>
              <a:off x="5646825" y="34757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2" name="Google Shape;10775;p65">
              <a:extLst>
                <a:ext uri="{FF2B5EF4-FFF2-40B4-BE49-F238E27FC236}">
                  <a16:creationId xmlns:a16="http://schemas.microsoft.com/office/drawing/2014/main" id="{DE79484F-8465-30FB-1852-453CB43A473F}"/>
                </a:ext>
              </a:extLst>
            </p:cNvPr>
            <p:cNvSpPr/>
            <p:nvPr/>
          </p:nvSpPr>
          <p:spPr>
            <a:xfrm>
              <a:off x="5646700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77" y="1"/>
                    <a:pt x="6" y="480"/>
                    <a:pt x="6" y="1066"/>
                  </a:cubicBezTo>
                  <a:cubicBezTo>
                    <a:pt x="0" y="1709"/>
                    <a:pt x="528" y="2134"/>
                    <a:pt x="1076" y="2134"/>
                  </a:cubicBezTo>
                  <a:cubicBezTo>
                    <a:pt x="1337" y="2134"/>
                    <a:pt x="1603" y="2037"/>
                    <a:pt x="1819" y="1822"/>
                  </a:cubicBezTo>
                  <a:cubicBezTo>
                    <a:pt x="2494" y="1147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3" name="Google Shape;10776;p65">
              <a:extLst>
                <a:ext uri="{FF2B5EF4-FFF2-40B4-BE49-F238E27FC236}">
                  <a16:creationId xmlns:a16="http://schemas.microsoft.com/office/drawing/2014/main" id="{41F003ED-364C-AFB2-D92A-3328A5BC6227}"/>
                </a:ext>
              </a:extLst>
            </p:cNvPr>
            <p:cNvSpPr/>
            <p:nvPr/>
          </p:nvSpPr>
          <p:spPr>
            <a:xfrm>
              <a:off x="5570475" y="3399500"/>
              <a:ext cx="62350" cy="53350"/>
            </a:xfrm>
            <a:custGeom>
              <a:avLst/>
              <a:gdLst/>
              <a:ahLst/>
              <a:cxnLst/>
              <a:rect l="l" t="t" r="r" b="b"/>
              <a:pathLst>
                <a:path w="2494" h="2134" extrusionOk="0">
                  <a:moveTo>
                    <a:pt x="1071" y="1"/>
                  </a:moveTo>
                  <a:cubicBezTo>
                    <a:pt x="486" y="1"/>
                    <a:pt x="6" y="480"/>
                    <a:pt x="6" y="1066"/>
                  </a:cubicBezTo>
                  <a:cubicBezTo>
                    <a:pt x="1" y="1709"/>
                    <a:pt x="528" y="2134"/>
                    <a:pt x="1076" y="2134"/>
                  </a:cubicBezTo>
                  <a:cubicBezTo>
                    <a:pt x="1338" y="2134"/>
                    <a:pt x="1604" y="2037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4" name="Google Shape;10777;p65">
              <a:extLst>
                <a:ext uri="{FF2B5EF4-FFF2-40B4-BE49-F238E27FC236}">
                  <a16:creationId xmlns:a16="http://schemas.microsoft.com/office/drawing/2014/main" id="{04902189-27B1-B2FB-ADC9-760C98066349}"/>
                </a:ext>
              </a:extLst>
            </p:cNvPr>
            <p:cNvSpPr/>
            <p:nvPr/>
          </p:nvSpPr>
          <p:spPr>
            <a:xfrm>
              <a:off x="55704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5" name="Google Shape;10778;p65">
              <a:extLst>
                <a:ext uri="{FF2B5EF4-FFF2-40B4-BE49-F238E27FC236}">
                  <a16:creationId xmlns:a16="http://schemas.microsoft.com/office/drawing/2014/main" id="{835A66B9-A7DB-DD93-E11E-6B800C25F56D}"/>
                </a:ext>
              </a:extLst>
            </p:cNvPr>
            <p:cNvSpPr/>
            <p:nvPr/>
          </p:nvSpPr>
          <p:spPr>
            <a:xfrm>
              <a:off x="5494275" y="332330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5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3" y="1154"/>
                    <a:pt x="2022" y="8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6" name="Google Shape;10779;p65">
              <a:extLst>
                <a:ext uri="{FF2B5EF4-FFF2-40B4-BE49-F238E27FC236}">
                  <a16:creationId xmlns:a16="http://schemas.microsoft.com/office/drawing/2014/main" id="{88F8C24F-B2B2-C870-DEE0-1B2220897EEC}"/>
                </a:ext>
              </a:extLst>
            </p:cNvPr>
            <p:cNvSpPr/>
            <p:nvPr/>
          </p:nvSpPr>
          <p:spPr>
            <a:xfrm>
              <a:off x="5494275" y="3247075"/>
              <a:ext cx="62350" cy="53500"/>
            </a:xfrm>
            <a:custGeom>
              <a:avLst/>
              <a:gdLst/>
              <a:ahLst/>
              <a:cxnLst/>
              <a:rect l="l" t="t" r="r" b="b"/>
              <a:pathLst>
                <a:path w="2494" h="2140" extrusionOk="0">
                  <a:moveTo>
                    <a:pt x="1071" y="1"/>
                  </a:moveTo>
                  <a:cubicBezTo>
                    <a:pt x="485" y="1"/>
                    <a:pt x="6" y="480"/>
                    <a:pt x="6" y="1066"/>
                  </a:cubicBezTo>
                  <a:cubicBezTo>
                    <a:pt x="0" y="1711"/>
                    <a:pt x="527" y="2140"/>
                    <a:pt x="1077" y="2140"/>
                  </a:cubicBezTo>
                  <a:cubicBezTo>
                    <a:pt x="1337" y="2140"/>
                    <a:pt x="1602" y="2044"/>
                    <a:pt x="1819" y="1830"/>
                  </a:cubicBezTo>
                  <a:cubicBezTo>
                    <a:pt x="2493" y="1155"/>
                    <a:pt x="2022" y="9"/>
                    <a:pt x="1071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7" name="Google Shape;10780;p65">
              <a:extLst>
                <a:ext uri="{FF2B5EF4-FFF2-40B4-BE49-F238E27FC236}">
                  <a16:creationId xmlns:a16="http://schemas.microsoft.com/office/drawing/2014/main" id="{F44FD59F-1D71-B237-DB27-76AB1BDB27A6}"/>
                </a:ext>
              </a:extLst>
            </p:cNvPr>
            <p:cNvSpPr/>
            <p:nvPr/>
          </p:nvSpPr>
          <p:spPr>
            <a:xfrm>
              <a:off x="5646700" y="3247075"/>
              <a:ext cx="62350" cy="53450"/>
            </a:xfrm>
            <a:custGeom>
              <a:avLst/>
              <a:gdLst/>
              <a:ahLst/>
              <a:cxnLst/>
              <a:rect l="l" t="t" r="r" b="b"/>
              <a:pathLst>
                <a:path w="2494" h="2138" extrusionOk="0">
                  <a:moveTo>
                    <a:pt x="1071" y="1"/>
                  </a:moveTo>
                  <a:cubicBezTo>
                    <a:pt x="486" y="9"/>
                    <a:pt x="6" y="480"/>
                    <a:pt x="6" y="1066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40"/>
                    <a:pt x="1819" y="1822"/>
                  </a:cubicBezTo>
                  <a:cubicBezTo>
                    <a:pt x="2494" y="1155"/>
                    <a:pt x="2022" y="1"/>
                    <a:pt x="1071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8" name="Google Shape;10781;p65">
              <a:extLst>
                <a:ext uri="{FF2B5EF4-FFF2-40B4-BE49-F238E27FC236}">
                  <a16:creationId xmlns:a16="http://schemas.microsoft.com/office/drawing/2014/main" id="{8FFD66DB-5D71-6560-76C8-0E6D1C7E0D6A}"/>
                </a:ext>
              </a:extLst>
            </p:cNvPr>
            <p:cNvSpPr/>
            <p:nvPr/>
          </p:nvSpPr>
          <p:spPr>
            <a:xfrm>
              <a:off x="5570625" y="31710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49" name="Google Shape;10782;p65">
              <a:extLst>
                <a:ext uri="{FF2B5EF4-FFF2-40B4-BE49-F238E27FC236}">
                  <a16:creationId xmlns:a16="http://schemas.microsoft.com/office/drawing/2014/main" id="{375B4A96-4F43-251E-1374-AB57878D6B27}"/>
                </a:ext>
              </a:extLst>
            </p:cNvPr>
            <p:cNvSpPr/>
            <p:nvPr/>
          </p:nvSpPr>
          <p:spPr>
            <a:xfrm>
              <a:off x="549440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7" y="2134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0" name="Google Shape;10783;p65">
              <a:extLst>
                <a:ext uri="{FF2B5EF4-FFF2-40B4-BE49-F238E27FC236}">
                  <a16:creationId xmlns:a16="http://schemas.microsoft.com/office/drawing/2014/main" id="{1ABE9C50-8183-C5CB-3BE6-5952BC9B2DC3}"/>
                </a:ext>
              </a:extLst>
            </p:cNvPr>
            <p:cNvSpPr/>
            <p:nvPr/>
          </p:nvSpPr>
          <p:spPr>
            <a:xfrm>
              <a:off x="7322525" y="149520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73" y="0"/>
                  </a:moveTo>
                  <a:cubicBezTo>
                    <a:pt x="480" y="0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1" name="Google Shape;10784;p65">
              <a:extLst>
                <a:ext uri="{FF2B5EF4-FFF2-40B4-BE49-F238E27FC236}">
                  <a16:creationId xmlns:a16="http://schemas.microsoft.com/office/drawing/2014/main" id="{8519D976-FB47-B5AE-EF38-07801DCC2A98}"/>
                </a:ext>
              </a:extLst>
            </p:cNvPr>
            <p:cNvSpPr/>
            <p:nvPr/>
          </p:nvSpPr>
          <p:spPr>
            <a:xfrm>
              <a:off x="724650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2" name="Google Shape;10785;p65">
              <a:extLst>
                <a:ext uri="{FF2B5EF4-FFF2-40B4-BE49-F238E27FC236}">
                  <a16:creationId xmlns:a16="http://schemas.microsoft.com/office/drawing/2014/main" id="{BF03079A-6021-BA45-CE9B-FA5E0D76E214}"/>
                </a:ext>
              </a:extLst>
            </p:cNvPr>
            <p:cNvSpPr/>
            <p:nvPr/>
          </p:nvSpPr>
          <p:spPr>
            <a:xfrm>
              <a:off x="72465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3" name="Google Shape;10786;p65">
              <a:extLst>
                <a:ext uri="{FF2B5EF4-FFF2-40B4-BE49-F238E27FC236}">
                  <a16:creationId xmlns:a16="http://schemas.microsoft.com/office/drawing/2014/main" id="{76C47A85-DE82-F946-490F-93CB130771FF}"/>
                </a:ext>
              </a:extLst>
            </p:cNvPr>
            <p:cNvSpPr/>
            <p:nvPr/>
          </p:nvSpPr>
          <p:spPr>
            <a:xfrm>
              <a:off x="717030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4" name="Google Shape;10787;p65">
              <a:extLst>
                <a:ext uri="{FF2B5EF4-FFF2-40B4-BE49-F238E27FC236}">
                  <a16:creationId xmlns:a16="http://schemas.microsoft.com/office/drawing/2014/main" id="{46CC0CBF-8010-41AF-2A43-88035D15EC8D}"/>
                </a:ext>
              </a:extLst>
            </p:cNvPr>
            <p:cNvSpPr/>
            <p:nvPr/>
          </p:nvSpPr>
          <p:spPr>
            <a:xfrm>
              <a:off x="7170300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5" name="Google Shape;10788;p65">
              <a:extLst>
                <a:ext uri="{FF2B5EF4-FFF2-40B4-BE49-F238E27FC236}">
                  <a16:creationId xmlns:a16="http://schemas.microsoft.com/office/drawing/2014/main" id="{C5BCCD95-F1E6-A517-4DE1-5E4932648898}"/>
                </a:ext>
              </a:extLst>
            </p:cNvPr>
            <p:cNvSpPr/>
            <p:nvPr/>
          </p:nvSpPr>
          <p:spPr>
            <a:xfrm>
              <a:off x="709407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6" y="2129"/>
                    <a:pt x="1603" y="2032"/>
                    <a:pt x="1822" y="1813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6" name="Google Shape;10789;p65">
              <a:extLst>
                <a:ext uri="{FF2B5EF4-FFF2-40B4-BE49-F238E27FC236}">
                  <a16:creationId xmlns:a16="http://schemas.microsoft.com/office/drawing/2014/main" id="{4A4111ED-57CA-9F28-25F6-73CD595C5DCC}"/>
                </a:ext>
              </a:extLst>
            </p:cNvPr>
            <p:cNvSpPr/>
            <p:nvPr/>
          </p:nvSpPr>
          <p:spPr>
            <a:xfrm>
              <a:off x="70940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7" name="Google Shape;10790;p65">
              <a:extLst>
                <a:ext uri="{FF2B5EF4-FFF2-40B4-BE49-F238E27FC236}">
                  <a16:creationId xmlns:a16="http://schemas.microsoft.com/office/drawing/2014/main" id="{5E80DF04-4849-9896-2FF9-BD3FBECFDA2A}"/>
                </a:ext>
              </a:extLst>
            </p:cNvPr>
            <p:cNvSpPr/>
            <p:nvPr/>
          </p:nvSpPr>
          <p:spPr>
            <a:xfrm>
              <a:off x="7017875" y="1571400"/>
              <a:ext cx="62400" cy="53250"/>
            </a:xfrm>
            <a:custGeom>
              <a:avLst/>
              <a:gdLst/>
              <a:ahLst/>
              <a:cxnLst/>
              <a:rect l="l" t="t" r="r" b="b"/>
              <a:pathLst>
                <a:path w="2496" h="2130" extrusionOk="0">
                  <a:moveTo>
                    <a:pt x="1073" y="1"/>
                  </a:moveTo>
                  <a:cubicBezTo>
                    <a:pt x="480" y="1"/>
                    <a:pt x="8" y="472"/>
                    <a:pt x="0" y="1066"/>
                  </a:cubicBezTo>
                  <a:cubicBezTo>
                    <a:pt x="0" y="1703"/>
                    <a:pt x="528" y="2129"/>
                    <a:pt x="1076" y="2129"/>
                  </a:cubicBezTo>
                  <a:cubicBezTo>
                    <a:pt x="1339" y="2129"/>
                    <a:pt x="1605" y="2032"/>
                    <a:pt x="1821" y="1813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8" name="Google Shape;10791;p65">
              <a:extLst>
                <a:ext uri="{FF2B5EF4-FFF2-40B4-BE49-F238E27FC236}">
                  <a16:creationId xmlns:a16="http://schemas.microsoft.com/office/drawing/2014/main" id="{BD7717AE-9F53-D1BA-508B-3882694CC927}"/>
                </a:ext>
              </a:extLst>
            </p:cNvPr>
            <p:cNvSpPr/>
            <p:nvPr/>
          </p:nvSpPr>
          <p:spPr>
            <a:xfrm>
              <a:off x="7017875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59" name="Google Shape;10792;p65">
              <a:extLst>
                <a:ext uri="{FF2B5EF4-FFF2-40B4-BE49-F238E27FC236}">
                  <a16:creationId xmlns:a16="http://schemas.microsoft.com/office/drawing/2014/main" id="{279461E2-CEA1-AFCF-E80F-934EB7FD2585}"/>
                </a:ext>
              </a:extLst>
            </p:cNvPr>
            <p:cNvSpPr/>
            <p:nvPr/>
          </p:nvSpPr>
          <p:spPr>
            <a:xfrm>
              <a:off x="69418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0" name="Google Shape;10793;p65">
              <a:extLst>
                <a:ext uri="{FF2B5EF4-FFF2-40B4-BE49-F238E27FC236}">
                  <a16:creationId xmlns:a16="http://schemas.microsoft.com/office/drawing/2014/main" id="{4D85E45F-27A1-B91D-D367-ED48DB1F3C96}"/>
                </a:ext>
              </a:extLst>
            </p:cNvPr>
            <p:cNvSpPr/>
            <p:nvPr/>
          </p:nvSpPr>
          <p:spPr>
            <a:xfrm>
              <a:off x="6941850" y="1571400"/>
              <a:ext cx="62225" cy="53250"/>
            </a:xfrm>
            <a:custGeom>
              <a:avLst/>
              <a:gdLst/>
              <a:ahLst/>
              <a:cxnLst/>
              <a:rect l="l" t="t" r="r" b="b"/>
              <a:pathLst>
                <a:path w="2489" h="2130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3"/>
                    <a:pt x="525" y="2129"/>
                    <a:pt x="1071" y="2129"/>
                  </a:cubicBezTo>
                  <a:cubicBezTo>
                    <a:pt x="1332" y="2129"/>
                    <a:pt x="1598" y="2032"/>
                    <a:pt x="1814" y="1813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1" name="Google Shape;10794;p65">
              <a:extLst>
                <a:ext uri="{FF2B5EF4-FFF2-40B4-BE49-F238E27FC236}">
                  <a16:creationId xmlns:a16="http://schemas.microsoft.com/office/drawing/2014/main" id="{DF119D8F-5891-6174-48C8-68E766B1AD9D}"/>
                </a:ext>
              </a:extLst>
            </p:cNvPr>
            <p:cNvSpPr/>
            <p:nvPr/>
          </p:nvSpPr>
          <p:spPr>
            <a:xfrm>
              <a:off x="694185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2" name="Google Shape;10795;p65">
              <a:extLst>
                <a:ext uri="{FF2B5EF4-FFF2-40B4-BE49-F238E27FC236}">
                  <a16:creationId xmlns:a16="http://schemas.microsoft.com/office/drawing/2014/main" id="{766E38C6-1828-0A3D-8071-17BB27C89965}"/>
                </a:ext>
              </a:extLst>
            </p:cNvPr>
            <p:cNvSpPr/>
            <p:nvPr/>
          </p:nvSpPr>
          <p:spPr>
            <a:xfrm>
              <a:off x="69418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3" name="Google Shape;10796;p65">
              <a:extLst>
                <a:ext uri="{FF2B5EF4-FFF2-40B4-BE49-F238E27FC236}">
                  <a16:creationId xmlns:a16="http://schemas.microsoft.com/office/drawing/2014/main" id="{35E20C95-80B6-DB5A-798A-7E46EBDA0B15}"/>
                </a:ext>
              </a:extLst>
            </p:cNvPr>
            <p:cNvSpPr/>
            <p:nvPr/>
          </p:nvSpPr>
          <p:spPr>
            <a:xfrm>
              <a:off x="68656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4" name="Google Shape;10797;p65">
              <a:extLst>
                <a:ext uri="{FF2B5EF4-FFF2-40B4-BE49-F238E27FC236}">
                  <a16:creationId xmlns:a16="http://schemas.microsoft.com/office/drawing/2014/main" id="{C68FB18E-BFA4-3D13-BB99-4CB87BCDEED6}"/>
                </a:ext>
              </a:extLst>
            </p:cNvPr>
            <p:cNvSpPr/>
            <p:nvPr/>
          </p:nvSpPr>
          <p:spPr>
            <a:xfrm>
              <a:off x="686565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5" name="Google Shape;10798;p65">
              <a:extLst>
                <a:ext uri="{FF2B5EF4-FFF2-40B4-BE49-F238E27FC236}">
                  <a16:creationId xmlns:a16="http://schemas.microsoft.com/office/drawing/2014/main" id="{0F6DFDF3-F9A2-A2E4-5D99-AE85AFC5F3CB}"/>
                </a:ext>
              </a:extLst>
            </p:cNvPr>
            <p:cNvSpPr/>
            <p:nvPr/>
          </p:nvSpPr>
          <p:spPr>
            <a:xfrm>
              <a:off x="6865650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1" y="1813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6" name="Google Shape;10799;p65">
              <a:extLst>
                <a:ext uri="{FF2B5EF4-FFF2-40B4-BE49-F238E27FC236}">
                  <a16:creationId xmlns:a16="http://schemas.microsoft.com/office/drawing/2014/main" id="{323E414D-18AF-D9C5-CD32-3CA438FBFFDE}"/>
                </a:ext>
              </a:extLst>
            </p:cNvPr>
            <p:cNvSpPr/>
            <p:nvPr/>
          </p:nvSpPr>
          <p:spPr>
            <a:xfrm>
              <a:off x="68656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7" name="Google Shape;10800;p65">
              <a:extLst>
                <a:ext uri="{FF2B5EF4-FFF2-40B4-BE49-F238E27FC236}">
                  <a16:creationId xmlns:a16="http://schemas.microsoft.com/office/drawing/2014/main" id="{039F86D8-9300-CCDB-2D32-778BF5EEF1C0}"/>
                </a:ext>
              </a:extLst>
            </p:cNvPr>
            <p:cNvSpPr/>
            <p:nvPr/>
          </p:nvSpPr>
          <p:spPr>
            <a:xfrm>
              <a:off x="6789225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25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8" name="Google Shape;10801;p65">
              <a:extLst>
                <a:ext uri="{FF2B5EF4-FFF2-40B4-BE49-F238E27FC236}">
                  <a16:creationId xmlns:a16="http://schemas.microsoft.com/office/drawing/2014/main" id="{344D001F-E98D-807C-02CA-50720D80E4FF}"/>
                </a:ext>
              </a:extLst>
            </p:cNvPr>
            <p:cNvSpPr/>
            <p:nvPr/>
          </p:nvSpPr>
          <p:spPr>
            <a:xfrm>
              <a:off x="6789225" y="172362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69" name="Google Shape;10802;p65">
              <a:extLst>
                <a:ext uri="{FF2B5EF4-FFF2-40B4-BE49-F238E27FC236}">
                  <a16:creationId xmlns:a16="http://schemas.microsoft.com/office/drawing/2014/main" id="{2975516E-5089-1D18-D3D1-AB73AD8B0F1B}"/>
                </a:ext>
              </a:extLst>
            </p:cNvPr>
            <p:cNvSpPr/>
            <p:nvPr/>
          </p:nvSpPr>
          <p:spPr>
            <a:xfrm>
              <a:off x="6789225" y="1571400"/>
              <a:ext cx="62425" cy="53250"/>
            </a:xfrm>
            <a:custGeom>
              <a:avLst/>
              <a:gdLst/>
              <a:ahLst/>
              <a:cxnLst/>
              <a:rect l="l" t="t" r="r" b="b"/>
              <a:pathLst>
                <a:path w="2497" h="2130" extrusionOk="0">
                  <a:moveTo>
                    <a:pt x="1074" y="1"/>
                  </a:moveTo>
                  <a:cubicBezTo>
                    <a:pt x="480" y="1"/>
                    <a:pt x="9" y="472"/>
                    <a:pt x="1" y="1066"/>
                  </a:cubicBezTo>
                  <a:cubicBezTo>
                    <a:pt x="1" y="1703"/>
                    <a:pt x="525" y="2129"/>
                    <a:pt x="1073" y="2129"/>
                  </a:cubicBezTo>
                  <a:cubicBezTo>
                    <a:pt x="1335" y="2129"/>
                    <a:pt x="1603" y="2032"/>
                    <a:pt x="1822" y="1813"/>
                  </a:cubicBezTo>
                  <a:cubicBezTo>
                    <a:pt x="2496" y="1147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0" name="Google Shape;10803;p65">
              <a:extLst>
                <a:ext uri="{FF2B5EF4-FFF2-40B4-BE49-F238E27FC236}">
                  <a16:creationId xmlns:a16="http://schemas.microsoft.com/office/drawing/2014/main" id="{A0CF9B87-03A3-1847-A6E9-D8EBA622C5D8}"/>
                </a:ext>
              </a:extLst>
            </p:cNvPr>
            <p:cNvSpPr/>
            <p:nvPr/>
          </p:nvSpPr>
          <p:spPr>
            <a:xfrm>
              <a:off x="6789225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0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96" y="1155"/>
                    <a:pt x="2025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1" name="Google Shape;10804;p65">
              <a:extLst>
                <a:ext uri="{FF2B5EF4-FFF2-40B4-BE49-F238E27FC236}">
                  <a16:creationId xmlns:a16="http://schemas.microsoft.com/office/drawing/2014/main" id="{86836EA1-73C5-C614-045C-9D1B07B1E0B2}"/>
                </a:ext>
              </a:extLst>
            </p:cNvPr>
            <p:cNvSpPr/>
            <p:nvPr/>
          </p:nvSpPr>
          <p:spPr>
            <a:xfrm>
              <a:off x="6713225" y="1876050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7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2" name="Google Shape;10805;p65">
              <a:extLst>
                <a:ext uri="{FF2B5EF4-FFF2-40B4-BE49-F238E27FC236}">
                  <a16:creationId xmlns:a16="http://schemas.microsoft.com/office/drawing/2014/main" id="{9C1E8E0D-91B0-7F8E-B72E-E11218F49521}"/>
                </a:ext>
              </a:extLst>
            </p:cNvPr>
            <p:cNvSpPr/>
            <p:nvPr/>
          </p:nvSpPr>
          <p:spPr>
            <a:xfrm>
              <a:off x="6713225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3" name="Google Shape;10806;p65">
              <a:extLst>
                <a:ext uri="{FF2B5EF4-FFF2-40B4-BE49-F238E27FC236}">
                  <a16:creationId xmlns:a16="http://schemas.microsoft.com/office/drawing/2014/main" id="{F8DCFB3C-CC34-17EA-E691-AD5857B9C2E8}"/>
                </a:ext>
              </a:extLst>
            </p:cNvPr>
            <p:cNvSpPr/>
            <p:nvPr/>
          </p:nvSpPr>
          <p:spPr>
            <a:xfrm>
              <a:off x="6713225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4" name="Google Shape;10807;p65">
              <a:extLst>
                <a:ext uri="{FF2B5EF4-FFF2-40B4-BE49-F238E27FC236}">
                  <a16:creationId xmlns:a16="http://schemas.microsoft.com/office/drawing/2014/main" id="{5D1CB8C3-BCF8-9FB3-6292-7566321FCD22}"/>
                </a:ext>
              </a:extLst>
            </p:cNvPr>
            <p:cNvSpPr/>
            <p:nvPr/>
          </p:nvSpPr>
          <p:spPr>
            <a:xfrm>
              <a:off x="6713225" y="1571400"/>
              <a:ext cx="62200" cy="53250"/>
            </a:xfrm>
            <a:custGeom>
              <a:avLst/>
              <a:gdLst/>
              <a:ahLst/>
              <a:cxnLst/>
              <a:rect l="l" t="t" r="r" b="b"/>
              <a:pathLst>
                <a:path w="2488" h="2130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3"/>
                    <a:pt x="525" y="2129"/>
                    <a:pt x="1070" y="2129"/>
                  </a:cubicBezTo>
                  <a:cubicBezTo>
                    <a:pt x="1331" y="2129"/>
                    <a:pt x="1597" y="2032"/>
                    <a:pt x="1813" y="1813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5" name="Google Shape;10808;p65">
              <a:extLst>
                <a:ext uri="{FF2B5EF4-FFF2-40B4-BE49-F238E27FC236}">
                  <a16:creationId xmlns:a16="http://schemas.microsoft.com/office/drawing/2014/main" id="{39A740CE-12A6-EAE9-F7C6-C6D8CCD7749F}"/>
                </a:ext>
              </a:extLst>
            </p:cNvPr>
            <p:cNvSpPr/>
            <p:nvPr/>
          </p:nvSpPr>
          <p:spPr>
            <a:xfrm>
              <a:off x="67132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6" name="Google Shape;10809;p65">
              <a:extLst>
                <a:ext uri="{FF2B5EF4-FFF2-40B4-BE49-F238E27FC236}">
                  <a16:creationId xmlns:a16="http://schemas.microsoft.com/office/drawing/2014/main" id="{C181A771-CBFA-493E-1128-26CA15E24641}"/>
                </a:ext>
              </a:extLst>
            </p:cNvPr>
            <p:cNvSpPr/>
            <p:nvPr/>
          </p:nvSpPr>
          <p:spPr>
            <a:xfrm>
              <a:off x="663700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7" name="Google Shape;10810;p65">
              <a:extLst>
                <a:ext uri="{FF2B5EF4-FFF2-40B4-BE49-F238E27FC236}">
                  <a16:creationId xmlns:a16="http://schemas.microsoft.com/office/drawing/2014/main" id="{7239D367-862C-B98E-8355-E18B6C71E8DA}"/>
                </a:ext>
              </a:extLst>
            </p:cNvPr>
            <p:cNvSpPr/>
            <p:nvPr/>
          </p:nvSpPr>
          <p:spPr>
            <a:xfrm>
              <a:off x="66370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8" name="Google Shape;10811;p65">
              <a:extLst>
                <a:ext uri="{FF2B5EF4-FFF2-40B4-BE49-F238E27FC236}">
                  <a16:creationId xmlns:a16="http://schemas.microsoft.com/office/drawing/2014/main" id="{3F15A402-2A45-B585-D587-A0FB8C575A7F}"/>
                </a:ext>
              </a:extLst>
            </p:cNvPr>
            <p:cNvSpPr/>
            <p:nvPr/>
          </p:nvSpPr>
          <p:spPr>
            <a:xfrm>
              <a:off x="6560800" y="164740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79" name="Google Shape;10812;p65">
              <a:extLst>
                <a:ext uri="{FF2B5EF4-FFF2-40B4-BE49-F238E27FC236}">
                  <a16:creationId xmlns:a16="http://schemas.microsoft.com/office/drawing/2014/main" id="{832A3383-2C4C-E3B9-BAD2-C5841257EAD3}"/>
                </a:ext>
              </a:extLst>
            </p:cNvPr>
            <p:cNvSpPr/>
            <p:nvPr/>
          </p:nvSpPr>
          <p:spPr>
            <a:xfrm>
              <a:off x="656080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0" name="Google Shape;10813;p65">
              <a:extLst>
                <a:ext uri="{FF2B5EF4-FFF2-40B4-BE49-F238E27FC236}">
                  <a16:creationId xmlns:a16="http://schemas.microsoft.com/office/drawing/2014/main" id="{B8257DA7-25C0-647D-7D54-ED42D0663F0F}"/>
                </a:ext>
              </a:extLst>
            </p:cNvPr>
            <p:cNvSpPr/>
            <p:nvPr/>
          </p:nvSpPr>
          <p:spPr>
            <a:xfrm>
              <a:off x="6560800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4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1" name="Google Shape;10814;p65">
              <a:extLst>
                <a:ext uri="{FF2B5EF4-FFF2-40B4-BE49-F238E27FC236}">
                  <a16:creationId xmlns:a16="http://schemas.microsoft.com/office/drawing/2014/main" id="{43A9230B-E75B-39BF-D52F-0B37D6C3A549}"/>
                </a:ext>
              </a:extLst>
            </p:cNvPr>
            <p:cNvSpPr/>
            <p:nvPr/>
          </p:nvSpPr>
          <p:spPr>
            <a:xfrm>
              <a:off x="6484575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2" name="Google Shape;10815;p65">
              <a:extLst>
                <a:ext uri="{FF2B5EF4-FFF2-40B4-BE49-F238E27FC236}">
                  <a16:creationId xmlns:a16="http://schemas.microsoft.com/office/drawing/2014/main" id="{3993DF29-B435-8E30-08CE-342E72F625BA}"/>
                </a:ext>
              </a:extLst>
            </p:cNvPr>
            <p:cNvSpPr/>
            <p:nvPr/>
          </p:nvSpPr>
          <p:spPr>
            <a:xfrm>
              <a:off x="64845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2" y="1821"/>
                  </a:cubicBezTo>
                  <a:cubicBezTo>
                    <a:pt x="2496" y="1155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3" name="Google Shape;10816;p65">
              <a:extLst>
                <a:ext uri="{FF2B5EF4-FFF2-40B4-BE49-F238E27FC236}">
                  <a16:creationId xmlns:a16="http://schemas.microsoft.com/office/drawing/2014/main" id="{F9B463A8-26DF-4C8D-DA48-5DF61EFD1475}"/>
                </a:ext>
              </a:extLst>
            </p:cNvPr>
            <p:cNvSpPr/>
            <p:nvPr/>
          </p:nvSpPr>
          <p:spPr>
            <a:xfrm>
              <a:off x="640835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4" name="Google Shape;10817;p65">
              <a:extLst>
                <a:ext uri="{FF2B5EF4-FFF2-40B4-BE49-F238E27FC236}">
                  <a16:creationId xmlns:a16="http://schemas.microsoft.com/office/drawing/2014/main" id="{588BB5A8-0E77-0C49-AFA9-36BFC9242D89}"/>
                </a:ext>
              </a:extLst>
            </p:cNvPr>
            <p:cNvSpPr/>
            <p:nvPr/>
          </p:nvSpPr>
          <p:spPr>
            <a:xfrm>
              <a:off x="640835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84" y="0"/>
                  </a:moveTo>
                  <a:cubicBezTo>
                    <a:pt x="1081" y="0"/>
                    <a:pt x="1077" y="0"/>
                    <a:pt x="1074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8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5" name="Google Shape;10818;p65">
              <a:extLst>
                <a:ext uri="{FF2B5EF4-FFF2-40B4-BE49-F238E27FC236}">
                  <a16:creationId xmlns:a16="http://schemas.microsoft.com/office/drawing/2014/main" id="{83585AB8-BB56-A67C-FAE5-5EDF2DCE4D23}"/>
                </a:ext>
              </a:extLst>
            </p:cNvPr>
            <p:cNvSpPr/>
            <p:nvPr/>
          </p:nvSpPr>
          <p:spPr>
            <a:xfrm>
              <a:off x="640835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6" name="Google Shape;10819;p65">
              <a:extLst>
                <a:ext uri="{FF2B5EF4-FFF2-40B4-BE49-F238E27FC236}">
                  <a16:creationId xmlns:a16="http://schemas.microsoft.com/office/drawing/2014/main" id="{036C5BA1-24E8-5FF7-4C6C-4C05B6CB528C}"/>
                </a:ext>
              </a:extLst>
            </p:cNvPr>
            <p:cNvSpPr/>
            <p:nvPr/>
          </p:nvSpPr>
          <p:spPr>
            <a:xfrm>
              <a:off x="6408350" y="17998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7" name="Google Shape;10820;p65">
              <a:extLst>
                <a:ext uri="{FF2B5EF4-FFF2-40B4-BE49-F238E27FC236}">
                  <a16:creationId xmlns:a16="http://schemas.microsoft.com/office/drawing/2014/main" id="{45D801ED-8A8B-5DE9-81D8-1B0CFFE5860F}"/>
                </a:ext>
              </a:extLst>
            </p:cNvPr>
            <p:cNvSpPr/>
            <p:nvPr/>
          </p:nvSpPr>
          <p:spPr>
            <a:xfrm>
              <a:off x="6408350" y="164740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8" name="Google Shape;10821;p65">
              <a:extLst>
                <a:ext uri="{FF2B5EF4-FFF2-40B4-BE49-F238E27FC236}">
                  <a16:creationId xmlns:a16="http://schemas.microsoft.com/office/drawing/2014/main" id="{7AE0B44B-7CBA-1822-A9E4-B287CCBC5A42}"/>
                </a:ext>
              </a:extLst>
            </p:cNvPr>
            <p:cNvSpPr/>
            <p:nvPr/>
          </p:nvSpPr>
          <p:spPr>
            <a:xfrm>
              <a:off x="640835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89" name="Google Shape;10822;p65">
              <a:extLst>
                <a:ext uri="{FF2B5EF4-FFF2-40B4-BE49-F238E27FC236}">
                  <a16:creationId xmlns:a16="http://schemas.microsoft.com/office/drawing/2014/main" id="{FF34EE40-1FF9-075C-1120-D69A0ACD241C}"/>
                </a:ext>
              </a:extLst>
            </p:cNvPr>
            <p:cNvSpPr/>
            <p:nvPr/>
          </p:nvSpPr>
          <p:spPr>
            <a:xfrm>
              <a:off x="640835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1" y="9"/>
                    <a:pt x="9" y="480"/>
                    <a:pt x="1" y="1074"/>
                  </a:cubicBezTo>
                  <a:cubicBezTo>
                    <a:pt x="1" y="1711"/>
                    <a:pt x="525" y="2137"/>
                    <a:pt x="1074" y="2137"/>
                  </a:cubicBezTo>
                  <a:cubicBezTo>
                    <a:pt x="1336" y="2137"/>
                    <a:pt x="1604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0" name="Google Shape;10823;p65">
              <a:extLst>
                <a:ext uri="{FF2B5EF4-FFF2-40B4-BE49-F238E27FC236}">
                  <a16:creationId xmlns:a16="http://schemas.microsoft.com/office/drawing/2014/main" id="{6109A79E-35FE-A742-45FD-84CF721B7E4B}"/>
                </a:ext>
              </a:extLst>
            </p:cNvPr>
            <p:cNvSpPr/>
            <p:nvPr/>
          </p:nvSpPr>
          <p:spPr>
            <a:xfrm>
              <a:off x="633235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1" name="Google Shape;10824;p65">
              <a:extLst>
                <a:ext uri="{FF2B5EF4-FFF2-40B4-BE49-F238E27FC236}">
                  <a16:creationId xmlns:a16="http://schemas.microsoft.com/office/drawing/2014/main" id="{AD85EB06-6D99-2253-C0C2-F06779A7D14D}"/>
                </a:ext>
              </a:extLst>
            </p:cNvPr>
            <p:cNvSpPr/>
            <p:nvPr/>
          </p:nvSpPr>
          <p:spPr>
            <a:xfrm>
              <a:off x="633235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2" name="Google Shape;10825;p65">
              <a:extLst>
                <a:ext uri="{FF2B5EF4-FFF2-40B4-BE49-F238E27FC236}">
                  <a16:creationId xmlns:a16="http://schemas.microsoft.com/office/drawing/2014/main" id="{D0D27C92-265D-F24C-0FD4-1CA3D26EF5EE}"/>
                </a:ext>
              </a:extLst>
            </p:cNvPr>
            <p:cNvSpPr/>
            <p:nvPr/>
          </p:nvSpPr>
          <p:spPr>
            <a:xfrm>
              <a:off x="6332350" y="19520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74"/>
                  </a:cubicBezTo>
                  <a:cubicBezTo>
                    <a:pt x="1" y="1712"/>
                    <a:pt x="525" y="2138"/>
                    <a:pt x="1071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55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3" name="Google Shape;10826;p65">
              <a:extLst>
                <a:ext uri="{FF2B5EF4-FFF2-40B4-BE49-F238E27FC236}">
                  <a16:creationId xmlns:a16="http://schemas.microsoft.com/office/drawing/2014/main" id="{59D4FF85-21D4-86C3-8A83-7AF1B51A095C}"/>
                </a:ext>
              </a:extLst>
            </p:cNvPr>
            <p:cNvSpPr/>
            <p:nvPr/>
          </p:nvSpPr>
          <p:spPr>
            <a:xfrm>
              <a:off x="6332350" y="1876050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1"/>
                  </a:moveTo>
                  <a:cubicBezTo>
                    <a:pt x="472" y="1"/>
                    <a:pt x="1" y="472"/>
                    <a:pt x="1" y="1066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29" y="2131"/>
                    <a:pt x="1597" y="2033"/>
                    <a:pt x="1813" y="1813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4" name="Google Shape;10827;p65">
              <a:extLst>
                <a:ext uri="{FF2B5EF4-FFF2-40B4-BE49-F238E27FC236}">
                  <a16:creationId xmlns:a16="http://schemas.microsoft.com/office/drawing/2014/main" id="{5D2CCC12-2562-6E58-3530-19836F2E31A1}"/>
                </a:ext>
              </a:extLst>
            </p:cNvPr>
            <p:cNvSpPr/>
            <p:nvPr/>
          </p:nvSpPr>
          <p:spPr>
            <a:xfrm>
              <a:off x="6332350" y="172362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5" name="Google Shape;10828;p65">
              <a:extLst>
                <a:ext uri="{FF2B5EF4-FFF2-40B4-BE49-F238E27FC236}">
                  <a16:creationId xmlns:a16="http://schemas.microsoft.com/office/drawing/2014/main" id="{426D8D0C-A350-9F07-7E38-77DA9C6EB79E}"/>
                </a:ext>
              </a:extLst>
            </p:cNvPr>
            <p:cNvSpPr/>
            <p:nvPr/>
          </p:nvSpPr>
          <p:spPr>
            <a:xfrm>
              <a:off x="6332350" y="164740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6" name="Google Shape;10829;p65">
              <a:extLst>
                <a:ext uri="{FF2B5EF4-FFF2-40B4-BE49-F238E27FC236}">
                  <a16:creationId xmlns:a16="http://schemas.microsoft.com/office/drawing/2014/main" id="{A9E2CB21-87FA-651C-4576-E19223124FD4}"/>
                </a:ext>
              </a:extLst>
            </p:cNvPr>
            <p:cNvSpPr/>
            <p:nvPr/>
          </p:nvSpPr>
          <p:spPr>
            <a:xfrm>
              <a:off x="63323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3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7" name="Google Shape;10830;p65">
              <a:extLst>
                <a:ext uri="{FF2B5EF4-FFF2-40B4-BE49-F238E27FC236}">
                  <a16:creationId xmlns:a16="http://schemas.microsoft.com/office/drawing/2014/main" id="{EA1404FE-6C5C-49B9-DA09-C6D452302C0C}"/>
                </a:ext>
              </a:extLst>
            </p:cNvPr>
            <p:cNvSpPr/>
            <p:nvPr/>
          </p:nvSpPr>
          <p:spPr>
            <a:xfrm>
              <a:off x="62561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7" y="2131"/>
                  </a:cubicBezTo>
                  <a:cubicBezTo>
                    <a:pt x="1329" y="2131"/>
                    <a:pt x="1596" y="2033"/>
                    <a:pt x="1813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8" name="Google Shape;10831;p65">
              <a:extLst>
                <a:ext uri="{FF2B5EF4-FFF2-40B4-BE49-F238E27FC236}">
                  <a16:creationId xmlns:a16="http://schemas.microsoft.com/office/drawing/2014/main" id="{950B8529-1564-5152-A4C4-D8EA0C39E050}"/>
                </a:ext>
              </a:extLst>
            </p:cNvPr>
            <p:cNvSpPr/>
            <p:nvPr/>
          </p:nvSpPr>
          <p:spPr>
            <a:xfrm>
              <a:off x="6256150" y="24093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699" name="Google Shape;10832;p65">
              <a:extLst>
                <a:ext uri="{FF2B5EF4-FFF2-40B4-BE49-F238E27FC236}">
                  <a16:creationId xmlns:a16="http://schemas.microsoft.com/office/drawing/2014/main" id="{D5376228-A591-A5CD-4F1D-BEFF41A07612}"/>
                </a:ext>
              </a:extLst>
            </p:cNvPr>
            <p:cNvSpPr/>
            <p:nvPr/>
          </p:nvSpPr>
          <p:spPr>
            <a:xfrm>
              <a:off x="6256150" y="20282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7"/>
                    <a:pt x="1071" y="2137"/>
                  </a:cubicBezTo>
                  <a:cubicBezTo>
                    <a:pt x="1332" y="2137"/>
                    <a:pt x="1597" y="2040"/>
                    <a:pt x="1813" y="1821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0" name="Google Shape;10833;p65">
              <a:extLst>
                <a:ext uri="{FF2B5EF4-FFF2-40B4-BE49-F238E27FC236}">
                  <a16:creationId xmlns:a16="http://schemas.microsoft.com/office/drawing/2014/main" id="{90BD5213-5B74-8723-D497-0E208AC27D6A}"/>
                </a:ext>
              </a:extLst>
            </p:cNvPr>
            <p:cNvSpPr/>
            <p:nvPr/>
          </p:nvSpPr>
          <p:spPr>
            <a:xfrm>
              <a:off x="6256150" y="19520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1"/>
                    <a:pt x="0" y="1074"/>
                  </a:cubicBezTo>
                  <a:cubicBezTo>
                    <a:pt x="0" y="1712"/>
                    <a:pt x="524" y="2138"/>
                    <a:pt x="1070" y="2138"/>
                  </a:cubicBezTo>
                  <a:cubicBezTo>
                    <a:pt x="1331" y="2138"/>
                    <a:pt x="1597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1" name="Google Shape;10834;p65">
              <a:extLst>
                <a:ext uri="{FF2B5EF4-FFF2-40B4-BE49-F238E27FC236}">
                  <a16:creationId xmlns:a16="http://schemas.microsoft.com/office/drawing/2014/main" id="{316BF60B-8C42-C240-7F2D-1CFD9061C3FE}"/>
                </a:ext>
              </a:extLst>
            </p:cNvPr>
            <p:cNvSpPr/>
            <p:nvPr/>
          </p:nvSpPr>
          <p:spPr>
            <a:xfrm>
              <a:off x="6256150" y="187605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2" name="Google Shape;10835;p65">
              <a:extLst>
                <a:ext uri="{FF2B5EF4-FFF2-40B4-BE49-F238E27FC236}">
                  <a16:creationId xmlns:a16="http://schemas.microsoft.com/office/drawing/2014/main" id="{68DD492C-1977-4AEF-C588-2200B78D2177}"/>
                </a:ext>
              </a:extLst>
            </p:cNvPr>
            <p:cNvSpPr/>
            <p:nvPr/>
          </p:nvSpPr>
          <p:spPr>
            <a:xfrm>
              <a:off x="6256150" y="179985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3" name="Google Shape;10836;p65">
              <a:extLst>
                <a:ext uri="{FF2B5EF4-FFF2-40B4-BE49-F238E27FC236}">
                  <a16:creationId xmlns:a16="http://schemas.microsoft.com/office/drawing/2014/main" id="{83705436-A962-1CE7-4048-EE653FAA1CFF}"/>
                </a:ext>
              </a:extLst>
            </p:cNvPr>
            <p:cNvSpPr/>
            <p:nvPr/>
          </p:nvSpPr>
          <p:spPr>
            <a:xfrm>
              <a:off x="6256150" y="17236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4" name="Google Shape;10837;p65">
              <a:extLst>
                <a:ext uri="{FF2B5EF4-FFF2-40B4-BE49-F238E27FC236}">
                  <a16:creationId xmlns:a16="http://schemas.microsoft.com/office/drawing/2014/main" id="{9FB7E834-52F1-FC6E-56C2-BEF00C429314}"/>
                </a:ext>
              </a:extLst>
            </p:cNvPr>
            <p:cNvSpPr/>
            <p:nvPr/>
          </p:nvSpPr>
          <p:spPr>
            <a:xfrm>
              <a:off x="6256150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5" name="Google Shape;10838;p65">
              <a:extLst>
                <a:ext uri="{FF2B5EF4-FFF2-40B4-BE49-F238E27FC236}">
                  <a16:creationId xmlns:a16="http://schemas.microsoft.com/office/drawing/2014/main" id="{30205D2E-F049-D1D2-DC32-A5BCB6F0427B}"/>
                </a:ext>
              </a:extLst>
            </p:cNvPr>
            <p:cNvSpPr/>
            <p:nvPr/>
          </p:nvSpPr>
          <p:spPr>
            <a:xfrm>
              <a:off x="617992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6" name="Google Shape;10839;p65">
              <a:extLst>
                <a:ext uri="{FF2B5EF4-FFF2-40B4-BE49-F238E27FC236}">
                  <a16:creationId xmlns:a16="http://schemas.microsoft.com/office/drawing/2014/main" id="{7F760966-1A6C-1C38-2181-CCFC402100B2}"/>
                </a:ext>
              </a:extLst>
            </p:cNvPr>
            <p:cNvSpPr/>
            <p:nvPr/>
          </p:nvSpPr>
          <p:spPr>
            <a:xfrm>
              <a:off x="617992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7" name="Google Shape;10840;p65">
              <a:extLst>
                <a:ext uri="{FF2B5EF4-FFF2-40B4-BE49-F238E27FC236}">
                  <a16:creationId xmlns:a16="http://schemas.microsoft.com/office/drawing/2014/main" id="{121D4DF7-D361-0FC5-5F55-CFE6CD455A3B}"/>
                </a:ext>
              </a:extLst>
            </p:cNvPr>
            <p:cNvSpPr/>
            <p:nvPr/>
          </p:nvSpPr>
          <p:spPr>
            <a:xfrm>
              <a:off x="6179925" y="21045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8" name="Google Shape;10841;p65">
              <a:extLst>
                <a:ext uri="{FF2B5EF4-FFF2-40B4-BE49-F238E27FC236}">
                  <a16:creationId xmlns:a16="http://schemas.microsoft.com/office/drawing/2014/main" id="{D76C46DC-D964-E27A-281B-4F8226F737B3}"/>
                </a:ext>
              </a:extLst>
            </p:cNvPr>
            <p:cNvSpPr/>
            <p:nvPr/>
          </p:nvSpPr>
          <p:spPr>
            <a:xfrm>
              <a:off x="61799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09" name="Google Shape;10842;p65">
              <a:extLst>
                <a:ext uri="{FF2B5EF4-FFF2-40B4-BE49-F238E27FC236}">
                  <a16:creationId xmlns:a16="http://schemas.microsoft.com/office/drawing/2014/main" id="{C56475FD-232D-F17D-7B59-7C927E8BDD2E}"/>
                </a:ext>
              </a:extLst>
            </p:cNvPr>
            <p:cNvSpPr/>
            <p:nvPr/>
          </p:nvSpPr>
          <p:spPr>
            <a:xfrm>
              <a:off x="6103700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0" name="Google Shape;10843;p65">
              <a:extLst>
                <a:ext uri="{FF2B5EF4-FFF2-40B4-BE49-F238E27FC236}">
                  <a16:creationId xmlns:a16="http://schemas.microsoft.com/office/drawing/2014/main" id="{1539B81D-D613-B689-2D82-4ACC6A99052F}"/>
                </a:ext>
              </a:extLst>
            </p:cNvPr>
            <p:cNvSpPr/>
            <p:nvPr/>
          </p:nvSpPr>
          <p:spPr>
            <a:xfrm>
              <a:off x="6103700" y="2256925"/>
              <a:ext cx="62575" cy="53425"/>
            </a:xfrm>
            <a:custGeom>
              <a:avLst/>
              <a:gdLst/>
              <a:ahLst/>
              <a:cxnLst/>
              <a:rect l="l" t="t" r="r" b="b"/>
              <a:pathLst>
                <a:path w="2503" h="2137" extrusionOk="0">
                  <a:moveTo>
                    <a:pt x="1076" y="0"/>
                  </a:moveTo>
                  <a:cubicBezTo>
                    <a:pt x="1073" y="0"/>
                    <a:pt x="1069" y="0"/>
                    <a:pt x="1066" y="0"/>
                  </a:cubicBezTo>
                  <a:cubicBezTo>
                    <a:pt x="481" y="0"/>
                    <a:pt x="1" y="480"/>
                    <a:pt x="1" y="1065"/>
                  </a:cubicBezTo>
                  <a:cubicBezTo>
                    <a:pt x="1" y="1709"/>
                    <a:pt x="530" y="2137"/>
                    <a:pt x="1081" y="2137"/>
                  </a:cubicBezTo>
                  <a:cubicBezTo>
                    <a:pt x="1344" y="2137"/>
                    <a:pt x="1612" y="2039"/>
                    <a:pt x="1830" y="1821"/>
                  </a:cubicBezTo>
                  <a:cubicBezTo>
                    <a:pt x="2502" y="1149"/>
                    <a:pt x="2029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1" name="Google Shape;10844;p65">
              <a:extLst>
                <a:ext uri="{FF2B5EF4-FFF2-40B4-BE49-F238E27FC236}">
                  <a16:creationId xmlns:a16="http://schemas.microsoft.com/office/drawing/2014/main" id="{F2541C31-33EC-BE2C-7150-DD5B4533B088}"/>
                </a:ext>
              </a:extLst>
            </p:cNvPr>
            <p:cNvSpPr/>
            <p:nvPr/>
          </p:nvSpPr>
          <p:spPr>
            <a:xfrm>
              <a:off x="61037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6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7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2" name="Google Shape;10845;p65">
              <a:extLst>
                <a:ext uri="{FF2B5EF4-FFF2-40B4-BE49-F238E27FC236}">
                  <a16:creationId xmlns:a16="http://schemas.microsoft.com/office/drawing/2014/main" id="{454AAEFB-B92A-CEBA-2E41-648E5D397D78}"/>
                </a:ext>
              </a:extLst>
            </p:cNvPr>
            <p:cNvSpPr/>
            <p:nvPr/>
          </p:nvSpPr>
          <p:spPr>
            <a:xfrm>
              <a:off x="6103700" y="210450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6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7" y="2133"/>
                    <a:pt x="1604" y="2036"/>
                    <a:pt x="1822" y="1821"/>
                  </a:cubicBezTo>
                  <a:cubicBezTo>
                    <a:pt x="2497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3" name="Google Shape;10846;p65">
              <a:extLst>
                <a:ext uri="{FF2B5EF4-FFF2-40B4-BE49-F238E27FC236}">
                  <a16:creationId xmlns:a16="http://schemas.microsoft.com/office/drawing/2014/main" id="{CBFDE4E7-93B5-18AC-E432-901C8FDD1586}"/>
                </a:ext>
              </a:extLst>
            </p:cNvPr>
            <p:cNvSpPr/>
            <p:nvPr/>
          </p:nvSpPr>
          <p:spPr>
            <a:xfrm>
              <a:off x="61037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6" y="1"/>
                  </a:moveTo>
                  <a:cubicBezTo>
                    <a:pt x="481" y="1"/>
                    <a:pt x="9" y="481"/>
                    <a:pt x="1" y="1066"/>
                  </a:cubicBezTo>
                  <a:cubicBezTo>
                    <a:pt x="1" y="1710"/>
                    <a:pt x="526" y="2138"/>
                    <a:pt x="1075" y="2138"/>
                  </a:cubicBezTo>
                  <a:cubicBezTo>
                    <a:pt x="1337" y="2138"/>
                    <a:pt x="1604" y="2040"/>
                    <a:pt x="1822" y="1822"/>
                  </a:cubicBezTo>
                  <a:cubicBezTo>
                    <a:pt x="2497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4" name="Google Shape;10847;p65">
              <a:extLst>
                <a:ext uri="{FF2B5EF4-FFF2-40B4-BE49-F238E27FC236}">
                  <a16:creationId xmlns:a16="http://schemas.microsoft.com/office/drawing/2014/main" id="{6CD61B6B-1CDC-6B36-1C4E-D1C837E858F9}"/>
                </a:ext>
              </a:extLst>
            </p:cNvPr>
            <p:cNvSpPr/>
            <p:nvPr/>
          </p:nvSpPr>
          <p:spPr>
            <a:xfrm>
              <a:off x="6027500" y="21807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3" y="1"/>
                  </a:moveTo>
                  <a:cubicBezTo>
                    <a:pt x="480" y="1"/>
                    <a:pt x="9" y="480"/>
                    <a:pt x="0" y="1066"/>
                  </a:cubicBezTo>
                  <a:cubicBezTo>
                    <a:pt x="0" y="1709"/>
                    <a:pt x="529" y="2133"/>
                    <a:pt x="1078" y="2133"/>
                  </a:cubicBezTo>
                  <a:cubicBezTo>
                    <a:pt x="1340" y="2133"/>
                    <a:pt x="1606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5" name="Google Shape;10848;p65">
              <a:extLst>
                <a:ext uri="{FF2B5EF4-FFF2-40B4-BE49-F238E27FC236}">
                  <a16:creationId xmlns:a16="http://schemas.microsoft.com/office/drawing/2014/main" id="{68F13C1F-305A-5672-9CC6-670D7725008B}"/>
                </a:ext>
              </a:extLst>
            </p:cNvPr>
            <p:cNvSpPr/>
            <p:nvPr/>
          </p:nvSpPr>
          <p:spPr>
            <a:xfrm>
              <a:off x="6027500" y="13427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3" y="1"/>
                  </a:moveTo>
                  <a:cubicBezTo>
                    <a:pt x="480" y="1"/>
                    <a:pt x="9" y="481"/>
                    <a:pt x="0" y="1066"/>
                  </a:cubicBezTo>
                  <a:cubicBezTo>
                    <a:pt x="0" y="1710"/>
                    <a:pt x="529" y="2138"/>
                    <a:pt x="1078" y="2138"/>
                  </a:cubicBezTo>
                  <a:cubicBezTo>
                    <a:pt x="1340" y="2138"/>
                    <a:pt x="1606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6" name="Google Shape;10849;p65">
              <a:extLst>
                <a:ext uri="{FF2B5EF4-FFF2-40B4-BE49-F238E27FC236}">
                  <a16:creationId xmlns:a16="http://schemas.microsoft.com/office/drawing/2014/main" id="{CD611B8C-D666-098A-AC0C-68044815A2FD}"/>
                </a:ext>
              </a:extLst>
            </p:cNvPr>
            <p:cNvSpPr/>
            <p:nvPr/>
          </p:nvSpPr>
          <p:spPr>
            <a:xfrm>
              <a:off x="59514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3" y="2033"/>
                    <a:pt x="1822" y="1814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7" name="Google Shape;10850;p65">
              <a:extLst>
                <a:ext uri="{FF2B5EF4-FFF2-40B4-BE49-F238E27FC236}">
                  <a16:creationId xmlns:a16="http://schemas.microsoft.com/office/drawing/2014/main" id="{93C3DF81-C675-4E5E-BBC2-7FECC74BB518}"/>
                </a:ext>
              </a:extLst>
            </p:cNvPr>
            <p:cNvSpPr/>
            <p:nvPr/>
          </p:nvSpPr>
          <p:spPr>
            <a:xfrm>
              <a:off x="5951475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8" name="Google Shape;10851;p65">
              <a:extLst>
                <a:ext uri="{FF2B5EF4-FFF2-40B4-BE49-F238E27FC236}">
                  <a16:creationId xmlns:a16="http://schemas.microsoft.com/office/drawing/2014/main" id="{69BC8386-39E3-D67D-6976-211D824465B7}"/>
                </a:ext>
              </a:extLst>
            </p:cNvPr>
            <p:cNvSpPr/>
            <p:nvPr/>
          </p:nvSpPr>
          <p:spPr>
            <a:xfrm>
              <a:off x="59514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19" name="Google Shape;10852;p65">
              <a:extLst>
                <a:ext uri="{FF2B5EF4-FFF2-40B4-BE49-F238E27FC236}">
                  <a16:creationId xmlns:a16="http://schemas.microsoft.com/office/drawing/2014/main" id="{BBA538D8-B168-5083-1766-1A04DB4AA3FD}"/>
                </a:ext>
              </a:extLst>
            </p:cNvPr>
            <p:cNvSpPr/>
            <p:nvPr/>
          </p:nvSpPr>
          <p:spPr>
            <a:xfrm>
              <a:off x="5951475" y="21807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0" name="Google Shape;10853;p65">
              <a:extLst>
                <a:ext uri="{FF2B5EF4-FFF2-40B4-BE49-F238E27FC236}">
                  <a16:creationId xmlns:a16="http://schemas.microsoft.com/office/drawing/2014/main" id="{8C94489D-362D-E677-009D-510E886E1A07}"/>
                </a:ext>
              </a:extLst>
            </p:cNvPr>
            <p:cNvSpPr/>
            <p:nvPr/>
          </p:nvSpPr>
          <p:spPr>
            <a:xfrm>
              <a:off x="59514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1" name="Google Shape;10854;p65">
              <a:extLst>
                <a:ext uri="{FF2B5EF4-FFF2-40B4-BE49-F238E27FC236}">
                  <a16:creationId xmlns:a16="http://schemas.microsoft.com/office/drawing/2014/main" id="{87466481-07CA-FA43-F10E-27C00925962C}"/>
                </a:ext>
              </a:extLst>
            </p:cNvPr>
            <p:cNvSpPr/>
            <p:nvPr/>
          </p:nvSpPr>
          <p:spPr>
            <a:xfrm>
              <a:off x="587527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2" name="Google Shape;10855;p65">
              <a:extLst>
                <a:ext uri="{FF2B5EF4-FFF2-40B4-BE49-F238E27FC236}">
                  <a16:creationId xmlns:a16="http://schemas.microsoft.com/office/drawing/2014/main" id="{021EE741-0E33-0D85-7528-E8D5179184A8}"/>
                </a:ext>
              </a:extLst>
            </p:cNvPr>
            <p:cNvSpPr/>
            <p:nvPr/>
          </p:nvSpPr>
          <p:spPr>
            <a:xfrm>
              <a:off x="587527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3" name="Google Shape;10856;p65">
              <a:extLst>
                <a:ext uri="{FF2B5EF4-FFF2-40B4-BE49-F238E27FC236}">
                  <a16:creationId xmlns:a16="http://schemas.microsoft.com/office/drawing/2014/main" id="{C3D8B3BB-9EBC-E1F1-6865-3EF8C5A64A4F}"/>
                </a:ext>
              </a:extLst>
            </p:cNvPr>
            <p:cNvSpPr/>
            <p:nvPr/>
          </p:nvSpPr>
          <p:spPr>
            <a:xfrm>
              <a:off x="5875275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4" name="Google Shape;10857;p65">
              <a:extLst>
                <a:ext uri="{FF2B5EF4-FFF2-40B4-BE49-F238E27FC236}">
                  <a16:creationId xmlns:a16="http://schemas.microsoft.com/office/drawing/2014/main" id="{735A0619-A002-E7E4-362E-F7B4D9692AAC}"/>
                </a:ext>
              </a:extLst>
            </p:cNvPr>
            <p:cNvSpPr/>
            <p:nvPr/>
          </p:nvSpPr>
          <p:spPr>
            <a:xfrm>
              <a:off x="5875275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5" name="Google Shape;10858;p65">
              <a:extLst>
                <a:ext uri="{FF2B5EF4-FFF2-40B4-BE49-F238E27FC236}">
                  <a16:creationId xmlns:a16="http://schemas.microsoft.com/office/drawing/2014/main" id="{F2E47163-A548-E596-2767-F0D2C05F9D4E}"/>
                </a:ext>
              </a:extLst>
            </p:cNvPr>
            <p:cNvSpPr/>
            <p:nvPr/>
          </p:nvSpPr>
          <p:spPr>
            <a:xfrm>
              <a:off x="5875275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6" name="Google Shape;10859;p65">
              <a:extLst>
                <a:ext uri="{FF2B5EF4-FFF2-40B4-BE49-F238E27FC236}">
                  <a16:creationId xmlns:a16="http://schemas.microsoft.com/office/drawing/2014/main" id="{5CBE49F4-C63B-0F53-17ED-87933D0C6B30}"/>
                </a:ext>
              </a:extLst>
            </p:cNvPr>
            <p:cNvSpPr/>
            <p:nvPr/>
          </p:nvSpPr>
          <p:spPr>
            <a:xfrm>
              <a:off x="58752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40" y="2137"/>
                    <a:pt x="1606" y="2039"/>
                    <a:pt x="1821" y="1821"/>
                  </a:cubicBezTo>
                  <a:cubicBezTo>
                    <a:pt x="2494" y="1149"/>
                    <a:pt x="2020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7" name="Google Shape;10860;p65">
              <a:extLst>
                <a:ext uri="{FF2B5EF4-FFF2-40B4-BE49-F238E27FC236}">
                  <a16:creationId xmlns:a16="http://schemas.microsoft.com/office/drawing/2014/main" id="{F093AD71-4784-76C8-A61D-C9A3B7D1E209}"/>
                </a:ext>
              </a:extLst>
            </p:cNvPr>
            <p:cNvSpPr/>
            <p:nvPr/>
          </p:nvSpPr>
          <p:spPr>
            <a:xfrm>
              <a:off x="587527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8" name="Google Shape;10861;p65">
              <a:extLst>
                <a:ext uri="{FF2B5EF4-FFF2-40B4-BE49-F238E27FC236}">
                  <a16:creationId xmlns:a16="http://schemas.microsoft.com/office/drawing/2014/main" id="{14D2417A-10D2-D721-6BDC-FC1850C18F8F}"/>
                </a:ext>
              </a:extLst>
            </p:cNvPr>
            <p:cNvSpPr/>
            <p:nvPr/>
          </p:nvSpPr>
          <p:spPr>
            <a:xfrm>
              <a:off x="57992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57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1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57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29" name="Google Shape;10862;p65">
              <a:extLst>
                <a:ext uri="{FF2B5EF4-FFF2-40B4-BE49-F238E27FC236}">
                  <a16:creationId xmlns:a16="http://schemas.microsoft.com/office/drawing/2014/main" id="{D6C64BFF-BE8C-44E7-A2E8-B59977086648}"/>
                </a:ext>
              </a:extLst>
            </p:cNvPr>
            <p:cNvSpPr/>
            <p:nvPr/>
          </p:nvSpPr>
          <p:spPr>
            <a:xfrm>
              <a:off x="579927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57" y="1"/>
                  </a:moveTo>
                  <a:cubicBezTo>
                    <a:pt x="472" y="9"/>
                    <a:pt x="0" y="481"/>
                    <a:pt x="0" y="1066"/>
                  </a:cubicBezTo>
                  <a:cubicBezTo>
                    <a:pt x="0" y="1710"/>
                    <a:pt x="525" y="2138"/>
                    <a:pt x="1071" y="2138"/>
                  </a:cubicBezTo>
                  <a:cubicBezTo>
                    <a:pt x="1332" y="2138"/>
                    <a:pt x="1597" y="2040"/>
                    <a:pt x="1813" y="1822"/>
                  </a:cubicBezTo>
                  <a:cubicBezTo>
                    <a:pt x="2488" y="1147"/>
                    <a:pt x="2008" y="1"/>
                    <a:pt x="1057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0" name="Google Shape;10863;p65">
              <a:extLst>
                <a:ext uri="{FF2B5EF4-FFF2-40B4-BE49-F238E27FC236}">
                  <a16:creationId xmlns:a16="http://schemas.microsoft.com/office/drawing/2014/main" id="{7387528D-3A5C-8B3D-B772-0E45BF3F557D}"/>
                </a:ext>
              </a:extLst>
            </p:cNvPr>
            <p:cNvSpPr/>
            <p:nvPr/>
          </p:nvSpPr>
          <p:spPr>
            <a:xfrm>
              <a:off x="5799125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63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8" y="2137"/>
                    <a:pt x="1076" y="2137"/>
                  </a:cubicBezTo>
                  <a:cubicBezTo>
                    <a:pt x="1337" y="2137"/>
                    <a:pt x="1603" y="2039"/>
                    <a:pt x="1819" y="1821"/>
                  </a:cubicBezTo>
                  <a:cubicBezTo>
                    <a:pt x="2494" y="1146"/>
                    <a:pt x="2014" y="0"/>
                    <a:pt x="106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1" name="Google Shape;10864;p65">
              <a:extLst>
                <a:ext uri="{FF2B5EF4-FFF2-40B4-BE49-F238E27FC236}">
                  <a16:creationId xmlns:a16="http://schemas.microsoft.com/office/drawing/2014/main" id="{6D646850-8654-1DD0-F0C5-20164E2C4709}"/>
                </a:ext>
              </a:extLst>
            </p:cNvPr>
            <p:cNvSpPr/>
            <p:nvPr/>
          </p:nvSpPr>
          <p:spPr>
            <a:xfrm>
              <a:off x="5723050" y="30948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2" name="Google Shape;10865;p65">
              <a:extLst>
                <a:ext uri="{FF2B5EF4-FFF2-40B4-BE49-F238E27FC236}">
                  <a16:creationId xmlns:a16="http://schemas.microsoft.com/office/drawing/2014/main" id="{51D25B4E-05BB-0112-2067-5188C13BBEEE}"/>
                </a:ext>
              </a:extLst>
            </p:cNvPr>
            <p:cNvSpPr/>
            <p:nvPr/>
          </p:nvSpPr>
          <p:spPr>
            <a:xfrm>
              <a:off x="5723050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3" name="Google Shape;10866;p65">
              <a:extLst>
                <a:ext uri="{FF2B5EF4-FFF2-40B4-BE49-F238E27FC236}">
                  <a16:creationId xmlns:a16="http://schemas.microsoft.com/office/drawing/2014/main" id="{E1A5ED69-EB08-8DFD-1C90-DE4B07EAE7B0}"/>
                </a:ext>
              </a:extLst>
            </p:cNvPr>
            <p:cNvSpPr/>
            <p:nvPr/>
          </p:nvSpPr>
          <p:spPr>
            <a:xfrm>
              <a:off x="57230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4" name="Google Shape;10867;p65">
              <a:extLst>
                <a:ext uri="{FF2B5EF4-FFF2-40B4-BE49-F238E27FC236}">
                  <a16:creationId xmlns:a16="http://schemas.microsoft.com/office/drawing/2014/main" id="{25697688-948A-D9CB-EE14-C4B2888A168F}"/>
                </a:ext>
              </a:extLst>
            </p:cNvPr>
            <p:cNvSpPr/>
            <p:nvPr/>
          </p:nvSpPr>
          <p:spPr>
            <a:xfrm>
              <a:off x="57230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08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5" name="Google Shape;10868;p65">
              <a:extLst>
                <a:ext uri="{FF2B5EF4-FFF2-40B4-BE49-F238E27FC236}">
                  <a16:creationId xmlns:a16="http://schemas.microsoft.com/office/drawing/2014/main" id="{F854210E-FD22-11E6-31E4-E19CD6A71FFA}"/>
                </a:ext>
              </a:extLst>
            </p:cNvPr>
            <p:cNvSpPr/>
            <p:nvPr/>
          </p:nvSpPr>
          <p:spPr>
            <a:xfrm>
              <a:off x="57230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5" y="1"/>
                  </a:moveTo>
                  <a:cubicBezTo>
                    <a:pt x="472" y="1"/>
                    <a:pt x="0" y="481"/>
                    <a:pt x="0" y="1066"/>
                  </a:cubicBezTo>
                  <a:cubicBezTo>
                    <a:pt x="0" y="1710"/>
                    <a:pt x="526" y="2138"/>
                    <a:pt x="1072" y="2138"/>
                  </a:cubicBezTo>
                  <a:cubicBezTo>
                    <a:pt x="1332" y="2138"/>
                    <a:pt x="1598" y="2040"/>
                    <a:pt x="1813" y="1822"/>
                  </a:cubicBezTo>
                  <a:cubicBezTo>
                    <a:pt x="2488" y="1147"/>
                    <a:pt x="2008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6" name="Google Shape;10869;p65">
              <a:extLst>
                <a:ext uri="{FF2B5EF4-FFF2-40B4-BE49-F238E27FC236}">
                  <a16:creationId xmlns:a16="http://schemas.microsoft.com/office/drawing/2014/main" id="{8622610C-CCD5-290C-8F75-F1FA3930C220}"/>
                </a:ext>
              </a:extLst>
            </p:cNvPr>
            <p:cNvSpPr/>
            <p:nvPr/>
          </p:nvSpPr>
          <p:spPr>
            <a:xfrm>
              <a:off x="5722900" y="1190550"/>
              <a:ext cx="62375" cy="53425"/>
            </a:xfrm>
            <a:custGeom>
              <a:avLst/>
              <a:gdLst/>
              <a:ahLst/>
              <a:cxnLst/>
              <a:rect l="l" t="t" r="r" b="b"/>
              <a:pathLst>
                <a:path w="2495" h="2137" extrusionOk="0">
                  <a:moveTo>
                    <a:pt x="1071" y="0"/>
                  </a:moveTo>
                  <a:cubicBezTo>
                    <a:pt x="478" y="0"/>
                    <a:pt x="6" y="480"/>
                    <a:pt x="6" y="1065"/>
                  </a:cubicBezTo>
                  <a:cubicBezTo>
                    <a:pt x="1" y="1709"/>
                    <a:pt x="524" y="2137"/>
                    <a:pt x="1072" y="2137"/>
                  </a:cubicBezTo>
                  <a:cubicBezTo>
                    <a:pt x="1334" y="2137"/>
                    <a:pt x="1601" y="2039"/>
                    <a:pt x="1819" y="1821"/>
                  </a:cubicBezTo>
                  <a:cubicBezTo>
                    <a:pt x="2494" y="1146"/>
                    <a:pt x="2014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7" name="Google Shape;10870;p65">
              <a:extLst>
                <a:ext uri="{FF2B5EF4-FFF2-40B4-BE49-F238E27FC236}">
                  <a16:creationId xmlns:a16="http://schemas.microsoft.com/office/drawing/2014/main" id="{6C2AB745-B75D-900A-A5E9-9EB9AEA87DB4}"/>
                </a:ext>
              </a:extLst>
            </p:cNvPr>
            <p:cNvSpPr/>
            <p:nvPr/>
          </p:nvSpPr>
          <p:spPr>
            <a:xfrm>
              <a:off x="56468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8" name="Google Shape;10871;p65">
              <a:extLst>
                <a:ext uri="{FF2B5EF4-FFF2-40B4-BE49-F238E27FC236}">
                  <a16:creationId xmlns:a16="http://schemas.microsoft.com/office/drawing/2014/main" id="{8E7584DA-3655-83CA-A99A-27A7AF76B8A3}"/>
                </a:ext>
              </a:extLst>
            </p:cNvPr>
            <p:cNvSpPr/>
            <p:nvPr/>
          </p:nvSpPr>
          <p:spPr>
            <a:xfrm>
              <a:off x="56468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8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9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39" name="Google Shape;10872;p65">
              <a:extLst>
                <a:ext uri="{FF2B5EF4-FFF2-40B4-BE49-F238E27FC236}">
                  <a16:creationId xmlns:a16="http://schemas.microsoft.com/office/drawing/2014/main" id="{A498A24C-C3DA-7115-6074-D306C9D76B36}"/>
                </a:ext>
              </a:extLst>
            </p:cNvPr>
            <p:cNvSpPr/>
            <p:nvPr/>
          </p:nvSpPr>
          <p:spPr>
            <a:xfrm>
              <a:off x="56468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0" name="Google Shape;10873;p65">
              <a:extLst>
                <a:ext uri="{FF2B5EF4-FFF2-40B4-BE49-F238E27FC236}">
                  <a16:creationId xmlns:a16="http://schemas.microsoft.com/office/drawing/2014/main" id="{77C762C1-5CAD-5405-39F0-DA4A1D3679FB}"/>
                </a:ext>
              </a:extLst>
            </p:cNvPr>
            <p:cNvSpPr/>
            <p:nvPr/>
          </p:nvSpPr>
          <p:spPr>
            <a:xfrm>
              <a:off x="5646825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2" y="2138"/>
                  </a:cubicBezTo>
                  <a:cubicBezTo>
                    <a:pt x="1333" y="2138"/>
                    <a:pt x="1598" y="2040"/>
                    <a:pt x="1814" y="1822"/>
                  </a:cubicBezTo>
                  <a:cubicBezTo>
                    <a:pt x="2489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1" name="Google Shape;10874;p65">
              <a:extLst>
                <a:ext uri="{FF2B5EF4-FFF2-40B4-BE49-F238E27FC236}">
                  <a16:creationId xmlns:a16="http://schemas.microsoft.com/office/drawing/2014/main" id="{95DF0A67-07BF-4B59-87A5-1FDE106ACEF7}"/>
                </a:ext>
              </a:extLst>
            </p:cNvPr>
            <p:cNvSpPr/>
            <p:nvPr/>
          </p:nvSpPr>
          <p:spPr>
            <a:xfrm>
              <a:off x="5646825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1"/>
                  </a:cubicBezTo>
                  <a:cubicBezTo>
                    <a:pt x="2489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2" name="Google Shape;10875;p65">
              <a:extLst>
                <a:ext uri="{FF2B5EF4-FFF2-40B4-BE49-F238E27FC236}">
                  <a16:creationId xmlns:a16="http://schemas.microsoft.com/office/drawing/2014/main" id="{25CA4F45-473E-240B-E762-38A2D680754F}"/>
                </a:ext>
              </a:extLst>
            </p:cNvPr>
            <p:cNvSpPr/>
            <p:nvPr/>
          </p:nvSpPr>
          <p:spPr>
            <a:xfrm>
              <a:off x="5646700" y="1190550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1" y="0"/>
                  </a:moveTo>
                  <a:cubicBezTo>
                    <a:pt x="486" y="0"/>
                    <a:pt x="6" y="480"/>
                    <a:pt x="6" y="1065"/>
                  </a:cubicBezTo>
                  <a:cubicBezTo>
                    <a:pt x="0" y="1709"/>
                    <a:pt x="524" y="2137"/>
                    <a:pt x="1072" y="2137"/>
                  </a:cubicBezTo>
                  <a:cubicBezTo>
                    <a:pt x="1333" y="2137"/>
                    <a:pt x="1601" y="2039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3" name="Google Shape;10876;p65">
              <a:extLst>
                <a:ext uri="{FF2B5EF4-FFF2-40B4-BE49-F238E27FC236}">
                  <a16:creationId xmlns:a16="http://schemas.microsoft.com/office/drawing/2014/main" id="{E11197B2-C0FB-D49F-F472-FD4DEF011617}"/>
                </a:ext>
              </a:extLst>
            </p:cNvPr>
            <p:cNvSpPr/>
            <p:nvPr/>
          </p:nvSpPr>
          <p:spPr>
            <a:xfrm>
              <a:off x="5570625" y="3018650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6" y="2137"/>
                    <a:pt x="1072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4" name="Google Shape;10877;p65">
              <a:extLst>
                <a:ext uri="{FF2B5EF4-FFF2-40B4-BE49-F238E27FC236}">
                  <a16:creationId xmlns:a16="http://schemas.microsoft.com/office/drawing/2014/main" id="{2EC316F2-B44B-A405-5827-E9B3F4A46BE3}"/>
                </a:ext>
              </a:extLst>
            </p:cNvPr>
            <p:cNvSpPr/>
            <p:nvPr/>
          </p:nvSpPr>
          <p:spPr>
            <a:xfrm>
              <a:off x="5570625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72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5" name="Google Shape;10878;p65">
              <a:extLst>
                <a:ext uri="{FF2B5EF4-FFF2-40B4-BE49-F238E27FC236}">
                  <a16:creationId xmlns:a16="http://schemas.microsoft.com/office/drawing/2014/main" id="{63EA0A5B-ECD7-2C1B-F93B-6C3E2DE31548}"/>
                </a:ext>
              </a:extLst>
            </p:cNvPr>
            <p:cNvSpPr/>
            <p:nvPr/>
          </p:nvSpPr>
          <p:spPr>
            <a:xfrm>
              <a:off x="55704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6" y="0"/>
                    <a:pt x="6" y="472"/>
                    <a:pt x="6" y="1065"/>
                  </a:cubicBezTo>
                  <a:cubicBezTo>
                    <a:pt x="1" y="1709"/>
                    <a:pt x="524" y="2133"/>
                    <a:pt x="1073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4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6" name="Google Shape;10879;p65">
              <a:extLst>
                <a:ext uri="{FF2B5EF4-FFF2-40B4-BE49-F238E27FC236}">
                  <a16:creationId xmlns:a16="http://schemas.microsoft.com/office/drawing/2014/main" id="{44DB75B8-92C3-FE8E-5070-0E8FFC6F5C7F}"/>
                </a:ext>
              </a:extLst>
            </p:cNvPr>
            <p:cNvSpPr/>
            <p:nvPr/>
          </p:nvSpPr>
          <p:spPr>
            <a:xfrm>
              <a:off x="549440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5" y="2137"/>
                  </a:cubicBezTo>
                  <a:cubicBezTo>
                    <a:pt x="1337" y="2137"/>
                    <a:pt x="1604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7" name="Google Shape;10880;p65">
              <a:extLst>
                <a:ext uri="{FF2B5EF4-FFF2-40B4-BE49-F238E27FC236}">
                  <a16:creationId xmlns:a16="http://schemas.microsoft.com/office/drawing/2014/main" id="{BDBDB0F5-5032-983F-3FE6-F276E585BABB}"/>
                </a:ext>
              </a:extLst>
            </p:cNvPr>
            <p:cNvSpPr/>
            <p:nvPr/>
          </p:nvSpPr>
          <p:spPr>
            <a:xfrm>
              <a:off x="549440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3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8" name="Google Shape;10881;p65">
              <a:extLst>
                <a:ext uri="{FF2B5EF4-FFF2-40B4-BE49-F238E27FC236}">
                  <a16:creationId xmlns:a16="http://schemas.microsoft.com/office/drawing/2014/main" id="{FBA3A4DF-C9DE-9D43-B0B9-C8799B880C6C}"/>
                </a:ext>
              </a:extLst>
            </p:cNvPr>
            <p:cNvSpPr/>
            <p:nvPr/>
          </p:nvSpPr>
          <p:spPr>
            <a:xfrm>
              <a:off x="5494275" y="1190550"/>
              <a:ext cx="62350" cy="53325"/>
            </a:xfrm>
            <a:custGeom>
              <a:avLst/>
              <a:gdLst/>
              <a:ahLst/>
              <a:cxnLst/>
              <a:rect l="l" t="t" r="r" b="b"/>
              <a:pathLst>
                <a:path w="2494" h="2133" extrusionOk="0">
                  <a:moveTo>
                    <a:pt x="1071" y="0"/>
                  </a:moveTo>
                  <a:cubicBezTo>
                    <a:pt x="485" y="0"/>
                    <a:pt x="6" y="472"/>
                    <a:pt x="6" y="1065"/>
                  </a:cubicBezTo>
                  <a:cubicBezTo>
                    <a:pt x="0" y="1709"/>
                    <a:pt x="524" y="2133"/>
                    <a:pt x="1072" y="2133"/>
                  </a:cubicBezTo>
                  <a:cubicBezTo>
                    <a:pt x="1334" y="2133"/>
                    <a:pt x="1601" y="2036"/>
                    <a:pt x="1819" y="1821"/>
                  </a:cubicBezTo>
                  <a:cubicBezTo>
                    <a:pt x="2493" y="1154"/>
                    <a:pt x="2022" y="0"/>
                    <a:pt x="1071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49" name="Google Shape;10882;p65">
              <a:extLst>
                <a:ext uri="{FF2B5EF4-FFF2-40B4-BE49-F238E27FC236}">
                  <a16:creationId xmlns:a16="http://schemas.microsoft.com/office/drawing/2014/main" id="{298F442E-6B8C-E413-46F5-BD2672C1455C}"/>
                </a:ext>
              </a:extLst>
            </p:cNvPr>
            <p:cNvSpPr/>
            <p:nvPr/>
          </p:nvSpPr>
          <p:spPr>
            <a:xfrm>
              <a:off x="541820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5" y="2032"/>
                    <a:pt x="1821" y="1813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0" name="Google Shape;10883;p65">
              <a:extLst>
                <a:ext uri="{FF2B5EF4-FFF2-40B4-BE49-F238E27FC236}">
                  <a16:creationId xmlns:a16="http://schemas.microsoft.com/office/drawing/2014/main" id="{A9C055DA-6311-1B2E-0E0C-70F6A309BEF7}"/>
                </a:ext>
              </a:extLst>
            </p:cNvPr>
            <p:cNvSpPr/>
            <p:nvPr/>
          </p:nvSpPr>
          <p:spPr>
            <a:xfrm>
              <a:off x="54182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1" name="Google Shape;10884;p65">
              <a:extLst>
                <a:ext uri="{FF2B5EF4-FFF2-40B4-BE49-F238E27FC236}">
                  <a16:creationId xmlns:a16="http://schemas.microsoft.com/office/drawing/2014/main" id="{90BECB77-F53E-1567-225E-BE43E8A5ADB6}"/>
                </a:ext>
              </a:extLst>
            </p:cNvPr>
            <p:cNvSpPr/>
            <p:nvPr/>
          </p:nvSpPr>
          <p:spPr>
            <a:xfrm>
              <a:off x="5418200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96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2" name="Google Shape;10885;p65">
              <a:extLst>
                <a:ext uri="{FF2B5EF4-FFF2-40B4-BE49-F238E27FC236}">
                  <a16:creationId xmlns:a16="http://schemas.microsoft.com/office/drawing/2014/main" id="{B639F84F-C7D8-1F48-4EC9-302ADCBF3969}"/>
                </a:ext>
              </a:extLst>
            </p:cNvPr>
            <p:cNvSpPr/>
            <p:nvPr/>
          </p:nvSpPr>
          <p:spPr>
            <a:xfrm>
              <a:off x="5418200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6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3" name="Google Shape;10886;p65">
              <a:extLst>
                <a:ext uri="{FF2B5EF4-FFF2-40B4-BE49-F238E27FC236}">
                  <a16:creationId xmlns:a16="http://schemas.microsoft.com/office/drawing/2014/main" id="{588116D6-B9CB-314C-A8E9-49BD69D31A99}"/>
                </a:ext>
              </a:extLst>
            </p:cNvPr>
            <p:cNvSpPr/>
            <p:nvPr/>
          </p:nvSpPr>
          <p:spPr>
            <a:xfrm>
              <a:off x="53419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8" y="2133"/>
                  </a:cubicBezTo>
                  <a:cubicBezTo>
                    <a:pt x="1340" y="2133"/>
                    <a:pt x="1606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4" name="Google Shape;10887;p65">
              <a:extLst>
                <a:ext uri="{FF2B5EF4-FFF2-40B4-BE49-F238E27FC236}">
                  <a16:creationId xmlns:a16="http://schemas.microsoft.com/office/drawing/2014/main" id="{34E041E6-0E74-5257-83EE-A4C1EF16D46F}"/>
                </a:ext>
              </a:extLst>
            </p:cNvPr>
            <p:cNvSpPr/>
            <p:nvPr/>
          </p:nvSpPr>
          <p:spPr>
            <a:xfrm>
              <a:off x="5341975" y="1266550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0"/>
                  </a:moveTo>
                  <a:cubicBezTo>
                    <a:pt x="480" y="9"/>
                    <a:pt x="9" y="480"/>
                    <a:pt x="1" y="1074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1"/>
                  </a:cubicBezTo>
                  <a:cubicBezTo>
                    <a:pt x="2497" y="1155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5" name="Google Shape;10888;p65">
              <a:extLst>
                <a:ext uri="{FF2B5EF4-FFF2-40B4-BE49-F238E27FC236}">
                  <a16:creationId xmlns:a16="http://schemas.microsoft.com/office/drawing/2014/main" id="{6D3D3E23-A827-F23C-A6E3-C3F8510947DE}"/>
                </a:ext>
              </a:extLst>
            </p:cNvPr>
            <p:cNvSpPr/>
            <p:nvPr/>
          </p:nvSpPr>
          <p:spPr>
            <a:xfrm>
              <a:off x="52657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9"/>
                    <a:pt x="522" y="2134"/>
                    <a:pt x="1068" y="2134"/>
                  </a:cubicBezTo>
                  <a:cubicBezTo>
                    <a:pt x="1329" y="2134"/>
                    <a:pt x="1595" y="2037"/>
                    <a:pt x="1813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6" name="Google Shape;10889;p65">
              <a:extLst>
                <a:ext uri="{FF2B5EF4-FFF2-40B4-BE49-F238E27FC236}">
                  <a16:creationId xmlns:a16="http://schemas.microsoft.com/office/drawing/2014/main" id="{28142412-8654-950C-7D00-FDB5CBF497E8}"/>
                </a:ext>
              </a:extLst>
            </p:cNvPr>
            <p:cNvSpPr/>
            <p:nvPr/>
          </p:nvSpPr>
          <p:spPr>
            <a:xfrm>
              <a:off x="52657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2" y="2133"/>
                    <a:pt x="1068" y="2133"/>
                  </a:cubicBezTo>
                  <a:cubicBezTo>
                    <a:pt x="1329" y="2133"/>
                    <a:pt x="1595" y="2036"/>
                    <a:pt x="1813" y="1821"/>
                  </a:cubicBezTo>
                  <a:cubicBezTo>
                    <a:pt x="2488" y="1155"/>
                    <a:pt x="2016" y="8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7" name="Google Shape;10890;p65">
              <a:extLst>
                <a:ext uri="{FF2B5EF4-FFF2-40B4-BE49-F238E27FC236}">
                  <a16:creationId xmlns:a16="http://schemas.microsoft.com/office/drawing/2014/main" id="{CEB68F7A-B107-53E5-E17C-A5B811CDE5C4}"/>
                </a:ext>
              </a:extLst>
            </p:cNvPr>
            <p:cNvSpPr/>
            <p:nvPr/>
          </p:nvSpPr>
          <p:spPr>
            <a:xfrm>
              <a:off x="52657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0"/>
                    <a:pt x="0" y="480"/>
                    <a:pt x="0" y="1074"/>
                  </a:cubicBezTo>
                  <a:cubicBezTo>
                    <a:pt x="0" y="1711"/>
                    <a:pt x="521" y="2137"/>
                    <a:pt x="1067" y="2137"/>
                  </a:cubicBezTo>
                  <a:cubicBezTo>
                    <a:pt x="1328" y="2137"/>
                    <a:pt x="1595" y="2040"/>
                    <a:pt x="1813" y="1821"/>
                  </a:cubicBezTo>
                  <a:cubicBezTo>
                    <a:pt x="2488" y="1155"/>
                    <a:pt x="2016" y="9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8" name="Google Shape;10891;p65">
              <a:extLst>
                <a:ext uri="{FF2B5EF4-FFF2-40B4-BE49-F238E27FC236}">
                  <a16:creationId xmlns:a16="http://schemas.microsoft.com/office/drawing/2014/main" id="{687DA94D-7522-D077-ECE7-E3AEB938BF85}"/>
                </a:ext>
              </a:extLst>
            </p:cNvPr>
            <p:cNvSpPr/>
            <p:nvPr/>
          </p:nvSpPr>
          <p:spPr>
            <a:xfrm>
              <a:off x="5189550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96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59" name="Google Shape;10892;p65">
              <a:extLst>
                <a:ext uri="{FF2B5EF4-FFF2-40B4-BE49-F238E27FC236}">
                  <a16:creationId xmlns:a16="http://schemas.microsoft.com/office/drawing/2014/main" id="{14AFDBDE-FDD7-6C76-32D6-1DFB079CF634}"/>
                </a:ext>
              </a:extLst>
            </p:cNvPr>
            <p:cNvSpPr/>
            <p:nvPr/>
          </p:nvSpPr>
          <p:spPr>
            <a:xfrm>
              <a:off x="5189550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9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0" name="Google Shape;10893;p65">
              <a:extLst>
                <a:ext uri="{FF2B5EF4-FFF2-40B4-BE49-F238E27FC236}">
                  <a16:creationId xmlns:a16="http://schemas.microsoft.com/office/drawing/2014/main" id="{D44EA5D5-082F-8AAB-6124-7F16B2B3F76E}"/>
                </a:ext>
              </a:extLst>
            </p:cNvPr>
            <p:cNvSpPr/>
            <p:nvPr/>
          </p:nvSpPr>
          <p:spPr>
            <a:xfrm>
              <a:off x="5189550" y="13427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2" y="2134"/>
                    <a:pt x="1069" y="2134"/>
                  </a:cubicBezTo>
                  <a:cubicBezTo>
                    <a:pt x="1329" y="2134"/>
                    <a:pt x="1596" y="2037"/>
                    <a:pt x="1814" y="1822"/>
                  </a:cubicBezTo>
                  <a:cubicBezTo>
                    <a:pt x="2488" y="1155"/>
                    <a:pt x="2017" y="9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1" name="Google Shape;10894;p65">
              <a:extLst>
                <a:ext uri="{FF2B5EF4-FFF2-40B4-BE49-F238E27FC236}">
                  <a16:creationId xmlns:a16="http://schemas.microsoft.com/office/drawing/2014/main" id="{5B67569B-CAE0-929A-0CBA-0117728EE70C}"/>
                </a:ext>
              </a:extLst>
            </p:cNvPr>
            <p:cNvSpPr/>
            <p:nvPr/>
          </p:nvSpPr>
          <p:spPr>
            <a:xfrm>
              <a:off x="5113350" y="309485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2" name="Google Shape;10895;p65">
              <a:extLst>
                <a:ext uri="{FF2B5EF4-FFF2-40B4-BE49-F238E27FC236}">
                  <a16:creationId xmlns:a16="http://schemas.microsoft.com/office/drawing/2014/main" id="{DE349708-956A-EAF2-94B9-C8674C42E776}"/>
                </a:ext>
              </a:extLst>
            </p:cNvPr>
            <p:cNvSpPr/>
            <p:nvPr/>
          </p:nvSpPr>
          <p:spPr>
            <a:xfrm>
              <a:off x="5113350" y="3018650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78" y="2137"/>
                  </a:cubicBezTo>
                  <a:cubicBezTo>
                    <a:pt x="1339" y="2137"/>
                    <a:pt x="1606" y="2039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3" name="Google Shape;10896;p65">
              <a:extLst>
                <a:ext uri="{FF2B5EF4-FFF2-40B4-BE49-F238E27FC236}">
                  <a16:creationId xmlns:a16="http://schemas.microsoft.com/office/drawing/2014/main" id="{16185D67-062B-7A2D-DFB6-F6010CD47414}"/>
                </a:ext>
              </a:extLst>
            </p:cNvPr>
            <p:cNvSpPr/>
            <p:nvPr/>
          </p:nvSpPr>
          <p:spPr>
            <a:xfrm>
              <a:off x="5113350" y="294242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55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4" name="Google Shape;10897;p65">
              <a:extLst>
                <a:ext uri="{FF2B5EF4-FFF2-40B4-BE49-F238E27FC236}">
                  <a16:creationId xmlns:a16="http://schemas.microsoft.com/office/drawing/2014/main" id="{BFC70112-A65A-6201-2A0F-79127BD1EBB8}"/>
                </a:ext>
              </a:extLst>
            </p:cNvPr>
            <p:cNvSpPr/>
            <p:nvPr/>
          </p:nvSpPr>
          <p:spPr>
            <a:xfrm>
              <a:off x="5113350" y="2866425"/>
              <a:ext cx="62400" cy="53275"/>
            </a:xfrm>
            <a:custGeom>
              <a:avLst/>
              <a:gdLst/>
              <a:ahLst/>
              <a:cxnLst/>
              <a:rect l="l" t="t" r="r" b="b"/>
              <a:pathLst>
                <a:path w="2496" h="2131" extrusionOk="0">
                  <a:moveTo>
                    <a:pt x="1073" y="0"/>
                  </a:moveTo>
                  <a:cubicBezTo>
                    <a:pt x="480" y="0"/>
                    <a:pt x="0" y="472"/>
                    <a:pt x="0" y="1065"/>
                  </a:cubicBezTo>
                  <a:cubicBezTo>
                    <a:pt x="0" y="1707"/>
                    <a:pt x="526" y="2131"/>
                    <a:pt x="1073" y="2131"/>
                  </a:cubicBezTo>
                  <a:cubicBezTo>
                    <a:pt x="1336" y="2131"/>
                    <a:pt x="1604" y="2032"/>
                    <a:pt x="1821" y="1813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5" name="Google Shape;10898;p65">
              <a:extLst>
                <a:ext uri="{FF2B5EF4-FFF2-40B4-BE49-F238E27FC236}">
                  <a16:creationId xmlns:a16="http://schemas.microsoft.com/office/drawing/2014/main" id="{9202AA1A-3CD8-7D38-14FD-E626D01A4918}"/>
                </a:ext>
              </a:extLst>
            </p:cNvPr>
            <p:cNvSpPr/>
            <p:nvPr/>
          </p:nvSpPr>
          <p:spPr>
            <a:xfrm>
              <a:off x="5113350" y="27902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6"/>
                  </a:cubicBezTo>
                  <a:cubicBezTo>
                    <a:pt x="0" y="1709"/>
                    <a:pt x="525" y="2134"/>
                    <a:pt x="1074" y="2134"/>
                  </a:cubicBezTo>
                  <a:cubicBezTo>
                    <a:pt x="1336" y="2134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6" name="Google Shape;10899;p65">
              <a:extLst>
                <a:ext uri="{FF2B5EF4-FFF2-40B4-BE49-F238E27FC236}">
                  <a16:creationId xmlns:a16="http://schemas.microsoft.com/office/drawing/2014/main" id="{AE7CD069-372C-A2B9-BC60-BDD2A0C61999}"/>
                </a:ext>
              </a:extLst>
            </p:cNvPr>
            <p:cNvSpPr/>
            <p:nvPr/>
          </p:nvSpPr>
          <p:spPr>
            <a:xfrm>
              <a:off x="5113350" y="2714000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73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7" name="Google Shape;10900;p65">
              <a:extLst>
                <a:ext uri="{FF2B5EF4-FFF2-40B4-BE49-F238E27FC236}">
                  <a16:creationId xmlns:a16="http://schemas.microsoft.com/office/drawing/2014/main" id="{D75F1E8E-97E9-217F-75AD-DF503EA325D9}"/>
                </a:ext>
              </a:extLst>
            </p:cNvPr>
            <p:cNvSpPr/>
            <p:nvPr/>
          </p:nvSpPr>
          <p:spPr>
            <a:xfrm>
              <a:off x="511335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73" y="1"/>
                  </a:moveTo>
                  <a:cubicBezTo>
                    <a:pt x="480" y="1"/>
                    <a:pt x="8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8" name="Google Shape;10901;p65">
              <a:extLst>
                <a:ext uri="{FF2B5EF4-FFF2-40B4-BE49-F238E27FC236}">
                  <a16:creationId xmlns:a16="http://schemas.microsoft.com/office/drawing/2014/main" id="{109CC050-1AF3-F1B8-B892-70E82D9AEBA3}"/>
                </a:ext>
              </a:extLst>
            </p:cNvPr>
            <p:cNvSpPr/>
            <p:nvPr/>
          </p:nvSpPr>
          <p:spPr>
            <a:xfrm>
              <a:off x="511335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73" y="1"/>
                  </a:moveTo>
                  <a:cubicBezTo>
                    <a:pt x="480" y="1"/>
                    <a:pt x="8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73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69" name="Google Shape;10902;p65">
              <a:extLst>
                <a:ext uri="{FF2B5EF4-FFF2-40B4-BE49-F238E27FC236}">
                  <a16:creationId xmlns:a16="http://schemas.microsoft.com/office/drawing/2014/main" id="{C350F389-235A-F36F-163C-60272A5A8A8B}"/>
                </a:ext>
              </a:extLst>
            </p:cNvPr>
            <p:cNvSpPr/>
            <p:nvPr/>
          </p:nvSpPr>
          <p:spPr>
            <a:xfrm>
              <a:off x="5037325" y="3018650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39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0" name="Google Shape;10903;p65">
              <a:extLst>
                <a:ext uri="{FF2B5EF4-FFF2-40B4-BE49-F238E27FC236}">
                  <a16:creationId xmlns:a16="http://schemas.microsoft.com/office/drawing/2014/main" id="{5F90E11D-20FD-F607-F9A7-0ABE6443B37F}"/>
                </a:ext>
              </a:extLst>
            </p:cNvPr>
            <p:cNvSpPr/>
            <p:nvPr/>
          </p:nvSpPr>
          <p:spPr>
            <a:xfrm>
              <a:off x="5037325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1" name="Google Shape;10904;p65">
              <a:extLst>
                <a:ext uri="{FF2B5EF4-FFF2-40B4-BE49-F238E27FC236}">
                  <a16:creationId xmlns:a16="http://schemas.microsoft.com/office/drawing/2014/main" id="{BC897C29-FDC3-A713-E8A3-00C7131C0C2F}"/>
                </a:ext>
              </a:extLst>
            </p:cNvPr>
            <p:cNvSpPr/>
            <p:nvPr/>
          </p:nvSpPr>
          <p:spPr>
            <a:xfrm>
              <a:off x="5037325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72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67" y="2131"/>
                  </a:cubicBezTo>
                  <a:cubicBezTo>
                    <a:pt x="1330" y="2131"/>
                    <a:pt x="1597" y="2032"/>
                    <a:pt x="1814" y="1813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2" name="Google Shape;10905;p65">
              <a:extLst>
                <a:ext uri="{FF2B5EF4-FFF2-40B4-BE49-F238E27FC236}">
                  <a16:creationId xmlns:a16="http://schemas.microsoft.com/office/drawing/2014/main" id="{3580DB1C-FA3D-BD38-6294-850EDB621CEA}"/>
                </a:ext>
              </a:extLst>
            </p:cNvPr>
            <p:cNvSpPr/>
            <p:nvPr/>
          </p:nvSpPr>
          <p:spPr>
            <a:xfrm>
              <a:off x="5037325" y="27902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4"/>
                    <a:pt x="1072" y="2134"/>
                  </a:cubicBezTo>
                  <a:cubicBezTo>
                    <a:pt x="1333" y="2134"/>
                    <a:pt x="1598" y="2037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3" name="Google Shape;10906;p65">
              <a:extLst>
                <a:ext uri="{FF2B5EF4-FFF2-40B4-BE49-F238E27FC236}">
                  <a16:creationId xmlns:a16="http://schemas.microsoft.com/office/drawing/2014/main" id="{00CC9ECA-960B-08DC-0537-15C65080B4F1}"/>
                </a:ext>
              </a:extLst>
            </p:cNvPr>
            <p:cNvSpPr/>
            <p:nvPr/>
          </p:nvSpPr>
          <p:spPr>
            <a:xfrm>
              <a:off x="5037325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4" name="Google Shape;10907;p65">
              <a:extLst>
                <a:ext uri="{FF2B5EF4-FFF2-40B4-BE49-F238E27FC236}">
                  <a16:creationId xmlns:a16="http://schemas.microsoft.com/office/drawing/2014/main" id="{B609C9CF-864D-4961-4436-276931BC23E2}"/>
                </a:ext>
              </a:extLst>
            </p:cNvPr>
            <p:cNvSpPr/>
            <p:nvPr/>
          </p:nvSpPr>
          <p:spPr>
            <a:xfrm>
              <a:off x="5037325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1" y="2137"/>
                  </a:cubicBezTo>
                  <a:cubicBezTo>
                    <a:pt x="1332" y="2137"/>
                    <a:pt x="1598" y="2040"/>
                    <a:pt x="1814" y="1822"/>
                  </a:cubicBezTo>
                  <a:cubicBezTo>
                    <a:pt x="2488" y="1147"/>
                    <a:pt x="2009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5" name="Google Shape;10908;p65">
              <a:extLst>
                <a:ext uri="{FF2B5EF4-FFF2-40B4-BE49-F238E27FC236}">
                  <a16:creationId xmlns:a16="http://schemas.microsoft.com/office/drawing/2014/main" id="{9F073DB4-55F3-49F0-9998-D8A7D0A13BBC}"/>
                </a:ext>
              </a:extLst>
            </p:cNvPr>
            <p:cNvSpPr/>
            <p:nvPr/>
          </p:nvSpPr>
          <p:spPr>
            <a:xfrm>
              <a:off x="5037325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4" y="1821"/>
                  </a:cubicBezTo>
                  <a:cubicBezTo>
                    <a:pt x="2488" y="1146"/>
                    <a:pt x="2009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6" name="Google Shape;10909;p65">
              <a:extLst>
                <a:ext uri="{FF2B5EF4-FFF2-40B4-BE49-F238E27FC236}">
                  <a16:creationId xmlns:a16="http://schemas.microsoft.com/office/drawing/2014/main" id="{5013C8A4-A10B-0E41-9485-2185B047F29D}"/>
                </a:ext>
              </a:extLst>
            </p:cNvPr>
            <p:cNvSpPr/>
            <p:nvPr/>
          </p:nvSpPr>
          <p:spPr>
            <a:xfrm>
              <a:off x="496112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7" name="Google Shape;10910;p65">
              <a:extLst>
                <a:ext uri="{FF2B5EF4-FFF2-40B4-BE49-F238E27FC236}">
                  <a16:creationId xmlns:a16="http://schemas.microsoft.com/office/drawing/2014/main" id="{51110214-E45B-DE0E-28B7-54919967BC8B}"/>
                </a:ext>
              </a:extLst>
            </p:cNvPr>
            <p:cNvSpPr/>
            <p:nvPr/>
          </p:nvSpPr>
          <p:spPr>
            <a:xfrm>
              <a:off x="4961125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8" name="Google Shape;10911;p65">
              <a:extLst>
                <a:ext uri="{FF2B5EF4-FFF2-40B4-BE49-F238E27FC236}">
                  <a16:creationId xmlns:a16="http://schemas.microsoft.com/office/drawing/2014/main" id="{8F6334DC-3E5B-857A-A808-995CCF242A44}"/>
                </a:ext>
              </a:extLst>
            </p:cNvPr>
            <p:cNvSpPr/>
            <p:nvPr/>
          </p:nvSpPr>
          <p:spPr>
            <a:xfrm>
              <a:off x="496112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79" name="Google Shape;10912;p65">
              <a:extLst>
                <a:ext uri="{FF2B5EF4-FFF2-40B4-BE49-F238E27FC236}">
                  <a16:creationId xmlns:a16="http://schemas.microsoft.com/office/drawing/2014/main" id="{AA5BEEC0-ADA8-07BA-316C-A28779379BA3}"/>
                </a:ext>
              </a:extLst>
            </p:cNvPr>
            <p:cNvSpPr/>
            <p:nvPr/>
          </p:nvSpPr>
          <p:spPr>
            <a:xfrm>
              <a:off x="496112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0" name="Google Shape;10913;p65">
              <a:extLst>
                <a:ext uri="{FF2B5EF4-FFF2-40B4-BE49-F238E27FC236}">
                  <a16:creationId xmlns:a16="http://schemas.microsoft.com/office/drawing/2014/main" id="{42192E34-2A0E-312C-028B-72A0F8C60B31}"/>
                </a:ext>
              </a:extLst>
            </p:cNvPr>
            <p:cNvSpPr/>
            <p:nvPr/>
          </p:nvSpPr>
          <p:spPr>
            <a:xfrm>
              <a:off x="4961125" y="13427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1" name="Google Shape;10914;p65">
              <a:extLst>
                <a:ext uri="{FF2B5EF4-FFF2-40B4-BE49-F238E27FC236}">
                  <a16:creationId xmlns:a16="http://schemas.microsoft.com/office/drawing/2014/main" id="{B9F62358-5D9C-FC6D-EE02-25F57CF2A1BB}"/>
                </a:ext>
              </a:extLst>
            </p:cNvPr>
            <p:cNvSpPr/>
            <p:nvPr/>
          </p:nvSpPr>
          <p:spPr>
            <a:xfrm>
              <a:off x="496112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2" name="Google Shape;10915;p65">
              <a:extLst>
                <a:ext uri="{FF2B5EF4-FFF2-40B4-BE49-F238E27FC236}">
                  <a16:creationId xmlns:a16="http://schemas.microsoft.com/office/drawing/2014/main" id="{E7DCD178-6131-6055-B3FB-B7E09DA5AC01}"/>
                </a:ext>
              </a:extLst>
            </p:cNvPr>
            <p:cNvSpPr/>
            <p:nvPr/>
          </p:nvSpPr>
          <p:spPr>
            <a:xfrm>
              <a:off x="48849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55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3" name="Google Shape;10916;p65">
              <a:extLst>
                <a:ext uri="{FF2B5EF4-FFF2-40B4-BE49-F238E27FC236}">
                  <a16:creationId xmlns:a16="http://schemas.microsoft.com/office/drawing/2014/main" id="{4D565F26-E7CE-B3A7-0682-00B6C8F120CC}"/>
                </a:ext>
              </a:extLst>
            </p:cNvPr>
            <p:cNvSpPr/>
            <p:nvPr/>
          </p:nvSpPr>
          <p:spPr>
            <a:xfrm>
              <a:off x="4884900" y="1418975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1"/>
                  </a:moveTo>
                  <a:cubicBezTo>
                    <a:pt x="480" y="1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4" name="Google Shape;10917;p65">
              <a:extLst>
                <a:ext uri="{FF2B5EF4-FFF2-40B4-BE49-F238E27FC236}">
                  <a16:creationId xmlns:a16="http://schemas.microsoft.com/office/drawing/2014/main" id="{2688136A-A86A-1D01-5901-6800D35D5348}"/>
                </a:ext>
              </a:extLst>
            </p:cNvPr>
            <p:cNvSpPr/>
            <p:nvPr/>
          </p:nvSpPr>
          <p:spPr>
            <a:xfrm>
              <a:off x="488490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5" name="Google Shape;10918;p65">
              <a:extLst>
                <a:ext uri="{FF2B5EF4-FFF2-40B4-BE49-F238E27FC236}">
                  <a16:creationId xmlns:a16="http://schemas.microsoft.com/office/drawing/2014/main" id="{0F0EAEB7-F6A0-DBA1-3E79-99AE9B2A660E}"/>
                </a:ext>
              </a:extLst>
            </p:cNvPr>
            <p:cNvSpPr/>
            <p:nvPr/>
          </p:nvSpPr>
          <p:spPr>
            <a:xfrm>
              <a:off x="4884900" y="119055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6" name="Google Shape;10919;p65">
              <a:extLst>
                <a:ext uri="{FF2B5EF4-FFF2-40B4-BE49-F238E27FC236}">
                  <a16:creationId xmlns:a16="http://schemas.microsoft.com/office/drawing/2014/main" id="{BE1BAB86-91A5-5246-DD7D-F18C4477AB0E}"/>
                </a:ext>
              </a:extLst>
            </p:cNvPr>
            <p:cNvSpPr/>
            <p:nvPr/>
          </p:nvSpPr>
          <p:spPr>
            <a:xfrm>
              <a:off x="4808700" y="2637775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9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7" name="Google Shape;10920;p65">
              <a:extLst>
                <a:ext uri="{FF2B5EF4-FFF2-40B4-BE49-F238E27FC236}">
                  <a16:creationId xmlns:a16="http://schemas.microsoft.com/office/drawing/2014/main" id="{69424B8D-EF7A-2832-A32B-0A7DC861D730}"/>
                </a:ext>
              </a:extLst>
            </p:cNvPr>
            <p:cNvSpPr/>
            <p:nvPr/>
          </p:nvSpPr>
          <p:spPr>
            <a:xfrm>
              <a:off x="4808700" y="2561575"/>
              <a:ext cx="62400" cy="53425"/>
            </a:xfrm>
            <a:custGeom>
              <a:avLst/>
              <a:gdLst/>
              <a:ahLst/>
              <a:cxnLst/>
              <a:rect l="l" t="t" r="r" b="b"/>
              <a:pathLst>
                <a:path w="2496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96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8" name="Google Shape;10921;p65">
              <a:extLst>
                <a:ext uri="{FF2B5EF4-FFF2-40B4-BE49-F238E27FC236}">
                  <a16:creationId xmlns:a16="http://schemas.microsoft.com/office/drawing/2014/main" id="{55DBD586-4285-2E1E-177E-4F3A3D58D9CE}"/>
                </a:ext>
              </a:extLst>
            </p:cNvPr>
            <p:cNvSpPr/>
            <p:nvPr/>
          </p:nvSpPr>
          <p:spPr>
            <a:xfrm>
              <a:off x="4808700" y="1418975"/>
              <a:ext cx="62400" cy="53350"/>
            </a:xfrm>
            <a:custGeom>
              <a:avLst/>
              <a:gdLst/>
              <a:ahLst/>
              <a:cxnLst/>
              <a:rect l="l" t="t" r="r" b="b"/>
              <a:pathLst>
                <a:path w="2496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89" name="Google Shape;10922;p65">
              <a:extLst>
                <a:ext uri="{FF2B5EF4-FFF2-40B4-BE49-F238E27FC236}">
                  <a16:creationId xmlns:a16="http://schemas.microsoft.com/office/drawing/2014/main" id="{0A4E5098-0631-AF30-31D9-DF4127108A2A}"/>
                </a:ext>
              </a:extLst>
            </p:cNvPr>
            <p:cNvSpPr/>
            <p:nvPr/>
          </p:nvSpPr>
          <p:spPr>
            <a:xfrm>
              <a:off x="4808700" y="1342750"/>
              <a:ext cx="62400" cy="53450"/>
            </a:xfrm>
            <a:custGeom>
              <a:avLst/>
              <a:gdLst/>
              <a:ahLst/>
              <a:cxnLst/>
              <a:rect l="l" t="t" r="r" b="b"/>
              <a:pathLst>
                <a:path w="2496" h="2138" extrusionOk="0">
                  <a:moveTo>
                    <a:pt x="1065" y="1"/>
                  </a:moveTo>
                  <a:cubicBezTo>
                    <a:pt x="480" y="1"/>
                    <a:pt x="0" y="481"/>
                    <a:pt x="0" y="1066"/>
                  </a:cubicBezTo>
                  <a:cubicBezTo>
                    <a:pt x="0" y="1710"/>
                    <a:pt x="525" y="2138"/>
                    <a:pt x="1074" y="2138"/>
                  </a:cubicBezTo>
                  <a:cubicBezTo>
                    <a:pt x="1336" y="2138"/>
                    <a:pt x="1603" y="2040"/>
                    <a:pt x="1821" y="1822"/>
                  </a:cubicBezTo>
                  <a:cubicBezTo>
                    <a:pt x="2496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0" name="Google Shape;10923;p65">
              <a:extLst>
                <a:ext uri="{FF2B5EF4-FFF2-40B4-BE49-F238E27FC236}">
                  <a16:creationId xmlns:a16="http://schemas.microsoft.com/office/drawing/2014/main" id="{914904C9-AA5B-602E-9684-DBCFB5809BA7}"/>
                </a:ext>
              </a:extLst>
            </p:cNvPr>
            <p:cNvSpPr/>
            <p:nvPr/>
          </p:nvSpPr>
          <p:spPr>
            <a:xfrm>
              <a:off x="4808700" y="1190550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1" name="Google Shape;10924;p65">
              <a:extLst>
                <a:ext uri="{FF2B5EF4-FFF2-40B4-BE49-F238E27FC236}">
                  <a16:creationId xmlns:a16="http://schemas.microsoft.com/office/drawing/2014/main" id="{EA841133-05A0-0A7D-6362-70AA2358A2B6}"/>
                </a:ext>
              </a:extLst>
            </p:cNvPr>
            <p:cNvSpPr/>
            <p:nvPr/>
          </p:nvSpPr>
          <p:spPr>
            <a:xfrm>
              <a:off x="4808700" y="1038125"/>
              <a:ext cx="62400" cy="53325"/>
            </a:xfrm>
            <a:custGeom>
              <a:avLst/>
              <a:gdLst/>
              <a:ahLst/>
              <a:cxnLst/>
              <a:rect l="l" t="t" r="r" b="b"/>
              <a:pathLst>
                <a:path w="2496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96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2" name="Google Shape;10925;p65">
              <a:extLst>
                <a:ext uri="{FF2B5EF4-FFF2-40B4-BE49-F238E27FC236}">
                  <a16:creationId xmlns:a16="http://schemas.microsoft.com/office/drawing/2014/main" id="{9AD7D6DA-5CF6-54CA-680C-5C2EE0985B21}"/>
                </a:ext>
              </a:extLst>
            </p:cNvPr>
            <p:cNvSpPr/>
            <p:nvPr/>
          </p:nvSpPr>
          <p:spPr>
            <a:xfrm>
              <a:off x="473247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3" name="Google Shape;10926;p65">
              <a:extLst>
                <a:ext uri="{FF2B5EF4-FFF2-40B4-BE49-F238E27FC236}">
                  <a16:creationId xmlns:a16="http://schemas.microsoft.com/office/drawing/2014/main" id="{59303E9C-4485-6AB9-CF51-14AF19646C5C}"/>
                </a:ext>
              </a:extLst>
            </p:cNvPr>
            <p:cNvSpPr/>
            <p:nvPr/>
          </p:nvSpPr>
          <p:spPr>
            <a:xfrm>
              <a:off x="4732475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4" name="Google Shape;10927;p65">
              <a:extLst>
                <a:ext uri="{FF2B5EF4-FFF2-40B4-BE49-F238E27FC236}">
                  <a16:creationId xmlns:a16="http://schemas.microsoft.com/office/drawing/2014/main" id="{6F1A0E9F-ADA3-4CE0-24A8-0A99CB54F700}"/>
                </a:ext>
              </a:extLst>
            </p:cNvPr>
            <p:cNvSpPr/>
            <p:nvPr/>
          </p:nvSpPr>
          <p:spPr>
            <a:xfrm>
              <a:off x="473247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5" name="Google Shape;10928;p65">
              <a:extLst>
                <a:ext uri="{FF2B5EF4-FFF2-40B4-BE49-F238E27FC236}">
                  <a16:creationId xmlns:a16="http://schemas.microsoft.com/office/drawing/2014/main" id="{56228EA2-01DE-313A-61CC-B239CEE2FB11}"/>
                </a:ext>
              </a:extLst>
            </p:cNvPr>
            <p:cNvSpPr/>
            <p:nvPr/>
          </p:nvSpPr>
          <p:spPr>
            <a:xfrm>
              <a:off x="4732475" y="1418975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0" y="1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6" name="Google Shape;10929;p65">
              <a:extLst>
                <a:ext uri="{FF2B5EF4-FFF2-40B4-BE49-F238E27FC236}">
                  <a16:creationId xmlns:a16="http://schemas.microsoft.com/office/drawing/2014/main" id="{0CFBB90B-9587-2A64-9671-A0CB968BA242}"/>
                </a:ext>
              </a:extLst>
            </p:cNvPr>
            <p:cNvSpPr/>
            <p:nvPr/>
          </p:nvSpPr>
          <p:spPr>
            <a:xfrm>
              <a:off x="4732475" y="1190550"/>
              <a:ext cx="62425" cy="53325"/>
            </a:xfrm>
            <a:custGeom>
              <a:avLst/>
              <a:gdLst/>
              <a:ahLst/>
              <a:cxnLst/>
              <a:rect l="l" t="t" r="r" b="b"/>
              <a:pathLst>
                <a:path w="2497" h="2133" extrusionOk="0">
                  <a:moveTo>
                    <a:pt x="1074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7" name="Google Shape;10930;p65">
              <a:extLst>
                <a:ext uri="{FF2B5EF4-FFF2-40B4-BE49-F238E27FC236}">
                  <a16:creationId xmlns:a16="http://schemas.microsoft.com/office/drawing/2014/main" id="{9BD117AD-1AE3-9084-1452-71EB6FCACB8C}"/>
                </a:ext>
              </a:extLst>
            </p:cNvPr>
            <p:cNvSpPr/>
            <p:nvPr/>
          </p:nvSpPr>
          <p:spPr>
            <a:xfrm>
              <a:off x="4656475" y="2866425"/>
              <a:ext cx="62200" cy="53275"/>
            </a:xfrm>
            <a:custGeom>
              <a:avLst/>
              <a:gdLst/>
              <a:ahLst/>
              <a:cxnLst/>
              <a:rect l="l" t="t" r="r" b="b"/>
              <a:pathLst>
                <a:path w="2488" h="2131" extrusionOk="0">
                  <a:moveTo>
                    <a:pt x="1065" y="0"/>
                  </a:moveTo>
                  <a:cubicBezTo>
                    <a:pt x="472" y="0"/>
                    <a:pt x="0" y="472"/>
                    <a:pt x="0" y="1065"/>
                  </a:cubicBezTo>
                  <a:cubicBezTo>
                    <a:pt x="0" y="1707"/>
                    <a:pt x="522" y="2131"/>
                    <a:pt x="1069" y="2131"/>
                  </a:cubicBezTo>
                  <a:cubicBezTo>
                    <a:pt x="1333" y="2131"/>
                    <a:pt x="1602" y="2032"/>
                    <a:pt x="1821" y="1813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8" name="Google Shape;10931;p65">
              <a:extLst>
                <a:ext uri="{FF2B5EF4-FFF2-40B4-BE49-F238E27FC236}">
                  <a16:creationId xmlns:a16="http://schemas.microsoft.com/office/drawing/2014/main" id="{AC0B6C71-75DE-1A60-3FB6-FE0596534531}"/>
                </a:ext>
              </a:extLst>
            </p:cNvPr>
            <p:cNvSpPr/>
            <p:nvPr/>
          </p:nvSpPr>
          <p:spPr>
            <a:xfrm>
              <a:off x="4656475" y="27902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9"/>
                    <a:pt x="525" y="2134"/>
                    <a:pt x="1072" y="2134"/>
                  </a:cubicBezTo>
                  <a:cubicBezTo>
                    <a:pt x="1332" y="2134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799" name="Google Shape;10932;p65">
              <a:extLst>
                <a:ext uri="{FF2B5EF4-FFF2-40B4-BE49-F238E27FC236}">
                  <a16:creationId xmlns:a16="http://schemas.microsoft.com/office/drawing/2014/main" id="{DBBBE805-EFDD-E070-3FAA-A674F39F1320}"/>
                </a:ext>
              </a:extLst>
            </p:cNvPr>
            <p:cNvSpPr/>
            <p:nvPr/>
          </p:nvSpPr>
          <p:spPr>
            <a:xfrm>
              <a:off x="4656475" y="2714000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0" name="Google Shape;10933;p65">
              <a:extLst>
                <a:ext uri="{FF2B5EF4-FFF2-40B4-BE49-F238E27FC236}">
                  <a16:creationId xmlns:a16="http://schemas.microsoft.com/office/drawing/2014/main" id="{894EFFAB-3B16-93A4-08D8-6D25FE88BE53}"/>
                </a:ext>
              </a:extLst>
            </p:cNvPr>
            <p:cNvSpPr/>
            <p:nvPr/>
          </p:nvSpPr>
          <p:spPr>
            <a:xfrm>
              <a:off x="4656475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72" y="1"/>
                    <a:pt x="0" y="480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1" name="Google Shape;10934;p65">
              <a:extLst>
                <a:ext uri="{FF2B5EF4-FFF2-40B4-BE49-F238E27FC236}">
                  <a16:creationId xmlns:a16="http://schemas.microsoft.com/office/drawing/2014/main" id="{B6181C34-386F-A05A-B6C3-556F477F2BD0}"/>
                </a:ext>
              </a:extLst>
            </p:cNvPr>
            <p:cNvSpPr/>
            <p:nvPr/>
          </p:nvSpPr>
          <p:spPr>
            <a:xfrm>
              <a:off x="4656475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2" name="Google Shape;10935;p65">
              <a:extLst>
                <a:ext uri="{FF2B5EF4-FFF2-40B4-BE49-F238E27FC236}">
                  <a16:creationId xmlns:a16="http://schemas.microsoft.com/office/drawing/2014/main" id="{6FAC1372-DD4D-C2BC-1B26-34AC4F54DBFB}"/>
                </a:ext>
              </a:extLst>
            </p:cNvPr>
            <p:cNvSpPr/>
            <p:nvPr/>
          </p:nvSpPr>
          <p:spPr>
            <a:xfrm>
              <a:off x="4656475" y="141897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72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7"/>
                    <a:pt x="1813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3" name="Google Shape;10936;p65">
              <a:extLst>
                <a:ext uri="{FF2B5EF4-FFF2-40B4-BE49-F238E27FC236}">
                  <a16:creationId xmlns:a16="http://schemas.microsoft.com/office/drawing/2014/main" id="{C2D3A86A-7B60-9BD2-1E4C-9BF72DF66AC4}"/>
                </a:ext>
              </a:extLst>
            </p:cNvPr>
            <p:cNvSpPr/>
            <p:nvPr/>
          </p:nvSpPr>
          <p:spPr>
            <a:xfrm>
              <a:off x="4656475" y="1266550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0"/>
                  </a:moveTo>
                  <a:cubicBezTo>
                    <a:pt x="472" y="9"/>
                    <a:pt x="0" y="480"/>
                    <a:pt x="0" y="1074"/>
                  </a:cubicBezTo>
                  <a:cubicBezTo>
                    <a:pt x="0" y="1711"/>
                    <a:pt x="525" y="2137"/>
                    <a:pt x="1070" y="2137"/>
                  </a:cubicBezTo>
                  <a:cubicBezTo>
                    <a:pt x="1331" y="2137"/>
                    <a:pt x="1597" y="2040"/>
                    <a:pt x="1813" y="1821"/>
                  </a:cubicBezTo>
                  <a:cubicBezTo>
                    <a:pt x="2488" y="1155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4" name="Google Shape;10937;p65">
              <a:extLst>
                <a:ext uri="{FF2B5EF4-FFF2-40B4-BE49-F238E27FC236}">
                  <a16:creationId xmlns:a16="http://schemas.microsoft.com/office/drawing/2014/main" id="{6CBC9902-BB42-CA73-634B-9FC67D65AF2E}"/>
                </a:ext>
              </a:extLst>
            </p:cNvPr>
            <p:cNvSpPr/>
            <p:nvPr/>
          </p:nvSpPr>
          <p:spPr>
            <a:xfrm>
              <a:off x="4656475" y="1038125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72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2" y="2133"/>
                  </a:cubicBezTo>
                  <a:cubicBezTo>
                    <a:pt x="1332" y="2133"/>
                    <a:pt x="1598" y="2036"/>
                    <a:pt x="1813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5" name="Google Shape;10938;p65">
              <a:extLst>
                <a:ext uri="{FF2B5EF4-FFF2-40B4-BE49-F238E27FC236}">
                  <a16:creationId xmlns:a16="http://schemas.microsoft.com/office/drawing/2014/main" id="{C47EA3E0-A46E-D722-4DE9-2E7FDC3E04C7}"/>
                </a:ext>
              </a:extLst>
            </p:cNvPr>
            <p:cNvSpPr/>
            <p:nvPr/>
          </p:nvSpPr>
          <p:spPr>
            <a:xfrm>
              <a:off x="4580250" y="29424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6" name="Google Shape;10939;p65">
              <a:extLst>
                <a:ext uri="{FF2B5EF4-FFF2-40B4-BE49-F238E27FC236}">
                  <a16:creationId xmlns:a16="http://schemas.microsoft.com/office/drawing/2014/main" id="{A3535866-B455-3669-811B-D9DC26B88559}"/>
                </a:ext>
              </a:extLst>
            </p:cNvPr>
            <p:cNvSpPr/>
            <p:nvPr/>
          </p:nvSpPr>
          <p:spPr>
            <a:xfrm>
              <a:off x="4580250" y="2866425"/>
              <a:ext cx="62225" cy="53275"/>
            </a:xfrm>
            <a:custGeom>
              <a:avLst/>
              <a:gdLst/>
              <a:ahLst/>
              <a:cxnLst/>
              <a:rect l="l" t="t" r="r" b="b"/>
              <a:pathLst>
                <a:path w="2489" h="2131" extrusionOk="0">
                  <a:moveTo>
                    <a:pt x="1066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3" y="2131"/>
                    <a:pt x="1070" y="2131"/>
                  </a:cubicBezTo>
                  <a:cubicBezTo>
                    <a:pt x="1333" y="2131"/>
                    <a:pt x="1602" y="2032"/>
                    <a:pt x="1822" y="1813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7" name="Google Shape;10940;p65">
              <a:extLst>
                <a:ext uri="{FF2B5EF4-FFF2-40B4-BE49-F238E27FC236}">
                  <a16:creationId xmlns:a16="http://schemas.microsoft.com/office/drawing/2014/main" id="{DD298E67-FF91-4739-BDB4-F09B0FFF762F}"/>
                </a:ext>
              </a:extLst>
            </p:cNvPr>
            <p:cNvSpPr/>
            <p:nvPr/>
          </p:nvSpPr>
          <p:spPr>
            <a:xfrm>
              <a:off x="4580250" y="271400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8" name="Google Shape;10941;p65">
              <a:extLst>
                <a:ext uri="{FF2B5EF4-FFF2-40B4-BE49-F238E27FC236}">
                  <a16:creationId xmlns:a16="http://schemas.microsoft.com/office/drawing/2014/main" id="{0AC0A57C-EC91-BA69-BECC-03366AA317A7}"/>
                </a:ext>
              </a:extLst>
            </p:cNvPr>
            <p:cNvSpPr/>
            <p:nvPr/>
          </p:nvSpPr>
          <p:spPr>
            <a:xfrm>
              <a:off x="458025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09" name="Google Shape;10942;p65">
              <a:extLst>
                <a:ext uri="{FF2B5EF4-FFF2-40B4-BE49-F238E27FC236}">
                  <a16:creationId xmlns:a16="http://schemas.microsoft.com/office/drawing/2014/main" id="{74A00ECC-DF1F-C661-2764-B9D440EF8952}"/>
                </a:ext>
              </a:extLst>
            </p:cNvPr>
            <p:cNvSpPr/>
            <p:nvPr/>
          </p:nvSpPr>
          <p:spPr>
            <a:xfrm>
              <a:off x="458025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80" y="1"/>
                    <a:pt x="1" y="472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0" name="Google Shape;10943;p65">
              <a:extLst>
                <a:ext uri="{FF2B5EF4-FFF2-40B4-BE49-F238E27FC236}">
                  <a16:creationId xmlns:a16="http://schemas.microsoft.com/office/drawing/2014/main" id="{C65E6966-AEB6-1795-4C72-26F69405EFCC}"/>
                </a:ext>
              </a:extLst>
            </p:cNvPr>
            <p:cNvSpPr/>
            <p:nvPr/>
          </p:nvSpPr>
          <p:spPr>
            <a:xfrm>
              <a:off x="4580250" y="1495200"/>
              <a:ext cx="62225" cy="53325"/>
            </a:xfrm>
            <a:custGeom>
              <a:avLst/>
              <a:gdLst/>
              <a:ahLst/>
              <a:cxnLst/>
              <a:rect l="l" t="t" r="r" b="b"/>
              <a:pathLst>
                <a:path w="2489" h="2133" extrusionOk="0">
                  <a:moveTo>
                    <a:pt x="1066" y="0"/>
                  </a:moveTo>
                  <a:cubicBezTo>
                    <a:pt x="480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1" name="Google Shape;10944;p65">
              <a:extLst>
                <a:ext uri="{FF2B5EF4-FFF2-40B4-BE49-F238E27FC236}">
                  <a16:creationId xmlns:a16="http://schemas.microsoft.com/office/drawing/2014/main" id="{3016B15D-AD73-8602-46F7-B1D36B7E38D0}"/>
                </a:ext>
              </a:extLst>
            </p:cNvPr>
            <p:cNvSpPr/>
            <p:nvPr/>
          </p:nvSpPr>
          <p:spPr>
            <a:xfrm>
              <a:off x="4580250" y="13427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80" y="1"/>
                    <a:pt x="1" y="481"/>
                    <a:pt x="1" y="1066"/>
                  </a:cubicBezTo>
                  <a:cubicBezTo>
                    <a:pt x="1" y="1710"/>
                    <a:pt x="526" y="2138"/>
                    <a:pt x="1074" y="2138"/>
                  </a:cubicBezTo>
                  <a:cubicBezTo>
                    <a:pt x="1336" y="2138"/>
                    <a:pt x="1604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2" name="Google Shape;10945;p65">
              <a:extLst>
                <a:ext uri="{FF2B5EF4-FFF2-40B4-BE49-F238E27FC236}">
                  <a16:creationId xmlns:a16="http://schemas.microsoft.com/office/drawing/2014/main" id="{E158AE4D-9D07-827B-C78C-DF3FFF2291FC}"/>
                </a:ext>
              </a:extLst>
            </p:cNvPr>
            <p:cNvSpPr/>
            <p:nvPr/>
          </p:nvSpPr>
          <p:spPr>
            <a:xfrm>
              <a:off x="4580250" y="1266550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0"/>
                  </a:moveTo>
                  <a:cubicBezTo>
                    <a:pt x="480" y="9"/>
                    <a:pt x="1" y="480"/>
                    <a:pt x="1" y="1074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1"/>
                  </a:cubicBezTo>
                  <a:cubicBezTo>
                    <a:pt x="2488" y="1155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3" name="Google Shape;10946;p65">
              <a:extLst>
                <a:ext uri="{FF2B5EF4-FFF2-40B4-BE49-F238E27FC236}">
                  <a16:creationId xmlns:a16="http://schemas.microsoft.com/office/drawing/2014/main" id="{2653E446-917D-B905-C55A-CA04FEE73840}"/>
                </a:ext>
              </a:extLst>
            </p:cNvPr>
            <p:cNvSpPr/>
            <p:nvPr/>
          </p:nvSpPr>
          <p:spPr>
            <a:xfrm>
              <a:off x="4504050" y="29424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4" name="Google Shape;10947;p65">
              <a:extLst>
                <a:ext uri="{FF2B5EF4-FFF2-40B4-BE49-F238E27FC236}">
                  <a16:creationId xmlns:a16="http://schemas.microsoft.com/office/drawing/2014/main" id="{E73760CD-AA8C-0407-BD9A-B1CAC769513A}"/>
                </a:ext>
              </a:extLst>
            </p:cNvPr>
            <p:cNvSpPr/>
            <p:nvPr/>
          </p:nvSpPr>
          <p:spPr>
            <a:xfrm>
              <a:off x="4504050" y="263777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74"/>
                  </a:cubicBezTo>
                  <a:cubicBezTo>
                    <a:pt x="0" y="1712"/>
                    <a:pt x="525" y="2137"/>
                    <a:pt x="1073" y="2137"/>
                  </a:cubicBezTo>
                  <a:cubicBezTo>
                    <a:pt x="1335" y="2137"/>
                    <a:pt x="1603" y="2040"/>
                    <a:pt x="1821" y="1822"/>
                  </a:cubicBezTo>
                  <a:cubicBezTo>
                    <a:pt x="2488" y="1155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5" name="Google Shape;10948;p65">
              <a:extLst>
                <a:ext uri="{FF2B5EF4-FFF2-40B4-BE49-F238E27FC236}">
                  <a16:creationId xmlns:a16="http://schemas.microsoft.com/office/drawing/2014/main" id="{C31A9ECD-962B-A482-C494-CB364B9F86AA}"/>
                </a:ext>
              </a:extLst>
            </p:cNvPr>
            <p:cNvSpPr/>
            <p:nvPr/>
          </p:nvSpPr>
          <p:spPr>
            <a:xfrm>
              <a:off x="4504050" y="2561575"/>
              <a:ext cx="62200" cy="53425"/>
            </a:xfrm>
            <a:custGeom>
              <a:avLst/>
              <a:gdLst/>
              <a:ahLst/>
              <a:cxnLst/>
              <a:rect l="l" t="t" r="r" b="b"/>
              <a:pathLst>
                <a:path w="2488" h="2137" extrusionOk="0">
                  <a:moveTo>
                    <a:pt x="1065" y="0"/>
                  </a:moveTo>
                  <a:cubicBezTo>
                    <a:pt x="480" y="8"/>
                    <a:pt x="0" y="480"/>
                    <a:pt x="0" y="1073"/>
                  </a:cubicBezTo>
                  <a:cubicBezTo>
                    <a:pt x="0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1" y="1821"/>
                  </a:cubicBezTo>
                  <a:cubicBezTo>
                    <a:pt x="2488" y="1154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6" name="Google Shape;10949;p65">
              <a:extLst>
                <a:ext uri="{FF2B5EF4-FFF2-40B4-BE49-F238E27FC236}">
                  <a16:creationId xmlns:a16="http://schemas.microsoft.com/office/drawing/2014/main" id="{8BB5A1FA-7F11-EBBE-D118-C46B8DEFD155}"/>
                </a:ext>
              </a:extLst>
            </p:cNvPr>
            <p:cNvSpPr/>
            <p:nvPr/>
          </p:nvSpPr>
          <p:spPr>
            <a:xfrm>
              <a:off x="450405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7" name="Google Shape;10950;p65">
              <a:extLst>
                <a:ext uri="{FF2B5EF4-FFF2-40B4-BE49-F238E27FC236}">
                  <a16:creationId xmlns:a16="http://schemas.microsoft.com/office/drawing/2014/main" id="{3B13E684-929C-8781-31C0-339A653A9C47}"/>
                </a:ext>
              </a:extLst>
            </p:cNvPr>
            <p:cNvSpPr/>
            <p:nvPr/>
          </p:nvSpPr>
          <p:spPr>
            <a:xfrm>
              <a:off x="4504050" y="1495200"/>
              <a:ext cx="62200" cy="53325"/>
            </a:xfrm>
            <a:custGeom>
              <a:avLst/>
              <a:gdLst/>
              <a:ahLst/>
              <a:cxnLst/>
              <a:rect l="l" t="t" r="r" b="b"/>
              <a:pathLst>
                <a:path w="2488" h="2133" extrusionOk="0">
                  <a:moveTo>
                    <a:pt x="1065" y="0"/>
                  </a:move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6"/>
                    <a:pt x="1821" y="1821"/>
                  </a:cubicBezTo>
                  <a:cubicBezTo>
                    <a:pt x="2488" y="1146"/>
                    <a:pt x="2016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8" name="Google Shape;10951;p65">
              <a:extLst>
                <a:ext uri="{FF2B5EF4-FFF2-40B4-BE49-F238E27FC236}">
                  <a16:creationId xmlns:a16="http://schemas.microsoft.com/office/drawing/2014/main" id="{581D917F-4423-E424-8AD3-26C3554734FA}"/>
                </a:ext>
              </a:extLst>
            </p:cNvPr>
            <p:cNvSpPr/>
            <p:nvPr/>
          </p:nvSpPr>
          <p:spPr>
            <a:xfrm>
              <a:off x="4504050" y="1114325"/>
              <a:ext cx="62200" cy="53350"/>
            </a:xfrm>
            <a:custGeom>
              <a:avLst/>
              <a:gdLst/>
              <a:ahLst/>
              <a:cxnLst/>
              <a:rect l="l" t="t" r="r" b="b"/>
              <a:pathLst>
                <a:path w="2488" h="2134" extrusionOk="0">
                  <a:moveTo>
                    <a:pt x="1065" y="1"/>
                  </a:moveTo>
                  <a:cubicBezTo>
                    <a:pt x="480" y="1"/>
                    <a:pt x="0" y="480"/>
                    <a:pt x="0" y="1065"/>
                  </a:cubicBezTo>
                  <a:cubicBezTo>
                    <a:pt x="0" y="1709"/>
                    <a:pt x="525" y="2133"/>
                    <a:pt x="1074" y="2133"/>
                  </a:cubicBezTo>
                  <a:cubicBezTo>
                    <a:pt x="1336" y="2133"/>
                    <a:pt x="1603" y="2037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19" name="Google Shape;10952;p65">
              <a:extLst>
                <a:ext uri="{FF2B5EF4-FFF2-40B4-BE49-F238E27FC236}">
                  <a16:creationId xmlns:a16="http://schemas.microsoft.com/office/drawing/2014/main" id="{43DC6F95-F2A4-BD2C-ACF2-C2E1B294121D}"/>
                </a:ext>
              </a:extLst>
            </p:cNvPr>
            <p:cNvSpPr/>
            <p:nvPr/>
          </p:nvSpPr>
          <p:spPr>
            <a:xfrm>
              <a:off x="4427825" y="29424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9"/>
                    <a:pt x="9" y="480"/>
                    <a:pt x="1" y="1066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0" name="Google Shape;10953;p65">
              <a:extLst>
                <a:ext uri="{FF2B5EF4-FFF2-40B4-BE49-F238E27FC236}">
                  <a16:creationId xmlns:a16="http://schemas.microsoft.com/office/drawing/2014/main" id="{BB3DE4E8-665D-7EE4-E8DA-A5A96641A60C}"/>
                </a:ext>
              </a:extLst>
            </p:cNvPr>
            <p:cNvSpPr/>
            <p:nvPr/>
          </p:nvSpPr>
          <p:spPr>
            <a:xfrm>
              <a:off x="4427825" y="2866425"/>
              <a:ext cx="62425" cy="53275"/>
            </a:xfrm>
            <a:custGeom>
              <a:avLst/>
              <a:gdLst/>
              <a:ahLst/>
              <a:cxnLst/>
              <a:rect l="l" t="t" r="r" b="b"/>
              <a:pathLst>
                <a:path w="2497" h="2131" extrusionOk="0">
                  <a:moveTo>
                    <a:pt x="1065" y="0"/>
                  </a:moveTo>
                  <a:cubicBezTo>
                    <a:pt x="480" y="0"/>
                    <a:pt x="1" y="472"/>
                    <a:pt x="1" y="1065"/>
                  </a:cubicBezTo>
                  <a:cubicBezTo>
                    <a:pt x="1" y="1707"/>
                    <a:pt x="526" y="2131"/>
                    <a:pt x="1073" y="2131"/>
                  </a:cubicBezTo>
                  <a:cubicBezTo>
                    <a:pt x="1337" y="2131"/>
                    <a:pt x="1605" y="2032"/>
                    <a:pt x="1822" y="1813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1" name="Google Shape;10954;p65">
              <a:extLst>
                <a:ext uri="{FF2B5EF4-FFF2-40B4-BE49-F238E27FC236}">
                  <a16:creationId xmlns:a16="http://schemas.microsoft.com/office/drawing/2014/main" id="{A5D5E467-428B-21FA-D2C1-0F7704AFEAA9}"/>
                </a:ext>
              </a:extLst>
            </p:cNvPr>
            <p:cNvSpPr/>
            <p:nvPr/>
          </p:nvSpPr>
          <p:spPr>
            <a:xfrm>
              <a:off x="4427825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1"/>
                  </a:moveTo>
                  <a:cubicBezTo>
                    <a:pt x="480" y="1"/>
                    <a:pt x="9" y="480"/>
                    <a:pt x="1" y="1066"/>
                  </a:cubicBezTo>
                  <a:cubicBezTo>
                    <a:pt x="1" y="1709"/>
                    <a:pt x="526" y="2134"/>
                    <a:pt x="1075" y="2134"/>
                  </a:cubicBezTo>
                  <a:cubicBezTo>
                    <a:pt x="1336" y="2134"/>
                    <a:pt x="1604" y="2037"/>
                    <a:pt x="1822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2" name="Google Shape;10955;p65">
              <a:extLst>
                <a:ext uri="{FF2B5EF4-FFF2-40B4-BE49-F238E27FC236}">
                  <a16:creationId xmlns:a16="http://schemas.microsoft.com/office/drawing/2014/main" id="{C6737E75-0AAF-6137-F70D-2DE9CB4F5928}"/>
                </a:ext>
              </a:extLst>
            </p:cNvPr>
            <p:cNvSpPr/>
            <p:nvPr/>
          </p:nvSpPr>
          <p:spPr>
            <a:xfrm>
              <a:off x="4427825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65" y="0"/>
                  </a:moveTo>
                  <a:cubicBezTo>
                    <a:pt x="480" y="8"/>
                    <a:pt x="9" y="480"/>
                    <a:pt x="1" y="1073"/>
                  </a:cubicBezTo>
                  <a:cubicBezTo>
                    <a:pt x="1" y="1711"/>
                    <a:pt x="525" y="2137"/>
                    <a:pt x="1073" y="2137"/>
                  </a:cubicBezTo>
                  <a:cubicBezTo>
                    <a:pt x="1335" y="2137"/>
                    <a:pt x="1603" y="2039"/>
                    <a:pt x="1822" y="1821"/>
                  </a:cubicBezTo>
                  <a:cubicBezTo>
                    <a:pt x="2496" y="1154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3" name="Google Shape;10956;p65">
              <a:extLst>
                <a:ext uri="{FF2B5EF4-FFF2-40B4-BE49-F238E27FC236}">
                  <a16:creationId xmlns:a16="http://schemas.microsoft.com/office/drawing/2014/main" id="{7F2A873D-B00C-8EAE-E1AE-815D6BA87FCA}"/>
                </a:ext>
              </a:extLst>
            </p:cNvPr>
            <p:cNvSpPr/>
            <p:nvPr/>
          </p:nvSpPr>
          <p:spPr>
            <a:xfrm>
              <a:off x="4427825" y="2485550"/>
              <a:ext cx="62425" cy="53300"/>
            </a:xfrm>
            <a:custGeom>
              <a:avLst/>
              <a:gdLst/>
              <a:ahLst/>
              <a:cxnLst/>
              <a:rect l="l" t="t" r="r" b="b"/>
              <a:pathLst>
                <a:path w="2497" h="2132" extrusionOk="0">
                  <a:moveTo>
                    <a:pt x="1065" y="1"/>
                  </a:moveTo>
                  <a:cubicBezTo>
                    <a:pt x="480" y="1"/>
                    <a:pt x="1" y="480"/>
                    <a:pt x="1" y="1066"/>
                  </a:cubicBezTo>
                  <a:cubicBezTo>
                    <a:pt x="1" y="1708"/>
                    <a:pt x="526" y="2131"/>
                    <a:pt x="1073" y="2131"/>
                  </a:cubicBezTo>
                  <a:cubicBezTo>
                    <a:pt x="1337" y="2131"/>
                    <a:pt x="1605" y="2033"/>
                    <a:pt x="1822" y="1814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4" name="Google Shape;10957;p65">
              <a:extLst>
                <a:ext uri="{FF2B5EF4-FFF2-40B4-BE49-F238E27FC236}">
                  <a16:creationId xmlns:a16="http://schemas.microsoft.com/office/drawing/2014/main" id="{29D84EF1-79EE-0C49-CDC2-9F4D2DC0A814}"/>
                </a:ext>
              </a:extLst>
            </p:cNvPr>
            <p:cNvSpPr/>
            <p:nvPr/>
          </p:nvSpPr>
          <p:spPr>
            <a:xfrm>
              <a:off x="4427825" y="240935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65" y="0"/>
                  </a:moveTo>
                  <a:cubicBezTo>
                    <a:pt x="480" y="0"/>
                    <a:pt x="9" y="480"/>
                    <a:pt x="1" y="1065"/>
                  </a:cubicBezTo>
                  <a:cubicBezTo>
                    <a:pt x="1" y="1709"/>
                    <a:pt x="526" y="2133"/>
                    <a:pt x="1075" y="2133"/>
                  </a:cubicBezTo>
                  <a:cubicBezTo>
                    <a:pt x="1336" y="2133"/>
                    <a:pt x="1604" y="2036"/>
                    <a:pt x="1822" y="1821"/>
                  </a:cubicBezTo>
                  <a:cubicBezTo>
                    <a:pt x="2496" y="1146"/>
                    <a:pt x="2017" y="0"/>
                    <a:pt x="106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5" name="Google Shape;10958;p65">
              <a:extLst>
                <a:ext uri="{FF2B5EF4-FFF2-40B4-BE49-F238E27FC236}">
                  <a16:creationId xmlns:a16="http://schemas.microsoft.com/office/drawing/2014/main" id="{06676792-8792-711D-7B06-0FC43B55A732}"/>
                </a:ext>
              </a:extLst>
            </p:cNvPr>
            <p:cNvSpPr/>
            <p:nvPr/>
          </p:nvSpPr>
          <p:spPr>
            <a:xfrm>
              <a:off x="4351600" y="27902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1"/>
                  </a:moveTo>
                  <a:cubicBezTo>
                    <a:pt x="481" y="1"/>
                    <a:pt x="9" y="480"/>
                    <a:pt x="1" y="1066"/>
                  </a:cubicBezTo>
                  <a:cubicBezTo>
                    <a:pt x="1" y="1709"/>
                    <a:pt x="530" y="2134"/>
                    <a:pt x="1079" y="2134"/>
                  </a:cubicBezTo>
                  <a:cubicBezTo>
                    <a:pt x="1340" y="2134"/>
                    <a:pt x="1607" y="2037"/>
                    <a:pt x="1822" y="1822"/>
                  </a:cubicBezTo>
                  <a:cubicBezTo>
                    <a:pt x="2497" y="1147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6" name="Google Shape;10959;p65">
              <a:extLst>
                <a:ext uri="{FF2B5EF4-FFF2-40B4-BE49-F238E27FC236}">
                  <a16:creationId xmlns:a16="http://schemas.microsoft.com/office/drawing/2014/main" id="{531C9D84-014D-B112-9C83-C5B478C784DA}"/>
                </a:ext>
              </a:extLst>
            </p:cNvPr>
            <p:cNvSpPr/>
            <p:nvPr/>
          </p:nvSpPr>
          <p:spPr>
            <a:xfrm>
              <a:off x="4351600" y="2714000"/>
              <a:ext cx="62425" cy="53350"/>
            </a:xfrm>
            <a:custGeom>
              <a:avLst/>
              <a:gdLst/>
              <a:ahLst/>
              <a:cxnLst/>
              <a:rect l="l" t="t" r="r" b="b"/>
              <a:pathLst>
                <a:path w="2497" h="2134" extrusionOk="0">
                  <a:moveTo>
                    <a:pt x="1074" y="0"/>
                  </a:moveTo>
                  <a:cubicBezTo>
                    <a:pt x="481" y="0"/>
                    <a:pt x="9" y="480"/>
                    <a:pt x="1" y="1065"/>
                  </a:cubicBezTo>
                  <a:cubicBezTo>
                    <a:pt x="1" y="1709"/>
                    <a:pt x="530" y="2133"/>
                    <a:pt x="1079" y="2133"/>
                  </a:cubicBezTo>
                  <a:cubicBezTo>
                    <a:pt x="1340" y="2133"/>
                    <a:pt x="1607" y="2036"/>
                    <a:pt x="1822" y="1821"/>
                  </a:cubicBezTo>
                  <a:cubicBezTo>
                    <a:pt x="2497" y="1146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7" name="Google Shape;10960;p65">
              <a:extLst>
                <a:ext uri="{FF2B5EF4-FFF2-40B4-BE49-F238E27FC236}">
                  <a16:creationId xmlns:a16="http://schemas.microsoft.com/office/drawing/2014/main" id="{3437A280-6F7B-CFF4-7904-B0AEB5C187CA}"/>
                </a:ext>
              </a:extLst>
            </p:cNvPr>
            <p:cNvSpPr/>
            <p:nvPr/>
          </p:nvSpPr>
          <p:spPr>
            <a:xfrm>
              <a:off x="4351600" y="263777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74" y="1"/>
                  </a:moveTo>
                  <a:cubicBezTo>
                    <a:pt x="481" y="1"/>
                    <a:pt x="9" y="480"/>
                    <a:pt x="1" y="1074"/>
                  </a:cubicBezTo>
                  <a:cubicBezTo>
                    <a:pt x="1" y="1712"/>
                    <a:pt x="529" y="2137"/>
                    <a:pt x="1077" y="2137"/>
                  </a:cubicBezTo>
                  <a:cubicBezTo>
                    <a:pt x="1339" y="2137"/>
                    <a:pt x="1606" y="2040"/>
                    <a:pt x="1822" y="1822"/>
                  </a:cubicBezTo>
                  <a:cubicBezTo>
                    <a:pt x="2497" y="1155"/>
                    <a:pt x="2017" y="1"/>
                    <a:pt x="1074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8" name="Google Shape;10961;p65">
              <a:extLst>
                <a:ext uri="{FF2B5EF4-FFF2-40B4-BE49-F238E27FC236}">
                  <a16:creationId xmlns:a16="http://schemas.microsoft.com/office/drawing/2014/main" id="{E045633E-D619-83EC-8130-BAEF2A2BADC3}"/>
                </a:ext>
              </a:extLst>
            </p:cNvPr>
            <p:cNvSpPr/>
            <p:nvPr/>
          </p:nvSpPr>
          <p:spPr>
            <a:xfrm>
              <a:off x="4351600" y="2561575"/>
              <a:ext cx="62425" cy="53425"/>
            </a:xfrm>
            <a:custGeom>
              <a:avLst/>
              <a:gdLst/>
              <a:ahLst/>
              <a:cxnLst/>
              <a:rect l="l" t="t" r="r" b="b"/>
              <a:pathLst>
                <a:path w="2497" h="2137" extrusionOk="0">
                  <a:moveTo>
                    <a:pt x="1074" y="0"/>
                  </a:moveTo>
                  <a:cubicBezTo>
                    <a:pt x="481" y="8"/>
                    <a:pt x="9" y="480"/>
                    <a:pt x="1" y="1073"/>
                  </a:cubicBezTo>
                  <a:cubicBezTo>
                    <a:pt x="1" y="1711"/>
                    <a:pt x="529" y="2137"/>
                    <a:pt x="1077" y="2137"/>
                  </a:cubicBezTo>
                  <a:cubicBezTo>
                    <a:pt x="1339" y="2137"/>
                    <a:pt x="1606" y="2039"/>
                    <a:pt x="1822" y="1821"/>
                  </a:cubicBezTo>
                  <a:cubicBezTo>
                    <a:pt x="2497" y="1154"/>
                    <a:pt x="2017" y="0"/>
                    <a:pt x="1074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29" name="Google Shape;10962;p65">
              <a:extLst>
                <a:ext uri="{FF2B5EF4-FFF2-40B4-BE49-F238E27FC236}">
                  <a16:creationId xmlns:a16="http://schemas.microsoft.com/office/drawing/2014/main" id="{E7106797-A8CA-9103-B795-947514353AF3}"/>
                </a:ext>
              </a:extLst>
            </p:cNvPr>
            <p:cNvSpPr/>
            <p:nvPr/>
          </p:nvSpPr>
          <p:spPr>
            <a:xfrm>
              <a:off x="4275600" y="263777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9"/>
                    <a:pt x="1" y="480"/>
                    <a:pt x="1" y="1074"/>
                  </a:cubicBezTo>
                  <a:cubicBezTo>
                    <a:pt x="1" y="1712"/>
                    <a:pt x="525" y="2137"/>
                    <a:pt x="1073" y="2137"/>
                  </a:cubicBezTo>
                  <a:cubicBezTo>
                    <a:pt x="1336" y="2137"/>
                    <a:pt x="1603" y="2040"/>
                    <a:pt x="1822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0" name="Google Shape;10963;p65">
              <a:extLst>
                <a:ext uri="{FF2B5EF4-FFF2-40B4-BE49-F238E27FC236}">
                  <a16:creationId xmlns:a16="http://schemas.microsoft.com/office/drawing/2014/main" id="{4BEFD4AB-CD1D-AC90-8E5C-BCC5524713BD}"/>
                </a:ext>
              </a:extLst>
            </p:cNvPr>
            <p:cNvSpPr/>
            <p:nvPr/>
          </p:nvSpPr>
          <p:spPr>
            <a:xfrm>
              <a:off x="4275600" y="2561575"/>
              <a:ext cx="62225" cy="53425"/>
            </a:xfrm>
            <a:custGeom>
              <a:avLst/>
              <a:gdLst/>
              <a:ahLst/>
              <a:cxnLst/>
              <a:rect l="l" t="t" r="r" b="b"/>
              <a:pathLst>
                <a:path w="2489" h="2137" extrusionOk="0">
                  <a:moveTo>
                    <a:pt x="1066" y="0"/>
                  </a:moveTo>
                  <a:cubicBezTo>
                    <a:pt x="472" y="8"/>
                    <a:pt x="1" y="480"/>
                    <a:pt x="1" y="1073"/>
                  </a:cubicBezTo>
                  <a:cubicBezTo>
                    <a:pt x="1" y="1711"/>
                    <a:pt x="525" y="2137"/>
                    <a:pt x="1071" y="2137"/>
                  </a:cubicBezTo>
                  <a:cubicBezTo>
                    <a:pt x="1332" y="2137"/>
                    <a:pt x="1598" y="2039"/>
                    <a:pt x="1813" y="1821"/>
                  </a:cubicBezTo>
                  <a:cubicBezTo>
                    <a:pt x="2488" y="1154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1" name="Google Shape;10964;p65">
              <a:extLst>
                <a:ext uri="{FF2B5EF4-FFF2-40B4-BE49-F238E27FC236}">
                  <a16:creationId xmlns:a16="http://schemas.microsoft.com/office/drawing/2014/main" id="{EC95C295-87FE-A6E5-D796-FBCAC809242A}"/>
                </a:ext>
              </a:extLst>
            </p:cNvPr>
            <p:cNvSpPr/>
            <p:nvPr/>
          </p:nvSpPr>
          <p:spPr>
            <a:xfrm>
              <a:off x="4275600" y="2485550"/>
              <a:ext cx="62225" cy="53300"/>
            </a:xfrm>
            <a:custGeom>
              <a:avLst/>
              <a:gdLst/>
              <a:ahLst/>
              <a:cxnLst/>
              <a:rect l="l" t="t" r="r" b="b"/>
              <a:pathLst>
                <a:path w="2489" h="2132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8"/>
                    <a:pt x="523" y="2131"/>
                    <a:pt x="1070" y="2131"/>
                  </a:cubicBezTo>
                  <a:cubicBezTo>
                    <a:pt x="1333" y="2131"/>
                    <a:pt x="1602" y="2033"/>
                    <a:pt x="1822" y="1814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2" name="Google Shape;10965;p65">
              <a:extLst>
                <a:ext uri="{FF2B5EF4-FFF2-40B4-BE49-F238E27FC236}">
                  <a16:creationId xmlns:a16="http://schemas.microsoft.com/office/drawing/2014/main" id="{E6C06F73-65FE-6810-F827-E340A31A2951}"/>
                </a:ext>
              </a:extLst>
            </p:cNvPr>
            <p:cNvSpPr/>
            <p:nvPr/>
          </p:nvSpPr>
          <p:spPr>
            <a:xfrm>
              <a:off x="4275600" y="2409350"/>
              <a:ext cx="62225" cy="53350"/>
            </a:xfrm>
            <a:custGeom>
              <a:avLst/>
              <a:gdLst/>
              <a:ahLst/>
              <a:cxnLst/>
              <a:rect l="l" t="t" r="r" b="b"/>
              <a:pathLst>
                <a:path w="2489" h="2134" extrusionOk="0">
                  <a:moveTo>
                    <a:pt x="1066" y="0"/>
                  </a:move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3"/>
                    <a:pt x="1072" y="2133"/>
                  </a:cubicBezTo>
                  <a:cubicBezTo>
                    <a:pt x="1333" y="2133"/>
                    <a:pt x="1598" y="2036"/>
                    <a:pt x="1813" y="1821"/>
                  </a:cubicBezTo>
                  <a:cubicBezTo>
                    <a:pt x="2488" y="1146"/>
                    <a:pt x="2017" y="0"/>
                    <a:pt x="106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3" name="Google Shape;10966;p65">
              <a:extLst>
                <a:ext uri="{FF2B5EF4-FFF2-40B4-BE49-F238E27FC236}">
                  <a16:creationId xmlns:a16="http://schemas.microsoft.com/office/drawing/2014/main" id="{02834372-3C2C-0C7F-7015-A6E22DFBCAB4}"/>
                </a:ext>
              </a:extLst>
            </p:cNvPr>
            <p:cNvSpPr/>
            <p:nvPr/>
          </p:nvSpPr>
          <p:spPr>
            <a:xfrm>
              <a:off x="4275600" y="2333125"/>
              <a:ext cx="62225" cy="53450"/>
            </a:xfrm>
            <a:custGeom>
              <a:avLst/>
              <a:gdLst/>
              <a:ahLst/>
              <a:cxnLst/>
              <a:rect l="l" t="t" r="r" b="b"/>
              <a:pathLst>
                <a:path w="2489" h="2138" extrusionOk="0">
                  <a:moveTo>
                    <a:pt x="1066" y="1"/>
                  </a:moveTo>
                  <a:cubicBezTo>
                    <a:pt x="472" y="1"/>
                    <a:pt x="1" y="480"/>
                    <a:pt x="1" y="1066"/>
                  </a:cubicBezTo>
                  <a:cubicBezTo>
                    <a:pt x="1" y="1709"/>
                    <a:pt x="526" y="2137"/>
                    <a:pt x="1072" y="2137"/>
                  </a:cubicBezTo>
                  <a:cubicBezTo>
                    <a:pt x="1333" y="2137"/>
                    <a:pt x="1598" y="2040"/>
                    <a:pt x="1813" y="1822"/>
                  </a:cubicBezTo>
                  <a:cubicBezTo>
                    <a:pt x="2488" y="1147"/>
                    <a:pt x="2017" y="1"/>
                    <a:pt x="1066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4" name="Google Shape;10967;p65">
              <a:extLst>
                <a:ext uri="{FF2B5EF4-FFF2-40B4-BE49-F238E27FC236}">
                  <a16:creationId xmlns:a16="http://schemas.microsoft.com/office/drawing/2014/main" id="{D8AF6A73-A7FE-32DC-2A2B-FC93DABE2D4A}"/>
                </a:ext>
              </a:extLst>
            </p:cNvPr>
            <p:cNvSpPr/>
            <p:nvPr/>
          </p:nvSpPr>
          <p:spPr>
            <a:xfrm>
              <a:off x="42756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6" y="0"/>
                  </a:cubicBezTo>
                  <a:cubicBezTo>
                    <a:pt x="472" y="0"/>
                    <a:pt x="1" y="480"/>
                    <a:pt x="1" y="1065"/>
                  </a:cubicBezTo>
                  <a:cubicBezTo>
                    <a:pt x="1" y="1709"/>
                    <a:pt x="526" y="2137"/>
                    <a:pt x="1074" y="2137"/>
                  </a:cubicBezTo>
                  <a:cubicBezTo>
                    <a:pt x="1336" y="2137"/>
                    <a:pt x="1604" y="2039"/>
                    <a:pt x="1822" y="1821"/>
                  </a:cubicBezTo>
                  <a:cubicBezTo>
                    <a:pt x="2494" y="1149"/>
                    <a:pt x="2020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5" name="Google Shape;10968;p65">
              <a:extLst>
                <a:ext uri="{FF2B5EF4-FFF2-40B4-BE49-F238E27FC236}">
                  <a16:creationId xmlns:a16="http://schemas.microsoft.com/office/drawing/2014/main" id="{5FDA910A-01DE-600D-6ADC-C4357E926A71}"/>
                </a:ext>
              </a:extLst>
            </p:cNvPr>
            <p:cNvSpPr/>
            <p:nvPr/>
          </p:nvSpPr>
          <p:spPr>
            <a:xfrm>
              <a:off x="4199400" y="2485550"/>
              <a:ext cx="62200" cy="53300"/>
            </a:xfrm>
            <a:custGeom>
              <a:avLst/>
              <a:gdLst/>
              <a:ahLst/>
              <a:cxnLst/>
              <a:rect l="l" t="t" r="r" b="b"/>
              <a:pathLst>
                <a:path w="2488" h="2132" extrusionOk="0">
                  <a:moveTo>
                    <a:pt x="1065" y="1"/>
                  </a:moveTo>
                  <a:cubicBezTo>
                    <a:pt x="480" y="1"/>
                    <a:pt x="0" y="472"/>
                    <a:pt x="0" y="1066"/>
                  </a:cubicBezTo>
                  <a:cubicBezTo>
                    <a:pt x="0" y="1708"/>
                    <a:pt x="522" y="2131"/>
                    <a:pt x="1069" y="2131"/>
                  </a:cubicBezTo>
                  <a:cubicBezTo>
                    <a:pt x="1333" y="2131"/>
                    <a:pt x="1602" y="2033"/>
                    <a:pt x="1821" y="1814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6" name="Google Shape;10969;p65">
              <a:extLst>
                <a:ext uri="{FF2B5EF4-FFF2-40B4-BE49-F238E27FC236}">
                  <a16:creationId xmlns:a16="http://schemas.microsoft.com/office/drawing/2014/main" id="{03C2E393-D41F-D42D-E6AB-A6B3B9EB932C}"/>
                </a:ext>
              </a:extLst>
            </p:cNvPr>
            <p:cNvSpPr/>
            <p:nvPr/>
          </p:nvSpPr>
          <p:spPr>
            <a:xfrm>
              <a:off x="4199400" y="2333125"/>
              <a:ext cx="62200" cy="53450"/>
            </a:xfrm>
            <a:custGeom>
              <a:avLst/>
              <a:gdLst/>
              <a:ahLst/>
              <a:cxnLst/>
              <a:rect l="l" t="t" r="r" b="b"/>
              <a:pathLst>
                <a:path w="2488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5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88" y="1147"/>
                    <a:pt x="2016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7" name="Google Shape;10970;p65">
              <a:extLst>
                <a:ext uri="{FF2B5EF4-FFF2-40B4-BE49-F238E27FC236}">
                  <a16:creationId xmlns:a16="http://schemas.microsoft.com/office/drawing/2014/main" id="{D14990EF-4A6E-1217-F700-2A3C1B2107E0}"/>
                </a:ext>
              </a:extLst>
            </p:cNvPr>
            <p:cNvSpPr/>
            <p:nvPr/>
          </p:nvSpPr>
          <p:spPr>
            <a:xfrm>
              <a:off x="4199400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5" y="0"/>
                  </a:moveTo>
                  <a:cubicBezTo>
                    <a:pt x="1072" y="0"/>
                    <a:pt x="1068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1" y="2039"/>
                    <a:pt x="1829" y="1821"/>
                  </a:cubicBezTo>
                  <a:cubicBezTo>
                    <a:pt x="2493" y="1149"/>
                    <a:pt x="2019" y="0"/>
                    <a:pt x="1075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8" name="Google Shape;10971;p65">
              <a:extLst>
                <a:ext uri="{FF2B5EF4-FFF2-40B4-BE49-F238E27FC236}">
                  <a16:creationId xmlns:a16="http://schemas.microsoft.com/office/drawing/2014/main" id="{98041432-E77F-F69C-B665-E707115FE92B}"/>
                </a:ext>
              </a:extLst>
            </p:cNvPr>
            <p:cNvSpPr/>
            <p:nvPr/>
          </p:nvSpPr>
          <p:spPr>
            <a:xfrm>
              <a:off x="4123175" y="2333125"/>
              <a:ext cx="62425" cy="53450"/>
            </a:xfrm>
            <a:custGeom>
              <a:avLst/>
              <a:gdLst/>
              <a:ahLst/>
              <a:cxnLst/>
              <a:rect l="l" t="t" r="r" b="b"/>
              <a:pathLst>
                <a:path w="2497" h="2138" extrusionOk="0">
                  <a:moveTo>
                    <a:pt x="1065" y="1"/>
                  </a:moveTo>
                  <a:cubicBezTo>
                    <a:pt x="480" y="1"/>
                    <a:pt x="0" y="480"/>
                    <a:pt x="0" y="1066"/>
                  </a:cubicBezTo>
                  <a:cubicBezTo>
                    <a:pt x="0" y="1709"/>
                    <a:pt x="526" y="2137"/>
                    <a:pt x="1074" y="2137"/>
                  </a:cubicBezTo>
                  <a:cubicBezTo>
                    <a:pt x="1336" y="2137"/>
                    <a:pt x="1603" y="2040"/>
                    <a:pt x="1821" y="1822"/>
                  </a:cubicBezTo>
                  <a:cubicBezTo>
                    <a:pt x="2496" y="1147"/>
                    <a:pt x="2017" y="1"/>
                    <a:pt x="1065" y="1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39" name="Google Shape;10972;p65">
              <a:extLst>
                <a:ext uri="{FF2B5EF4-FFF2-40B4-BE49-F238E27FC236}">
                  <a16:creationId xmlns:a16="http://schemas.microsoft.com/office/drawing/2014/main" id="{D67DF8E6-A85D-0DEC-95FD-1E408B9089A9}"/>
                </a:ext>
              </a:extLst>
            </p:cNvPr>
            <p:cNvSpPr/>
            <p:nvPr/>
          </p:nvSpPr>
          <p:spPr>
            <a:xfrm>
              <a:off x="4123175" y="2256925"/>
              <a:ext cx="62350" cy="53425"/>
            </a:xfrm>
            <a:custGeom>
              <a:avLst/>
              <a:gdLst/>
              <a:ahLst/>
              <a:cxnLst/>
              <a:rect l="l" t="t" r="r" b="b"/>
              <a:pathLst>
                <a:path w="2494" h="2137" extrusionOk="0">
                  <a:moveTo>
                    <a:pt x="1076" y="0"/>
                  </a:moveTo>
                  <a:cubicBezTo>
                    <a:pt x="1072" y="0"/>
                    <a:pt x="1069" y="0"/>
                    <a:pt x="1065" y="0"/>
                  </a:cubicBezTo>
                  <a:cubicBezTo>
                    <a:pt x="480" y="0"/>
                    <a:pt x="0" y="480"/>
                    <a:pt x="0" y="1065"/>
                  </a:cubicBezTo>
                  <a:cubicBezTo>
                    <a:pt x="0" y="1709"/>
                    <a:pt x="529" y="2137"/>
                    <a:pt x="1080" y="2137"/>
                  </a:cubicBezTo>
                  <a:cubicBezTo>
                    <a:pt x="1343" y="2137"/>
                    <a:pt x="1612" y="2039"/>
                    <a:pt x="1830" y="1821"/>
                  </a:cubicBezTo>
                  <a:cubicBezTo>
                    <a:pt x="2494" y="1149"/>
                    <a:pt x="2028" y="0"/>
                    <a:pt x="1076" y="0"/>
                  </a:cubicBezTo>
                  <a:close/>
                </a:path>
              </a:pathLst>
            </a:custGeom>
            <a:solidFill>
              <a:srgbClr val="5F819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1840" name="Google Shape;10973;p65">
            <a:extLst>
              <a:ext uri="{FF2B5EF4-FFF2-40B4-BE49-F238E27FC236}">
                <a16:creationId xmlns:a16="http://schemas.microsoft.com/office/drawing/2014/main" id="{83001595-71E7-DCAB-6BCF-2407296B6207}"/>
              </a:ext>
            </a:extLst>
          </p:cNvPr>
          <p:cNvGrpSpPr/>
          <p:nvPr/>
        </p:nvGrpSpPr>
        <p:grpSpPr>
          <a:xfrm>
            <a:off x="7810075" y="1608737"/>
            <a:ext cx="3454453" cy="1840313"/>
            <a:chOff x="233350" y="949250"/>
            <a:chExt cx="7137300" cy="3802300"/>
          </a:xfrm>
        </p:grpSpPr>
        <p:sp>
          <p:nvSpPr>
            <p:cNvPr id="1841" name="Google Shape;10974;p65">
              <a:extLst>
                <a:ext uri="{FF2B5EF4-FFF2-40B4-BE49-F238E27FC236}">
                  <a16:creationId xmlns:a16="http://schemas.microsoft.com/office/drawing/2014/main" id="{3ED15DAB-AFAA-8C5A-8694-116E1CB66FB0}"/>
                </a:ext>
              </a:extLst>
            </p:cNvPr>
            <p:cNvSpPr/>
            <p:nvPr/>
          </p:nvSpPr>
          <p:spPr>
            <a:xfrm>
              <a:off x="4428450" y="2808675"/>
              <a:ext cx="1478900" cy="330100"/>
            </a:xfrm>
            <a:custGeom>
              <a:avLst/>
              <a:gdLst/>
              <a:ahLst/>
              <a:cxnLst/>
              <a:rect l="l" t="t" r="r" b="b"/>
              <a:pathLst>
                <a:path w="59156" h="13204" extrusionOk="0">
                  <a:moveTo>
                    <a:pt x="1" y="0"/>
                  </a:moveTo>
                  <a:lnTo>
                    <a:pt x="1" y="0"/>
                  </a:lnTo>
                  <a:close/>
                  <a:moveTo>
                    <a:pt x="59155" y="13203"/>
                  </a:move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42" name="Google Shape;10975;p65">
              <a:extLst>
                <a:ext uri="{FF2B5EF4-FFF2-40B4-BE49-F238E27FC236}">
                  <a16:creationId xmlns:a16="http://schemas.microsoft.com/office/drawing/2014/main" id="{29A8D20F-9331-D39E-73D7-50BD41D3A23A}"/>
                </a:ext>
              </a:extLst>
            </p:cNvPr>
            <p:cNvSpPr/>
            <p:nvPr/>
          </p:nvSpPr>
          <p:spPr>
            <a:xfrm>
              <a:off x="2909400" y="1076125"/>
              <a:ext cx="4118650" cy="3109225"/>
            </a:xfrm>
            <a:custGeom>
              <a:avLst/>
              <a:gdLst/>
              <a:ahLst/>
              <a:cxnLst/>
              <a:rect l="l" t="t" r="r" b="b"/>
              <a:pathLst>
                <a:path w="164746" h="124369" extrusionOk="0">
                  <a:moveTo>
                    <a:pt x="49520" y="11070"/>
                  </a:moveTo>
                  <a:cubicBezTo>
                    <a:pt x="49737" y="11070"/>
                    <a:pt x="49861" y="11136"/>
                    <a:pt x="49875" y="11358"/>
                  </a:cubicBezTo>
                  <a:cubicBezTo>
                    <a:pt x="49875" y="11575"/>
                    <a:pt x="49818" y="11698"/>
                    <a:pt x="49684" y="11698"/>
                  </a:cubicBezTo>
                  <a:cubicBezTo>
                    <a:pt x="49636" y="11698"/>
                    <a:pt x="49580" y="11683"/>
                    <a:pt x="49512" y="11651"/>
                  </a:cubicBezTo>
                  <a:cubicBezTo>
                    <a:pt x="49305" y="11565"/>
                    <a:pt x="49115" y="11444"/>
                    <a:pt x="48925" y="11323"/>
                  </a:cubicBezTo>
                  <a:lnTo>
                    <a:pt x="49339" y="11081"/>
                  </a:lnTo>
                  <a:cubicBezTo>
                    <a:pt x="49405" y="11074"/>
                    <a:pt x="49465" y="11070"/>
                    <a:pt x="49520" y="11070"/>
                  </a:cubicBezTo>
                  <a:close/>
                  <a:moveTo>
                    <a:pt x="46983" y="11081"/>
                  </a:moveTo>
                  <a:cubicBezTo>
                    <a:pt x="47014" y="11081"/>
                    <a:pt x="47051" y="11087"/>
                    <a:pt x="47093" y="11098"/>
                  </a:cubicBezTo>
                  <a:cubicBezTo>
                    <a:pt x="47369" y="11185"/>
                    <a:pt x="47870" y="11168"/>
                    <a:pt x="47767" y="11686"/>
                  </a:cubicBezTo>
                  <a:cubicBezTo>
                    <a:pt x="47732" y="11893"/>
                    <a:pt x="47888" y="12274"/>
                    <a:pt x="47490" y="12343"/>
                  </a:cubicBezTo>
                  <a:cubicBezTo>
                    <a:pt x="47110" y="12222"/>
                    <a:pt x="46834" y="11893"/>
                    <a:pt x="46799" y="11496"/>
                  </a:cubicBezTo>
                  <a:cubicBezTo>
                    <a:pt x="46784" y="11302"/>
                    <a:pt x="46782" y="11081"/>
                    <a:pt x="46983" y="11081"/>
                  </a:cubicBezTo>
                  <a:close/>
                  <a:moveTo>
                    <a:pt x="38158" y="11530"/>
                  </a:moveTo>
                  <a:cubicBezTo>
                    <a:pt x="38279" y="11530"/>
                    <a:pt x="38417" y="11703"/>
                    <a:pt x="38642" y="11876"/>
                  </a:cubicBezTo>
                  <a:cubicBezTo>
                    <a:pt x="38366" y="12118"/>
                    <a:pt x="38089" y="12360"/>
                    <a:pt x="37778" y="12585"/>
                  </a:cubicBezTo>
                  <a:cubicBezTo>
                    <a:pt x="35549" y="13967"/>
                    <a:pt x="35514" y="15903"/>
                    <a:pt x="37692" y="17268"/>
                  </a:cubicBezTo>
                  <a:cubicBezTo>
                    <a:pt x="38003" y="17458"/>
                    <a:pt x="38227" y="17631"/>
                    <a:pt x="38158" y="18080"/>
                  </a:cubicBezTo>
                  <a:cubicBezTo>
                    <a:pt x="38106" y="18529"/>
                    <a:pt x="37951" y="18599"/>
                    <a:pt x="37553" y="18737"/>
                  </a:cubicBezTo>
                  <a:cubicBezTo>
                    <a:pt x="36568" y="19117"/>
                    <a:pt x="36309" y="19981"/>
                    <a:pt x="36378" y="20949"/>
                  </a:cubicBezTo>
                  <a:cubicBezTo>
                    <a:pt x="36427" y="21679"/>
                    <a:pt x="36279" y="22143"/>
                    <a:pt x="35819" y="22143"/>
                  </a:cubicBezTo>
                  <a:cubicBezTo>
                    <a:pt x="35625" y="22143"/>
                    <a:pt x="35377" y="22061"/>
                    <a:pt x="35065" y="21882"/>
                  </a:cubicBezTo>
                  <a:cubicBezTo>
                    <a:pt x="34913" y="21798"/>
                    <a:pt x="34745" y="21754"/>
                    <a:pt x="34578" y="21754"/>
                  </a:cubicBezTo>
                  <a:cubicBezTo>
                    <a:pt x="34403" y="21754"/>
                    <a:pt x="34230" y="21802"/>
                    <a:pt x="34080" y="21899"/>
                  </a:cubicBezTo>
                  <a:cubicBezTo>
                    <a:pt x="33134" y="22372"/>
                    <a:pt x="32094" y="22613"/>
                    <a:pt x="31041" y="22613"/>
                  </a:cubicBezTo>
                  <a:cubicBezTo>
                    <a:pt x="30747" y="22613"/>
                    <a:pt x="30451" y="22594"/>
                    <a:pt x="30157" y="22556"/>
                  </a:cubicBezTo>
                  <a:cubicBezTo>
                    <a:pt x="29915" y="22521"/>
                    <a:pt x="29759" y="22608"/>
                    <a:pt x="29829" y="22262"/>
                  </a:cubicBezTo>
                  <a:lnTo>
                    <a:pt x="29829" y="22262"/>
                  </a:lnTo>
                  <a:lnTo>
                    <a:pt x="29829" y="22279"/>
                  </a:lnTo>
                  <a:cubicBezTo>
                    <a:pt x="29898" y="21986"/>
                    <a:pt x="29984" y="21882"/>
                    <a:pt x="30364" y="21830"/>
                  </a:cubicBezTo>
                  <a:cubicBezTo>
                    <a:pt x="31505" y="21675"/>
                    <a:pt x="32836" y="21467"/>
                    <a:pt x="33354" y="20361"/>
                  </a:cubicBezTo>
                  <a:cubicBezTo>
                    <a:pt x="33821" y="19342"/>
                    <a:pt x="33872" y="18184"/>
                    <a:pt x="34927" y="17458"/>
                  </a:cubicBezTo>
                  <a:cubicBezTo>
                    <a:pt x="35238" y="17216"/>
                    <a:pt x="34978" y="16836"/>
                    <a:pt x="34667" y="16594"/>
                  </a:cubicBezTo>
                  <a:cubicBezTo>
                    <a:pt x="33216" y="15436"/>
                    <a:pt x="33907" y="14572"/>
                    <a:pt x="35099" y="13846"/>
                  </a:cubicBezTo>
                  <a:cubicBezTo>
                    <a:pt x="35860" y="13380"/>
                    <a:pt x="36724" y="13086"/>
                    <a:pt x="37018" y="12066"/>
                  </a:cubicBezTo>
                  <a:cubicBezTo>
                    <a:pt x="37156" y="11582"/>
                    <a:pt x="37709" y="11548"/>
                    <a:pt x="38158" y="11530"/>
                  </a:cubicBezTo>
                  <a:close/>
                  <a:moveTo>
                    <a:pt x="46802" y="32066"/>
                  </a:moveTo>
                  <a:cubicBezTo>
                    <a:pt x="47245" y="32066"/>
                    <a:pt x="47720" y="32469"/>
                    <a:pt x="47888" y="33080"/>
                  </a:cubicBezTo>
                  <a:cubicBezTo>
                    <a:pt x="48059" y="33754"/>
                    <a:pt x="48393" y="34225"/>
                    <a:pt x="48918" y="34225"/>
                  </a:cubicBezTo>
                  <a:cubicBezTo>
                    <a:pt x="49080" y="34225"/>
                    <a:pt x="49261" y="34181"/>
                    <a:pt x="49460" y="34083"/>
                  </a:cubicBezTo>
                  <a:cubicBezTo>
                    <a:pt x="50103" y="33764"/>
                    <a:pt x="50701" y="33627"/>
                    <a:pt x="51269" y="33627"/>
                  </a:cubicBezTo>
                  <a:cubicBezTo>
                    <a:pt x="52489" y="33627"/>
                    <a:pt x="53566" y="34260"/>
                    <a:pt x="54628" y="35085"/>
                  </a:cubicBezTo>
                  <a:cubicBezTo>
                    <a:pt x="54818" y="35223"/>
                    <a:pt x="55008" y="35396"/>
                    <a:pt x="55163" y="35586"/>
                  </a:cubicBezTo>
                  <a:cubicBezTo>
                    <a:pt x="55543" y="36053"/>
                    <a:pt x="56684" y="36070"/>
                    <a:pt x="56321" y="36917"/>
                  </a:cubicBezTo>
                  <a:lnTo>
                    <a:pt x="56321" y="36934"/>
                  </a:lnTo>
                  <a:cubicBezTo>
                    <a:pt x="56149" y="37350"/>
                    <a:pt x="55751" y="37415"/>
                    <a:pt x="55318" y="37415"/>
                  </a:cubicBezTo>
                  <a:cubicBezTo>
                    <a:pt x="55122" y="37415"/>
                    <a:pt x="54919" y="37401"/>
                    <a:pt x="54727" y="37401"/>
                  </a:cubicBezTo>
                  <a:cubicBezTo>
                    <a:pt x="54620" y="37401"/>
                    <a:pt x="54517" y="37405"/>
                    <a:pt x="54420" y="37418"/>
                  </a:cubicBezTo>
                  <a:cubicBezTo>
                    <a:pt x="54278" y="37432"/>
                    <a:pt x="54136" y="37440"/>
                    <a:pt x="53995" y="37440"/>
                  </a:cubicBezTo>
                  <a:cubicBezTo>
                    <a:pt x="53292" y="37440"/>
                    <a:pt x="52602" y="37262"/>
                    <a:pt x="51983" y="36917"/>
                  </a:cubicBezTo>
                  <a:cubicBezTo>
                    <a:pt x="51332" y="36539"/>
                    <a:pt x="50680" y="36418"/>
                    <a:pt x="50028" y="36418"/>
                  </a:cubicBezTo>
                  <a:cubicBezTo>
                    <a:pt x="48867" y="36418"/>
                    <a:pt x="47706" y="36802"/>
                    <a:pt x="46545" y="36802"/>
                  </a:cubicBezTo>
                  <a:cubicBezTo>
                    <a:pt x="46302" y="36802"/>
                    <a:pt x="46058" y="36785"/>
                    <a:pt x="45814" y="36744"/>
                  </a:cubicBezTo>
                  <a:cubicBezTo>
                    <a:pt x="44881" y="36588"/>
                    <a:pt x="44552" y="36105"/>
                    <a:pt x="44673" y="35241"/>
                  </a:cubicBezTo>
                  <a:cubicBezTo>
                    <a:pt x="44846" y="34083"/>
                    <a:pt x="45537" y="33115"/>
                    <a:pt x="46263" y="32320"/>
                  </a:cubicBezTo>
                  <a:cubicBezTo>
                    <a:pt x="46417" y="32145"/>
                    <a:pt x="46607" y="32066"/>
                    <a:pt x="46802" y="32066"/>
                  </a:cubicBezTo>
                  <a:close/>
                  <a:moveTo>
                    <a:pt x="64554" y="31370"/>
                  </a:moveTo>
                  <a:cubicBezTo>
                    <a:pt x="64860" y="31370"/>
                    <a:pt x="65185" y="31437"/>
                    <a:pt x="65532" y="31594"/>
                  </a:cubicBezTo>
                  <a:cubicBezTo>
                    <a:pt x="65878" y="31767"/>
                    <a:pt x="65930" y="32251"/>
                    <a:pt x="65636" y="32493"/>
                  </a:cubicBezTo>
                  <a:cubicBezTo>
                    <a:pt x="64063" y="34065"/>
                    <a:pt x="64184" y="35085"/>
                    <a:pt x="65895" y="36588"/>
                  </a:cubicBezTo>
                  <a:cubicBezTo>
                    <a:pt x="67243" y="37815"/>
                    <a:pt x="67762" y="39544"/>
                    <a:pt x="68211" y="41237"/>
                  </a:cubicBezTo>
                  <a:cubicBezTo>
                    <a:pt x="68364" y="41802"/>
                    <a:pt x="68057" y="41990"/>
                    <a:pt x="67435" y="41990"/>
                  </a:cubicBezTo>
                  <a:cubicBezTo>
                    <a:pt x="67353" y="41990"/>
                    <a:pt x="67266" y="41986"/>
                    <a:pt x="67174" y="41980"/>
                  </a:cubicBezTo>
                  <a:cubicBezTo>
                    <a:pt x="66517" y="41064"/>
                    <a:pt x="64271" y="41825"/>
                    <a:pt x="64547" y="39146"/>
                  </a:cubicBezTo>
                  <a:lnTo>
                    <a:pt x="64547" y="39146"/>
                  </a:lnTo>
                  <a:lnTo>
                    <a:pt x="64547" y="39181"/>
                  </a:lnTo>
                  <a:cubicBezTo>
                    <a:pt x="64685" y="37885"/>
                    <a:pt x="63113" y="36295"/>
                    <a:pt x="62076" y="35050"/>
                  </a:cubicBezTo>
                  <a:cubicBezTo>
                    <a:pt x="61281" y="34100"/>
                    <a:pt x="61385" y="33288"/>
                    <a:pt x="62076" y="32683"/>
                  </a:cubicBezTo>
                  <a:cubicBezTo>
                    <a:pt x="62786" y="32052"/>
                    <a:pt x="63577" y="31370"/>
                    <a:pt x="64554" y="31370"/>
                  </a:cubicBezTo>
                  <a:close/>
                  <a:moveTo>
                    <a:pt x="30705" y="33465"/>
                  </a:moveTo>
                  <a:cubicBezTo>
                    <a:pt x="30874" y="33465"/>
                    <a:pt x="31043" y="33637"/>
                    <a:pt x="31090" y="33720"/>
                  </a:cubicBezTo>
                  <a:cubicBezTo>
                    <a:pt x="31920" y="35120"/>
                    <a:pt x="33579" y="35258"/>
                    <a:pt x="34719" y="36226"/>
                  </a:cubicBezTo>
                  <a:cubicBezTo>
                    <a:pt x="36205" y="37487"/>
                    <a:pt x="36275" y="39354"/>
                    <a:pt x="37191" y="40822"/>
                  </a:cubicBezTo>
                  <a:cubicBezTo>
                    <a:pt x="37484" y="41289"/>
                    <a:pt x="37571" y="41980"/>
                    <a:pt x="37968" y="42274"/>
                  </a:cubicBezTo>
                  <a:cubicBezTo>
                    <a:pt x="38403" y="42594"/>
                    <a:pt x="39075" y="43217"/>
                    <a:pt x="39556" y="43217"/>
                  </a:cubicBezTo>
                  <a:cubicBezTo>
                    <a:pt x="39725" y="43217"/>
                    <a:pt x="39870" y="43141"/>
                    <a:pt x="39973" y="42948"/>
                  </a:cubicBezTo>
                  <a:cubicBezTo>
                    <a:pt x="40336" y="42274"/>
                    <a:pt x="41234" y="41289"/>
                    <a:pt x="40543" y="40183"/>
                  </a:cubicBezTo>
                  <a:cubicBezTo>
                    <a:pt x="40301" y="39803"/>
                    <a:pt x="39610" y="39215"/>
                    <a:pt x="40284" y="38904"/>
                  </a:cubicBezTo>
                  <a:cubicBezTo>
                    <a:pt x="40592" y="38765"/>
                    <a:pt x="41024" y="38302"/>
                    <a:pt x="41439" y="38302"/>
                  </a:cubicBezTo>
                  <a:cubicBezTo>
                    <a:pt x="41746" y="38302"/>
                    <a:pt x="42043" y="38557"/>
                    <a:pt x="42271" y="39388"/>
                  </a:cubicBezTo>
                  <a:cubicBezTo>
                    <a:pt x="42782" y="41200"/>
                    <a:pt x="43748" y="43327"/>
                    <a:pt x="46038" y="43327"/>
                  </a:cubicBezTo>
                  <a:cubicBezTo>
                    <a:pt x="46150" y="43327"/>
                    <a:pt x="46266" y="43321"/>
                    <a:pt x="46384" y="43311"/>
                  </a:cubicBezTo>
                  <a:cubicBezTo>
                    <a:pt x="46463" y="43304"/>
                    <a:pt x="46542" y="43300"/>
                    <a:pt x="46620" y="43300"/>
                  </a:cubicBezTo>
                  <a:cubicBezTo>
                    <a:pt x="47585" y="43300"/>
                    <a:pt x="48526" y="43802"/>
                    <a:pt x="49487" y="43802"/>
                  </a:cubicBezTo>
                  <a:cubicBezTo>
                    <a:pt x="49955" y="43802"/>
                    <a:pt x="50429" y="43683"/>
                    <a:pt x="50912" y="43328"/>
                  </a:cubicBezTo>
                  <a:cubicBezTo>
                    <a:pt x="51106" y="43191"/>
                    <a:pt x="51242" y="43135"/>
                    <a:pt x="51336" y="43135"/>
                  </a:cubicBezTo>
                  <a:cubicBezTo>
                    <a:pt x="51643" y="43135"/>
                    <a:pt x="51508" y="43736"/>
                    <a:pt x="51534" y="44054"/>
                  </a:cubicBezTo>
                  <a:cubicBezTo>
                    <a:pt x="51845" y="45488"/>
                    <a:pt x="50843" y="46629"/>
                    <a:pt x="50618" y="47942"/>
                  </a:cubicBezTo>
                  <a:cubicBezTo>
                    <a:pt x="50585" y="48144"/>
                    <a:pt x="50240" y="48444"/>
                    <a:pt x="50046" y="48444"/>
                  </a:cubicBezTo>
                  <a:cubicBezTo>
                    <a:pt x="50041" y="48444"/>
                    <a:pt x="50036" y="48444"/>
                    <a:pt x="50031" y="48444"/>
                  </a:cubicBezTo>
                  <a:cubicBezTo>
                    <a:pt x="49523" y="48389"/>
                    <a:pt x="49010" y="48372"/>
                    <a:pt x="48494" y="48372"/>
                  </a:cubicBezTo>
                  <a:cubicBezTo>
                    <a:pt x="47534" y="48372"/>
                    <a:pt x="46564" y="48433"/>
                    <a:pt x="45600" y="48433"/>
                  </a:cubicBezTo>
                  <a:cubicBezTo>
                    <a:pt x="43779" y="48433"/>
                    <a:pt x="41984" y="48215"/>
                    <a:pt x="40336" y="46957"/>
                  </a:cubicBezTo>
                  <a:cubicBezTo>
                    <a:pt x="40033" y="46726"/>
                    <a:pt x="39675" y="46623"/>
                    <a:pt x="39308" y="46623"/>
                  </a:cubicBezTo>
                  <a:cubicBezTo>
                    <a:pt x="38250" y="46623"/>
                    <a:pt x="37116" y="47478"/>
                    <a:pt x="37000" y="48582"/>
                  </a:cubicBezTo>
                  <a:cubicBezTo>
                    <a:pt x="36972" y="48947"/>
                    <a:pt x="36796" y="49426"/>
                    <a:pt x="36527" y="49426"/>
                  </a:cubicBezTo>
                  <a:cubicBezTo>
                    <a:pt x="36465" y="49426"/>
                    <a:pt x="36398" y="49400"/>
                    <a:pt x="36326" y="49342"/>
                  </a:cubicBezTo>
                  <a:cubicBezTo>
                    <a:pt x="35376" y="48582"/>
                    <a:pt x="34045" y="48772"/>
                    <a:pt x="33147" y="47752"/>
                  </a:cubicBezTo>
                  <a:cubicBezTo>
                    <a:pt x="32334" y="46819"/>
                    <a:pt x="30900" y="46785"/>
                    <a:pt x="29673" y="46525"/>
                  </a:cubicBezTo>
                  <a:cubicBezTo>
                    <a:pt x="28913" y="46370"/>
                    <a:pt x="27807" y="46422"/>
                    <a:pt x="28567" y="44953"/>
                  </a:cubicBezTo>
                  <a:cubicBezTo>
                    <a:pt x="28982" y="44158"/>
                    <a:pt x="29034" y="43000"/>
                    <a:pt x="28515" y="42257"/>
                  </a:cubicBezTo>
                  <a:cubicBezTo>
                    <a:pt x="28230" y="41853"/>
                    <a:pt x="27848" y="41722"/>
                    <a:pt x="27412" y="41722"/>
                  </a:cubicBezTo>
                  <a:cubicBezTo>
                    <a:pt x="27028" y="41722"/>
                    <a:pt x="26602" y="41823"/>
                    <a:pt x="26165" y="41928"/>
                  </a:cubicBezTo>
                  <a:cubicBezTo>
                    <a:pt x="25497" y="42091"/>
                    <a:pt x="24818" y="42128"/>
                    <a:pt x="24133" y="42128"/>
                  </a:cubicBezTo>
                  <a:cubicBezTo>
                    <a:pt x="23569" y="42128"/>
                    <a:pt x="23001" y="42103"/>
                    <a:pt x="22432" y="42103"/>
                  </a:cubicBezTo>
                  <a:cubicBezTo>
                    <a:pt x="21707" y="42103"/>
                    <a:pt x="20980" y="42143"/>
                    <a:pt x="20255" y="42326"/>
                  </a:cubicBezTo>
                  <a:cubicBezTo>
                    <a:pt x="19287" y="42585"/>
                    <a:pt x="18319" y="42862"/>
                    <a:pt x="17559" y="43380"/>
                  </a:cubicBezTo>
                  <a:cubicBezTo>
                    <a:pt x="17082" y="43705"/>
                    <a:pt x="16613" y="43798"/>
                    <a:pt x="16149" y="43798"/>
                  </a:cubicBezTo>
                  <a:cubicBezTo>
                    <a:pt x="15538" y="43798"/>
                    <a:pt x="14935" y="43638"/>
                    <a:pt x="14326" y="43638"/>
                  </a:cubicBezTo>
                  <a:cubicBezTo>
                    <a:pt x="14292" y="43638"/>
                    <a:pt x="14258" y="43638"/>
                    <a:pt x="14223" y="43639"/>
                  </a:cubicBezTo>
                  <a:cubicBezTo>
                    <a:pt x="14120" y="43622"/>
                    <a:pt x="14016" y="43570"/>
                    <a:pt x="13930" y="43466"/>
                  </a:cubicBezTo>
                  <a:cubicBezTo>
                    <a:pt x="14043" y="43169"/>
                    <a:pt x="14308" y="43115"/>
                    <a:pt x="14562" y="43115"/>
                  </a:cubicBezTo>
                  <a:cubicBezTo>
                    <a:pt x="14617" y="43115"/>
                    <a:pt x="14672" y="43118"/>
                    <a:pt x="14725" y="43121"/>
                  </a:cubicBezTo>
                  <a:cubicBezTo>
                    <a:pt x="14838" y="43129"/>
                    <a:pt x="14949" y="43134"/>
                    <a:pt x="15058" y="43134"/>
                  </a:cubicBezTo>
                  <a:cubicBezTo>
                    <a:pt x="16723" y="43134"/>
                    <a:pt x="17967" y="42165"/>
                    <a:pt x="18388" y="40771"/>
                  </a:cubicBezTo>
                  <a:cubicBezTo>
                    <a:pt x="18976" y="38921"/>
                    <a:pt x="20808" y="38282"/>
                    <a:pt x="21482" y="37090"/>
                  </a:cubicBezTo>
                  <a:cubicBezTo>
                    <a:pt x="22174" y="35865"/>
                    <a:pt x="22770" y="35535"/>
                    <a:pt x="23579" y="35535"/>
                  </a:cubicBezTo>
                  <a:cubicBezTo>
                    <a:pt x="23899" y="35535"/>
                    <a:pt x="24254" y="35587"/>
                    <a:pt x="24661" y="35655"/>
                  </a:cubicBezTo>
                  <a:cubicBezTo>
                    <a:pt x="24682" y="35658"/>
                    <a:pt x="24703" y="35660"/>
                    <a:pt x="24725" y="35660"/>
                  </a:cubicBezTo>
                  <a:cubicBezTo>
                    <a:pt x="25065" y="35660"/>
                    <a:pt x="25513" y="35293"/>
                    <a:pt x="25854" y="35033"/>
                  </a:cubicBezTo>
                  <a:cubicBezTo>
                    <a:pt x="26267" y="34730"/>
                    <a:pt x="26584" y="34570"/>
                    <a:pt x="26849" y="34570"/>
                  </a:cubicBezTo>
                  <a:cubicBezTo>
                    <a:pt x="27249" y="34570"/>
                    <a:pt x="27529" y="34935"/>
                    <a:pt x="27841" y="35724"/>
                  </a:cubicBezTo>
                  <a:cubicBezTo>
                    <a:pt x="28325" y="36969"/>
                    <a:pt x="29742" y="37574"/>
                    <a:pt x="30952" y="38161"/>
                  </a:cubicBezTo>
                  <a:cubicBezTo>
                    <a:pt x="31712" y="38524"/>
                    <a:pt x="32732" y="38852"/>
                    <a:pt x="32680" y="39716"/>
                  </a:cubicBezTo>
                  <a:cubicBezTo>
                    <a:pt x="32594" y="40753"/>
                    <a:pt x="31488" y="40546"/>
                    <a:pt x="30710" y="40615"/>
                  </a:cubicBezTo>
                  <a:cubicBezTo>
                    <a:pt x="30312" y="40650"/>
                    <a:pt x="29794" y="40598"/>
                    <a:pt x="29673" y="41134"/>
                  </a:cubicBezTo>
                  <a:cubicBezTo>
                    <a:pt x="29552" y="41669"/>
                    <a:pt x="30036" y="41825"/>
                    <a:pt x="30382" y="42032"/>
                  </a:cubicBezTo>
                  <a:cubicBezTo>
                    <a:pt x="30898" y="42336"/>
                    <a:pt x="31474" y="42934"/>
                    <a:pt x="32011" y="42934"/>
                  </a:cubicBezTo>
                  <a:cubicBezTo>
                    <a:pt x="32175" y="42934"/>
                    <a:pt x="32336" y="42878"/>
                    <a:pt x="32490" y="42741"/>
                  </a:cubicBezTo>
                  <a:cubicBezTo>
                    <a:pt x="33354" y="41963"/>
                    <a:pt x="33890" y="40788"/>
                    <a:pt x="34512" y="39751"/>
                  </a:cubicBezTo>
                  <a:cubicBezTo>
                    <a:pt x="34586" y="39617"/>
                    <a:pt x="34289" y="39329"/>
                    <a:pt x="34602" y="39329"/>
                  </a:cubicBezTo>
                  <a:cubicBezTo>
                    <a:pt x="34653" y="39329"/>
                    <a:pt x="34719" y="39337"/>
                    <a:pt x="34806" y="39354"/>
                  </a:cubicBezTo>
                  <a:cubicBezTo>
                    <a:pt x="34890" y="39373"/>
                    <a:pt x="34965" y="39381"/>
                    <a:pt x="35031" y="39381"/>
                  </a:cubicBezTo>
                  <a:cubicBezTo>
                    <a:pt x="35567" y="39381"/>
                    <a:pt x="35557" y="38814"/>
                    <a:pt x="35341" y="38507"/>
                  </a:cubicBezTo>
                  <a:cubicBezTo>
                    <a:pt x="34806" y="37781"/>
                    <a:pt x="34546" y="36658"/>
                    <a:pt x="33561" y="36468"/>
                  </a:cubicBezTo>
                  <a:cubicBezTo>
                    <a:pt x="32248" y="36208"/>
                    <a:pt x="31591" y="35206"/>
                    <a:pt x="30727" y="34411"/>
                  </a:cubicBezTo>
                  <a:cubicBezTo>
                    <a:pt x="30468" y="34169"/>
                    <a:pt x="30278" y="33910"/>
                    <a:pt x="30485" y="33599"/>
                  </a:cubicBezTo>
                  <a:cubicBezTo>
                    <a:pt x="30551" y="33501"/>
                    <a:pt x="30628" y="33465"/>
                    <a:pt x="30705" y="33465"/>
                  </a:cubicBezTo>
                  <a:close/>
                  <a:moveTo>
                    <a:pt x="65829" y="50622"/>
                  </a:moveTo>
                  <a:cubicBezTo>
                    <a:pt x="66138" y="50622"/>
                    <a:pt x="66376" y="50877"/>
                    <a:pt x="66569" y="51209"/>
                  </a:cubicBezTo>
                  <a:cubicBezTo>
                    <a:pt x="67601" y="52923"/>
                    <a:pt x="68767" y="54401"/>
                    <a:pt x="70703" y="54401"/>
                  </a:cubicBezTo>
                  <a:cubicBezTo>
                    <a:pt x="71167" y="54401"/>
                    <a:pt x="71676" y="54316"/>
                    <a:pt x="72237" y="54129"/>
                  </a:cubicBezTo>
                  <a:cubicBezTo>
                    <a:pt x="72263" y="54119"/>
                    <a:pt x="72291" y="54114"/>
                    <a:pt x="72320" y="54114"/>
                  </a:cubicBezTo>
                  <a:cubicBezTo>
                    <a:pt x="72487" y="54114"/>
                    <a:pt x="72701" y="54260"/>
                    <a:pt x="72877" y="54319"/>
                  </a:cubicBezTo>
                  <a:cubicBezTo>
                    <a:pt x="72687" y="54406"/>
                    <a:pt x="72514" y="54527"/>
                    <a:pt x="72358" y="54665"/>
                  </a:cubicBezTo>
                  <a:lnTo>
                    <a:pt x="72358" y="54682"/>
                  </a:lnTo>
                  <a:cubicBezTo>
                    <a:pt x="71675" y="55659"/>
                    <a:pt x="71022" y="56681"/>
                    <a:pt x="69648" y="56681"/>
                  </a:cubicBezTo>
                  <a:cubicBezTo>
                    <a:pt x="69564" y="56681"/>
                    <a:pt x="69476" y="56678"/>
                    <a:pt x="69386" y="56669"/>
                  </a:cubicBezTo>
                  <a:cubicBezTo>
                    <a:pt x="69196" y="56600"/>
                    <a:pt x="68850" y="56549"/>
                    <a:pt x="68850" y="56445"/>
                  </a:cubicBezTo>
                  <a:cubicBezTo>
                    <a:pt x="68660" y="54216"/>
                    <a:pt x="66258" y="53559"/>
                    <a:pt x="65532" y="51727"/>
                  </a:cubicBezTo>
                  <a:cubicBezTo>
                    <a:pt x="65394" y="51381"/>
                    <a:pt x="64945" y="50932"/>
                    <a:pt x="65584" y="50673"/>
                  </a:cubicBezTo>
                  <a:cubicBezTo>
                    <a:pt x="65670" y="50638"/>
                    <a:pt x="65752" y="50622"/>
                    <a:pt x="65829" y="50622"/>
                  </a:cubicBezTo>
                  <a:close/>
                  <a:moveTo>
                    <a:pt x="50497" y="52695"/>
                  </a:moveTo>
                  <a:lnTo>
                    <a:pt x="50497" y="52695"/>
                  </a:lnTo>
                  <a:cubicBezTo>
                    <a:pt x="51016" y="52885"/>
                    <a:pt x="51863" y="52937"/>
                    <a:pt x="52001" y="53265"/>
                  </a:cubicBezTo>
                  <a:cubicBezTo>
                    <a:pt x="53055" y="55840"/>
                    <a:pt x="55734" y="57464"/>
                    <a:pt x="56114" y="60420"/>
                  </a:cubicBezTo>
                  <a:cubicBezTo>
                    <a:pt x="56252" y="61439"/>
                    <a:pt x="57323" y="61802"/>
                    <a:pt x="57859" y="62580"/>
                  </a:cubicBezTo>
                  <a:cubicBezTo>
                    <a:pt x="59294" y="64654"/>
                    <a:pt x="60106" y="66952"/>
                    <a:pt x="60763" y="69337"/>
                  </a:cubicBezTo>
                  <a:cubicBezTo>
                    <a:pt x="58533" y="67643"/>
                    <a:pt x="56615" y="65656"/>
                    <a:pt x="55336" y="63133"/>
                  </a:cubicBezTo>
                  <a:cubicBezTo>
                    <a:pt x="55198" y="62874"/>
                    <a:pt x="55008" y="62614"/>
                    <a:pt x="55008" y="62355"/>
                  </a:cubicBezTo>
                  <a:cubicBezTo>
                    <a:pt x="54990" y="58916"/>
                    <a:pt x="52139" y="56739"/>
                    <a:pt x="51189" y="53697"/>
                  </a:cubicBezTo>
                  <a:cubicBezTo>
                    <a:pt x="51085" y="53334"/>
                    <a:pt x="50739" y="53040"/>
                    <a:pt x="50497" y="52695"/>
                  </a:cubicBezTo>
                  <a:close/>
                  <a:moveTo>
                    <a:pt x="87976" y="1"/>
                  </a:moveTo>
                  <a:cubicBezTo>
                    <a:pt x="87018" y="1"/>
                    <a:pt x="85745" y="1010"/>
                    <a:pt x="84455" y="1127"/>
                  </a:cubicBezTo>
                  <a:cubicBezTo>
                    <a:pt x="83776" y="1176"/>
                    <a:pt x="83111" y="1512"/>
                    <a:pt x="82448" y="1512"/>
                  </a:cubicBezTo>
                  <a:cubicBezTo>
                    <a:pt x="82403" y="1512"/>
                    <a:pt x="82358" y="1511"/>
                    <a:pt x="82313" y="1507"/>
                  </a:cubicBezTo>
                  <a:cubicBezTo>
                    <a:pt x="82281" y="1506"/>
                    <a:pt x="82250" y="1506"/>
                    <a:pt x="82218" y="1506"/>
                  </a:cubicBezTo>
                  <a:cubicBezTo>
                    <a:pt x="80376" y="1506"/>
                    <a:pt x="79245" y="3375"/>
                    <a:pt x="77443" y="3375"/>
                  </a:cubicBezTo>
                  <a:cubicBezTo>
                    <a:pt x="77340" y="3375"/>
                    <a:pt x="77235" y="3369"/>
                    <a:pt x="77128" y="3356"/>
                  </a:cubicBezTo>
                  <a:cubicBezTo>
                    <a:pt x="77026" y="3344"/>
                    <a:pt x="76928" y="3335"/>
                    <a:pt x="76837" y="3335"/>
                  </a:cubicBezTo>
                  <a:cubicBezTo>
                    <a:pt x="76434" y="3335"/>
                    <a:pt x="76136" y="3491"/>
                    <a:pt x="75953" y="4082"/>
                  </a:cubicBezTo>
                  <a:cubicBezTo>
                    <a:pt x="75843" y="4459"/>
                    <a:pt x="75132" y="4980"/>
                    <a:pt x="74758" y="4980"/>
                  </a:cubicBezTo>
                  <a:cubicBezTo>
                    <a:pt x="74720" y="4980"/>
                    <a:pt x="74687" y="4974"/>
                    <a:pt x="74657" y="4964"/>
                  </a:cubicBezTo>
                  <a:cubicBezTo>
                    <a:pt x="73910" y="4715"/>
                    <a:pt x="73366" y="4590"/>
                    <a:pt x="73013" y="4590"/>
                  </a:cubicBezTo>
                  <a:cubicBezTo>
                    <a:pt x="72190" y="4590"/>
                    <a:pt x="72409" y="5268"/>
                    <a:pt x="73534" y="6623"/>
                  </a:cubicBezTo>
                  <a:cubicBezTo>
                    <a:pt x="73585" y="6692"/>
                    <a:pt x="73499" y="6882"/>
                    <a:pt x="73482" y="7003"/>
                  </a:cubicBezTo>
                  <a:cubicBezTo>
                    <a:pt x="73413" y="6968"/>
                    <a:pt x="73292" y="6951"/>
                    <a:pt x="73240" y="6882"/>
                  </a:cubicBezTo>
                  <a:cubicBezTo>
                    <a:pt x="72877" y="6381"/>
                    <a:pt x="72324" y="5914"/>
                    <a:pt x="72220" y="5344"/>
                  </a:cubicBezTo>
                  <a:cubicBezTo>
                    <a:pt x="72065" y="4531"/>
                    <a:pt x="71961" y="3840"/>
                    <a:pt x="71010" y="3650"/>
                  </a:cubicBezTo>
                  <a:cubicBezTo>
                    <a:pt x="70839" y="3615"/>
                    <a:pt x="70680" y="3599"/>
                    <a:pt x="70533" y="3599"/>
                  </a:cubicBezTo>
                  <a:cubicBezTo>
                    <a:pt x="69359" y="3599"/>
                    <a:pt x="68898" y="4626"/>
                    <a:pt x="68315" y="5517"/>
                  </a:cubicBezTo>
                  <a:cubicBezTo>
                    <a:pt x="67865" y="6208"/>
                    <a:pt x="68349" y="6536"/>
                    <a:pt x="68729" y="6934"/>
                  </a:cubicBezTo>
                  <a:cubicBezTo>
                    <a:pt x="68798" y="7003"/>
                    <a:pt x="68850" y="7089"/>
                    <a:pt x="68902" y="7176"/>
                  </a:cubicBezTo>
                  <a:cubicBezTo>
                    <a:pt x="68817" y="7188"/>
                    <a:pt x="68731" y="7200"/>
                    <a:pt x="68645" y="7200"/>
                  </a:cubicBezTo>
                  <a:cubicBezTo>
                    <a:pt x="68610" y="7200"/>
                    <a:pt x="68575" y="7198"/>
                    <a:pt x="68539" y="7193"/>
                  </a:cubicBezTo>
                  <a:cubicBezTo>
                    <a:pt x="67376" y="7024"/>
                    <a:pt x="66212" y="6691"/>
                    <a:pt x="65033" y="6691"/>
                  </a:cubicBezTo>
                  <a:cubicBezTo>
                    <a:pt x="65003" y="6691"/>
                    <a:pt x="64974" y="6691"/>
                    <a:pt x="64945" y="6692"/>
                  </a:cubicBezTo>
                  <a:cubicBezTo>
                    <a:pt x="64584" y="6692"/>
                    <a:pt x="63909" y="6196"/>
                    <a:pt x="63437" y="6196"/>
                  </a:cubicBezTo>
                  <a:cubicBezTo>
                    <a:pt x="63072" y="6196"/>
                    <a:pt x="62827" y="6492"/>
                    <a:pt x="62940" y="7538"/>
                  </a:cubicBezTo>
                  <a:cubicBezTo>
                    <a:pt x="62940" y="7608"/>
                    <a:pt x="62525" y="7711"/>
                    <a:pt x="62283" y="7798"/>
                  </a:cubicBezTo>
                  <a:cubicBezTo>
                    <a:pt x="61879" y="7955"/>
                    <a:pt x="61464" y="8005"/>
                    <a:pt x="61043" y="8005"/>
                  </a:cubicBezTo>
                  <a:cubicBezTo>
                    <a:pt x="60325" y="8005"/>
                    <a:pt x="59591" y="7860"/>
                    <a:pt x="58870" y="7860"/>
                  </a:cubicBezTo>
                  <a:cubicBezTo>
                    <a:pt x="58295" y="7860"/>
                    <a:pt x="57729" y="7952"/>
                    <a:pt x="57185" y="8282"/>
                  </a:cubicBezTo>
                  <a:cubicBezTo>
                    <a:pt x="56736" y="8610"/>
                    <a:pt x="56304" y="8938"/>
                    <a:pt x="55837" y="9267"/>
                  </a:cubicBezTo>
                  <a:cubicBezTo>
                    <a:pt x="55671" y="9381"/>
                    <a:pt x="55417" y="9527"/>
                    <a:pt x="55226" y="9527"/>
                  </a:cubicBezTo>
                  <a:cubicBezTo>
                    <a:pt x="55100" y="9527"/>
                    <a:pt x="55001" y="9463"/>
                    <a:pt x="54973" y="9284"/>
                  </a:cubicBezTo>
                  <a:cubicBezTo>
                    <a:pt x="54819" y="8258"/>
                    <a:pt x="54209" y="8003"/>
                    <a:pt x="53545" y="8003"/>
                  </a:cubicBezTo>
                  <a:cubicBezTo>
                    <a:pt x="53313" y="8003"/>
                    <a:pt x="53075" y="8034"/>
                    <a:pt x="52848" y="8074"/>
                  </a:cubicBezTo>
                  <a:cubicBezTo>
                    <a:pt x="51897" y="8264"/>
                    <a:pt x="52416" y="9232"/>
                    <a:pt x="52295" y="9854"/>
                  </a:cubicBezTo>
                  <a:cubicBezTo>
                    <a:pt x="52156" y="10615"/>
                    <a:pt x="51344" y="10096"/>
                    <a:pt x="50998" y="10545"/>
                  </a:cubicBezTo>
                  <a:cubicBezTo>
                    <a:pt x="50949" y="10609"/>
                    <a:pt x="50910" y="10635"/>
                    <a:pt x="50880" y="10635"/>
                  </a:cubicBezTo>
                  <a:cubicBezTo>
                    <a:pt x="50805" y="10635"/>
                    <a:pt x="50789" y="10469"/>
                    <a:pt x="50826" y="10321"/>
                  </a:cubicBezTo>
                  <a:cubicBezTo>
                    <a:pt x="51033" y="8990"/>
                    <a:pt x="50221" y="8541"/>
                    <a:pt x="49115" y="8161"/>
                  </a:cubicBezTo>
                  <a:cubicBezTo>
                    <a:pt x="46903" y="7400"/>
                    <a:pt x="44535" y="7176"/>
                    <a:pt x="42392" y="6070"/>
                  </a:cubicBezTo>
                  <a:cubicBezTo>
                    <a:pt x="41667" y="5697"/>
                    <a:pt x="40852" y="5536"/>
                    <a:pt x="40032" y="5536"/>
                  </a:cubicBezTo>
                  <a:cubicBezTo>
                    <a:pt x="39367" y="5536"/>
                    <a:pt x="38699" y="5642"/>
                    <a:pt x="38072" y="5828"/>
                  </a:cubicBezTo>
                  <a:cubicBezTo>
                    <a:pt x="36033" y="6432"/>
                    <a:pt x="33838" y="6502"/>
                    <a:pt x="31989" y="7642"/>
                  </a:cubicBezTo>
                  <a:cubicBezTo>
                    <a:pt x="31263" y="8074"/>
                    <a:pt x="29206" y="7296"/>
                    <a:pt x="30226" y="9457"/>
                  </a:cubicBezTo>
                  <a:cubicBezTo>
                    <a:pt x="30278" y="9578"/>
                    <a:pt x="29984" y="9854"/>
                    <a:pt x="29863" y="10079"/>
                  </a:cubicBezTo>
                  <a:cubicBezTo>
                    <a:pt x="28653" y="12412"/>
                    <a:pt x="26234" y="13224"/>
                    <a:pt x="24229" y="14555"/>
                  </a:cubicBezTo>
                  <a:cubicBezTo>
                    <a:pt x="22536" y="15661"/>
                    <a:pt x="23486" y="17112"/>
                    <a:pt x="24022" y="18236"/>
                  </a:cubicBezTo>
                  <a:cubicBezTo>
                    <a:pt x="24328" y="18880"/>
                    <a:pt x="24972" y="19241"/>
                    <a:pt x="25627" y="19241"/>
                  </a:cubicBezTo>
                  <a:cubicBezTo>
                    <a:pt x="26008" y="19241"/>
                    <a:pt x="26393" y="19119"/>
                    <a:pt x="26718" y="18858"/>
                  </a:cubicBezTo>
                  <a:cubicBezTo>
                    <a:pt x="27228" y="18470"/>
                    <a:pt x="27609" y="18306"/>
                    <a:pt x="27903" y="18306"/>
                  </a:cubicBezTo>
                  <a:cubicBezTo>
                    <a:pt x="28524" y="18306"/>
                    <a:pt x="28748" y="19042"/>
                    <a:pt x="28947" y="19946"/>
                  </a:cubicBezTo>
                  <a:cubicBezTo>
                    <a:pt x="28982" y="20223"/>
                    <a:pt x="28999" y="20499"/>
                    <a:pt x="28982" y="20776"/>
                  </a:cubicBezTo>
                  <a:cubicBezTo>
                    <a:pt x="28774" y="20551"/>
                    <a:pt x="28446" y="20396"/>
                    <a:pt x="28342" y="20119"/>
                  </a:cubicBezTo>
                  <a:cubicBezTo>
                    <a:pt x="28124" y="19474"/>
                    <a:pt x="27849" y="19234"/>
                    <a:pt x="27528" y="19234"/>
                  </a:cubicBezTo>
                  <a:cubicBezTo>
                    <a:pt x="27212" y="19234"/>
                    <a:pt x="26853" y="19465"/>
                    <a:pt x="26459" y="19774"/>
                  </a:cubicBezTo>
                  <a:cubicBezTo>
                    <a:pt x="25646" y="20379"/>
                    <a:pt x="25958" y="21260"/>
                    <a:pt x="26130" y="21899"/>
                  </a:cubicBezTo>
                  <a:cubicBezTo>
                    <a:pt x="26459" y="23092"/>
                    <a:pt x="25802" y="23420"/>
                    <a:pt x="24938" y="23627"/>
                  </a:cubicBezTo>
                  <a:cubicBezTo>
                    <a:pt x="23901" y="23852"/>
                    <a:pt x="23072" y="24267"/>
                    <a:pt x="22553" y="25269"/>
                  </a:cubicBezTo>
                  <a:cubicBezTo>
                    <a:pt x="22273" y="25790"/>
                    <a:pt x="21682" y="26043"/>
                    <a:pt x="21157" y="26043"/>
                  </a:cubicBezTo>
                  <a:cubicBezTo>
                    <a:pt x="21003" y="26043"/>
                    <a:pt x="20855" y="26021"/>
                    <a:pt x="20721" y="25978"/>
                  </a:cubicBezTo>
                  <a:cubicBezTo>
                    <a:pt x="20116" y="25788"/>
                    <a:pt x="20963" y="25390"/>
                    <a:pt x="20946" y="24993"/>
                  </a:cubicBezTo>
                  <a:cubicBezTo>
                    <a:pt x="20929" y="24543"/>
                    <a:pt x="20738" y="24129"/>
                    <a:pt x="20410" y="23835"/>
                  </a:cubicBezTo>
                  <a:cubicBezTo>
                    <a:pt x="19477" y="22798"/>
                    <a:pt x="18354" y="21709"/>
                    <a:pt x="18215" y="20327"/>
                  </a:cubicBezTo>
                  <a:cubicBezTo>
                    <a:pt x="18098" y="19205"/>
                    <a:pt x="17332" y="17921"/>
                    <a:pt x="16200" y="17921"/>
                  </a:cubicBezTo>
                  <a:cubicBezTo>
                    <a:pt x="16163" y="17921"/>
                    <a:pt x="16127" y="17922"/>
                    <a:pt x="16090" y="17925"/>
                  </a:cubicBezTo>
                  <a:cubicBezTo>
                    <a:pt x="15105" y="17976"/>
                    <a:pt x="14068" y="18391"/>
                    <a:pt x="13930" y="19221"/>
                  </a:cubicBezTo>
                  <a:cubicBezTo>
                    <a:pt x="13670" y="20430"/>
                    <a:pt x="14137" y="21709"/>
                    <a:pt x="15122" y="22470"/>
                  </a:cubicBezTo>
                  <a:cubicBezTo>
                    <a:pt x="15952" y="23109"/>
                    <a:pt x="15952" y="23161"/>
                    <a:pt x="15589" y="23489"/>
                  </a:cubicBezTo>
                  <a:cubicBezTo>
                    <a:pt x="14448" y="24526"/>
                    <a:pt x="14915" y="26116"/>
                    <a:pt x="14292" y="27377"/>
                  </a:cubicBezTo>
                  <a:cubicBezTo>
                    <a:pt x="14143" y="27687"/>
                    <a:pt x="14420" y="27822"/>
                    <a:pt x="14760" y="27822"/>
                  </a:cubicBezTo>
                  <a:cubicBezTo>
                    <a:pt x="14932" y="27822"/>
                    <a:pt x="15121" y="27787"/>
                    <a:pt x="15278" y="27723"/>
                  </a:cubicBezTo>
                  <a:cubicBezTo>
                    <a:pt x="16510" y="27249"/>
                    <a:pt x="17772" y="26919"/>
                    <a:pt x="19089" y="26919"/>
                  </a:cubicBezTo>
                  <a:cubicBezTo>
                    <a:pt x="19212" y="26919"/>
                    <a:pt x="19336" y="26922"/>
                    <a:pt x="19460" y="26928"/>
                  </a:cubicBezTo>
                  <a:lnTo>
                    <a:pt x="19874" y="26928"/>
                  </a:lnTo>
                  <a:cubicBezTo>
                    <a:pt x="19840" y="26997"/>
                    <a:pt x="19823" y="27136"/>
                    <a:pt x="19753" y="27153"/>
                  </a:cubicBezTo>
                  <a:cubicBezTo>
                    <a:pt x="18630" y="27585"/>
                    <a:pt x="17507" y="28138"/>
                    <a:pt x="16349" y="28414"/>
                  </a:cubicBezTo>
                  <a:cubicBezTo>
                    <a:pt x="15692" y="28570"/>
                    <a:pt x="14915" y="28432"/>
                    <a:pt x="14707" y="29209"/>
                  </a:cubicBezTo>
                  <a:cubicBezTo>
                    <a:pt x="14500" y="30004"/>
                    <a:pt x="15260" y="30194"/>
                    <a:pt x="15813" y="30505"/>
                  </a:cubicBezTo>
                  <a:cubicBezTo>
                    <a:pt x="17161" y="31318"/>
                    <a:pt x="17369" y="32493"/>
                    <a:pt x="16867" y="33910"/>
                  </a:cubicBezTo>
                  <a:cubicBezTo>
                    <a:pt x="16664" y="34503"/>
                    <a:pt x="16349" y="34660"/>
                    <a:pt x="15995" y="34660"/>
                  </a:cubicBezTo>
                  <a:cubicBezTo>
                    <a:pt x="15626" y="34660"/>
                    <a:pt x="15216" y="34489"/>
                    <a:pt x="14846" y="34463"/>
                  </a:cubicBezTo>
                  <a:cubicBezTo>
                    <a:pt x="13916" y="34396"/>
                    <a:pt x="12987" y="34203"/>
                    <a:pt x="12042" y="34203"/>
                  </a:cubicBezTo>
                  <a:cubicBezTo>
                    <a:pt x="12003" y="34203"/>
                    <a:pt x="11964" y="34203"/>
                    <a:pt x="11925" y="34204"/>
                  </a:cubicBezTo>
                  <a:cubicBezTo>
                    <a:pt x="10957" y="34221"/>
                    <a:pt x="9834" y="34446"/>
                    <a:pt x="9989" y="35759"/>
                  </a:cubicBezTo>
                  <a:cubicBezTo>
                    <a:pt x="10128" y="37072"/>
                    <a:pt x="9834" y="38196"/>
                    <a:pt x="9592" y="39440"/>
                  </a:cubicBezTo>
                  <a:cubicBezTo>
                    <a:pt x="9385" y="40425"/>
                    <a:pt x="8693" y="42136"/>
                    <a:pt x="10542" y="42464"/>
                  </a:cubicBezTo>
                  <a:cubicBezTo>
                    <a:pt x="12305" y="42758"/>
                    <a:pt x="12668" y="43173"/>
                    <a:pt x="11735" y="44693"/>
                  </a:cubicBezTo>
                  <a:cubicBezTo>
                    <a:pt x="11389" y="45298"/>
                    <a:pt x="10888" y="45817"/>
                    <a:pt x="10300" y="46180"/>
                  </a:cubicBezTo>
                  <a:cubicBezTo>
                    <a:pt x="9108" y="46871"/>
                    <a:pt x="8175" y="47752"/>
                    <a:pt x="8313" y="49342"/>
                  </a:cubicBezTo>
                  <a:cubicBezTo>
                    <a:pt x="8365" y="49964"/>
                    <a:pt x="8140" y="50707"/>
                    <a:pt x="7535" y="50967"/>
                  </a:cubicBezTo>
                  <a:cubicBezTo>
                    <a:pt x="5168" y="52021"/>
                    <a:pt x="3768" y="53991"/>
                    <a:pt x="2662" y="56168"/>
                  </a:cubicBezTo>
                  <a:cubicBezTo>
                    <a:pt x="1781" y="57931"/>
                    <a:pt x="122" y="59469"/>
                    <a:pt x="1279" y="61888"/>
                  </a:cubicBezTo>
                  <a:cubicBezTo>
                    <a:pt x="1936" y="63236"/>
                    <a:pt x="1573" y="64792"/>
                    <a:pt x="830" y="66209"/>
                  </a:cubicBezTo>
                  <a:cubicBezTo>
                    <a:pt x="1" y="67781"/>
                    <a:pt x="744" y="70477"/>
                    <a:pt x="2126" y="71687"/>
                  </a:cubicBezTo>
                  <a:cubicBezTo>
                    <a:pt x="2420" y="71946"/>
                    <a:pt x="2662" y="72240"/>
                    <a:pt x="2818" y="72586"/>
                  </a:cubicBezTo>
                  <a:cubicBezTo>
                    <a:pt x="4027" y="75040"/>
                    <a:pt x="5462" y="77303"/>
                    <a:pt x="7881" y="78755"/>
                  </a:cubicBezTo>
                  <a:cubicBezTo>
                    <a:pt x="8455" y="79100"/>
                    <a:pt x="9053" y="79742"/>
                    <a:pt x="9645" y="79742"/>
                  </a:cubicBezTo>
                  <a:cubicBezTo>
                    <a:pt x="9766" y="79742"/>
                    <a:pt x="9887" y="79715"/>
                    <a:pt x="10007" y="79654"/>
                  </a:cubicBezTo>
                  <a:cubicBezTo>
                    <a:pt x="12824" y="78254"/>
                    <a:pt x="16142" y="79844"/>
                    <a:pt x="18889" y="77874"/>
                  </a:cubicBezTo>
                  <a:cubicBezTo>
                    <a:pt x="19326" y="77562"/>
                    <a:pt x="19938" y="77352"/>
                    <a:pt x="20558" y="77352"/>
                  </a:cubicBezTo>
                  <a:cubicBezTo>
                    <a:pt x="21313" y="77352"/>
                    <a:pt x="22079" y="77663"/>
                    <a:pt x="22553" y="78479"/>
                  </a:cubicBezTo>
                  <a:cubicBezTo>
                    <a:pt x="23034" y="79313"/>
                    <a:pt x="23538" y="79650"/>
                    <a:pt x="24283" y="79650"/>
                  </a:cubicBezTo>
                  <a:cubicBezTo>
                    <a:pt x="24448" y="79650"/>
                    <a:pt x="24626" y="79633"/>
                    <a:pt x="24817" y="79602"/>
                  </a:cubicBezTo>
                  <a:cubicBezTo>
                    <a:pt x="24994" y="79574"/>
                    <a:pt x="25161" y="79561"/>
                    <a:pt x="25317" y="79561"/>
                  </a:cubicBezTo>
                  <a:cubicBezTo>
                    <a:pt x="26715" y="79561"/>
                    <a:pt x="27271" y="80640"/>
                    <a:pt x="26960" y="82194"/>
                  </a:cubicBezTo>
                  <a:cubicBezTo>
                    <a:pt x="26683" y="83611"/>
                    <a:pt x="25750" y="85218"/>
                    <a:pt x="26545" y="86480"/>
                  </a:cubicBezTo>
                  <a:cubicBezTo>
                    <a:pt x="27461" y="87966"/>
                    <a:pt x="28515" y="89400"/>
                    <a:pt x="29206" y="90973"/>
                  </a:cubicBezTo>
                  <a:cubicBezTo>
                    <a:pt x="30416" y="93721"/>
                    <a:pt x="31298" y="96641"/>
                    <a:pt x="29777" y="99631"/>
                  </a:cubicBezTo>
                  <a:cubicBezTo>
                    <a:pt x="28809" y="101515"/>
                    <a:pt x="28619" y="103502"/>
                    <a:pt x="29535" y="105369"/>
                  </a:cubicBezTo>
                  <a:cubicBezTo>
                    <a:pt x="30503" y="107321"/>
                    <a:pt x="31228" y="109274"/>
                    <a:pt x="31488" y="111469"/>
                  </a:cubicBezTo>
                  <a:cubicBezTo>
                    <a:pt x="31712" y="113456"/>
                    <a:pt x="31695" y="115599"/>
                    <a:pt x="33371" y="117172"/>
                  </a:cubicBezTo>
                  <a:cubicBezTo>
                    <a:pt x="34322" y="118088"/>
                    <a:pt x="34581" y="119436"/>
                    <a:pt x="35013" y="120645"/>
                  </a:cubicBezTo>
                  <a:cubicBezTo>
                    <a:pt x="35393" y="121717"/>
                    <a:pt x="34546" y="123065"/>
                    <a:pt x="35843" y="123998"/>
                  </a:cubicBezTo>
                  <a:cubicBezTo>
                    <a:pt x="36206" y="124270"/>
                    <a:pt x="36549" y="124368"/>
                    <a:pt x="36881" y="124368"/>
                  </a:cubicBezTo>
                  <a:cubicBezTo>
                    <a:pt x="37735" y="124368"/>
                    <a:pt x="38515" y="123721"/>
                    <a:pt x="39372" y="123721"/>
                  </a:cubicBezTo>
                  <a:cubicBezTo>
                    <a:pt x="39388" y="123721"/>
                    <a:pt x="39404" y="123721"/>
                    <a:pt x="39420" y="123721"/>
                  </a:cubicBezTo>
                  <a:cubicBezTo>
                    <a:pt x="39526" y="123724"/>
                    <a:pt x="39630" y="123725"/>
                    <a:pt x="39734" y="123725"/>
                  </a:cubicBezTo>
                  <a:cubicBezTo>
                    <a:pt x="44937" y="123725"/>
                    <a:pt x="47636" y="120353"/>
                    <a:pt x="49754" y="116100"/>
                  </a:cubicBezTo>
                  <a:cubicBezTo>
                    <a:pt x="50186" y="115236"/>
                    <a:pt x="49720" y="113957"/>
                    <a:pt x="50826" y="113508"/>
                  </a:cubicBezTo>
                  <a:cubicBezTo>
                    <a:pt x="52761" y="112713"/>
                    <a:pt x="53193" y="111175"/>
                    <a:pt x="52692" y="109499"/>
                  </a:cubicBezTo>
                  <a:cubicBezTo>
                    <a:pt x="51949" y="107028"/>
                    <a:pt x="53297" y="106112"/>
                    <a:pt x="55181" y="105282"/>
                  </a:cubicBezTo>
                  <a:cubicBezTo>
                    <a:pt x="57773" y="104107"/>
                    <a:pt x="59449" y="98370"/>
                    <a:pt x="57963" y="96071"/>
                  </a:cubicBezTo>
                  <a:cubicBezTo>
                    <a:pt x="56770" y="94239"/>
                    <a:pt x="57099" y="92217"/>
                    <a:pt x="57444" y="90316"/>
                  </a:cubicBezTo>
                  <a:cubicBezTo>
                    <a:pt x="57911" y="87621"/>
                    <a:pt x="59933" y="85823"/>
                    <a:pt x="61851" y="84164"/>
                  </a:cubicBezTo>
                  <a:cubicBezTo>
                    <a:pt x="65601" y="80915"/>
                    <a:pt x="68055" y="76992"/>
                    <a:pt x="69109" y="72171"/>
                  </a:cubicBezTo>
                  <a:cubicBezTo>
                    <a:pt x="69271" y="71459"/>
                    <a:pt x="69266" y="70656"/>
                    <a:pt x="68371" y="70656"/>
                  </a:cubicBezTo>
                  <a:cubicBezTo>
                    <a:pt x="68311" y="70656"/>
                    <a:pt x="68246" y="70660"/>
                    <a:pt x="68176" y="70667"/>
                  </a:cubicBezTo>
                  <a:cubicBezTo>
                    <a:pt x="67157" y="70788"/>
                    <a:pt x="66154" y="71151"/>
                    <a:pt x="65152" y="71462"/>
                  </a:cubicBezTo>
                  <a:cubicBezTo>
                    <a:pt x="63960" y="71826"/>
                    <a:pt x="63201" y="72060"/>
                    <a:pt x="62664" y="72060"/>
                  </a:cubicBezTo>
                  <a:cubicBezTo>
                    <a:pt x="61727" y="72060"/>
                    <a:pt x="61469" y="71346"/>
                    <a:pt x="60772" y="69363"/>
                  </a:cubicBezTo>
                  <a:lnTo>
                    <a:pt x="60772" y="69363"/>
                  </a:lnTo>
                  <a:cubicBezTo>
                    <a:pt x="61180" y="69747"/>
                    <a:pt x="61467" y="70422"/>
                    <a:pt x="62074" y="70422"/>
                  </a:cubicBezTo>
                  <a:cubicBezTo>
                    <a:pt x="62180" y="70422"/>
                    <a:pt x="62295" y="70402"/>
                    <a:pt x="62422" y="70356"/>
                  </a:cubicBezTo>
                  <a:cubicBezTo>
                    <a:pt x="63925" y="69769"/>
                    <a:pt x="65359" y="68957"/>
                    <a:pt x="66897" y="68455"/>
                  </a:cubicBezTo>
                  <a:cubicBezTo>
                    <a:pt x="68660" y="67868"/>
                    <a:pt x="69732" y="66209"/>
                    <a:pt x="71391" y="65639"/>
                  </a:cubicBezTo>
                  <a:cubicBezTo>
                    <a:pt x="73706" y="64844"/>
                    <a:pt x="76713" y="61716"/>
                    <a:pt x="76852" y="59383"/>
                  </a:cubicBezTo>
                  <a:cubicBezTo>
                    <a:pt x="76834" y="59072"/>
                    <a:pt x="76713" y="58778"/>
                    <a:pt x="76506" y="58553"/>
                  </a:cubicBezTo>
                  <a:cubicBezTo>
                    <a:pt x="75918" y="57810"/>
                    <a:pt x="75279" y="57153"/>
                    <a:pt x="74294" y="56894"/>
                  </a:cubicBezTo>
                  <a:cubicBezTo>
                    <a:pt x="73724" y="56739"/>
                    <a:pt x="73378" y="56151"/>
                    <a:pt x="73516" y="55581"/>
                  </a:cubicBezTo>
                  <a:cubicBezTo>
                    <a:pt x="73547" y="55481"/>
                    <a:pt x="73596" y="55443"/>
                    <a:pt x="73658" y="55443"/>
                  </a:cubicBezTo>
                  <a:cubicBezTo>
                    <a:pt x="73842" y="55443"/>
                    <a:pt x="74139" y="55775"/>
                    <a:pt x="74398" y="55788"/>
                  </a:cubicBezTo>
                  <a:cubicBezTo>
                    <a:pt x="75366" y="55855"/>
                    <a:pt x="76333" y="56083"/>
                    <a:pt x="77301" y="56083"/>
                  </a:cubicBezTo>
                  <a:cubicBezTo>
                    <a:pt x="77336" y="56083"/>
                    <a:pt x="77370" y="56083"/>
                    <a:pt x="77405" y="56082"/>
                  </a:cubicBezTo>
                  <a:cubicBezTo>
                    <a:pt x="77727" y="56077"/>
                    <a:pt x="78047" y="56073"/>
                    <a:pt x="78365" y="56073"/>
                  </a:cubicBezTo>
                  <a:cubicBezTo>
                    <a:pt x="81373" y="56073"/>
                    <a:pt x="84145" y="56432"/>
                    <a:pt x="85786" y="59746"/>
                  </a:cubicBezTo>
                  <a:cubicBezTo>
                    <a:pt x="86136" y="60461"/>
                    <a:pt x="86996" y="61297"/>
                    <a:pt x="88011" y="61297"/>
                  </a:cubicBezTo>
                  <a:cubicBezTo>
                    <a:pt x="88148" y="61297"/>
                    <a:pt x="88288" y="61282"/>
                    <a:pt x="88430" y="61249"/>
                  </a:cubicBezTo>
                  <a:cubicBezTo>
                    <a:pt x="88585" y="61214"/>
                    <a:pt x="88707" y="61197"/>
                    <a:pt x="88805" y="61197"/>
                  </a:cubicBezTo>
                  <a:cubicBezTo>
                    <a:pt x="89186" y="61197"/>
                    <a:pt x="89184" y="61451"/>
                    <a:pt x="89225" y="61837"/>
                  </a:cubicBezTo>
                  <a:cubicBezTo>
                    <a:pt x="89830" y="66554"/>
                    <a:pt x="91990" y="70685"/>
                    <a:pt x="94133" y="74832"/>
                  </a:cubicBezTo>
                  <a:cubicBezTo>
                    <a:pt x="94475" y="75487"/>
                    <a:pt x="94875" y="75911"/>
                    <a:pt x="95290" y="75911"/>
                  </a:cubicBezTo>
                  <a:cubicBezTo>
                    <a:pt x="95652" y="75911"/>
                    <a:pt x="96025" y="75588"/>
                    <a:pt x="96380" y="74815"/>
                  </a:cubicBezTo>
                  <a:cubicBezTo>
                    <a:pt x="96622" y="74297"/>
                    <a:pt x="97036" y="73847"/>
                    <a:pt x="97382" y="73381"/>
                  </a:cubicBezTo>
                  <a:lnTo>
                    <a:pt x="97538" y="73225"/>
                  </a:lnTo>
                  <a:cubicBezTo>
                    <a:pt x="98212" y="71618"/>
                    <a:pt x="98056" y="69993"/>
                    <a:pt x="97831" y="68317"/>
                  </a:cubicBezTo>
                  <a:cubicBezTo>
                    <a:pt x="97762" y="67833"/>
                    <a:pt x="97589" y="67211"/>
                    <a:pt x="98194" y="67073"/>
                  </a:cubicBezTo>
                  <a:cubicBezTo>
                    <a:pt x="99784" y="66693"/>
                    <a:pt x="100268" y="65258"/>
                    <a:pt x="101149" y="64187"/>
                  </a:cubicBezTo>
                  <a:cubicBezTo>
                    <a:pt x="102117" y="63029"/>
                    <a:pt x="103137" y="61629"/>
                    <a:pt x="104243" y="60903"/>
                  </a:cubicBezTo>
                  <a:cubicBezTo>
                    <a:pt x="104825" y="60515"/>
                    <a:pt x="105739" y="59942"/>
                    <a:pt x="106690" y="59942"/>
                  </a:cubicBezTo>
                  <a:cubicBezTo>
                    <a:pt x="107432" y="59942"/>
                    <a:pt x="108196" y="60292"/>
                    <a:pt x="108840" y="61353"/>
                  </a:cubicBezTo>
                  <a:cubicBezTo>
                    <a:pt x="109600" y="62632"/>
                    <a:pt x="110965" y="63565"/>
                    <a:pt x="111017" y="65258"/>
                  </a:cubicBezTo>
                  <a:cubicBezTo>
                    <a:pt x="111034" y="65777"/>
                    <a:pt x="110793" y="66433"/>
                    <a:pt x="111536" y="66693"/>
                  </a:cubicBezTo>
                  <a:cubicBezTo>
                    <a:pt x="111822" y="66788"/>
                    <a:pt x="112112" y="66862"/>
                    <a:pt x="112391" y="66862"/>
                  </a:cubicBezTo>
                  <a:cubicBezTo>
                    <a:pt x="112769" y="66862"/>
                    <a:pt x="113129" y="66727"/>
                    <a:pt x="113437" y="66330"/>
                  </a:cubicBezTo>
                  <a:cubicBezTo>
                    <a:pt x="113540" y="66205"/>
                    <a:pt x="113700" y="66031"/>
                    <a:pt x="113856" y="66031"/>
                  </a:cubicBezTo>
                  <a:cubicBezTo>
                    <a:pt x="113960" y="66031"/>
                    <a:pt x="114062" y="66109"/>
                    <a:pt x="114145" y="66330"/>
                  </a:cubicBezTo>
                  <a:cubicBezTo>
                    <a:pt x="114543" y="67470"/>
                    <a:pt x="114802" y="68663"/>
                    <a:pt x="115286" y="69769"/>
                  </a:cubicBezTo>
                  <a:cubicBezTo>
                    <a:pt x="116271" y="72033"/>
                    <a:pt x="114940" y="74677"/>
                    <a:pt x="116858" y="76871"/>
                  </a:cubicBezTo>
                  <a:cubicBezTo>
                    <a:pt x="118241" y="78461"/>
                    <a:pt x="118362" y="80915"/>
                    <a:pt x="119900" y="82540"/>
                  </a:cubicBezTo>
                  <a:cubicBezTo>
                    <a:pt x="120401" y="82799"/>
                    <a:pt x="120885" y="83058"/>
                    <a:pt x="121386" y="83300"/>
                  </a:cubicBezTo>
                  <a:cubicBezTo>
                    <a:pt x="121538" y="83368"/>
                    <a:pt x="121699" y="83403"/>
                    <a:pt x="121846" y="83403"/>
                  </a:cubicBezTo>
                  <a:cubicBezTo>
                    <a:pt x="122184" y="83403"/>
                    <a:pt x="122445" y="83219"/>
                    <a:pt x="122337" y="82834"/>
                  </a:cubicBezTo>
                  <a:cubicBezTo>
                    <a:pt x="121818" y="80915"/>
                    <a:pt x="121991" y="78790"/>
                    <a:pt x="119969" y="77355"/>
                  </a:cubicBezTo>
                  <a:cubicBezTo>
                    <a:pt x="118414" y="76249"/>
                    <a:pt x="117239" y="74521"/>
                    <a:pt x="117463" y="72378"/>
                  </a:cubicBezTo>
                  <a:cubicBezTo>
                    <a:pt x="117528" y="71821"/>
                    <a:pt x="116912" y="70437"/>
                    <a:pt x="117695" y="70437"/>
                  </a:cubicBezTo>
                  <a:cubicBezTo>
                    <a:pt x="117955" y="70437"/>
                    <a:pt x="118371" y="70590"/>
                    <a:pt x="119019" y="70979"/>
                  </a:cubicBezTo>
                  <a:cubicBezTo>
                    <a:pt x="120194" y="71704"/>
                    <a:pt x="121386" y="72655"/>
                    <a:pt x="121749" y="73605"/>
                  </a:cubicBezTo>
                  <a:cubicBezTo>
                    <a:pt x="122096" y="74553"/>
                    <a:pt x="122434" y="74868"/>
                    <a:pt x="122776" y="74868"/>
                  </a:cubicBezTo>
                  <a:cubicBezTo>
                    <a:pt x="123251" y="74868"/>
                    <a:pt x="123732" y="74261"/>
                    <a:pt x="124255" y="73899"/>
                  </a:cubicBezTo>
                  <a:cubicBezTo>
                    <a:pt x="124531" y="73709"/>
                    <a:pt x="124721" y="73363"/>
                    <a:pt x="125015" y="73208"/>
                  </a:cubicBezTo>
                  <a:cubicBezTo>
                    <a:pt x="126743" y="72292"/>
                    <a:pt x="127210" y="70961"/>
                    <a:pt x="126743" y="69043"/>
                  </a:cubicBezTo>
                  <a:cubicBezTo>
                    <a:pt x="126294" y="67159"/>
                    <a:pt x="125292" y="65725"/>
                    <a:pt x="123892" y="64533"/>
                  </a:cubicBezTo>
                  <a:cubicBezTo>
                    <a:pt x="122596" y="63409"/>
                    <a:pt x="122285" y="62459"/>
                    <a:pt x="123546" y="61059"/>
                  </a:cubicBezTo>
                  <a:cubicBezTo>
                    <a:pt x="123952" y="60621"/>
                    <a:pt x="124332" y="60388"/>
                    <a:pt x="124705" y="60388"/>
                  </a:cubicBezTo>
                  <a:cubicBezTo>
                    <a:pt x="124936" y="60388"/>
                    <a:pt x="125164" y="60477"/>
                    <a:pt x="125395" y="60661"/>
                  </a:cubicBezTo>
                  <a:cubicBezTo>
                    <a:pt x="126000" y="61145"/>
                    <a:pt x="125810" y="61750"/>
                    <a:pt x="125119" y="62234"/>
                  </a:cubicBezTo>
                  <a:cubicBezTo>
                    <a:pt x="124618" y="62580"/>
                    <a:pt x="124445" y="63219"/>
                    <a:pt x="125050" y="63651"/>
                  </a:cubicBezTo>
                  <a:cubicBezTo>
                    <a:pt x="125442" y="63952"/>
                    <a:pt x="125858" y="64171"/>
                    <a:pt x="126268" y="64171"/>
                  </a:cubicBezTo>
                  <a:cubicBezTo>
                    <a:pt x="126635" y="64171"/>
                    <a:pt x="126996" y="63996"/>
                    <a:pt x="127331" y="63547"/>
                  </a:cubicBezTo>
                  <a:cubicBezTo>
                    <a:pt x="127694" y="63046"/>
                    <a:pt x="128247" y="62407"/>
                    <a:pt x="127469" y="61940"/>
                  </a:cubicBezTo>
                  <a:cubicBezTo>
                    <a:pt x="126398" y="61318"/>
                    <a:pt x="127037" y="61042"/>
                    <a:pt x="127590" y="60696"/>
                  </a:cubicBezTo>
                  <a:cubicBezTo>
                    <a:pt x="130061" y="59210"/>
                    <a:pt x="133449" y="59106"/>
                    <a:pt x="134693" y="55788"/>
                  </a:cubicBezTo>
                  <a:cubicBezTo>
                    <a:pt x="135298" y="54146"/>
                    <a:pt x="136093" y="52591"/>
                    <a:pt x="135851" y="50725"/>
                  </a:cubicBezTo>
                  <a:cubicBezTo>
                    <a:pt x="135522" y="48288"/>
                    <a:pt x="133932" y="46629"/>
                    <a:pt x="132498" y="44918"/>
                  </a:cubicBezTo>
                  <a:cubicBezTo>
                    <a:pt x="131772" y="44054"/>
                    <a:pt x="131859" y="43622"/>
                    <a:pt x="132775" y="43173"/>
                  </a:cubicBezTo>
                  <a:cubicBezTo>
                    <a:pt x="133120" y="43017"/>
                    <a:pt x="133397" y="42793"/>
                    <a:pt x="133362" y="42378"/>
                  </a:cubicBezTo>
                  <a:cubicBezTo>
                    <a:pt x="133345" y="41980"/>
                    <a:pt x="133051" y="41635"/>
                    <a:pt x="132671" y="41548"/>
                  </a:cubicBezTo>
                  <a:cubicBezTo>
                    <a:pt x="132227" y="41462"/>
                    <a:pt x="131713" y="41297"/>
                    <a:pt x="131292" y="41297"/>
                  </a:cubicBezTo>
                  <a:cubicBezTo>
                    <a:pt x="131122" y="41297"/>
                    <a:pt x="130968" y="41323"/>
                    <a:pt x="130839" y="41393"/>
                  </a:cubicBezTo>
                  <a:cubicBezTo>
                    <a:pt x="130667" y="41486"/>
                    <a:pt x="130517" y="41524"/>
                    <a:pt x="130385" y="41524"/>
                  </a:cubicBezTo>
                  <a:cubicBezTo>
                    <a:pt x="129751" y="41524"/>
                    <a:pt x="129496" y="40648"/>
                    <a:pt x="128935" y="40648"/>
                  </a:cubicBezTo>
                  <a:cubicBezTo>
                    <a:pt x="128871" y="40648"/>
                    <a:pt x="128804" y="40659"/>
                    <a:pt x="128731" y="40684"/>
                  </a:cubicBezTo>
                  <a:cubicBezTo>
                    <a:pt x="129025" y="40425"/>
                    <a:pt x="129336" y="40166"/>
                    <a:pt x="129612" y="39889"/>
                  </a:cubicBezTo>
                  <a:cubicBezTo>
                    <a:pt x="129699" y="39786"/>
                    <a:pt x="129768" y="39647"/>
                    <a:pt x="129802" y="39509"/>
                  </a:cubicBezTo>
                  <a:cubicBezTo>
                    <a:pt x="129896" y="39229"/>
                    <a:pt x="130059" y="38963"/>
                    <a:pt x="130355" y="38963"/>
                  </a:cubicBezTo>
                  <a:cubicBezTo>
                    <a:pt x="130388" y="38963"/>
                    <a:pt x="130423" y="38966"/>
                    <a:pt x="130459" y="38973"/>
                  </a:cubicBezTo>
                  <a:cubicBezTo>
                    <a:pt x="130822" y="39025"/>
                    <a:pt x="130718" y="39405"/>
                    <a:pt x="130753" y="39665"/>
                  </a:cubicBezTo>
                  <a:cubicBezTo>
                    <a:pt x="130885" y="40368"/>
                    <a:pt x="131150" y="40680"/>
                    <a:pt x="131522" y="40680"/>
                  </a:cubicBezTo>
                  <a:cubicBezTo>
                    <a:pt x="131781" y="40680"/>
                    <a:pt x="132092" y="40529"/>
                    <a:pt x="132446" y="40252"/>
                  </a:cubicBezTo>
                  <a:cubicBezTo>
                    <a:pt x="132816" y="39963"/>
                    <a:pt x="133198" y="39825"/>
                    <a:pt x="133552" y="39825"/>
                  </a:cubicBezTo>
                  <a:cubicBezTo>
                    <a:pt x="134190" y="39825"/>
                    <a:pt x="134735" y="40276"/>
                    <a:pt x="134935" y="41099"/>
                  </a:cubicBezTo>
                  <a:cubicBezTo>
                    <a:pt x="135004" y="41410"/>
                    <a:pt x="135246" y="41911"/>
                    <a:pt x="135436" y="41928"/>
                  </a:cubicBezTo>
                  <a:cubicBezTo>
                    <a:pt x="136836" y="42067"/>
                    <a:pt x="137130" y="43259"/>
                    <a:pt x="137441" y="44192"/>
                  </a:cubicBezTo>
                  <a:cubicBezTo>
                    <a:pt x="137757" y="45176"/>
                    <a:pt x="138205" y="45491"/>
                    <a:pt x="138710" y="45491"/>
                  </a:cubicBezTo>
                  <a:cubicBezTo>
                    <a:pt x="139226" y="45491"/>
                    <a:pt x="139803" y="45163"/>
                    <a:pt x="140361" y="44884"/>
                  </a:cubicBezTo>
                  <a:cubicBezTo>
                    <a:pt x="141813" y="44175"/>
                    <a:pt x="140586" y="43363"/>
                    <a:pt x="140327" y="42654"/>
                  </a:cubicBezTo>
                  <a:cubicBezTo>
                    <a:pt x="140188" y="42188"/>
                    <a:pt x="139739" y="41773"/>
                    <a:pt x="139324" y="41479"/>
                  </a:cubicBezTo>
                  <a:cubicBezTo>
                    <a:pt x="137717" y="40356"/>
                    <a:pt x="137648" y="38921"/>
                    <a:pt x="138305" y="37245"/>
                  </a:cubicBezTo>
                  <a:cubicBezTo>
                    <a:pt x="138533" y="36644"/>
                    <a:pt x="138753" y="36160"/>
                    <a:pt x="139216" y="36160"/>
                  </a:cubicBezTo>
                  <a:cubicBezTo>
                    <a:pt x="139418" y="36160"/>
                    <a:pt x="139666" y="36252"/>
                    <a:pt x="139981" y="36468"/>
                  </a:cubicBezTo>
                  <a:cubicBezTo>
                    <a:pt x="140121" y="36569"/>
                    <a:pt x="140268" y="36617"/>
                    <a:pt x="140413" y="36617"/>
                  </a:cubicBezTo>
                  <a:cubicBezTo>
                    <a:pt x="140661" y="36617"/>
                    <a:pt x="140902" y="36477"/>
                    <a:pt x="141087" y="36226"/>
                  </a:cubicBezTo>
                  <a:cubicBezTo>
                    <a:pt x="142573" y="34255"/>
                    <a:pt x="142850" y="29797"/>
                    <a:pt x="141640" y="27706"/>
                  </a:cubicBezTo>
                  <a:cubicBezTo>
                    <a:pt x="141485" y="27447"/>
                    <a:pt x="141104" y="27187"/>
                    <a:pt x="141398" y="26807"/>
                  </a:cubicBezTo>
                  <a:lnTo>
                    <a:pt x="141398" y="26807"/>
                  </a:lnTo>
                  <a:cubicBezTo>
                    <a:pt x="141623" y="26997"/>
                    <a:pt x="141917" y="27153"/>
                    <a:pt x="142072" y="27395"/>
                  </a:cubicBezTo>
                  <a:cubicBezTo>
                    <a:pt x="142988" y="28812"/>
                    <a:pt x="143869" y="30229"/>
                    <a:pt x="144733" y="31663"/>
                  </a:cubicBezTo>
                  <a:cubicBezTo>
                    <a:pt x="144984" y="32062"/>
                    <a:pt x="145261" y="32460"/>
                    <a:pt x="145713" y="32460"/>
                  </a:cubicBezTo>
                  <a:cubicBezTo>
                    <a:pt x="145790" y="32460"/>
                    <a:pt x="145872" y="32449"/>
                    <a:pt x="145960" y="32424"/>
                  </a:cubicBezTo>
                  <a:cubicBezTo>
                    <a:pt x="146323" y="32320"/>
                    <a:pt x="146825" y="32043"/>
                    <a:pt x="146928" y="31750"/>
                  </a:cubicBezTo>
                  <a:cubicBezTo>
                    <a:pt x="147118" y="31197"/>
                    <a:pt x="146496" y="30972"/>
                    <a:pt x="146151" y="30644"/>
                  </a:cubicBezTo>
                  <a:cubicBezTo>
                    <a:pt x="145805" y="30298"/>
                    <a:pt x="144889" y="29935"/>
                    <a:pt x="145511" y="29348"/>
                  </a:cubicBezTo>
                  <a:cubicBezTo>
                    <a:pt x="146220" y="28674"/>
                    <a:pt x="145701" y="28363"/>
                    <a:pt x="145373" y="27982"/>
                  </a:cubicBezTo>
                  <a:cubicBezTo>
                    <a:pt x="144924" y="27464"/>
                    <a:pt x="144353" y="27049"/>
                    <a:pt x="143904" y="26513"/>
                  </a:cubicBezTo>
                  <a:cubicBezTo>
                    <a:pt x="142452" y="24803"/>
                    <a:pt x="140309" y="24008"/>
                    <a:pt x="138927" y="23455"/>
                  </a:cubicBezTo>
                  <a:cubicBezTo>
                    <a:pt x="137233" y="22781"/>
                    <a:pt x="135350" y="23368"/>
                    <a:pt x="133794" y="22349"/>
                  </a:cubicBezTo>
                  <a:cubicBezTo>
                    <a:pt x="133621" y="22228"/>
                    <a:pt x="133120" y="22141"/>
                    <a:pt x="133379" y="21934"/>
                  </a:cubicBezTo>
                  <a:cubicBezTo>
                    <a:pt x="134416" y="21156"/>
                    <a:pt x="134192" y="19843"/>
                    <a:pt x="134814" y="18910"/>
                  </a:cubicBezTo>
                  <a:cubicBezTo>
                    <a:pt x="135183" y="18357"/>
                    <a:pt x="137525" y="17996"/>
                    <a:pt x="139389" y="17996"/>
                  </a:cubicBezTo>
                  <a:cubicBezTo>
                    <a:pt x="140321" y="17996"/>
                    <a:pt x="141133" y="18086"/>
                    <a:pt x="141519" y="18287"/>
                  </a:cubicBezTo>
                  <a:cubicBezTo>
                    <a:pt x="141913" y="18491"/>
                    <a:pt x="142318" y="18567"/>
                    <a:pt x="142722" y="18567"/>
                  </a:cubicBezTo>
                  <a:cubicBezTo>
                    <a:pt x="143310" y="18567"/>
                    <a:pt x="143896" y="18407"/>
                    <a:pt x="144440" y="18253"/>
                  </a:cubicBezTo>
                  <a:cubicBezTo>
                    <a:pt x="145183" y="18028"/>
                    <a:pt x="144301" y="17320"/>
                    <a:pt x="144440" y="16905"/>
                  </a:cubicBezTo>
                  <a:cubicBezTo>
                    <a:pt x="144595" y="16473"/>
                    <a:pt x="144232" y="15764"/>
                    <a:pt x="144803" y="15626"/>
                  </a:cubicBezTo>
                  <a:cubicBezTo>
                    <a:pt x="144894" y="15602"/>
                    <a:pt x="144986" y="15590"/>
                    <a:pt x="145078" y="15590"/>
                  </a:cubicBezTo>
                  <a:cubicBezTo>
                    <a:pt x="145503" y="15590"/>
                    <a:pt x="145922" y="15838"/>
                    <a:pt x="146306" y="16179"/>
                  </a:cubicBezTo>
                  <a:cubicBezTo>
                    <a:pt x="146709" y="16532"/>
                    <a:pt x="147171" y="16997"/>
                    <a:pt x="147617" y="16997"/>
                  </a:cubicBezTo>
                  <a:cubicBezTo>
                    <a:pt x="147935" y="16997"/>
                    <a:pt x="148244" y="16760"/>
                    <a:pt x="148518" y="16075"/>
                  </a:cubicBezTo>
                  <a:cubicBezTo>
                    <a:pt x="148584" y="15900"/>
                    <a:pt x="148692" y="15801"/>
                    <a:pt x="148828" y="15801"/>
                  </a:cubicBezTo>
                  <a:cubicBezTo>
                    <a:pt x="148906" y="15801"/>
                    <a:pt x="148994" y="15833"/>
                    <a:pt x="149088" y="15903"/>
                  </a:cubicBezTo>
                  <a:cubicBezTo>
                    <a:pt x="149348" y="16110"/>
                    <a:pt x="149348" y="16335"/>
                    <a:pt x="149192" y="16646"/>
                  </a:cubicBezTo>
                  <a:cubicBezTo>
                    <a:pt x="148743" y="17596"/>
                    <a:pt x="147965" y="18547"/>
                    <a:pt x="147965" y="19497"/>
                  </a:cubicBezTo>
                  <a:cubicBezTo>
                    <a:pt x="147931" y="21122"/>
                    <a:pt x="148708" y="22677"/>
                    <a:pt x="150022" y="23627"/>
                  </a:cubicBezTo>
                  <a:cubicBezTo>
                    <a:pt x="151231" y="24561"/>
                    <a:pt x="152631" y="25269"/>
                    <a:pt x="153582" y="26513"/>
                  </a:cubicBezTo>
                  <a:cubicBezTo>
                    <a:pt x="153835" y="26852"/>
                    <a:pt x="154112" y="27339"/>
                    <a:pt x="154580" y="27339"/>
                  </a:cubicBezTo>
                  <a:cubicBezTo>
                    <a:pt x="154686" y="27339"/>
                    <a:pt x="154802" y="27314"/>
                    <a:pt x="154930" y="27257"/>
                  </a:cubicBezTo>
                  <a:cubicBezTo>
                    <a:pt x="155621" y="26928"/>
                    <a:pt x="155673" y="26271"/>
                    <a:pt x="155604" y="25615"/>
                  </a:cubicBezTo>
                  <a:cubicBezTo>
                    <a:pt x="155448" y="24025"/>
                    <a:pt x="155863" y="22435"/>
                    <a:pt x="154739" y="20845"/>
                  </a:cubicBezTo>
                  <a:cubicBezTo>
                    <a:pt x="154065" y="19877"/>
                    <a:pt x="153772" y="18823"/>
                    <a:pt x="152406" y="18737"/>
                  </a:cubicBezTo>
                  <a:cubicBezTo>
                    <a:pt x="152044" y="18720"/>
                    <a:pt x="151940" y="18478"/>
                    <a:pt x="151888" y="18201"/>
                  </a:cubicBezTo>
                  <a:cubicBezTo>
                    <a:pt x="151820" y="17931"/>
                    <a:pt x="151918" y="17578"/>
                    <a:pt x="152229" y="17578"/>
                  </a:cubicBezTo>
                  <a:cubicBezTo>
                    <a:pt x="152236" y="17578"/>
                    <a:pt x="152243" y="17579"/>
                    <a:pt x="152251" y="17579"/>
                  </a:cubicBezTo>
                  <a:cubicBezTo>
                    <a:pt x="152284" y="17581"/>
                    <a:pt x="152317" y="17582"/>
                    <a:pt x="152350" y="17582"/>
                  </a:cubicBezTo>
                  <a:cubicBezTo>
                    <a:pt x="153000" y="17582"/>
                    <a:pt x="153628" y="17254"/>
                    <a:pt x="154277" y="17254"/>
                  </a:cubicBezTo>
                  <a:cubicBezTo>
                    <a:pt x="154558" y="17254"/>
                    <a:pt x="154844" y="17316"/>
                    <a:pt x="155137" y="17493"/>
                  </a:cubicBezTo>
                  <a:cubicBezTo>
                    <a:pt x="155393" y="17649"/>
                    <a:pt x="155627" y="17726"/>
                    <a:pt x="155836" y="17726"/>
                  </a:cubicBezTo>
                  <a:cubicBezTo>
                    <a:pt x="156249" y="17726"/>
                    <a:pt x="156566" y="17427"/>
                    <a:pt x="156761" y="16853"/>
                  </a:cubicBezTo>
                  <a:cubicBezTo>
                    <a:pt x="157072" y="15920"/>
                    <a:pt x="157954" y="15505"/>
                    <a:pt x="158662" y="15039"/>
                  </a:cubicBezTo>
                  <a:cubicBezTo>
                    <a:pt x="158771" y="14969"/>
                    <a:pt x="158912" y="14953"/>
                    <a:pt x="159064" y="14953"/>
                  </a:cubicBezTo>
                  <a:cubicBezTo>
                    <a:pt x="159192" y="14953"/>
                    <a:pt x="159327" y="14964"/>
                    <a:pt x="159458" y="14964"/>
                  </a:cubicBezTo>
                  <a:cubicBezTo>
                    <a:pt x="159792" y="14964"/>
                    <a:pt x="160100" y="14892"/>
                    <a:pt x="160183" y="14382"/>
                  </a:cubicBezTo>
                  <a:cubicBezTo>
                    <a:pt x="160304" y="13501"/>
                    <a:pt x="159475" y="13310"/>
                    <a:pt x="158887" y="12965"/>
                  </a:cubicBezTo>
                  <a:cubicBezTo>
                    <a:pt x="158662" y="12827"/>
                    <a:pt x="158334" y="12550"/>
                    <a:pt x="158351" y="12395"/>
                  </a:cubicBezTo>
                  <a:cubicBezTo>
                    <a:pt x="158404" y="12154"/>
                    <a:pt x="158582" y="12097"/>
                    <a:pt x="158776" y="12097"/>
                  </a:cubicBezTo>
                  <a:cubicBezTo>
                    <a:pt x="158903" y="12097"/>
                    <a:pt x="159037" y="12122"/>
                    <a:pt x="159146" y="12135"/>
                  </a:cubicBezTo>
                  <a:cubicBezTo>
                    <a:pt x="160460" y="12308"/>
                    <a:pt x="161652" y="12999"/>
                    <a:pt x="163017" y="12999"/>
                  </a:cubicBezTo>
                  <a:cubicBezTo>
                    <a:pt x="163570" y="12999"/>
                    <a:pt x="163795" y="12913"/>
                    <a:pt x="164002" y="12274"/>
                  </a:cubicBezTo>
                  <a:cubicBezTo>
                    <a:pt x="164745" y="10182"/>
                    <a:pt x="163311" y="10010"/>
                    <a:pt x="161998" y="9923"/>
                  </a:cubicBezTo>
                  <a:cubicBezTo>
                    <a:pt x="160218" y="9820"/>
                    <a:pt x="158438" y="9543"/>
                    <a:pt x="156710" y="9076"/>
                  </a:cubicBezTo>
                  <a:cubicBezTo>
                    <a:pt x="153313" y="8169"/>
                    <a:pt x="149984" y="6872"/>
                    <a:pt x="146431" y="6872"/>
                  </a:cubicBezTo>
                  <a:cubicBezTo>
                    <a:pt x="145249" y="6872"/>
                    <a:pt x="144041" y="7016"/>
                    <a:pt x="142798" y="7366"/>
                  </a:cubicBezTo>
                  <a:cubicBezTo>
                    <a:pt x="142441" y="7468"/>
                    <a:pt x="142044" y="7507"/>
                    <a:pt x="141624" y="7507"/>
                  </a:cubicBezTo>
                  <a:cubicBezTo>
                    <a:pt x="140475" y="7507"/>
                    <a:pt x="139148" y="7211"/>
                    <a:pt x="137959" y="7072"/>
                  </a:cubicBezTo>
                  <a:cubicBezTo>
                    <a:pt x="135760" y="6810"/>
                    <a:pt x="133765" y="5577"/>
                    <a:pt x="131513" y="5577"/>
                  </a:cubicBezTo>
                  <a:cubicBezTo>
                    <a:pt x="131235" y="5577"/>
                    <a:pt x="130953" y="5596"/>
                    <a:pt x="130666" y="5637"/>
                  </a:cubicBezTo>
                  <a:cubicBezTo>
                    <a:pt x="130197" y="5701"/>
                    <a:pt x="129713" y="5752"/>
                    <a:pt x="129231" y="5752"/>
                  </a:cubicBezTo>
                  <a:cubicBezTo>
                    <a:pt x="128525" y="5752"/>
                    <a:pt x="127823" y="5641"/>
                    <a:pt x="127175" y="5292"/>
                  </a:cubicBezTo>
                  <a:cubicBezTo>
                    <a:pt x="124583" y="3857"/>
                    <a:pt x="121352" y="4808"/>
                    <a:pt x="118811" y="3097"/>
                  </a:cubicBezTo>
                  <a:cubicBezTo>
                    <a:pt x="118623" y="2965"/>
                    <a:pt x="118385" y="2894"/>
                    <a:pt x="118144" y="2894"/>
                  </a:cubicBezTo>
                  <a:cubicBezTo>
                    <a:pt x="117786" y="2894"/>
                    <a:pt x="117421" y="3050"/>
                    <a:pt x="117204" y="3391"/>
                  </a:cubicBezTo>
                  <a:cubicBezTo>
                    <a:pt x="116737" y="4117"/>
                    <a:pt x="117601" y="4134"/>
                    <a:pt x="117930" y="4462"/>
                  </a:cubicBezTo>
                  <a:cubicBezTo>
                    <a:pt x="118103" y="4670"/>
                    <a:pt x="118154" y="4946"/>
                    <a:pt x="118068" y="5188"/>
                  </a:cubicBezTo>
                  <a:cubicBezTo>
                    <a:pt x="117958" y="5398"/>
                    <a:pt x="116241" y="5510"/>
                    <a:pt x="114740" y="5510"/>
                  </a:cubicBezTo>
                  <a:cubicBezTo>
                    <a:pt x="113645" y="5510"/>
                    <a:pt x="112664" y="5450"/>
                    <a:pt x="112503" y="5326"/>
                  </a:cubicBezTo>
                  <a:cubicBezTo>
                    <a:pt x="111242" y="4410"/>
                    <a:pt x="109825" y="3719"/>
                    <a:pt x="108321" y="3287"/>
                  </a:cubicBezTo>
                  <a:cubicBezTo>
                    <a:pt x="108108" y="3224"/>
                    <a:pt x="107902" y="3198"/>
                    <a:pt x="107703" y="3198"/>
                  </a:cubicBezTo>
                  <a:cubicBezTo>
                    <a:pt x="106742" y="3198"/>
                    <a:pt x="105934" y="3807"/>
                    <a:pt x="105084" y="3807"/>
                  </a:cubicBezTo>
                  <a:cubicBezTo>
                    <a:pt x="105000" y="3807"/>
                    <a:pt x="104915" y="3801"/>
                    <a:pt x="104830" y="3788"/>
                  </a:cubicBezTo>
                  <a:cubicBezTo>
                    <a:pt x="102083" y="3391"/>
                    <a:pt x="99266" y="3909"/>
                    <a:pt x="96760" y="1559"/>
                  </a:cubicBezTo>
                  <a:cubicBezTo>
                    <a:pt x="95295" y="185"/>
                    <a:pt x="93272" y="50"/>
                    <a:pt x="91223" y="50"/>
                  </a:cubicBezTo>
                  <a:cubicBezTo>
                    <a:pt x="90718" y="50"/>
                    <a:pt x="90212" y="58"/>
                    <a:pt x="89713" y="58"/>
                  </a:cubicBezTo>
                  <a:cubicBezTo>
                    <a:pt x="89152" y="58"/>
                    <a:pt x="88600" y="48"/>
                    <a:pt x="88067" y="4"/>
                  </a:cubicBezTo>
                  <a:cubicBezTo>
                    <a:pt x="88037" y="2"/>
                    <a:pt x="88007" y="1"/>
                    <a:pt x="8797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43" name="Google Shape;10976;p65">
              <a:extLst>
                <a:ext uri="{FF2B5EF4-FFF2-40B4-BE49-F238E27FC236}">
                  <a16:creationId xmlns:a16="http://schemas.microsoft.com/office/drawing/2014/main" id="{F242F37F-BF81-E78A-CEFB-2DDE93987094}"/>
                </a:ext>
              </a:extLst>
            </p:cNvPr>
            <p:cNvSpPr/>
            <p:nvPr/>
          </p:nvSpPr>
          <p:spPr>
            <a:xfrm>
              <a:off x="5913800" y="3523050"/>
              <a:ext cx="1109075" cy="813875"/>
            </a:xfrm>
            <a:custGeom>
              <a:avLst/>
              <a:gdLst/>
              <a:ahLst/>
              <a:cxnLst/>
              <a:rect l="l" t="t" r="r" b="b"/>
              <a:pathLst>
                <a:path w="44363" h="32555" extrusionOk="0">
                  <a:moveTo>
                    <a:pt x="28245" y="1"/>
                  </a:moveTo>
                  <a:cubicBezTo>
                    <a:pt x="27747" y="1"/>
                    <a:pt x="27602" y="373"/>
                    <a:pt x="27634" y="804"/>
                  </a:cubicBezTo>
                  <a:cubicBezTo>
                    <a:pt x="27737" y="2117"/>
                    <a:pt x="27979" y="3482"/>
                    <a:pt x="27996" y="4778"/>
                  </a:cubicBezTo>
                  <a:cubicBezTo>
                    <a:pt x="28014" y="5660"/>
                    <a:pt x="28567" y="7094"/>
                    <a:pt x="27634" y="7267"/>
                  </a:cubicBezTo>
                  <a:cubicBezTo>
                    <a:pt x="27521" y="7286"/>
                    <a:pt x="27406" y="7295"/>
                    <a:pt x="27290" y="7295"/>
                  </a:cubicBezTo>
                  <a:cubicBezTo>
                    <a:pt x="25431" y="7295"/>
                    <a:pt x="23230" y="4918"/>
                    <a:pt x="23555" y="3275"/>
                  </a:cubicBezTo>
                  <a:cubicBezTo>
                    <a:pt x="23754" y="2264"/>
                    <a:pt x="23333" y="1317"/>
                    <a:pt x="22034" y="1317"/>
                  </a:cubicBezTo>
                  <a:cubicBezTo>
                    <a:pt x="21978" y="1317"/>
                    <a:pt x="21920" y="1318"/>
                    <a:pt x="21862" y="1322"/>
                  </a:cubicBezTo>
                  <a:cubicBezTo>
                    <a:pt x="21814" y="1325"/>
                    <a:pt x="21765" y="1327"/>
                    <a:pt x="21716" y="1327"/>
                  </a:cubicBezTo>
                  <a:cubicBezTo>
                    <a:pt x="20777" y="1327"/>
                    <a:pt x="19668" y="752"/>
                    <a:pt x="18692" y="752"/>
                  </a:cubicBezTo>
                  <a:cubicBezTo>
                    <a:pt x="18107" y="752"/>
                    <a:pt x="17570" y="958"/>
                    <a:pt x="17144" y="1616"/>
                  </a:cubicBezTo>
                  <a:cubicBezTo>
                    <a:pt x="16642" y="2376"/>
                    <a:pt x="15295" y="2826"/>
                    <a:pt x="15191" y="4035"/>
                  </a:cubicBezTo>
                  <a:cubicBezTo>
                    <a:pt x="15162" y="4430"/>
                    <a:pt x="15144" y="4616"/>
                    <a:pt x="15002" y="4616"/>
                  </a:cubicBezTo>
                  <a:cubicBezTo>
                    <a:pt x="14889" y="4616"/>
                    <a:pt x="14698" y="4499"/>
                    <a:pt x="14361" y="4277"/>
                  </a:cubicBezTo>
                  <a:cubicBezTo>
                    <a:pt x="13724" y="3844"/>
                    <a:pt x="13113" y="3612"/>
                    <a:pt x="12606" y="3612"/>
                  </a:cubicBezTo>
                  <a:cubicBezTo>
                    <a:pt x="12042" y="3612"/>
                    <a:pt x="11607" y="3900"/>
                    <a:pt x="11406" y="4519"/>
                  </a:cubicBezTo>
                  <a:cubicBezTo>
                    <a:pt x="10784" y="6334"/>
                    <a:pt x="8710" y="7215"/>
                    <a:pt x="8624" y="9392"/>
                  </a:cubicBezTo>
                  <a:cubicBezTo>
                    <a:pt x="8607" y="10153"/>
                    <a:pt x="7933" y="10619"/>
                    <a:pt x="7086" y="10879"/>
                  </a:cubicBezTo>
                  <a:cubicBezTo>
                    <a:pt x="5669" y="11311"/>
                    <a:pt x="4355" y="11864"/>
                    <a:pt x="3007" y="12382"/>
                  </a:cubicBezTo>
                  <a:cubicBezTo>
                    <a:pt x="1003" y="13160"/>
                    <a:pt x="0" y="16910"/>
                    <a:pt x="1538" y="19018"/>
                  </a:cubicBezTo>
                  <a:cubicBezTo>
                    <a:pt x="2835" y="20798"/>
                    <a:pt x="3128" y="22595"/>
                    <a:pt x="3992" y="24375"/>
                  </a:cubicBezTo>
                  <a:cubicBezTo>
                    <a:pt x="4494" y="25360"/>
                    <a:pt x="4424" y="26276"/>
                    <a:pt x="3750" y="26950"/>
                  </a:cubicBezTo>
                  <a:cubicBezTo>
                    <a:pt x="3353" y="27348"/>
                    <a:pt x="3509" y="27797"/>
                    <a:pt x="4148" y="28298"/>
                  </a:cubicBezTo>
                  <a:cubicBezTo>
                    <a:pt x="5020" y="28962"/>
                    <a:pt x="5824" y="29302"/>
                    <a:pt x="6549" y="29302"/>
                  </a:cubicBezTo>
                  <a:cubicBezTo>
                    <a:pt x="7089" y="29302"/>
                    <a:pt x="7586" y="29114"/>
                    <a:pt x="8036" y="28730"/>
                  </a:cubicBezTo>
                  <a:cubicBezTo>
                    <a:pt x="8740" y="28095"/>
                    <a:pt x="9643" y="27747"/>
                    <a:pt x="10576" y="27747"/>
                  </a:cubicBezTo>
                  <a:cubicBezTo>
                    <a:pt x="10811" y="27747"/>
                    <a:pt x="11049" y="27769"/>
                    <a:pt x="11285" y="27814"/>
                  </a:cubicBezTo>
                  <a:cubicBezTo>
                    <a:pt x="11420" y="27836"/>
                    <a:pt x="11551" y="27846"/>
                    <a:pt x="11676" y="27846"/>
                  </a:cubicBezTo>
                  <a:cubicBezTo>
                    <a:pt x="12065" y="27846"/>
                    <a:pt x="12402" y="27743"/>
                    <a:pt x="12650" y="27521"/>
                  </a:cubicBezTo>
                  <a:cubicBezTo>
                    <a:pt x="14551" y="25793"/>
                    <a:pt x="17368" y="25343"/>
                    <a:pt x="20047" y="24790"/>
                  </a:cubicBezTo>
                  <a:cubicBezTo>
                    <a:pt x="20247" y="24746"/>
                    <a:pt x="20464" y="24721"/>
                    <a:pt x="20691" y="24721"/>
                  </a:cubicBezTo>
                  <a:cubicBezTo>
                    <a:pt x="21623" y="24721"/>
                    <a:pt x="22712" y="25150"/>
                    <a:pt x="23365" y="26484"/>
                  </a:cubicBezTo>
                  <a:cubicBezTo>
                    <a:pt x="23667" y="27105"/>
                    <a:pt x="23855" y="28198"/>
                    <a:pt x="25083" y="28198"/>
                  </a:cubicBezTo>
                  <a:cubicBezTo>
                    <a:pt x="25120" y="28198"/>
                    <a:pt x="25158" y="28197"/>
                    <a:pt x="25197" y="28195"/>
                  </a:cubicBezTo>
                  <a:cubicBezTo>
                    <a:pt x="25345" y="28183"/>
                    <a:pt x="25455" y="28022"/>
                    <a:pt x="25593" y="28022"/>
                  </a:cubicBezTo>
                  <a:cubicBezTo>
                    <a:pt x="25664" y="28022"/>
                    <a:pt x="25742" y="28065"/>
                    <a:pt x="25836" y="28195"/>
                  </a:cubicBezTo>
                  <a:cubicBezTo>
                    <a:pt x="25923" y="28298"/>
                    <a:pt x="25767" y="28592"/>
                    <a:pt x="25612" y="28713"/>
                  </a:cubicBezTo>
                  <a:cubicBezTo>
                    <a:pt x="25318" y="28938"/>
                    <a:pt x="24903" y="29128"/>
                    <a:pt x="25283" y="29646"/>
                  </a:cubicBezTo>
                  <a:cubicBezTo>
                    <a:pt x="25508" y="29871"/>
                    <a:pt x="25802" y="30026"/>
                    <a:pt x="26113" y="30078"/>
                  </a:cubicBezTo>
                  <a:cubicBezTo>
                    <a:pt x="26172" y="30086"/>
                    <a:pt x="26229" y="30090"/>
                    <a:pt x="26283" y="30090"/>
                  </a:cubicBezTo>
                  <a:cubicBezTo>
                    <a:pt x="26710" y="30090"/>
                    <a:pt x="27006" y="29856"/>
                    <a:pt x="27098" y="29473"/>
                  </a:cubicBezTo>
                  <a:cubicBezTo>
                    <a:pt x="27115" y="29335"/>
                    <a:pt x="27098" y="29197"/>
                    <a:pt x="27029" y="29076"/>
                  </a:cubicBezTo>
                  <a:cubicBezTo>
                    <a:pt x="26976" y="28903"/>
                    <a:pt x="26992" y="28848"/>
                    <a:pt x="27041" y="28848"/>
                  </a:cubicBezTo>
                  <a:cubicBezTo>
                    <a:pt x="27105" y="28848"/>
                    <a:pt x="27225" y="28941"/>
                    <a:pt x="27322" y="28990"/>
                  </a:cubicBezTo>
                  <a:cubicBezTo>
                    <a:pt x="27824" y="29266"/>
                    <a:pt x="28463" y="29473"/>
                    <a:pt x="28169" y="30113"/>
                  </a:cubicBezTo>
                  <a:cubicBezTo>
                    <a:pt x="27945" y="30597"/>
                    <a:pt x="28117" y="31029"/>
                    <a:pt x="28809" y="31461"/>
                  </a:cubicBezTo>
                  <a:cubicBezTo>
                    <a:pt x="30199" y="32318"/>
                    <a:pt x="31628" y="32554"/>
                    <a:pt x="32898" y="32554"/>
                  </a:cubicBezTo>
                  <a:cubicBezTo>
                    <a:pt x="33522" y="32554"/>
                    <a:pt x="34108" y="32497"/>
                    <a:pt x="34633" y="32429"/>
                  </a:cubicBezTo>
                  <a:cubicBezTo>
                    <a:pt x="36672" y="32135"/>
                    <a:pt x="39299" y="31824"/>
                    <a:pt x="39299" y="29145"/>
                  </a:cubicBezTo>
                  <a:cubicBezTo>
                    <a:pt x="39299" y="28938"/>
                    <a:pt x="39541" y="28799"/>
                    <a:pt x="39592" y="28575"/>
                  </a:cubicBezTo>
                  <a:cubicBezTo>
                    <a:pt x="40024" y="26968"/>
                    <a:pt x="41804" y="26363"/>
                    <a:pt x="42496" y="24998"/>
                  </a:cubicBezTo>
                  <a:cubicBezTo>
                    <a:pt x="44224" y="21559"/>
                    <a:pt x="44362" y="17722"/>
                    <a:pt x="40232" y="13661"/>
                  </a:cubicBezTo>
                  <a:cubicBezTo>
                    <a:pt x="38953" y="12399"/>
                    <a:pt x="38037" y="10671"/>
                    <a:pt x="36309" y="9859"/>
                  </a:cubicBezTo>
                  <a:cubicBezTo>
                    <a:pt x="34494" y="9012"/>
                    <a:pt x="34080" y="7716"/>
                    <a:pt x="33509" y="6472"/>
                  </a:cubicBezTo>
                  <a:cubicBezTo>
                    <a:pt x="33388" y="5608"/>
                    <a:pt x="33008" y="4761"/>
                    <a:pt x="32213" y="4346"/>
                  </a:cubicBezTo>
                  <a:cubicBezTo>
                    <a:pt x="30658" y="3465"/>
                    <a:pt x="30278" y="2100"/>
                    <a:pt x="29414" y="942"/>
                  </a:cubicBezTo>
                  <a:cubicBezTo>
                    <a:pt x="29120" y="544"/>
                    <a:pt x="28947" y="78"/>
                    <a:pt x="28377" y="9"/>
                  </a:cubicBezTo>
                  <a:cubicBezTo>
                    <a:pt x="28330" y="3"/>
                    <a:pt x="28287" y="1"/>
                    <a:pt x="2824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44" name="Google Shape;10977;p65">
              <a:extLst>
                <a:ext uri="{FF2B5EF4-FFF2-40B4-BE49-F238E27FC236}">
                  <a16:creationId xmlns:a16="http://schemas.microsoft.com/office/drawing/2014/main" id="{892E4C23-8DC5-B463-38E9-E297CF2159EF}"/>
                </a:ext>
              </a:extLst>
            </p:cNvPr>
            <p:cNvSpPr/>
            <p:nvPr/>
          </p:nvSpPr>
          <p:spPr>
            <a:xfrm>
              <a:off x="6442175" y="3238700"/>
              <a:ext cx="571625" cy="311800"/>
            </a:xfrm>
            <a:custGeom>
              <a:avLst/>
              <a:gdLst/>
              <a:ahLst/>
              <a:cxnLst/>
              <a:rect l="l" t="t" r="r" b="b"/>
              <a:pathLst>
                <a:path w="22865" h="12472" extrusionOk="0">
                  <a:moveTo>
                    <a:pt x="3070" y="1"/>
                  </a:moveTo>
                  <a:cubicBezTo>
                    <a:pt x="2939" y="1"/>
                    <a:pt x="2792" y="15"/>
                    <a:pt x="2627" y="46"/>
                  </a:cubicBezTo>
                  <a:cubicBezTo>
                    <a:pt x="1833" y="202"/>
                    <a:pt x="830" y="29"/>
                    <a:pt x="415" y="927"/>
                  </a:cubicBezTo>
                  <a:cubicBezTo>
                    <a:pt x="1" y="1826"/>
                    <a:pt x="934" y="1861"/>
                    <a:pt x="1400" y="2189"/>
                  </a:cubicBezTo>
                  <a:cubicBezTo>
                    <a:pt x="1504" y="2258"/>
                    <a:pt x="1366" y="2569"/>
                    <a:pt x="1435" y="2742"/>
                  </a:cubicBezTo>
                  <a:cubicBezTo>
                    <a:pt x="1757" y="3623"/>
                    <a:pt x="1963" y="4886"/>
                    <a:pt x="3062" y="4886"/>
                  </a:cubicBezTo>
                  <a:cubicBezTo>
                    <a:pt x="3084" y="4886"/>
                    <a:pt x="3106" y="4886"/>
                    <a:pt x="3129" y="4885"/>
                  </a:cubicBezTo>
                  <a:cubicBezTo>
                    <a:pt x="3207" y="4880"/>
                    <a:pt x="3284" y="4878"/>
                    <a:pt x="3360" y="4878"/>
                  </a:cubicBezTo>
                  <a:cubicBezTo>
                    <a:pt x="4698" y="4878"/>
                    <a:pt x="5731" y="5570"/>
                    <a:pt x="6810" y="6077"/>
                  </a:cubicBezTo>
                  <a:cubicBezTo>
                    <a:pt x="7328" y="6319"/>
                    <a:pt x="8019" y="7322"/>
                    <a:pt x="7207" y="8203"/>
                  </a:cubicBezTo>
                  <a:cubicBezTo>
                    <a:pt x="6913" y="8531"/>
                    <a:pt x="6948" y="8911"/>
                    <a:pt x="7121" y="9292"/>
                  </a:cubicBezTo>
                  <a:cubicBezTo>
                    <a:pt x="7274" y="9613"/>
                    <a:pt x="7597" y="9810"/>
                    <a:pt x="7934" y="9810"/>
                  </a:cubicBezTo>
                  <a:cubicBezTo>
                    <a:pt x="8014" y="9810"/>
                    <a:pt x="8095" y="9799"/>
                    <a:pt x="8175" y="9775"/>
                  </a:cubicBezTo>
                  <a:cubicBezTo>
                    <a:pt x="8275" y="9755"/>
                    <a:pt x="8368" y="9745"/>
                    <a:pt x="8457" y="9745"/>
                  </a:cubicBezTo>
                  <a:cubicBezTo>
                    <a:pt x="8811" y="9745"/>
                    <a:pt x="9087" y="9900"/>
                    <a:pt x="9419" y="10121"/>
                  </a:cubicBezTo>
                  <a:cubicBezTo>
                    <a:pt x="10079" y="10569"/>
                    <a:pt x="10930" y="10787"/>
                    <a:pt x="11688" y="10787"/>
                  </a:cubicBezTo>
                  <a:cubicBezTo>
                    <a:pt x="12538" y="10787"/>
                    <a:pt x="13270" y="10513"/>
                    <a:pt x="13480" y="9983"/>
                  </a:cubicBezTo>
                  <a:cubicBezTo>
                    <a:pt x="13648" y="9563"/>
                    <a:pt x="13555" y="9014"/>
                    <a:pt x="14230" y="9014"/>
                  </a:cubicBezTo>
                  <a:cubicBezTo>
                    <a:pt x="14250" y="9014"/>
                    <a:pt x="14271" y="9014"/>
                    <a:pt x="14293" y="9015"/>
                  </a:cubicBezTo>
                  <a:cubicBezTo>
                    <a:pt x="15036" y="9050"/>
                    <a:pt x="15381" y="9516"/>
                    <a:pt x="15450" y="10138"/>
                  </a:cubicBezTo>
                  <a:cubicBezTo>
                    <a:pt x="15640" y="11486"/>
                    <a:pt x="16522" y="11953"/>
                    <a:pt x="17697" y="11988"/>
                  </a:cubicBezTo>
                  <a:cubicBezTo>
                    <a:pt x="18224" y="11988"/>
                    <a:pt x="18870" y="12472"/>
                    <a:pt x="19366" y="12472"/>
                  </a:cubicBezTo>
                  <a:cubicBezTo>
                    <a:pt x="19602" y="12472"/>
                    <a:pt x="19804" y="12362"/>
                    <a:pt x="19944" y="12039"/>
                  </a:cubicBezTo>
                  <a:cubicBezTo>
                    <a:pt x="20289" y="11210"/>
                    <a:pt x="19287" y="10398"/>
                    <a:pt x="18596" y="9758"/>
                  </a:cubicBezTo>
                  <a:cubicBezTo>
                    <a:pt x="18164" y="9361"/>
                    <a:pt x="17420" y="8825"/>
                    <a:pt x="17749" y="8272"/>
                  </a:cubicBezTo>
                  <a:cubicBezTo>
                    <a:pt x="17984" y="7884"/>
                    <a:pt x="18253" y="7197"/>
                    <a:pt x="18937" y="7197"/>
                  </a:cubicBezTo>
                  <a:cubicBezTo>
                    <a:pt x="19107" y="7197"/>
                    <a:pt x="19302" y="7239"/>
                    <a:pt x="19529" y="7339"/>
                  </a:cubicBezTo>
                  <a:cubicBezTo>
                    <a:pt x="19732" y="7429"/>
                    <a:pt x="19935" y="7468"/>
                    <a:pt x="20135" y="7468"/>
                  </a:cubicBezTo>
                  <a:cubicBezTo>
                    <a:pt x="20854" y="7468"/>
                    <a:pt x="21544" y="6970"/>
                    <a:pt x="22138" y="6578"/>
                  </a:cubicBezTo>
                  <a:cubicBezTo>
                    <a:pt x="22795" y="6146"/>
                    <a:pt x="22864" y="5248"/>
                    <a:pt x="22311" y="4643"/>
                  </a:cubicBezTo>
                  <a:cubicBezTo>
                    <a:pt x="22115" y="4425"/>
                    <a:pt x="21948" y="4340"/>
                    <a:pt x="21799" y="4340"/>
                  </a:cubicBezTo>
                  <a:cubicBezTo>
                    <a:pt x="21465" y="4340"/>
                    <a:pt x="21227" y="4774"/>
                    <a:pt x="20963" y="5110"/>
                  </a:cubicBezTo>
                  <a:cubicBezTo>
                    <a:pt x="20756" y="5334"/>
                    <a:pt x="20479" y="5472"/>
                    <a:pt x="20168" y="5507"/>
                  </a:cubicBezTo>
                  <a:cubicBezTo>
                    <a:pt x="20112" y="5512"/>
                    <a:pt x="20051" y="5514"/>
                    <a:pt x="19986" y="5514"/>
                  </a:cubicBezTo>
                  <a:cubicBezTo>
                    <a:pt x="18639" y="5514"/>
                    <a:pt x="15548" y="4518"/>
                    <a:pt x="14344" y="3727"/>
                  </a:cubicBezTo>
                  <a:cubicBezTo>
                    <a:pt x="13999" y="3485"/>
                    <a:pt x="13636" y="3295"/>
                    <a:pt x="13238" y="3139"/>
                  </a:cubicBezTo>
                  <a:cubicBezTo>
                    <a:pt x="11925" y="2690"/>
                    <a:pt x="10473" y="2465"/>
                    <a:pt x="9298" y="1774"/>
                  </a:cubicBezTo>
                  <a:cubicBezTo>
                    <a:pt x="8770" y="1458"/>
                    <a:pt x="8301" y="1322"/>
                    <a:pt x="7877" y="1322"/>
                  </a:cubicBezTo>
                  <a:cubicBezTo>
                    <a:pt x="7093" y="1322"/>
                    <a:pt x="6459" y="1787"/>
                    <a:pt x="5876" y="2448"/>
                  </a:cubicBezTo>
                  <a:cubicBezTo>
                    <a:pt x="5497" y="2886"/>
                    <a:pt x="5240" y="3062"/>
                    <a:pt x="5050" y="3062"/>
                  </a:cubicBezTo>
                  <a:cubicBezTo>
                    <a:pt x="4739" y="3062"/>
                    <a:pt x="4614" y="2586"/>
                    <a:pt x="4442" y="2016"/>
                  </a:cubicBezTo>
                  <a:cubicBezTo>
                    <a:pt x="4193" y="1191"/>
                    <a:pt x="4266" y="1"/>
                    <a:pt x="3070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45" name="Google Shape;10978;p65">
              <a:extLst>
                <a:ext uri="{FF2B5EF4-FFF2-40B4-BE49-F238E27FC236}">
                  <a16:creationId xmlns:a16="http://schemas.microsoft.com/office/drawing/2014/main" id="{587D09B3-0901-C9CB-15A9-17AF6441FFB7}"/>
                </a:ext>
              </a:extLst>
            </p:cNvPr>
            <p:cNvSpPr/>
            <p:nvPr/>
          </p:nvSpPr>
          <p:spPr>
            <a:xfrm>
              <a:off x="5898675" y="3029225"/>
              <a:ext cx="282150" cy="318450"/>
            </a:xfrm>
            <a:custGeom>
              <a:avLst/>
              <a:gdLst/>
              <a:ahLst/>
              <a:cxnLst/>
              <a:rect l="l" t="t" r="r" b="b"/>
              <a:pathLst>
                <a:path w="11286" h="12738" extrusionOk="0">
                  <a:moveTo>
                    <a:pt x="8163" y="0"/>
                  </a:moveTo>
                  <a:cubicBezTo>
                    <a:pt x="7646" y="0"/>
                    <a:pt x="7307" y="634"/>
                    <a:pt x="7121" y="1115"/>
                  </a:cubicBezTo>
                  <a:cubicBezTo>
                    <a:pt x="6498" y="2618"/>
                    <a:pt x="5081" y="3362"/>
                    <a:pt x="4027" y="4450"/>
                  </a:cubicBezTo>
                  <a:cubicBezTo>
                    <a:pt x="3562" y="4916"/>
                    <a:pt x="2753" y="5709"/>
                    <a:pt x="2170" y="5709"/>
                  </a:cubicBezTo>
                  <a:cubicBezTo>
                    <a:pt x="2125" y="5709"/>
                    <a:pt x="2082" y="5704"/>
                    <a:pt x="2040" y="5695"/>
                  </a:cubicBezTo>
                  <a:cubicBezTo>
                    <a:pt x="1767" y="5631"/>
                    <a:pt x="1536" y="5602"/>
                    <a:pt x="1339" y="5602"/>
                  </a:cubicBezTo>
                  <a:cubicBezTo>
                    <a:pt x="150" y="5602"/>
                    <a:pt x="215" y="6659"/>
                    <a:pt x="52" y="7475"/>
                  </a:cubicBezTo>
                  <a:cubicBezTo>
                    <a:pt x="1" y="9410"/>
                    <a:pt x="1625" y="11518"/>
                    <a:pt x="3267" y="12123"/>
                  </a:cubicBezTo>
                  <a:cubicBezTo>
                    <a:pt x="3638" y="12262"/>
                    <a:pt x="4019" y="12277"/>
                    <a:pt x="4389" y="12277"/>
                  </a:cubicBezTo>
                  <a:cubicBezTo>
                    <a:pt x="4488" y="12277"/>
                    <a:pt x="4586" y="12276"/>
                    <a:pt x="4683" y="12276"/>
                  </a:cubicBezTo>
                  <a:cubicBezTo>
                    <a:pt x="5034" y="12276"/>
                    <a:pt x="5369" y="12290"/>
                    <a:pt x="5669" y="12417"/>
                  </a:cubicBezTo>
                  <a:cubicBezTo>
                    <a:pt x="6156" y="12630"/>
                    <a:pt x="6559" y="12738"/>
                    <a:pt x="6895" y="12738"/>
                  </a:cubicBezTo>
                  <a:cubicBezTo>
                    <a:pt x="7678" y="12738"/>
                    <a:pt x="8093" y="12148"/>
                    <a:pt x="8348" y="10914"/>
                  </a:cubicBezTo>
                  <a:cubicBezTo>
                    <a:pt x="8572" y="9773"/>
                    <a:pt x="9073" y="8235"/>
                    <a:pt x="9937" y="7786"/>
                  </a:cubicBezTo>
                  <a:cubicBezTo>
                    <a:pt x="11268" y="7094"/>
                    <a:pt x="10577" y="6697"/>
                    <a:pt x="10231" y="6023"/>
                  </a:cubicBezTo>
                  <a:cubicBezTo>
                    <a:pt x="9782" y="5124"/>
                    <a:pt x="8797" y="4278"/>
                    <a:pt x="10058" y="3189"/>
                  </a:cubicBezTo>
                  <a:cubicBezTo>
                    <a:pt x="10404" y="2895"/>
                    <a:pt x="11285" y="2618"/>
                    <a:pt x="10853" y="1945"/>
                  </a:cubicBezTo>
                  <a:cubicBezTo>
                    <a:pt x="10266" y="1063"/>
                    <a:pt x="9402" y="286"/>
                    <a:pt x="8348" y="26"/>
                  </a:cubicBezTo>
                  <a:cubicBezTo>
                    <a:pt x="8284" y="9"/>
                    <a:pt x="8222" y="0"/>
                    <a:pt x="8163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46" name="Google Shape;10979;p65">
              <a:extLst>
                <a:ext uri="{FF2B5EF4-FFF2-40B4-BE49-F238E27FC236}">
                  <a16:creationId xmlns:a16="http://schemas.microsoft.com/office/drawing/2014/main" id="{5E1602AC-571B-0579-9624-D96E1240B797}"/>
                </a:ext>
              </a:extLst>
            </p:cNvPr>
            <p:cNvSpPr/>
            <p:nvPr/>
          </p:nvSpPr>
          <p:spPr>
            <a:xfrm>
              <a:off x="5544400" y="3065225"/>
              <a:ext cx="541800" cy="430700"/>
            </a:xfrm>
            <a:custGeom>
              <a:avLst/>
              <a:gdLst/>
              <a:ahLst/>
              <a:cxnLst/>
              <a:rect l="l" t="t" r="r" b="b"/>
              <a:pathLst>
                <a:path w="21672" h="17228" extrusionOk="0">
                  <a:moveTo>
                    <a:pt x="7484" y="4583"/>
                  </a:moveTo>
                  <a:lnTo>
                    <a:pt x="7484" y="4583"/>
                  </a:lnTo>
                  <a:cubicBezTo>
                    <a:pt x="7486" y="4586"/>
                    <a:pt x="7488" y="4589"/>
                    <a:pt x="7491" y="4592"/>
                  </a:cubicBezTo>
                  <a:lnTo>
                    <a:pt x="7491" y="4592"/>
                  </a:lnTo>
                  <a:cubicBezTo>
                    <a:pt x="7494" y="4595"/>
                    <a:pt x="7498" y="4597"/>
                    <a:pt x="7501" y="4600"/>
                  </a:cubicBezTo>
                  <a:lnTo>
                    <a:pt x="7484" y="4583"/>
                  </a:lnTo>
                  <a:close/>
                  <a:moveTo>
                    <a:pt x="1210" y="0"/>
                  </a:moveTo>
                  <a:cubicBezTo>
                    <a:pt x="910" y="0"/>
                    <a:pt x="646" y="84"/>
                    <a:pt x="415" y="314"/>
                  </a:cubicBezTo>
                  <a:cubicBezTo>
                    <a:pt x="1" y="712"/>
                    <a:pt x="260" y="1127"/>
                    <a:pt x="571" y="1403"/>
                  </a:cubicBezTo>
                  <a:cubicBezTo>
                    <a:pt x="1833" y="2561"/>
                    <a:pt x="2939" y="3874"/>
                    <a:pt x="3872" y="5309"/>
                  </a:cubicBezTo>
                  <a:cubicBezTo>
                    <a:pt x="5894" y="8264"/>
                    <a:pt x="6948" y="12014"/>
                    <a:pt x="10663" y="13552"/>
                  </a:cubicBezTo>
                  <a:cubicBezTo>
                    <a:pt x="10715" y="13587"/>
                    <a:pt x="10733" y="13656"/>
                    <a:pt x="10733" y="13725"/>
                  </a:cubicBezTo>
                  <a:cubicBezTo>
                    <a:pt x="10007" y="15522"/>
                    <a:pt x="11579" y="15401"/>
                    <a:pt x="12478" y="15660"/>
                  </a:cubicBezTo>
                  <a:cubicBezTo>
                    <a:pt x="14932" y="16334"/>
                    <a:pt x="17420" y="16801"/>
                    <a:pt x="19961" y="17043"/>
                  </a:cubicBezTo>
                  <a:cubicBezTo>
                    <a:pt x="20276" y="17079"/>
                    <a:pt x="20618" y="17227"/>
                    <a:pt x="20904" y="17227"/>
                  </a:cubicBezTo>
                  <a:cubicBezTo>
                    <a:pt x="21167" y="17227"/>
                    <a:pt x="21382" y="17101"/>
                    <a:pt x="21482" y="16645"/>
                  </a:cubicBezTo>
                  <a:cubicBezTo>
                    <a:pt x="21672" y="15816"/>
                    <a:pt x="20842" y="15626"/>
                    <a:pt x="20306" y="15280"/>
                  </a:cubicBezTo>
                  <a:cubicBezTo>
                    <a:pt x="18129" y="13932"/>
                    <a:pt x="15502" y="14347"/>
                    <a:pt x="13204" y="13448"/>
                  </a:cubicBezTo>
                  <a:cubicBezTo>
                    <a:pt x="13103" y="13410"/>
                    <a:pt x="12986" y="13400"/>
                    <a:pt x="12863" y="13400"/>
                  </a:cubicBezTo>
                  <a:cubicBezTo>
                    <a:pt x="12726" y="13400"/>
                    <a:pt x="12582" y="13412"/>
                    <a:pt x="12448" y="13412"/>
                  </a:cubicBezTo>
                  <a:cubicBezTo>
                    <a:pt x="12162" y="13412"/>
                    <a:pt x="11919" y="13355"/>
                    <a:pt x="11873" y="12999"/>
                  </a:cubicBezTo>
                  <a:cubicBezTo>
                    <a:pt x="11769" y="12221"/>
                    <a:pt x="11614" y="11288"/>
                    <a:pt x="12409" y="10666"/>
                  </a:cubicBezTo>
                  <a:cubicBezTo>
                    <a:pt x="12979" y="10199"/>
                    <a:pt x="12806" y="9836"/>
                    <a:pt x="12478" y="9249"/>
                  </a:cubicBezTo>
                  <a:cubicBezTo>
                    <a:pt x="11908" y="8195"/>
                    <a:pt x="10352" y="8558"/>
                    <a:pt x="10076" y="7849"/>
                  </a:cubicBezTo>
                  <a:cubicBezTo>
                    <a:pt x="9542" y="6419"/>
                    <a:pt x="8354" y="5659"/>
                    <a:pt x="7491" y="4592"/>
                  </a:cubicBezTo>
                  <a:lnTo>
                    <a:pt x="7491" y="4592"/>
                  </a:lnTo>
                  <a:cubicBezTo>
                    <a:pt x="6993" y="4179"/>
                    <a:pt x="6512" y="3733"/>
                    <a:pt x="5980" y="3339"/>
                  </a:cubicBezTo>
                  <a:cubicBezTo>
                    <a:pt x="4563" y="2285"/>
                    <a:pt x="3682" y="522"/>
                    <a:pt x="1763" y="72"/>
                  </a:cubicBezTo>
                  <a:cubicBezTo>
                    <a:pt x="1567" y="28"/>
                    <a:pt x="1383" y="0"/>
                    <a:pt x="1210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47" name="Google Shape;10980;p65">
              <a:extLst>
                <a:ext uri="{FF2B5EF4-FFF2-40B4-BE49-F238E27FC236}">
                  <a16:creationId xmlns:a16="http://schemas.microsoft.com/office/drawing/2014/main" id="{D77C9C95-3561-EC0B-586C-D15807AB8734}"/>
                </a:ext>
              </a:extLst>
            </p:cNvPr>
            <p:cNvSpPr/>
            <p:nvPr/>
          </p:nvSpPr>
          <p:spPr>
            <a:xfrm>
              <a:off x="4388700" y="3530600"/>
              <a:ext cx="227275" cy="395425"/>
            </a:xfrm>
            <a:custGeom>
              <a:avLst/>
              <a:gdLst/>
              <a:ahLst/>
              <a:cxnLst/>
              <a:rect l="l" t="t" r="r" b="b"/>
              <a:pathLst>
                <a:path w="9091" h="15817" extrusionOk="0">
                  <a:moveTo>
                    <a:pt x="7622" y="0"/>
                  </a:moveTo>
                  <a:cubicBezTo>
                    <a:pt x="7155" y="0"/>
                    <a:pt x="6965" y="363"/>
                    <a:pt x="6740" y="761"/>
                  </a:cubicBezTo>
                  <a:cubicBezTo>
                    <a:pt x="5963" y="2212"/>
                    <a:pt x="5323" y="3802"/>
                    <a:pt x="3405" y="4200"/>
                  </a:cubicBezTo>
                  <a:cubicBezTo>
                    <a:pt x="2645" y="4338"/>
                    <a:pt x="2247" y="4891"/>
                    <a:pt x="2109" y="5738"/>
                  </a:cubicBezTo>
                  <a:cubicBezTo>
                    <a:pt x="1781" y="7587"/>
                    <a:pt x="1971" y="9471"/>
                    <a:pt x="917" y="11285"/>
                  </a:cubicBezTo>
                  <a:cubicBezTo>
                    <a:pt x="1" y="12910"/>
                    <a:pt x="1660" y="15813"/>
                    <a:pt x="3077" y="15813"/>
                  </a:cubicBezTo>
                  <a:cubicBezTo>
                    <a:pt x="3125" y="15815"/>
                    <a:pt x="3172" y="15816"/>
                    <a:pt x="3219" y="15816"/>
                  </a:cubicBezTo>
                  <a:cubicBezTo>
                    <a:pt x="4640" y="15816"/>
                    <a:pt x="5279" y="14808"/>
                    <a:pt x="5496" y="13670"/>
                  </a:cubicBezTo>
                  <a:cubicBezTo>
                    <a:pt x="6049" y="11095"/>
                    <a:pt x="7034" y="8676"/>
                    <a:pt x="8002" y="6256"/>
                  </a:cubicBezTo>
                  <a:cubicBezTo>
                    <a:pt x="8745" y="4373"/>
                    <a:pt x="9091" y="2645"/>
                    <a:pt x="8192" y="778"/>
                  </a:cubicBezTo>
                  <a:cubicBezTo>
                    <a:pt x="8054" y="467"/>
                    <a:pt x="8106" y="18"/>
                    <a:pt x="762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48" name="Google Shape;10981;p65">
              <a:extLst>
                <a:ext uri="{FF2B5EF4-FFF2-40B4-BE49-F238E27FC236}">
                  <a16:creationId xmlns:a16="http://schemas.microsoft.com/office/drawing/2014/main" id="{A6731DFF-F159-7EF7-1B66-DE6D390A0F46}"/>
                </a:ext>
              </a:extLst>
            </p:cNvPr>
            <p:cNvSpPr/>
            <p:nvPr/>
          </p:nvSpPr>
          <p:spPr>
            <a:xfrm>
              <a:off x="6438300" y="1893850"/>
              <a:ext cx="267450" cy="418275"/>
            </a:xfrm>
            <a:custGeom>
              <a:avLst/>
              <a:gdLst/>
              <a:ahLst/>
              <a:cxnLst/>
              <a:rect l="l" t="t" r="r" b="b"/>
              <a:pathLst>
                <a:path w="10698" h="16731" extrusionOk="0">
                  <a:moveTo>
                    <a:pt x="4909" y="1"/>
                  </a:moveTo>
                  <a:cubicBezTo>
                    <a:pt x="4667" y="1"/>
                    <a:pt x="4504" y="61"/>
                    <a:pt x="4562" y="216"/>
                  </a:cubicBezTo>
                  <a:cubicBezTo>
                    <a:pt x="5064" y="1633"/>
                    <a:pt x="3992" y="3465"/>
                    <a:pt x="5444" y="4502"/>
                  </a:cubicBezTo>
                  <a:cubicBezTo>
                    <a:pt x="6654" y="5366"/>
                    <a:pt x="6515" y="6627"/>
                    <a:pt x="6913" y="7647"/>
                  </a:cubicBezTo>
                  <a:cubicBezTo>
                    <a:pt x="6804" y="8207"/>
                    <a:pt x="6835" y="9062"/>
                    <a:pt x="6426" y="9062"/>
                  </a:cubicBezTo>
                  <a:cubicBezTo>
                    <a:pt x="6380" y="9062"/>
                    <a:pt x="6330" y="9052"/>
                    <a:pt x="6273" y="9029"/>
                  </a:cubicBezTo>
                  <a:cubicBezTo>
                    <a:pt x="6019" y="8928"/>
                    <a:pt x="5817" y="8884"/>
                    <a:pt x="5657" y="8884"/>
                  </a:cubicBezTo>
                  <a:cubicBezTo>
                    <a:pt x="5131" y="8884"/>
                    <a:pt x="5047" y="9360"/>
                    <a:pt x="4995" y="9876"/>
                  </a:cubicBezTo>
                  <a:cubicBezTo>
                    <a:pt x="4925" y="10533"/>
                    <a:pt x="4614" y="10757"/>
                    <a:pt x="4044" y="10896"/>
                  </a:cubicBezTo>
                  <a:cubicBezTo>
                    <a:pt x="726" y="11673"/>
                    <a:pt x="0" y="13229"/>
                    <a:pt x="1659" y="16028"/>
                  </a:cubicBezTo>
                  <a:cubicBezTo>
                    <a:pt x="1834" y="16314"/>
                    <a:pt x="1935" y="16730"/>
                    <a:pt x="2351" y="16730"/>
                  </a:cubicBezTo>
                  <a:cubicBezTo>
                    <a:pt x="2389" y="16730"/>
                    <a:pt x="2429" y="16727"/>
                    <a:pt x="2471" y="16720"/>
                  </a:cubicBezTo>
                  <a:cubicBezTo>
                    <a:pt x="3007" y="16633"/>
                    <a:pt x="3197" y="16236"/>
                    <a:pt x="3301" y="15752"/>
                  </a:cubicBezTo>
                  <a:cubicBezTo>
                    <a:pt x="3405" y="15251"/>
                    <a:pt x="3301" y="14784"/>
                    <a:pt x="4009" y="14542"/>
                  </a:cubicBezTo>
                  <a:cubicBezTo>
                    <a:pt x="5651" y="13955"/>
                    <a:pt x="7241" y="13194"/>
                    <a:pt x="8866" y="12555"/>
                  </a:cubicBezTo>
                  <a:cubicBezTo>
                    <a:pt x="9298" y="12399"/>
                    <a:pt x="9643" y="12261"/>
                    <a:pt x="9799" y="11829"/>
                  </a:cubicBezTo>
                  <a:cubicBezTo>
                    <a:pt x="10300" y="10308"/>
                    <a:pt x="8866" y="5746"/>
                    <a:pt x="7604" y="4709"/>
                  </a:cubicBezTo>
                  <a:cubicBezTo>
                    <a:pt x="7397" y="4536"/>
                    <a:pt x="6809" y="4571"/>
                    <a:pt x="7016" y="4139"/>
                  </a:cubicBezTo>
                  <a:cubicBezTo>
                    <a:pt x="7082" y="4008"/>
                    <a:pt x="7166" y="3963"/>
                    <a:pt x="7262" y="3963"/>
                  </a:cubicBezTo>
                  <a:cubicBezTo>
                    <a:pt x="7468" y="3963"/>
                    <a:pt x="7725" y="4173"/>
                    <a:pt x="7950" y="4173"/>
                  </a:cubicBezTo>
                  <a:cubicBezTo>
                    <a:pt x="7979" y="4174"/>
                    <a:pt x="8009" y="4175"/>
                    <a:pt x="8039" y="4175"/>
                  </a:cubicBezTo>
                  <a:cubicBezTo>
                    <a:pt x="9008" y="4175"/>
                    <a:pt x="9913" y="3634"/>
                    <a:pt x="10265" y="2946"/>
                  </a:cubicBezTo>
                  <a:cubicBezTo>
                    <a:pt x="10697" y="2117"/>
                    <a:pt x="9695" y="1667"/>
                    <a:pt x="8987" y="1581"/>
                  </a:cubicBezTo>
                  <a:cubicBezTo>
                    <a:pt x="7811" y="1443"/>
                    <a:pt x="6930" y="786"/>
                    <a:pt x="5962" y="250"/>
                  </a:cubicBezTo>
                  <a:cubicBezTo>
                    <a:pt x="5704" y="111"/>
                    <a:pt x="5235" y="1"/>
                    <a:pt x="4909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49" name="Google Shape;10982;p65">
              <a:extLst>
                <a:ext uri="{FF2B5EF4-FFF2-40B4-BE49-F238E27FC236}">
                  <a16:creationId xmlns:a16="http://schemas.microsoft.com/office/drawing/2014/main" id="{8774989F-61FC-F1BA-75E8-D8F4353C4AF7}"/>
                </a:ext>
              </a:extLst>
            </p:cNvPr>
            <p:cNvSpPr/>
            <p:nvPr/>
          </p:nvSpPr>
          <p:spPr>
            <a:xfrm>
              <a:off x="6901875" y="4220725"/>
              <a:ext cx="468775" cy="354550"/>
            </a:xfrm>
            <a:custGeom>
              <a:avLst/>
              <a:gdLst/>
              <a:ahLst/>
              <a:cxnLst/>
              <a:rect l="l" t="t" r="r" b="b"/>
              <a:pathLst>
                <a:path w="18751" h="14182" extrusionOk="0">
                  <a:moveTo>
                    <a:pt x="15666" y="0"/>
                  </a:moveTo>
                  <a:cubicBezTo>
                    <a:pt x="15588" y="0"/>
                    <a:pt x="15504" y="9"/>
                    <a:pt x="15415" y="28"/>
                  </a:cubicBezTo>
                  <a:cubicBezTo>
                    <a:pt x="14690" y="184"/>
                    <a:pt x="14759" y="772"/>
                    <a:pt x="14897" y="1290"/>
                  </a:cubicBezTo>
                  <a:cubicBezTo>
                    <a:pt x="15294" y="2845"/>
                    <a:pt x="14880" y="4038"/>
                    <a:pt x="13463" y="4850"/>
                  </a:cubicBezTo>
                  <a:cubicBezTo>
                    <a:pt x="13013" y="5109"/>
                    <a:pt x="12823" y="5472"/>
                    <a:pt x="13065" y="5991"/>
                  </a:cubicBezTo>
                  <a:cubicBezTo>
                    <a:pt x="13324" y="6578"/>
                    <a:pt x="12823" y="6803"/>
                    <a:pt x="12512" y="7097"/>
                  </a:cubicBezTo>
                  <a:cubicBezTo>
                    <a:pt x="12410" y="7191"/>
                    <a:pt x="12303" y="7233"/>
                    <a:pt x="12200" y="7233"/>
                  </a:cubicBezTo>
                  <a:cubicBezTo>
                    <a:pt x="12041" y="7233"/>
                    <a:pt x="11891" y="7133"/>
                    <a:pt x="11786" y="6976"/>
                  </a:cubicBezTo>
                  <a:cubicBezTo>
                    <a:pt x="11531" y="6610"/>
                    <a:pt x="11284" y="6477"/>
                    <a:pt x="11039" y="6477"/>
                  </a:cubicBezTo>
                  <a:cubicBezTo>
                    <a:pt x="10705" y="6477"/>
                    <a:pt x="10373" y="6726"/>
                    <a:pt x="10024" y="6976"/>
                  </a:cubicBezTo>
                  <a:cubicBezTo>
                    <a:pt x="8797" y="7891"/>
                    <a:pt x="7811" y="9188"/>
                    <a:pt x="6308" y="9637"/>
                  </a:cubicBezTo>
                  <a:cubicBezTo>
                    <a:pt x="4303" y="10242"/>
                    <a:pt x="2696" y="11572"/>
                    <a:pt x="812" y="12385"/>
                  </a:cubicBezTo>
                  <a:cubicBezTo>
                    <a:pt x="242" y="12627"/>
                    <a:pt x="0" y="13214"/>
                    <a:pt x="692" y="13577"/>
                  </a:cubicBezTo>
                  <a:cubicBezTo>
                    <a:pt x="1262" y="13888"/>
                    <a:pt x="1936" y="13992"/>
                    <a:pt x="2610" y="14182"/>
                  </a:cubicBezTo>
                  <a:cubicBezTo>
                    <a:pt x="3819" y="13854"/>
                    <a:pt x="4943" y="13249"/>
                    <a:pt x="5893" y="12436"/>
                  </a:cubicBezTo>
                  <a:cubicBezTo>
                    <a:pt x="7829" y="10743"/>
                    <a:pt x="10144" y="9447"/>
                    <a:pt x="12357" y="8496"/>
                  </a:cubicBezTo>
                  <a:cubicBezTo>
                    <a:pt x="14396" y="7615"/>
                    <a:pt x="15847" y="6042"/>
                    <a:pt x="17817" y="5213"/>
                  </a:cubicBezTo>
                  <a:cubicBezTo>
                    <a:pt x="18301" y="4988"/>
                    <a:pt x="18751" y="4452"/>
                    <a:pt x="18612" y="3848"/>
                  </a:cubicBezTo>
                  <a:cubicBezTo>
                    <a:pt x="18539" y="3538"/>
                    <a:pt x="18402" y="3442"/>
                    <a:pt x="18239" y="3442"/>
                  </a:cubicBezTo>
                  <a:cubicBezTo>
                    <a:pt x="18019" y="3442"/>
                    <a:pt x="17752" y="3615"/>
                    <a:pt x="17524" y="3675"/>
                  </a:cubicBezTo>
                  <a:cubicBezTo>
                    <a:pt x="17487" y="3682"/>
                    <a:pt x="17451" y="3686"/>
                    <a:pt x="17417" y="3686"/>
                  </a:cubicBezTo>
                  <a:cubicBezTo>
                    <a:pt x="17207" y="3686"/>
                    <a:pt x="17050" y="3554"/>
                    <a:pt x="17109" y="3346"/>
                  </a:cubicBezTo>
                  <a:cubicBezTo>
                    <a:pt x="17385" y="2431"/>
                    <a:pt x="16625" y="1791"/>
                    <a:pt x="16556" y="962"/>
                  </a:cubicBezTo>
                  <a:cubicBezTo>
                    <a:pt x="16526" y="461"/>
                    <a:pt x="16229" y="0"/>
                    <a:pt x="1566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0" name="Google Shape;10983;p65">
              <a:extLst>
                <a:ext uri="{FF2B5EF4-FFF2-40B4-BE49-F238E27FC236}">
                  <a16:creationId xmlns:a16="http://schemas.microsoft.com/office/drawing/2014/main" id="{3B51B6EB-70F3-9286-C42C-8F44CD7B60BB}"/>
                </a:ext>
              </a:extLst>
            </p:cNvPr>
            <p:cNvSpPr/>
            <p:nvPr/>
          </p:nvSpPr>
          <p:spPr>
            <a:xfrm>
              <a:off x="6306100" y="2654825"/>
              <a:ext cx="232875" cy="385425"/>
            </a:xfrm>
            <a:custGeom>
              <a:avLst/>
              <a:gdLst/>
              <a:ahLst/>
              <a:cxnLst/>
              <a:rect l="l" t="t" r="r" b="b"/>
              <a:pathLst>
                <a:path w="9315" h="15417" extrusionOk="0">
                  <a:moveTo>
                    <a:pt x="6907" y="9941"/>
                  </a:moveTo>
                  <a:cubicBezTo>
                    <a:pt x="6738" y="10523"/>
                    <a:pt x="6645" y="11167"/>
                    <a:pt x="5910" y="11304"/>
                  </a:cubicBezTo>
                  <a:cubicBezTo>
                    <a:pt x="5905" y="11305"/>
                    <a:pt x="5899" y="11305"/>
                    <a:pt x="5892" y="11305"/>
                  </a:cubicBezTo>
                  <a:cubicBezTo>
                    <a:pt x="5767" y="11305"/>
                    <a:pt x="5547" y="11146"/>
                    <a:pt x="5547" y="11097"/>
                  </a:cubicBezTo>
                  <a:cubicBezTo>
                    <a:pt x="5616" y="10270"/>
                    <a:pt x="6304" y="10147"/>
                    <a:pt x="6907" y="9941"/>
                  </a:cubicBezTo>
                  <a:close/>
                  <a:moveTo>
                    <a:pt x="2345" y="1"/>
                  </a:moveTo>
                  <a:cubicBezTo>
                    <a:pt x="2049" y="1"/>
                    <a:pt x="1708" y="93"/>
                    <a:pt x="1419" y="93"/>
                  </a:cubicBezTo>
                  <a:cubicBezTo>
                    <a:pt x="1383" y="93"/>
                    <a:pt x="1348" y="92"/>
                    <a:pt x="1313" y="88"/>
                  </a:cubicBezTo>
                  <a:cubicBezTo>
                    <a:pt x="1306" y="88"/>
                    <a:pt x="1299" y="88"/>
                    <a:pt x="1292" y="88"/>
                  </a:cubicBezTo>
                  <a:cubicBezTo>
                    <a:pt x="885" y="88"/>
                    <a:pt x="504" y="561"/>
                    <a:pt x="639" y="883"/>
                  </a:cubicBezTo>
                  <a:cubicBezTo>
                    <a:pt x="1244" y="2283"/>
                    <a:pt x="0" y="3977"/>
                    <a:pt x="1348" y="5273"/>
                  </a:cubicBezTo>
                  <a:cubicBezTo>
                    <a:pt x="1538" y="5446"/>
                    <a:pt x="1383" y="5964"/>
                    <a:pt x="1538" y="6241"/>
                  </a:cubicBezTo>
                  <a:cubicBezTo>
                    <a:pt x="1851" y="6738"/>
                    <a:pt x="1941" y="7889"/>
                    <a:pt x="2501" y="7889"/>
                  </a:cubicBezTo>
                  <a:cubicBezTo>
                    <a:pt x="2623" y="7889"/>
                    <a:pt x="2766" y="7836"/>
                    <a:pt x="2938" y="7710"/>
                  </a:cubicBezTo>
                  <a:cubicBezTo>
                    <a:pt x="3345" y="7411"/>
                    <a:pt x="3664" y="7306"/>
                    <a:pt x="3951" y="7306"/>
                  </a:cubicBezTo>
                  <a:cubicBezTo>
                    <a:pt x="4345" y="7306"/>
                    <a:pt x="4678" y="7505"/>
                    <a:pt x="5098" y="7675"/>
                  </a:cubicBezTo>
                  <a:cubicBezTo>
                    <a:pt x="5375" y="7796"/>
                    <a:pt x="5651" y="7848"/>
                    <a:pt x="5668" y="8176"/>
                  </a:cubicBezTo>
                  <a:cubicBezTo>
                    <a:pt x="5668" y="8297"/>
                    <a:pt x="5547" y="8401"/>
                    <a:pt x="5478" y="8504"/>
                  </a:cubicBezTo>
                  <a:cubicBezTo>
                    <a:pt x="5288" y="8384"/>
                    <a:pt x="5098" y="8263"/>
                    <a:pt x="4908" y="8107"/>
                  </a:cubicBezTo>
                  <a:cubicBezTo>
                    <a:pt x="4670" y="7869"/>
                    <a:pt x="4349" y="7740"/>
                    <a:pt x="4020" y="7740"/>
                  </a:cubicBezTo>
                  <a:cubicBezTo>
                    <a:pt x="3895" y="7740"/>
                    <a:pt x="3770" y="7758"/>
                    <a:pt x="3646" y="7796"/>
                  </a:cubicBezTo>
                  <a:cubicBezTo>
                    <a:pt x="3059" y="7951"/>
                    <a:pt x="3284" y="8470"/>
                    <a:pt x="3249" y="8850"/>
                  </a:cubicBezTo>
                  <a:cubicBezTo>
                    <a:pt x="3180" y="10008"/>
                    <a:pt x="4701" y="11270"/>
                    <a:pt x="4580" y="11408"/>
                  </a:cubicBezTo>
                  <a:cubicBezTo>
                    <a:pt x="3042" y="13170"/>
                    <a:pt x="4251" y="13205"/>
                    <a:pt x="5599" y="13758"/>
                  </a:cubicBezTo>
                  <a:cubicBezTo>
                    <a:pt x="6014" y="13948"/>
                    <a:pt x="6429" y="15244"/>
                    <a:pt x="7379" y="15400"/>
                  </a:cubicBezTo>
                  <a:cubicBezTo>
                    <a:pt x="7454" y="15411"/>
                    <a:pt x="7523" y="15417"/>
                    <a:pt x="7586" y="15417"/>
                  </a:cubicBezTo>
                  <a:cubicBezTo>
                    <a:pt x="8462" y="15417"/>
                    <a:pt x="8316" y="14362"/>
                    <a:pt x="8606" y="13879"/>
                  </a:cubicBezTo>
                  <a:cubicBezTo>
                    <a:pt x="9315" y="12687"/>
                    <a:pt x="8554" y="11529"/>
                    <a:pt x="8105" y="10423"/>
                  </a:cubicBezTo>
                  <a:cubicBezTo>
                    <a:pt x="7967" y="10058"/>
                    <a:pt x="7709" y="9812"/>
                    <a:pt x="7353" y="9812"/>
                  </a:cubicBezTo>
                  <a:cubicBezTo>
                    <a:pt x="7222" y="9812"/>
                    <a:pt x="7078" y="9845"/>
                    <a:pt x="6922" y="9917"/>
                  </a:cubicBezTo>
                  <a:lnTo>
                    <a:pt x="6922" y="9917"/>
                  </a:lnTo>
                  <a:cubicBezTo>
                    <a:pt x="7290" y="9072"/>
                    <a:pt x="8114" y="7913"/>
                    <a:pt x="7103" y="7433"/>
                  </a:cubicBezTo>
                  <a:cubicBezTo>
                    <a:pt x="5789" y="6828"/>
                    <a:pt x="5530" y="5048"/>
                    <a:pt x="3854" y="4927"/>
                  </a:cubicBezTo>
                  <a:cubicBezTo>
                    <a:pt x="3335" y="4893"/>
                    <a:pt x="2886" y="4167"/>
                    <a:pt x="3318" y="3424"/>
                  </a:cubicBezTo>
                  <a:cubicBezTo>
                    <a:pt x="3975" y="2318"/>
                    <a:pt x="3353" y="1298"/>
                    <a:pt x="2955" y="348"/>
                  </a:cubicBezTo>
                  <a:cubicBezTo>
                    <a:pt x="2833" y="73"/>
                    <a:pt x="2607" y="1"/>
                    <a:pt x="234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1" name="Google Shape;10984;p65">
              <a:extLst>
                <a:ext uri="{FF2B5EF4-FFF2-40B4-BE49-F238E27FC236}">
                  <a16:creationId xmlns:a16="http://schemas.microsoft.com/office/drawing/2014/main" id="{FFFFA2B1-55F2-2F4C-4463-8225021A2E9A}"/>
                </a:ext>
              </a:extLst>
            </p:cNvPr>
            <p:cNvSpPr/>
            <p:nvPr/>
          </p:nvSpPr>
          <p:spPr>
            <a:xfrm>
              <a:off x="6139750" y="3178550"/>
              <a:ext cx="185375" cy="227425"/>
            </a:xfrm>
            <a:custGeom>
              <a:avLst/>
              <a:gdLst/>
              <a:ahLst/>
              <a:cxnLst/>
              <a:rect l="l" t="t" r="r" b="b"/>
              <a:pathLst>
                <a:path w="7415" h="9097" extrusionOk="0">
                  <a:moveTo>
                    <a:pt x="6576" y="0"/>
                  </a:moveTo>
                  <a:cubicBezTo>
                    <a:pt x="6440" y="0"/>
                    <a:pt x="6314" y="46"/>
                    <a:pt x="6222" y="154"/>
                  </a:cubicBezTo>
                  <a:cubicBezTo>
                    <a:pt x="5928" y="483"/>
                    <a:pt x="5611" y="592"/>
                    <a:pt x="5290" y="592"/>
                  </a:cubicBezTo>
                  <a:cubicBezTo>
                    <a:pt x="4988" y="592"/>
                    <a:pt x="4683" y="496"/>
                    <a:pt x="4390" y="396"/>
                  </a:cubicBezTo>
                  <a:cubicBezTo>
                    <a:pt x="3964" y="242"/>
                    <a:pt x="3597" y="173"/>
                    <a:pt x="3279" y="173"/>
                  </a:cubicBezTo>
                  <a:cubicBezTo>
                    <a:pt x="1986" y="173"/>
                    <a:pt x="1492" y="1318"/>
                    <a:pt x="1020" y="2608"/>
                  </a:cubicBezTo>
                  <a:cubicBezTo>
                    <a:pt x="364" y="4353"/>
                    <a:pt x="1" y="6064"/>
                    <a:pt x="796" y="7360"/>
                  </a:cubicBezTo>
                  <a:cubicBezTo>
                    <a:pt x="847" y="8362"/>
                    <a:pt x="761" y="8984"/>
                    <a:pt x="1470" y="9088"/>
                  </a:cubicBezTo>
                  <a:cubicBezTo>
                    <a:pt x="1519" y="9094"/>
                    <a:pt x="1568" y="9097"/>
                    <a:pt x="1614" y="9097"/>
                  </a:cubicBezTo>
                  <a:cubicBezTo>
                    <a:pt x="2117" y="9097"/>
                    <a:pt x="2435" y="8762"/>
                    <a:pt x="2593" y="8224"/>
                  </a:cubicBezTo>
                  <a:cubicBezTo>
                    <a:pt x="2634" y="8075"/>
                    <a:pt x="2578" y="7743"/>
                    <a:pt x="2746" y="7743"/>
                  </a:cubicBezTo>
                  <a:cubicBezTo>
                    <a:pt x="2792" y="7743"/>
                    <a:pt x="2854" y="7768"/>
                    <a:pt x="2938" y="7827"/>
                  </a:cubicBezTo>
                  <a:cubicBezTo>
                    <a:pt x="3173" y="7995"/>
                    <a:pt x="3380" y="8062"/>
                    <a:pt x="3567" y="8062"/>
                  </a:cubicBezTo>
                  <a:cubicBezTo>
                    <a:pt x="4013" y="8062"/>
                    <a:pt x="4340" y="7677"/>
                    <a:pt x="4632" y="7360"/>
                  </a:cubicBezTo>
                  <a:cubicBezTo>
                    <a:pt x="5116" y="6842"/>
                    <a:pt x="4563" y="6358"/>
                    <a:pt x="4373" y="5839"/>
                  </a:cubicBezTo>
                  <a:cubicBezTo>
                    <a:pt x="4183" y="5321"/>
                    <a:pt x="3491" y="4750"/>
                    <a:pt x="4442" y="4249"/>
                  </a:cubicBezTo>
                  <a:cubicBezTo>
                    <a:pt x="4943" y="3990"/>
                    <a:pt x="5790" y="3852"/>
                    <a:pt x="5427" y="3057"/>
                  </a:cubicBezTo>
                  <a:cubicBezTo>
                    <a:pt x="5274" y="2713"/>
                    <a:pt x="5030" y="2616"/>
                    <a:pt x="4752" y="2616"/>
                  </a:cubicBezTo>
                  <a:cubicBezTo>
                    <a:pt x="4400" y="2616"/>
                    <a:pt x="3994" y="2771"/>
                    <a:pt x="3647" y="2780"/>
                  </a:cubicBezTo>
                  <a:cubicBezTo>
                    <a:pt x="3388" y="2815"/>
                    <a:pt x="3129" y="2850"/>
                    <a:pt x="2887" y="2919"/>
                  </a:cubicBezTo>
                  <a:cubicBezTo>
                    <a:pt x="2887" y="2746"/>
                    <a:pt x="2800" y="2487"/>
                    <a:pt x="2887" y="2435"/>
                  </a:cubicBezTo>
                  <a:cubicBezTo>
                    <a:pt x="3111" y="2262"/>
                    <a:pt x="3405" y="2037"/>
                    <a:pt x="3664" y="2037"/>
                  </a:cubicBezTo>
                  <a:cubicBezTo>
                    <a:pt x="4321" y="2055"/>
                    <a:pt x="4995" y="2262"/>
                    <a:pt x="5634" y="2262"/>
                  </a:cubicBezTo>
                  <a:cubicBezTo>
                    <a:pt x="6481" y="2262"/>
                    <a:pt x="6861" y="1553"/>
                    <a:pt x="7242" y="931"/>
                  </a:cubicBezTo>
                  <a:cubicBezTo>
                    <a:pt x="7414" y="689"/>
                    <a:pt x="7328" y="344"/>
                    <a:pt x="7086" y="188"/>
                  </a:cubicBezTo>
                  <a:cubicBezTo>
                    <a:pt x="6932" y="73"/>
                    <a:pt x="6746" y="0"/>
                    <a:pt x="657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2" name="Google Shape;10985;p65">
              <a:extLst>
                <a:ext uri="{FF2B5EF4-FFF2-40B4-BE49-F238E27FC236}">
                  <a16:creationId xmlns:a16="http://schemas.microsoft.com/office/drawing/2014/main" id="{406476A5-E58C-CCB2-AFB6-217C77A7F535}"/>
                </a:ext>
              </a:extLst>
            </p:cNvPr>
            <p:cNvSpPr/>
            <p:nvPr/>
          </p:nvSpPr>
          <p:spPr>
            <a:xfrm>
              <a:off x="4320000" y="1079225"/>
              <a:ext cx="260125" cy="163000"/>
            </a:xfrm>
            <a:custGeom>
              <a:avLst/>
              <a:gdLst/>
              <a:ahLst/>
              <a:cxnLst/>
              <a:rect l="l" t="t" r="r" b="b"/>
              <a:pathLst>
                <a:path w="10405" h="6520" extrusionOk="0">
                  <a:moveTo>
                    <a:pt x="8970" y="1"/>
                  </a:moveTo>
                  <a:cubicBezTo>
                    <a:pt x="6620" y="778"/>
                    <a:pt x="3786" y="294"/>
                    <a:pt x="1764" y="2576"/>
                  </a:cubicBezTo>
                  <a:cubicBezTo>
                    <a:pt x="502" y="3993"/>
                    <a:pt x="1" y="5410"/>
                    <a:pt x="1038" y="5876"/>
                  </a:cubicBezTo>
                  <a:cubicBezTo>
                    <a:pt x="2057" y="6274"/>
                    <a:pt x="3146" y="6499"/>
                    <a:pt x="4252" y="6516"/>
                  </a:cubicBezTo>
                  <a:cubicBezTo>
                    <a:pt x="4303" y="6518"/>
                    <a:pt x="4355" y="6520"/>
                    <a:pt x="4406" y="6520"/>
                  </a:cubicBezTo>
                  <a:cubicBezTo>
                    <a:pt x="4717" y="6520"/>
                    <a:pt x="5012" y="6455"/>
                    <a:pt x="5116" y="6084"/>
                  </a:cubicBezTo>
                  <a:cubicBezTo>
                    <a:pt x="5237" y="5652"/>
                    <a:pt x="4892" y="5479"/>
                    <a:pt x="4563" y="5323"/>
                  </a:cubicBezTo>
                  <a:cubicBezTo>
                    <a:pt x="3094" y="4598"/>
                    <a:pt x="3630" y="3924"/>
                    <a:pt x="4598" y="3198"/>
                  </a:cubicBezTo>
                  <a:cubicBezTo>
                    <a:pt x="5980" y="2144"/>
                    <a:pt x="7726" y="2126"/>
                    <a:pt x="9264" y="1487"/>
                  </a:cubicBezTo>
                  <a:cubicBezTo>
                    <a:pt x="9696" y="1331"/>
                    <a:pt x="10404" y="1556"/>
                    <a:pt x="10352" y="796"/>
                  </a:cubicBezTo>
                  <a:cubicBezTo>
                    <a:pt x="10301" y="35"/>
                    <a:pt x="9627" y="70"/>
                    <a:pt x="8970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3" name="Google Shape;10986;p65">
              <a:extLst>
                <a:ext uri="{FF2B5EF4-FFF2-40B4-BE49-F238E27FC236}">
                  <a16:creationId xmlns:a16="http://schemas.microsoft.com/office/drawing/2014/main" id="{C2264562-5B20-2AD9-8493-EFF745D0578E}"/>
                </a:ext>
              </a:extLst>
            </p:cNvPr>
            <p:cNvSpPr/>
            <p:nvPr/>
          </p:nvSpPr>
          <p:spPr>
            <a:xfrm>
              <a:off x="3605850" y="1017225"/>
              <a:ext cx="246275" cy="88775"/>
            </a:xfrm>
            <a:custGeom>
              <a:avLst/>
              <a:gdLst/>
              <a:ahLst/>
              <a:cxnLst/>
              <a:rect l="l" t="t" r="r" b="b"/>
              <a:pathLst>
                <a:path w="9851" h="3551" extrusionOk="0">
                  <a:moveTo>
                    <a:pt x="3896" y="1"/>
                  </a:moveTo>
                  <a:cubicBezTo>
                    <a:pt x="2951" y="1"/>
                    <a:pt x="1998" y="113"/>
                    <a:pt x="1055" y="130"/>
                  </a:cubicBezTo>
                  <a:cubicBezTo>
                    <a:pt x="674" y="130"/>
                    <a:pt x="260" y="217"/>
                    <a:pt x="121" y="649"/>
                  </a:cubicBezTo>
                  <a:cubicBezTo>
                    <a:pt x="0" y="1046"/>
                    <a:pt x="173" y="1461"/>
                    <a:pt x="536" y="1651"/>
                  </a:cubicBezTo>
                  <a:cubicBezTo>
                    <a:pt x="1487" y="2256"/>
                    <a:pt x="2489" y="2792"/>
                    <a:pt x="3474" y="3345"/>
                  </a:cubicBezTo>
                  <a:cubicBezTo>
                    <a:pt x="3715" y="3472"/>
                    <a:pt x="3939" y="3551"/>
                    <a:pt x="4149" y="3551"/>
                  </a:cubicBezTo>
                  <a:cubicBezTo>
                    <a:pt x="4450" y="3551"/>
                    <a:pt x="4723" y="3389"/>
                    <a:pt x="4978" y="2982"/>
                  </a:cubicBezTo>
                  <a:cubicBezTo>
                    <a:pt x="5203" y="2650"/>
                    <a:pt x="5511" y="2104"/>
                    <a:pt x="5931" y="2104"/>
                  </a:cubicBezTo>
                  <a:cubicBezTo>
                    <a:pt x="6058" y="2104"/>
                    <a:pt x="6195" y="2153"/>
                    <a:pt x="6343" y="2273"/>
                  </a:cubicBezTo>
                  <a:cubicBezTo>
                    <a:pt x="6982" y="2809"/>
                    <a:pt x="7673" y="2826"/>
                    <a:pt x="8365" y="2895"/>
                  </a:cubicBezTo>
                  <a:cubicBezTo>
                    <a:pt x="8588" y="2920"/>
                    <a:pt x="8869" y="3004"/>
                    <a:pt x="9118" y="3004"/>
                  </a:cubicBezTo>
                  <a:cubicBezTo>
                    <a:pt x="9390" y="3004"/>
                    <a:pt x="9623" y="2904"/>
                    <a:pt x="9695" y="2515"/>
                  </a:cubicBezTo>
                  <a:cubicBezTo>
                    <a:pt x="9851" y="1789"/>
                    <a:pt x="9142" y="1668"/>
                    <a:pt x="8641" y="1478"/>
                  </a:cubicBezTo>
                  <a:lnTo>
                    <a:pt x="6585" y="493"/>
                  </a:lnTo>
                  <a:cubicBezTo>
                    <a:pt x="5704" y="104"/>
                    <a:pt x="4803" y="1"/>
                    <a:pt x="389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4" name="Google Shape;10987;p65">
              <a:extLst>
                <a:ext uri="{FF2B5EF4-FFF2-40B4-BE49-F238E27FC236}">
                  <a16:creationId xmlns:a16="http://schemas.microsoft.com/office/drawing/2014/main" id="{3F46B7BB-C3BB-6C6A-06E0-05A4E01F8703}"/>
                </a:ext>
              </a:extLst>
            </p:cNvPr>
            <p:cNvSpPr/>
            <p:nvPr/>
          </p:nvSpPr>
          <p:spPr>
            <a:xfrm>
              <a:off x="3161275" y="1612775"/>
              <a:ext cx="115825" cy="115825"/>
            </a:xfrm>
            <a:custGeom>
              <a:avLst/>
              <a:gdLst/>
              <a:ahLst/>
              <a:cxnLst/>
              <a:rect l="l" t="t" r="r" b="b"/>
              <a:pathLst>
                <a:path w="4633" h="4633" extrusionOk="0">
                  <a:moveTo>
                    <a:pt x="2966" y="1"/>
                  </a:moveTo>
                  <a:cubicBezTo>
                    <a:pt x="2951" y="1"/>
                    <a:pt x="2936" y="1"/>
                    <a:pt x="2921" y="1"/>
                  </a:cubicBezTo>
                  <a:cubicBezTo>
                    <a:pt x="1729" y="36"/>
                    <a:pt x="1" y="2421"/>
                    <a:pt x="139" y="3803"/>
                  </a:cubicBezTo>
                  <a:cubicBezTo>
                    <a:pt x="139" y="4252"/>
                    <a:pt x="502" y="4615"/>
                    <a:pt x="951" y="4633"/>
                  </a:cubicBezTo>
                  <a:cubicBezTo>
                    <a:pt x="2956" y="4581"/>
                    <a:pt x="4632" y="3026"/>
                    <a:pt x="4529" y="1297"/>
                  </a:cubicBezTo>
                  <a:cubicBezTo>
                    <a:pt x="4478" y="482"/>
                    <a:pt x="3809" y="1"/>
                    <a:pt x="296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5" name="Google Shape;10988;p65">
              <a:extLst>
                <a:ext uri="{FF2B5EF4-FFF2-40B4-BE49-F238E27FC236}">
                  <a16:creationId xmlns:a16="http://schemas.microsoft.com/office/drawing/2014/main" id="{8A4DBFA3-5522-3890-E1E8-82F38B8FF9F7}"/>
                </a:ext>
              </a:extLst>
            </p:cNvPr>
            <p:cNvSpPr/>
            <p:nvPr/>
          </p:nvSpPr>
          <p:spPr>
            <a:xfrm>
              <a:off x="6082850" y="3458350"/>
              <a:ext cx="215350" cy="82375"/>
            </a:xfrm>
            <a:custGeom>
              <a:avLst/>
              <a:gdLst/>
              <a:ahLst/>
              <a:cxnLst/>
              <a:rect l="l" t="t" r="r" b="b"/>
              <a:pathLst>
                <a:path w="8614" h="3295" extrusionOk="0">
                  <a:moveTo>
                    <a:pt x="8412" y="834"/>
                  </a:moveTo>
                  <a:lnTo>
                    <a:pt x="8412" y="834"/>
                  </a:lnTo>
                  <a:cubicBezTo>
                    <a:pt x="8408" y="835"/>
                    <a:pt x="8404" y="836"/>
                    <a:pt x="8401" y="837"/>
                  </a:cubicBezTo>
                  <a:lnTo>
                    <a:pt x="8401" y="837"/>
                  </a:lnTo>
                  <a:cubicBezTo>
                    <a:pt x="8399" y="842"/>
                    <a:pt x="8396" y="846"/>
                    <a:pt x="8394" y="851"/>
                  </a:cubicBezTo>
                  <a:lnTo>
                    <a:pt x="8412" y="834"/>
                  </a:lnTo>
                  <a:close/>
                  <a:moveTo>
                    <a:pt x="6441" y="1"/>
                  </a:moveTo>
                  <a:cubicBezTo>
                    <a:pt x="5426" y="1"/>
                    <a:pt x="4424" y="103"/>
                    <a:pt x="3504" y="557"/>
                  </a:cubicBezTo>
                  <a:cubicBezTo>
                    <a:pt x="3268" y="683"/>
                    <a:pt x="3156" y="756"/>
                    <a:pt x="3064" y="756"/>
                  </a:cubicBezTo>
                  <a:cubicBezTo>
                    <a:pt x="2968" y="756"/>
                    <a:pt x="2895" y="675"/>
                    <a:pt x="2726" y="488"/>
                  </a:cubicBezTo>
                  <a:cubicBezTo>
                    <a:pt x="2440" y="160"/>
                    <a:pt x="2158" y="41"/>
                    <a:pt x="1882" y="41"/>
                  </a:cubicBezTo>
                  <a:cubicBezTo>
                    <a:pt x="1373" y="41"/>
                    <a:pt x="881" y="443"/>
                    <a:pt x="410" y="678"/>
                  </a:cubicBezTo>
                  <a:cubicBezTo>
                    <a:pt x="0" y="866"/>
                    <a:pt x="164" y="1612"/>
                    <a:pt x="452" y="1612"/>
                  </a:cubicBezTo>
                  <a:cubicBezTo>
                    <a:pt x="455" y="1612"/>
                    <a:pt x="459" y="1612"/>
                    <a:pt x="462" y="1612"/>
                  </a:cubicBezTo>
                  <a:cubicBezTo>
                    <a:pt x="518" y="1607"/>
                    <a:pt x="572" y="1605"/>
                    <a:pt x="625" y="1605"/>
                  </a:cubicBezTo>
                  <a:cubicBezTo>
                    <a:pt x="1895" y="1605"/>
                    <a:pt x="2508" y="2753"/>
                    <a:pt x="3504" y="3184"/>
                  </a:cubicBezTo>
                  <a:cubicBezTo>
                    <a:pt x="3665" y="3259"/>
                    <a:pt x="3818" y="3295"/>
                    <a:pt x="3955" y="3295"/>
                  </a:cubicBezTo>
                  <a:cubicBezTo>
                    <a:pt x="4389" y="3295"/>
                    <a:pt x="4667" y="2934"/>
                    <a:pt x="4575" y="2303"/>
                  </a:cubicBezTo>
                  <a:cubicBezTo>
                    <a:pt x="4523" y="1905"/>
                    <a:pt x="4541" y="1784"/>
                    <a:pt x="4973" y="1698"/>
                  </a:cubicBezTo>
                  <a:cubicBezTo>
                    <a:pt x="6127" y="1457"/>
                    <a:pt x="7264" y="1130"/>
                    <a:pt x="8401" y="837"/>
                  </a:cubicBezTo>
                  <a:lnTo>
                    <a:pt x="8401" y="837"/>
                  </a:lnTo>
                  <a:cubicBezTo>
                    <a:pt x="8535" y="525"/>
                    <a:pt x="8613" y="56"/>
                    <a:pt x="8256" y="56"/>
                  </a:cubicBezTo>
                  <a:cubicBezTo>
                    <a:pt x="7656" y="37"/>
                    <a:pt x="7046" y="1"/>
                    <a:pt x="6441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6" name="Google Shape;10989;p65">
              <a:extLst>
                <a:ext uri="{FF2B5EF4-FFF2-40B4-BE49-F238E27FC236}">
                  <a16:creationId xmlns:a16="http://schemas.microsoft.com/office/drawing/2014/main" id="{06DFDB51-FD24-4FA4-2181-1D1E80159727}"/>
                </a:ext>
              </a:extLst>
            </p:cNvPr>
            <p:cNvSpPr/>
            <p:nvPr/>
          </p:nvSpPr>
          <p:spPr>
            <a:xfrm>
              <a:off x="5726825" y="1103850"/>
              <a:ext cx="262175" cy="54825"/>
            </a:xfrm>
            <a:custGeom>
              <a:avLst/>
              <a:gdLst/>
              <a:ahLst/>
              <a:cxnLst/>
              <a:rect l="l" t="t" r="r" b="b"/>
              <a:pathLst>
                <a:path w="10487" h="2193" extrusionOk="0">
                  <a:moveTo>
                    <a:pt x="2675" y="1"/>
                  </a:moveTo>
                  <a:cubicBezTo>
                    <a:pt x="2260" y="122"/>
                    <a:pt x="1984" y="208"/>
                    <a:pt x="1707" y="260"/>
                  </a:cubicBezTo>
                  <a:cubicBezTo>
                    <a:pt x="1625" y="276"/>
                    <a:pt x="1533" y="281"/>
                    <a:pt x="1436" y="281"/>
                  </a:cubicBezTo>
                  <a:cubicBezTo>
                    <a:pt x="1238" y="281"/>
                    <a:pt x="1018" y="259"/>
                    <a:pt x="814" y="259"/>
                  </a:cubicBezTo>
                  <a:cubicBezTo>
                    <a:pt x="370" y="259"/>
                    <a:pt x="1" y="367"/>
                    <a:pt x="83" y="1055"/>
                  </a:cubicBezTo>
                  <a:cubicBezTo>
                    <a:pt x="160" y="1671"/>
                    <a:pt x="629" y="1783"/>
                    <a:pt x="1147" y="1783"/>
                  </a:cubicBezTo>
                  <a:cubicBezTo>
                    <a:pt x="1443" y="1783"/>
                    <a:pt x="1754" y="1746"/>
                    <a:pt x="2018" y="1746"/>
                  </a:cubicBezTo>
                  <a:cubicBezTo>
                    <a:pt x="3176" y="1729"/>
                    <a:pt x="4334" y="1625"/>
                    <a:pt x="5488" y="1625"/>
                  </a:cubicBezTo>
                  <a:cubicBezTo>
                    <a:pt x="6641" y="1625"/>
                    <a:pt x="7790" y="1729"/>
                    <a:pt x="8931" y="2126"/>
                  </a:cubicBezTo>
                  <a:cubicBezTo>
                    <a:pt x="9064" y="2171"/>
                    <a:pt x="9201" y="2192"/>
                    <a:pt x="9336" y="2192"/>
                  </a:cubicBezTo>
                  <a:cubicBezTo>
                    <a:pt x="9780" y="2192"/>
                    <a:pt x="10194" y="1955"/>
                    <a:pt x="10314" y="1504"/>
                  </a:cubicBezTo>
                  <a:cubicBezTo>
                    <a:pt x="10486" y="813"/>
                    <a:pt x="9761" y="744"/>
                    <a:pt x="9294" y="606"/>
                  </a:cubicBezTo>
                  <a:cubicBezTo>
                    <a:pt x="8746" y="426"/>
                    <a:pt x="8189" y="370"/>
                    <a:pt x="7630" y="370"/>
                  </a:cubicBezTo>
                  <a:cubicBezTo>
                    <a:pt x="6715" y="370"/>
                    <a:pt x="5795" y="519"/>
                    <a:pt x="4900" y="519"/>
                  </a:cubicBezTo>
                  <a:cubicBezTo>
                    <a:pt x="4133" y="519"/>
                    <a:pt x="3384" y="409"/>
                    <a:pt x="267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7" name="Google Shape;10990;p65">
              <a:extLst>
                <a:ext uri="{FF2B5EF4-FFF2-40B4-BE49-F238E27FC236}">
                  <a16:creationId xmlns:a16="http://schemas.microsoft.com/office/drawing/2014/main" id="{B4C5F654-5DC7-893F-C787-84B5405572E6}"/>
                </a:ext>
              </a:extLst>
            </p:cNvPr>
            <p:cNvSpPr/>
            <p:nvPr/>
          </p:nvSpPr>
          <p:spPr>
            <a:xfrm>
              <a:off x="6497925" y="4391525"/>
              <a:ext cx="125725" cy="97375"/>
            </a:xfrm>
            <a:custGeom>
              <a:avLst/>
              <a:gdLst/>
              <a:ahLst/>
              <a:cxnLst/>
              <a:rect l="l" t="t" r="r" b="b"/>
              <a:pathLst>
                <a:path w="5029" h="3895" extrusionOk="0">
                  <a:moveTo>
                    <a:pt x="4062" y="0"/>
                  </a:moveTo>
                  <a:cubicBezTo>
                    <a:pt x="3557" y="0"/>
                    <a:pt x="2937" y="491"/>
                    <a:pt x="2445" y="491"/>
                  </a:cubicBezTo>
                  <a:cubicBezTo>
                    <a:pt x="2234" y="491"/>
                    <a:pt x="2046" y="401"/>
                    <a:pt x="1901" y="144"/>
                  </a:cubicBezTo>
                  <a:cubicBezTo>
                    <a:pt x="0" y="403"/>
                    <a:pt x="570" y="1975"/>
                    <a:pt x="225" y="2960"/>
                  </a:cubicBezTo>
                  <a:cubicBezTo>
                    <a:pt x="38" y="3485"/>
                    <a:pt x="566" y="3894"/>
                    <a:pt x="1172" y="3894"/>
                  </a:cubicBezTo>
                  <a:cubicBezTo>
                    <a:pt x="1185" y="3894"/>
                    <a:pt x="1197" y="3894"/>
                    <a:pt x="1210" y="3894"/>
                  </a:cubicBezTo>
                  <a:cubicBezTo>
                    <a:pt x="2298" y="3876"/>
                    <a:pt x="5029" y="1630"/>
                    <a:pt x="4804" y="783"/>
                  </a:cubicBezTo>
                  <a:cubicBezTo>
                    <a:pt x="4638" y="185"/>
                    <a:pt x="4372" y="0"/>
                    <a:pt x="406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8" name="Google Shape;10991;p65">
              <a:extLst>
                <a:ext uri="{FF2B5EF4-FFF2-40B4-BE49-F238E27FC236}">
                  <a16:creationId xmlns:a16="http://schemas.microsoft.com/office/drawing/2014/main" id="{3AC9843B-C795-ACBB-F7E5-5085CBFD9C81}"/>
                </a:ext>
              </a:extLst>
            </p:cNvPr>
            <p:cNvSpPr/>
            <p:nvPr/>
          </p:nvSpPr>
          <p:spPr>
            <a:xfrm>
              <a:off x="5334875" y="2906300"/>
              <a:ext cx="82100" cy="128050"/>
            </a:xfrm>
            <a:custGeom>
              <a:avLst/>
              <a:gdLst/>
              <a:ahLst/>
              <a:cxnLst/>
              <a:rect l="l" t="t" r="r" b="b"/>
              <a:pathLst>
                <a:path w="3284" h="5122" extrusionOk="0">
                  <a:moveTo>
                    <a:pt x="519" y="1"/>
                  </a:moveTo>
                  <a:lnTo>
                    <a:pt x="380" y="139"/>
                  </a:lnTo>
                  <a:cubicBezTo>
                    <a:pt x="104" y="1452"/>
                    <a:pt x="0" y="2766"/>
                    <a:pt x="380" y="4062"/>
                  </a:cubicBezTo>
                  <a:cubicBezTo>
                    <a:pt x="534" y="4660"/>
                    <a:pt x="796" y="5122"/>
                    <a:pt x="1420" y="5122"/>
                  </a:cubicBezTo>
                  <a:cubicBezTo>
                    <a:pt x="1500" y="5122"/>
                    <a:pt x="1585" y="5114"/>
                    <a:pt x="1676" y="5099"/>
                  </a:cubicBezTo>
                  <a:cubicBezTo>
                    <a:pt x="2471" y="4978"/>
                    <a:pt x="3284" y="4408"/>
                    <a:pt x="3111" y="3734"/>
                  </a:cubicBezTo>
                  <a:cubicBezTo>
                    <a:pt x="2748" y="2213"/>
                    <a:pt x="2108" y="744"/>
                    <a:pt x="519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59" name="Google Shape;10992;p65">
              <a:extLst>
                <a:ext uri="{FF2B5EF4-FFF2-40B4-BE49-F238E27FC236}">
                  <a16:creationId xmlns:a16="http://schemas.microsoft.com/office/drawing/2014/main" id="{A1DC6562-0D8A-B2B4-E309-B48293F81D33}"/>
                </a:ext>
              </a:extLst>
            </p:cNvPr>
            <p:cNvSpPr/>
            <p:nvPr/>
          </p:nvSpPr>
          <p:spPr>
            <a:xfrm>
              <a:off x="4869125" y="997550"/>
              <a:ext cx="160750" cy="66150"/>
            </a:xfrm>
            <a:custGeom>
              <a:avLst/>
              <a:gdLst/>
              <a:ahLst/>
              <a:cxnLst/>
              <a:rect l="l" t="t" r="r" b="b"/>
              <a:pathLst>
                <a:path w="6430" h="2646" extrusionOk="0">
                  <a:moveTo>
                    <a:pt x="1040" y="1"/>
                  </a:moveTo>
                  <a:cubicBezTo>
                    <a:pt x="589" y="1"/>
                    <a:pt x="239" y="358"/>
                    <a:pt x="104" y="814"/>
                  </a:cubicBezTo>
                  <a:cubicBezTo>
                    <a:pt x="1" y="1108"/>
                    <a:pt x="191" y="1419"/>
                    <a:pt x="502" y="1470"/>
                  </a:cubicBezTo>
                  <a:cubicBezTo>
                    <a:pt x="1971" y="1885"/>
                    <a:pt x="3440" y="2283"/>
                    <a:pt x="4736" y="2646"/>
                  </a:cubicBezTo>
                  <a:cubicBezTo>
                    <a:pt x="5427" y="2611"/>
                    <a:pt x="5928" y="2611"/>
                    <a:pt x="6239" y="2127"/>
                  </a:cubicBezTo>
                  <a:cubicBezTo>
                    <a:pt x="6429" y="1851"/>
                    <a:pt x="6308" y="1470"/>
                    <a:pt x="6066" y="1419"/>
                  </a:cubicBezTo>
                  <a:cubicBezTo>
                    <a:pt x="4373" y="1021"/>
                    <a:pt x="2852" y="36"/>
                    <a:pt x="1072" y="2"/>
                  </a:cubicBezTo>
                  <a:cubicBezTo>
                    <a:pt x="1061" y="1"/>
                    <a:pt x="1051" y="1"/>
                    <a:pt x="1040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0" name="Google Shape;10993;p65">
              <a:extLst>
                <a:ext uri="{FF2B5EF4-FFF2-40B4-BE49-F238E27FC236}">
                  <a16:creationId xmlns:a16="http://schemas.microsoft.com/office/drawing/2014/main" id="{4D434B5B-B142-1761-A83B-C1933339E772}"/>
                </a:ext>
              </a:extLst>
            </p:cNvPr>
            <p:cNvSpPr/>
            <p:nvPr/>
          </p:nvSpPr>
          <p:spPr>
            <a:xfrm>
              <a:off x="3763550" y="998475"/>
              <a:ext cx="117975" cy="55725"/>
            </a:xfrm>
            <a:custGeom>
              <a:avLst/>
              <a:gdLst/>
              <a:ahLst/>
              <a:cxnLst/>
              <a:rect l="l" t="t" r="r" b="b"/>
              <a:pathLst>
                <a:path w="4719" h="2229" extrusionOk="0">
                  <a:moveTo>
                    <a:pt x="747" y="0"/>
                  </a:moveTo>
                  <a:cubicBezTo>
                    <a:pt x="407" y="0"/>
                    <a:pt x="65" y="161"/>
                    <a:pt x="18" y="690"/>
                  </a:cubicBezTo>
                  <a:cubicBezTo>
                    <a:pt x="0" y="863"/>
                    <a:pt x="190" y="1053"/>
                    <a:pt x="277" y="1243"/>
                  </a:cubicBezTo>
                  <a:lnTo>
                    <a:pt x="2333" y="2228"/>
                  </a:lnTo>
                  <a:cubicBezTo>
                    <a:pt x="2437" y="2220"/>
                    <a:pt x="2541" y="2220"/>
                    <a:pt x="2644" y="2220"/>
                  </a:cubicBezTo>
                  <a:cubicBezTo>
                    <a:pt x="2748" y="2220"/>
                    <a:pt x="2852" y="2220"/>
                    <a:pt x="2955" y="2211"/>
                  </a:cubicBezTo>
                  <a:cubicBezTo>
                    <a:pt x="3647" y="2142"/>
                    <a:pt x="4718" y="2090"/>
                    <a:pt x="4511" y="1261"/>
                  </a:cubicBezTo>
                  <a:cubicBezTo>
                    <a:pt x="4255" y="308"/>
                    <a:pt x="3582" y="187"/>
                    <a:pt x="2842" y="187"/>
                  </a:cubicBezTo>
                  <a:cubicBezTo>
                    <a:pt x="2589" y="187"/>
                    <a:pt x="2328" y="201"/>
                    <a:pt x="2074" y="201"/>
                  </a:cubicBezTo>
                  <a:cubicBezTo>
                    <a:pt x="1762" y="201"/>
                    <a:pt x="1460" y="180"/>
                    <a:pt x="1193" y="85"/>
                  </a:cubicBezTo>
                  <a:cubicBezTo>
                    <a:pt x="1066" y="36"/>
                    <a:pt x="907" y="0"/>
                    <a:pt x="747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1" name="Google Shape;10994;p65">
              <a:extLst>
                <a:ext uri="{FF2B5EF4-FFF2-40B4-BE49-F238E27FC236}">
                  <a16:creationId xmlns:a16="http://schemas.microsoft.com/office/drawing/2014/main" id="{BC1898F2-D88B-B99B-8290-DFCE310A48A0}"/>
                </a:ext>
              </a:extLst>
            </p:cNvPr>
            <p:cNvSpPr/>
            <p:nvPr/>
          </p:nvSpPr>
          <p:spPr>
            <a:xfrm>
              <a:off x="6244750" y="3463175"/>
              <a:ext cx="127900" cy="76650"/>
            </a:xfrm>
            <a:custGeom>
              <a:avLst/>
              <a:gdLst/>
              <a:ahLst/>
              <a:cxnLst/>
              <a:rect l="l" t="t" r="r" b="b"/>
              <a:pathLst>
                <a:path w="5116" h="3066" extrusionOk="0">
                  <a:moveTo>
                    <a:pt x="4184" y="1"/>
                  </a:moveTo>
                  <a:cubicBezTo>
                    <a:pt x="4093" y="1"/>
                    <a:pt x="4000" y="13"/>
                    <a:pt x="3906" y="36"/>
                  </a:cubicBezTo>
                  <a:cubicBezTo>
                    <a:pt x="3232" y="209"/>
                    <a:pt x="2575" y="416"/>
                    <a:pt x="1918" y="641"/>
                  </a:cubicBezTo>
                  <a:lnTo>
                    <a:pt x="1936" y="641"/>
                  </a:lnTo>
                  <a:cubicBezTo>
                    <a:pt x="1659" y="848"/>
                    <a:pt x="1383" y="1038"/>
                    <a:pt x="1089" y="1194"/>
                  </a:cubicBezTo>
                  <a:cubicBezTo>
                    <a:pt x="432" y="1505"/>
                    <a:pt x="0" y="2093"/>
                    <a:pt x="311" y="2680"/>
                  </a:cubicBezTo>
                  <a:cubicBezTo>
                    <a:pt x="460" y="2964"/>
                    <a:pt x="650" y="3065"/>
                    <a:pt x="856" y="3065"/>
                  </a:cubicBezTo>
                  <a:cubicBezTo>
                    <a:pt x="1178" y="3065"/>
                    <a:pt x="1537" y="2818"/>
                    <a:pt x="1832" y="2628"/>
                  </a:cubicBezTo>
                  <a:cubicBezTo>
                    <a:pt x="2558" y="2093"/>
                    <a:pt x="3370" y="1695"/>
                    <a:pt x="4234" y="1436"/>
                  </a:cubicBezTo>
                  <a:cubicBezTo>
                    <a:pt x="4631" y="1332"/>
                    <a:pt x="5115" y="1108"/>
                    <a:pt x="4994" y="606"/>
                  </a:cubicBezTo>
                  <a:cubicBezTo>
                    <a:pt x="4883" y="203"/>
                    <a:pt x="4559" y="1"/>
                    <a:pt x="4184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2" name="Google Shape;10995;p65">
              <a:extLst>
                <a:ext uri="{FF2B5EF4-FFF2-40B4-BE49-F238E27FC236}">
                  <a16:creationId xmlns:a16="http://schemas.microsoft.com/office/drawing/2014/main" id="{02B16B0D-81CF-D9A8-7FE5-9722273F51BE}"/>
                </a:ext>
              </a:extLst>
            </p:cNvPr>
            <p:cNvSpPr/>
            <p:nvPr/>
          </p:nvSpPr>
          <p:spPr>
            <a:xfrm>
              <a:off x="6286725" y="2464325"/>
              <a:ext cx="67775" cy="93850"/>
            </a:xfrm>
            <a:custGeom>
              <a:avLst/>
              <a:gdLst/>
              <a:ahLst/>
              <a:cxnLst/>
              <a:rect l="l" t="t" r="r" b="b"/>
              <a:pathLst>
                <a:path w="2711" h="3754" extrusionOk="0">
                  <a:moveTo>
                    <a:pt x="1532" y="0"/>
                  </a:moveTo>
                  <a:cubicBezTo>
                    <a:pt x="1516" y="0"/>
                    <a:pt x="1500" y="0"/>
                    <a:pt x="1484" y="1"/>
                  </a:cubicBezTo>
                  <a:cubicBezTo>
                    <a:pt x="187" y="53"/>
                    <a:pt x="239" y="1332"/>
                    <a:pt x="101" y="2265"/>
                  </a:cubicBezTo>
                  <a:cubicBezTo>
                    <a:pt x="1" y="3066"/>
                    <a:pt x="465" y="3754"/>
                    <a:pt x="1243" y="3754"/>
                  </a:cubicBezTo>
                  <a:cubicBezTo>
                    <a:pt x="1271" y="3754"/>
                    <a:pt x="1299" y="3753"/>
                    <a:pt x="1328" y="3751"/>
                  </a:cubicBezTo>
                  <a:cubicBezTo>
                    <a:pt x="2711" y="3682"/>
                    <a:pt x="1967" y="2403"/>
                    <a:pt x="2313" y="1815"/>
                  </a:cubicBezTo>
                  <a:cubicBezTo>
                    <a:pt x="2228" y="1050"/>
                    <a:pt x="2528" y="0"/>
                    <a:pt x="153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3" name="Google Shape;10996;p65">
              <a:extLst>
                <a:ext uri="{FF2B5EF4-FFF2-40B4-BE49-F238E27FC236}">
                  <a16:creationId xmlns:a16="http://schemas.microsoft.com/office/drawing/2014/main" id="{EADF00B0-43B0-25A4-0A48-703791F5243A}"/>
                </a:ext>
              </a:extLst>
            </p:cNvPr>
            <p:cNvSpPr/>
            <p:nvPr/>
          </p:nvSpPr>
          <p:spPr>
            <a:xfrm>
              <a:off x="6279300" y="2861375"/>
              <a:ext cx="75625" cy="97275"/>
            </a:xfrm>
            <a:custGeom>
              <a:avLst/>
              <a:gdLst/>
              <a:ahLst/>
              <a:cxnLst/>
              <a:rect l="l" t="t" r="r" b="b"/>
              <a:pathLst>
                <a:path w="3025" h="3891" extrusionOk="0">
                  <a:moveTo>
                    <a:pt x="2403" y="1"/>
                  </a:moveTo>
                  <a:cubicBezTo>
                    <a:pt x="2178" y="1"/>
                    <a:pt x="1971" y="104"/>
                    <a:pt x="1850" y="277"/>
                  </a:cubicBezTo>
                  <a:cubicBezTo>
                    <a:pt x="1504" y="1193"/>
                    <a:pt x="882" y="1884"/>
                    <a:pt x="277" y="2610"/>
                  </a:cubicBezTo>
                  <a:cubicBezTo>
                    <a:pt x="35" y="2869"/>
                    <a:pt x="1" y="3284"/>
                    <a:pt x="208" y="3578"/>
                  </a:cubicBezTo>
                  <a:cubicBezTo>
                    <a:pt x="326" y="3766"/>
                    <a:pt x="507" y="3890"/>
                    <a:pt x="682" y="3890"/>
                  </a:cubicBezTo>
                  <a:cubicBezTo>
                    <a:pt x="764" y="3890"/>
                    <a:pt x="845" y="3863"/>
                    <a:pt x="916" y="3802"/>
                  </a:cubicBezTo>
                  <a:cubicBezTo>
                    <a:pt x="1815" y="3128"/>
                    <a:pt x="2731" y="2420"/>
                    <a:pt x="3025" y="1452"/>
                  </a:cubicBezTo>
                  <a:cubicBezTo>
                    <a:pt x="2973" y="744"/>
                    <a:pt x="2921" y="225"/>
                    <a:pt x="2403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4" name="Google Shape;10997;p65">
              <a:extLst>
                <a:ext uri="{FF2B5EF4-FFF2-40B4-BE49-F238E27FC236}">
                  <a16:creationId xmlns:a16="http://schemas.microsoft.com/office/drawing/2014/main" id="{095B49D7-8D8D-FD8E-D1F3-18D6B8A5FF13}"/>
                </a:ext>
              </a:extLst>
            </p:cNvPr>
            <p:cNvSpPr/>
            <p:nvPr/>
          </p:nvSpPr>
          <p:spPr>
            <a:xfrm>
              <a:off x="4145025" y="994975"/>
              <a:ext cx="111500" cy="47325"/>
            </a:xfrm>
            <a:custGeom>
              <a:avLst/>
              <a:gdLst/>
              <a:ahLst/>
              <a:cxnLst/>
              <a:rect l="l" t="t" r="r" b="b"/>
              <a:pathLst>
                <a:path w="4460" h="1893" extrusionOk="0">
                  <a:moveTo>
                    <a:pt x="1539" y="105"/>
                  </a:moveTo>
                  <a:cubicBezTo>
                    <a:pt x="969" y="243"/>
                    <a:pt x="139" y="1"/>
                    <a:pt x="70" y="744"/>
                  </a:cubicBezTo>
                  <a:cubicBezTo>
                    <a:pt x="1" y="1418"/>
                    <a:pt x="813" y="1418"/>
                    <a:pt x="1332" y="1556"/>
                  </a:cubicBezTo>
                  <a:cubicBezTo>
                    <a:pt x="1764" y="1677"/>
                    <a:pt x="2213" y="1764"/>
                    <a:pt x="2645" y="1815"/>
                  </a:cubicBezTo>
                  <a:cubicBezTo>
                    <a:pt x="2898" y="1847"/>
                    <a:pt x="3179" y="1893"/>
                    <a:pt x="3440" y="1893"/>
                  </a:cubicBezTo>
                  <a:cubicBezTo>
                    <a:pt x="3890" y="1893"/>
                    <a:pt x="4279" y="1756"/>
                    <a:pt x="4356" y="1176"/>
                  </a:cubicBezTo>
                  <a:cubicBezTo>
                    <a:pt x="4459" y="346"/>
                    <a:pt x="3561" y="416"/>
                    <a:pt x="2956" y="329"/>
                  </a:cubicBezTo>
                  <a:lnTo>
                    <a:pt x="1539" y="105"/>
                  </a:ln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5" name="Google Shape;10998;p65">
              <a:extLst>
                <a:ext uri="{FF2B5EF4-FFF2-40B4-BE49-F238E27FC236}">
                  <a16:creationId xmlns:a16="http://schemas.microsoft.com/office/drawing/2014/main" id="{9F2C3119-AC50-5A91-BB55-1430EFD916D5}"/>
                </a:ext>
              </a:extLst>
            </p:cNvPr>
            <p:cNvSpPr/>
            <p:nvPr/>
          </p:nvSpPr>
          <p:spPr>
            <a:xfrm>
              <a:off x="7213625" y="3803350"/>
              <a:ext cx="74075" cy="80050"/>
            </a:xfrm>
            <a:custGeom>
              <a:avLst/>
              <a:gdLst/>
              <a:ahLst/>
              <a:cxnLst/>
              <a:rect l="l" t="t" r="r" b="b"/>
              <a:pathLst>
                <a:path w="2963" h="3202" extrusionOk="0">
                  <a:moveTo>
                    <a:pt x="573" y="1"/>
                  </a:moveTo>
                  <a:cubicBezTo>
                    <a:pt x="233" y="1"/>
                    <a:pt x="0" y="333"/>
                    <a:pt x="59" y="704"/>
                  </a:cubicBezTo>
                  <a:cubicBezTo>
                    <a:pt x="284" y="1965"/>
                    <a:pt x="1096" y="2777"/>
                    <a:pt x="2289" y="3175"/>
                  </a:cubicBezTo>
                  <a:cubicBezTo>
                    <a:pt x="2343" y="3193"/>
                    <a:pt x="2395" y="3202"/>
                    <a:pt x="2445" y="3202"/>
                  </a:cubicBezTo>
                  <a:cubicBezTo>
                    <a:pt x="2729" y="3202"/>
                    <a:pt x="2933" y="2914"/>
                    <a:pt x="2963" y="2414"/>
                  </a:cubicBezTo>
                  <a:cubicBezTo>
                    <a:pt x="2341" y="1619"/>
                    <a:pt x="1960" y="427"/>
                    <a:pt x="751" y="30"/>
                  </a:cubicBezTo>
                  <a:cubicBezTo>
                    <a:pt x="689" y="10"/>
                    <a:pt x="630" y="1"/>
                    <a:pt x="573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6" name="Google Shape;10999;p65">
              <a:extLst>
                <a:ext uri="{FF2B5EF4-FFF2-40B4-BE49-F238E27FC236}">
                  <a16:creationId xmlns:a16="http://schemas.microsoft.com/office/drawing/2014/main" id="{41971533-2787-661B-0F5C-B5C334B3F3E9}"/>
                </a:ext>
              </a:extLst>
            </p:cNvPr>
            <p:cNvSpPr/>
            <p:nvPr/>
          </p:nvSpPr>
          <p:spPr>
            <a:xfrm>
              <a:off x="6542025" y="3118350"/>
              <a:ext cx="66075" cy="79800"/>
            </a:xfrm>
            <a:custGeom>
              <a:avLst/>
              <a:gdLst/>
              <a:ahLst/>
              <a:cxnLst/>
              <a:rect l="l" t="t" r="r" b="b"/>
              <a:pathLst>
                <a:path w="2643" h="3192" extrusionOk="0">
                  <a:moveTo>
                    <a:pt x="1295" y="1"/>
                  </a:moveTo>
                  <a:cubicBezTo>
                    <a:pt x="1273" y="1"/>
                    <a:pt x="1250" y="2"/>
                    <a:pt x="1226" y="4"/>
                  </a:cubicBezTo>
                  <a:cubicBezTo>
                    <a:pt x="275" y="108"/>
                    <a:pt x="51" y="954"/>
                    <a:pt x="33" y="1732"/>
                  </a:cubicBezTo>
                  <a:cubicBezTo>
                    <a:pt x="1" y="2354"/>
                    <a:pt x="200" y="3192"/>
                    <a:pt x="910" y="3192"/>
                  </a:cubicBezTo>
                  <a:cubicBezTo>
                    <a:pt x="950" y="3192"/>
                    <a:pt x="992" y="3189"/>
                    <a:pt x="1036" y="3184"/>
                  </a:cubicBezTo>
                  <a:cubicBezTo>
                    <a:pt x="2643" y="2959"/>
                    <a:pt x="1640" y="1767"/>
                    <a:pt x="1640" y="1110"/>
                  </a:cubicBezTo>
                  <a:cubicBezTo>
                    <a:pt x="1740" y="547"/>
                    <a:pt x="1792" y="1"/>
                    <a:pt x="129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7" name="Google Shape;11000;p65">
              <a:extLst>
                <a:ext uri="{FF2B5EF4-FFF2-40B4-BE49-F238E27FC236}">
                  <a16:creationId xmlns:a16="http://schemas.microsoft.com/office/drawing/2014/main" id="{D735B3A9-24B0-6A10-0C65-255FCE92AE83}"/>
                </a:ext>
              </a:extLst>
            </p:cNvPr>
            <p:cNvSpPr/>
            <p:nvPr/>
          </p:nvSpPr>
          <p:spPr>
            <a:xfrm>
              <a:off x="4278100" y="987200"/>
              <a:ext cx="87225" cy="50150"/>
            </a:xfrm>
            <a:custGeom>
              <a:avLst/>
              <a:gdLst/>
              <a:ahLst/>
              <a:cxnLst/>
              <a:rect l="l" t="t" r="r" b="b"/>
              <a:pathLst>
                <a:path w="3489" h="2006" extrusionOk="0">
                  <a:moveTo>
                    <a:pt x="2519" y="46"/>
                  </a:moveTo>
                  <a:cubicBezTo>
                    <a:pt x="2407" y="46"/>
                    <a:pt x="2296" y="60"/>
                    <a:pt x="2195" y="87"/>
                  </a:cubicBezTo>
                  <a:cubicBezTo>
                    <a:pt x="1435" y="312"/>
                    <a:pt x="191" y="1"/>
                    <a:pt x="87" y="1107"/>
                  </a:cubicBezTo>
                  <a:cubicBezTo>
                    <a:pt x="1" y="1798"/>
                    <a:pt x="986" y="1746"/>
                    <a:pt x="1642" y="1781"/>
                  </a:cubicBezTo>
                  <a:cubicBezTo>
                    <a:pt x="2299" y="1556"/>
                    <a:pt x="3422" y="2005"/>
                    <a:pt x="3474" y="813"/>
                  </a:cubicBezTo>
                  <a:cubicBezTo>
                    <a:pt x="3488" y="284"/>
                    <a:pt x="2986" y="46"/>
                    <a:pt x="2519" y="46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8" name="Google Shape;11001;p65">
              <a:extLst>
                <a:ext uri="{FF2B5EF4-FFF2-40B4-BE49-F238E27FC236}">
                  <a16:creationId xmlns:a16="http://schemas.microsoft.com/office/drawing/2014/main" id="{02272364-321A-0CD1-37BD-0B693319F83E}"/>
                </a:ext>
              </a:extLst>
            </p:cNvPr>
            <p:cNvSpPr/>
            <p:nvPr/>
          </p:nvSpPr>
          <p:spPr>
            <a:xfrm>
              <a:off x="6595650" y="1204100"/>
              <a:ext cx="81075" cy="41800"/>
            </a:xfrm>
            <a:custGeom>
              <a:avLst/>
              <a:gdLst/>
              <a:ahLst/>
              <a:cxnLst/>
              <a:rect l="l" t="t" r="r" b="b"/>
              <a:pathLst>
                <a:path w="3243" h="1672" extrusionOk="0">
                  <a:moveTo>
                    <a:pt x="1466" y="121"/>
                  </a:moveTo>
                  <a:cubicBezTo>
                    <a:pt x="1366" y="163"/>
                    <a:pt x="1241" y="173"/>
                    <a:pt x="1106" y="173"/>
                  </a:cubicBezTo>
                  <a:cubicBezTo>
                    <a:pt x="987" y="173"/>
                    <a:pt x="861" y="165"/>
                    <a:pt x="738" y="165"/>
                  </a:cubicBezTo>
                  <a:cubicBezTo>
                    <a:pt x="371" y="165"/>
                    <a:pt x="34" y="234"/>
                    <a:pt x="14" y="778"/>
                  </a:cubicBezTo>
                  <a:cubicBezTo>
                    <a:pt x="0" y="1593"/>
                    <a:pt x="628" y="1660"/>
                    <a:pt x="1232" y="1660"/>
                  </a:cubicBezTo>
                  <a:cubicBezTo>
                    <a:pt x="1352" y="1660"/>
                    <a:pt x="1472" y="1658"/>
                    <a:pt x="1585" y="1658"/>
                  </a:cubicBezTo>
                  <a:cubicBezTo>
                    <a:pt x="1627" y="1658"/>
                    <a:pt x="1668" y="1658"/>
                    <a:pt x="1708" y="1659"/>
                  </a:cubicBezTo>
                  <a:cubicBezTo>
                    <a:pt x="1826" y="1666"/>
                    <a:pt x="1954" y="1672"/>
                    <a:pt x="2085" y="1672"/>
                  </a:cubicBezTo>
                  <a:cubicBezTo>
                    <a:pt x="2644" y="1672"/>
                    <a:pt x="3242" y="1563"/>
                    <a:pt x="3228" y="933"/>
                  </a:cubicBezTo>
                  <a:cubicBezTo>
                    <a:pt x="3194" y="0"/>
                    <a:pt x="2209" y="207"/>
                    <a:pt x="1466" y="12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69" name="Google Shape;11002;p65">
              <a:extLst>
                <a:ext uri="{FF2B5EF4-FFF2-40B4-BE49-F238E27FC236}">
                  <a16:creationId xmlns:a16="http://schemas.microsoft.com/office/drawing/2014/main" id="{C07BEFEB-AB50-194A-B4BF-F4A76241E88D}"/>
                </a:ext>
              </a:extLst>
            </p:cNvPr>
            <p:cNvSpPr/>
            <p:nvPr/>
          </p:nvSpPr>
          <p:spPr>
            <a:xfrm>
              <a:off x="5040350" y="1034625"/>
              <a:ext cx="81550" cy="46975"/>
            </a:xfrm>
            <a:custGeom>
              <a:avLst/>
              <a:gdLst/>
              <a:ahLst/>
              <a:cxnLst/>
              <a:rect l="l" t="t" r="r" b="b"/>
              <a:pathLst>
                <a:path w="3262" h="1879" extrusionOk="0">
                  <a:moveTo>
                    <a:pt x="1625" y="1"/>
                  </a:moveTo>
                  <a:cubicBezTo>
                    <a:pt x="803" y="1"/>
                    <a:pt x="279" y="461"/>
                    <a:pt x="99" y="1249"/>
                  </a:cubicBezTo>
                  <a:cubicBezTo>
                    <a:pt x="0" y="1616"/>
                    <a:pt x="339" y="1879"/>
                    <a:pt x="645" y="1879"/>
                  </a:cubicBezTo>
                  <a:cubicBezTo>
                    <a:pt x="714" y="1879"/>
                    <a:pt x="781" y="1865"/>
                    <a:pt x="842" y="1837"/>
                  </a:cubicBezTo>
                  <a:cubicBezTo>
                    <a:pt x="1620" y="1474"/>
                    <a:pt x="2829" y="1750"/>
                    <a:pt x="3106" y="800"/>
                  </a:cubicBezTo>
                  <a:cubicBezTo>
                    <a:pt x="3261" y="229"/>
                    <a:pt x="2363" y="22"/>
                    <a:pt x="1758" y="5"/>
                  </a:cubicBezTo>
                  <a:cubicBezTo>
                    <a:pt x="1713" y="2"/>
                    <a:pt x="1668" y="1"/>
                    <a:pt x="162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0" name="Google Shape;11003;p65">
              <a:extLst>
                <a:ext uri="{FF2B5EF4-FFF2-40B4-BE49-F238E27FC236}">
                  <a16:creationId xmlns:a16="http://schemas.microsoft.com/office/drawing/2014/main" id="{C6CB064F-41BF-F224-C4C5-2242CFA3FA6F}"/>
                </a:ext>
              </a:extLst>
            </p:cNvPr>
            <p:cNvSpPr/>
            <p:nvPr/>
          </p:nvSpPr>
          <p:spPr>
            <a:xfrm>
              <a:off x="6380950" y="3302475"/>
              <a:ext cx="77800" cy="40225"/>
            </a:xfrm>
            <a:custGeom>
              <a:avLst/>
              <a:gdLst/>
              <a:ahLst/>
              <a:cxnLst/>
              <a:rect l="l" t="t" r="r" b="b"/>
              <a:pathLst>
                <a:path w="3112" h="1609" extrusionOk="0">
                  <a:moveTo>
                    <a:pt x="843" y="80"/>
                  </a:moveTo>
                  <a:cubicBezTo>
                    <a:pt x="352" y="80"/>
                    <a:pt x="1" y="466"/>
                    <a:pt x="65" y="882"/>
                  </a:cubicBezTo>
                  <a:cubicBezTo>
                    <a:pt x="161" y="1545"/>
                    <a:pt x="602" y="1578"/>
                    <a:pt x="1054" y="1578"/>
                  </a:cubicBezTo>
                  <a:cubicBezTo>
                    <a:pt x="1103" y="1578"/>
                    <a:pt x="1152" y="1577"/>
                    <a:pt x="1201" y="1577"/>
                  </a:cubicBezTo>
                  <a:cubicBezTo>
                    <a:pt x="1347" y="1577"/>
                    <a:pt x="1491" y="1581"/>
                    <a:pt x="1620" y="1608"/>
                  </a:cubicBezTo>
                  <a:cubicBezTo>
                    <a:pt x="1746" y="1549"/>
                    <a:pt x="1903" y="1535"/>
                    <a:pt x="2065" y="1535"/>
                  </a:cubicBezTo>
                  <a:cubicBezTo>
                    <a:pt x="2212" y="1535"/>
                    <a:pt x="2363" y="1547"/>
                    <a:pt x="2502" y="1547"/>
                  </a:cubicBezTo>
                  <a:cubicBezTo>
                    <a:pt x="2845" y="1547"/>
                    <a:pt x="3112" y="1478"/>
                    <a:pt x="3037" y="1003"/>
                  </a:cubicBezTo>
                  <a:cubicBezTo>
                    <a:pt x="2882" y="1"/>
                    <a:pt x="1741" y="191"/>
                    <a:pt x="963" y="87"/>
                  </a:cubicBezTo>
                  <a:cubicBezTo>
                    <a:pt x="923" y="82"/>
                    <a:pt x="882" y="80"/>
                    <a:pt x="843" y="8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1" name="Google Shape;11004;p65">
              <a:extLst>
                <a:ext uri="{FF2B5EF4-FFF2-40B4-BE49-F238E27FC236}">
                  <a16:creationId xmlns:a16="http://schemas.microsoft.com/office/drawing/2014/main" id="{0756DA8A-41F8-1F78-FC02-3393E7A4EF2D}"/>
                </a:ext>
              </a:extLst>
            </p:cNvPr>
            <p:cNvSpPr/>
            <p:nvPr/>
          </p:nvSpPr>
          <p:spPr>
            <a:xfrm>
              <a:off x="4384825" y="996700"/>
              <a:ext cx="62025" cy="39775"/>
            </a:xfrm>
            <a:custGeom>
              <a:avLst/>
              <a:gdLst/>
              <a:ahLst/>
              <a:cxnLst/>
              <a:rect l="l" t="t" r="r" b="b"/>
              <a:pathLst>
                <a:path w="2481" h="1591" extrusionOk="0">
                  <a:moveTo>
                    <a:pt x="1811" y="155"/>
                  </a:moveTo>
                  <a:cubicBezTo>
                    <a:pt x="1713" y="155"/>
                    <a:pt x="1613" y="168"/>
                    <a:pt x="1521" y="191"/>
                  </a:cubicBezTo>
                  <a:cubicBezTo>
                    <a:pt x="985" y="312"/>
                    <a:pt x="121" y="1"/>
                    <a:pt x="52" y="917"/>
                  </a:cubicBezTo>
                  <a:cubicBezTo>
                    <a:pt x="0" y="1487"/>
                    <a:pt x="536" y="1574"/>
                    <a:pt x="1054" y="1591"/>
                  </a:cubicBezTo>
                  <a:cubicBezTo>
                    <a:pt x="1573" y="1418"/>
                    <a:pt x="2385" y="1556"/>
                    <a:pt x="2454" y="727"/>
                  </a:cubicBezTo>
                  <a:cubicBezTo>
                    <a:pt x="2481" y="311"/>
                    <a:pt x="2153" y="155"/>
                    <a:pt x="1811" y="155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2" name="Google Shape;11005;p65">
              <a:extLst>
                <a:ext uri="{FF2B5EF4-FFF2-40B4-BE49-F238E27FC236}">
                  <a16:creationId xmlns:a16="http://schemas.microsoft.com/office/drawing/2014/main" id="{8D0C3472-5664-E9F3-6D0D-DB8B5BA19E8F}"/>
                </a:ext>
              </a:extLst>
            </p:cNvPr>
            <p:cNvSpPr/>
            <p:nvPr/>
          </p:nvSpPr>
          <p:spPr>
            <a:xfrm>
              <a:off x="2100625" y="1004500"/>
              <a:ext cx="520200" cy="95050"/>
            </a:xfrm>
            <a:custGeom>
              <a:avLst/>
              <a:gdLst/>
              <a:ahLst/>
              <a:cxnLst/>
              <a:rect l="l" t="t" r="r" b="b"/>
              <a:pathLst>
                <a:path w="20808" h="3802" extrusionOk="0">
                  <a:moveTo>
                    <a:pt x="20756" y="0"/>
                  </a:moveTo>
                  <a:lnTo>
                    <a:pt x="20738" y="17"/>
                  </a:lnTo>
                  <a:lnTo>
                    <a:pt x="20773" y="17"/>
                  </a:lnTo>
                  <a:lnTo>
                    <a:pt x="20808" y="0"/>
                  </a:lnTo>
                  <a:close/>
                  <a:moveTo>
                    <a:pt x="1" y="3785"/>
                  </a:moveTo>
                  <a:lnTo>
                    <a:pt x="1" y="3802"/>
                  </a:lnTo>
                  <a:lnTo>
                    <a:pt x="18" y="3802"/>
                  </a:lnTo>
                  <a:lnTo>
                    <a:pt x="18" y="3785"/>
                  </a:ln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3" name="Google Shape;11006;p65">
              <a:extLst>
                <a:ext uri="{FF2B5EF4-FFF2-40B4-BE49-F238E27FC236}">
                  <a16:creationId xmlns:a16="http://schemas.microsoft.com/office/drawing/2014/main" id="{702ADD3B-CFAC-C72D-FA82-ADBDF9F3C0B4}"/>
                </a:ext>
              </a:extLst>
            </p:cNvPr>
            <p:cNvSpPr/>
            <p:nvPr/>
          </p:nvSpPr>
          <p:spPr>
            <a:xfrm>
              <a:off x="233350" y="949250"/>
              <a:ext cx="3232550" cy="3802300"/>
            </a:xfrm>
            <a:custGeom>
              <a:avLst/>
              <a:gdLst/>
              <a:ahLst/>
              <a:cxnLst/>
              <a:rect l="l" t="t" r="r" b="b"/>
              <a:pathLst>
                <a:path w="129302" h="152092" extrusionOk="0">
                  <a:moveTo>
                    <a:pt x="97270" y="1644"/>
                  </a:moveTo>
                  <a:cubicBezTo>
                    <a:pt x="97347" y="1644"/>
                    <a:pt x="97424" y="1648"/>
                    <a:pt x="97503" y="1657"/>
                  </a:cubicBezTo>
                  <a:cubicBezTo>
                    <a:pt x="97555" y="1674"/>
                    <a:pt x="97607" y="1692"/>
                    <a:pt x="97642" y="1709"/>
                  </a:cubicBezTo>
                  <a:lnTo>
                    <a:pt x="95601" y="2170"/>
                  </a:lnTo>
                  <a:lnTo>
                    <a:pt x="95601" y="2170"/>
                  </a:lnTo>
                  <a:cubicBezTo>
                    <a:pt x="96129" y="1917"/>
                    <a:pt x="96661" y="1644"/>
                    <a:pt x="97270" y="1644"/>
                  </a:cubicBezTo>
                  <a:close/>
                  <a:moveTo>
                    <a:pt x="95473" y="2210"/>
                  </a:moveTo>
                  <a:lnTo>
                    <a:pt x="95447" y="2227"/>
                  </a:lnTo>
                  <a:lnTo>
                    <a:pt x="95429" y="2227"/>
                  </a:lnTo>
                  <a:lnTo>
                    <a:pt x="95464" y="2210"/>
                  </a:lnTo>
                  <a:close/>
                  <a:moveTo>
                    <a:pt x="68358" y="8951"/>
                  </a:moveTo>
                  <a:cubicBezTo>
                    <a:pt x="68553" y="8951"/>
                    <a:pt x="68761" y="9049"/>
                    <a:pt x="68989" y="9313"/>
                  </a:cubicBezTo>
                  <a:cubicBezTo>
                    <a:pt x="69208" y="9280"/>
                    <a:pt x="69420" y="9268"/>
                    <a:pt x="69634" y="9268"/>
                  </a:cubicBezTo>
                  <a:cubicBezTo>
                    <a:pt x="69758" y="9268"/>
                    <a:pt x="69882" y="9272"/>
                    <a:pt x="70008" y="9278"/>
                  </a:cubicBezTo>
                  <a:cubicBezTo>
                    <a:pt x="70061" y="9286"/>
                    <a:pt x="70117" y="9289"/>
                    <a:pt x="70177" y="9289"/>
                  </a:cubicBezTo>
                  <a:cubicBezTo>
                    <a:pt x="70522" y="9289"/>
                    <a:pt x="70965" y="9176"/>
                    <a:pt x="71318" y="9176"/>
                  </a:cubicBezTo>
                  <a:cubicBezTo>
                    <a:pt x="71841" y="9176"/>
                    <a:pt x="72167" y="9425"/>
                    <a:pt x="71685" y="10661"/>
                  </a:cubicBezTo>
                  <a:cubicBezTo>
                    <a:pt x="71581" y="10937"/>
                    <a:pt x="71823" y="11265"/>
                    <a:pt x="72151" y="11386"/>
                  </a:cubicBezTo>
                  <a:cubicBezTo>
                    <a:pt x="72428" y="11438"/>
                    <a:pt x="72722" y="11490"/>
                    <a:pt x="72998" y="11507"/>
                  </a:cubicBezTo>
                  <a:cubicBezTo>
                    <a:pt x="72652" y="11922"/>
                    <a:pt x="72359" y="12406"/>
                    <a:pt x="71927" y="12717"/>
                  </a:cubicBezTo>
                  <a:cubicBezTo>
                    <a:pt x="71831" y="12786"/>
                    <a:pt x="71741" y="12813"/>
                    <a:pt x="71654" y="12813"/>
                  </a:cubicBezTo>
                  <a:cubicBezTo>
                    <a:pt x="71349" y="12813"/>
                    <a:pt x="71090" y="12473"/>
                    <a:pt x="70821" y="12406"/>
                  </a:cubicBezTo>
                  <a:cubicBezTo>
                    <a:pt x="69127" y="11939"/>
                    <a:pt x="69334" y="10488"/>
                    <a:pt x="68989" y="9313"/>
                  </a:cubicBezTo>
                  <a:lnTo>
                    <a:pt x="67330" y="9520"/>
                  </a:lnTo>
                  <a:cubicBezTo>
                    <a:pt x="67668" y="9295"/>
                    <a:pt x="67992" y="8951"/>
                    <a:pt x="68358" y="8951"/>
                  </a:cubicBezTo>
                  <a:close/>
                  <a:moveTo>
                    <a:pt x="51546" y="12467"/>
                  </a:moveTo>
                  <a:cubicBezTo>
                    <a:pt x="51593" y="12467"/>
                    <a:pt x="51647" y="12470"/>
                    <a:pt x="51707" y="12475"/>
                  </a:cubicBezTo>
                  <a:cubicBezTo>
                    <a:pt x="51897" y="12648"/>
                    <a:pt x="52157" y="12890"/>
                    <a:pt x="52433" y="13115"/>
                  </a:cubicBezTo>
                  <a:cubicBezTo>
                    <a:pt x="52260" y="13270"/>
                    <a:pt x="52053" y="13374"/>
                    <a:pt x="51845" y="13460"/>
                  </a:cubicBezTo>
                  <a:cubicBezTo>
                    <a:pt x="51802" y="13467"/>
                    <a:pt x="51764" y="13470"/>
                    <a:pt x="51729" y="13470"/>
                  </a:cubicBezTo>
                  <a:cubicBezTo>
                    <a:pt x="51300" y="13470"/>
                    <a:pt x="51439" y="13007"/>
                    <a:pt x="51327" y="12752"/>
                  </a:cubicBezTo>
                  <a:cubicBezTo>
                    <a:pt x="51225" y="12548"/>
                    <a:pt x="51295" y="12467"/>
                    <a:pt x="51546" y="12467"/>
                  </a:cubicBezTo>
                  <a:close/>
                  <a:moveTo>
                    <a:pt x="55481" y="12549"/>
                  </a:moveTo>
                  <a:cubicBezTo>
                    <a:pt x="55526" y="12549"/>
                    <a:pt x="55570" y="12553"/>
                    <a:pt x="55613" y="12562"/>
                  </a:cubicBezTo>
                  <a:lnTo>
                    <a:pt x="54576" y="13789"/>
                  </a:lnTo>
                  <a:lnTo>
                    <a:pt x="53954" y="13184"/>
                  </a:lnTo>
                  <a:cubicBezTo>
                    <a:pt x="54420" y="12976"/>
                    <a:pt x="54870" y="12752"/>
                    <a:pt x="55336" y="12562"/>
                  </a:cubicBezTo>
                  <a:cubicBezTo>
                    <a:pt x="55388" y="12553"/>
                    <a:pt x="55436" y="12549"/>
                    <a:pt x="55481" y="12549"/>
                  </a:cubicBezTo>
                  <a:close/>
                  <a:moveTo>
                    <a:pt x="116966" y="0"/>
                  </a:moveTo>
                  <a:cubicBezTo>
                    <a:pt x="112339" y="0"/>
                    <a:pt x="107712" y="747"/>
                    <a:pt x="103085" y="1035"/>
                  </a:cubicBezTo>
                  <a:cubicBezTo>
                    <a:pt x="101910" y="1104"/>
                    <a:pt x="100735" y="983"/>
                    <a:pt x="99542" y="1260"/>
                  </a:cubicBezTo>
                  <a:cubicBezTo>
                    <a:pt x="99533" y="1262"/>
                    <a:pt x="99523" y="1263"/>
                    <a:pt x="99512" y="1263"/>
                  </a:cubicBezTo>
                  <a:cubicBezTo>
                    <a:pt x="99194" y="1263"/>
                    <a:pt x="98389" y="307"/>
                    <a:pt x="97503" y="240"/>
                  </a:cubicBezTo>
                  <a:cubicBezTo>
                    <a:pt x="96554" y="172"/>
                    <a:pt x="95607" y="143"/>
                    <a:pt x="94661" y="143"/>
                  </a:cubicBezTo>
                  <a:cubicBezTo>
                    <a:pt x="91541" y="143"/>
                    <a:pt x="88432" y="459"/>
                    <a:pt x="85303" y="724"/>
                  </a:cubicBezTo>
                  <a:cubicBezTo>
                    <a:pt x="83379" y="875"/>
                    <a:pt x="81549" y="1637"/>
                    <a:pt x="79578" y="1637"/>
                  </a:cubicBezTo>
                  <a:cubicBezTo>
                    <a:pt x="79300" y="1637"/>
                    <a:pt x="79020" y="1622"/>
                    <a:pt x="78736" y="1588"/>
                  </a:cubicBezTo>
                  <a:cubicBezTo>
                    <a:pt x="78573" y="1568"/>
                    <a:pt x="78403" y="1557"/>
                    <a:pt x="78229" y="1557"/>
                  </a:cubicBezTo>
                  <a:cubicBezTo>
                    <a:pt x="77349" y="1557"/>
                    <a:pt x="76386" y="1840"/>
                    <a:pt x="75953" y="2677"/>
                  </a:cubicBezTo>
                  <a:cubicBezTo>
                    <a:pt x="75538" y="3489"/>
                    <a:pt x="76333" y="4163"/>
                    <a:pt x="76956" y="4750"/>
                  </a:cubicBezTo>
                  <a:cubicBezTo>
                    <a:pt x="77215" y="4992"/>
                    <a:pt x="77232" y="5511"/>
                    <a:pt x="77370" y="5891"/>
                  </a:cubicBezTo>
                  <a:cubicBezTo>
                    <a:pt x="77348" y="5890"/>
                    <a:pt x="77325" y="5889"/>
                    <a:pt x="77301" y="5889"/>
                  </a:cubicBezTo>
                  <a:cubicBezTo>
                    <a:pt x="77154" y="5889"/>
                    <a:pt x="76988" y="5912"/>
                    <a:pt x="76844" y="5912"/>
                  </a:cubicBezTo>
                  <a:cubicBezTo>
                    <a:pt x="76726" y="5912"/>
                    <a:pt x="76623" y="5896"/>
                    <a:pt x="76558" y="5839"/>
                  </a:cubicBezTo>
                  <a:cubicBezTo>
                    <a:pt x="76285" y="5586"/>
                    <a:pt x="76034" y="5489"/>
                    <a:pt x="75796" y="5489"/>
                  </a:cubicBezTo>
                  <a:cubicBezTo>
                    <a:pt x="75417" y="5489"/>
                    <a:pt x="75070" y="5733"/>
                    <a:pt x="74709" y="5977"/>
                  </a:cubicBezTo>
                  <a:lnTo>
                    <a:pt x="74709" y="5995"/>
                  </a:lnTo>
                  <a:lnTo>
                    <a:pt x="74692" y="5995"/>
                  </a:lnTo>
                  <a:cubicBezTo>
                    <a:pt x="74415" y="6358"/>
                    <a:pt x="73707" y="6479"/>
                    <a:pt x="73897" y="7066"/>
                  </a:cubicBezTo>
                  <a:cubicBezTo>
                    <a:pt x="74104" y="7654"/>
                    <a:pt x="74761" y="7671"/>
                    <a:pt x="75331" y="7723"/>
                  </a:cubicBezTo>
                  <a:lnTo>
                    <a:pt x="75625" y="7723"/>
                  </a:lnTo>
                  <a:lnTo>
                    <a:pt x="77146" y="7982"/>
                  </a:lnTo>
                  <a:cubicBezTo>
                    <a:pt x="76904" y="8068"/>
                    <a:pt x="76662" y="8120"/>
                    <a:pt x="76403" y="8120"/>
                  </a:cubicBezTo>
                  <a:cubicBezTo>
                    <a:pt x="76178" y="8103"/>
                    <a:pt x="75970" y="7930"/>
                    <a:pt x="75729" y="7861"/>
                  </a:cubicBezTo>
                  <a:cubicBezTo>
                    <a:pt x="75594" y="7823"/>
                    <a:pt x="75464" y="7807"/>
                    <a:pt x="75337" y="7807"/>
                  </a:cubicBezTo>
                  <a:cubicBezTo>
                    <a:pt x="74777" y="7807"/>
                    <a:pt x="74273" y="8116"/>
                    <a:pt x="73724" y="8172"/>
                  </a:cubicBezTo>
                  <a:cubicBezTo>
                    <a:pt x="73717" y="8173"/>
                    <a:pt x="73710" y="8174"/>
                    <a:pt x="73702" y="8174"/>
                  </a:cubicBezTo>
                  <a:cubicBezTo>
                    <a:pt x="73450" y="8174"/>
                    <a:pt x="72913" y="7613"/>
                    <a:pt x="72946" y="7394"/>
                  </a:cubicBezTo>
                  <a:cubicBezTo>
                    <a:pt x="73102" y="6479"/>
                    <a:pt x="73810" y="6098"/>
                    <a:pt x="74674" y="5995"/>
                  </a:cubicBezTo>
                  <a:lnTo>
                    <a:pt x="74674" y="5977"/>
                  </a:lnTo>
                  <a:cubicBezTo>
                    <a:pt x="74726" y="5545"/>
                    <a:pt x="74830" y="5113"/>
                    <a:pt x="74951" y="4681"/>
                  </a:cubicBezTo>
                  <a:cubicBezTo>
                    <a:pt x="75072" y="4370"/>
                    <a:pt x="75435" y="4076"/>
                    <a:pt x="75124" y="3748"/>
                  </a:cubicBezTo>
                  <a:cubicBezTo>
                    <a:pt x="74832" y="3467"/>
                    <a:pt x="74483" y="3396"/>
                    <a:pt x="74119" y="3396"/>
                  </a:cubicBezTo>
                  <a:cubicBezTo>
                    <a:pt x="73856" y="3396"/>
                    <a:pt x="73587" y="3433"/>
                    <a:pt x="73326" y="3454"/>
                  </a:cubicBezTo>
                  <a:cubicBezTo>
                    <a:pt x="72946" y="3506"/>
                    <a:pt x="72756" y="3748"/>
                    <a:pt x="72704" y="4180"/>
                  </a:cubicBezTo>
                  <a:cubicBezTo>
                    <a:pt x="72601" y="5252"/>
                    <a:pt x="72134" y="6098"/>
                    <a:pt x="70959" y="6340"/>
                  </a:cubicBezTo>
                  <a:cubicBezTo>
                    <a:pt x="70855" y="6427"/>
                    <a:pt x="70769" y="6513"/>
                    <a:pt x="70665" y="6617"/>
                  </a:cubicBezTo>
                  <a:cubicBezTo>
                    <a:pt x="70786" y="6859"/>
                    <a:pt x="70924" y="7083"/>
                    <a:pt x="71097" y="7291"/>
                  </a:cubicBezTo>
                  <a:cubicBezTo>
                    <a:pt x="71304" y="7412"/>
                    <a:pt x="71546" y="7515"/>
                    <a:pt x="71788" y="7567"/>
                  </a:cubicBezTo>
                  <a:cubicBezTo>
                    <a:pt x="71650" y="7550"/>
                    <a:pt x="71512" y="7541"/>
                    <a:pt x="71374" y="7541"/>
                  </a:cubicBezTo>
                  <a:cubicBezTo>
                    <a:pt x="71235" y="7541"/>
                    <a:pt x="71097" y="7550"/>
                    <a:pt x="70959" y="7567"/>
                  </a:cubicBezTo>
                  <a:cubicBezTo>
                    <a:pt x="70569" y="7671"/>
                    <a:pt x="70173" y="7708"/>
                    <a:pt x="69775" y="7708"/>
                  </a:cubicBezTo>
                  <a:cubicBezTo>
                    <a:pt x="68812" y="7708"/>
                    <a:pt x="67832" y="7494"/>
                    <a:pt x="66868" y="7494"/>
                  </a:cubicBezTo>
                  <a:cubicBezTo>
                    <a:pt x="66108" y="7494"/>
                    <a:pt x="65357" y="7627"/>
                    <a:pt x="64634" y="8103"/>
                  </a:cubicBezTo>
                  <a:cubicBezTo>
                    <a:pt x="64271" y="8345"/>
                    <a:pt x="63580" y="8379"/>
                    <a:pt x="63666" y="8863"/>
                  </a:cubicBezTo>
                  <a:cubicBezTo>
                    <a:pt x="63752" y="9382"/>
                    <a:pt x="64167" y="9900"/>
                    <a:pt x="64547" y="10315"/>
                  </a:cubicBezTo>
                  <a:cubicBezTo>
                    <a:pt x="64666" y="10447"/>
                    <a:pt x="64798" y="10498"/>
                    <a:pt x="64939" y="10498"/>
                  </a:cubicBezTo>
                  <a:cubicBezTo>
                    <a:pt x="65148" y="10498"/>
                    <a:pt x="65375" y="10387"/>
                    <a:pt x="65602" y="10263"/>
                  </a:cubicBezTo>
                  <a:cubicBezTo>
                    <a:pt x="66124" y="9977"/>
                    <a:pt x="66711" y="9789"/>
                    <a:pt x="67269" y="9556"/>
                  </a:cubicBezTo>
                  <a:lnTo>
                    <a:pt x="67269" y="9556"/>
                  </a:lnTo>
                  <a:cubicBezTo>
                    <a:pt x="66173" y="11022"/>
                    <a:pt x="64072" y="10911"/>
                    <a:pt x="62975" y="11974"/>
                  </a:cubicBezTo>
                  <a:cubicBezTo>
                    <a:pt x="62086" y="12850"/>
                    <a:pt x="61268" y="13162"/>
                    <a:pt x="60357" y="13162"/>
                  </a:cubicBezTo>
                  <a:cubicBezTo>
                    <a:pt x="59993" y="13162"/>
                    <a:pt x="59613" y="13112"/>
                    <a:pt x="59207" y="13028"/>
                  </a:cubicBezTo>
                  <a:cubicBezTo>
                    <a:pt x="58430" y="12873"/>
                    <a:pt x="57687" y="12510"/>
                    <a:pt x="56926" y="12233"/>
                  </a:cubicBezTo>
                  <a:cubicBezTo>
                    <a:pt x="57173" y="12050"/>
                    <a:pt x="57402" y="11981"/>
                    <a:pt x="57619" y="11981"/>
                  </a:cubicBezTo>
                  <a:cubicBezTo>
                    <a:pt x="58162" y="11981"/>
                    <a:pt x="58632" y="12416"/>
                    <a:pt x="59138" y="12613"/>
                  </a:cubicBezTo>
                  <a:cubicBezTo>
                    <a:pt x="59332" y="12687"/>
                    <a:pt x="59512" y="12718"/>
                    <a:pt x="59680" y="12718"/>
                  </a:cubicBezTo>
                  <a:cubicBezTo>
                    <a:pt x="60502" y="12718"/>
                    <a:pt x="61062" y="11967"/>
                    <a:pt x="61765" y="11680"/>
                  </a:cubicBezTo>
                  <a:cubicBezTo>
                    <a:pt x="62404" y="11421"/>
                    <a:pt x="61903" y="10851"/>
                    <a:pt x="61661" y="10384"/>
                  </a:cubicBezTo>
                  <a:cubicBezTo>
                    <a:pt x="61454" y="9987"/>
                    <a:pt x="61921" y="9745"/>
                    <a:pt x="62249" y="9537"/>
                  </a:cubicBezTo>
                  <a:cubicBezTo>
                    <a:pt x="62664" y="9295"/>
                    <a:pt x="63441" y="9226"/>
                    <a:pt x="63182" y="8518"/>
                  </a:cubicBezTo>
                  <a:cubicBezTo>
                    <a:pt x="63018" y="8098"/>
                    <a:pt x="62703" y="8030"/>
                    <a:pt x="62354" y="8030"/>
                  </a:cubicBezTo>
                  <a:cubicBezTo>
                    <a:pt x="62187" y="8030"/>
                    <a:pt x="62013" y="8045"/>
                    <a:pt x="61845" y="8045"/>
                  </a:cubicBezTo>
                  <a:cubicBezTo>
                    <a:pt x="61771" y="8045"/>
                    <a:pt x="61698" y="8042"/>
                    <a:pt x="61627" y="8034"/>
                  </a:cubicBezTo>
                  <a:cubicBezTo>
                    <a:pt x="61564" y="8027"/>
                    <a:pt x="61502" y="8024"/>
                    <a:pt x="61440" y="8024"/>
                  </a:cubicBezTo>
                  <a:cubicBezTo>
                    <a:pt x="60620" y="8024"/>
                    <a:pt x="59973" y="8583"/>
                    <a:pt x="59080" y="8583"/>
                  </a:cubicBezTo>
                  <a:cubicBezTo>
                    <a:pt x="59004" y="8583"/>
                    <a:pt x="58925" y="8579"/>
                    <a:pt x="58844" y="8570"/>
                  </a:cubicBezTo>
                  <a:cubicBezTo>
                    <a:pt x="57410" y="8414"/>
                    <a:pt x="56391" y="7671"/>
                    <a:pt x="55181" y="7187"/>
                  </a:cubicBezTo>
                  <a:cubicBezTo>
                    <a:pt x="54440" y="6892"/>
                    <a:pt x="53723" y="6767"/>
                    <a:pt x="53025" y="6767"/>
                  </a:cubicBezTo>
                  <a:cubicBezTo>
                    <a:pt x="51022" y="6767"/>
                    <a:pt x="49177" y="7799"/>
                    <a:pt x="47370" y="8812"/>
                  </a:cubicBezTo>
                  <a:cubicBezTo>
                    <a:pt x="46903" y="9071"/>
                    <a:pt x="46765" y="9434"/>
                    <a:pt x="46972" y="9969"/>
                  </a:cubicBezTo>
                  <a:cubicBezTo>
                    <a:pt x="47155" y="10426"/>
                    <a:pt x="47351" y="10748"/>
                    <a:pt x="47819" y="10748"/>
                  </a:cubicBezTo>
                  <a:cubicBezTo>
                    <a:pt x="47883" y="10748"/>
                    <a:pt x="47952" y="10742"/>
                    <a:pt x="48026" y="10730"/>
                  </a:cubicBezTo>
                  <a:lnTo>
                    <a:pt x="50498" y="10280"/>
                  </a:lnTo>
                  <a:cubicBezTo>
                    <a:pt x="50618" y="10263"/>
                    <a:pt x="50739" y="10229"/>
                    <a:pt x="50878" y="10194"/>
                  </a:cubicBezTo>
                  <a:lnTo>
                    <a:pt x="50878" y="10194"/>
                  </a:lnTo>
                  <a:cubicBezTo>
                    <a:pt x="50878" y="10298"/>
                    <a:pt x="50860" y="10401"/>
                    <a:pt x="50860" y="10505"/>
                  </a:cubicBezTo>
                  <a:cubicBezTo>
                    <a:pt x="50614" y="11663"/>
                    <a:pt x="50148" y="12321"/>
                    <a:pt x="49280" y="12321"/>
                  </a:cubicBezTo>
                  <a:cubicBezTo>
                    <a:pt x="48931" y="12321"/>
                    <a:pt x="48517" y="12214"/>
                    <a:pt x="48026" y="11991"/>
                  </a:cubicBezTo>
                  <a:cubicBezTo>
                    <a:pt x="46374" y="11254"/>
                    <a:pt x="44693" y="10979"/>
                    <a:pt x="42955" y="10979"/>
                  </a:cubicBezTo>
                  <a:cubicBezTo>
                    <a:pt x="42002" y="10979"/>
                    <a:pt x="41033" y="11062"/>
                    <a:pt x="40042" y="11196"/>
                  </a:cubicBezTo>
                  <a:cubicBezTo>
                    <a:pt x="38536" y="11404"/>
                    <a:pt x="37062" y="12285"/>
                    <a:pt x="35569" y="12285"/>
                  </a:cubicBezTo>
                  <a:cubicBezTo>
                    <a:pt x="35195" y="12285"/>
                    <a:pt x="34820" y="12230"/>
                    <a:pt x="34443" y="12095"/>
                  </a:cubicBezTo>
                  <a:cubicBezTo>
                    <a:pt x="32698" y="11490"/>
                    <a:pt x="30900" y="11110"/>
                    <a:pt x="29068" y="10920"/>
                  </a:cubicBezTo>
                  <a:cubicBezTo>
                    <a:pt x="27080" y="10698"/>
                    <a:pt x="25171" y="10202"/>
                    <a:pt x="23146" y="10202"/>
                  </a:cubicBezTo>
                  <a:cubicBezTo>
                    <a:pt x="22337" y="10202"/>
                    <a:pt x="21510" y="10281"/>
                    <a:pt x="20652" y="10488"/>
                  </a:cubicBezTo>
                  <a:cubicBezTo>
                    <a:pt x="18383" y="11055"/>
                    <a:pt x="16215" y="12269"/>
                    <a:pt x="13793" y="12269"/>
                  </a:cubicBezTo>
                  <a:cubicBezTo>
                    <a:pt x="13559" y="12269"/>
                    <a:pt x="13322" y="12258"/>
                    <a:pt x="13083" y="12233"/>
                  </a:cubicBezTo>
                  <a:cubicBezTo>
                    <a:pt x="13049" y="12230"/>
                    <a:pt x="13015" y="12229"/>
                    <a:pt x="12982" y="12229"/>
                  </a:cubicBezTo>
                  <a:cubicBezTo>
                    <a:pt x="12473" y="12229"/>
                    <a:pt x="12176" y="12605"/>
                    <a:pt x="12323" y="13287"/>
                  </a:cubicBezTo>
                  <a:cubicBezTo>
                    <a:pt x="12498" y="14071"/>
                    <a:pt x="12325" y="14707"/>
                    <a:pt x="11687" y="14707"/>
                  </a:cubicBezTo>
                  <a:cubicBezTo>
                    <a:pt x="11510" y="14707"/>
                    <a:pt x="11296" y="14658"/>
                    <a:pt x="11044" y="14549"/>
                  </a:cubicBezTo>
                  <a:cubicBezTo>
                    <a:pt x="10655" y="14378"/>
                    <a:pt x="10292" y="14308"/>
                    <a:pt x="9947" y="14308"/>
                  </a:cubicBezTo>
                  <a:cubicBezTo>
                    <a:pt x="9034" y="14308"/>
                    <a:pt x="8242" y="14801"/>
                    <a:pt x="7415" y="15240"/>
                  </a:cubicBezTo>
                  <a:cubicBezTo>
                    <a:pt x="6965" y="15482"/>
                    <a:pt x="6672" y="15914"/>
                    <a:pt x="6879" y="16467"/>
                  </a:cubicBezTo>
                  <a:cubicBezTo>
                    <a:pt x="7027" y="16886"/>
                    <a:pt x="7334" y="16988"/>
                    <a:pt x="7700" y="16988"/>
                  </a:cubicBezTo>
                  <a:cubicBezTo>
                    <a:pt x="7802" y="16988"/>
                    <a:pt x="7910" y="16980"/>
                    <a:pt x="8020" y="16968"/>
                  </a:cubicBezTo>
                  <a:cubicBezTo>
                    <a:pt x="8305" y="16929"/>
                    <a:pt x="8590" y="16910"/>
                    <a:pt x="8875" y="16910"/>
                  </a:cubicBezTo>
                  <a:cubicBezTo>
                    <a:pt x="8970" y="16910"/>
                    <a:pt x="9065" y="16912"/>
                    <a:pt x="9160" y="16917"/>
                  </a:cubicBezTo>
                  <a:cubicBezTo>
                    <a:pt x="9186" y="16919"/>
                    <a:pt x="9214" y="16920"/>
                    <a:pt x="9242" y="16920"/>
                  </a:cubicBezTo>
                  <a:cubicBezTo>
                    <a:pt x="9458" y="16920"/>
                    <a:pt x="9735" y="16862"/>
                    <a:pt x="9947" y="16862"/>
                  </a:cubicBezTo>
                  <a:cubicBezTo>
                    <a:pt x="10131" y="16862"/>
                    <a:pt x="10266" y="16906"/>
                    <a:pt x="10266" y="17072"/>
                  </a:cubicBezTo>
                  <a:cubicBezTo>
                    <a:pt x="10266" y="17498"/>
                    <a:pt x="9728" y="17637"/>
                    <a:pt x="9291" y="17637"/>
                  </a:cubicBezTo>
                  <a:cubicBezTo>
                    <a:pt x="9214" y="17637"/>
                    <a:pt x="9141" y="17633"/>
                    <a:pt x="9074" y="17625"/>
                  </a:cubicBezTo>
                  <a:cubicBezTo>
                    <a:pt x="8873" y="17604"/>
                    <a:pt x="8677" y="17594"/>
                    <a:pt x="8484" y="17594"/>
                  </a:cubicBezTo>
                  <a:cubicBezTo>
                    <a:pt x="6314" y="17594"/>
                    <a:pt x="4587" y="18859"/>
                    <a:pt x="2714" y="19716"/>
                  </a:cubicBezTo>
                  <a:cubicBezTo>
                    <a:pt x="1193" y="20407"/>
                    <a:pt x="2351" y="21548"/>
                    <a:pt x="2282" y="22429"/>
                  </a:cubicBezTo>
                  <a:cubicBezTo>
                    <a:pt x="2264" y="22814"/>
                    <a:pt x="2455" y="22907"/>
                    <a:pt x="2706" y="22907"/>
                  </a:cubicBezTo>
                  <a:cubicBezTo>
                    <a:pt x="2939" y="22907"/>
                    <a:pt x="3223" y="22827"/>
                    <a:pt x="3440" y="22827"/>
                  </a:cubicBezTo>
                  <a:cubicBezTo>
                    <a:pt x="3665" y="22827"/>
                    <a:pt x="3872" y="22982"/>
                    <a:pt x="4079" y="23069"/>
                  </a:cubicBezTo>
                  <a:cubicBezTo>
                    <a:pt x="3924" y="23242"/>
                    <a:pt x="3751" y="23380"/>
                    <a:pt x="3544" y="23501"/>
                  </a:cubicBezTo>
                  <a:cubicBezTo>
                    <a:pt x="2610" y="23881"/>
                    <a:pt x="1643" y="24192"/>
                    <a:pt x="709" y="24589"/>
                  </a:cubicBezTo>
                  <a:cubicBezTo>
                    <a:pt x="329" y="24745"/>
                    <a:pt x="1" y="25142"/>
                    <a:pt x="226" y="25609"/>
                  </a:cubicBezTo>
                  <a:cubicBezTo>
                    <a:pt x="325" y="25816"/>
                    <a:pt x="462" y="25880"/>
                    <a:pt x="615" y="25880"/>
                  </a:cubicBezTo>
                  <a:cubicBezTo>
                    <a:pt x="807" y="25880"/>
                    <a:pt x="1026" y="25778"/>
                    <a:pt x="1228" y="25730"/>
                  </a:cubicBezTo>
                  <a:cubicBezTo>
                    <a:pt x="2248" y="25454"/>
                    <a:pt x="3354" y="25350"/>
                    <a:pt x="4252" y="24866"/>
                  </a:cubicBezTo>
                  <a:cubicBezTo>
                    <a:pt x="4601" y="24679"/>
                    <a:pt x="4965" y="24620"/>
                    <a:pt x="5336" y="24620"/>
                  </a:cubicBezTo>
                  <a:cubicBezTo>
                    <a:pt x="5952" y="24620"/>
                    <a:pt x="6585" y="24782"/>
                    <a:pt x="7191" y="24782"/>
                  </a:cubicBezTo>
                  <a:cubicBezTo>
                    <a:pt x="7702" y="24782"/>
                    <a:pt x="8195" y="24667"/>
                    <a:pt x="8642" y="24244"/>
                  </a:cubicBezTo>
                  <a:cubicBezTo>
                    <a:pt x="9143" y="23760"/>
                    <a:pt x="9627" y="23276"/>
                    <a:pt x="10128" y="22809"/>
                  </a:cubicBezTo>
                  <a:cubicBezTo>
                    <a:pt x="10518" y="22438"/>
                    <a:pt x="10935" y="22335"/>
                    <a:pt x="11366" y="22335"/>
                  </a:cubicBezTo>
                  <a:cubicBezTo>
                    <a:pt x="11904" y="22335"/>
                    <a:pt x="12465" y="22495"/>
                    <a:pt x="13026" y="22495"/>
                  </a:cubicBezTo>
                  <a:cubicBezTo>
                    <a:pt x="13270" y="22495"/>
                    <a:pt x="13515" y="22465"/>
                    <a:pt x="13757" y="22377"/>
                  </a:cubicBezTo>
                  <a:cubicBezTo>
                    <a:pt x="14876" y="21972"/>
                    <a:pt x="15968" y="21278"/>
                    <a:pt x="17215" y="21278"/>
                  </a:cubicBezTo>
                  <a:cubicBezTo>
                    <a:pt x="17721" y="21278"/>
                    <a:pt x="18252" y="21392"/>
                    <a:pt x="18820" y="21686"/>
                  </a:cubicBezTo>
                  <a:cubicBezTo>
                    <a:pt x="20272" y="22429"/>
                    <a:pt x="22242" y="22343"/>
                    <a:pt x="21966" y="24780"/>
                  </a:cubicBezTo>
                  <a:cubicBezTo>
                    <a:pt x="21914" y="25212"/>
                    <a:pt x="22104" y="25868"/>
                    <a:pt x="22415" y="26127"/>
                  </a:cubicBezTo>
                  <a:cubicBezTo>
                    <a:pt x="23746" y="27251"/>
                    <a:pt x="23659" y="29411"/>
                    <a:pt x="23210" y="29981"/>
                  </a:cubicBezTo>
                  <a:cubicBezTo>
                    <a:pt x="22052" y="31485"/>
                    <a:pt x="22484" y="32573"/>
                    <a:pt x="22985" y="33973"/>
                  </a:cubicBezTo>
                  <a:cubicBezTo>
                    <a:pt x="23124" y="34405"/>
                    <a:pt x="22795" y="35045"/>
                    <a:pt x="22553" y="35529"/>
                  </a:cubicBezTo>
                  <a:cubicBezTo>
                    <a:pt x="21447" y="37844"/>
                    <a:pt x="19356" y="39469"/>
                    <a:pt x="18233" y="41802"/>
                  </a:cubicBezTo>
                  <a:cubicBezTo>
                    <a:pt x="17455" y="43409"/>
                    <a:pt x="17058" y="48783"/>
                    <a:pt x="18354" y="49734"/>
                  </a:cubicBezTo>
                  <a:cubicBezTo>
                    <a:pt x="20220" y="51116"/>
                    <a:pt x="19927" y="52862"/>
                    <a:pt x="20238" y="54659"/>
                  </a:cubicBezTo>
                  <a:cubicBezTo>
                    <a:pt x="20428" y="55748"/>
                    <a:pt x="20410" y="57528"/>
                    <a:pt x="20687" y="57752"/>
                  </a:cubicBezTo>
                  <a:cubicBezTo>
                    <a:pt x="22380" y="59083"/>
                    <a:pt x="22242" y="61364"/>
                    <a:pt x="23625" y="62764"/>
                  </a:cubicBezTo>
                  <a:cubicBezTo>
                    <a:pt x="23915" y="63066"/>
                    <a:pt x="24197" y="63258"/>
                    <a:pt x="24508" y="63258"/>
                  </a:cubicBezTo>
                  <a:cubicBezTo>
                    <a:pt x="24660" y="63258"/>
                    <a:pt x="24820" y="63212"/>
                    <a:pt x="24990" y="63110"/>
                  </a:cubicBezTo>
                  <a:cubicBezTo>
                    <a:pt x="25508" y="62816"/>
                    <a:pt x="25526" y="62246"/>
                    <a:pt x="25197" y="61831"/>
                  </a:cubicBezTo>
                  <a:cubicBezTo>
                    <a:pt x="23607" y="59671"/>
                    <a:pt x="23746" y="56888"/>
                    <a:pt x="22536" y="54590"/>
                  </a:cubicBezTo>
                  <a:cubicBezTo>
                    <a:pt x="22415" y="54348"/>
                    <a:pt x="22605" y="53933"/>
                    <a:pt x="22692" y="53605"/>
                  </a:cubicBezTo>
                  <a:cubicBezTo>
                    <a:pt x="22704" y="53568"/>
                    <a:pt x="22878" y="53539"/>
                    <a:pt x="22981" y="53539"/>
                  </a:cubicBezTo>
                  <a:cubicBezTo>
                    <a:pt x="23021" y="53539"/>
                    <a:pt x="23050" y="53543"/>
                    <a:pt x="23054" y="53553"/>
                  </a:cubicBezTo>
                  <a:cubicBezTo>
                    <a:pt x="23175" y="53812"/>
                    <a:pt x="23366" y="54106"/>
                    <a:pt x="23366" y="54400"/>
                  </a:cubicBezTo>
                  <a:cubicBezTo>
                    <a:pt x="23383" y="56819"/>
                    <a:pt x="24973" y="58617"/>
                    <a:pt x="26027" y="60569"/>
                  </a:cubicBezTo>
                  <a:cubicBezTo>
                    <a:pt x="26977" y="62297"/>
                    <a:pt x="28654" y="63663"/>
                    <a:pt x="27720" y="65978"/>
                  </a:cubicBezTo>
                  <a:cubicBezTo>
                    <a:pt x="27530" y="66445"/>
                    <a:pt x="27928" y="66791"/>
                    <a:pt x="28273" y="67136"/>
                  </a:cubicBezTo>
                  <a:cubicBezTo>
                    <a:pt x="29138" y="68000"/>
                    <a:pt x="30226" y="68536"/>
                    <a:pt x="31246" y="69193"/>
                  </a:cubicBezTo>
                  <a:cubicBezTo>
                    <a:pt x="32910" y="70222"/>
                    <a:pt x="34447" y="71516"/>
                    <a:pt x="36422" y="71516"/>
                  </a:cubicBezTo>
                  <a:cubicBezTo>
                    <a:pt x="36867" y="71516"/>
                    <a:pt x="37334" y="71451"/>
                    <a:pt x="37830" y="71301"/>
                  </a:cubicBezTo>
                  <a:cubicBezTo>
                    <a:pt x="37930" y="71272"/>
                    <a:pt x="38022" y="71258"/>
                    <a:pt x="38107" y="71258"/>
                  </a:cubicBezTo>
                  <a:cubicBezTo>
                    <a:pt x="38527" y="71258"/>
                    <a:pt x="38793" y="71582"/>
                    <a:pt x="39023" y="71941"/>
                  </a:cubicBezTo>
                  <a:cubicBezTo>
                    <a:pt x="39748" y="73098"/>
                    <a:pt x="40768" y="73721"/>
                    <a:pt x="42116" y="74032"/>
                  </a:cubicBezTo>
                  <a:cubicBezTo>
                    <a:pt x="43585" y="74360"/>
                    <a:pt x="45296" y="74775"/>
                    <a:pt x="45745" y="76399"/>
                  </a:cubicBezTo>
                  <a:cubicBezTo>
                    <a:pt x="46194" y="78110"/>
                    <a:pt x="47439" y="79112"/>
                    <a:pt x="48648" y="79907"/>
                  </a:cubicBezTo>
                  <a:cubicBezTo>
                    <a:pt x="49237" y="80296"/>
                    <a:pt x="50039" y="81326"/>
                    <a:pt x="50895" y="81326"/>
                  </a:cubicBezTo>
                  <a:cubicBezTo>
                    <a:pt x="51372" y="81326"/>
                    <a:pt x="51865" y="81007"/>
                    <a:pt x="52347" y="80080"/>
                  </a:cubicBezTo>
                  <a:cubicBezTo>
                    <a:pt x="52462" y="79850"/>
                    <a:pt x="52631" y="79714"/>
                    <a:pt x="52813" y="79714"/>
                  </a:cubicBezTo>
                  <a:cubicBezTo>
                    <a:pt x="53013" y="79714"/>
                    <a:pt x="53228" y="79880"/>
                    <a:pt x="53401" y="80270"/>
                  </a:cubicBezTo>
                  <a:cubicBezTo>
                    <a:pt x="54593" y="83156"/>
                    <a:pt x="53919" y="85697"/>
                    <a:pt x="51621" y="87943"/>
                  </a:cubicBezTo>
                  <a:cubicBezTo>
                    <a:pt x="50498" y="89049"/>
                    <a:pt x="49806" y="90604"/>
                    <a:pt x="50774" y="92194"/>
                  </a:cubicBezTo>
                  <a:cubicBezTo>
                    <a:pt x="51085" y="92730"/>
                    <a:pt x="51068" y="92886"/>
                    <a:pt x="50688" y="93283"/>
                  </a:cubicBezTo>
                  <a:cubicBezTo>
                    <a:pt x="49685" y="94337"/>
                    <a:pt x="49703" y="95875"/>
                    <a:pt x="50567" y="96636"/>
                  </a:cubicBezTo>
                  <a:cubicBezTo>
                    <a:pt x="52208" y="98087"/>
                    <a:pt x="52986" y="99971"/>
                    <a:pt x="53971" y="101803"/>
                  </a:cubicBezTo>
                  <a:cubicBezTo>
                    <a:pt x="55440" y="104516"/>
                    <a:pt x="56771" y="107281"/>
                    <a:pt x="59933" y="108629"/>
                  </a:cubicBezTo>
                  <a:cubicBezTo>
                    <a:pt x="61661" y="109372"/>
                    <a:pt x="62629" y="111014"/>
                    <a:pt x="62664" y="113122"/>
                  </a:cubicBezTo>
                  <a:cubicBezTo>
                    <a:pt x="62716" y="116319"/>
                    <a:pt x="62871" y="119516"/>
                    <a:pt x="63096" y="122713"/>
                  </a:cubicBezTo>
                  <a:cubicBezTo>
                    <a:pt x="63251" y="125115"/>
                    <a:pt x="64426" y="127431"/>
                    <a:pt x="63631" y="129920"/>
                  </a:cubicBezTo>
                  <a:cubicBezTo>
                    <a:pt x="63303" y="130922"/>
                    <a:pt x="63459" y="131907"/>
                    <a:pt x="63839" y="132875"/>
                  </a:cubicBezTo>
                  <a:cubicBezTo>
                    <a:pt x="64323" y="134067"/>
                    <a:pt x="64461" y="135363"/>
                    <a:pt x="64288" y="136642"/>
                  </a:cubicBezTo>
                  <a:cubicBezTo>
                    <a:pt x="64184" y="137593"/>
                    <a:pt x="64582" y="138664"/>
                    <a:pt x="65653" y="139148"/>
                  </a:cubicBezTo>
                  <a:cubicBezTo>
                    <a:pt x="65680" y="139159"/>
                    <a:pt x="65711" y="139163"/>
                    <a:pt x="65743" y="139163"/>
                  </a:cubicBezTo>
                  <a:cubicBezTo>
                    <a:pt x="65886" y="139163"/>
                    <a:pt x="66069" y="139076"/>
                    <a:pt x="66205" y="139076"/>
                  </a:cubicBezTo>
                  <a:cubicBezTo>
                    <a:pt x="66332" y="139076"/>
                    <a:pt x="66419" y="139151"/>
                    <a:pt x="66397" y="139442"/>
                  </a:cubicBezTo>
                  <a:cubicBezTo>
                    <a:pt x="66362" y="139995"/>
                    <a:pt x="67071" y="140565"/>
                    <a:pt x="66293" y="141135"/>
                  </a:cubicBezTo>
                  <a:cubicBezTo>
                    <a:pt x="65895" y="141412"/>
                    <a:pt x="65360" y="142259"/>
                    <a:pt x="65774" y="142414"/>
                  </a:cubicBezTo>
                  <a:cubicBezTo>
                    <a:pt x="66898" y="142846"/>
                    <a:pt x="66500" y="143797"/>
                    <a:pt x="66777" y="144488"/>
                  </a:cubicBezTo>
                  <a:cubicBezTo>
                    <a:pt x="67468" y="146164"/>
                    <a:pt x="68505" y="147668"/>
                    <a:pt x="69801" y="148929"/>
                  </a:cubicBezTo>
                  <a:cubicBezTo>
                    <a:pt x="71823" y="150906"/>
                    <a:pt x="74091" y="152091"/>
                    <a:pt x="76808" y="152091"/>
                  </a:cubicBezTo>
                  <a:cubicBezTo>
                    <a:pt x="77226" y="152091"/>
                    <a:pt x="77656" y="152063"/>
                    <a:pt x="78096" y="152005"/>
                  </a:cubicBezTo>
                  <a:cubicBezTo>
                    <a:pt x="78355" y="151953"/>
                    <a:pt x="78580" y="151781"/>
                    <a:pt x="78718" y="151556"/>
                  </a:cubicBezTo>
                  <a:cubicBezTo>
                    <a:pt x="78874" y="151262"/>
                    <a:pt x="78615" y="151038"/>
                    <a:pt x="78355" y="150882"/>
                  </a:cubicBezTo>
                  <a:cubicBezTo>
                    <a:pt x="77595" y="150415"/>
                    <a:pt x="76835" y="149914"/>
                    <a:pt x="76040" y="149482"/>
                  </a:cubicBezTo>
                  <a:cubicBezTo>
                    <a:pt x="73914" y="148342"/>
                    <a:pt x="73551" y="146648"/>
                    <a:pt x="74899" y="144695"/>
                  </a:cubicBezTo>
                  <a:cubicBezTo>
                    <a:pt x="75608" y="143658"/>
                    <a:pt x="75694" y="142570"/>
                    <a:pt x="74173" y="142017"/>
                  </a:cubicBezTo>
                  <a:cubicBezTo>
                    <a:pt x="73707" y="141861"/>
                    <a:pt x="72929" y="141550"/>
                    <a:pt x="73551" y="140997"/>
                  </a:cubicBezTo>
                  <a:cubicBezTo>
                    <a:pt x="74260" y="140340"/>
                    <a:pt x="74260" y="139597"/>
                    <a:pt x="74415" y="138837"/>
                  </a:cubicBezTo>
                  <a:cubicBezTo>
                    <a:pt x="74605" y="137783"/>
                    <a:pt x="73534" y="136193"/>
                    <a:pt x="75677" y="135985"/>
                  </a:cubicBezTo>
                  <a:cubicBezTo>
                    <a:pt x="75746" y="135985"/>
                    <a:pt x="75850" y="135588"/>
                    <a:pt x="75798" y="135432"/>
                  </a:cubicBezTo>
                  <a:cubicBezTo>
                    <a:pt x="75444" y="134260"/>
                    <a:pt x="75867" y="133923"/>
                    <a:pt x="76900" y="133923"/>
                  </a:cubicBezTo>
                  <a:cubicBezTo>
                    <a:pt x="76978" y="133923"/>
                    <a:pt x="77060" y="133925"/>
                    <a:pt x="77146" y="133929"/>
                  </a:cubicBezTo>
                  <a:cubicBezTo>
                    <a:pt x="77188" y="133931"/>
                    <a:pt x="77231" y="133932"/>
                    <a:pt x="77272" y="133932"/>
                  </a:cubicBezTo>
                  <a:cubicBezTo>
                    <a:pt x="78202" y="133932"/>
                    <a:pt x="78980" y="133388"/>
                    <a:pt x="79427" y="132512"/>
                  </a:cubicBezTo>
                  <a:cubicBezTo>
                    <a:pt x="79859" y="131648"/>
                    <a:pt x="79738" y="130836"/>
                    <a:pt x="79047" y="130110"/>
                  </a:cubicBezTo>
                  <a:cubicBezTo>
                    <a:pt x="78857" y="129902"/>
                    <a:pt x="78822" y="129557"/>
                    <a:pt x="78701" y="129280"/>
                  </a:cubicBezTo>
                  <a:lnTo>
                    <a:pt x="78701" y="129280"/>
                  </a:lnTo>
                  <a:cubicBezTo>
                    <a:pt x="78977" y="129298"/>
                    <a:pt x="79237" y="129332"/>
                    <a:pt x="79513" y="129384"/>
                  </a:cubicBezTo>
                  <a:cubicBezTo>
                    <a:pt x="79669" y="129427"/>
                    <a:pt x="79830" y="129448"/>
                    <a:pt x="79991" y="129448"/>
                  </a:cubicBezTo>
                  <a:cubicBezTo>
                    <a:pt x="80347" y="129448"/>
                    <a:pt x="80702" y="129344"/>
                    <a:pt x="80999" y="129142"/>
                  </a:cubicBezTo>
                  <a:cubicBezTo>
                    <a:pt x="82900" y="128001"/>
                    <a:pt x="83350" y="125841"/>
                    <a:pt x="84473" y="124148"/>
                  </a:cubicBezTo>
                  <a:cubicBezTo>
                    <a:pt x="85216" y="123024"/>
                    <a:pt x="86149" y="121815"/>
                    <a:pt x="85544" y="120225"/>
                  </a:cubicBezTo>
                  <a:cubicBezTo>
                    <a:pt x="85026" y="118808"/>
                    <a:pt x="85959" y="118186"/>
                    <a:pt x="86927" y="117356"/>
                  </a:cubicBezTo>
                  <a:cubicBezTo>
                    <a:pt x="88258" y="116233"/>
                    <a:pt x="90314" y="116371"/>
                    <a:pt x="91230" y="115213"/>
                  </a:cubicBezTo>
                  <a:cubicBezTo>
                    <a:pt x="93096" y="112846"/>
                    <a:pt x="93788" y="109908"/>
                    <a:pt x="93874" y="106866"/>
                  </a:cubicBezTo>
                  <a:cubicBezTo>
                    <a:pt x="93909" y="105743"/>
                    <a:pt x="93563" y="104637"/>
                    <a:pt x="94635" y="103635"/>
                  </a:cubicBezTo>
                  <a:cubicBezTo>
                    <a:pt x="95637" y="102650"/>
                    <a:pt x="96432" y="101492"/>
                    <a:pt x="97002" y="100213"/>
                  </a:cubicBezTo>
                  <a:cubicBezTo>
                    <a:pt x="98350" y="97189"/>
                    <a:pt x="97555" y="95668"/>
                    <a:pt x="93770" y="93404"/>
                  </a:cubicBezTo>
                  <a:cubicBezTo>
                    <a:pt x="92864" y="92866"/>
                    <a:pt x="92012" y="92178"/>
                    <a:pt x="90923" y="92178"/>
                  </a:cubicBezTo>
                  <a:cubicBezTo>
                    <a:pt x="90787" y="92178"/>
                    <a:pt x="90648" y="92189"/>
                    <a:pt x="90504" y="92212"/>
                  </a:cubicBezTo>
                  <a:cubicBezTo>
                    <a:pt x="90375" y="92232"/>
                    <a:pt x="90250" y="92241"/>
                    <a:pt x="90128" y="92241"/>
                  </a:cubicBezTo>
                  <a:cubicBezTo>
                    <a:pt x="89316" y="92241"/>
                    <a:pt x="88640" y="91827"/>
                    <a:pt x="87964" y="91451"/>
                  </a:cubicBezTo>
                  <a:cubicBezTo>
                    <a:pt x="86720" y="90760"/>
                    <a:pt x="85423" y="90190"/>
                    <a:pt x="84076" y="89740"/>
                  </a:cubicBezTo>
                  <a:cubicBezTo>
                    <a:pt x="83419" y="89533"/>
                    <a:pt x="82365" y="89412"/>
                    <a:pt x="82226" y="88306"/>
                  </a:cubicBezTo>
                  <a:cubicBezTo>
                    <a:pt x="81898" y="85511"/>
                    <a:pt x="80349" y="82231"/>
                    <a:pt x="77208" y="82231"/>
                  </a:cubicBezTo>
                  <a:cubicBezTo>
                    <a:pt x="77047" y="82231"/>
                    <a:pt x="76883" y="82240"/>
                    <a:pt x="76714" y="82258"/>
                  </a:cubicBezTo>
                  <a:cubicBezTo>
                    <a:pt x="76610" y="82274"/>
                    <a:pt x="76507" y="82282"/>
                    <a:pt x="76405" y="82282"/>
                  </a:cubicBezTo>
                  <a:cubicBezTo>
                    <a:pt x="75873" y="82282"/>
                    <a:pt x="75365" y="82061"/>
                    <a:pt x="75003" y="81670"/>
                  </a:cubicBezTo>
                  <a:cubicBezTo>
                    <a:pt x="73810" y="80478"/>
                    <a:pt x="72722" y="79147"/>
                    <a:pt x="71356" y="78179"/>
                  </a:cubicBezTo>
                  <a:cubicBezTo>
                    <a:pt x="70652" y="77672"/>
                    <a:pt x="69937" y="76844"/>
                    <a:pt x="68958" y="76844"/>
                  </a:cubicBezTo>
                  <a:cubicBezTo>
                    <a:pt x="68735" y="76844"/>
                    <a:pt x="68499" y="76887"/>
                    <a:pt x="68246" y="76987"/>
                  </a:cubicBezTo>
                  <a:cubicBezTo>
                    <a:pt x="68013" y="77081"/>
                    <a:pt x="67785" y="77113"/>
                    <a:pt x="67562" y="77113"/>
                  </a:cubicBezTo>
                  <a:cubicBezTo>
                    <a:pt x="67089" y="77113"/>
                    <a:pt x="66635" y="76969"/>
                    <a:pt x="66189" y="76969"/>
                  </a:cubicBezTo>
                  <a:cubicBezTo>
                    <a:pt x="64783" y="76969"/>
                    <a:pt x="63941" y="75706"/>
                    <a:pt x="62605" y="75706"/>
                  </a:cubicBezTo>
                  <a:cubicBezTo>
                    <a:pt x="62579" y="75706"/>
                    <a:pt x="62552" y="75707"/>
                    <a:pt x="62525" y="75708"/>
                  </a:cubicBezTo>
                  <a:cubicBezTo>
                    <a:pt x="62280" y="75708"/>
                    <a:pt x="61828" y="76012"/>
                    <a:pt x="61511" y="76012"/>
                  </a:cubicBezTo>
                  <a:cubicBezTo>
                    <a:pt x="61248" y="76012"/>
                    <a:pt x="61077" y="75802"/>
                    <a:pt x="61195" y="75034"/>
                  </a:cubicBezTo>
                  <a:cubicBezTo>
                    <a:pt x="61232" y="74788"/>
                    <a:pt x="60883" y="74612"/>
                    <a:pt x="60617" y="74612"/>
                  </a:cubicBezTo>
                  <a:cubicBezTo>
                    <a:pt x="60509" y="74612"/>
                    <a:pt x="60415" y="74641"/>
                    <a:pt x="60365" y="74706"/>
                  </a:cubicBezTo>
                  <a:cubicBezTo>
                    <a:pt x="59225" y="76088"/>
                    <a:pt x="57099" y="76071"/>
                    <a:pt x="56166" y="77747"/>
                  </a:cubicBezTo>
                  <a:cubicBezTo>
                    <a:pt x="55842" y="78325"/>
                    <a:pt x="55457" y="78771"/>
                    <a:pt x="54917" y="78771"/>
                  </a:cubicBezTo>
                  <a:cubicBezTo>
                    <a:pt x="54649" y="78771"/>
                    <a:pt x="54343" y="78661"/>
                    <a:pt x="53988" y="78404"/>
                  </a:cubicBezTo>
                  <a:cubicBezTo>
                    <a:pt x="53637" y="78125"/>
                    <a:pt x="53206" y="77982"/>
                    <a:pt x="52772" y="77982"/>
                  </a:cubicBezTo>
                  <a:cubicBezTo>
                    <a:pt x="52480" y="77982"/>
                    <a:pt x="52186" y="78047"/>
                    <a:pt x="51915" y="78179"/>
                  </a:cubicBezTo>
                  <a:cubicBezTo>
                    <a:pt x="51373" y="78410"/>
                    <a:pt x="50918" y="78527"/>
                    <a:pt x="50541" y="78527"/>
                  </a:cubicBezTo>
                  <a:cubicBezTo>
                    <a:pt x="49618" y="78527"/>
                    <a:pt x="49166" y="77825"/>
                    <a:pt x="49080" y="76365"/>
                  </a:cubicBezTo>
                  <a:cubicBezTo>
                    <a:pt x="49046" y="75397"/>
                    <a:pt x="49184" y="74446"/>
                    <a:pt x="49478" y="73530"/>
                  </a:cubicBezTo>
                  <a:cubicBezTo>
                    <a:pt x="50012" y="71861"/>
                    <a:pt x="49095" y="70692"/>
                    <a:pt x="47366" y="70692"/>
                  </a:cubicBezTo>
                  <a:cubicBezTo>
                    <a:pt x="47305" y="70692"/>
                    <a:pt x="47243" y="70693"/>
                    <a:pt x="47179" y="70696"/>
                  </a:cubicBezTo>
                  <a:cubicBezTo>
                    <a:pt x="46730" y="70714"/>
                    <a:pt x="46281" y="70765"/>
                    <a:pt x="45814" y="70783"/>
                  </a:cubicBezTo>
                  <a:cubicBezTo>
                    <a:pt x="45755" y="70784"/>
                    <a:pt x="45699" y="70786"/>
                    <a:pt x="45645" y="70786"/>
                  </a:cubicBezTo>
                  <a:cubicBezTo>
                    <a:pt x="45148" y="70786"/>
                    <a:pt x="44886" y="70683"/>
                    <a:pt x="45088" y="69919"/>
                  </a:cubicBezTo>
                  <a:cubicBezTo>
                    <a:pt x="45469" y="68484"/>
                    <a:pt x="46143" y="67240"/>
                    <a:pt x="46886" y="65996"/>
                  </a:cubicBezTo>
                  <a:cubicBezTo>
                    <a:pt x="47214" y="65443"/>
                    <a:pt x="47231" y="64993"/>
                    <a:pt x="46747" y="64613"/>
                  </a:cubicBezTo>
                  <a:cubicBezTo>
                    <a:pt x="46406" y="64334"/>
                    <a:pt x="45929" y="64209"/>
                    <a:pt x="45417" y="64209"/>
                  </a:cubicBezTo>
                  <a:cubicBezTo>
                    <a:pt x="44221" y="64209"/>
                    <a:pt x="42833" y="64889"/>
                    <a:pt x="42531" y="65857"/>
                  </a:cubicBezTo>
                  <a:cubicBezTo>
                    <a:pt x="42161" y="67044"/>
                    <a:pt x="40793" y="67929"/>
                    <a:pt x="39553" y="67929"/>
                  </a:cubicBezTo>
                  <a:cubicBezTo>
                    <a:pt x="39113" y="67929"/>
                    <a:pt x="38689" y="67817"/>
                    <a:pt x="38331" y="67568"/>
                  </a:cubicBezTo>
                  <a:cubicBezTo>
                    <a:pt x="36966" y="66601"/>
                    <a:pt x="35998" y="64872"/>
                    <a:pt x="36517" y="63455"/>
                  </a:cubicBezTo>
                  <a:cubicBezTo>
                    <a:pt x="37571" y="60569"/>
                    <a:pt x="37986" y="56802"/>
                    <a:pt x="41822" y="56093"/>
                  </a:cubicBezTo>
                  <a:cubicBezTo>
                    <a:pt x="44259" y="55627"/>
                    <a:pt x="46696" y="55299"/>
                    <a:pt x="49167" y="55126"/>
                  </a:cubicBezTo>
                  <a:cubicBezTo>
                    <a:pt x="49252" y="55120"/>
                    <a:pt x="49338" y="55117"/>
                    <a:pt x="49425" y="55117"/>
                  </a:cubicBezTo>
                  <a:cubicBezTo>
                    <a:pt x="50819" y="55117"/>
                    <a:pt x="52364" y="55920"/>
                    <a:pt x="51811" y="58133"/>
                  </a:cubicBezTo>
                  <a:cubicBezTo>
                    <a:pt x="51707" y="58582"/>
                    <a:pt x="52087" y="59204"/>
                    <a:pt x="52329" y="59688"/>
                  </a:cubicBezTo>
                  <a:cubicBezTo>
                    <a:pt x="52602" y="60250"/>
                    <a:pt x="52992" y="60846"/>
                    <a:pt x="53666" y="60846"/>
                  </a:cubicBezTo>
                  <a:cubicBezTo>
                    <a:pt x="53675" y="60846"/>
                    <a:pt x="53685" y="60846"/>
                    <a:pt x="53695" y="60846"/>
                  </a:cubicBezTo>
                  <a:cubicBezTo>
                    <a:pt x="54455" y="60811"/>
                    <a:pt x="54628" y="60085"/>
                    <a:pt x="54852" y="59498"/>
                  </a:cubicBezTo>
                  <a:cubicBezTo>
                    <a:pt x="55146" y="58703"/>
                    <a:pt x="55146" y="57822"/>
                    <a:pt x="54887" y="57027"/>
                  </a:cubicBezTo>
                  <a:cubicBezTo>
                    <a:pt x="54127" y="54642"/>
                    <a:pt x="54922" y="53017"/>
                    <a:pt x="57116" y="51894"/>
                  </a:cubicBezTo>
                  <a:cubicBezTo>
                    <a:pt x="58291" y="51307"/>
                    <a:pt x="59328" y="50442"/>
                    <a:pt x="60469" y="49786"/>
                  </a:cubicBezTo>
                  <a:cubicBezTo>
                    <a:pt x="62128" y="48818"/>
                    <a:pt x="61575" y="46641"/>
                    <a:pt x="63096" y="45448"/>
                  </a:cubicBezTo>
                  <a:cubicBezTo>
                    <a:pt x="64720" y="44169"/>
                    <a:pt x="65757" y="42113"/>
                    <a:pt x="68194" y="42061"/>
                  </a:cubicBezTo>
                  <a:cubicBezTo>
                    <a:pt x="68574" y="42044"/>
                    <a:pt x="69006" y="41888"/>
                    <a:pt x="69075" y="41456"/>
                  </a:cubicBezTo>
                  <a:cubicBezTo>
                    <a:pt x="69369" y="39711"/>
                    <a:pt x="70924" y="39417"/>
                    <a:pt x="72151" y="38760"/>
                  </a:cubicBezTo>
                  <a:cubicBezTo>
                    <a:pt x="72321" y="38667"/>
                    <a:pt x="72565" y="38512"/>
                    <a:pt x="72753" y="38512"/>
                  </a:cubicBezTo>
                  <a:cubicBezTo>
                    <a:pt x="72950" y="38512"/>
                    <a:pt x="73086" y="38680"/>
                    <a:pt x="73015" y="39261"/>
                  </a:cubicBezTo>
                  <a:cubicBezTo>
                    <a:pt x="72956" y="39796"/>
                    <a:pt x="73330" y="40078"/>
                    <a:pt x="73743" y="40078"/>
                  </a:cubicBezTo>
                  <a:cubicBezTo>
                    <a:pt x="73931" y="40078"/>
                    <a:pt x="74127" y="40020"/>
                    <a:pt x="74294" y="39901"/>
                  </a:cubicBezTo>
                  <a:cubicBezTo>
                    <a:pt x="75746" y="38898"/>
                    <a:pt x="77457" y="38501"/>
                    <a:pt x="78995" y="37723"/>
                  </a:cubicBezTo>
                  <a:cubicBezTo>
                    <a:pt x="79738" y="37326"/>
                    <a:pt x="80291" y="36773"/>
                    <a:pt x="79790" y="35995"/>
                  </a:cubicBezTo>
                  <a:cubicBezTo>
                    <a:pt x="79597" y="35708"/>
                    <a:pt x="79414" y="35603"/>
                    <a:pt x="79239" y="35603"/>
                  </a:cubicBezTo>
                  <a:cubicBezTo>
                    <a:pt x="78865" y="35603"/>
                    <a:pt x="78524" y="36083"/>
                    <a:pt x="78183" y="36306"/>
                  </a:cubicBezTo>
                  <a:cubicBezTo>
                    <a:pt x="77820" y="36545"/>
                    <a:pt x="77447" y="36741"/>
                    <a:pt x="77083" y="36741"/>
                  </a:cubicBezTo>
                  <a:cubicBezTo>
                    <a:pt x="76789" y="36741"/>
                    <a:pt x="76501" y="36612"/>
                    <a:pt x="76230" y="36272"/>
                  </a:cubicBezTo>
                  <a:cubicBezTo>
                    <a:pt x="75677" y="35563"/>
                    <a:pt x="76126" y="35148"/>
                    <a:pt x="76731" y="34751"/>
                  </a:cubicBezTo>
                  <a:cubicBezTo>
                    <a:pt x="77318" y="34371"/>
                    <a:pt x="77284" y="33818"/>
                    <a:pt x="77025" y="33196"/>
                  </a:cubicBezTo>
                  <a:cubicBezTo>
                    <a:pt x="76921" y="32919"/>
                    <a:pt x="76161" y="33023"/>
                    <a:pt x="76593" y="32643"/>
                  </a:cubicBezTo>
                  <a:cubicBezTo>
                    <a:pt x="76708" y="32536"/>
                    <a:pt x="76805" y="32492"/>
                    <a:pt x="76888" y="32492"/>
                  </a:cubicBezTo>
                  <a:cubicBezTo>
                    <a:pt x="77143" y="32492"/>
                    <a:pt x="77279" y="32892"/>
                    <a:pt x="77474" y="33126"/>
                  </a:cubicBezTo>
                  <a:cubicBezTo>
                    <a:pt x="77830" y="33563"/>
                    <a:pt x="78559" y="33892"/>
                    <a:pt x="79019" y="33892"/>
                  </a:cubicBezTo>
                  <a:cubicBezTo>
                    <a:pt x="79251" y="33892"/>
                    <a:pt x="79415" y="33808"/>
                    <a:pt x="79427" y="33610"/>
                  </a:cubicBezTo>
                  <a:cubicBezTo>
                    <a:pt x="79485" y="32639"/>
                    <a:pt x="79866" y="32465"/>
                    <a:pt x="80317" y="32465"/>
                  </a:cubicBezTo>
                  <a:cubicBezTo>
                    <a:pt x="80569" y="32465"/>
                    <a:pt x="80843" y="32519"/>
                    <a:pt x="81095" y="32519"/>
                  </a:cubicBezTo>
                  <a:cubicBezTo>
                    <a:pt x="81194" y="32519"/>
                    <a:pt x="81290" y="32511"/>
                    <a:pt x="81380" y="32487"/>
                  </a:cubicBezTo>
                  <a:cubicBezTo>
                    <a:pt x="81894" y="32340"/>
                    <a:pt x="82271" y="31830"/>
                    <a:pt x="82830" y="31830"/>
                  </a:cubicBezTo>
                  <a:cubicBezTo>
                    <a:pt x="82928" y="31830"/>
                    <a:pt x="83031" y="31846"/>
                    <a:pt x="83142" y="31882"/>
                  </a:cubicBezTo>
                  <a:cubicBezTo>
                    <a:pt x="82658" y="32470"/>
                    <a:pt x="82192" y="33075"/>
                    <a:pt x="81708" y="33679"/>
                  </a:cubicBezTo>
                  <a:cubicBezTo>
                    <a:pt x="81604" y="33766"/>
                    <a:pt x="81483" y="33835"/>
                    <a:pt x="81362" y="33904"/>
                  </a:cubicBezTo>
                  <a:cubicBezTo>
                    <a:pt x="81034" y="34129"/>
                    <a:pt x="80775" y="34423"/>
                    <a:pt x="80878" y="34872"/>
                  </a:cubicBezTo>
                  <a:cubicBezTo>
                    <a:pt x="80999" y="35304"/>
                    <a:pt x="81380" y="35252"/>
                    <a:pt x="81673" y="35425"/>
                  </a:cubicBezTo>
                  <a:cubicBezTo>
                    <a:pt x="81973" y="35596"/>
                    <a:pt x="82292" y="35648"/>
                    <a:pt x="82615" y="35648"/>
                  </a:cubicBezTo>
                  <a:cubicBezTo>
                    <a:pt x="83130" y="35648"/>
                    <a:pt x="83658" y="35514"/>
                    <a:pt x="84141" y="35514"/>
                  </a:cubicBezTo>
                  <a:cubicBezTo>
                    <a:pt x="84489" y="35514"/>
                    <a:pt x="84814" y="35584"/>
                    <a:pt x="85095" y="35822"/>
                  </a:cubicBezTo>
                  <a:cubicBezTo>
                    <a:pt x="85535" y="36187"/>
                    <a:pt x="85875" y="36332"/>
                    <a:pt x="86134" y="36332"/>
                  </a:cubicBezTo>
                  <a:cubicBezTo>
                    <a:pt x="86710" y="36332"/>
                    <a:pt x="86887" y="35618"/>
                    <a:pt x="86875" y="35010"/>
                  </a:cubicBezTo>
                  <a:cubicBezTo>
                    <a:pt x="86858" y="34215"/>
                    <a:pt x="87601" y="32729"/>
                    <a:pt x="85665" y="32625"/>
                  </a:cubicBezTo>
                  <a:cubicBezTo>
                    <a:pt x="84991" y="32591"/>
                    <a:pt x="85130" y="31986"/>
                    <a:pt x="85596" y="31485"/>
                  </a:cubicBezTo>
                  <a:cubicBezTo>
                    <a:pt x="87186" y="29791"/>
                    <a:pt x="86650" y="27527"/>
                    <a:pt x="84508" y="26767"/>
                  </a:cubicBezTo>
                  <a:cubicBezTo>
                    <a:pt x="84006" y="26594"/>
                    <a:pt x="83557" y="26214"/>
                    <a:pt x="83661" y="25834"/>
                  </a:cubicBezTo>
                  <a:cubicBezTo>
                    <a:pt x="83972" y="24503"/>
                    <a:pt x="83039" y="23432"/>
                    <a:pt x="83090" y="22170"/>
                  </a:cubicBezTo>
                  <a:cubicBezTo>
                    <a:pt x="83108" y="21773"/>
                    <a:pt x="83073" y="21375"/>
                    <a:pt x="82624" y="21220"/>
                  </a:cubicBezTo>
                  <a:cubicBezTo>
                    <a:pt x="82529" y="21188"/>
                    <a:pt x="82437" y="21174"/>
                    <a:pt x="82348" y="21174"/>
                  </a:cubicBezTo>
                  <a:cubicBezTo>
                    <a:pt x="82049" y="21174"/>
                    <a:pt x="81787" y="21339"/>
                    <a:pt x="81587" y="21565"/>
                  </a:cubicBezTo>
                  <a:cubicBezTo>
                    <a:pt x="81086" y="22135"/>
                    <a:pt x="80464" y="22602"/>
                    <a:pt x="79755" y="22913"/>
                  </a:cubicBezTo>
                  <a:cubicBezTo>
                    <a:pt x="79583" y="22995"/>
                    <a:pt x="79411" y="23071"/>
                    <a:pt x="79247" y="23071"/>
                  </a:cubicBezTo>
                  <a:cubicBezTo>
                    <a:pt x="79097" y="23071"/>
                    <a:pt x="78954" y="23008"/>
                    <a:pt x="78822" y="22827"/>
                  </a:cubicBezTo>
                  <a:cubicBezTo>
                    <a:pt x="78563" y="22498"/>
                    <a:pt x="78753" y="22274"/>
                    <a:pt x="78960" y="22015"/>
                  </a:cubicBezTo>
                  <a:cubicBezTo>
                    <a:pt x="79496" y="21254"/>
                    <a:pt x="79254" y="20736"/>
                    <a:pt x="78459" y="20338"/>
                  </a:cubicBezTo>
                  <a:cubicBezTo>
                    <a:pt x="78131" y="20165"/>
                    <a:pt x="77837" y="19941"/>
                    <a:pt x="77578" y="19664"/>
                  </a:cubicBezTo>
                  <a:cubicBezTo>
                    <a:pt x="77168" y="19146"/>
                    <a:pt x="76356" y="18913"/>
                    <a:pt x="75491" y="18913"/>
                  </a:cubicBezTo>
                  <a:cubicBezTo>
                    <a:pt x="74278" y="18913"/>
                    <a:pt x="72961" y="19371"/>
                    <a:pt x="72497" y="20148"/>
                  </a:cubicBezTo>
                  <a:cubicBezTo>
                    <a:pt x="72065" y="20874"/>
                    <a:pt x="71788" y="21824"/>
                    <a:pt x="70803" y="22170"/>
                  </a:cubicBezTo>
                  <a:cubicBezTo>
                    <a:pt x="70354" y="22326"/>
                    <a:pt x="70043" y="22792"/>
                    <a:pt x="70337" y="23276"/>
                  </a:cubicBezTo>
                  <a:cubicBezTo>
                    <a:pt x="71356" y="25004"/>
                    <a:pt x="70043" y="25488"/>
                    <a:pt x="68902" y="26024"/>
                  </a:cubicBezTo>
                  <a:cubicBezTo>
                    <a:pt x="67693" y="26577"/>
                    <a:pt x="66241" y="26801"/>
                    <a:pt x="66345" y="28685"/>
                  </a:cubicBezTo>
                  <a:cubicBezTo>
                    <a:pt x="66379" y="29117"/>
                    <a:pt x="65895" y="29601"/>
                    <a:pt x="65584" y="30016"/>
                  </a:cubicBezTo>
                  <a:cubicBezTo>
                    <a:pt x="65442" y="30197"/>
                    <a:pt x="65232" y="30465"/>
                    <a:pt x="64983" y="30465"/>
                  </a:cubicBezTo>
                  <a:cubicBezTo>
                    <a:pt x="64899" y="30465"/>
                    <a:pt x="64811" y="30435"/>
                    <a:pt x="64720" y="30361"/>
                  </a:cubicBezTo>
                  <a:cubicBezTo>
                    <a:pt x="64409" y="30120"/>
                    <a:pt x="64288" y="29705"/>
                    <a:pt x="64409" y="29342"/>
                  </a:cubicBezTo>
                  <a:cubicBezTo>
                    <a:pt x="64893" y="27596"/>
                    <a:pt x="65083" y="25989"/>
                    <a:pt x="62508" y="25903"/>
                  </a:cubicBezTo>
                  <a:cubicBezTo>
                    <a:pt x="62249" y="25903"/>
                    <a:pt x="61938" y="25644"/>
                    <a:pt x="61748" y="25436"/>
                  </a:cubicBezTo>
                  <a:cubicBezTo>
                    <a:pt x="61084" y="24759"/>
                    <a:pt x="60400" y="24243"/>
                    <a:pt x="59552" y="24243"/>
                  </a:cubicBezTo>
                  <a:cubicBezTo>
                    <a:pt x="59252" y="24243"/>
                    <a:pt x="58932" y="24307"/>
                    <a:pt x="58585" y="24451"/>
                  </a:cubicBezTo>
                  <a:cubicBezTo>
                    <a:pt x="58566" y="24457"/>
                    <a:pt x="58545" y="24459"/>
                    <a:pt x="58523" y="24459"/>
                  </a:cubicBezTo>
                  <a:cubicBezTo>
                    <a:pt x="58409" y="24459"/>
                    <a:pt x="58269" y="24394"/>
                    <a:pt x="58153" y="24365"/>
                  </a:cubicBezTo>
                  <a:cubicBezTo>
                    <a:pt x="58758" y="23501"/>
                    <a:pt x="57687" y="22429"/>
                    <a:pt x="58827" y="21462"/>
                  </a:cubicBezTo>
                  <a:cubicBezTo>
                    <a:pt x="61800" y="18990"/>
                    <a:pt x="65757" y="18558"/>
                    <a:pt x="68781" y="16294"/>
                  </a:cubicBezTo>
                  <a:lnTo>
                    <a:pt x="69455" y="15828"/>
                  </a:lnTo>
                  <a:cubicBezTo>
                    <a:pt x="70337" y="15586"/>
                    <a:pt x="71218" y="15206"/>
                    <a:pt x="72117" y="15119"/>
                  </a:cubicBezTo>
                  <a:cubicBezTo>
                    <a:pt x="74346" y="14912"/>
                    <a:pt x="75331" y="13910"/>
                    <a:pt x="75262" y="11767"/>
                  </a:cubicBezTo>
                  <a:cubicBezTo>
                    <a:pt x="75262" y="11596"/>
                    <a:pt x="75299" y="11543"/>
                    <a:pt x="75353" y="11543"/>
                  </a:cubicBezTo>
                  <a:cubicBezTo>
                    <a:pt x="75441" y="11543"/>
                    <a:pt x="75574" y="11687"/>
                    <a:pt x="75659" y="11698"/>
                  </a:cubicBezTo>
                  <a:cubicBezTo>
                    <a:pt x="76835" y="11749"/>
                    <a:pt x="77733" y="12683"/>
                    <a:pt x="78943" y="12752"/>
                  </a:cubicBezTo>
                  <a:cubicBezTo>
                    <a:pt x="79461" y="12769"/>
                    <a:pt x="79945" y="13391"/>
                    <a:pt x="80412" y="13789"/>
                  </a:cubicBezTo>
                  <a:cubicBezTo>
                    <a:pt x="80395" y="13944"/>
                    <a:pt x="80325" y="14082"/>
                    <a:pt x="80204" y="14203"/>
                  </a:cubicBezTo>
                  <a:cubicBezTo>
                    <a:pt x="79099" y="14649"/>
                    <a:pt x="78211" y="15599"/>
                    <a:pt x="76924" y="15599"/>
                  </a:cubicBezTo>
                  <a:cubicBezTo>
                    <a:pt x="76763" y="15599"/>
                    <a:pt x="76595" y="15584"/>
                    <a:pt x="76420" y="15551"/>
                  </a:cubicBezTo>
                  <a:cubicBezTo>
                    <a:pt x="76325" y="15534"/>
                    <a:pt x="76229" y="15525"/>
                    <a:pt x="76135" y="15525"/>
                  </a:cubicBezTo>
                  <a:cubicBezTo>
                    <a:pt x="75478" y="15525"/>
                    <a:pt x="74895" y="15947"/>
                    <a:pt x="74985" y="16778"/>
                  </a:cubicBezTo>
                  <a:cubicBezTo>
                    <a:pt x="75041" y="17437"/>
                    <a:pt x="75422" y="17620"/>
                    <a:pt x="75866" y="17620"/>
                  </a:cubicBezTo>
                  <a:cubicBezTo>
                    <a:pt x="76109" y="17620"/>
                    <a:pt x="76372" y="17565"/>
                    <a:pt x="76610" y="17504"/>
                  </a:cubicBezTo>
                  <a:cubicBezTo>
                    <a:pt x="76822" y="17451"/>
                    <a:pt x="77015" y="17425"/>
                    <a:pt x="77193" y="17425"/>
                  </a:cubicBezTo>
                  <a:cubicBezTo>
                    <a:pt x="77828" y="17425"/>
                    <a:pt x="78286" y="17750"/>
                    <a:pt x="78839" y="18316"/>
                  </a:cubicBezTo>
                  <a:cubicBezTo>
                    <a:pt x="79617" y="19094"/>
                    <a:pt x="80723" y="19612"/>
                    <a:pt x="81794" y="19993"/>
                  </a:cubicBezTo>
                  <a:cubicBezTo>
                    <a:pt x="81906" y="20034"/>
                    <a:pt x="82005" y="20053"/>
                    <a:pt x="82094" y="20053"/>
                  </a:cubicBezTo>
                  <a:cubicBezTo>
                    <a:pt x="82595" y="20053"/>
                    <a:pt x="82747" y="19445"/>
                    <a:pt x="82762" y="18887"/>
                  </a:cubicBezTo>
                  <a:cubicBezTo>
                    <a:pt x="82805" y="18878"/>
                    <a:pt x="82849" y="18874"/>
                    <a:pt x="82892" y="18874"/>
                  </a:cubicBezTo>
                  <a:cubicBezTo>
                    <a:pt x="82935" y="18874"/>
                    <a:pt x="82978" y="18878"/>
                    <a:pt x="83021" y="18887"/>
                  </a:cubicBezTo>
                  <a:cubicBezTo>
                    <a:pt x="83375" y="18985"/>
                    <a:pt x="83662" y="19030"/>
                    <a:pt x="83892" y="19030"/>
                  </a:cubicBezTo>
                  <a:cubicBezTo>
                    <a:pt x="85038" y="19030"/>
                    <a:pt x="84816" y="17932"/>
                    <a:pt x="84629" y="16882"/>
                  </a:cubicBezTo>
                  <a:cubicBezTo>
                    <a:pt x="84577" y="16588"/>
                    <a:pt x="84404" y="16122"/>
                    <a:pt x="84525" y="16018"/>
                  </a:cubicBezTo>
                  <a:cubicBezTo>
                    <a:pt x="84606" y="15948"/>
                    <a:pt x="84680" y="15920"/>
                    <a:pt x="84749" y="15920"/>
                  </a:cubicBezTo>
                  <a:cubicBezTo>
                    <a:pt x="84985" y="15920"/>
                    <a:pt x="85161" y="16252"/>
                    <a:pt x="85389" y="16346"/>
                  </a:cubicBezTo>
                  <a:cubicBezTo>
                    <a:pt x="85637" y="16436"/>
                    <a:pt x="85876" y="16474"/>
                    <a:pt x="86110" y="16474"/>
                  </a:cubicBezTo>
                  <a:cubicBezTo>
                    <a:pt x="86771" y="16474"/>
                    <a:pt x="87381" y="16174"/>
                    <a:pt x="87981" y="15931"/>
                  </a:cubicBezTo>
                  <a:cubicBezTo>
                    <a:pt x="88344" y="15793"/>
                    <a:pt x="88500" y="15275"/>
                    <a:pt x="88258" y="15033"/>
                  </a:cubicBezTo>
                  <a:cubicBezTo>
                    <a:pt x="87065" y="13754"/>
                    <a:pt x="85976" y="12406"/>
                    <a:pt x="84819" y="11110"/>
                  </a:cubicBezTo>
                  <a:cubicBezTo>
                    <a:pt x="84162" y="10350"/>
                    <a:pt x="83160" y="9779"/>
                    <a:pt x="82537" y="8915"/>
                  </a:cubicBezTo>
                  <a:cubicBezTo>
                    <a:pt x="82209" y="8379"/>
                    <a:pt x="81639" y="8034"/>
                    <a:pt x="81017" y="7999"/>
                  </a:cubicBezTo>
                  <a:cubicBezTo>
                    <a:pt x="80983" y="7995"/>
                    <a:pt x="80950" y="7994"/>
                    <a:pt x="80916" y="7994"/>
                  </a:cubicBezTo>
                  <a:cubicBezTo>
                    <a:pt x="80688" y="7994"/>
                    <a:pt x="80453" y="8074"/>
                    <a:pt x="80228" y="8074"/>
                  </a:cubicBezTo>
                  <a:cubicBezTo>
                    <a:pt x="80056" y="8074"/>
                    <a:pt x="79890" y="8027"/>
                    <a:pt x="79738" y="7861"/>
                  </a:cubicBezTo>
                  <a:cubicBezTo>
                    <a:pt x="80170" y="7757"/>
                    <a:pt x="80602" y="7654"/>
                    <a:pt x="81017" y="7585"/>
                  </a:cubicBezTo>
                  <a:cubicBezTo>
                    <a:pt x="81518" y="7481"/>
                    <a:pt x="82192" y="7567"/>
                    <a:pt x="82226" y="6859"/>
                  </a:cubicBezTo>
                  <a:cubicBezTo>
                    <a:pt x="82278" y="6202"/>
                    <a:pt x="81673" y="6167"/>
                    <a:pt x="81207" y="6046"/>
                  </a:cubicBezTo>
                  <a:cubicBezTo>
                    <a:pt x="81086" y="6012"/>
                    <a:pt x="80948" y="5960"/>
                    <a:pt x="80844" y="5891"/>
                  </a:cubicBezTo>
                  <a:cubicBezTo>
                    <a:pt x="80958" y="5878"/>
                    <a:pt x="81101" y="5837"/>
                    <a:pt x="81223" y="5837"/>
                  </a:cubicBezTo>
                  <a:cubicBezTo>
                    <a:pt x="81267" y="5837"/>
                    <a:pt x="81309" y="5843"/>
                    <a:pt x="81345" y="5856"/>
                  </a:cubicBezTo>
                  <a:cubicBezTo>
                    <a:pt x="81816" y="6065"/>
                    <a:pt x="82272" y="6151"/>
                    <a:pt x="82714" y="6151"/>
                  </a:cubicBezTo>
                  <a:cubicBezTo>
                    <a:pt x="83993" y="6151"/>
                    <a:pt x="85157" y="5437"/>
                    <a:pt x="86236" y="4923"/>
                  </a:cubicBezTo>
                  <a:cubicBezTo>
                    <a:pt x="89182" y="3528"/>
                    <a:pt x="92334" y="3094"/>
                    <a:pt x="95401" y="2235"/>
                  </a:cubicBezTo>
                  <a:lnTo>
                    <a:pt x="95401" y="2235"/>
                  </a:lnTo>
                  <a:cubicBezTo>
                    <a:pt x="93986" y="3267"/>
                    <a:pt x="92263" y="3834"/>
                    <a:pt x="90504" y="3834"/>
                  </a:cubicBezTo>
                  <a:cubicBezTo>
                    <a:pt x="90401" y="3834"/>
                    <a:pt x="90295" y="3831"/>
                    <a:pt x="90191" y="3831"/>
                  </a:cubicBezTo>
                  <a:cubicBezTo>
                    <a:pt x="89827" y="3831"/>
                    <a:pt x="89479" y="3873"/>
                    <a:pt x="89277" y="4249"/>
                  </a:cubicBezTo>
                  <a:cubicBezTo>
                    <a:pt x="89018" y="4802"/>
                    <a:pt x="89467" y="5113"/>
                    <a:pt x="89744" y="5528"/>
                  </a:cubicBezTo>
                  <a:cubicBezTo>
                    <a:pt x="90251" y="6307"/>
                    <a:pt x="90887" y="6586"/>
                    <a:pt x="91608" y="6586"/>
                  </a:cubicBezTo>
                  <a:cubicBezTo>
                    <a:pt x="91943" y="6586"/>
                    <a:pt x="92297" y="6525"/>
                    <a:pt x="92664" y="6427"/>
                  </a:cubicBezTo>
                  <a:cubicBezTo>
                    <a:pt x="93037" y="6322"/>
                    <a:pt x="93404" y="6272"/>
                    <a:pt x="93755" y="6272"/>
                  </a:cubicBezTo>
                  <a:cubicBezTo>
                    <a:pt x="95314" y="6272"/>
                    <a:pt x="96561" y="7243"/>
                    <a:pt x="96518" y="8639"/>
                  </a:cubicBezTo>
                  <a:cubicBezTo>
                    <a:pt x="96501" y="9123"/>
                    <a:pt x="96000" y="9710"/>
                    <a:pt x="96155" y="10073"/>
                  </a:cubicBezTo>
                  <a:cubicBezTo>
                    <a:pt x="96656" y="11300"/>
                    <a:pt x="95758" y="12302"/>
                    <a:pt x="95378" y="13045"/>
                  </a:cubicBezTo>
                  <a:cubicBezTo>
                    <a:pt x="94393" y="15016"/>
                    <a:pt x="93649" y="16709"/>
                    <a:pt x="95412" y="18541"/>
                  </a:cubicBezTo>
                  <a:cubicBezTo>
                    <a:pt x="95602" y="18714"/>
                    <a:pt x="95723" y="18938"/>
                    <a:pt x="95758" y="19180"/>
                  </a:cubicBezTo>
                  <a:cubicBezTo>
                    <a:pt x="95810" y="21358"/>
                    <a:pt x="97901" y="20788"/>
                    <a:pt x="99007" y="21479"/>
                  </a:cubicBezTo>
                  <a:cubicBezTo>
                    <a:pt x="99192" y="21597"/>
                    <a:pt x="99367" y="21648"/>
                    <a:pt x="99531" y="21648"/>
                  </a:cubicBezTo>
                  <a:cubicBezTo>
                    <a:pt x="100207" y="21648"/>
                    <a:pt x="100708" y="20784"/>
                    <a:pt x="101098" y="20200"/>
                  </a:cubicBezTo>
                  <a:cubicBezTo>
                    <a:pt x="102256" y="18472"/>
                    <a:pt x="104088" y="17055"/>
                    <a:pt x="105729" y="16536"/>
                  </a:cubicBezTo>
                  <a:cubicBezTo>
                    <a:pt x="109220" y="15396"/>
                    <a:pt x="112486" y="13547"/>
                    <a:pt x="116254" y="13115"/>
                  </a:cubicBezTo>
                  <a:cubicBezTo>
                    <a:pt x="117965" y="12907"/>
                    <a:pt x="119935" y="12320"/>
                    <a:pt x="120021" y="9883"/>
                  </a:cubicBezTo>
                  <a:cubicBezTo>
                    <a:pt x="120021" y="9693"/>
                    <a:pt x="120349" y="9485"/>
                    <a:pt x="120557" y="9330"/>
                  </a:cubicBezTo>
                  <a:cubicBezTo>
                    <a:pt x="121663" y="8552"/>
                    <a:pt x="123132" y="8034"/>
                    <a:pt x="122631" y="6202"/>
                  </a:cubicBezTo>
                  <a:cubicBezTo>
                    <a:pt x="122594" y="6055"/>
                    <a:pt x="122626" y="6020"/>
                    <a:pt x="122682" y="6020"/>
                  </a:cubicBezTo>
                  <a:cubicBezTo>
                    <a:pt x="122731" y="6020"/>
                    <a:pt x="122799" y="6046"/>
                    <a:pt x="122855" y="6046"/>
                  </a:cubicBezTo>
                  <a:cubicBezTo>
                    <a:pt x="122928" y="6051"/>
                    <a:pt x="122998" y="6053"/>
                    <a:pt x="123064" y="6053"/>
                  </a:cubicBezTo>
                  <a:cubicBezTo>
                    <a:pt x="124269" y="6053"/>
                    <a:pt x="124381" y="5321"/>
                    <a:pt x="123840" y="4387"/>
                  </a:cubicBezTo>
                  <a:cubicBezTo>
                    <a:pt x="123581" y="3921"/>
                    <a:pt x="123875" y="3955"/>
                    <a:pt x="124048" y="3817"/>
                  </a:cubicBezTo>
                  <a:cubicBezTo>
                    <a:pt x="125240" y="2867"/>
                    <a:pt x="126640" y="2728"/>
                    <a:pt x="128092" y="2659"/>
                  </a:cubicBezTo>
                  <a:cubicBezTo>
                    <a:pt x="128575" y="2625"/>
                    <a:pt x="129180" y="2521"/>
                    <a:pt x="129249" y="1934"/>
                  </a:cubicBezTo>
                  <a:cubicBezTo>
                    <a:pt x="129301" y="1363"/>
                    <a:pt x="128714" y="1242"/>
                    <a:pt x="128299" y="1190"/>
                  </a:cubicBezTo>
                  <a:cubicBezTo>
                    <a:pt x="125707" y="948"/>
                    <a:pt x="123132" y="430"/>
                    <a:pt x="120557" y="171"/>
                  </a:cubicBezTo>
                  <a:cubicBezTo>
                    <a:pt x="119360" y="50"/>
                    <a:pt x="118163" y="0"/>
                    <a:pt x="116966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4" name="Google Shape;11007;p65">
              <a:extLst>
                <a:ext uri="{FF2B5EF4-FFF2-40B4-BE49-F238E27FC236}">
                  <a16:creationId xmlns:a16="http://schemas.microsoft.com/office/drawing/2014/main" id="{B44B4AA4-E586-CAEF-31BA-E7CADA12B4DD}"/>
                </a:ext>
              </a:extLst>
            </p:cNvPr>
            <p:cNvSpPr/>
            <p:nvPr/>
          </p:nvSpPr>
          <p:spPr>
            <a:xfrm>
              <a:off x="1581325" y="1051125"/>
              <a:ext cx="283000" cy="91675"/>
            </a:xfrm>
            <a:custGeom>
              <a:avLst/>
              <a:gdLst/>
              <a:ahLst/>
              <a:cxnLst/>
              <a:rect l="l" t="t" r="r" b="b"/>
              <a:pathLst>
                <a:path w="11320" h="3667" extrusionOk="0">
                  <a:moveTo>
                    <a:pt x="6214" y="0"/>
                  </a:moveTo>
                  <a:cubicBezTo>
                    <a:pt x="5926" y="0"/>
                    <a:pt x="5584" y="48"/>
                    <a:pt x="5219" y="71"/>
                  </a:cubicBezTo>
                  <a:cubicBezTo>
                    <a:pt x="5082" y="56"/>
                    <a:pt x="4943" y="49"/>
                    <a:pt x="4804" y="49"/>
                  </a:cubicBezTo>
                  <a:cubicBezTo>
                    <a:pt x="3493" y="49"/>
                    <a:pt x="2115" y="667"/>
                    <a:pt x="709" y="1073"/>
                  </a:cubicBezTo>
                  <a:cubicBezTo>
                    <a:pt x="432" y="1177"/>
                    <a:pt x="208" y="1401"/>
                    <a:pt x="69" y="1678"/>
                  </a:cubicBezTo>
                  <a:cubicBezTo>
                    <a:pt x="0" y="1781"/>
                    <a:pt x="242" y="2213"/>
                    <a:pt x="363" y="2231"/>
                  </a:cubicBezTo>
                  <a:cubicBezTo>
                    <a:pt x="2163" y="2438"/>
                    <a:pt x="3786" y="3667"/>
                    <a:pt x="5640" y="3667"/>
                  </a:cubicBezTo>
                  <a:cubicBezTo>
                    <a:pt x="6100" y="3667"/>
                    <a:pt x="6574" y="3591"/>
                    <a:pt x="7068" y="3406"/>
                  </a:cubicBezTo>
                  <a:cubicBezTo>
                    <a:pt x="7396" y="3281"/>
                    <a:pt x="7767" y="3236"/>
                    <a:pt x="8142" y="3236"/>
                  </a:cubicBezTo>
                  <a:cubicBezTo>
                    <a:pt x="8439" y="3236"/>
                    <a:pt x="8738" y="3264"/>
                    <a:pt x="9021" y="3302"/>
                  </a:cubicBezTo>
                  <a:cubicBezTo>
                    <a:pt x="9277" y="3340"/>
                    <a:pt x="9523" y="3370"/>
                    <a:pt x="9759" y="3370"/>
                  </a:cubicBezTo>
                  <a:cubicBezTo>
                    <a:pt x="10271" y="3370"/>
                    <a:pt x="10728" y="3229"/>
                    <a:pt x="11095" y="2732"/>
                  </a:cubicBezTo>
                  <a:cubicBezTo>
                    <a:pt x="11320" y="2473"/>
                    <a:pt x="11268" y="2075"/>
                    <a:pt x="10991" y="1885"/>
                  </a:cubicBezTo>
                  <a:cubicBezTo>
                    <a:pt x="10479" y="1524"/>
                    <a:pt x="10006" y="1077"/>
                    <a:pt x="9430" y="1077"/>
                  </a:cubicBezTo>
                  <a:cubicBezTo>
                    <a:pt x="9151" y="1077"/>
                    <a:pt x="8847" y="1182"/>
                    <a:pt x="8503" y="1453"/>
                  </a:cubicBezTo>
                  <a:cubicBezTo>
                    <a:pt x="8280" y="1626"/>
                    <a:pt x="7919" y="1737"/>
                    <a:pt x="7612" y="1737"/>
                  </a:cubicBezTo>
                  <a:cubicBezTo>
                    <a:pt x="7277" y="1737"/>
                    <a:pt x="7006" y="1605"/>
                    <a:pt x="7051" y="1280"/>
                  </a:cubicBezTo>
                  <a:cubicBezTo>
                    <a:pt x="7179" y="207"/>
                    <a:pt x="6812" y="0"/>
                    <a:pt x="6214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5" name="Google Shape;11008;p65">
              <a:extLst>
                <a:ext uri="{FF2B5EF4-FFF2-40B4-BE49-F238E27FC236}">
                  <a16:creationId xmlns:a16="http://schemas.microsoft.com/office/drawing/2014/main" id="{2EDB3DA9-A956-74F4-AF5B-975BF8E7975E}"/>
                </a:ext>
              </a:extLst>
            </p:cNvPr>
            <p:cNvSpPr/>
            <p:nvPr/>
          </p:nvSpPr>
          <p:spPr>
            <a:xfrm>
              <a:off x="3144425" y="1319375"/>
              <a:ext cx="213450" cy="95575"/>
            </a:xfrm>
            <a:custGeom>
              <a:avLst/>
              <a:gdLst/>
              <a:ahLst/>
              <a:cxnLst/>
              <a:rect l="l" t="t" r="r" b="b"/>
              <a:pathLst>
                <a:path w="8538" h="3823" extrusionOk="0">
                  <a:moveTo>
                    <a:pt x="6155" y="1"/>
                  </a:moveTo>
                  <a:cubicBezTo>
                    <a:pt x="6054" y="1"/>
                    <a:pt x="5950" y="7"/>
                    <a:pt x="5842" y="20"/>
                  </a:cubicBezTo>
                  <a:cubicBezTo>
                    <a:pt x="4846" y="139"/>
                    <a:pt x="3874" y="469"/>
                    <a:pt x="2859" y="469"/>
                  </a:cubicBezTo>
                  <a:cubicBezTo>
                    <a:pt x="2396" y="469"/>
                    <a:pt x="1923" y="400"/>
                    <a:pt x="1435" y="211"/>
                  </a:cubicBezTo>
                  <a:cubicBezTo>
                    <a:pt x="1292" y="150"/>
                    <a:pt x="1133" y="113"/>
                    <a:pt x="974" y="113"/>
                  </a:cubicBezTo>
                  <a:cubicBezTo>
                    <a:pt x="501" y="113"/>
                    <a:pt x="35" y="441"/>
                    <a:pt x="35" y="1438"/>
                  </a:cubicBezTo>
                  <a:cubicBezTo>
                    <a:pt x="1" y="3771"/>
                    <a:pt x="1573" y="3580"/>
                    <a:pt x="3025" y="3822"/>
                  </a:cubicBezTo>
                  <a:cubicBezTo>
                    <a:pt x="4338" y="3753"/>
                    <a:pt x="5617" y="3408"/>
                    <a:pt x="6792" y="2837"/>
                  </a:cubicBezTo>
                  <a:cubicBezTo>
                    <a:pt x="7415" y="2526"/>
                    <a:pt x="8538" y="2474"/>
                    <a:pt x="8192" y="1541"/>
                  </a:cubicBezTo>
                  <a:cubicBezTo>
                    <a:pt x="7892" y="720"/>
                    <a:pt x="7218" y="1"/>
                    <a:pt x="6155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6" name="Google Shape;11009;p65">
              <a:extLst>
                <a:ext uri="{FF2B5EF4-FFF2-40B4-BE49-F238E27FC236}">
                  <a16:creationId xmlns:a16="http://schemas.microsoft.com/office/drawing/2014/main" id="{F687CC3C-A973-7172-70FC-51B29D2F33CE}"/>
                </a:ext>
              </a:extLst>
            </p:cNvPr>
            <p:cNvSpPr/>
            <p:nvPr/>
          </p:nvSpPr>
          <p:spPr>
            <a:xfrm>
              <a:off x="1453000" y="2509000"/>
              <a:ext cx="263575" cy="113100"/>
            </a:xfrm>
            <a:custGeom>
              <a:avLst/>
              <a:gdLst/>
              <a:ahLst/>
              <a:cxnLst/>
              <a:rect l="l" t="t" r="r" b="b"/>
              <a:pathLst>
                <a:path w="10543" h="4524" extrusionOk="0">
                  <a:moveTo>
                    <a:pt x="3451" y="1"/>
                  </a:moveTo>
                  <a:cubicBezTo>
                    <a:pt x="2445" y="1"/>
                    <a:pt x="1486" y="228"/>
                    <a:pt x="761" y="702"/>
                  </a:cubicBezTo>
                  <a:cubicBezTo>
                    <a:pt x="398" y="927"/>
                    <a:pt x="1" y="1186"/>
                    <a:pt x="243" y="1687"/>
                  </a:cubicBezTo>
                  <a:cubicBezTo>
                    <a:pt x="390" y="1972"/>
                    <a:pt x="609" y="2083"/>
                    <a:pt x="855" y="2083"/>
                  </a:cubicBezTo>
                  <a:cubicBezTo>
                    <a:pt x="1012" y="2083"/>
                    <a:pt x="1180" y="2038"/>
                    <a:pt x="1349" y="1964"/>
                  </a:cubicBezTo>
                  <a:cubicBezTo>
                    <a:pt x="1677" y="1828"/>
                    <a:pt x="1990" y="1776"/>
                    <a:pt x="2298" y="1776"/>
                  </a:cubicBezTo>
                  <a:cubicBezTo>
                    <a:pt x="2932" y="1776"/>
                    <a:pt x="3543" y="1997"/>
                    <a:pt x="4217" y="2171"/>
                  </a:cubicBezTo>
                  <a:cubicBezTo>
                    <a:pt x="5708" y="2540"/>
                    <a:pt x="6405" y="4523"/>
                    <a:pt x="7868" y="4523"/>
                  </a:cubicBezTo>
                  <a:cubicBezTo>
                    <a:pt x="8118" y="4523"/>
                    <a:pt x="8391" y="4465"/>
                    <a:pt x="8693" y="4332"/>
                  </a:cubicBezTo>
                  <a:cubicBezTo>
                    <a:pt x="8824" y="4337"/>
                    <a:pt x="8947" y="4340"/>
                    <a:pt x="9062" y="4340"/>
                  </a:cubicBezTo>
                  <a:cubicBezTo>
                    <a:pt x="10032" y="4340"/>
                    <a:pt x="10475" y="4144"/>
                    <a:pt x="10491" y="3727"/>
                  </a:cubicBezTo>
                  <a:cubicBezTo>
                    <a:pt x="10542" y="2897"/>
                    <a:pt x="9817" y="2724"/>
                    <a:pt x="9264" y="2517"/>
                  </a:cubicBezTo>
                  <a:cubicBezTo>
                    <a:pt x="8711" y="2292"/>
                    <a:pt x="8209" y="1964"/>
                    <a:pt x="7777" y="1567"/>
                  </a:cubicBezTo>
                  <a:cubicBezTo>
                    <a:pt x="6685" y="547"/>
                    <a:pt x="5011" y="1"/>
                    <a:pt x="3451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7" name="Google Shape;11010;p65">
              <a:extLst>
                <a:ext uri="{FF2B5EF4-FFF2-40B4-BE49-F238E27FC236}">
                  <a16:creationId xmlns:a16="http://schemas.microsoft.com/office/drawing/2014/main" id="{77DE7BD6-9C44-05DB-B893-65F6F5B9C970}"/>
                </a:ext>
              </a:extLst>
            </p:cNvPr>
            <p:cNvSpPr/>
            <p:nvPr/>
          </p:nvSpPr>
          <p:spPr>
            <a:xfrm>
              <a:off x="1880725" y="1020350"/>
              <a:ext cx="162025" cy="112025"/>
            </a:xfrm>
            <a:custGeom>
              <a:avLst/>
              <a:gdLst/>
              <a:ahLst/>
              <a:cxnLst/>
              <a:rect l="l" t="t" r="r" b="b"/>
              <a:pathLst>
                <a:path w="6481" h="4481" extrusionOk="0">
                  <a:moveTo>
                    <a:pt x="4294" y="0"/>
                  </a:moveTo>
                  <a:cubicBezTo>
                    <a:pt x="4062" y="0"/>
                    <a:pt x="3818" y="44"/>
                    <a:pt x="3560" y="144"/>
                  </a:cubicBezTo>
                  <a:cubicBezTo>
                    <a:pt x="3094" y="317"/>
                    <a:pt x="2593" y="541"/>
                    <a:pt x="2886" y="1198"/>
                  </a:cubicBezTo>
                  <a:cubicBezTo>
                    <a:pt x="3042" y="1509"/>
                    <a:pt x="3232" y="1820"/>
                    <a:pt x="3457" y="2114"/>
                  </a:cubicBezTo>
                  <a:cubicBezTo>
                    <a:pt x="3147" y="2260"/>
                    <a:pt x="2851" y="2348"/>
                    <a:pt x="2545" y="2348"/>
                  </a:cubicBezTo>
                  <a:cubicBezTo>
                    <a:pt x="2270" y="2348"/>
                    <a:pt x="1987" y="2277"/>
                    <a:pt x="1677" y="2114"/>
                  </a:cubicBezTo>
                  <a:cubicBezTo>
                    <a:pt x="1531" y="2037"/>
                    <a:pt x="1393" y="2002"/>
                    <a:pt x="1262" y="2002"/>
                  </a:cubicBezTo>
                  <a:cubicBezTo>
                    <a:pt x="867" y="2002"/>
                    <a:pt x="545" y="2320"/>
                    <a:pt x="311" y="2736"/>
                  </a:cubicBezTo>
                  <a:cubicBezTo>
                    <a:pt x="0" y="3289"/>
                    <a:pt x="467" y="3479"/>
                    <a:pt x="813" y="3807"/>
                  </a:cubicBezTo>
                  <a:cubicBezTo>
                    <a:pt x="1327" y="4309"/>
                    <a:pt x="1837" y="4480"/>
                    <a:pt x="2344" y="4480"/>
                  </a:cubicBezTo>
                  <a:cubicBezTo>
                    <a:pt x="3164" y="4480"/>
                    <a:pt x="3976" y="4032"/>
                    <a:pt x="4787" y="3807"/>
                  </a:cubicBezTo>
                  <a:lnTo>
                    <a:pt x="5081" y="3514"/>
                  </a:lnTo>
                  <a:cubicBezTo>
                    <a:pt x="5237" y="2788"/>
                    <a:pt x="5098" y="1924"/>
                    <a:pt x="6204" y="1734"/>
                  </a:cubicBezTo>
                  <a:cubicBezTo>
                    <a:pt x="6464" y="1699"/>
                    <a:pt x="6481" y="1129"/>
                    <a:pt x="6222" y="921"/>
                  </a:cubicBezTo>
                  <a:cubicBezTo>
                    <a:pt x="5644" y="436"/>
                    <a:pt x="5027" y="0"/>
                    <a:pt x="4294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8" name="Google Shape;11011;p65">
              <a:extLst>
                <a:ext uri="{FF2B5EF4-FFF2-40B4-BE49-F238E27FC236}">
                  <a16:creationId xmlns:a16="http://schemas.microsoft.com/office/drawing/2014/main" id="{DA75F252-0820-8B8D-6BE7-689380433975}"/>
                </a:ext>
              </a:extLst>
            </p:cNvPr>
            <p:cNvSpPr/>
            <p:nvPr/>
          </p:nvSpPr>
          <p:spPr>
            <a:xfrm>
              <a:off x="1688900" y="2603450"/>
              <a:ext cx="165050" cy="73950"/>
            </a:xfrm>
            <a:custGeom>
              <a:avLst/>
              <a:gdLst/>
              <a:ahLst/>
              <a:cxnLst/>
              <a:rect l="l" t="t" r="r" b="b"/>
              <a:pathLst>
                <a:path w="6602" h="2958" extrusionOk="0">
                  <a:moveTo>
                    <a:pt x="2842" y="0"/>
                  </a:moveTo>
                  <a:cubicBezTo>
                    <a:pt x="2588" y="0"/>
                    <a:pt x="2332" y="28"/>
                    <a:pt x="2074" y="87"/>
                  </a:cubicBezTo>
                  <a:cubicBezTo>
                    <a:pt x="1452" y="225"/>
                    <a:pt x="1055" y="1331"/>
                    <a:pt x="225" y="1694"/>
                  </a:cubicBezTo>
                  <a:cubicBezTo>
                    <a:pt x="0" y="1798"/>
                    <a:pt x="277" y="2247"/>
                    <a:pt x="536" y="2454"/>
                  </a:cubicBezTo>
                  <a:cubicBezTo>
                    <a:pt x="957" y="2789"/>
                    <a:pt x="2162" y="2958"/>
                    <a:pt x="3373" y="2958"/>
                  </a:cubicBezTo>
                  <a:cubicBezTo>
                    <a:pt x="4599" y="2958"/>
                    <a:pt x="5830" y="2785"/>
                    <a:pt x="6256" y="2437"/>
                  </a:cubicBezTo>
                  <a:cubicBezTo>
                    <a:pt x="6395" y="2282"/>
                    <a:pt x="6515" y="2109"/>
                    <a:pt x="6602" y="1919"/>
                  </a:cubicBezTo>
                  <a:cubicBezTo>
                    <a:pt x="6481" y="1711"/>
                    <a:pt x="6429" y="1469"/>
                    <a:pt x="6291" y="1366"/>
                  </a:cubicBezTo>
                  <a:cubicBezTo>
                    <a:pt x="5231" y="636"/>
                    <a:pt x="4065" y="0"/>
                    <a:pt x="284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79" name="Google Shape;11012;p65">
              <a:extLst>
                <a:ext uri="{FF2B5EF4-FFF2-40B4-BE49-F238E27FC236}">
                  <a16:creationId xmlns:a16="http://schemas.microsoft.com/office/drawing/2014/main" id="{AAB70A9A-7EBF-6A75-9823-DEB58D3C8F3F}"/>
                </a:ext>
              </a:extLst>
            </p:cNvPr>
            <p:cNvSpPr/>
            <p:nvPr/>
          </p:nvSpPr>
          <p:spPr>
            <a:xfrm>
              <a:off x="1922200" y="1344925"/>
              <a:ext cx="129625" cy="64525"/>
            </a:xfrm>
            <a:custGeom>
              <a:avLst/>
              <a:gdLst/>
              <a:ahLst/>
              <a:cxnLst/>
              <a:rect l="l" t="t" r="r" b="b"/>
              <a:pathLst>
                <a:path w="5185" h="2581" extrusionOk="0">
                  <a:moveTo>
                    <a:pt x="1901" y="1"/>
                  </a:moveTo>
                  <a:lnTo>
                    <a:pt x="1227" y="467"/>
                  </a:lnTo>
                  <a:cubicBezTo>
                    <a:pt x="934" y="1020"/>
                    <a:pt x="0" y="1383"/>
                    <a:pt x="415" y="2144"/>
                  </a:cubicBezTo>
                  <a:cubicBezTo>
                    <a:pt x="602" y="2475"/>
                    <a:pt x="838" y="2581"/>
                    <a:pt x="1096" y="2581"/>
                  </a:cubicBezTo>
                  <a:cubicBezTo>
                    <a:pt x="1482" y="2581"/>
                    <a:pt x="1915" y="2344"/>
                    <a:pt x="2299" y="2282"/>
                  </a:cubicBezTo>
                  <a:cubicBezTo>
                    <a:pt x="2552" y="2236"/>
                    <a:pt x="2806" y="2213"/>
                    <a:pt x="3064" y="2213"/>
                  </a:cubicBezTo>
                  <a:cubicBezTo>
                    <a:pt x="3194" y="2213"/>
                    <a:pt x="3324" y="2219"/>
                    <a:pt x="3457" y="2230"/>
                  </a:cubicBezTo>
                  <a:cubicBezTo>
                    <a:pt x="3730" y="2245"/>
                    <a:pt x="4039" y="2324"/>
                    <a:pt x="4314" y="2324"/>
                  </a:cubicBezTo>
                  <a:cubicBezTo>
                    <a:pt x="4665" y="2324"/>
                    <a:pt x="4959" y="2195"/>
                    <a:pt x="5047" y="1643"/>
                  </a:cubicBezTo>
                  <a:cubicBezTo>
                    <a:pt x="5185" y="744"/>
                    <a:pt x="4563" y="277"/>
                    <a:pt x="3768" y="122"/>
                  </a:cubicBezTo>
                  <a:cubicBezTo>
                    <a:pt x="3146" y="35"/>
                    <a:pt x="2523" y="1"/>
                    <a:pt x="1901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0" name="Google Shape;11013;p65">
              <a:extLst>
                <a:ext uri="{FF2B5EF4-FFF2-40B4-BE49-F238E27FC236}">
                  <a16:creationId xmlns:a16="http://schemas.microsoft.com/office/drawing/2014/main" id="{CB8B6784-7F3B-7394-1260-FCCF2BC71206}"/>
                </a:ext>
              </a:extLst>
            </p:cNvPr>
            <p:cNvSpPr/>
            <p:nvPr/>
          </p:nvSpPr>
          <p:spPr>
            <a:xfrm>
              <a:off x="1787825" y="1030550"/>
              <a:ext cx="94250" cy="44825"/>
            </a:xfrm>
            <a:custGeom>
              <a:avLst/>
              <a:gdLst/>
              <a:ahLst/>
              <a:cxnLst/>
              <a:rect l="l" t="t" r="r" b="b"/>
              <a:pathLst>
                <a:path w="3770" h="1793" extrusionOk="0">
                  <a:moveTo>
                    <a:pt x="2929" y="0"/>
                  </a:moveTo>
                  <a:cubicBezTo>
                    <a:pt x="2800" y="0"/>
                    <a:pt x="2676" y="17"/>
                    <a:pt x="2576" y="47"/>
                  </a:cubicBezTo>
                  <a:cubicBezTo>
                    <a:pt x="2412" y="93"/>
                    <a:pt x="2229" y="105"/>
                    <a:pt x="2039" y="105"/>
                  </a:cubicBezTo>
                  <a:cubicBezTo>
                    <a:pt x="1817" y="105"/>
                    <a:pt x="1584" y="88"/>
                    <a:pt x="1360" y="88"/>
                  </a:cubicBezTo>
                  <a:cubicBezTo>
                    <a:pt x="763" y="88"/>
                    <a:pt x="227" y="208"/>
                    <a:pt x="105" y="1084"/>
                  </a:cubicBezTo>
                  <a:cubicBezTo>
                    <a:pt x="1" y="1792"/>
                    <a:pt x="865" y="1688"/>
                    <a:pt x="1504" y="1740"/>
                  </a:cubicBezTo>
                  <a:cubicBezTo>
                    <a:pt x="2265" y="1568"/>
                    <a:pt x="3405" y="1792"/>
                    <a:pt x="3665" y="652"/>
                  </a:cubicBezTo>
                  <a:cubicBezTo>
                    <a:pt x="3769" y="167"/>
                    <a:pt x="3329" y="0"/>
                    <a:pt x="2929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1" name="Google Shape;11014;p65">
              <a:extLst>
                <a:ext uri="{FF2B5EF4-FFF2-40B4-BE49-F238E27FC236}">
                  <a16:creationId xmlns:a16="http://schemas.microsoft.com/office/drawing/2014/main" id="{4E30E518-F95C-60B6-440B-17A565B0A287}"/>
                </a:ext>
              </a:extLst>
            </p:cNvPr>
            <p:cNvSpPr/>
            <p:nvPr/>
          </p:nvSpPr>
          <p:spPr>
            <a:xfrm>
              <a:off x="1870350" y="2639275"/>
              <a:ext cx="59225" cy="44325"/>
            </a:xfrm>
            <a:custGeom>
              <a:avLst/>
              <a:gdLst/>
              <a:ahLst/>
              <a:cxnLst/>
              <a:rect l="l" t="t" r="r" b="b"/>
              <a:pathLst>
                <a:path w="2369" h="1773" extrusionOk="0">
                  <a:moveTo>
                    <a:pt x="922" y="1"/>
                  </a:moveTo>
                  <a:cubicBezTo>
                    <a:pt x="435" y="1"/>
                    <a:pt x="1" y="156"/>
                    <a:pt x="1" y="762"/>
                  </a:cubicBezTo>
                  <a:cubicBezTo>
                    <a:pt x="1" y="1414"/>
                    <a:pt x="337" y="1773"/>
                    <a:pt x="982" y="1773"/>
                  </a:cubicBezTo>
                  <a:cubicBezTo>
                    <a:pt x="1038" y="1773"/>
                    <a:pt x="1097" y="1770"/>
                    <a:pt x="1158" y="1765"/>
                  </a:cubicBezTo>
                  <a:cubicBezTo>
                    <a:pt x="1711" y="1730"/>
                    <a:pt x="2368" y="1678"/>
                    <a:pt x="2299" y="901"/>
                  </a:cubicBezTo>
                  <a:cubicBezTo>
                    <a:pt x="2264" y="175"/>
                    <a:pt x="1642" y="2"/>
                    <a:pt x="1003" y="2"/>
                  </a:cubicBezTo>
                  <a:cubicBezTo>
                    <a:pt x="976" y="1"/>
                    <a:pt x="949" y="1"/>
                    <a:pt x="922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2" name="Google Shape;11015;p65">
              <a:extLst>
                <a:ext uri="{FF2B5EF4-FFF2-40B4-BE49-F238E27FC236}">
                  <a16:creationId xmlns:a16="http://schemas.microsoft.com/office/drawing/2014/main" id="{678AEE18-1BDC-27C6-2789-700ED48B2F84}"/>
                </a:ext>
              </a:extLst>
            </p:cNvPr>
            <p:cNvSpPr/>
            <p:nvPr/>
          </p:nvSpPr>
          <p:spPr>
            <a:xfrm>
              <a:off x="2264800" y="4630125"/>
              <a:ext cx="62675" cy="39225"/>
            </a:xfrm>
            <a:custGeom>
              <a:avLst/>
              <a:gdLst/>
              <a:ahLst/>
              <a:cxnLst/>
              <a:rect l="l" t="t" r="r" b="b"/>
              <a:pathLst>
                <a:path w="2507" h="1569" extrusionOk="0">
                  <a:moveTo>
                    <a:pt x="1176" y="52"/>
                  </a:moveTo>
                  <a:cubicBezTo>
                    <a:pt x="675" y="87"/>
                    <a:pt x="1" y="1"/>
                    <a:pt x="1" y="813"/>
                  </a:cubicBezTo>
                  <a:cubicBezTo>
                    <a:pt x="1" y="1241"/>
                    <a:pt x="341" y="1568"/>
                    <a:pt x="742" y="1568"/>
                  </a:cubicBezTo>
                  <a:cubicBezTo>
                    <a:pt x="811" y="1568"/>
                    <a:pt x="881" y="1559"/>
                    <a:pt x="951" y="1539"/>
                  </a:cubicBezTo>
                  <a:cubicBezTo>
                    <a:pt x="1077" y="1515"/>
                    <a:pt x="1221" y="1513"/>
                    <a:pt x="1369" y="1513"/>
                  </a:cubicBezTo>
                  <a:cubicBezTo>
                    <a:pt x="1403" y="1513"/>
                    <a:pt x="1437" y="1513"/>
                    <a:pt x="1471" y="1513"/>
                  </a:cubicBezTo>
                  <a:cubicBezTo>
                    <a:pt x="1947" y="1513"/>
                    <a:pt x="2434" y="1491"/>
                    <a:pt x="2472" y="830"/>
                  </a:cubicBezTo>
                  <a:cubicBezTo>
                    <a:pt x="2506" y="52"/>
                    <a:pt x="1781" y="87"/>
                    <a:pt x="1176" y="52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3" name="Google Shape;11016;p65">
              <a:extLst>
                <a:ext uri="{FF2B5EF4-FFF2-40B4-BE49-F238E27FC236}">
                  <a16:creationId xmlns:a16="http://schemas.microsoft.com/office/drawing/2014/main" id="{5EC4F4FD-1F8D-3C73-7802-CFAB93FAF883}"/>
                </a:ext>
              </a:extLst>
            </p:cNvPr>
            <p:cNvSpPr/>
            <p:nvPr/>
          </p:nvSpPr>
          <p:spPr>
            <a:xfrm>
              <a:off x="1604225" y="2645350"/>
              <a:ext cx="56175" cy="38275"/>
            </a:xfrm>
            <a:custGeom>
              <a:avLst/>
              <a:gdLst/>
              <a:ahLst/>
              <a:cxnLst/>
              <a:rect l="l" t="t" r="r" b="b"/>
              <a:pathLst>
                <a:path w="2247" h="1531" extrusionOk="0">
                  <a:moveTo>
                    <a:pt x="1003" y="1"/>
                  </a:moveTo>
                  <a:cubicBezTo>
                    <a:pt x="536" y="35"/>
                    <a:pt x="0" y="1"/>
                    <a:pt x="17" y="554"/>
                  </a:cubicBezTo>
                  <a:cubicBezTo>
                    <a:pt x="17" y="1297"/>
                    <a:pt x="640" y="1452"/>
                    <a:pt x="1262" y="1522"/>
                  </a:cubicBezTo>
                  <a:cubicBezTo>
                    <a:pt x="1319" y="1528"/>
                    <a:pt x="1377" y="1531"/>
                    <a:pt x="1434" y="1531"/>
                  </a:cubicBezTo>
                  <a:cubicBezTo>
                    <a:pt x="1857" y="1531"/>
                    <a:pt x="2247" y="1352"/>
                    <a:pt x="2247" y="865"/>
                  </a:cubicBezTo>
                  <a:cubicBezTo>
                    <a:pt x="2247" y="18"/>
                    <a:pt x="1504" y="139"/>
                    <a:pt x="1003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4" name="Google Shape;11017;p65">
              <a:extLst>
                <a:ext uri="{FF2B5EF4-FFF2-40B4-BE49-F238E27FC236}">
                  <a16:creationId xmlns:a16="http://schemas.microsoft.com/office/drawing/2014/main" id="{4F7FB4D7-0523-D63F-F279-95F39507B557}"/>
                </a:ext>
              </a:extLst>
            </p:cNvPr>
            <p:cNvSpPr/>
            <p:nvPr/>
          </p:nvSpPr>
          <p:spPr>
            <a:xfrm>
              <a:off x="7045475" y="3384250"/>
              <a:ext cx="47375" cy="53550"/>
            </a:xfrm>
            <a:custGeom>
              <a:avLst/>
              <a:gdLst/>
              <a:ahLst/>
              <a:cxnLst/>
              <a:rect l="l" t="t" r="r" b="b"/>
              <a:pathLst>
                <a:path w="1895" h="2142" extrusionOk="0">
                  <a:moveTo>
                    <a:pt x="416" y="1"/>
                  </a:moveTo>
                  <a:cubicBezTo>
                    <a:pt x="93" y="1"/>
                    <a:pt x="0" y="338"/>
                    <a:pt x="63" y="618"/>
                  </a:cubicBezTo>
                  <a:cubicBezTo>
                    <a:pt x="201" y="1292"/>
                    <a:pt x="339" y="2035"/>
                    <a:pt x="1203" y="2139"/>
                  </a:cubicBezTo>
                  <a:cubicBezTo>
                    <a:pt x="1224" y="2141"/>
                    <a:pt x="1245" y="2142"/>
                    <a:pt x="1265" y="2142"/>
                  </a:cubicBezTo>
                  <a:cubicBezTo>
                    <a:pt x="1645" y="2142"/>
                    <a:pt x="1895" y="1835"/>
                    <a:pt x="1895" y="1327"/>
                  </a:cubicBezTo>
                  <a:cubicBezTo>
                    <a:pt x="1670" y="705"/>
                    <a:pt x="1273" y="169"/>
                    <a:pt x="529" y="13"/>
                  </a:cubicBezTo>
                  <a:cubicBezTo>
                    <a:pt x="489" y="5"/>
                    <a:pt x="451" y="1"/>
                    <a:pt x="41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5" name="Google Shape;11018;p65">
              <a:extLst>
                <a:ext uri="{FF2B5EF4-FFF2-40B4-BE49-F238E27FC236}">
                  <a16:creationId xmlns:a16="http://schemas.microsoft.com/office/drawing/2014/main" id="{A61C5EB0-63BB-7A02-048D-EC3C77F9EB3D}"/>
                </a:ext>
              </a:extLst>
            </p:cNvPr>
            <p:cNvSpPr/>
            <p:nvPr/>
          </p:nvSpPr>
          <p:spPr>
            <a:xfrm>
              <a:off x="4291500" y="1250400"/>
              <a:ext cx="54900" cy="37900"/>
            </a:xfrm>
            <a:custGeom>
              <a:avLst/>
              <a:gdLst/>
              <a:ahLst/>
              <a:cxnLst/>
              <a:rect l="l" t="t" r="r" b="b"/>
              <a:pathLst>
                <a:path w="2196" h="1516" extrusionOk="0">
                  <a:moveTo>
                    <a:pt x="1013" y="0"/>
                  </a:moveTo>
                  <a:cubicBezTo>
                    <a:pt x="676" y="0"/>
                    <a:pt x="369" y="181"/>
                    <a:pt x="190" y="464"/>
                  </a:cubicBezTo>
                  <a:cubicBezTo>
                    <a:pt x="0" y="706"/>
                    <a:pt x="35" y="1034"/>
                    <a:pt x="259" y="1224"/>
                  </a:cubicBezTo>
                  <a:cubicBezTo>
                    <a:pt x="466" y="1444"/>
                    <a:pt x="678" y="1515"/>
                    <a:pt x="892" y="1515"/>
                  </a:cubicBezTo>
                  <a:cubicBezTo>
                    <a:pt x="1233" y="1515"/>
                    <a:pt x="1579" y="1336"/>
                    <a:pt x="1919" y="1293"/>
                  </a:cubicBezTo>
                  <a:cubicBezTo>
                    <a:pt x="2195" y="567"/>
                    <a:pt x="1901" y="153"/>
                    <a:pt x="1175" y="14"/>
                  </a:cubicBezTo>
                  <a:cubicBezTo>
                    <a:pt x="1121" y="5"/>
                    <a:pt x="1066" y="0"/>
                    <a:pt x="1013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6" name="Google Shape;11019;p65">
              <a:extLst>
                <a:ext uri="{FF2B5EF4-FFF2-40B4-BE49-F238E27FC236}">
                  <a16:creationId xmlns:a16="http://schemas.microsoft.com/office/drawing/2014/main" id="{7269CE76-527C-D10D-A1E3-F03383D98654}"/>
                </a:ext>
              </a:extLst>
            </p:cNvPr>
            <p:cNvSpPr/>
            <p:nvPr/>
          </p:nvSpPr>
          <p:spPr>
            <a:xfrm>
              <a:off x="6323375" y="3314875"/>
              <a:ext cx="50125" cy="37325"/>
            </a:xfrm>
            <a:custGeom>
              <a:avLst/>
              <a:gdLst/>
              <a:ahLst/>
              <a:cxnLst/>
              <a:rect l="l" t="t" r="r" b="b"/>
              <a:pathLst>
                <a:path w="2005" h="1493" extrusionOk="0">
                  <a:moveTo>
                    <a:pt x="754" y="1"/>
                  </a:moveTo>
                  <a:cubicBezTo>
                    <a:pt x="409" y="1"/>
                    <a:pt x="93" y="129"/>
                    <a:pt x="52" y="542"/>
                  </a:cubicBezTo>
                  <a:cubicBezTo>
                    <a:pt x="0" y="1198"/>
                    <a:pt x="536" y="1371"/>
                    <a:pt x="1106" y="1492"/>
                  </a:cubicBezTo>
                  <a:cubicBezTo>
                    <a:pt x="1504" y="1475"/>
                    <a:pt x="1988" y="1440"/>
                    <a:pt x="1988" y="905"/>
                  </a:cubicBezTo>
                  <a:cubicBezTo>
                    <a:pt x="2005" y="317"/>
                    <a:pt x="1504" y="110"/>
                    <a:pt x="1020" y="23"/>
                  </a:cubicBezTo>
                  <a:cubicBezTo>
                    <a:pt x="932" y="9"/>
                    <a:pt x="842" y="1"/>
                    <a:pt x="754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7" name="Google Shape;11020;p65">
              <a:extLst>
                <a:ext uri="{FF2B5EF4-FFF2-40B4-BE49-F238E27FC236}">
                  <a16:creationId xmlns:a16="http://schemas.microsoft.com/office/drawing/2014/main" id="{67C01535-D9E9-4ABC-D65F-FFAABB024851}"/>
                </a:ext>
              </a:extLst>
            </p:cNvPr>
            <p:cNvSpPr/>
            <p:nvPr/>
          </p:nvSpPr>
          <p:spPr>
            <a:xfrm>
              <a:off x="6680225" y="1890750"/>
              <a:ext cx="46075" cy="42200"/>
            </a:xfrm>
            <a:custGeom>
              <a:avLst/>
              <a:gdLst/>
              <a:ahLst/>
              <a:cxnLst/>
              <a:rect l="l" t="t" r="r" b="b"/>
              <a:pathLst>
                <a:path w="1843" h="1688" extrusionOk="0">
                  <a:moveTo>
                    <a:pt x="1376" y="1"/>
                  </a:moveTo>
                  <a:cubicBezTo>
                    <a:pt x="1345" y="1"/>
                    <a:pt x="1312" y="4"/>
                    <a:pt x="1280" y="11"/>
                  </a:cubicBezTo>
                  <a:cubicBezTo>
                    <a:pt x="675" y="29"/>
                    <a:pt x="156" y="478"/>
                    <a:pt x="70" y="1083"/>
                  </a:cubicBezTo>
                  <a:cubicBezTo>
                    <a:pt x="1" y="1446"/>
                    <a:pt x="208" y="1670"/>
                    <a:pt x="675" y="1688"/>
                  </a:cubicBezTo>
                  <a:cubicBezTo>
                    <a:pt x="1193" y="1480"/>
                    <a:pt x="1643" y="1135"/>
                    <a:pt x="1781" y="513"/>
                  </a:cubicBezTo>
                  <a:cubicBezTo>
                    <a:pt x="1843" y="250"/>
                    <a:pt x="1642" y="1"/>
                    <a:pt x="1376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8" name="Google Shape;11021;p65">
              <a:extLst>
                <a:ext uri="{FF2B5EF4-FFF2-40B4-BE49-F238E27FC236}">
                  <a16:creationId xmlns:a16="http://schemas.microsoft.com/office/drawing/2014/main" id="{88061E12-B7CD-1B6A-BE02-F623784BAB0E}"/>
                </a:ext>
              </a:extLst>
            </p:cNvPr>
            <p:cNvSpPr/>
            <p:nvPr/>
          </p:nvSpPr>
          <p:spPr>
            <a:xfrm>
              <a:off x="3550975" y="1955400"/>
              <a:ext cx="53600" cy="126175"/>
            </a:xfrm>
            <a:custGeom>
              <a:avLst/>
              <a:gdLst/>
              <a:ahLst/>
              <a:cxnLst/>
              <a:rect l="l" t="t" r="r" b="b"/>
              <a:pathLst>
                <a:path w="2144" h="5047" extrusionOk="0">
                  <a:moveTo>
                    <a:pt x="1297" y="0"/>
                  </a:moveTo>
                  <a:cubicBezTo>
                    <a:pt x="778" y="0"/>
                    <a:pt x="260" y="363"/>
                    <a:pt x="364" y="795"/>
                  </a:cubicBezTo>
                  <a:cubicBezTo>
                    <a:pt x="640" y="1850"/>
                    <a:pt x="122" y="2731"/>
                    <a:pt x="1" y="3491"/>
                  </a:cubicBezTo>
                  <a:cubicBezTo>
                    <a:pt x="70" y="4338"/>
                    <a:pt x="1" y="5047"/>
                    <a:pt x="951" y="5047"/>
                  </a:cubicBezTo>
                  <a:cubicBezTo>
                    <a:pt x="1781" y="5047"/>
                    <a:pt x="1971" y="4476"/>
                    <a:pt x="2040" y="3785"/>
                  </a:cubicBezTo>
                  <a:cubicBezTo>
                    <a:pt x="2144" y="2748"/>
                    <a:pt x="1642" y="1746"/>
                    <a:pt x="1936" y="692"/>
                  </a:cubicBezTo>
                  <a:cubicBezTo>
                    <a:pt x="2023" y="381"/>
                    <a:pt x="1712" y="0"/>
                    <a:pt x="1297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89" name="Google Shape;11022;p65">
              <a:extLst>
                <a:ext uri="{FF2B5EF4-FFF2-40B4-BE49-F238E27FC236}">
                  <a16:creationId xmlns:a16="http://schemas.microsoft.com/office/drawing/2014/main" id="{EF4CF235-C104-960D-F2DD-E4FFA524D0F6}"/>
                </a:ext>
              </a:extLst>
            </p:cNvPr>
            <p:cNvSpPr/>
            <p:nvPr/>
          </p:nvSpPr>
          <p:spPr>
            <a:xfrm>
              <a:off x="3910000" y="2161475"/>
              <a:ext cx="93775" cy="45400"/>
            </a:xfrm>
            <a:custGeom>
              <a:avLst/>
              <a:gdLst/>
              <a:ahLst/>
              <a:cxnLst/>
              <a:rect l="l" t="t" r="r" b="b"/>
              <a:pathLst>
                <a:path w="3751" h="1816" extrusionOk="0">
                  <a:moveTo>
                    <a:pt x="1383" y="1"/>
                  </a:moveTo>
                  <a:cubicBezTo>
                    <a:pt x="778" y="87"/>
                    <a:pt x="1" y="18"/>
                    <a:pt x="122" y="640"/>
                  </a:cubicBezTo>
                  <a:cubicBezTo>
                    <a:pt x="329" y="1625"/>
                    <a:pt x="1297" y="1815"/>
                    <a:pt x="2195" y="1815"/>
                  </a:cubicBezTo>
                  <a:cubicBezTo>
                    <a:pt x="2835" y="1815"/>
                    <a:pt x="3751" y="1712"/>
                    <a:pt x="3613" y="951"/>
                  </a:cubicBezTo>
                  <a:cubicBezTo>
                    <a:pt x="3466" y="240"/>
                    <a:pt x="2970" y="188"/>
                    <a:pt x="2455" y="188"/>
                  </a:cubicBezTo>
                  <a:cubicBezTo>
                    <a:pt x="2366" y="188"/>
                    <a:pt x="2276" y="189"/>
                    <a:pt x="2187" y="189"/>
                  </a:cubicBezTo>
                  <a:cubicBezTo>
                    <a:pt x="1880" y="189"/>
                    <a:pt x="1588" y="170"/>
                    <a:pt x="1383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90" name="Google Shape;11023;p65">
              <a:extLst>
                <a:ext uri="{FF2B5EF4-FFF2-40B4-BE49-F238E27FC236}">
                  <a16:creationId xmlns:a16="http://schemas.microsoft.com/office/drawing/2014/main" id="{76742F52-6DB5-70E9-5343-88BFD776C642}"/>
                </a:ext>
              </a:extLst>
            </p:cNvPr>
            <p:cNvSpPr/>
            <p:nvPr/>
          </p:nvSpPr>
          <p:spPr>
            <a:xfrm>
              <a:off x="4125600" y="2173875"/>
              <a:ext cx="50575" cy="37600"/>
            </a:xfrm>
            <a:custGeom>
              <a:avLst/>
              <a:gdLst/>
              <a:ahLst/>
              <a:cxnLst/>
              <a:rect l="l" t="t" r="r" b="b"/>
              <a:pathLst>
                <a:path w="2023" h="1504" extrusionOk="0">
                  <a:moveTo>
                    <a:pt x="1294" y="1"/>
                  </a:moveTo>
                  <a:cubicBezTo>
                    <a:pt x="1249" y="1"/>
                    <a:pt x="1204" y="3"/>
                    <a:pt x="1158" y="6"/>
                  </a:cubicBezTo>
                  <a:cubicBezTo>
                    <a:pt x="691" y="144"/>
                    <a:pt x="0" y="109"/>
                    <a:pt x="17" y="904"/>
                  </a:cubicBezTo>
                  <a:cubicBezTo>
                    <a:pt x="17" y="1352"/>
                    <a:pt x="364" y="1503"/>
                    <a:pt x="748" y="1503"/>
                  </a:cubicBezTo>
                  <a:cubicBezTo>
                    <a:pt x="809" y="1503"/>
                    <a:pt x="872" y="1499"/>
                    <a:pt x="933" y="1492"/>
                  </a:cubicBezTo>
                  <a:cubicBezTo>
                    <a:pt x="1486" y="1440"/>
                    <a:pt x="2022" y="1233"/>
                    <a:pt x="2022" y="593"/>
                  </a:cubicBezTo>
                  <a:cubicBezTo>
                    <a:pt x="2022" y="156"/>
                    <a:pt x="1711" y="1"/>
                    <a:pt x="1294" y="1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91" name="Google Shape;11024;p65">
              <a:extLst>
                <a:ext uri="{FF2B5EF4-FFF2-40B4-BE49-F238E27FC236}">
                  <a16:creationId xmlns:a16="http://schemas.microsoft.com/office/drawing/2014/main" id="{AE4D9968-01B6-FD8A-8ADA-0C6D505B9F18}"/>
                </a:ext>
              </a:extLst>
            </p:cNvPr>
            <p:cNvSpPr/>
            <p:nvPr/>
          </p:nvSpPr>
          <p:spPr>
            <a:xfrm>
              <a:off x="3415775" y="2038325"/>
              <a:ext cx="44925" cy="38175"/>
            </a:xfrm>
            <a:custGeom>
              <a:avLst/>
              <a:gdLst/>
              <a:ahLst/>
              <a:cxnLst/>
              <a:rect l="l" t="t" r="r" b="b"/>
              <a:pathLst>
                <a:path w="1797" h="1527" extrusionOk="0">
                  <a:moveTo>
                    <a:pt x="812" y="0"/>
                  </a:moveTo>
                  <a:cubicBezTo>
                    <a:pt x="383" y="0"/>
                    <a:pt x="1" y="211"/>
                    <a:pt x="34" y="710"/>
                  </a:cubicBezTo>
                  <a:cubicBezTo>
                    <a:pt x="34" y="1164"/>
                    <a:pt x="400" y="1527"/>
                    <a:pt x="845" y="1527"/>
                  </a:cubicBezTo>
                  <a:cubicBezTo>
                    <a:pt x="874" y="1527"/>
                    <a:pt x="903" y="1525"/>
                    <a:pt x="933" y="1522"/>
                  </a:cubicBezTo>
                  <a:cubicBezTo>
                    <a:pt x="1382" y="1522"/>
                    <a:pt x="1745" y="1315"/>
                    <a:pt x="1797" y="796"/>
                  </a:cubicBezTo>
                  <a:cubicBezTo>
                    <a:pt x="1745" y="226"/>
                    <a:pt x="1330" y="19"/>
                    <a:pt x="864" y="1"/>
                  </a:cubicBezTo>
                  <a:cubicBezTo>
                    <a:pt x="847" y="1"/>
                    <a:pt x="829" y="0"/>
                    <a:pt x="812" y="0"/>
                  </a:cubicBezTo>
                  <a:close/>
                </a:path>
              </a:pathLst>
            </a:custGeom>
            <a:solidFill>
              <a:srgbClr val="A5B7C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1892" name="Google Shape;11025;p65">
            <a:extLst>
              <a:ext uri="{FF2B5EF4-FFF2-40B4-BE49-F238E27FC236}">
                <a16:creationId xmlns:a16="http://schemas.microsoft.com/office/drawing/2014/main" id="{7699ED80-BC4A-5B3D-CA15-EDDD84434D18}"/>
              </a:ext>
            </a:extLst>
          </p:cNvPr>
          <p:cNvGrpSpPr/>
          <p:nvPr/>
        </p:nvGrpSpPr>
        <p:grpSpPr>
          <a:xfrm>
            <a:off x="10229314" y="4335100"/>
            <a:ext cx="138975" cy="427120"/>
            <a:chOff x="7564426" y="3224343"/>
            <a:chExt cx="119985" cy="368801"/>
          </a:xfrm>
        </p:grpSpPr>
        <p:sp>
          <p:nvSpPr>
            <p:cNvPr id="1893" name="Google Shape;11026;p65">
              <a:extLst>
                <a:ext uri="{FF2B5EF4-FFF2-40B4-BE49-F238E27FC236}">
                  <a16:creationId xmlns:a16="http://schemas.microsoft.com/office/drawing/2014/main" id="{A9F3C3A2-E74E-6402-A251-7812FE35F732}"/>
                </a:ext>
              </a:extLst>
            </p:cNvPr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94" name="Google Shape;11027;p65">
              <a:extLst>
                <a:ext uri="{FF2B5EF4-FFF2-40B4-BE49-F238E27FC236}">
                  <a16:creationId xmlns:a16="http://schemas.microsoft.com/office/drawing/2014/main" id="{CE9BA98A-29A1-1D0E-2DE0-EFF93CC9E013}"/>
                </a:ext>
              </a:extLst>
            </p:cNvPr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1895" name="Google Shape;11028;p65">
            <a:extLst>
              <a:ext uri="{FF2B5EF4-FFF2-40B4-BE49-F238E27FC236}">
                <a16:creationId xmlns:a16="http://schemas.microsoft.com/office/drawing/2014/main" id="{5C98B4AB-0F55-B184-B64F-E25AF292A569}"/>
              </a:ext>
            </a:extLst>
          </p:cNvPr>
          <p:cNvGrpSpPr/>
          <p:nvPr/>
        </p:nvGrpSpPr>
        <p:grpSpPr>
          <a:xfrm>
            <a:off x="9828631" y="4327236"/>
            <a:ext cx="252652" cy="442843"/>
            <a:chOff x="8370831" y="3202002"/>
            <a:chExt cx="218129" cy="382376"/>
          </a:xfrm>
        </p:grpSpPr>
        <p:sp>
          <p:nvSpPr>
            <p:cNvPr id="1896" name="Google Shape;11029;p65">
              <a:extLst>
                <a:ext uri="{FF2B5EF4-FFF2-40B4-BE49-F238E27FC236}">
                  <a16:creationId xmlns:a16="http://schemas.microsoft.com/office/drawing/2014/main" id="{8D1C670A-4F0D-1BDF-024B-7482D1D07F3B}"/>
                </a:ext>
              </a:extLst>
            </p:cNvPr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solidFill>
              <a:srgbClr val="92A9B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897" name="Google Shape;11030;p65">
              <a:extLst>
                <a:ext uri="{FF2B5EF4-FFF2-40B4-BE49-F238E27FC236}">
                  <a16:creationId xmlns:a16="http://schemas.microsoft.com/office/drawing/2014/main" id="{F50C65E8-9BC2-837A-A91C-0F6DD9422393}"/>
                </a:ext>
              </a:extLst>
            </p:cNvPr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1898" name="Google Shape;11031;p65">
            <a:extLst>
              <a:ext uri="{FF2B5EF4-FFF2-40B4-BE49-F238E27FC236}">
                <a16:creationId xmlns:a16="http://schemas.microsoft.com/office/drawing/2014/main" id="{13A9534B-F9EA-A2FA-AEEF-690E123E1339}"/>
              </a:ext>
            </a:extLst>
          </p:cNvPr>
          <p:cNvGrpSpPr/>
          <p:nvPr/>
        </p:nvGrpSpPr>
        <p:grpSpPr>
          <a:xfrm>
            <a:off x="10793151" y="4875412"/>
            <a:ext cx="412572" cy="356000"/>
            <a:chOff x="6742064" y="3750480"/>
            <a:chExt cx="399315" cy="344560"/>
          </a:xfrm>
        </p:grpSpPr>
        <p:sp>
          <p:nvSpPr>
            <p:cNvPr id="1899" name="Google Shape;11032;p65">
              <a:extLst>
                <a:ext uri="{FF2B5EF4-FFF2-40B4-BE49-F238E27FC236}">
                  <a16:creationId xmlns:a16="http://schemas.microsoft.com/office/drawing/2014/main" id="{4165DEA6-768B-8AEF-1C47-548873326866}"/>
                </a:ext>
              </a:extLst>
            </p:cNvPr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solidFill>
              <a:srgbClr val="869FB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00" name="Google Shape;11033;p65">
              <a:extLst>
                <a:ext uri="{FF2B5EF4-FFF2-40B4-BE49-F238E27FC236}">
                  <a16:creationId xmlns:a16="http://schemas.microsoft.com/office/drawing/2014/main" id="{312A7D6B-B01B-2572-A3FB-90B69695350E}"/>
                </a:ext>
              </a:extLst>
            </p:cNvPr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1901" name="Google Shape;11034;p65">
            <a:extLst>
              <a:ext uri="{FF2B5EF4-FFF2-40B4-BE49-F238E27FC236}">
                <a16:creationId xmlns:a16="http://schemas.microsoft.com/office/drawing/2014/main" id="{09B3C1A9-294E-79F9-B867-2B225ADCC171}"/>
              </a:ext>
            </a:extLst>
          </p:cNvPr>
          <p:cNvGrpSpPr/>
          <p:nvPr/>
        </p:nvGrpSpPr>
        <p:grpSpPr>
          <a:xfrm>
            <a:off x="10178510" y="5343475"/>
            <a:ext cx="240583" cy="375477"/>
            <a:chOff x="7248525" y="3739696"/>
            <a:chExt cx="230531" cy="359790"/>
          </a:xfrm>
        </p:grpSpPr>
        <p:sp>
          <p:nvSpPr>
            <p:cNvPr id="1902" name="Google Shape;11035;p65">
              <a:extLst>
                <a:ext uri="{FF2B5EF4-FFF2-40B4-BE49-F238E27FC236}">
                  <a16:creationId xmlns:a16="http://schemas.microsoft.com/office/drawing/2014/main" id="{12CEFFD5-1227-6B9B-B370-2DDBD0FD7594}"/>
                </a:ext>
              </a:extLst>
            </p:cNvPr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03" name="Google Shape;11036;p65">
              <a:extLst>
                <a:ext uri="{FF2B5EF4-FFF2-40B4-BE49-F238E27FC236}">
                  <a16:creationId xmlns:a16="http://schemas.microsoft.com/office/drawing/2014/main" id="{067046D2-4381-4185-77E3-43AD671F2A20}"/>
                </a:ext>
              </a:extLst>
            </p:cNvPr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1904" name="Google Shape;11037;p65">
            <a:extLst>
              <a:ext uri="{FF2B5EF4-FFF2-40B4-BE49-F238E27FC236}">
                <a16:creationId xmlns:a16="http://schemas.microsoft.com/office/drawing/2014/main" id="{C88245FC-438A-8CDE-EA1C-B803DDF1D8AE}"/>
              </a:ext>
            </a:extLst>
          </p:cNvPr>
          <p:cNvGrpSpPr/>
          <p:nvPr/>
        </p:nvGrpSpPr>
        <p:grpSpPr>
          <a:xfrm>
            <a:off x="10506401" y="4867774"/>
            <a:ext cx="217195" cy="371613"/>
            <a:chOff x="7601242" y="3729267"/>
            <a:chExt cx="222566" cy="380803"/>
          </a:xfrm>
        </p:grpSpPr>
        <p:sp>
          <p:nvSpPr>
            <p:cNvPr id="1905" name="Google Shape;11038;p65">
              <a:extLst>
                <a:ext uri="{FF2B5EF4-FFF2-40B4-BE49-F238E27FC236}">
                  <a16:creationId xmlns:a16="http://schemas.microsoft.com/office/drawing/2014/main" id="{A215BF6D-A90B-EB91-14BB-493F20DE712A}"/>
                </a:ext>
              </a:extLst>
            </p:cNvPr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solidFill>
              <a:srgbClr val="667E9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06" name="Google Shape;11039;p65">
              <a:extLst>
                <a:ext uri="{FF2B5EF4-FFF2-40B4-BE49-F238E27FC236}">
                  <a16:creationId xmlns:a16="http://schemas.microsoft.com/office/drawing/2014/main" id="{B1131960-1C80-2C71-26BC-650DCA04FF7E}"/>
                </a:ext>
              </a:extLst>
            </p:cNvPr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sp>
        <p:nvSpPr>
          <p:cNvPr id="1907" name="Google Shape;11040;p65">
            <a:extLst>
              <a:ext uri="{FF2B5EF4-FFF2-40B4-BE49-F238E27FC236}">
                <a16:creationId xmlns:a16="http://schemas.microsoft.com/office/drawing/2014/main" id="{4C8CEEBF-CA67-233E-E138-25F65D5F9E48}"/>
              </a:ext>
            </a:extLst>
          </p:cNvPr>
          <p:cNvSpPr/>
          <p:nvPr/>
        </p:nvSpPr>
        <p:spPr>
          <a:xfrm>
            <a:off x="10461103" y="4350917"/>
            <a:ext cx="307792" cy="395433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solidFill>
            <a:srgbClr val="A5B7C6">
              <a:alpha val="7232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1908" name="Google Shape;11041;p65">
            <a:extLst>
              <a:ext uri="{FF2B5EF4-FFF2-40B4-BE49-F238E27FC236}">
                <a16:creationId xmlns:a16="http://schemas.microsoft.com/office/drawing/2014/main" id="{7483BEE5-30F1-92F1-C099-946ED7E593B6}"/>
              </a:ext>
            </a:extLst>
          </p:cNvPr>
          <p:cNvGrpSpPr/>
          <p:nvPr/>
        </p:nvGrpSpPr>
        <p:grpSpPr>
          <a:xfrm>
            <a:off x="9825929" y="4869295"/>
            <a:ext cx="258057" cy="367987"/>
            <a:chOff x="8304647" y="3738687"/>
            <a:chExt cx="225076" cy="320956"/>
          </a:xfrm>
        </p:grpSpPr>
        <p:sp>
          <p:nvSpPr>
            <p:cNvPr id="1909" name="Google Shape;11042;p65">
              <a:extLst>
                <a:ext uri="{FF2B5EF4-FFF2-40B4-BE49-F238E27FC236}">
                  <a16:creationId xmlns:a16="http://schemas.microsoft.com/office/drawing/2014/main" id="{CCBC59E3-10E0-2449-EEE8-B055FAE44D56}"/>
                </a:ext>
              </a:extLst>
            </p:cNvPr>
            <p:cNvSpPr/>
            <p:nvPr/>
          </p:nvSpPr>
          <p:spPr>
            <a:xfrm>
              <a:off x="8335725" y="3738687"/>
              <a:ext cx="12248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solidFill>
              <a:srgbClr val="E1E7E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10" name="Google Shape;11043;p65">
              <a:extLst>
                <a:ext uri="{FF2B5EF4-FFF2-40B4-BE49-F238E27FC236}">
                  <a16:creationId xmlns:a16="http://schemas.microsoft.com/office/drawing/2014/main" id="{30D89170-451F-2049-536E-1EAF89D3743E}"/>
                </a:ext>
              </a:extLst>
            </p:cNvPr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solidFill>
              <a:srgbClr val="E1E7E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11" name="Google Shape;11044;p65">
              <a:extLst>
                <a:ext uri="{FF2B5EF4-FFF2-40B4-BE49-F238E27FC236}">
                  <a16:creationId xmlns:a16="http://schemas.microsoft.com/office/drawing/2014/main" id="{AF36D120-2872-5279-F35F-184AE40C9734}"/>
                </a:ext>
              </a:extLst>
            </p:cNvPr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solidFill>
              <a:srgbClr val="E1E7EC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grpSp>
        <p:nvGrpSpPr>
          <p:cNvPr id="1912" name="Google Shape;11045;p65">
            <a:extLst>
              <a:ext uri="{FF2B5EF4-FFF2-40B4-BE49-F238E27FC236}">
                <a16:creationId xmlns:a16="http://schemas.microsoft.com/office/drawing/2014/main" id="{4299D2F2-45E5-E785-F7B5-B1B5D948FD17}"/>
              </a:ext>
            </a:extLst>
          </p:cNvPr>
          <p:cNvGrpSpPr/>
          <p:nvPr/>
        </p:nvGrpSpPr>
        <p:grpSpPr>
          <a:xfrm>
            <a:off x="10189252" y="4869295"/>
            <a:ext cx="237989" cy="367987"/>
            <a:chOff x="8615101" y="3738687"/>
            <a:chExt cx="207573" cy="320956"/>
          </a:xfrm>
        </p:grpSpPr>
        <p:sp>
          <p:nvSpPr>
            <p:cNvPr id="1913" name="Google Shape;11046;p65">
              <a:extLst>
                <a:ext uri="{FF2B5EF4-FFF2-40B4-BE49-F238E27FC236}">
                  <a16:creationId xmlns:a16="http://schemas.microsoft.com/office/drawing/2014/main" id="{1CB4388C-E470-00E2-EAB0-63F99B3796E2}"/>
                </a:ext>
              </a:extLst>
            </p:cNvPr>
            <p:cNvSpPr/>
            <p:nvPr/>
          </p:nvSpPr>
          <p:spPr>
            <a:xfrm>
              <a:off x="8646134" y="3738687"/>
              <a:ext cx="12248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14" name="Google Shape;11047;p65">
              <a:extLst>
                <a:ext uri="{FF2B5EF4-FFF2-40B4-BE49-F238E27FC236}">
                  <a16:creationId xmlns:a16="http://schemas.microsoft.com/office/drawing/2014/main" id="{F1B93122-0FE3-2336-0189-7A148F766438}"/>
                </a:ext>
              </a:extLst>
            </p:cNvPr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15" name="Google Shape;11048;p65">
              <a:extLst>
                <a:ext uri="{FF2B5EF4-FFF2-40B4-BE49-F238E27FC236}">
                  <a16:creationId xmlns:a16="http://schemas.microsoft.com/office/drawing/2014/main" id="{B470593D-F091-B943-BD7A-7065FC51391E}"/>
                </a:ext>
              </a:extLst>
            </p:cNvPr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sp>
        <p:nvSpPr>
          <p:cNvPr id="1916" name="Google Shape;11049;p65">
            <a:extLst>
              <a:ext uri="{FF2B5EF4-FFF2-40B4-BE49-F238E27FC236}">
                <a16:creationId xmlns:a16="http://schemas.microsoft.com/office/drawing/2014/main" id="{CE44EC33-E004-153A-ACCF-DA84E4D5F7CE}"/>
              </a:ext>
            </a:extLst>
          </p:cNvPr>
          <p:cNvSpPr/>
          <p:nvPr/>
        </p:nvSpPr>
        <p:spPr>
          <a:xfrm>
            <a:off x="10851173" y="4322472"/>
            <a:ext cx="296529" cy="384925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solidFill>
            <a:srgbClr val="E3E9ED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1917" name="Google Shape;11050;p65">
            <a:extLst>
              <a:ext uri="{FF2B5EF4-FFF2-40B4-BE49-F238E27FC236}">
                <a16:creationId xmlns:a16="http://schemas.microsoft.com/office/drawing/2014/main" id="{72D674EB-AE38-0034-620C-61E59A8C6F09}"/>
              </a:ext>
            </a:extLst>
          </p:cNvPr>
          <p:cNvGrpSpPr/>
          <p:nvPr/>
        </p:nvGrpSpPr>
        <p:grpSpPr>
          <a:xfrm>
            <a:off x="8048859" y="5031279"/>
            <a:ext cx="743560" cy="681711"/>
            <a:chOff x="6015419" y="3716859"/>
            <a:chExt cx="557671" cy="511283"/>
          </a:xfrm>
        </p:grpSpPr>
        <p:sp>
          <p:nvSpPr>
            <p:cNvPr id="1918" name="Google Shape;11051;p65">
              <a:extLst>
                <a:ext uri="{FF2B5EF4-FFF2-40B4-BE49-F238E27FC236}">
                  <a16:creationId xmlns:a16="http://schemas.microsoft.com/office/drawing/2014/main" id="{EC8231F0-C23E-8C47-D774-542D196AD7F1}"/>
                </a:ext>
              </a:extLst>
            </p:cNvPr>
            <p:cNvSpPr/>
            <p:nvPr/>
          </p:nvSpPr>
          <p:spPr>
            <a:xfrm>
              <a:off x="6015419" y="3716859"/>
              <a:ext cx="557671" cy="511283"/>
            </a:xfrm>
            <a:custGeom>
              <a:avLst/>
              <a:gdLst/>
              <a:ahLst/>
              <a:cxnLst/>
              <a:rect l="l" t="t" r="r" b="b"/>
              <a:pathLst>
                <a:path w="96650" h="88649" extrusionOk="0">
                  <a:moveTo>
                    <a:pt x="48692" y="0"/>
                  </a:moveTo>
                  <a:cubicBezTo>
                    <a:pt x="46526" y="0"/>
                    <a:pt x="44332" y="152"/>
                    <a:pt x="42124" y="465"/>
                  </a:cubicBezTo>
                  <a:cubicBezTo>
                    <a:pt x="17336" y="3960"/>
                    <a:pt x="1" y="26441"/>
                    <a:pt x="3443" y="50679"/>
                  </a:cubicBezTo>
                  <a:cubicBezTo>
                    <a:pt x="6564" y="72751"/>
                    <a:pt x="25836" y="88649"/>
                    <a:pt x="48004" y="88649"/>
                  </a:cubicBezTo>
                  <a:cubicBezTo>
                    <a:pt x="50160" y="88649"/>
                    <a:pt x="52345" y="88498"/>
                    <a:pt x="54544" y="88188"/>
                  </a:cubicBezTo>
                  <a:cubicBezTo>
                    <a:pt x="79332" y="84675"/>
                    <a:pt x="96649" y="62194"/>
                    <a:pt x="93225" y="37975"/>
                  </a:cubicBezTo>
                  <a:cubicBezTo>
                    <a:pt x="90105" y="15895"/>
                    <a:pt x="70848" y="0"/>
                    <a:pt x="48692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1919" name="Google Shape;11052;p65">
              <a:extLst>
                <a:ext uri="{FF2B5EF4-FFF2-40B4-BE49-F238E27FC236}">
                  <a16:creationId xmlns:a16="http://schemas.microsoft.com/office/drawing/2014/main" id="{B02B5DFB-60EA-8472-9162-2DFE51694CFF}"/>
                </a:ext>
              </a:extLst>
            </p:cNvPr>
            <p:cNvGrpSpPr/>
            <p:nvPr/>
          </p:nvGrpSpPr>
          <p:grpSpPr>
            <a:xfrm>
              <a:off x="6036094" y="3716980"/>
              <a:ext cx="529860" cy="510468"/>
              <a:chOff x="6036094" y="3716980"/>
              <a:chExt cx="529860" cy="510468"/>
            </a:xfrm>
          </p:grpSpPr>
          <p:sp>
            <p:nvSpPr>
              <p:cNvPr id="1920" name="Google Shape;11053;p65">
                <a:extLst>
                  <a:ext uri="{FF2B5EF4-FFF2-40B4-BE49-F238E27FC236}">
                    <a16:creationId xmlns:a16="http://schemas.microsoft.com/office/drawing/2014/main" id="{F0FA7BB3-9B3C-12D3-6F34-A3B220AFFB4E}"/>
                  </a:ext>
                </a:extLst>
              </p:cNvPr>
              <p:cNvSpPr/>
              <p:nvPr/>
            </p:nvSpPr>
            <p:spPr>
              <a:xfrm>
                <a:off x="6220140" y="3716980"/>
                <a:ext cx="80065" cy="64273"/>
              </a:xfrm>
              <a:custGeom>
                <a:avLst/>
                <a:gdLst/>
                <a:ahLst/>
                <a:cxnLst/>
                <a:rect l="l" t="t" r="r" b="b"/>
                <a:pathLst>
                  <a:path w="13876" h="11144" extrusionOk="0">
                    <a:moveTo>
                      <a:pt x="11055" y="0"/>
                    </a:moveTo>
                    <a:cubicBezTo>
                      <a:pt x="9600" y="71"/>
                      <a:pt x="8127" y="213"/>
                      <a:pt x="6654" y="426"/>
                    </a:cubicBezTo>
                    <a:cubicBezTo>
                      <a:pt x="4401" y="746"/>
                      <a:pt x="2165" y="1225"/>
                      <a:pt x="1" y="1863"/>
                    </a:cubicBezTo>
                    <a:lnTo>
                      <a:pt x="54" y="2307"/>
                    </a:lnTo>
                    <a:lnTo>
                      <a:pt x="2165" y="2396"/>
                    </a:lnTo>
                    <a:lnTo>
                      <a:pt x="1739" y="4117"/>
                    </a:lnTo>
                    <a:lnTo>
                      <a:pt x="3194" y="4401"/>
                    </a:lnTo>
                    <a:lnTo>
                      <a:pt x="1828" y="5146"/>
                    </a:lnTo>
                    <a:cubicBezTo>
                      <a:pt x="2893" y="6015"/>
                      <a:pt x="1207" y="7417"/>
                      <a:pt x="2538" y="8393"/>
                    </a:cubicBezTo>
                    <a:cubicBezTo>
                      <a:pt x="3088" y="8783"/>
                      <a:pt x="3088" y="9937"/>
                      <a:pt x="3301" y="10611"/>
                    </a:cubicBezTo>
                    <a:lnTo>
                      <a:pt x="6335" y="11143"/>
                    </a:lnTo>
                    <a:cubicBezTo>
                      <a:pt x="6583" y="10611"/>
                      <a:pt x="6832" y="10061"/>
                      <a:pt x="7098" y="9493"/>
                    </a:cubicBezTo>
                    <a:cubicBezTo>
                      <a:pt x="7670" y="8245"/>
                      <a:pt x="7649" y="6456"/>
                      <a:pt x="9632" y="6456"/>
                    </a:cubicBezTo>
                    <a:cubicBezTo>
                      <a:pt x="9679" y="6456"/>
                      <a:pt x="9728" y="6457"/>
                      <a:pt x="9777" y="6459"/>
                    </a:cubicBezTo>
                    <a:cubicBezTo>
                      <a:pt x="10380" y="5217"/>
                      <a:pt x="11410" y="4791"/>
                      <a:pt x="12723" y="4685"/>
                    </a:cubicBezTo>
                    <a:cubicBezTo>
                      <a:pt x="13113" y="4649"/>
                      <a:pt x="13450" y="3939"/>
                      <a:pt x="13876" y="3443"/>
                    </a:cubicBezTo>
                    <a:cubicBezTo>
                      <a:pt x="13166" y="2378"/>
                      <a:pt x="12687" y="1012"/>
                      <a:pt x="11729" y="391"/>
                    </a:cubicBezTo>
                    <a:cubicBezTo>
                      <a:pt x="11516" y="249"/>
                      <a:pt x="11285" y="125"/>
                      <a:pt x="1105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1" name="Google Shape;11054;p65">
                <a:extLst>
                  <a:ext uri="{FF2B5EF4-FFF2-40B4-BE49-F238E27FC236}">
                    <a16:creationId xmlns:a16="http://schemas.microsoft.com/office/drawing/2014/main" id="{78AA6EE6-A793-7094-CE52-5BFF6C33D4AC}"/>
                  </a:ext>
                </a:extLst>
              </p:cNvPr>
              <p:cNvSpPr/>
              <p:nvPr/>
            </p:nvSpPr>
            <p:spPr>
              <a:xfrm>
                <a:off x="6368562" y="3771936"/>
                <a:ext cx="39115" cy="36745"/>
              </a:xfrm>
              <a:custGeom>
                <a:avLst/>
                <a:gdLst/>
                <a:ahLst/>
                <a:cxnLst/>
                <a:rect l="l" t="t" r="r" b="b"/>
                <a:pathLst>
                  <a:path w="6779" h="6371" extrusionOk="0">
                    <a:moveTo>
                      <a:pt x="870" y="1"/>
                    </a:moveTo>
                    <a:lnTo>
                      <a:pt x="1" y="1154"/>
                    </a:lnTo>
                    <a:lnTo>
                      <a:pt x="1509" y="2698"/>
                    </a:lnTo>
                    <a:lnTo>
                      <a:pt x="2272" y="3283"/>
                    </a:lnTo>
                    <a:cubicBezTo>
                      <a:pt x="3567" y="3922"/>
                      <a:pt x="3301" y="5625"/>
                      <a:pt x="4436" y="6370"/>
                    </a:cubicBezTo>
                    <a:cubicBezTo>
                      <a:pt x="4880" y="5341"/>
                      <a:pt x="5838" y="5554"/>
                      <a:pt x="6654" y="5377"/>
                    </a:cubicBezTo>
                    <a:cubicBezTo>
                      <a:pt x="6778" y="4117"/>
                      <a:pt x="5732" y="3549"/>
                      <a:pt x="4933" y="3265"/>
                    </a:cubicBezTo>
                    <a:cubicBezTo>
                      <a:pt x="3762" y="2875"/>
                      <a:pt x="2928" y="2360"/>
                      <a:pt x="2325" y="1278"/>
                    </a:cubicBezTo>
                    <a:cubicBezTo>
                      <a:pt x="2023" y="746"/>
                      <a:pt x="1367" y="426"/>
                      <a:pt x="870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2" name="Google Shape;11055;p65">
                <a:extLst>
                  <a:ext uri="{FF2B5EF4-FFF2-40B4-BE49-F238E27FC236}">
                    <a16:creationId xmlns:a16="http://schemas.microsoft.com/office/drawing/2014/main" id="{82CA0E27-9C45-AA9B-CBF9-6794434C2363}"/>
                  </a:ext>
                </a:extLst>
              </p:cNvPr>
              <p:cNvSpPr/>
              <p:nvPr/>
            </p:nvSpPr>
            <p:spPr>
              <a:xfrm>
                <a:off x="6304793" y="3747169"/>
                <a:ext cx="25088" cy="13311"/>
              </a:xfrm>
              <a:custGeom>
                <a:avLst/>
                <a:gdLst/>
                <a:ahLst/>
                <a:cxnLst/>
                <a:rect l="l" t="t" r="r" b="b"/>
                <a:pathLst>
                  <a:path w="4348" h="2308" extrusionOk="0">
                    <a:moveTo>
                      <a:pt x="3957" y="1"/>
                    </a:moveTo>
                    <a:cubicBezTo>
                      <a:pt x="2680" y="355"/>
                      <a:pt x="1296" y="143"/>
                      <a:pt x="0" y="906"/>
                    </a:cubicBezTo>
                    <a:cubicBezTo>
                      <a:pt x="728" y="1651"/>
                      <a:pt x="728" y="1615"/>
                      <a:pt x="1544" y="1757"/>
                    </a:cubicBezTo>
                    <a:cubicBezTo>
                      <a:pt x="2147" y="1917"/>
                      <a:pt x="2733" y="2094"/>
                      <a:pt x="3318" y="2307"/>
                    </a:cubicBezTo>
                    <a:lnTo>
                      <a:pt x="4348" y="639"/>
                    </a:lnTo>
                    <a:lnTo>
                      <a:pt x="3957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3" name="Google Shape;11056;p65">
                <a:extLst>
                  <a:ext uri="{FF2B5EF4-FFF2-40B4-BE49-F238E27FC236}">
                    <a16:creationId xmlns:a16="http://schemas.microsoft.com/office/drawing/2014/main" id="{9D8A5329-3D30-D215-06DF-734B0FBFCA61}"/>
                  </a:ext>
                </a:extLst>
              </p:cNvPr>
              <p:cNvSpPr/>
              <p:nvPr/>
            </p:nvSpPr>
            <p:spPr>
              <a:xfrm>
                <a:off x="6365182" y="3787492"/>
                <a:ext cx="18025" cy="16582"/>
              </a:xfrm>
              <a:custGeom>
                <a:avLst/>
                <a:gdLst/>
                <a:ahLst/>
                <a:cxnLst/>
                <a:rect l="l" t="t" r="r" b="b"/>
                <a:pathLst>
                  <a:path w="3124" h="2875" extrusionOk="0">
                    <a:moveTo>
                      <a:pt x="2095" y="1"/>
                    </a:moveTo>
                    <a:lnTo>
                      <a:pt x="1" y="1030"/>
                    </a:lnTo>
                    <a:cubicBezTo>
                      <a:pt x="498" y="1455"/>
                      <a:pt x="782" y="1615"/>
                      <a:pt x="941" y="1864"/>
                    </a:cubicBezTo>
                    <a:cubicBezTo>
                      <a:pt x="1119" y="2112"/>
                      <a:pt x="1154" y="2449"/>
                      <a:pt x="1279" y="2875"/>
                    </a:cubicBezTo>
                    <a:lnTo>
                      <a:pt x="3124" y="2467"/>
                    </a:lnTo>
                    <a:lnTo>
                      <a:pt x="2858" y="586"/>
                    </a:lnTo>
                    <a:lnTo>
                      <a:pt x="2095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4" name="Google Shape;11057;p65">
                <a:extLst>
                  <a:ext uri="{FF2B5EF4-FFF2-40B4-BE49-F238E27FC236}">
                    <a16:creationId xmlns:a16="http://schemas.microsoft.com/office/drawing/2014/main" id="{3F3CCFC1-B3DA-E817-5322-10020EDAAB85}"/>
                  </a:ext>
                </a:extLst>
              </p:cNvPr>
              <p:cNvSpPr/>
              <p:nvPr/>
            </p:nvSpPr>
            <p:spPr>
              <a:xfrm>
                <a:off x="6367131" y="3727108"/>
                <a:ext cx="198823" cy="438001"/>
              </a:xfrm>
              <a:custGeom>
                <a:avLst/>
                <a:gdLst/>
                <a:ahLst/>
                <a:cxnLst/>
                <a:rect l="l" t="t" r="r" b="b"/>
                <a:pathLst>
                  <a:path w="34458" h="75943" extrusionOk="0">
                    <a:moveTo>
                      <a:pt x="8836" y="6211"/>
                    </a:moveTo>
                    <a:cubicBezTo>
                      <a:pt x="10061" y="6371"/>
                      <a:pt x="10061" y="6371"/>
                      <a:pt x="12438" y="9352"/>
                    </a:cubicBezTo>
                    <a:lnTo>
                      <a:pt x="10930" y="10416"/>
                    </a:lnTo>
                    <a:cubicBezTo>
                      <a:pt x="10646" y="10044"/>
                      <a:pt x="9244" y="10079"/>
                      <a:pt x="10309" y="8997"/>
                    </a:cubicBezTo>
                    <a:lnTo>
                      <a:pt x="8836" y="6211"/>
                    </a:lnTo>
                    <a:close/>
                    <a:moveTo>
                      <a:pt x="13237" y="17585"/>
                    </a:moveTo>
                    <a:cubicBezTo>
                      <a:pt x="14213" y="18330"/>
                      <a:pt x="14976" y="19235"/>
                      <a:pt x="15951" y="19572"/>
                    </a:cubicBezTo>
                    <a:cubicBezTo>
                      <a:pt x="17034" y="19945"/>
                      <a:pt x="17548" y="20761"/>
                      <a:pt x="18294" y="21506"/>
                    </a:cubicBezTo>
                    <a:lnTo>
                      <a:pt x="16892" y="22216"/>
                    </a:lnTo>
                    <a:lnTo>
                      <a:pt x="19092" y="23440"/>
                    </a:lnTo>
                    <a:lnTo>
                      <a:pt x="18826" y="19359"/>
                    </a:lnTo>
                    <a:lnTo>
                      <a:pt x="18826" y="19359"/>
                    </a:lnTo>
                    <a:cubicBezTo>
                      <a:pt x="19500" y="20264"/>
                      <a:pt x="19890" y="20867"/>
                      <a:pt x="20352" y="21382"/>
                    </a:cubicBezTo>
                    <a:cubicBezTo>
                      <a:pt x="20813" y="21914"/>
                      <a:pt x="21328" y="22340"/>
                      <a:pt x="22091" y="23050"/>
                    </a:cubicBezTo>
                    <a:lnTo>
                      <a:pt x="22587" y="21346"/>
                    </a:lnTo>
                    <a:lnTo>
                      <a:pt x="25267" y="23742"/>
                    </a:lnTo>
                    <a:lnTo>
                      <a:pt x="26402" y="22713"/>
                    </a:lnTo>
                    <a:lnTo>
                      <a:pt x="27999" y="26261"/>
                    </a:lnTo>
                    <a:cubicBezTo>
                      <a:pt x="27384" y="26597"/>
                      <a:pt x="26823" y="26720"/>
                      <a:pt x="26292" y="26720"/>
                    </a:cubicBezTo>
                    <a:cubicBezTo>
                      <a:pt x="24969" y="26720"/>
                      <a:pt x="23833" y="25957"/>
                      <a:pt x="22516" y="25818"/>
                    </a:cubicBezTo>
                    <a:cubicBezTo>
                      <a:pt x="22516" y="26527"/>
                      <a:pt x="22499" y="27131"/>
                      <a:pt x="22499" y="27787"/>
                    </a:cubicBezTo>
                    <a:cubicBezTo>
                      <a:pt x="22392" y="27787"/>
                      <a:pt x="22270" y="27819"/>
                      <a:pt x="22169" y="27819"/>
                    </a:cubicBezTo>
                    <a:cubicBezTo>
                      <a:pt x="22118" y="27819"/>
                      <a:pt x="22073" y="27811"/>
                      <a:pt x="22037" y="27787"/>
                    </a:cubicBezTo>
                    <a:cubicBezTo>
                      <a:pt x="21133" y="27288"/>
                      <a:pt x="20502" y="26308"/>
                      <a:pt x="19338" y="26308"/>
                    </a:cubicBezTo>
                    <a:cubicBezTo>
                      <a:pt x="19178" y="26308"/>
                      <a:pt x="19008" y="26327"/>
                      <a:pt x="18826" y="26368"/>
                    </a:cubicBezTo>
                    <a:cubicBezTo>
                      <a:pt x="18808" y="26372"/>
                      <a:pt x="18788" y="26375"/>
                      <a:pt x="18768" y="26375"/>
                    </a:cubicBezTo>
                    <a:cubicBezTo>
                      <a:pt x="18417" y="26375"/>
                      <a:pt x="17797" y="25667"/>
                      <a:pt x="17495" y="25197"/>
                    </a:cubicBezTo>
                    <a:cubicBezTo>
                      <a:pt x="16998" y="24416"/>
                      <a:pt x="16661" y="23529"/>
                      <a:pt x="16360" y="22925"/>
                    </a:cubicBezTo>
                    <a:cubicBezTo>
                      <a:pt x="16129" y="22764"/>
                      <a:pt x="15928" y="22701"/>
                      <a:pt x="15748" y="22701"/>
                    </a:cubicBezTo>
                    <a:cubicBezTo>
                      <a:pt x="15114" y="22701"/>
                      <a:pt x="14724" y="23479"/>
                      <a:pt x="14110" y="23479"/>
                    </a:cubicBezTo>
                    <a:cubicBezTo>
                      <a:pt x="13959" y="23479"/>
                      <a:pt x="13794" y="23432"/>
                      <a:pt x="13609" y="23316"/>
                    </a:cubicBezTo>
                    <a:cubicBezTo>
                      <a:pt x="13398" y="23182"/>
                      <a:pt x="13213" y="23127"/>
                      <a:pt x="13048" y="23127"/>
                    </a:cubicBezTo>
                    <a:cubicBezTo>
                      <a:pt x="12310" y="23127"/>
                      <a:pt x="11952" y="24236"/>
                      <a:pt x="11285" y="24540"/>
                    </a:cubicBezTo>
                    <a:cubicBezTo>
                      <a:pt x="10309" y="24984"/>
                      <a:pt x="9475" y="24913"/>
                      <a:pt x="8357" y="25126"/>
                    </a:cubicBezTo>
                    <a:cubicBezTo>
                      <a:pt x="8712" y="23440"/>
                      <a:pt x="10007" y="23263"/>
                      <a:pt x="10877" y="22588"/>
                    </a:cubicBezTo>
                    <a:cubicBezTo>
                      <a:pt x="9333" y="21453"/>
                      <a:pt x="11161" y="20583"/>
                      <a:pt x="11107" y="19732"/>
                    </a:cubicBezTo>
                    <a:cubicBezTo>
                      <a:pt x="10966" y="17815"/>
                      <a:pt x="13183" y="19075"/>
                      <a:pt x="13237" y="17585"/>
                    </a:cubicBezTo>
                    <a:close/>
                    <a:moveTo>
                      <a:pt x="444" y="1"/>
                    </a:moveTo>
                    <a:lnTo>
                      <a:pt x="444" y="1"/>
                    </a:lnTo>
                    <a:cubicBezTo>
                      <a:pt x="373" y="746"/>
                      <a:pt x="0" y="1438"/>
                      <a:pt x="1278" y="1758"/>
                    </a:cubicBezTo>
                    <a:cubicBezTo>
                      <a:pt x="2147" y="1953"/>
                      <a:pt x="2662" y="2929"/>
                      <a:pt x="2857" y="3869"/>
                    </a:cubicBezTo>
                    <a:cubicBezTo>
                      <a:pt x="3034" y="4756"/>
                      <a:pt x="3123" y="5643"/>
                      <a:pt x="3247" y="6530"/>
                    </a:cubicBezTo>
                    <a:lnTo>
                      <a:pt x="3549" y="6140"/>
                    </a:lnTo>
                    <a:lnTo>
                      <a:pt x="5412" y="8145"/>
                    </a:lnTo>
                    <a:lnTo>
                      <a:pt x="6654" y="6903"/>
                    </a:lnTo>
                    <a:lnTo>
                      <a:pt x="8393" y="10505"/>
                    </a:lnTo>
                    <a:lnTo>
                      <a:pt x="6654" y="14426"/>
                    </a:lnTo>
                    <a:lnTo>
                      <a:pt x="5944" y="14036"/>
                    </a:lnTo>
                    <a:cubicBezTo>
                      <a:pt x="5678" y="14338"/>
                      <a:pt x="5447" y="14657"/>
                      <a:pt x="5252" y="14976"/>
                    </a:cubicBezTo>
                    <a:cubicBezTo>
                      <a:pt x="5163" y="15154"/>
                      <a:pt x="5217" y="15402"/>
                      <a:pt x="5199" y="15615"/>
                    </a:cubicBezTo>
                    <a:cubicBezTo>
                      <a:pt x="7346" y="16591"/>
                      <a:pt x="7701" y="17017"/>
                      <a:pt x="8162" y="19004"/>
                    </a:cubicBezTo>
                    <a:lnTo>
                      <a:pt x="4471" y="18827"/>
                    </a:lnTo>
                    <a:lnTo>
                      <a:pt x="4471" y="18827"/>
                    </a:lnTo>
                    <a:cubicBezTo>
                      <a:pt x="4755" y="21754"/>
                      <a:pt x="5057" y="22606"/>
                      <a:pt x="6193" y="24114"/>
                    </a:cubicBezTo>
                    <a:lnTo>
                      <a:pt x="7754" y="24061"/>
                    </a:lnTo>
                    <a:lnTo>
                      <a:pt x="7754" y="24061"/>
                    </a:lnTo>
                    <a:cubicBezTo>
                      <a:pt x="8073" y="25480"/>
                      <a:pt x="7914" y="26740"/>
                      <a:pt x="6920" y="27379"/>
                    </a:cubicBezTo>
                    <a:cubicBezTo>
                      <a:pt x="5518" y="28319"/>
                      <a:pt x="7026" y="29703"/>
                      <a:pt x="5962" y="30857"/>
                    </a:cubicBezTo>
                    <a:cubicBezTo>
                      <a:pt x="4241" y="32720"/>
                      <a:pt x="3850" y="35399"/>
                      <a:pt x="2644" y="37812"/>
                    </a:cubicBezTo>
                    <a:lnTo>
                      <a:pt x="4471" y="38380"/>
                    </a:lnTo>
                    <a:cubicBezTo>
                      <a:pt x="4400" y="39161"/>
                      <a:pt x="4436" y="40012"/>
                      <a:pt x="4259" y="40829"/>
                    </a:cubicBezTo>
                    <a:cubicBezTo>
                      <a:pt x="3939" y="42319"/>
                      <a:pt x="4329" y="43579"/>
                      <a:pt x="5252" y="44732"/>
                    </a:cubicBezTo>
                    <a:cubicBezTo>
                      <a:pt x="5838" y="45460"/>
                      <a:pt x="6370" y="46240"/>
                      <a:pt x="7026" y="46932"/>
                    </a:cubicBezTo>
                    <a:cubicBezTo>
                      <a:pt x="7789" y="47731"/>
                      <a:pt x="9209" y="47678"/>
                      <a:pt x="9670" y="48920"/>
                    </a:cubicBezTo>
                    <a:cubicBezTo>
                      <a:pt x="9723" y="49026"/>
                      <a:pt x="9812" y="49097"/>
                      <a:pt x="9919" y="49132"/>
                    </a:cubicBezTo>
                    <a:cubicBezTo>
                      <a:pt x="10191" y="49213"/>
                      <a:pt x="10478" y="49350"/>
                      <a:pt x="10740" y="49350"/>
                    </a:cubicBezTo>
                    <a:cubicBezTo>
                      <a:pt x="10768" y="49350"/>
                      <a:pt x="10796" y="49349"/>
                      <a:pt x="10824" y="49345"/>
                    </a:cubicBezTo>
                    <a:cubicBezTo>
                      <a:pt x="11569" y="49257"/>
                      <a:pt x="12279" y="49257"/>
                      <a:pt x="12917" y="48547"/>
                    </a:cubicBezTo>
                    <a:cubicBezTo>
                      <a:pt x="12958" y="48500"/>
                      <a:pt x="13033" y="48481"/>
                      <a:pt x="13131" y="48481"/>
                    </a:cubicBezTo>
                    <a:cubicBezTo>
                      <a:pt x="13526" y="48481"/>
                      <a:pt x="14291" y="48790"/>
                      <a:pt x="14670" y="48790"/>
                    </a:cubicBezTo>
                    <a:cubicBezTo>
                      <a:pt x="14764" y="48790"/>
                      <a:pt x="14834" y="48771"/>
                      <a:pt x="14869" y="48724"/>
                    </a:cubicBezTo>
                    <a:cubicBezTo>
                      <a:pt x="15721" y="47642"/>
                      <a:pt x="16892" y="47944"/>
                      <a:pt x="17921" y="47695"/>
                    </a:cubicBezTo>
                    <a:cubicBezTo>
                      <a:pt x="17948" y="47687"/>
                      <a:pt x="17976" y="47684"/>
                      <a:pt x="18005" y="47684"/>
                    </a:cubicBezTo>
                    <a:cubicBezTo>
                      <a:pt x="18165" y="47684"/>
                      <a:pt x="18357" y="47795"/>
                      <a:pt x="18613" y="47855"/>
                    </a:cubicBezTo>
                    <a:cubicBezTo>
                      <a:pt x="18550" y="48716"/>
                      <a:pt x="18847" y="48890"/>
                      <a:pt x="19260" y="48890"/>
                    </a:cubicBezTo>
                    <a:cubicBezTo>
                      <a:pt x="19540" y="48890"/>
                      <a:pt x="19874" y="48810"/>
                      <a:pt x="20185" y="48810"/>
                    </a:cubicBezTo>
                    <a:cubicBezTo>
                      <a:pt x="20457" y="48810"/>
                      <a:pt x="20713" y="48871"/>
                      <a:pt x="20902" y="49097"/>
                    </a:cubicBezTo>
                    <a:cubicBezTo>
                      <a:pt x="20831" y="49558"/>
                      <a:pt x="20902" y="50233"/>
                      <a:pt x="20636" y="50765"/>
                    </a:cubicBezTo>
                    <a:cubicBezTo>
                      <a:pt x="20228" y="51546"/>
                      <a:pt x="21150" y="52592"/>
                      <a:pt x="20068" y="53178"/>
                    </a:cubicBezTo>
                    <a:cubicBezTo>
                      <a:pt x="21771" y="55112"/>
                      <a:pt x="20955" y="57649"/>
                      <a:pt x="21594" y="59424"/>
                    </a:cubicBezTo>
                    <a:cubicBezTo>
                      <a:pt x="20742" y="61713"/>
                      <a:pt x="19589" y="63327"/>
                      <a:pt x="19624" y="65776"/>
                    </a:cubicBezTo>
                    <a:cubicBezTo>
                      <a:pt x="19678" y="68597"/>
                      <a:pt x="18453" y="71436"/>
                      <a:pt x="17406" y="74168"/>
                    </a:cubicBezTo>
                    <a:cubicBezTo>
                      <a:pt x="17247" y="74577"/>
                      <a:pt x="17158" y="75002"/>
                      <a:pt x="16910" y="75943"/>
                    </a:cubicBezTo>
                    <a:cubicBezTo>
                      <a:pt x="28177" y="66379"/>
                      <a:pt x="34458" y="51617"/>
                      <a:pt x="32258" y="36144"/>
                    </a:cubicBezTo>
                    <a:cubicBezTo>
                      <a:pt x="29756" y="18472"/>
                      <a:pt x="16874" y="4756"/>
                      <a:pt x="44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5" name="Google Shape;11058;p65">
                <a:extLst>
                  <a:ext uri="{FF2B5EF4-FFF2-40B4-BE49-F238E27FC236}">
                    <a16:creationId xmlns:a16="http://schemas.microsoft.com/office/drawing/2014/main" id="{B07097A5-9C2B-37D1-C812-8C97D41AF07C}"/>
                  </a:ext>
                </a:extLst>
              </p:cNvPr>
              <p:cNvSpPr/>
              <p:nvPr/>
            </p:nvSpPr>
            <p:spPr>
              <a:xfrm>
                <a:off x="6036094" y="3734681"/>
                <a:ext cx="181628" cy="303024"/>
              </a:xfrm>
              <a:custGeom>
                <a:avLst/>
                <a:gdLst/>
                <a:ahLst/>
                <a:cxnLst/>
                <a:rect l="l" t="t" r="r" b="b"/>
                <a:pathLst>
                  <a:path w="31478" h="52540" extrusionOk="0">
                    <a:moveTo>
                      <a:pt x="28337" y="1"/>
                    </a:moveTo>
                    <a:cubicBezTo>
                      <a:pt x="13326" y="5785"/>
                      <a:pt x="2556" y="18986"/>
                      <a:pt x="1" y="34405"/>
                    </a:cubicBezTo>
                    <a:cubicBezTo>
                      <a:pt x="516" y="36961"/>
                      <a:pt x="764" y="39569"/>
                      <a:pt x="1154" y="42159"/>
                    </a:cubicBezTo>
                    <a:cubicBezTo>
                      <a:pt x="1172" y="42266"/>
                      <a:pt x="1438" y="42355"/>
                      <a:pt x="1687" y="42496"/>
                    </a:cubicBezTo>
                    <a:cubicBezTo>
                      <a:pt x="1687" y="41574"/>
                      <a:pt x="1704" y="40704"/>
                      <a:pt x="1704" y="39835"/>
                    </a:cubicBezTo>
                    <a:lnTo>
                      <a:pt x="2112" y="39817"/>
                    </a:lnTo>
                    <a:lnTo>
                      <a:pt x="3905" y="45513"/>
                    </a:lnTo>
                    <a:cubicBezTo>
                      <a:pt x="4490" y="45956"/>
                      <a:pt x="5289" y="46595"/>
                      <a:pt x="6122" y="47145"/>
                    </a:cubicBezTo>
                    <a:cubicBezTo>
                      <a:pt x="6548" y="47465"/>
                      <a:pt x="7045" y="47678"/>
                      <a:pt x="7560" y="47784"/>
                    </a:cubicBezTo>
                    <a:cubicBezTo>
                      <a:pt x="9813" y="48068"/>
                      <a:pt x="12492" y="48884"/>
                      <a:pt x="13557" y="50481"/>
                    </a:cubicBezTo>
                    <a:cubicBezTo>
                      <a:pt x="14515" y="51971"/>
                      <a:pt x="15810" y="52202"/>
                      <a:pt x="16751" y="52539"/>
                    </a:cubicBezTo>
                    <a:lnTo>
                      <a:pt x="18827" y="51652"/>
                    </a:lnTo>
                    <a:cubicBezTo>
                      <a:pt x="18720" y="51475"/>
                      <a:pt x="18632" y="51155"/>
                      <a:pt x="18525" y="51138"/>
                    </a:cubicBezTo>
                    <a:cubicBezTo>
                      <a:pt x="15367" y="50960"/>
                      <a:pt x="15367" y="50978"/>
                      <a:pt x="14905" y="48015"/>
                    </a:cubicBezTo>
                    <a:cubicBezTo>
                      <a:pt x="14870" y="47695"/>
                      <a:pt x="14799" y="47376"/>
                      <a:pt x="14675" y="46755"/>
                    </a:cubicBezTo>
                    <a:lnTo>
                      <a:pt x="11818" y="46152"/>
                    </a:lnTo>
                    <a:lnTo>
                      <a:pt x="12031" y="42461"/>
                    </a:lnTo>
                    <a:cubicBezTo>
                      <a:pt x="12009" y="42460"/>
                      <a:pt x="11988" y="42460"/>
                      <a:pt x="11967" y="42460"/>
                    </a:cubicBezTo>
                    <a:cubicBezTo>
                      <a:pt x="9761" y="42460"/>
                      <a:pt x="10756" y="45214"/>
                      <a:pt x="9157" y="45531"/>
                    </a:cubicBezTo>
                    <a:cubicBezTo>
                      <a:pt x="7577" y="44537"/>
                      <a:pt x="7577" y="44537"/>
                      <a:pt x="6832" y="39036"/>
                    </a:cubicBezTo>
                    <a:cubicBezTo>
                      <a:pt x="7471" y="36162"/>
                      <a:pt x="10807" y="37120"/>
                      <a:pt x="11570" y="34867"/>
                    </a:cubicBezTo>
                    <a:lnTo>
                      <a:pt x="13876" y="35683"/>
                    </a:lnTo>
                    <a:cubicBezTo>
                      <a:pt x="13930" y="37014"/>
                      <a:pt x="14213" y="38274"/>
                      <a:pt x="15651" y="39090"/>
                    </a:cubicBezTo>
                    <a:lnTo>
                      <a:pt x="14870" y="33554"/>
                    </a:lnTo>
                    <a:cubicBezTo>
                      <a:pt x="15012" y="33305"/>
                      <a:pt x="15189" y="33092"/>
                      <a:pt x="15367" y="32880"/>
                    </a:cubicBezTo>
                    <a:cubicBezTo>
                      <a:pt x="16733" y="31584"/>
                      <a:pt x="18720" y="30662"/>
                      <a:pt x="18277" y="28231"/>
                    </a:cubicBezTo>
                    <a:cubicBezTo>
                      <a:pt x="19217" y="27148"/>
                      <a:pt x="19501" y="25569"/>
                      <a:pt x="20903" y="24824"/>
                    </a:cubicBezTo>
                    <a:cubicBezTo>
                      <a:pt x="21169" y="24664"/>
                      <a:pt x="21701" y="24540"/>
                      <a:pt x="21701" y="24416"/>
                    </a:cubicBezTo>
                    <a:cubicBezTo>
                      <a:pt x="21701" y="22606"/>
                      <a:pt x="23298" y="22375"/>
                      <a:pt x="24345" y="21453"/>
                    </a:cubicBezTo>
                    <a:cubicBezTo>
                      <a:pt x="24698" y="21969"/>
                      <a:pt x="25002" y="22149"/>
                      <a:pt x="25280" y="22149"/>
                    </a:cubicBezTo>
                    <a:cubicBezTo>
                      <a:pt x="25925" y="22149"/>
                      <a:pt x="26432" y="21185"/>
                      <a:pt x="27082" y="21185"/>
                    </a:cubicBezTo>
                    <a:cubicBezTo>
                      <a:pt x="27098" y="21185"/>
                      <a:pt x="27114" y="21185"/>
                      <a:pt x="27131" y="21187"/>
                    </a:cubicBezTo>
                    <a:cubicBezTo>
                      <a:pt x="27184" y="21187"/>
                      <a:pt x="27237" y="20867"/>
                      <a:pt x="27255" y="20832"/>
                    </a:cubicBezTo>
                    <a:lnTo>
                      <a:pt x="25250" y="19909"/>
                    </a:lnTo>
                    <a:lnTo>
                      <a:pt x="25835" y="18348"/>
                    </a:lnTo>
                    <a:lnTo>
                      <a:pt x="24274" y="17851"/>
                    </a:lnTo>
                    <a:cubicBezTo>
                      <a:pt x="25161" y="17514"/>
                      <a:pt x="26048" y="17727"/>
                      <a:pt x="26829" y="17531"/>
                    </a:cubicBezTo>
                    <a:cubicBezTo>
                      <a:pt x="27610" y="17336"/>
                      <a:pt x="28266" y="16751"/>
                      <a:pt x="28976" y="16325"/>
                    </a:cubicBezTo>
                    <a:cubicBezTo>
                      <a:pt x="29774" y="15846"/>
                      <a:pt x="30573" y="15349"/>
                      <a:pt x="31478" y="14781"/>
                    </a:cubicBezTo>
                    <a:cubicBezTo>
                      <a:pt x="30466" y="12723"/>
                      <a:pt x="27769" y="12049"/>
                      <a:pt x="27698" y="9565"/>
                    </a:cubicBezTo>
                    <a:lnTo>
                      <a:pt x="25143" y="11836"/>
                    </a:lnTo>
                    <a:cubicBezTo>
                      <a:pt x="25764" y="8571"/>
                      <a:pt x="23600" y="8908"/>
                      <a:pt x="22269" y="8465"/>
                    </a:cubicBezTo>
                    <a:cubicBezTo>
                      <a:pt x="21932" y="8855"/>
                      <a:pt x="21559" y="9032"/>
                      <a:pt x="21027" y="9316"/>
                    </a:cubicBezTo>
                    <a:lnTo>
                      <a:pt x="21825" y="10132"/>
                    </a:lnTo>
                    <a:lnTo>
                      <a:pt x="20353" y="11197"/>
                    </a:lnTo>
                    <a:cubicBezTo>
                      <a:pt x="21772" y="12244"/>
                      <a:pt x="20956" y="13628"/>
                      <a:pt x="20690" y="13734"/>
                    </a:cubicBezTo>
                    <a:cubicBezTo>
                      <a:pt x="18756" y="14444"/>
                      <a:pt x="19217" y="16396"/>
                      <a:pt x="18401" y="17620"/>
                    </a:cubicBezTo>
                    <a:lnTo>
                      <a:pt x="17460" y="16910"/>
                    </a:lnTo>
                    <a:cubicBezTo>
                      <a:pt x="17052" y="16502"/>
                      <a:pt x="17886" y="16360"/>
                      <a:pt x="17851" y="16023"/>
                    </a:cubicBezTo>
                    <a:cubicBezTo>
                      <a:pt x="17833" y="15580"/>
                      <a:pt x="17744" y="15136"/>
                      <a:pt x="17673" y="14639"/>
                    </a:cubicBezTo>
                    <a:lnTo>
                      <a:pt x="14781" y="13805"/>
                    </a:lnTo>
                    <a:cubicBezTo>
                      <a:pt x="14391" y="10558"/>
                      <a:pt x="17727" y="10026"/>
                      <a:pt x="19075" y="8056"/>
                    </a:cubicBezTo>
                    <a:cubicBezTo>
                      <a:pt x="19476" y="8451"/>
                      <a:pt x="19895" y="8555"/>
                      <a:pt x="20323" y="8555"/>
                    </a:cubicBezTo>
                    <a:cubicBezTo>
                      <a:pt x="20808" y="8555"/>
                      <a:pt x="21305" y="8420"/>
                      <a:pt x="21802" y="8420"/>
                    </a:cubicBezTo>
                    <a:cubicBezTo>
                      <a:pt x="21952" y="8420"/>
                      <a:pt x="22102" y="8433"/>
                      <a:pt x="22251" y="8465"/>
                    </a:cubicBezTo>
                    <a:cubicBezTo>
                      <a:pt x="22127" y="7702"/>
                      <a:pt x="22056" y="7152"/>
                      <a:pt x="21967" y="6495"/>
                    </a:cubicBezTo>
                    <a:cubicBezTo>
                      <a:pt x="23198" y="6481"/>
                      <a:pt x="23566" y="4540"/>
                      <a:pt x="24952" y="4540"/>
                    </a:cubicBezTo>
                    <a:cubicBezTo>
                      <a:pt x="25264" y="4540"/>
                      <a:pt x="25629" y="4639"/>
                      <a:pt x="26066" y="4880"/>
                    </a:cubicBezTo>
                    <a:cubicBezTo>
                      <a:pt x="25374" y="5963"/>
                      <a:pt x="24274" y="6335"/>
                      <a:pt x="23458" y="7010"/>
                    </a:cubicBezTo>
                    <a:lnTo>
                      <a:pt x="26243" y="8376"/>
                    </a:lnTo>
                    <a:lnTo>
                      <a:pt x="28089" y="7205"/>
                    </a:lnTo>
                    <a:lnTo>
                      <a:pt x="28160" y="5324"/>
                    </a:lnTo>
                    <a:cubicBezTo>
                      <a:pt x="28332" y="5383"/>
                      <a:pt x="28506" y="5414"/>
                      <a:pt x="28690" y="5414"/>
                    </a:cubicBezTo>
                    <a:cubicBezTo>
                      <a:pt x="29226" y="5414"/>
                      <a:pt x="29853" y="5151"/>
                      <a:pt x="30804" y="4543"/>
                    </a:cubicBezTo>
                    <a:lnTo>
                      <a:pt x="29029" y="3621"/>
                    </a:lnTo>
                    <a:lnTo>
                      <a:pt x="29561" y="2733"/>
                    </a:lnTo>
                    <a:lnTo>
                      <a:pt x="28231" y="1722"/>
                    </a:lnTo>
                    <a:cubicBezTo>
                      <a:pt x="28355" y="1190"/>
                      <a:pt x="28692" y="586"/>
                      <a:pt x="28515" y="232"/>
                    </a:cubicBezTo>
                    <a:cubicBezTo>
                      <a:pt x="28479" y="161"/>
                      <a:pt x="28408" y="72"/>
                      <a:pt x="28337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6" name="Google Shape;11059;p65">
                <a:extLst>
                  <a:ext uri="{FF2B5EF4-FFF2-40B4-BE49-F238E27FC236}">
                    <a16:creationId xmlns:a16="http://schemas.microsoft.com/office/drawing/2014/main" id="{45E40769-83ED-77D4-86AF-CDDACFD71EDA}"/>
                  </a:ext>
                </a:extLst>
              </p:cNvPr>
              <p:cNvSpPr/>
              <p:nvPr/>
            </p:nvSpPr>
            <p:spPr>
              <a:xfrm>
                <a:off x="6143575" y="4010833"/>
                <a:ext cx="186233" cy="216616"/>
              </a:xfrm>
              <a:custGeom>
                <a:avLst/>
                <a:gdLst/>
                <a:ahLst/>
                <a:cxnLst/>
                <a:rect l="l" t="t" r="r" b="b"/>
                <a:pathLst>
                  <a:path w="32276" h="37558" extrusionOk="0">
                    <a:moveTo>
                      <a:pt x="3376" y="1"/>
                    </a:moveTo>
                    <a:cubicBezTo>
                      <a:pt x="3358" y="1"/>
                      <a:pt x="3345" y="4"/>
                      <a:pt x="3336" y="12"/>
                    </a:cubicBezTo>
                    <a:cubicBezTo>
                      <a:pt x="905" y="2621"/>
                      <a:pt x="905" y="2621"/>
                      <a:pt x="1243" y="6400"/>
                    </a:cubicBezTo>
                    <a:cubicBezTo>
                      <a:pt x="1260" y="6595"/>
                      <a:pt x="1118" y="6790"/>
                      <a:pt x="1065" y="7003"/>
                    </a:cubicBezTo>
                    <a:cubicBezTo>
                      <a:pt x="693" y="8405"/>
                      <a:pt x="338" y="9807"/>
                      <a:pt x="1" y="11155"/>
                    </a:cubicBezTo>
                    <a:lnTo>
                      <a:pt x="1118" y="14012"/>
                    </a:lnTo>
                    <a:cubicBezTo>
                      <a:pt x="2147" y="15148"/>
                      <a:pt x="3106" y="16283"/>
                      <a:pt x="4188" y="17330"/>
                    </a:cubicBezTo>
                    <a:cubicBezTo>
                      <a:pt x="5271" y="18413"/>
                      <a:pt x="5677" y="20424"/>
                      <a:pt x="7592" y="20424"/>
                    </a:cubicBezTo>
                    <a:cubicBezTo>
                      <a:pt x="7779" y="20424"/>
                      <a:pt x="7980" y="20405"/>
                      <a:pt x="8198" y="20364"/>
                    </a:cubicBezTo>
                    <a:cubicBezTo>
                      <a:pt x="9263" y="21234"/>
                      <a:pt x="10735" y="21553"/>
                      <a:pt x="11179" y="23221"/>
                    </a:cubicBezTo>
                    <a:cubicBezTo>
                      <a:pt x="11587" y="24711"/>
                      <a:pt x="12669" y="26024"/>
                      <a:pt x="13024" y="27515"/>
                    </a:cubicBezTo>
                    <a:cubicBezTo>
                      <a:pt x="13361" y="28863"/>
                      <a:pt x="14461" y="29662"/>
                      <a:pt x="14834" y="30780"/>
                    </a:cubicBezTo>
                    <a:cubicBezTo>
                      <a:pt x="15278" y="32128"/>
                      <a:pt x="15970" y="33246"/>
                      <a:pt x="16573" y="34470"/>
                    </a:cubicBezTo>
                    <a:cubicBezTo>
                      <a:pt x="17070" y="35428"/>
                      <a:pt x="18223" y="35038"/>
                      <a:pt x="18525" y="36191"/>
                    </a:cubicBezTo>
                    <a:cubicBezTo>
                      <a:pt x="18631" y="36564"/>
                      <a:pt x="18844" y="36901"/>
                      <a:pt x="19146" y="37185"/>
                    </a:cubicBezTo>
                    <a:cubicBezTo>
                      <a:pt x="20299" y="37345"/>
                      <a:pt x="21470" y="37469"/>
                      <a:pt x="22659" y="37558"/>
                    </a:cubicBezTo>
                    <a:cubicBezTo>
                      <a:pt x="22559" y="37158"/>
                      <a:pt x="22490" y="36790"/>
                      <a:pt x="21808" y="36790"/>
                    </a:cubicBezTo>
                    <a:cubicBezTo>
                      <a:pt x="21763" y="36790"/>
                      <a:pt x="21716" y="36791"/>
                      <a:pt x="21665" y="36795"/>
                    </a:cubicBezTo>
                    <a:cubicBezTo>
                      <a:pt x="21645" y="36796"/>
                      <a:pt x="21626" y="36796"/>
                      <a:pt x="21608" y="36796"/>
                    </a:cubicBezTo>
                    <a:cubicBezTo>
                      <a:pt x="20725" y="36796"/>
                      <a:pt x="22437" y="35547"/>
                      <a:pt x="21115" y="35251"/>
                    </a:cubicBezTo>
                    <a:cubicBezTo>
                      <a:pt x="20388" y="35073"/>
                      <a:pt x="22109" y="33707"/>
                      <a:pt x="20725" y="33246"/>
                    </a:cubicBezTo>
                    <a:lnTo>
                      <a:pt x="20920" y="32980"/>
                    </a:lnTo>
                    <a:lnTo>
                      <a:pt x="22783" y="32394"/>
                    </a:lnTo>
                    <a:lnTo>
                      <a:pt x="21860" y="30017"/>
                    </a:lnTo>
                    <a:lnTo>
                      <a:pt x="23191" y="29839"/>
                    </a:lnTo>
                    <a:cubicBezTo>
                      <a:pt x="23599" y="29041"/>
                      <a:pt x="24007" y="28313"/>
                      <a:pt x="24380" y="27550"/>
                    </a:cubicBezTo>
                    <a:cubicBezTo>
                      <a:pt x="24646" y="26982"/>
                      <a:pt x="25178" y="26308"/>
                      <a:pt x="25036" y="25829"/>
                    </a:cubicBezTo>
                    <a:cubicBezTo>
                      <a:pt x="24451" y="23718"/>
                      <a:pt x="26083" y="22972"/>
                      <a:pt x="27343" y="22529"/>
                    </a:cubicBezTo>
                    <a:cubicBezTo>
                      <a:pt x="28603" y="22068"/>
                      <a:pt x="29082" y="21482"/>
                      <a:pt x="29242" y="20311"/>
                    </a:cubicBezTo>
                    <a:cubicBezTo>
                      <a:pt x="29419" y="19069"/>
                      <a:pt x="29809" y="17862"/>
                      <a:pt x="29898" y="16620"/>
                    </a:cubicBezTo>
                    <a:cubicBezTo>
                      <a:pt x="29987" y="15467"/>
                      <a:pt x="30005" y="14438"/>
                      <a:pt x="31087" y="13675"/>
                    </a:cubicBezTo>
                    <a:cubicBezTo>
                      <a:pt x="31442" y="13444"/>
                      <a:pt x="31531" y="12788"/>
                      <a:pt x="31655" y="12309"/>
                    </a:cubicBezTo>
                    <a:cubicBezTo>
                      <a:pt x="32276" y="10144"/>
                      <a:pt x="31868" y="9612"/>
                      <a:pt x="29490" y="9133"/>
                    </a:cubicBezTo>
                    <a:cubicBezTo>
                      <a:pt x="29100" y="9062"/>
                      <a:pt x="28816" y="8494"/>
                      <a:pt x="28266" y="7926"/>
                    </a:cubicBezTo>
                    <a:lnTo>
                      <a:pt x="24895" y="8778"/>
                    </a:lnTo>
                    <a:cubicBezTo>
                      <a:pt x="24522" y="7678"/>
                      <a:pt x="23315" y="7678"/>
                      <a:pt x="22215" y="7465"/>
                    </a:cubicBezTo>
                    <a:lnTo>
                      <a:pt x="21647" y="8157"/>
                    </a:lnTo>
                    <a:lnTo>
                      <a:pt x="18063" y="3597"/>
                    </a:lnTo>
                    <a:cubicBezTo>
                      <a:pt x="16840" y="3528"/>
                      <a:pt x="15905" y="3374"/>
                      <a:pt x="15067" y="3374"/>
                    </a:cubicBezTo>
                    <a:cubicBezTo>
                      <a:pt x="14823" y="3374"/>
                      <a:pt x="14587" y="3387"/>
                      <a:pt x="14355" y="3419"/>
                    </a:cubicBezTo>
                    <a:cubicBezTo>
                      <a:pt x="14295" y="3427"/>
                      <a:pt x="14238" y="3430"/>
                      <a:pt x="14183" y="3430"/>
                    </a:cubicBezTo>
                    <a:cubicBezTo>
                      <a:pt x="13092" y="3430"/>
                      <a:pt x="13035" y="1981"/>
                      <a:pt x="11835" y="1964"/>
                    </a:cubicBezTo>
                    <a:cubicBezTo>
                      <a:pt x="11108" y="1964"/>
                      <a:pt x="9901" y="1467"/>
                      <a:pt x="9582" y="438"/>
                    </a:cubicBezTo>
                    <a:cubicBezTo>
                      <a:pt x="8677" y="793"/>
                      <a:pt x="7914" y="1361"/>
                      <a:pt x="7133" y="1361"/>
                    </a:cubicBezTo>
                    <a:cubicBezTo>
                      <a:pt x="7119" y="1361"/>
                      <a:pt x="7105" y="1361"/>
                      <a:pt x="7091" y="1361"/>
                    </a:cubicBezTo>
                    <a:cubicBezTo>
                      <a:pt x="6288" y="1361"/>
                      <a:pt x="5470" y="877"/>
                      <a:pt x="4703" y="616"/>
                    </a:cubicBezTo>
                    <a:lnTo>
                      <a:pt x="4170" y="1184"/>
                    </a:lnTo>
                    <a:lnTo>
                      <a:pt x="3585" y="48"/>
                    </a:lnTo>
                    <a:cubicBezTo>
                      <a:pt x="3517" y="34"/>
                      <a:pt x="3429" y="1"/>
                      <a:pt x="337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7" name="Google Shape;11060;p65">
                <a:extLst>
                  <a:ext uri="{FF2B5EF4-FFF2-40B4-BE49-F238E27FC236}">
                    <a16:creationId xmlns:a16="http://schemas.microsoft.com/office/drawing/2014/main" id="{2BDFC78D-C0D3-03FA-6D5D-B7CA9C26631D}"/>
                  </a:ext>
                </a:extLst>
              </p:cNvPr>
              <p:cNvSpPr/>
              <p:nvPr/>
            </p:nvSpPr>
            <p:spPr>
              <a:xfrm>
                <a:off x="6110513" y="3969114"/>
                <a:ext cx="33997" cy="13957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2420" extrusionOk="0">
                    <a:moveTo>
                      <a:pt x="2076" y="1"/>
                    </a:moveTo>
                    <a:cubicBezTo>
                      <a:pt x="1454" y="1"/>
                      <a:pt x="791" y="230"/>
                      <a:pt x="0" y="592"/>
                    </a:cubicBezTo>
                    <a:cubicBezTo>
                      <a:pt x="564" y="957"/>
                      <a:pt x="1113" y="1415"/>
                      <a:pt x="1254" y="1415"/>
                    </a:cubicBezTo>
                    <a:cubicBezTo>
                      <a:pt x="1264" y="1415"/>
                      <a:pt x="1272" y="1412"/>
                      <a:pt x="1278" y="1408"/>
                    </a:cubicBezTo>
                    <a:cubicBezTo>
                      <a:pt x="1606" y="1108"/>
                      <a:pt x="1874" y="952"/>
                      <a:pt x="2167" y="952"/>
                    </a:cubicBezTo>
                    <a:cubicBezTo>
                      <a:pt x="2429" y="952"/>
                      <a:pt x="2710" y="1077"/>
                      <a:pt x="3070" y="1337"/>
                    </a:cubicBezTo>
                    <a:cubicBezTo>
                      <a:pt x="3815" y="1869"/>
                      <a:pt x="4773" y="2011"/>
                      <a:pt x="5838" y="2419"/>
                    </a:cubicBezTo>
                    <a:lnTo>
                      <a:pt x="5891" y="1071"/>
                    </a:lnTo>
                    <a:cubicBezTo>
                      <a:pt x="5040" y="893"/>
                      <a:pt x="4170" y="964"/>
                      <a:pt x="3656" y="574"/>
                    </a:cubicBezTo>
                    <a:cubicBezTo>
                      <a:pt x="3121" y="171"/>
                      <a:pt x="2614" y="1"/>
                      <a:pt x="207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8" name="Google Shape;11061;p65">
                <a:extLst>
                  <a:ext uri="{FF2B5EF4-FFF2-40B4-BE49-F238E27FC236}">
                    <a16:creationId xmlns:a16="http://schemas.microsoft.com/office/drawing/2014/main" id="{1ADA35B6-4F63-D1E9-8D39-651808387B56}"/>
                  </a:ext>
                </a:extLst>
              </p:cNvPr>
              <p:cNvSpPr/>
              <p:nvPr/>
            </p:nvSpPr>
            <p:spPr>
              <a:xfrm>
                <a:off x="6151865" y="3979381"/>
                <a:ext cx="35739" cy="11875"/>
              </a:xfrm>
              <a:custGeom>
                <a:avLst/>
                <a:gdLst/>
                <a:ahLst/>
                <a:cxnLst/>
                <a:rect l="l" t="t" r="r" b="b"/>
                <a:pathLst>
                  <a:path w="6194" h="2059" extrusionOk="0">
                    <a:moveTo>
                      <a:pt x="6193" y="0"/>
                    </a:moveTo>
                    <a:lnTo>
                      <a:pt x="6193" y="0"/>
                    </a:lnTo>
                    <a:cubicBezTo>
                      <a:pt x="4801" y="195"/>
                      <a:pt x="3970" y="433"/>
                      <a:pt x="3202" y="433"/>
                    </a:cubicBezTo>
                    <a:cubicBezTo>
                      <a:pt x="3128" y="433"/>
                      <a:pt x="3055" y="431"/>
                      <a:pt x="2982" y="426"/>
                    </a:cubicBezTo>
                    <a:cubicBezTo>
                      <a:pt x="2453" y="395"/>
                      <a:pt x="1944" y="74"/>
                      <a:pt x="1353" y="74"/>
                    </a:cubicBezTo>
                    <a:cubicBezTo>
                      <a:pt x="951" y="74"/>
                      <a:pt x="511" y="222"/>
                      <a:pt x="1" y="710"/>
                    </a:cubicBezTo>
                    <a:lnTo>
                      <a:pt x="1473" y="2059"/>
                    </a:lnTo>
                    <a:cubicBezTo>
                      <a:pt x="2432" y="409"/>
                      <a:pt x="4472" y="1526"/>
                      <a:pt x="6193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29" name="Google Shape;11062;p65">
                <a:extLst>
                  <a:ext uri="{FF2B5EF4-FFF2-40B4-BE49-F238E27FC236}">
                    <a16:creationId xmlns:a16="http://schemas.microsoft.com/office/drawing/2014/main" id="{D68D7C5A-0575-4B00-EB04-0A541C9B3733}"/>
                  </a:ext>
                </a:extLst>
              </p:cNvPr>
              <p:cNvSpPr/>
              <p:nvPr/>
            </p:nvSpPr>
            <p:spPr>
              <a:xfrm>
                <a:off x="6203762" y="3831292"/>
                <a:ext cx="19768" cy="12285"/>
              </a:xfrm>
              <a:custGeom>
                <a:avLst/>
                <a:gdLst/>
                <a:ahLst/>
                <a:cxnLst/>
                <a:rect l="l" t="t" r="r" b="b"/>
                <a:pathLst>
                  <a:path w="3426" h="2130" extrusionOk="0">
                    <a:moveTo>
                      <a:pt x="1473" y="1"/>
                    </a:moveTo>
                    <a:lnTo>
                      <a:pt x="1" y="1828"/>
                    </a:lnTo>
                    <a:lnTo>
                      <a:pt x="3372" y="2130"/>
                    </a:lnTo>
                    <a:cubicBezTo>
                      <a:pt x="3407" y="1917"/>
                      <a:pt x="3425" y="1704"/>
                      <a:pt x="3425" y="1509"/>
                    </a:cubicBezTo>
                    <a:cubicBezTo>
                      <a:pt x="3390" y="1172"/>
                      <a:pt x="3301" y="870"/>
                      <a:pt x="3248" y="586"/>
                    </a:cubicBezTo>
                    <a:lnTo>
                      <a:pt x="1473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</p:grpSp>
      <p:grpSp>
        <p:nvGrpSpPr>
          <p:cNvPr id="1930" name="Google Shape;11063;p65">
            <a:extLst>
              <a:ext uri="{FF2B5EF4-FFF2-40B4-BE49-F238E27FC236}">
                <a16:creationId xmlns:a16="http://schemas.microsoft.com/office/drawing/2014/main" id="{9E5A3BB9-9C18-0AB9-8925-A1ECFCF1C7EC}"/>
              </a:ext>
            </a:extLst>
          </p:cNvPr>
          <p:cNvGrpSpPr/>
          <p:nvPr/>
        </p:nvGrpSpPr>
        <p:grpSpPr>
          <a:xfrm>
            <a:off x="8887372" y="4173638"/>
            <a:ext cx="768403" cy="682495"/>
            <a:chOff x="6644304" y="3073628"/>
            <a:chExt cx="576302" cy="511871"/>
          </a:xfrm>
        </p:grpSpPr>
        <p:sp>
          <p:nvSpPr>
            <p:cNvPr id="1931" name="Google Shape;11064;p65">
              <a:extLst>
                <a:ext uri="{FF2B5EF4-FFF2-40B4-BE49-F238E27FC236}">
                  <a16:creationId xmlns:a16="http://schemas.microsoft.com/office/drawing/2014/main" id="{62BCAD26-211C-2500-6BAF-062DAC21C7D7}"/>
                </a:ext>
              </a:extLst>
            </p:cNvPr>
            <p:cNvSpPr/>
            <p:nvPr/>
          </p:nvSpPr>
          <p:spPr>
            <a:xfrm>
              <a:off x="6644304" y="3073628"/>
              <a:ext cx="576302" cy="511871"/>
            </a:xfrm>
            <a:custGeom>
              <a:avLst/>
              <a:gdLst/>
              <a:ahLst/>
              <a:cxnLst/>
              <a:rect l="l" t="t" r="r" b="b"/>
              <a:pathLst>
                <a:path w="99879" h="88751" extrusionOk="0">
                  <a:moveTo>
                    <a:pt x="50483" y="1"/>
                  </a:moveTo>
                  <a:cubicBezTo>
                    <a:pt x="46751" y="1"/>
                    <a:pt x="42953" y="456"/>
                    <a:pt x="39160" y="1409"/>
                  </a:cubicBezTo>
                  <a:cubicBezTo>
                    <a:pt x="14870" y="7513"/>
                    <a:pt x="1" y="31697"/>
                    <a:pt x="5963" y="55420"/>
                  </a:cubicBezTo>
                  <a:cubicBezTo>
                    <a:pt x="10993" y="75452"/>
                    <a:pt x="29236" y="88750"/>
                    <a:pt x="49406" y="88750"/>
                  </a:cubicBezTo>
                  <a:cubicBezTo>
                    <a:pt x="53141" y="88750"/>
                    <a:pt x="56941" y="88294"/>
                    <a:pt x="60736" y="87341"/>
                  </a:cubicBezTo>
                  <a:cubicBezTo>
                    <a:pt x="85027" y="81237"/>
                    <a:pt x="99878" y="57053"/>
                    <a:pt x="93917" y="33330"/>
                  </a:cubicBezTo>
                  <a:cubicBezTo>
                    <a:pt x="88901" y="13311"/>
                    <a:pt x="70655" y="1"/>
                    <a:pt x="50483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1932" name="Google Shape;11065;p65">
              <a:extLst>
                <a:ext uri="{FF2B5EF4-FFF2-40B4-BE49-F238E27FC236}">
                  <a16:creationId xmlns:a16="http://schemas.microsoft.com/office/drawing/2014/main" id="{5E648C3E-98DA-7E13-3052-3DC82484CEE5}"/>
                </a:ext>
              </a:extLst>
            </p:cNvPr>
            <p:cNvGrpSpPr/>
            <p:nvPr/>
          </p:nvGrpSpPr>
          <p:grpSpPr>
            <a:xfrm>
              <a:off x="6712169" y="3085440"/>
              <a:ext cx="481622" cy="494913"/>
              <a:chOff x="6712169" y="3085440"/>
              <a:chExt cx="481622" cy="494913"/>
            </a:xfrm>
          </p:grpSpPr>
          <p:sp>
            <p:nvSpPr>
              <p:cNvPr id="1936" name="Google Shape;11066;p65">
                <a:extLst>
                  <a:ext uri="{FF2B5EF4-FFF2-40B4-BE49-F238E27FC236}">
                    <a16:creationId xmlns:a16="http://schemas.microsoft.com/office/drawing/2014/main" id="{BF26C4CB-19D5-1FA9-5F06-E0C165212CAF}"/>
                  </a:ext>
                </a:extLst>
              </p:cNvPr>
              <p:cNvSpPr/>
              <p:nvPr/>
            </p:nvSpPr>
            <p:spPr>
              <a:xfrm>
                <a:off x="6712169" y="3085440"/>
                <a:ext cx="238757" cy="315615"/>
              </a:xfrm>
              <a:custGeom>
                <a:avLst/>
                <a:gdLst/>
                <a:ahLst/>
                <a:cxnLst/>
                <a:rect l="l" t="t" r="r" b="b"/>
                <a:pathLst>
                  <a:path w="41379" h="54723" extrusionOk="0">
                    <a:moveTo>
                      <a:pt x="20938" y="3904"/>
                    </a:moveTo>
                    <a:lnTo>
                      <a:pt x="22677" y="6583"/>
                    </a:lnTo>
                    <a:lnTo>
                      <a:pt x="22091" y="7097"/>
                    </a:lnTo>
                    <a:lnTo>
                      <a:pt x="18951" y="4400"/>
                    </a:lnTo>
                    <a:lnTo>
                      <a:pt x="20938" y="3904"/>
                    </a:lnTo>
                    <a:close/>
                    <a:moveTo>
                      <a:pt x="25072" y="0"/>
                    </a:moveTo>
                    <a:lnTo>
                      <a:pt x="25072" y="0"/>
                    </a:lnTo>
                    <a:cubicBezTo>
                      <a:pt x="24433" y="195"/>
                      <a:pt x="23812" y="408"/>
                      <a:pt x="23191" y="621"/>
                    </a:cubicBezTo>
                    <a:lnTo>
                      <a:pt x="23493" y="1047"/>
                    </a:lnTo>
                    <a:lnTo>
                      <a:pt x="21861" y="1136"/>
                    </a:lnTo>
                    <a:cubicBezTo>
                      <a:pt x="20920" y="1491"/>
                      <a:pt x="19980" y="1899"/>
                      <a:pt x="19075" y="2307"/>
                    </a:cubicBezTo>
                    <a:lnTo>
                      <a:pt x="17709" y="4489"/>
                    </a:lnTo>
                    <a:lnTo>
                      <a:pt x="19341" y="6778"/>
                    </a:lnTo>
                    <a:lnTo>
                      <a:pt x="19341" y="6778"/>
                    </a:lnTo>
                    <a:lnTo>
                      <a:pt x="16697" y="6086"/>
                    </a:lnTo>
                    <a:lnTo>
                      <a:pt x="17017" y="4542"/>
                    </a:lnTo>
                    <a:lnTo>
                      <a:pt x="15473" y="4205"/>
                    </a:lnTo>
                    <a:cubicBezTo>
                      <a:pt x="14124" y="4968"/>
                      <a:pt x="12811" y="5820"/>
                      <a:pt x="11552" y="6725"/>
                    </a:cubicBezTo>
                    <a:lnTo>
                      <a:pt x="12581" y="6920"/>
                    </a:lnTo>
                    <a:lnTo>
                      <a:pt x="11836" y="8091"/>
                    </a:lnTo>
                    <a:cubicBezTo>
                      <a:pt x="11392" y="7967"/>
                      <a:pt x="10842" y="7772"/>
                      <a:pt x="10363" y="7612"/>
                    </a:cubicBezTo>
                    <a:cubicBezTo>
                      <a:pt x="6300" y="10753"/>
                      <a:pt x="2804" y="14567"/>
                      <a:pt x="1" y="18897"/>
                    </a:cubicBezTo>
                    <a:cubicBezTo>
                      <a:pt x="356" y="19536"/>
                      <a:pt x="498" y="20299"/>
                      <a:pt x="373" y="21026"/>
                    </a:cubicBezTo>
                    <a:cubicBezTo>
                      <a:pt x="285" y="21895"/>
                      <a:pt x="870" y="22800"/>
                      <a:pt x="977" y="23723"/>
                    </a:cubicBezTo>
                    <a:cubicBezTo>
                      <a:pt x="1101" y="24681"/>
                      <a:pt x="835" y="25710"/>
                      <a:pt x="1048" y="26633"/>
                    </a:cubicBezTo>
                    <a:cubicBezTo>
                      <a:pt x="1580" y="28922"/>
                      <a:pt x="1651" y="28904"/>
                      <a:pt x="1314" y="30696"/>
                    </a:cubicBezTo>
                    <a:cubicBezTo>
                      <a:pt x="1260" y="30998"/>
                      <a:pt x="1243" y="31335"/>
                      <a:pt x="1189" y="31654"/>
                    </a:cubicBezTo>
                    <a:cubicBezTo>
                      <a:pt x="906" y="33943"/>
                      <a:pt x="852" y="36090"/>
                      <a:pt x="2378" y="38184"/>
                    </a:cubicBezTo>
                    <a:cubicBezTo>
                      <a:pt x="3194" y="39302"/>
                      <a:pt x="4490" y="39461"/>
                      <a:pt x="5217" y="40473"/>
                    </a:cubicBezTo>
                    <a:cubicBezTo>
                      <a:pt x="5377" y="41147"/>
                      <a:pt x="5679" y="41821"/>
                      <a:pt x="5679" y="42496"/>
                    </a:cubicBezTo>
                    <a:cubicBezTo>
                      <a:pt x="5679" y="43170"/>
                      <a:pt x="7311" y="43347"/>
                      <a:pt x="6406" y="44146"/>
                    </a:cubicBezTo>
                    <a:lnTo>
                      <a:pt x="8429" y="45122"/>
                    </a:lnTo>
                    <a:lnTo>
                      <a:pt x="8429" y="45122"/>
                    </a:lnTo>
                    <a:lnTo>
                      <a:pt x="8269" y="43170"/>
                    </a:lnTo>
                    <a:lnTo>
                      <a:pt x="8269" y="43170"/>
                    </a:lnTo>
                    <a:cubicBezTo>
                      <a:pt x="8872" y="43613"/>
                      <a:pt x="9298" y="43826"/>
                      <a:pt x="9600" y="44146"/>
                    </a:cubicBezTo>
                    <a:cubicBezTo>
                      <a:pt x="10345" y="44909"/>
                      <a:pt x="10948" y="45849"/>
                      <a:pt x="11765" y="46523"/>
                    </a:cubicBezTo>
                    <a:cubicBezTo>
                      <a:pt x="12652" y="47251"/>
                      <a:pt x="13734" y="47730"/>
                      <a:pt x="13255" y="49167"/>
                    </a:cubicBezTo>
                    <a:cubicBezTo>
                      <a:pt x="15142" y="50239"/>
                      <a:pt x="17068" y="51273"/>
                      <a:pt x="19240" y="51273"/>
                    </a:cubicBezTo>
                    <a:cubicBezTo>
                      <a:pt x="19621" y="51273"/>
                      <a:pt x="20009" y="51241"/>
                      <a:pt x="20406" y="51172"/>
                    </a:cubicBezTo>
                    <a:cubicBezTo>
                      <a:pt x="21066" y="51051"/>
                      <a:pt x="21687" y="50867"/>
                      <a:pt x="22299" y="50867"/>
                    </a:cubicBezTo>
                    <a:cubicBezTo>
                      <a:pt x="22856" y="50867"/>
                      <a:pt x="23406" y="51019"/>
                      <a:pt x="23972" y="51509"/>
                    </a:cubicBezTo>
                    <a:cubicBezTo>
                      <a:pt x="24575" y="52042"/>
                      <a:pt x="25551" y="52219"/>
                      <a:pt x="26403" y="52414"/>
                    </a:cubicBezTo>
                    <a:cubicBezTo>
                      <a:pt x="26412" y="52417"/>
                      <a:pt x="26421" y="52418"/>
                      <a:pt x="26431" y="52418"/>
                    </a:cubicBezTo>
                    <a:cubicBezTo>
                      <a:pt x="26612" y="52418"/>
                      <a:pt x="26911" y="51958"/>
                      <a:pt x="27130" y="51722"/>
                    </a:cubicBezTo>
                    <a:cubicBezTo>
                      <a:pt x="29563" y="53875"/>
                      <a:pt x="30553" y="54722"/>
                      <a:pt x="31970" y="54722"/>
                    </a:cubicBezTo>
                    <a:cubicBezTo>
                      <a:pt x="32888" y="54722"/>
                      <a:pt x="33985" y="54367"/>
                      <a:pt x="35771" y="53780"/>
                    </a:cubicBezTo>
                    <a:cubicBezTo>
                      <a:pt x="35754" y="53674"/>
                      <a:pt x="35736" y="53568"/>
                      <a:pt x="35700" y="53461"/>
                    </a:cubicBezTo>
                    <a:cubicBezTo>
                      <a:pt x="35026" y="53479"/>
                      <a:pt x="34387" y="53550"/>
                      <a:pt x="33731" y="53568"/>
                    </a:cubicBezTo>
                    <a:cubicBezTo>
                      <a:pt x="33590" y="53572"/>
                      <a:pt x="33456" y="53574"/>
                      <a:pt x="33329" y="53574"/>
                    </a:cubicBezTo>
                    <a:cubicBezTo>
                      <a:pt x="31461" y="53574"/>
                      <a:pt x="31079" y="53047"/>
                      <a:pt x="30697" y="50871"/>
                    </a:cubicBezTo>
                    <a:cubicBezTo>
                      <a:pt x="30590" y="50179"/>
                      <a:pt x="30005" y="49575"/>
                      <a:pt x="29650" y="48972"/>
                    </a:cubicBezTo>
                    <a:lnTo>
                      <a:pt x="26030" y="49628"/>
                    </a:lnTo>
                    <a:lnTo>
                      <a:pt x="26030" y="49628"/>
                    </a:lnTo>
                    <a:lnTo>
                      <a:pt x="26385" y="45406"/>
                    </a:lnTo>
                    <a:lnTo>
                      <a:pt x="24167" y="45956"/>
                    </a:lnTo>
                    <a:cubicBezTo>
                      <a:pt x="23812" y="46931"/>
                      <a:pt x="24007" y="48085"/>
                      <a:pt x="22553" y="48564"/>
                    </a:cubicBezTo>
                    <a:cubicBezTo>
                      <a:pt x="22259" y="48659"/>
                      <a:pt x="21992" y="48700"/>
                      <a:pt x="21745" y="48700"/>
                    </a:cubicBezTo>
                    <a:cubicBezTo>
                      <a:pt x="20706" y="48700"/>
                      <a:pt x="20016" y="47976"/>
                      <a:pt x="19199" y="47517"/>
                    </a:cubicBezTo>
                    <a:lnTo>
                      <a:pt x="17851" y="42123"/>
                    </a:lnTo>
                    <a:cubicBezTo>
                      <a:pt x="19459" y="40109"/>
                      <a:pt x="19754" y="39740"/>
                      <a:pt x="21393" y="39740"/>
                    </a:cubicBezTo>
                    <a:cubicBezTo>
                      <a:pt x="21761" y="39740"/>
                      <a:pt x="22197" y="39758"/>
                      <a:pt x="22730" y="39781"/>
                    </a:cubicBezTo>
                    <a:lnTo>
                      <a:pt x="22890" y="38237"/>
                    </a:lnTo>
                    <a:lnTo>
                      <a:pt x="27042" y="38113"/>
                    </a:lnTo>
                    <a:lnTo>
                      <a:pt x="30324" y="41786"/>
                    </a:lnTo>
                    <a:cubicBezTo>
                      <a:pt x="30679" y="39550"/>
                      <a:pt x="29064" y="38290"/>
                      <a:pt x="28532" y="36374"/>
                    </a:cubicBezTo>
                    <a:cubicBezTo>
                      <a:pt x="29366" y="35363"/>
                      <a:pt x="30324" y="34280"/>
                      <a:pt x="31229" y="33163"/>
                    </a:cubicBezTo>
                    <a:cubicBezTo>
                      <a:pt x="32045" y="32133"/>
                      <a:pt x="31974" y="31885"/>
                      <a:pt x="30644" y="30359"/>
                    </a:cubicBezTo>
                    <a:cubicBezTo>
                      <a:pt x="31105" y="29916"/>
                      <a:pt x="31886" y="29490"/>
                      <a:pt x="31957" y="28993"/>
                    </a:cubicBezTo>
                    <a:cubicBezTo>
                      <a:pt x="32152" y="27378"/>
                      <a:pt x="33411" y="26757"/>
                      <a:pt x="34441" y="25906"/>
                    </a:cubicBezTo>
                    <a:lnTo>
                      <a:pt x="34245" y="24273"/>
                    </a:lnTo>
                    <a:lnTo>
                      <a:pt x="36588" y="22996"/>
                    </a:lnTo>
                    <a:lnTo>
                      <a:pt x="37120" y="24096"/>
                    </a:lnTo>
                    <a:lnTo>
                      <a:pt x="40438" y="20849"/>
                    </a:lnTo>
                    <a:lnTo>
                      <a:pt x="40048" y="20387"/>
                    </a:lnTo>
                    <a:lnTo>
                      <a:pt x="38184" y="21700"/>
                    </a:lnTo>
                    <a:lnTo>
                      <a:pt x="36410" y="20547"/>
                    </a:lnTo>
                    <a:cubicBezTo>
                      <a:pt x="37315" y="19429"/>
                      <a:pt x="38309" y="18631"/>
                      <a:pt x="38752" y="17584"/>
                    </a:cubicBezTo>
                    <a:cubicBezTo>
                      <a:pt x="39285" y="16377"/>
                      <a:pt x="40686" y="16271"/>
                      <a:pt x="41378" y="15295"/>
                    </a:cubicBezTo>
                    <a:cubicBezTo>
                      <a:pt x="40314" y="14177"/>
                      <a:pt x="39285" y="13663"/>
                      <a:pt x="37989" y="13521"/>
                    </a:cubicBezTo>
                    <a:cubicBezTo>
                      <a:pt x="37031" y="13467"/>
                      <a:pt x="36162" y="12971"/>
                      <a:pt x="35647" y="12154"/>
                    </a:cubicBezTo>
                    <a:cubicBezTo>
                      <a:pt x="35257" y="11622"/>
                      <a:pt x="34813" y="11161"/>
                      <a:pt x="34281" y="10770"/>
                    </a:cubicBezTo>
                    <a:cubicBezTo>
                      <a:pt x="34068" y="10593"/>
                      <a:pt x="33678" y="10628"/>
                      <a:pt x="33323" y="10557"/>
                    </a:cubicBezTo>
                    <a:lnTo>
                      <a:pt x="32773" y="12509"/>
                    </a:lnTo>
                    <a:cubicBezTo>
                      <a:pt x="31022" y="12013"/>
                      <a:pt x="29978" y="9739"/>
                      <a:pt x="28235" y="9739"/>
                    </a:cubicBezTo>
                    <a:cubicBezTo>
                      <a:pt x="27735" y="9739"/>
                      <a:pt x="27176" y="9927"/>
                      <a:pt x="26527" y="10398"/>
                    </a:cubicBezTo>
                    <a:cubicBezTo>
                      <a:pt x="26793" y="11711"/>
                      <a:pt x="25942" y="13290"/>
                      <a:pt x="27343" y="14479"/>
                    </a:cubicBezTo>
                    <a:cubicBezTo>
                      <a:pt x="27538" y="14638"/>
                      <a:pt x="27609" y="15295"/>
                      <a:pt x="27485" y="15419"/>
                    </a:cubicBezTo>
                    <a:cubicBezTo>
                      <a:pt x="26154" y="16590"/>
                      <a:pt x="27095" y="18169"/>
                      <a:pt x="26935" y="19447"/>
                    </a:cubicBezTo>
                    <a:cubicBezTo>
                      <a:pt x="26757" y="19471"/>
                      <a:pt x="26594" y="19483"/>
                      <a:pt x="26444" y="19483"/>
                    </a:cubicBezTo>
                    <a:cubicBezTo>
                      <a:pt x="24534" y="19483"/>
                      <a:pt x="24803" y="17604"/>
                      <a:pt x="24309" y="16732"/>
                    </a:cubicBezTo>
                    <a:cubicBezTo>
                      <a:pt x="23538" y="16756"/>
                      <a:pt x="22881" y="16829"/>
                      <a:pt x="22272" y="16829"/>
                    </a:cubicBezTo>
                    <a:cubicBezTo>
                      <a:pt x="21985" y="16829"/>
                      <a:pt x="21708" y="16813"/>
                      <a:pt x="21435" y="16768"/>
                    </a:cubicBezTo>
                    <a:cubicBezTo>
                      <a:pt x="20583" y="16626"/>
                      <a:pt x="19767" y="16235"/>
                      <a:pt x="18968" y="15880"/>
                    </a:cubicBezTo>
                    <a:cubicBezTo>
                      <a:pt x="18099" y="15508"/>
                      <a:pt x="17904" y="14745"/>
                      <a:pt x="18117" y="13929"/>
                    </a:cubicBezTo>
                    <a:cubicBezTo>
                      <a:pt x="18489" y="12562"/>
                      <a:pt x="19820" y="11799"/>
                      <a:pt x="20317" y="10433"/>
                    </a:cubicBezTo>
                    <a:cubicBezTo>
                      <a:pt x="20420" y="10159"/>
                      <a:pt x="20643" y="10069"/>
                      <a:pt x="20926" y="10069"/>
                    </a:cubicBezTo>
                    <a:cubicBezTo>
                      <a:pt x="21466" y="10069"/>
                      <a:pt x="22224" y="10398"/>
                      <a:pt x="22783" y="10398"/>
                    </a:cubicBezTo>
                    <a:cubicBezTo>
                      <a:pt x="23422" y="10398"/>
                      <a:pt x="24078" y="10114"/>
                      <a:pt x="25445" y="9777"/>
                    </a:cubicBezTo>
                    <a:lnTo>
                      <a:pt x="22925" y="8836"/>
                    </a:lnTo>
                    <a:cubicBezTo>
                      <a:pt x="23351" y="8002"/>
                      <a:pt x="23759" y="7435"/>
                      <a:pt x="23972" y="6796"/>
                    </a:cubicBezTo>
                    <a:cubicBezTo>
                      <a:pt x="24489" y="5333"/>
                      <a:pt x="24808" y="4715"/>
                      <a:pt x="25467" y="4715"/>
                    </a:cubicBezTo>
                    <a:cubicBezTo>
                      <a:pt x="25870" y="4715"/>
                      <a:pt x="26401" y="4947"/>
                      <a:pt x="27184" y="5359"/>
                    </a:cubicBezTo>
                    <a:cubicBezTo>
                      <a:pt x="27485" y="5518"/>
                      <a:pt x="27787" y="5713"/>
                      <a:pt x="28177" y="5944"/>
                    </a:cubicBezTo>
                    <a:lnTo>
                      <a:pt x="26012" y="8694"/>
                    </a:lnTo>
                    <a:cubicBezTo>
                      <a:pt x="26754" y="8600"/>
                      <a:pt x="27262" y="8535"/>
                      <a:pt x="27696" y="8535"/>
                    </a:cubicBezTo>
                    <a:cubicBezTo>
                      <a:pt x="28642" y="8535"/>
                      <a:pt x="29231" y="8844"/>
                      <a:pt x="31105" y="9830"/>
                    </a:cubicBezTo>
                    <a:lnTo>
                      <a:pt x="32844" y="8304"/>
                    </a:lnTo>
                    <a:lnTo>
                      <a:pt x="31886" y="7346"/>
                    </a:lnTo>
                    <a:lnTo>
                      <a:pt x="32861" y="5341"/>
                    </a:lnTo>
                    <a:lnTo>
                      <a:pt x="25232" y="2005"/>
                    </a:lnTo>
                    <a:lnTo>
                      <a:pt x="21577" y="2733"/>
                    </a:lnTo>
                    <a:lnTo>
                      <a:pt x="21452" y="2218"/>
                    </a:lnTo>
                    <a:lnTo>
                      <a:pt x="24540" y="1437"/>
                    </a:lnTo>
                    <a:lnTo>
                      <a:pt x="25072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37" name="Google Shape;11067;p65">
                <a:extLst>
                  <a:ext uri="{FF2B5EF4-FFF2-40B4-BE49-F238E27FC236}">
                    <a16:creationId xmlns:a16="http://schemas.microsoft.com/office/drawing/2014/main" id="{DF5DA521-CBD5-764B-383B-FA34B8B731B1}"/>
                  </a:ext>
                </a:extLst>
              </p:cNvPr>
              <p:cNvSpPr/>
              <p:nvPr/>
            </p:nvSpPr>
            <p:spPr>
              <a:xfrm>
                <a:off x="6913100" y="3367694"/>
                <a:ext cx="190537" cy="212659"/>
              </a:xfrm>
              <a:custGeom>
                <a:avLst/>
                <a:gdLst/>
                <a:ahLst/>
                <a:cxnLst/>
                <a:rect l="l" t="t" r="r" b="b"/>
                <a:pathLst>
                  <a:path w="33022" h="36872" extrusionOk="0">
                    <a:moveTo>
                      <a:pt x="11233" y="0"/>
                    </a:moveTo>
                    <a:cubicBezTo>
                      <a:pt x="10639" y="505"/>
                      <a:pt x="10418" y="1084"/>
                      <a:pt x="9687" y="1084"/>
                    </a:cubicBezTo>
                    <a:cubicBezTo>
                      <a:pt x="9544" y="1084"/>
                      <a:pt x="9381" y="1061"/>
                      <a:pt x="9192" y="1012"/>
                    </a:cubicBezTo>
                    <a:cubicBezTo>
                      <a:pt x="8542" y="845"/>
                      <a:pt x="7805" y="576"/>
                      <a:pt x="7089" y="576"/>
                    </a:cubicBezTo>
                    <a:cubicBezTo>
                      <a:pt x="6437" y="576"/>
                      <a:pt x="5804" y="799"/>
                      <a:pt x="5271" y="1526"/>
                    </a:cubicBezTo>
                    <a:lnTo>
                      <a:pt x="4632" y="231"/>
                    </a:lnTo>
                    <a:cubicBezTo>
                      <a:pt x="3940" y="1030"/>
                      <a:pt x="3780" y="2165"/>
                      <a:pt x="2591" y="2325"/>
                    </a:cubicBezTo>
                    <a:cubicBezTo>
                      <a:pt x="1208" y="2502"/>
                      <a:pt x="2538" y="4649"/>
                      <a:pt x="959" y="4844"/>
                    </a:cubicBezTo>
                    <a:lnTo>
                      <a:pt x="2006" y="8961"/>
                    </a:lnTo>
                    <a:lnTo>
                      <a:pt x="1" y="12190"/>
                    </a:lnTo>
                    <a:cubicBezTo>
                      <a:pt x="1190" y="12935"/>
                      <a:pt x="143" y="14302"/>
                      <a:pt x="640" y="15153"/>
                    </a:cubicBezTo>
                    <a:cubicBezTo>
                      <a:pt x="1882" y="15987"/>
                      <a:pt x="3071" y="16697"/>
                      <a:pt x="4135" y="17531"/>
                    </a:cubicBezTo>
                    <a:cubicBezTo>
                      <a:pt x="5058" y="18276"/>
                      <a:pt x="5732" y="19359"/>
                      <a:pt x="6726" y="19980"/>
                    </a:cubicBezTo>
                    <a:cubicBezTo>
                      <a:pt x="7808" y="20654"/>
                      <a:pt x="9121" y="20973"/>
                      <a:pt x="10044" y="21364"/>
                    </a:cubicBezTo>
                    <a:cubicBezTo>
                      <a:pt x="11250" y="25161"/>
                      <a:pt x="11587" y="28638"/>
                      <a:pt x="10878" y="32152"/>
                    </a:cubicBezTo>
                    <a:cubicBezTo>
                      <a:pt x="11091" y="32506"/>
                      <a:pt x="11623" y="32968"/>
                      <a:pt x="11605" y="33394"/>
                    </a:cubicBezTo>
                    <a:cubicBezTo>
                      <a:pt x="11552" y="34405"/>
                      <a:pt x="11605" y="35416"/>
                      <a:pt x="11783" y="36428"/>
                    </a:cubicBezTo>
                    <a:cubicBezTo>
                      <a:pt x="11800" y="36587"/>
                      <a:pt x="11836" y="36729"/>
                      <a:pt x="11871" y="36871"/>
                    </a:cubicBezTo>
                    <a:cubicBezTo>
                      <a:pt x="12634" y="36712"/>
                      <a:pt x="13379" y="36552"/>
                      <a:pt x="14125" y="36357"/>
                    </a:cubicBezTo>
                    <a:lnTo>
                      <a:pt x="14568" y="36233"/>
                    </a:lnTo>
                    <a:cubicBezTo>
                      <a:pt x="15172" y="34139"/>
                      <a:pt x="15828" y="32045"/>
                      <a:pt x="17798" y="30785"/>
                    </a:cubicBezTo>
                    <a:cubicBezTo>
                      <a:pt x="18543" y="30324"/>
                      <a:pt x="18951" y="29845"/>
                      <a:pt x="19235" y="29117"/>
                    </a:cubicBezTo>
                    <a:cubicBezTo>
                      <a:pt x="19377" y="28763"/>
                      <a:pt x="19465" y="28230"/>
                      <a:pt x="19732" y="28124"/>
                    </a:cubicBezTo>
                    <a:cubicBezTo>
                      <a:pt x="22233" y="27059"/>
                      <a:pt x="23334" y="24930"/>
                      <a:pt x="24008" y="22535"/>
                    </a:cubicBezTo>
                    <a:cubicBezTo>
                      <a:pt x="24345" y="21346"/>
                      <a:pt x="25232" y="20423"/>
                      <a:pt x="26403" y="20051"/>
                    </a:cubicBezTo>
                    <a:cubicBezTo>
                      <a:pt x="28550" y="19447"/>
                      <a:pt x="29065" y="17904"/>
                      <a:pt x="29615" y="16147"/>
                    </a:cubicBezTo>
                    <a:cubicBezTo>
                      <a:pt x="30449" y="13503"/>
                      <a:pt x="30999" y="10735"/>
                      <a:pt x="32844" y="8517"/>
                    </a:cubicBezTo>
                    <a:cubicBezTo>
                      <a:pt x="32933" y="8429"/>
                      <a:pt x="32986" y="8340"/>
                      <a:pt x="33021" y="8216"/>
                    </a:cubicBezTo>
                    <a:cubicBezTo>
                      <a:pt x="33021" y="7683"/>
                      <a:pt x="33021" y="7133"/>
                      <a:pt x="33021" y="6424"/>
                    </a:cubicBezTo>
                    <a:cubicBezTo>
                      <a:pt x="32898" y="6449"/>
                      <a:pt x="32778" y="6461"/>
                      <a:pt x="32662" y="6461"/>
                    </a:cubicBezTo>
                    <a:cubicBezTo>
                      <a:pt x="31610" y="6461"/>
                      <a:pt x="30838" y="5512"/>
                      <a:pt x="29835" y="5512"/>
                    </a:cubicBezTo>
                    <a:cubicBezTo>
                      <a:pt x="29647" y="5512"/>
                      <a:pt x="29450" y="5546"/>
                      <a:pt x="29242" y="5625"/>
                    </a:cubicBezTo>
                    <a:cubicBezTo>
                      <a:pt x="28763" y="5810"/>
                      <a:pt x="28295" y="5881"/>
                      <a:pt x="27833" y="5881"/>
                    </a:cubicBezTo>
                    <a:cubicBezTo>
                      <a:pt x="27010" y="5881"/>
                      <a:pt x="26203" y="5659"/>
                      <a:pt x="25374" y="5465"/>
                    </a:cubicBezTo>
                    <a:cubicBezTo>
                      <a:pt x="25322" y="5454"/>
                      <a:pt x="25270" y="5449"/>
                      <a:pt x="25215" y="5449"/>
                    </a:cubicBezTo>
                    <a:cubicBezTo>
                      <a:pt x="24767" y="5449"/>
                      <a:pt x="24231" y="5812"/>
                      <a:pt x="23582" y="6033"/>
                    </a:cubicBezTo>
                    <a:lnTo>
                      <a:pt x="20637" y="2112"/>
                    </a:lnTo>
                    <a:lnTo>
                      <a:pt x="16467" y="2201"/>
                    </a:lnTo>
                    <a:lnTo>
                      <a:pt x="11233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38" name="Google Shape;11068;p65">
                <a:extLst>
                  <a:ext uri="{FF2B5EF4-FFF2-40B4-BE49-F238E27FC236}">
                    <a16:creationId xmlns:a16="http://schemas.microsoft.com/office/drawing/2014/main" id="{86814D48-D308-5786-2713-75F634E2F054}"/>
                  </a:ext>
                </a:extLst>
              </p:cNvPr>
              <p:cNvSpPr/>
              <p:nvPr/>
            </p:nvSpPr>
            <p:spPr>
              <a:xfrm>
                <a:off x="7135734" y="3186037"/>
                <a:ext cx="58058" cy="152383"/>
              </a:xfrm>
              <a:custGeom>
                <a:avLst/>
                <a:gdLst/>
                <a:ahLst/>
                <a:cxnLst/>
                <a:rect l="l" t="t" r="r" b="b"/>
                <a:pathLst>
                  <a:path w="10062" h="26421" extrusionOk="0">
                    <a:moveTo>
                      <a:pt x="2520" y="1"/>
                    </a:moveTo>
                    <a:lnTo>
                      <a:pt x="2254" y="19"/>
                    </a:lnTo>
                    <a:cubicBezTo>
                      <a:pt x="2077" y="515"/>
                      <a:pt x="2041" y="1474"/>
                      <a:pt x="1545" y="1864"/>
                    </a:cubicBezTo>
                    <a:cubicBezTo>
                      <a:pt x="107" y="3035"/>
                      <a:pt x="214" y="4401"/>
                      <a:pt x="586" y="5927"/>
                    </a:cubicBezTo>
                    <a:cubicBezTo>
                      <a:pt x="746" y="6566"/>
                      <a:pt x="1012" y="7311"/>
                      <a:pt x="835" y="7897"/>
                    </a:cubicBezTo>
                    <a:cubicBezTo>
                      <a:pt x="1" y="10523"/>
                      <a:pt x="799" y="13202"/>
                      <a:pt x="72" y="15917"/>
                    </a:cubicBezTo>
                    <a:lnTo>
                      <a:pt x="1686" y="15846"/>
                    </a:lnTo>
                    <a:cubicBezTo>
                      <a:pt x="1811" y="17177"/>
                      <a:pt x="2698" y="18241"/>
                      <a:pt x="1970" y="19590"/>
                    </a:cubicBezTo>
                    <a:cubicBezTo>
                      <a:pt x="1740" y="20051"/>
                      <a:pt x="2024" y="21293"/>
                      <a:pt x="2414" y="21506"/>
                    </a:cubicBezTo>
                    <a:cubicBezTo>
                      <a:pt x="4596" y="22642"/>
                      <a:pt x="4632" y="25587"/>
                      <a:pt x="6885" y="26421"/>
                    </a:cubicBezTo>
                    <a:lnTo>
                      <a:pt x="10061" y="24079"/>
                    </a:lnTo>
                    <a:cubicBezTo>
                      <a:pt x="9973" y="15491"/>
                      <a:pt x="7364" y="7098"/>
                      <a:pt x="2520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39" name="Google Shape;11069;p65">
                <a:extLst>
                  <a:ext uri="{FF2B5EF4-FFF2-40B4-BE49-F238E27FC236}">
                    <a16:creationId xmlns:a16="http://schemas.microsoft.com/office/drawing/2014/main" id="{12CA0966-9E01-7081-6ED7-C5739C584A7A}"/>
                  </a:ext>
                </a:extLst>
              </p:cNvPr>
              <p:cNvSpPr/>
              <p:nvPr/>
            </p:nvSpPr>
            <p:spPr>
              <a:xfrm>
                <a:off x="6870416" y="3332822"/>
                <a:ext cx="47510" cy="11685"/>
              </a:xfrm>
              <a:custGeom>
                <a:avLst/>
                <a:gdLst/>
                <a:ahLst/>
                <a:cxnLst/>
                <a:rect l="l" t="t" r="r" b="b"/>
                <a:pathLst>
                  <a:path w="8234" h="2026" extrusionOk="0">
                    <a:moveTo>
                      <a:pt x="3405" y="1"/>
                    </a:moveTo>
                    <a:cubicBezTo>
                      <a:pt x="2255" y="1"/>
                      <a:pt x="1201" y="655"/>
                      <a:pt x="1" y="919"/>
                    </a:cubicBezTo>
                    <a:cubicBezTo>
                      <a:pt x="371" y="1711"/>
                      <a:pt x="675" y="1974"/>
                      <a:pt x="943" y="1974"/>
                    </a:cubicBezTo>
                    <a:cubicBezTo>
                      <a:pt x="1419" y="1974"/>
                      <a:pt x="1781" y="1142"/>
                      <a:pt x="2201" y="972"/>
                    </a:cubicBezTo>
                    <a:cubicBezTo>
                      <a:pt x="2266" y="967"/>
                      <a:pt x="2330" y="964"/>
                      <a:pt x="2394" y="964"/>
                    </a:cubicBezTo>
                    <a:cubicBezTo>
                      <a:pt x="3717" y="964"/>
                      <a:pt x="4976" y="2025"/>
                      <a:pt x="6356" y="2025"/>
                    </a:cubicBezTo>
                    <a:cubicBezTo>
                      <a:pt x="6954" y="2025"/>
                      <a:pt x="7575" y="1826"/>
                      <a:pt x="8234" y="1256"/>
                    </a:cubicBezTo>
                    <a:cubicBezTo>
                      <a:pt x="7932" y="936"/>
                      <a:pt x="7684" y="440"/>
                      <a:pt x="7400" y="422"/>
                    </a:cubicBezTo>
                    <a:cubicBezTo>
                      <a:pt x="7374" y="421"/>
                      <a:pt x="7348" y="420"/>
                      <a:pt x="7322" y="420"/>
                    </a:cubicBezTo>
                    <a:cubicBezTo>
                      <a:pt x="6763" y="420"/>
                      <a:pt x="6090" y="679"/>
                      <a:pt x="5591" y="679"/>
                    </a:cubicBezTo>
                    <a:cubicBezTo>
                      <a:pt x="5418" y="679"/>
                      <a:pt x="5266" y="648"/>
                      <a:pt x="5147" y="564"/>
                    </a:cubicBezTo>
                    <a:cubicBezTo>
                      <a:pt x="4527" y="150"/>
                      <a:pt x="3955" y="1"/>
                      <a:pt x="3405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40" name="Google Shape;11070;p65">
                <a:extLst>
                  <a:ext uri="{FF2B5EF4-FFF2-40B4-BE49-F238E27FC236}">
                    <a16:creationId xmlns:a16="http://schemas.microsoft.com/office/drawing/2014/main" id="{A19B5D16-0EAD-1D09-0426-10DD4FCFAE88}"/>
                  </a:ext>
                </a:extLst>
              </p:cNvPr>
              <p:cNvSpPr/>
              <p:nvPr/>
            </p:nvSpPr>
            <p:spPr>
              <a:xfrm>
                <a:off x="6925590" y="3336277"/>
                <a:ext cx="38094" cy="14228"/>
              </a:xfrm>
              <a:custGeom>
                <a:avLst/>
                <a:gdLst/>
                <a:ahLst/>
                <a:cxnLst/>
                <a:rect l="l" t="t" r="r" b="b"/>
                <a:pathLst>
                  <a:path w="6602" h="2467" extrusionOk="0">
                    <a:moveTo>
                      <a:pt x="6601" y="0"/>
                    </a:moveTo>
                    <a:cubicBezTo>
                      <a:pt x="4188" y="231"/>
                      <a:pt x="2254" y="391"/>
                      <a:pt x="338" y="604"/>
                    </a:cubicBezTo>
                    <a:cubicBezTo>
                      <a:pt x="231" y="621"/>
                      <a:pt x="160" y="976"/>
                      <a:pt x="1" y="1384"/>
                    </a:cubicBezTo>
                    <a:lnTo>
                      <a:pt x="1438" y="2467"/>
                    </a:lnTo>
                    <a:cubicBezTo>
                      <a:pt x="2573" y="621"/>
                      <a:pt x="4862" y="1491"/>
                      <a:pt x="6601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  <p:sp>
          <p:nvSpPr>
            <p:cNvPr id="1933" name="Google Shape;11071;p65">
              <a:extLst>
                <a:ext uri="{FF2B5EF4-FFF2-40B4-BE49-F238E27FC236}">
                  <a16:creationId xmlns:a16="http://schemas.microsoft.com/office/drawing/2014/main" id="{9D21DA6B-B607-D360-B8DB-22601EEAD439}"/>
                </a:ext>
              </a:extLst>
            </p:cNvPr>
            <p:cNvSpPr/>
            <p:nvPr/>
          </p:nvSpPr>
          <p:spPr>
            <a:xfrm>
              <a:off x="6867451" y="3073651"/>
              <a:ext cx="102383" cy="56919"/>
            </a:xfrm>
            <a:custGeom>
              <a:avLst/>
              <a:gdLst/>
              <a:ahLst/>
              <a:cxnLst/>
              <a:rect l="l" t="t" r="r" b="b"/>
              <a:pathLst>
                <a:path w="17744" h="9869" extrusionOk="0">
                  <a:moveTo>
                    <a:pt x="11775" y="1"/>
                  </a:moveTo>
                  <a:cubicBezTo>
                    <a:pt x="7969" y="1"/>
                    <a:pt x="4175" y="474"/>
                    <a:pt x="479" y="1405"/>
                  </a:cubicBezTo>
                  <a:lnTo>
                    <a:pt x="0" y="1530"/>
                  </a:lnTo>
                  <a:cubicBezTo>
                    <a:pt x="266" y="1749"/>
                    <a:pt x="570" y="1886"/>
                    <a:pt x="955" y="1886"/>
                  </a:cubicBezTo>
                  <a:cubicBezTo>
                    <a:pt x="1161" y="1886"/>
                    <a:pt x="1391" y="1847"/>
                    <a:pt x="1651" y="1760"/>
                  </a:cubicBezTo>
                  <a:cubicBezTo>
                    <a:pt x="2029" y="1630"/>
                    <a:pt x="2392" y="1564"/>
                    <a:pt x="2739" y="1564"/>
                  </a:cubicBezTo>
                  <a:cubicBezTo>
                    <a:pt x="3580" y="1564"/>
                    <a:pt x="4337" y="1950"/>
                    <a:pt x="5040" y="2754"/>
                  </a:cubicBezTo>
                  <a:cubicBezTo>
                    <a:pt x="5749" y="3588"/>
                    <a:pt x="7204" y="3428"/>
                    <a:pt x="7967" y="4422"/>
                  </a:cubicBezTo>
                  <a:cubicBezTo>
                    <a:pt x="8017" y="4486"/>
                    <a:pt x="8125" y="4504"/>
                    <a:pt x="8257" y="4504"/>
                  </a:cubicBezTo>
                  <a:cubicBezTo>
                    <a:pt x="8429" y="4504"/>
                    <a:pt x="8642" y="4473"/>
                    <a:pt x="8821" y="4473"/>
                  </a:cubicBezTo>
                  <a:cubicBezTo>
                    <a:pt x="8844" y="4473"/>
                    <a:pt x="8868" y="4474"/>
                    <a:pt x="8890" y="4475"/>
                  </a:cubicBezTo>
                  <a:lnTo>
                    <a:pt x="8233" y="6054"/>
                  </a:lnTo>
                  <a:cubicBezTo>
                    <a:pt x="9475" y="6533"/>
                    <a:pt x="11019" y="6640"/>
                    <a:pt x="11605" y="7420"/>
                  </a:cubicBezTo>
                  <a:cubicBezTo>
                    <a:pt x="13095" y="9479"/>
                    <a:pt x="15065" y="9745"/>
                    <a:pt x="17744" y="9869"/>
                  </a:cubicBezTo>
                  <a:cubicBezTo>
                    <a:pt x="17105" y="8982"/>
                    <a:pt x="16271" y="8325"/>
                    <a:pt x="16342" y="7828"/>
                  </a:cubicBezTo>
                  <a:cubicBezTo>
                    <a:pt x="16502" y="6888"/>
                    <a:pt x="16892" y="6125"/>
                    <a:pt x="15632" y="5717"/>
                  </a:cubicBezTo>
                  <a:lnTo>
                    <a:pt x="16857" y="4706"/>
                  </a:lnTo>
                  <a:lnTo>
                    <a:pt x="16484" y="3215"/>
                  </a:lnTo>
                  <a:cubicBezTo>
                    <a:pt x="16786" y="3073"/>
                    <a:pt x="17123" y="3002"/>
                    <a:pt x="17336" y="2772"/>
                  </a:cubicBezTo>
                  <a:cubicBezTo>
                    <a:pt x="17531" y="2559"/>
                    <a:pt x="17549" y="2222"/>
                    <a:pt x="17744" y="1689"/>
                  </a:cubicBezTo>
                  <a:cubicBezTo>
                    <a:pt x="16928" y="1441"/>
                    <a:pt x="16218" y="1281"/>
                    <a:pt x="15579" y="660"/>
                  </a:cubicBezTo>
                  <a:cubicBezTo>
                    <a:pt x="15384" y="465"/>
                    <a:pt x="15171" y="270"/>
                    <a:pt x="14940" y="110"/>
                  </a:cubicBezTo>
                  <a:cubicBezTo>
                    <a:pt x="13885" y="37"/>
                    <a:pt x="12830" y="1"/>
                    <a:pt x="11775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34" name="Google Shape;11072;p65">
              <a:extLst>
                <a:ext uri="{FF2B5EF4-FFF2-40B4-BE49-F238E27FC236}">
                  <a16:creationId xmlns:a16="http://schemas.microsoft.com/office/drawing/2014/main" id="{2540B036-86B8-92FC-4242-9E4755BA695E}"/>
                </a:ext>
              </a:extLst>
            </p:cNvPr>
            <p:cNvSpPr/>
            <p:nvPr/>
          </p:nvSpPr>
          <p:spPr>
            <a:xfrm>
              <a:off x="7069097" y="3119476"/>
              <a:ext cx="78535" cy="76898"/>
            </a:xfrm>
            <a:custGeom>
              <a:avLst/>
              <a:gdLst/>
              <a:ahLst/>
              <a:cxnLst/>
              <a:rect l="l" t="t" r="r" b="b"/>
              <a:pathLst>
                <a:path w="13611" h="13333" extrusionOk="0">
                  <a:moveTo>
                    <a:pt x="1947" y="1"/>
                  </a:moveTo>
                  <a:cubicBezTo>
                    <a:pt x="1321" y="1"/>
                    <a:pt x="678" y="263"/>
                    <a:pt x="1" y="842"/>
                  </a:cubicBezTo>
                  <a:lnTo>
                    <a:pt x="1420" y="2634"/>
                  </a:lnTo>
                  <a:lnTo>
                    <a:pt x="5856" y="2829"/>
                  </a:lnTo>
                  <a:lnTo>
                    <a:pt x="5342" y="5224"/>
                  </a:lnTo>
                  <a:lnTo>
                    <a:pt x="8802" y="7105"/>
                  </a:lnTo>
                  <a:lnTo>
                    <a:pt x="7453" y="8702"/>
                  </a:lnTo>
                  <a:lnTo>
                    <a:pt x="9884" y="12925"/>
                  </a:lnTo>
                  <a:lnTo>
                    <a:pt x="12386" y="13333"/>
                  </a:lnTo>
                  <a:cubicBezTo>
                    <a:pt x="11889" y="12109"/>
                    <a:pt x="13610" y="10813"/>
                    <a:pt x="11694" y="9891"/>
                  </a:cubicBezTo>
                  <a:cubicBezTo>
                    <a:pt x="11605" y="9181"/>
                    <a:pt x="11232" y="8436"/>
                    <a:pt x="11179" y="7726"/>
                  </a:cubicBezTo>
                  <a:cubicBezTo>
                    <a:pt x="8713" y="4852"/>
                    <a:pt x="5892" y="2297"/>
                    <a:pt x="2769" y="150"/>
                  </a:cubicBezTo>
                  <a:cubicBezTo>
                    <a:pt x="2497" y="52"/>
                    <a:pt x="2224" y="1"/>
                    <a:pt x="1947" y="1"/>
                  </a:cubicBez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35" name="Google Shape;11073;p65">
              <a:extLst>
                <a:ext uri="{FF2B5EF4-FFF2-40B4-BE49-F238E27FC236}">
                  <a16:creationId xmlns:a16="http://schemas.microsoft.com/office/drawing/2014/main" id="{1632CA4F-C81B-F720-D06F-F0E4722D2C53}"/>
                </a:ext>
              </a:extLst>
            </p:cNvPr>
            <p:cNvSpPr/>
            <p:nvPr/>
          </p:nvSpPr>
          <p:spPr>
            <a:xfrm>
              <a:off x="6946266" y="3181844"/>
              <a:ext cx="21095" cy="14742"/>
            </a:xfrm>
            <a:custGeom>
              <a:avLst/>
              <a:gdLst/>
              <a:ahLst/>
              <a:cxnLst/>
              <a:rect l="l" t="t" r="r" b="b"/>
              <a:pathLst>
                <a:path w="3656" h="2556" extrusionOk="0">
                  <a:moveTo>
                    <a:pt x="498" y="0"/>
                  </a:moveTo>
                  <a:cubicBezTo>
                    <a:pt x="444" y="426"/>
                    <a:pt x="373" y="852"/>
                    <a:pt x="302" y="1278"/>
                  </a:cubicBezTo>
                  <a:cubicBezTo>
                    <a:pt x="231" y="1686"/>
                    <a:pt x="107" y="2076"/>
                    <a:pt x="1" y="2555"/>
                  </a:cubicBezTo>
                  <a:lnTo>
                    <a:pt x="3656" y="2467"/>
                  </a:lnTo>
                  <a:lnTo>
                    <a:pt x="3319" y="1100"/>
                  </a:lnTo>
                  <a:lnTo>
                    <a:pt x="498" y="0"/>
                  </a:lnTo>
                  <a:close/>
                </a:path>
              </a:pathLst>
            </a:custGeom>
            <a:solidFill>
              <a:srgbClr val="869FB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sp>
        <p:nvSpPr>
          <p:cNvPr id="1941" name="Google Shape;11074;p65">
            <a:extLst>
              <a:ext uri="{FF2B5EF4-FFF2-40B4-BE49-F238E27FC236}">
                <a16:creationId xmlns:a16="http://schemas.microsoft.com/office/drawing/2014/main" id="{B0D628E1-5F0E-FF6D-AB50-752037F2A772}"/>
              </a:ext>
            </a:extLst>
          </p:cNvPr>
          <p:cNvSpPr/>
          <p:nvPr/>
        </p:nvSpPr>
        <p:spPr>
          <a:xfrm>
            <a:off x="9346085" y="4195808"/>
            <a:ext cx="32359" cy="14672"/>
          </a:xfrm>
          <a:custGeom>
            <a:avLst/>
            <a:gdLst/>
            <a:ahLst/>
            <a:cxnLst/>
            <a:rect l="l" t="t" r="r" b="b"/>
            <a:pathLst>
              <a:path w="4206" h="1908" extrusionOk="0">
                <a:moveTo>
                  <a:pt x="2533" y="1"/>
                </a:moveTo>
                <a:cubicBezTo>
                  <a:pt x="1985" y="1"/>
                  <a:pt x="1354" y="226"/>
                  <a:pt x="0" y="709"/>
                </a:cubicBezTo>
                <a:cubicBezTo>
                  <a:pt x="1204" y="1500"/>
                  <a:pt x="1825" y="1908"/>
                  <a:pt x="2340" y="1908"/>
                </a:cubicBezTo>
                <a:cubicBezTo>
                  <a:pt x="2889" y="1908"/>
                  <a:pt x="3319" y="1447"/>
                  <a:pt x="4206" y="496"/>
                </a:cubicBezTo>
                <a:cubicBezTo>
                  <a:pt x="3427" y="173"/>
                  <a:pt x="3012" y="1"/>
                  <a:pt x="2533" y="1"/>
                </a:cubicBezTo>
                <a:close/>
              </a:path>
            </a:pathLst>
          </a:custGeom>
          <a:solidFill>
            <a:srgbClr val="869FB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1942" name="Google Shape;11075;p65">
            <a:extLst>
              <a:ext uri="{FF2B5EF4-FFF2-40B4-BE49-F238E27FC236}">
                <a16:creationId xmlns:a16="http://schemas.microsoft.com/office/drawing/2014/main" id="{A255D95F-13BA-4F40-9F3A-ABF194230891}"/>
              </a:ext>
            </a:extLst>
          </p:cNvPr>
          <p:cNvGrpSpPr/>
          <p:nvPr/>
        </p:nvGrpSpPr>
        <p:grpSpPr>
          <a:xfrm>
            <a:off x="8897839" y="5030964"/>
            <a:ext cx="747508" cy="681803"/>
            <a:chOff x="6652154" y="3716623"/>
            <a:chExt cx="560631" cy="511352"/>
          </a:xfrm>
        </p:grpSpPr>
        <p:sp>
          <p:nvSpPr>
            <p:cNvPr id="1943" name="Google Shape;11076;p65">
              <a:extLst>
                <a:ext uri="{FF2B5EF4-FFF2-40B4-BE49-F238E27FC236}">
                  <a16:creationId xmlns:a16="http://schemas.microsoft.com/office/drawing/2014/main" id="{729CC3F5-CB46-289E-DB8D-31B945B9FE07}"/>
                </a:ext>
              </a:extLst>
            </p:cNvPr>
            <p:cNvSpPr/>
            <p:nvPr/>
          </p:nvSpPr>
          <p:spPr>
            <a:xfrm>
              <a:off x="6652154" y="3716623"/>
              <a:ext cx="560631" cy="511352"/>
            </a:xfrm>
            <a:custGeom>
              <a:avLst/>
              <a:gdLst/>
              <a:ahLst/>
              <a:cxnLst/>
              <a:rect l="l" t="t" r="r" b="b"/>
              <a:pathLst>
                <a:path w="97163" h="88661" extrusionOk="0">
                  <a:moveTo>
                    <a:pt x="48942" y="1"/>
                  </a:moveTo>
                  <a:cubicBezTo>
                    <a:pt x="46560" y="1"/>
                    <a:pt x="44145" y="185"/>
                    <a:pt x="41715" y="565"/>
                  </a:cubicBezTo>
                  <a:cubicBezTo>
                    <a:pt x="16981" y="4433"/>
                    <a:pt x="0" y="27180"/>
                    <a:pt x="3779" y="51346"/>
                  </a:cubicBezTo>
                  <a:cubicBezTo>
                    <a:pt x="7187" y="73133"/>
                    <a:pt x="26312" y="88661"/>
                    <a:pt x="48182" y="88661"/>
                  </a:cubicBezTo>
                  <a:cubicBezTo>
                    <a:pt x="50571" y="88661"/>
                    <a:pt x="52993" y="88476"/>
                    <a:pt x="55431" y="88093"/>
                  </a:cubicBezTo>
                  <a:cubicBezTo>
                    <a:pt x="80165" y="84225"/>
                    <a:pt x="97163" y="61496"/>
                    <a:pt x="93366" y="37311"/>
                  </a:cubicBezTo>
                  <a:cubicBezTo>
                    <a:pt x="89958" y="15517"/>
                    <a:pt x="70820" y="1"/>
                    <a:pt x="48942" y="1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1944" name="Google Shape;11077;p65">
              <a:extLst>
                <a:ext uri="{FF2B5EF4-FFF2-40B4-BE49-F238E27FC236}">
                  <a16:creationId xmlns:a16="http://schemas.microsoft.com/office/drawing/2014/main" id="{35F0D5B0-D704-63C8-DA25-A6FB2345010A}"/>
                </a:ext>
              </a:extLst>
            </p:cNvPr>
            <p:cNvGrpSpPr/>
            <p:nvPr/>
          </p:nvGrpSpPr>
          <p:grpSpPr>
            <a:xfrm>
              <a:off x="6669657" y="3716715"/>
              <a:ext cx="466779" cy="464290"/>
              <a:chOff x="6669657" y="3716715"/>
              <a:chExt cx="466779" cy="464290"/>
            </a:xfrm>
          </p:grpSpPr>
          <p:sp>
            <p:nvSpPr>
              <p:cNvPr id="1945" name="Google Shape;11078;p65">
                <a:extLst>
                  <a:ext uri="{FF2B5EF4-FFF2-40B4-BE49-F238E27FC236}">
                    <a16:creationId xmlns:a16="http://schemas.microsoft.com/office/drawing/2014/main" id="{FC5CBC99-4FAD-4D57-E7E9-952A703D5D83}"/>
                  </a:ext>
                </a:extLst>
              </p:cNvPr>
              <p:cNvSpPr/>
              <p:nvPr/>
            </p:nvSpPr>
            <p:spPr>
              <a:xfrm>
                <a:off x="6669657" y="3716715"/>
                <a:ext cx="386382" cy="464290"/>
              </a:xfrm>
              <a:custGeom>
                <a:avLst/>
                <a:gdLst/>
                <a:ahLst/>
                <a:cxnLst/>
                <a:rect l="l" t="t" r="r" b="b"/>
                <a:pathLst>
                  <a:path w="66964" h="80501" extrusionOk="0">
                    <a:moveTo>
                      <a:pt x="45863" y="0"/>
                    </a:moveTo>
                    <a:cubicBezTo>
                      <a:pt x="43461" y="0"/>
                      <a:pt x="41054" y="188"/>
                      <a:pt x="38663" y="566"/>
                    </a:cubicBezTo>
                    <a:cubicBezTo>
                      <a:pt x="20352" y="3441"/>
                      <a:pt x="6281" y="16660"/>
                      <a:pt x="1757" y="33161"/>
                    </a:cubicBezTo>
                    <a:lnTo>
                      <a:pt x="4081" y="32487"/>
                    </a:lnTo>
                    <a:lnTo>
                      <a:pt x="4081" y="32487"/>
                    </a:lnTo>
                    <a:cubicBezTo>
                      <a:pt x="4756" y="33871"/>
                      <a:pt x="3939" y="34971"/>
                      <a:pt x="3496" y="36213"/>
                    </a:cubicBezTo>
                    <a:cubicBezTo>
                      <a:pt x="3088" y="37384"/>
                      <a:pt x="2129" y="37207"/>
                      <a:pt x="1384" y="37295"/>
                    </a:cubicBezTo>
                    <a:cubicBezTo>
                      <a:pt x="1207" y="37313"/>
                      <a:pt x="1012" y="37348"/>
                      <a:pt x="816" y="37366"/>
                    </a:cubicBezTo>
                    <a:cubicBezTo>
                      <a:pt x="36" y="41997"/>
                      <a:pt x="0" y="46717"/>
                      <a:pt x="728" y="51348"/>
                    </a:cubicBezTo>
                    <a:cubicBezTo>
                      <a:pt x="2644" y="63591"/>
                      <a:pt x="9528" y="73847"/>
                      <a:pt x="19057" y="80501"/>
                    </a:cubicBezTo>
                    <a:cubicBezTo>
                      <a:pt x="18897" y="80217"/>
                      <a:pt x="18737" y="79950"/>
                      <a:pt x="18560" y="79684"/>
                    </a:cubicBezTo>
                    <a:cubicBezTo>
                      <a:pt x="18099" y="79010"/>
                      <a:pt x="17069" y="77928"/>
                      <a:pt x="17194" y="77768"/>
                    </a:cubicBezTo>
                    <a:cubicBezTo>
                      <a:pt x="18081" y="76703"/>
                      <a:pt x="16094" y="76632"/>
                      <a:pt x="16626" y="75834"/>
                    </a:cubicBezTo>
                    <a:cubicBezTo>
                      <a:pt x="15206" y="74876"/>
                      <a:pt x="14816" y="73652"/>
                      <a:pt x="15277" y="71948"/>
                    </a:cubicBezTo>
                    <a:cubicBezTo>
                      <a:pt x="15455" y="71292"/>
                      <a:pt x="15100" y="70529"/>
                      <a:pt x="14426" y="69854"/>
                    </a:cubicBezTo>
                    <a:cubicBezTo>
                      <a:pt x="13468" y="68896"/>
                      <a:pt x="12811" y="67601"/>
                      <a:pt x="12101" y="66394"/>
                    </a:cubicBezTo>
                    <a:cubicBezTo>
                      <a:pt x="11782" y="65862"/>
                      <a:pt x="11338" y="65152"/>
                      <a:pt x="11463" y="64620"/>
                    </a:cubicBezTo>
                    <a:cubicBezTo>
                      <a:pt x="11871" y="62739"/>
                      <a:pt x="12172" y="60734"/>
                      <a:pt x="13095" y="59102"/>
                    </a:cubicBezTo>
                    <a:cubicBezTo>
                      <a:pt x="14337" y="56919"/>
                      <a:pt x="14284" y="54914"/>
                      <a:pt x="13343" y="51969"/>
                    </a:cubicBezTo>
                    <a:lnTo>
                      <a:pt x="13343" y="51969"/>
                    </a:lnTo>
                    <a:cubicBezTo>
                      <a:pt x="12811" y="53619"/>
                      <a:pt x="11888" y="53229"/>
                      <a:pt x="11090" y="53353"/>
                    </a:cubicBezTo>
                    <a:cubicBezTo>
                      <a:pt x="10814" y="53401"/>
                      <a:pt x="10612" y="53439"/>
                      <a:pt x="10447" y="53439"/>
                    </a:cubicBezTo>
                    <a:cubicBezTo>
                      <a:pt x="9997" y="53439"/>
                      <a:pt x="9823" y="53151"/>
                      <a:pt x="9174" y="51969"/>
                    </a:cubicBezTo>
                    <a:cubicBezTo>
                      <a:pt x="7861" y="50763"/>
                      <a:pt x="6619" y="49485"/>
                      <a:pt x="5447" y="48136"/>
                    </a:cubicBezTo>
                    <a:cubicBezTo>
                      <a:pt x="5270" y="47853"/>
                      <a:pt x="5146" y="47551"/>
                      <a:pt x="5110" y="47214"/>
                    </a:cubicBezTo>
                    <a:cubicBezTo>
                      <a:pt x="4862" y="45759"/>
                      <a:pt x="4649" y="44304"/>
                      <a:pt x="4773" y="42796"/>
                    </a:cubicBezTo>
                    <a:lnTo>
                      <a:pt x="4773" y="42796"/>
                    </a:lnTo>
                    <a:lnTo>
                      <a:pt x="9653" y="51756"/>
                    </a:lnTo>
                    <a:cubicBezTo>
                      <a:pt x="11924" y="50745"/>
                      <a:pt x="13680" y="49201"/>
                      <a:pt x="15650" y="47995"/>
                    </a:cubicBezTo>
                    <a:cubicBezTo>
                      <a:pt x="17034" y="47161"/>
                      <a:pt x="17584" y="45954"/>
                      <a:pt x="18045" y="44606"/>
                    </a:cubicBezTo>
                    <a:cubicBezTo>
                      <a:pt x="18205" y="44109"/>
                      <a:pt x="18329" y="43594"/>
                      <a:pt x="18436" y="43080"/>
                    </a:cubicBezTo>
                    <a:lnTo>
                      <a:pt x="15597" y="40542"/>
                    </a:lnTo>
                    <a:lnTo>
                      <a:pt x="15224" y="41749"/>
                    </a:lnTo>
                    <a:cubicBezTo>
                      <a:pt x="14000" y="41092"/>
                      <a:pt x="12793" y="40507"/>
                      <a:pt x="11640" y="39833"/>
                    </a:cubicBezTo>
                    <a:cubicBezTo>
                      <a:pt x="10593" y="39212"/>
                      <a:pt x="10433" y="38395"/>
                      <a:pt x="11374" y="37082"/>
                    </a:cubicBezTo>
                    <a:lnTo>
                      <a:pt x="11374" y="37082"/>
                    </a:lnTo>
                    <a:cubicBezTo>
                      <a:pt x="12448" y="38789"/>
                      <a:pt x="13681" y="39825"/>
                      <a:pt x="15346" y="39825"/>
                    </a:cubicBezTo>
                    <a:cubicBezTo>
                      <a:pt x="15689" y="39825"/>
                      <a:pt x="16049" y="39781"/>
                      <a:pt x="16431" y="39691"/>
                    </a:cubicBezTo>
                    <a:cubicBezTo>
                      <a:pt x="16437" y="39689"/>
                      <a:pt x="16444" y="39688"/>
                      <a:pt x="16450" y="39688"/>
                    </a:cubicBezTo>
                    <a:cubicBezTo>
                      <a:pt x="16592" y="39688"/>
                      <a:pt x="16795" y="40029"/>
                      <a:pt x="16998" y="40063"/>
                    </a:cubicBezTo>
                    <a:cubicBezTo>
                      <a:pt x="17810" y="40257"/>
                      <a:pt x="18605" y="40492"/>
                      <a:pt x="19428" y="40492"/>
                    </a:cubicBezTo>
                    <a:cubicBezTo>
                      <a:pt x="19811" y="40492"/>
                      <a:pt x="20200" y="40441"/>
                      <a:pt x="20600" y="40312"/>
                    </a:cubicBezTo>
                    <a:cubicBezTo>
                      <a:pt x="21150" y="40152"/>
                      <a:pt x="21718" y="40045"/>
                      <a:pt x="22304" y="40010"/>
                    </a:cubicBezTo>
                    <a:cubicBezTo>
                      <a:pt x="24003" y="41489"/>
                      <a:pt x="25144" y="42940"/>
                      <a:pt x="27015" y="42940"/>
                    </a:cubicBezTo>
                    <a:cubicBezTo>
                      <a:pt x="27253" y="42940"/>
                      <a:pt x="27504" y="42917"/>
                      <a:pt x="27769" y="42867"/>
                    </a:cubicBezTo>
                    <a:cubicBezTo>
                      <a:pt x="27999" y="44251"/>
                      <a:pt x="27875" y="45564"/>
                      <a:pt x="28407" y="46486"/>
                    </a:cubicBezTo>
                    <a:cubicBezTo>
                      <a:pt x="29614" y="48616"/>
                      <a:pt x="31158" y="50532"/>
                      <a:pt x="32701" y="52732"/>
                    </a:cubicBezTo>
                    <a:lnTo>
                      <a:pt x="34600" y="50425"/>
                    </a:lnTo>
                    <a:lnTo>
                      <a:pt x="34103" y="47196"/>
                    </a:lnTo>
                    <a:cubicBezTo>
                      <a:pt x="34972" y="46096"/>
                      <a:pt x="36268" y="45173"/>
                      <a:pt x="36286" y="44251"/>
                    </a:cubicBezTo>
                    <a:cubicBezTo>
                      <a:pt x="36303" y="42707"/>
                      <a:pt x="38503" y="42955"/>
                      <a:pt x="38202" y="41394"/>
                    </a:cubicBezTo>
                    <a:cubicBezTo>
                      <a:pt x="38184" y="41305"/>
                      <a:pt x="39604" y="40986"/>
                      <a:pt x="40313" y="40702"/>
                    </a:cubicBezTo>
                    <a:cubicBezTo>
                      <a:pt x="40650" y="40560"/>
                      <a:pt x="40899" y="40223"/>
                      <a:pt x="41378" y="39797"/>
                    </a:cubicBezTo>
                    <a:lnTo>
                      <a:pt x="44785" y="44978"/>
                    </a:lnTo>
                    <a:lnTo>
                      <a:pt x="46630" y="43914"/>
                    </a:lnTo>
                    <a:cubicBezTo>
                      <a:pt x="47553" y="45102"/>
                      <a:pt x="46754" y="46699"/>
                      <a:pt x="48067" y="47480"/>
                    </a:cubicBezTo>
                    <a:cubicBezTo>
                      <a:pt x="47020" y="50124"/>
                      <a:pt x="48741" y="51508"/>
                      <a:pt x="50445" y="52980"/>
                    </a:cubicBezTo>
                    <a:cubicBezTo>
                      <a:pt x="50764" y="53247"/>
                      <a:pt x="50640" y="54010"/>
                      <a:pt x="50746" y="54684"/>
                    </a:cubicBezTo>
                    <a:cubicBezTo>
                      <a:pt x="49546" y="54279"/>
                      <a:pt x="48739" y="53108"/>
                      <a:pt x="47515" y="53108"/>
                    </a:cubicBezTo>
                    <a:cubicBezTo>
                      <a:pt x="47074" y="53108"/>
                      <a:pt x="46579" y="53260"/>
                      <a:pt x="45991" y="53655"/>
                    </a:cubicBezTo>
                    <a:cubicBezTo>
                      <a:pt x="46130" y="53637"/>
                      <a:pt x="46261" y="53629"/>
                      <a:pt x="46385" y="53629"/>
                    </a:cubicBezTo>
                    <a:cubicBezTo>
                      <a:pt x="47902" y="53629"/>
                      <a:pt x="48314" y="54868"/>
                      <a:pt x="48954" y="55606"/>
                    </a:cubicBezTo>
                    <a:cubicBezTo>
                      <a:pt x="49646" y="56387"/>
                      <a:pt x="51119" y="56937"/>
                      <a:pt x="50782" y="58712"/>
                    </a:cubicBezTo>
                    <a:cubicBezTo>
                      <a:pt x="50925" y="58653"/>
                      <a:pt x="51063" y="58628"/>
                      <a:pt x="51196" y="58628"/>
                    </a:cubicBezTo>
                    <a:cubicBezTo>
                      <a:pt x="52116" y="58628"/>
                      <a:pt x="52822" y="59846"/>
                      <a:pt x="53828" y="59846"/>
                    </a:cubicBezTo>
                    <a:cubicBezTo>
                      <a:pt x="54135" y="59846"/>
                      <a:pt x="54469" y="59733"/>
                      <a:pt x="54845" y="59439"/>
                    </a:cubicBezTo>
                    <a:lnTo>
                      <a:pt x="55431" y="57026"/>
                    </a:lnTo>
                    <a:cubicBezTo>
                      <a:pt x="55147" y="56955"/>
                      <a:pt x="54863" y="56902"/>
                      <a:pt x="54579" y="56849"/>
                    </a:cubicBezTo>
                    <a:cubicBezTo>
                      <a:pt x="53053" y="56760"/>
                      <a:pt x="51385" y="55819"/>
                      <a:pt x="51793" y="55269"/>
                    </a:cubicBezTo>
                    <a:lnTo>
                      <a:pt x="52787" y="54844"/>
                    </a:lnTo>
                    <a:lnTo>
                      <a:pt x="52414" y="52501"/>
                    </a:lnTo>
                    <a:cubicBezTo>
                      <a:pt x="48866" y="49893"/>
                      <a:pt x="48440" y="48917"/>
                      <a:pt x="49770" y="46291"/>
                    </a:cubicBezTo>
                    <a:lnTo>
                      <a:pt x="49770" y="46291"/>
                    </a:lnTo>
                    <a:cubicBezTo>
                      <a:pt x="50462" y="46859"/>
                      <a:pt x="51208" y="47338"/>
                      <a:pt x="51775" y="47977"/>
                    </a:cubicBezTo>
                    <a:cubicBezTo>
                      <a:pt x="52326" y="48562"/>
                      <a:pt x="52698" y="49325"/>
                      <a:pt x="53088" y="49929"/>
                    </a:cubicBezTo>
                    <a:lnTo>
                      <a:pt x="55821" y="46948"/>
                    </a:lnTo>
                    <a:lnTo>
                      <a:pt x="55200" y="42955"/>
                    </a:lnTo>
                    <a:lnTo>
                      <a:pt x="52805" y="41447"/>
                    </a:lnTo>
                    <a:lnTo>
                      <a:pt x="53585" y="38253"/>
                    </a:lnTo>
                    <a:lnTo>
                      <a:pt x="55111" y="39229"/>
                    </a:lnTo>
                    <a:cubicBezTo>
                      <a:pt x="55111" y="40045"/>
                      <a:pt x="55111" y="40542"/>
                      <a:pt x="55111" y="41039"/>
                    </a:cubicBezTo>
                    <a:lnTo>
                      <a:pt x="56300" y="41021"/>
                    </a:lnTo>
                    <a:lnTo>
                      <a:pt x="56034" y="38466"/>
                    </a:lnTo>
                    <a:cubicBezTo>
                      <a:pt x="59778" y="37011"/>
                      <a:pt x="60754" y="35876"/>
                      <a:pt x="62546" y="30925"/>
                    </a:cubicBezTo>
                    <a:lnTo>
                      <a:pt x="59370" y="25407"/>
                    </a:lnTo>
                    <a:lnTo>
                      <a:pt x="60754" y="24609"/>
                    </a:lnTo>
                    <a:cubicBezTo>
                      <a:pt x="60620" y="24079"/>
                      <a:pt x="60336" y="23926"/>
                      <a:pt x="59999" y="23926"/>
                    </a:cubicBezTo>
                    <a:cubicBezTo>
                      <a:pt x="59536" y="23926"/>
                      <a:pt x="58975" y="24215"/>
                      <a:pt x="58567" y="24215"/>
                    </a:cubicBezTo>
                    <a:cubicBezTo>
                      <a:pt x="58326" y="24215"/>
                      <a:pt x="58138" y="24114"/>
                      <a:pt x="58057" y="23792"/>
                    </a:cubicBezTo>
                    <a:lnTo>
                      <a:pt x="59316" y="21344"/>
                    </a:lnTo>
                    <a:lnTo>
                      <a:pt x="60062" y="22692"/>
                    </a:lnTo>
                    <a:lnTo>
                      <a:pt x="61286" y="21858"/>
                    </a:lnTo>
                    <a:lnTo>
                      <a:pt x="63504" y="23775"/>
                    </a:lnTo>
                    <a:lnTo>
                      <a:pt x="64178" y="27040"/>
                    </a:lnTo>
                    <a:cubicBezTo>
                      <a:pt x="64959" y="25993"/>
                      <a:pt x="65598" y="25478"/>
                      <a:pt x="65775" y="24822"/>
                    </a:cubicBezTo>
                    <a:cubicBezTo>
                      <a:pt x="66201" y="23367"/>
                      <a:pt x="64356" y="23225"/>
                      <a:pt x="64089" y="22515"/>
                    </a:cubicBezTo>
                    <a:lnTo>
                      <a:pt x="64444" y="18647"/>
                    </a:lnTo>
                    <a:cubicBezTo>
                      <a:pt x="66520" y="17955"/>
                      <a:pt x="66538" y="17902"/>
                      <a:pt x="66609" y="16305"/>
                    </a:cubicBezTo>
                    <a:cubicBezTo>
                      <a:pt x="66698" y="14229"/>
                      <a:pt x="66840" y="12171"/>
                      <a:pt x="66964" y="10059"/>
                    </a:cubicBezTo>
                    <a:cubicBezTo>
                      <a:pt x="65951" y="8994"/>
                      <a:pt x="64617" y="8884"/>
                      <a:pt x="63235" y="8884"/>
                    </a:cubicBezTo>
                    <a:cubicBezTo>
                      <a:pt x="62876" y="8884"/>
                      <a:pt x="62514" y="8891"/>
                      <a:pt x="62153" y="8891"/>
                    </a:cubicBezTo>
                    <a:cubicBezTo>
                      <a:pt x="62029" y="8891"/>
                      <a:pt x="61906" y="8890"/>
                      <a:pt x="61783" y="8888"/>
                    </a:cubicBezTo>
                    <a:cubicBezTo>
                      <a:pt x="61978" y="8001"/>
                      <a:pt x="62209" y="7362"/>
                      <a:pt x="62262" y="6741"/>
                    </a:cubicBezTo>
                    <a:cubicBezTo>
                      <a:pt x="62297" y="6102"/>
                      <a:pt x="62173" y="5464"/>
                      <a:pt x="62120" y="4701"/>
                    </a:cubicBezTo>
                    <a:lnTo>
                      <a:pt x="65119" y="4239"/>
                    </a:lnTo>
                    <a:cubicBezTo>
                      <a:pt x="59052" y="1427"/>
                      <a:pt x="52479" y="0"/>
                      <a:pt x="45863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46" name="Google Shape;11079;p65">
                <a:extLst>
                  <a:ext uri="{FF2B5EF4-FFF2-40B4-BE49-F238E27FC236}">
                    <a16:creationId xmlns:a16="http://schemas.microsoft.com/office/drawing/2014/main" id="{4F2316CF-0E5D-6A66-6980-9895C33EA3AD}"/>
                  </a:ext>
                </a:extLst>
              </p:cNvPr>
              <p:cNvSpPr/>
              <p:nvPr/>
            </p:nvSpPr>
            <p:spPr>
              <a:xfrm>
                <a:off x="7010819" y="4061082"/>
                <a:ext cx="117645" cy="102137"/>
              </a:xfrm>
              <a:custGeom>
                <a:avLst/>
                <a:gdLst/>
                <a:ahLst/>
                <a:cxnLst/>
                <a:rect l="l" t="t" r="r" b="b"/>
                <a:pathLst>
                  <a:path w="20389" h="17709" extrusionOk="0">
                    <a:moveTo>
                      <a:pt x="17567" y="0"/>
                    </a:moveTo>
                    <a:lnTo>
                      <a:pt x="17567" y="0"/>
                    </a:lnTo>
                    <a:cubicBezTo>
                      <a:pt x="17070" y="1331"/>
                      <a:pt x="16644" y="2697"/>
                      <a:pt x="16307" y="4081"/>
                    </a:cubicBezTo>
                    <a:cubicBezTo>
                      <a:pt x="16278" y="4199"/>
                      <a:pt x="16114" y="4268"/>
                      <a:pt x="16100" y="4268"/>
                    </a:cubicBezTo>
                    <a:cubicBezTo>
                      <a:pt x="16097" y="4268"/>
                      <a:pt x="16100" y="4265"/>
                      <a:pt x="16112" y="4259"/>
                    </a:cubicBezTo>
                    <a:lnTo>
                      <a:pt x="13912" y="3034"/>
                    </a:lnTo>
                    <a:lnTo>
                      <a:pt x="14391" y="1437"/>
                    </a:lnTo>
                    <a:lnTo>
                      <a:pt x="12617" y="337"/>
                    </a:lnTo>
                    <a:cubicBezTo>
                      <a:pt x="12563" y="2112"/>
                      <a:pt x="10416" y="1970"/>
                      <a:pt x="10523" y="3655"/>
                    </a:cubicBezTo>
                    <a:cubicBezTo>
                      <a:pt x="10523" y="3709"/>
                      <a:pt x="10239" y="3797"/>
                      <a:pt x="10079" y="3815"/>
                    </a:cubicBezTo>
                    <a:cubicBezTo>
                      <a:pt x="8287" y="4028"/>
                      <a:pt x="8553" y="4418"/>
                      <a:pt x="7276" y="5305"/>
                    </a:cubicBezTo>
                    <a:cubicBezTo>
                      <a:pt x="5785" y="6352"/>
                      <a:pt x="5466" y="8730"/>
                      <a:pt x="3017" y="8765"/>
                    </a:cubicBezTo>
                    <a:cubicBezTo>
                      <a:pt x="2166" y="8783"/>
                      <a:pt x="1154" y="9919"/>
                      <a:pt x="569" y="10770"/>
                    </a:cubicBezTo>
                    <a:cubicBezTo>
                      <a:pt x="178" y="11356"/>
                      <a:pt x="1" y="12705"/>
                      <a:pt x="374" y="13095"/>
                    </a:cubicBezTo>
                    <a:cubicBezTo>
                      <a:pt x="1687" y="14443"/>
                      <a:pt x="746" y="15810"/>
                      <a:pt x="569" y="17708"/>
                    </a:cubicBezTo>
                    <a:cubicBezTo>
                      <a:pt x="3337" y="16519"/>
                      <a:pt x="5839" y="15668"/>
                      <a:pt x="8074" y="14213"/>
                    </a:cubicBezTo>
                    <a:lnTo>
                      <a:pt x="10558" y="15934"/>
                    </a:lnTo>
                    <a:lnTo>
                      <a:pt x="9866" y="17336"/>
                    </a:lnTo>
                    <a:cubicBezTo>
                      <a:pt x="11960" y="17300"/>
                      <a:pt x="13592" y="16998"/>
                      <a:pt x="14710" y="15508"/>
                    </a:cubicBezTo>
                    <a:cubicBezTo>
                      <a:pt x="16094" y="13645"/>
                      <a:pt x="17585" y="11835"/>
                      <a:pt x="18773" y="9866"/>
                    </a:cubicBezTo>
                    <a:cubicBezTo>
                      <a:pt x="19590" y="8482"/>
                      <a:pt x="20388" y="6885"/>
                      <a:pt x="18862" y="5305"/>
                    </a:cubicBezTo>
                    <a:cubicBezTo>
                      <a:pt x="18596" y="5039"/>
                      <a:pt x="18330" y="4330"/>
                      <a:pt x="18472" y="4099"/>
                    </a:cubicBezTo>
                    <a:cubicBezTo>
                      <a:pt x="19732" y="2307"/>
                      <a:pt x="17372" y="1491"/>
                      <a:pt x="17567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47" name="Google Shape;11080;p65">
                <a:extLst>
                  <a:ext uri="{FF2B5EF4-FFF2-40B4-BE49-F238E27FC236}">
                    <a16:creationId xmlns:a16="http://schemas.microsoft.com/office/drawing/2014/main" id="{F6CA088B-E98F-7F6E-C11D-16A604ED5A42}"/>
                  </a:ext>
                </a:extLst>
              </p:cNvPr>
              <p:cNvSpPr/>
              <p:nvPr/>
            </p:nvSpPr>
            <p:spPr>
              <a:xfrm>
                <a:off x="6995058" y="4000087"/>
                <a:ext cx="41059" cy="51071"/>
              </a:xfrm>
              <a:custGeom>
                <a:avLst/>
                <a:gdLst/>
                <a:ahLst/>
                <a:cxnLst/>
                <a:rect l="l" t="t" r="r" b="b"/>
                <a:pathLst>
                  <a:path w="7116" h="8855" extrusionOk="0">
                    <a:moveTo>
                      <a:pt x="5359" y="0"/>
                    </a:moveTo>
                    <a:cubicBezTo>
                      <a:pt x="4649" y="976"/>
                      <a:pt x="3993" y="1774"/>
                      <a:pt x="3460" y="2644"/>
                    </a:cubicBezTo>
                    <a:cubicBezTo>
                      <a:pt x="2910" y="3513"/>
                      <a:pt x="1455" y="3638"/>
                      <a:pt x="1828" y="5181"/>
                    </a:cubicBezTo>
                    <a:cubicBezTo>
                      <a:pt x="1354" y="4803"/>
                      <a:pt x="1037" y="4660"/>
                      <a:pt x="815" y="4660"/>
                    </a:cubicBezTo>
                    <a:cubicBezTo>
                      <a:pt x="256" y="4660"/>
                      <a:pt x="305" y="5571"/>
                      <a:pt x="1" y="5926"/>
                    </a:cubicBezTo>
                    <a:cubicBezTo>
                      <a:pt x="1136" y="7417"/>
                      <a:pt x="1438" y="7577"/>
                      <a:pt x="5412" y="8854"/>
                    </a:cubicBezTo>
                    <a:cubicBezTo>
                      <a:pt x="5590" y="7896"/>
                      <a:pt x="5625" y="7239"/>
                      <a:pt x="5820" y="6636"/>
                    </a:cubicBezTo>
                    <a:cubicBezTo>
                      <a:pt x="6033" y="6015"/>
                      <a:pt x="6335" y="5430"/>
                      <a:pt x="6708" y="4880"/>
                    </a:cubicBezTo>
                    <a:cubicBezTo>
                      <a:pt x="7116" y="4294"/>
                      <a:pt x="5696" y="4170"/>
                      <a:pt x="6459" y="3354"/>
                    </a:cubicBezTo>
                    <a:cubicBezTo>
                      <a:pt x="6849" y="2928"/>
                      <a:pt x="6637" y="1686"/>
                      <a:pt x="6778" y="1384"/>
                    </a:cubicBezTo>
                    <a:cubicBezTo>
                      <a:pt x="6832" y="1224"/>
                      <a:pt x="6867" y="1047"/>
                      <a:pt x="6885" y="870"/>
                    </a:cubicBezTo>
                    <a:lnTo>
                      <a:pt x="5359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48" name="Google Shape;11081;p65">
                <a:extLst>
                  <a:ext uri="{FF2B5EF4-FFF2-40B4-BE49-F238E27FC236}">
                    <a16:creationId xmlns:a16="http://schemas.microsoft.com/office/drawing/2014/main" id="{67E21E03-4294-5B0D-6B9D-AD96163B38D2}"/>
                  </a:ext>
                </a:extLst>
              </p:cNvPr>
              <p:cNvSpPr/>
              <p:nvPr/>
            </p:nvSpPr>
            <p:spPr>
              <a:xfrm>
                <a:off x="7078892" y="4018504"/>
                <a:ext cx="57544" cy="36030"/>
              </a:xfrm>
              <a:custGeom>
                <a:avLst/>
                <a:gdLst/>
                <a:ahLst/>
                <a:cxnLst/>
                <a:rect l="l" t="t" r="r" b="b"/>
                <a:pathLst>
                  <a:path w="9973" h="6247" extrusionOk="0">
                    <a:moveTo>
                      <a:pt x="0" y="1"/>
                    </a:moveTo>
                    <a:lnTo>
                      <a:pt x="266" y="1722"/>
                    </a:lnTo>
                    <a:lnTo>
                      <a:pt x="1668" y="1970"/>
                    </a:lnTo>
                    <a:lnTo>
                      <a:pt x="870" y="3177"/>
                    </a:lnTo>
                    <a:cubicBezTo>
                      <a:pt x="1300" y="3058"/>
                      <a:pt x="1704" y="3001"/>
                      <a:pt x="2079" y="3001"/>
                    </a:cubicBezTo>
                    <a:cubicBezTo>
                      <a:pt x="3221" y="3001"/>
                      <a:pt x="4106" y="3533"/>
                      <a:pt x="4720" y="4508"/>
                    </a:cubicBezTo>
                    <a:cubicBezTo>
                      <a:pt x="5319" y="5452"/>
                      <a:pt x="5558" y="5867"/>
                      <a:pt x="5945" y="5867"/>
                    </a:cubicBezTo>
                    <a:cubicBezTo>
                      <a:pt x="6235" y="5867"/>
                      <a:pt x="6607" y="5635"/>
                      <a:pt x="7275" y="5218"/>
                    </a:cubicBezTo>
                    <a:cubicBezTo>
                      <a:pt x="7453" y="5111"/>
                      <a:pt x="7648" y="5058"/>
                      <a:pt x="7861" y="5022"/>
                    </a:cubicBezTo>
                    <a:lnTo>
                      <a:pt x="9564" y="6247"/>
                    </a:lnTo>
                    <a:lnTo>
                      <a:pt x="9972" y="5679"/>
                    </a:lnTo>
                    <a:cubicBezTo>
                      <a:pt x="9582" y="4809"/>
                      <a:pt x="9262" y="3887"/>
                      <a:pt x="8819" y="3035"/>
                    </a:cubicBezTo>
                    <a:cubicBezTo>
                      <a:pt x="8151" y="1821"/>
                      <a:pt x="7070" y="1194"/>
                      <a:pt x="5857" y="1194"/>
                    </a:cubicBezTo>
                    <a:cubicBezTo>
                      <a:pt x="5138" y="1194"/>
                      <a:pt x="4373" y="1415"/>
                      <a:pt x="3620" y="1864"/>
                    </a:cubicBezTo>
                    <a:cubicBezTo>
                      <a:pt x="3336" y="2024"/>
                      <a:pt x="3052" y="2166"/>
                      <a:pt x="2644" y="2396"/>
                    </a:cubicBezTo>
                    <a:lnTo>
                      <a:pt x="1970" y="462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49" name="Google Shape;11082;p65">
                <a:extLst>
                  <a:ext uri="{FF2B5EF4-FFF2-40B4-BE49-F238E27FC236}">
                    <a16:creationId xmlns:a16="http://schemas.microsoft.com/office/drawing/2014/main" id="{84D0F578-18FF-47A3-50C3-DB8C83851354}"/>
                  </a:ext>
                </a:extLst>
              </p:cNvPr>
              <p:cNvSpPr/>
              <p:nvPr/>
            </p:nvSpPr>
            <p:spPr>
              <a:xfrm>
                <a:off x="7051663" y="3806456"/>
                <a:ext cx="38503" cy="70819"/>
              </a:xfrm>
              <a:custGeom>
                <a:avLst/>
                <a:gdLst/>
                <a:ahLst/>
                <a:cxnLst/>
                <a:rect l="l" t="t" r="r" b="b"/>
                <a:pathLst>
                  <a:path w="6673" h="12279" extrusionOk="0">
                    <a:moveTo>
                      <a:pt x="6672" y="1"/>
                    </a:moveTo>
                    <a:lnTo>
                      <a:pt x="6672" y="1"/>
                    </a:lnTo>
                    <a:cubicBezTo>
                      <a:pt x="6223" y="198"/>
                      <a:pt x="5784" y="260"/>
                      <a:pt x="5357" y="260"/>
                    </a:cubicBezTo>
                    <a:cubicBezTo>
                      <a:pt x="4670" y="260"/>
                      <a:pt x="4013" y="100"/>
                      <a:pt x="3390" y="89"/>
                    </a:cubicBezTo>
                    <a:lnTo>
                      <a:pt x="3088" y="2786"/>
                    </a:lnTo>
                    <a:lnTo>
                      <a:pt x="4809" y="5164"/>
                    </a:lnTo>
                    <a:lnTo>
                      <a:pt x="1" y="10771"/>
                    </a:lnTo>
                    <a:lnTo>
                      <a:pt x="1083" y="12279"/>
                    </a:lnTo>
                    <a:lnTo>
                      <a:pt x="6388" y="7772"/>
                    </a:lnTo>
                    <a:cubicBezTo>
                      <a:pt x="4454" y="6495"/>
                      <a:pt x="6175" y="3709"/>
                      <a:pt x="4383" y="2502"/>
                    </a:cubicBezTo>
                    <a:lnTo>
                      <a:pt x="6672" y="1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50" name="Google Shape;11083;p65">
                <a:extLst>
                  <a:ext uri="{FF2B5EF4-FFF2-40B4-BE49-F238E27FC236}">
                    <a16:creationId xmlns:a16="http://schemas.microsoft.com/office/drawing/2014/main" id="{BABD6519-D357-F575-E292-FBC7ACF90663}"/>
                  </a:ext>
                </a:extLst>
              </p:cNvPr>
              <p:cNvSpPr/>
              <p:nvPr/>
            </p:nvSpPr>
            <p:spPr>
              <a:xfrm>
                <a:off x="6984824" y="4061618"/>
                <a:ext cx="42081" cy="8893"/>
              </a:xfrm>
              <a:custGeom>
                <a:avLst/>
                <a:gdLst/>
                <a:ahLst/>
                <a:cxnLst/>
                <a:rect l="l" t="t" r="r" b="b"/>
                <a:pathLst>
                  <a:path w="7293" h="1542" extrusionOk="0">
                    <a:moveTo>
                      <a:pt x="4286" y="0"/>
                    </a:moveTo>
                    <a:cubicBezTo>
                      <a:pt x="2949" y="0"/>
                      <a:pt x="1596" y="367"/>
                      <a:pt x="0" y="510"/>
                    </a:cubicBezTo>
                    <a:cubicBezTo>
                      <a:pt x="787" y="973"/>
                      <a:pt x="1302" y="1542"/>
                      <a:pt x="1738" y="1542"/>
                    </a:cubicBezTo>
                    <a:cubicBezTo>
                      <a:pt x="1970" y="1542"/>
                      <a:pt x="2179" y="1380"/>
                      <a:pt x="2396" y="954"/>
                    </a:cubicBezTo>
                    <a:cubicBezTo>
                      <a:pt x="2708" y="1325"/>
                      <a:pt x="3056" y="1432"/>
                      <a:pt x="3417" y="1432"/>
                    </a:cubicBezTo>
                    <a:cubicBezTo>
                      <a:pt x="3816" y="1432"/>
                      <a:pt x="4231" y="1302"/>
                      <a:pt x="4631" y="1256"/>
                    </a:cubicBezTo>
                    <a:cubicBezTo>
                      <a:pt x="5394" y="1149"/>
                      <a:pt x="6157" y="1025"/>
                      <a:pt x="7293" y="830"/>
                    </a:cubicBezTo>
                    <a:cubicBezTo>
                      <a:pt x="6240" y="198"/>
                      <a:pt x="5268" y="0"/>
                      <a:pt x="4286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51" name="Google Shape;11084;p65">
                <a:extLst>
                  <a:ext uri="{FF2B5EF4-FFF2-40B4-BE49-F238E27FC236}">
                    <a16:creationId xmlns:a16="http://schemas.microsoft.com/office/drawing/2014/main" id="{AF1E1B80-B5E7-32B8-D937-54415292953B}"/>
                  </a:ext>
                </a:extLst>
              </p:cNvPr>
              <p:cNvSpPr/>
              <p:nvPr/>
            </p:nvSpPr>
            <p:spPr>
              <a:xfrm>
                <a:off x="7035181" y="4030478"/>
                <a:ext cx="15469" cy="21703"/>
              </a:xfrm>
              <a:custGeom>
                <a:avLst/>
                <a:gdLst/>
                <a:ahLst/>
                <a:cxnLst/>
                <a:rect l="l" t="t" r="r" b="b"/>
                <a:pathLst>
                  <a:path w="2681" h="3763" extrusionOk="0">
                    <a:moveTo>
                      <a:pt x="2662" y="1"/>
                    </a:moveTo>
                    <a:cubicBezTo>
                      <a:pt x="19" y="675"/>
                      <a:pt x="1" y="764"/>
                      <a:pt x="1012" y="3763"/>
                    </a:cubicBezTo>
                    <a:lnTo>
                      <a:pt x="1491" y="2148"/>
                    </a:lnTo>
                    <a:lnTo>
                      <a:pt x="2201" y="3408"/>
                    </a:lnTo>
                    <a:lnTo>
                      <a:pt x="2680" y="3372"/>
                    </a:lnTo>
                    <a:cubicBezTo>
                      <a:pt x="2574" y="2840"/>
                      <a:pt x="2485" y="2308"/>
                      <a:pt x="2450" y="1758"/>
                    </a:cubicBezTo>
                    <a:cubicBezTo>
                      <a:pt x="2485" y="1172"/>
                      <a:pt x="2556" y="586"/>
                      <a:pt x="2662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52" name="Google Shape;11085;p65">
                <a:extLst>
                  <a:ext uri="{FF2B5EF4-FFF2-40B4-BE49-F238E27FC236}">
                    <a16:creationId xmlns:a16="http://schemas.microsoft.com/office/drawing/2014/main" id="{A92D9657-5175-FE84-E43B-465E62147475}"/>
                  </a:ext>
                </a:extLst>
              </p:cNvPr>
              <p:cNvSpPr/>
              <p:nvPr/>
            </p:nvSpPr>
            <p:spPr>
              <a:xfrm>
                <a:off x="7045011" y="3983609"/>
                <a:ext cx="19047" cy="18121"/>
              </a:xfrm>
              <a:custGeom>
                <a:avLst/>
                <a:gdLst/>
                <a:ahLst/>
                <a:cxnLst/>
                <a:rect l="l" t="t" r="r" b="b"/>
                <a:pathLst>
                  <a:path w="3301" h="3142" extrusionOk="0">
                    <a:moveTo>
                      <a:pt x="3301" y="0"/>
                    </a:moveTo>
                    <a:lnTo>
                      <a:pt x="0" y="1455"/>
                    </a:lnTo>
                    <a:lnTo>
                      <a:pt x="550" y="2520"/>
                    </a:lnTo>
                    <a:lnTo>
                      <a:pt x="1154" y="1793"/>
                    </a:lnTo>
                    <a:lnTo>
                      <a:pt x="2804" y="3141"/>
                    </a:lnTo>
                    <a:lnTo>
                      <a:pt x="3301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53" name="Google Shape;11086;p65">
                <a:extLst>
                  <a:ext uri="{FF2B5EF4-FFF2-40B4-BE49-F238E27FC236}">
                    <a16:creationId xmlns:a16="http://schemas.microsoft.com/office/drawing/2014/main" id="{6EC43968-3527-EA0B-4951-267BDB735083}"/>
                  </a:ext>
                </a:extLst>
              </p:cNvPr>
              <p:cNvSpPr/>
              <p:nvPr/>
            </p:nvSpPr>
            <p:spPr>
              <a:xfrm>
                <a:off x="7034362" y="3943182"/>
                <a:ext cx="9734" cy="24570"/>
              </a:xfrm>
              <a:custGeom>
                <a:avLst/>
                <a:gdLst/>
                <a:ahLst/>
                <a:cxnLst/>
                <a:rect l="l" t="t" r="r" b="b"/>
                <a:pathLst>
                  <a:path w="1687" h="4260" extrusionOk="0">
                    <a:moveTo>
                      <a:pt x="249" y="1"/>
                    </a:moveTo>
                    <a:cubicBezTo>
                      <a:pt x="1" y="2627"/>
                      <a:pt x="1" y="2627"/>
                      <a:pt x="977" y="4259"/>
                    </a:cubicBezTo>
                    <a:cubicBezTo>
                      <a:pt x="1687" y="1261"/>
                      <a:pt x="1687" y="1261"/>
                      <a:pt x="249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54" name="Google Shape;11087;p65">
                <a:extLst>
                  <a:ext uri="{FF2B5EF4-FFF2-40B4-BE49-F238E27FC236}">
                    <a16:creationId xmlns:a16="http://schemas.microsoft.com/office/drawing/2014/main" id="{7CEE60A6-1861-201C-A881-E3B5F13CA085}"/>
                  </a:ext>
                </a:extLst>
              </p:cNvPr>
              <p:cNvSpPr/>
              <p:nvPr/>
            </p:nvSpPr>
            <p:spPr>
              <a:xfrm>
                <a:off x="6724214" y="4015234"/>
                <a:ext cx="1131" cy="513"/>
              </a:xfrm>
              <a:custGeom>
                <a:avLst/>
                <a:gdLst/>
                <a:ahLst/>
                <a:cxnLst/>
                <a:rect l="l" t="t" r="r" b="b"/>
                <a:pathLst>
                  <a:path w="196" h="89" extrusionOk="0">
                    <a:moveTo>
                      <a:pt x="196" y="0"/>
                    </a:moveTo>
                    <a:lnTo>
                      <a:pt x="1" y="89"/>
                    </a:lnTo>
                    <a:lnTo>
                      <a:pt x="1" y="89"/>
                    </a:lnTo>
                    <a:lnTo>
                      <a:pt x="196" y="18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55" name="Google Shape;11088;p65">
                <a:extLst>
                  <a:ext uri="{FF2B5EF4-FFF2-40B4-BE49-F238E27FC236}">
                    <a16:creationId xmlns:a16="http://schemas.microsoft.com/office/drawing/2014/main" id="{BF5C7340-1437-B230-4FAD-001AED9F4CE0}"/>
                  </a:ext>
                </a:extLst>
              </p:cNvPr>
              <p:cNvSpPr/>
              <p:nvPr/>
            </p:nvSpPr>
            <p:spPr>
              <a:xfrm>
                <a:off x="7071623" y="3755083"/>
                <a:ext cx="16589" cy="16380"/>
              </a:xfrm>
              <a:custGeom>
                <a:avLst/>
                <a:gdLst/>
                <a:ahLst/>
                <a:cxnLst/>
                <a:rect l="l" t="t" r="r" b="b"/>
                <a:pathLst>
                  <a:path w="2875" h="2840" extrusionOk="0">
                    <a:moveTo>
                      <a:pt x="1" y="0"/>
                    </a:moveTo>
                    <a:lnTo>
                      <a:pt x="1" y="0"/>
                    </a:lnTo>
                    <a:cubicBezTo>
                      <a:pt x="835" y="1029"/>
                      <a:pt x="1739" y="1970"/>
                      <a:pt x="2733" y="2839"/>
                    </a:cubicBezTo>
                    <a:cubicBezTo>
                      <a:pt x="2840" y="2520"/>
                      <a:pt x="2875" y="2201"/>
                      <a:pt x="2822" y="1881"/>
                    </a:cubicBezTo>
                    <a:cubicBezTo>
                      <a:pt x="1899" y="1225"/>
                      <a:pt x="959" y="604"/>
                      <a:pt x="1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56" name="Google Shape;11089;p65">
                <a:extLst>
                  <a:ext uri="{FF2B5EF4-FFF2-40B4-BE49-F238E27FC236}">
                    <a16:creationId xmlns:a16="http://schemas.microsoft.com/office/drawing/2014/main" id="{3680FA31-D4D3-35A1-F6E8-73DE30D58CEF}"/>
                  </a:ext>
                </a:extLst>
              </p:cNvPr>
              <p:cNvSpPr/>
              <p:nvPr/>
            </p:nvSpPr>
            <p:spPr>
              <a:xfrm>
                <a:off x="6722575" y="4015741"/>
                <a:ext cx="1541" cy="727"/>
              </a:xfrm>
              <a:custGeom>
                <a:avLst/>
                <a:gdLst/>
                <a:ahLst/>
                <a:cxnLst/>
                <a:rect l="l" t="t" r="r" b="b"/>
                <a:pathLst>
                  <a:path w="267" h="126" extrusionOk="0">
                    <a:moveTo>
                      <a:pt x="267" y="1"/>
                    </a:moveTo>
                    <a:cubicBezTo>
                      <a:pt x="178" y="36"/>
                      <a:pt x="89" y="72"/>
                      <a:pt x="1" y="125"/>
                    </a:cubicBezTo>
                    <a:cubicBezTo>
                      <a:pt x="107" y="90"/>
                      <a:pt x="178" y="36"/>
                      <a:pt x="267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57" name="Google Shape;11090;p65">
                <a:extLst>
                  <a:ext uri="{FF2B5EF4-FFF2-40B4-BE49-F238E27FC236}">
                    <a16:creationId xmlns:a16="http://schemas.microsoft.com/office/drawing/2014/main" id="{FF362A21-AF75-C2D5-6013-DFC5D16A28A8}"/>
                  </a:ext>
                </a:extLst>
              </p:cNvPr>
              <p:cNvSpPr/>
              <p:nvPr/>
            </p:nvSpPr>
            <p:spPr>
              <a:xfrm>
                <a:off x="6772321" y="4116142"/>
                <a:ext cx="30927" cy="46769"/>
              </a:xfrm>
              <a:custGeom>
                <a:avLst/>
                <a:gdLst/>
                <a:ahLst/>
                <a:cxnLst/>
                <a:rect l="l" t="t" r="r" b="b"/>
                <a:pathLst>
                  <a:path w="5360" h="8109" extrusionOk="0">
                    <a:moveTo>
                      <a:pt x="1828" y="0"/>
                    </a:moveTo>
                    <a:lnTo>
                      <a:pt x="1" y="2946"/>
                    </a:lnTo>
                    <a:cubicBezTo>
                      <a:pt x="444" y="3762"/>
                      <a:pt x="1030" y="4738"/>
                      <a:pt x="1527" y="5785"/>
                    </a:cubicBezTo>
                    <a:cubicBezTo>
                      <a:pt x="2308" y="7328"/>
                      <a:pt x="3479" y="8091"/>
                      <a:pt x="5359" y="8109"/>
                    </a:cubicBezTo>
                    <a:cubicBezTo>
                      <a:pt x="4667" y="6689"/>
                      <a:pt x="3993" y="5625"/>
                      <a:pt x="3798" y="4205"/>
                    </a:cubicBezTo>
                    <a:cubicBezTo>
                      <a:pt x="3621" y="2768"/>
                      <a:pt x="2574" y="1491"/>
                      <a:pt x="1828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</p:grpSp>
      <p:grpSp>
        <p:nvGrpSpPr>
          <p:cNvPr id="1958" name="Google Shape;11091;p65">
            <a:extLst>
              <a:ext uri="{FF2B5EF4-FFF2-40B4-BE49-F238E27FC236}">
                <a16:creationId xmlns:a16="http://schemas.microsoft.com/office/drawing/2014/main" id="{2AA963C5-8BCF-99DE-8717-65BEC4F3EBC0}"/>
              </a:ext>
            </a:extLst>
          </p:cNvPr>
          <p:cNvGrpSpPr/>
          <p:nvPr/>
        </p:nvGrpSpPr>
        <p:grpSpPr>
          <a:xfrm>
            <a:off x="10489961" y="5406175"/>
            <a:ext cx="250076" cy="250076"/>
            <a:chOff x="8565775" y="671075"/>
            <a:chExt cx="441000" cy="441000"/>
          </a:xfrm>
        </p:grpSpPr>
        <p:sp>
          <p:nvSpPr>
            <p:cNvPr id="1959" name="Google Shape;11092;p65">
              <a:extLst>
                <a:ext uri="{FF2B5EF4-FFF2-40B4-BE49-F238E27FC236}">
                  <a16:creationId xmlns:a16="http://schemas.microsoft.com/office/drawing/2014/main" id="{8710E5A0-DD5F-A2DB-9970-61E1BE2C19D7}"/>
                </a:ext>
              </a:extLst>
            </p:cNvPr>
            <p:cNvSpPr/>
            <p:nvPr/>
          </p:nvSpPr>
          <p:spPr>
            <a:xfrm>
              <a:off x="8565775" y="671075"/>
              <a:ext cx="441000" cy="441000"/>
            </a:xfrm>
            <a:prstGeom prst="ellipse">
              <a:avLst/>
            </a:prstGeom>
            <a:gradFill>
              <a:gsLst>
                <a:gs pos="0">
                  <a:srgbClr val="869FB1">
                    <a:alpha val="65920"/>
                  </a:srgbClr>
                </a:gs>
                <a:gs pos="100000">
                  <a:srgbClr val="FFFFFF">
                    <a:alpha val="0"/>
                    <a:alpha val="6592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sp>
          <p:nvSpPr>
            <p:cNvPr id="1960" name="Google Shape;11093;p65">
              <a:extLst>
                <a:ext uri="{FF2B5EF4-FFF2-40B4-BE49-F238E27FC236}">
                  <a16:creationId xmlns:a16="http://schemas.microsoft.com/office/drawing/2014/main" id="{D79601B1-B37B-5C17-08B9-75D7C949E642}"/>
                </a:ext>
              </a:extLst>
            </p:cNvPr>
            <p:cNvSpPr/>
            <p:nvPr/>
          </p:nvSpPr>
          <p:spPr>
            <a:xfrm>
              <a:off x="8706625" y="811925"/>
              <a:ext cx="159300" cy="159300"/>
            </a:xfrm>
            <a:prstGeom prst="ellipse">
              <a:avLst/>
            </a:prstGeom>
            <a:solidFill>
              <a:srgbClr val="D7DFE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</p:grpSp>
      <p:sp>
        <p:nvSpPr>
          <p:cNvPr id="1961" name="Google Shape;11094;p65">
            <a:extLst>
              <a:ext uri="{FF2B5EF4-FFF2-40B4-BE49-F238E27FC236}">
                <a16:creationId xmlns:a16="http://schemas.microsoft.com/office/drawing/2014/main" id="{A1B6E56F-536B-BEFC-CA14-59504024CF70}"/>
              </a:ext>
            </a:extLst>
          </p:cNvPr>
          <p:cNvSpPr/>
          <p:nvPr/>
        </p:nvSpPr>
        <p:spPr>
          <a:xfrm>
            <a:off x="10891581" y="5400736"/>
            <a:ext cx="258244" cy="260955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solidFill>
            <a:srgbClr val="7994A9">
              <a:alpha val="64709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1962" name="Google Shape;11095;p65">
            <a:extLst>
              <a:ext uri="{FF2B5EF4-FFF2-40B4-BE49-F238E27FC236}">
                <a16:creationId xmlns:a16="http://schemas.microsoft.com/office/drawing/2014/main" id="{7790BF76-562F-1AD8-E03D-6EE09D91816D}"/>
              </a:ext>
            </a:extLst>
          </p:cNvPr>
          <p:cNvSpPr/>
          <p:nvPr/>
        </p:nvSpPr>
        <p:spPr>
          <a:xfrm flipH="1">
            <a:off x="9835898" y="5356010"/>
            <a:ext cx="238119" cy="350407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solidFill>
            <a:srgbClr val="C9D4DC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5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grpSp>
        <p:nvGrpSpPr>
          <p:cNvPr id="1963" name="Google Shape;11096;p65">
            <a:extLst>
              <a:ext uri="{FF2B5EF4-FFF2-40B4-BE49-F238E27FC236}">
                <a16:creationId xmlns:a16="http://schemas.microsoft.com/office/drawing/2014/main" id="{714A2795-16D9-6A00-46FC-2EE43316646D}"/>
              </a:ext>
            </a:extLst>
          </p:cNvPr>
          <p:cNvGrpSpPr/>
          <p:nvPr/>
        </p:nvGrpSpPr>
        <p:grpSpPr>
          <a:xfrm>
            <a:off x="8028434" y="4177134"/>
            <a:ext cx="783828" cy="683164"/>
            <a:chOff x="6000100" y="3076250"/>
            <a:chExt cx="587871" cy="512373"/>
          </a:xfrm>
        </p:grpSpPr>
        <p:sp>
          <p:nvSpPr>
            <p:cNvPr id="1964" name="Google Shape;11097;p65">
              <a:extLst>
                <a:ext uri="{FF2B5EF4-FFF2-40B4-BE49-F238E27FC236}">
                  <a16:creationId xmlns:a16="http://schemas.microsoft.com/office/drawing/2014/main" id="{9C12767A-1BD4-3656-C2A0-371DB5C1BB40}"/>
                </a:ext>
              </a:extLst>
            </p:cNvPr>
            <p:cNvSpPr/>
            <p:nvPr/>
          </p:nvSpPr>
          <p:spPr>
            <a:xfrm>
              <a:off x="6000100" y="3076250"/>
              <a:ext cx="587871" cy="512373"/>
            </a:xfrm>
            <a:custGeom>
              <a:avLst/>
              <a:gdLst/>
              <a:ahLst/>
              <a:cxnLst/>
              <a:rect l="l" t="t" r="r" b="b"/>
              <a:pathLst>
                <a:path w="101884" h="88838" extrusionOk="0">
                  <a:moveTo>
                    <a:pt x="50272" y="0"/>
                  </a:moveTo>
                  <a:cubicBezTo>
                    <a:pt x="31897" y="0"/>
                    <a:pt x="14791" y="11087"/>
                    <a:pt x="8322" y="29000"/>
                  </a:cubicBezTo>
                  <a:cubicBezTo>
                    <a:pt x="1" y="51995"/>
                    <a:pt x="12332" y="77546"/>
                    <a:pt x="35878" y="86063"/>
                  </a:cubicBezTo>
                  <a:cubicBezTo>
                    <a:pt x="41078" y="87945"/>
                    <a:pt x="46391" y="88838"/>
                    <a:pt x="51602" y="88838"/>
                  </a:cubicBezTo>
                  <a:cubicBezTo>
                    <a:pt x="69970" y="88838"/>
                    <a:pt x="87079" y="77751"/>
                    <a:pt x="93562" y="59838"/>
                  </a:cubicBezTo>
                  <a:cubicBezTo>
                    <a:pt x="101883" y="36843"/>
                    <a:pt x="89534" y="11292"/>
                    <a:pt x="66006" y="2775"/>
                  </a:cubicBezTo>
                  <a:cubicBezTo>
                    <a:pt x="60802" y="893"/>
                    <a:pt x="55486" y="0"/>
                    <a:pt x="50272" y="0"/>
                  </a:cubicBez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endParaRPr>
            </a:p>
          </p:txBody>
        </p:sp>
        <p:grpSp>
          <p:nvGrpSpPr>
            <p:cNvPr id="1965" name="Google Shape;11098;p65">
              <a:extLst>
                <a:ext uri="{FF2B5EF4-FFF2-40B4-BE49-F238E27FC236}">
                  <a16:creationId xmlns:a16="http://schemas.microsoft.com/office/drawing/2014/main" id="{F06014DC-6769-1929-5763-120701FB1BFB}"/>
                </a:ext>
              </a:extLst>
            </p:cNvPr>
            <p:cNvGrpSpPr/>
            <p:nvPr/>
          </p:nvGrpSpPr>
          <p:grpSpPr>
            <a:xfrm>
              <a:off x="6031360" y="3076713"/>
              <a:ext cx="539107" cy="480965"/>
              <a:chOff x="6031360" y="3076713"/>
              <a:chExt cx="539107" cy="480965"/>
            </a:xfrm>
          </p:grpSpPr>
          <p:sp>
            <p:nvSpPr>
              <p:cNvPr id="1966" name="Google Shape;11099;p65">
                <a:extLst>
                  <a:ext uri="{FF2B5EF4-FFF2-40B4-BE49-F238E27FC236}">
                    <a16:creationId xmlns:a16="http://schemas.microsoft.com/office/drawing/2014/main" id="{A793A365-DD74-69B5-D24A-2FFE7A22A191}"/>
                  </a:ext>
                </a:extLst>
              </p:cNvPr>
              <p:cNvSpPr/>
              <p:nvPr/>
            </p:nvSpPr>
            <p:spPr>
              <a:xfrm>
                <a:off x="6160232" y="3107767"/>
                <a:ext cx="410235" cy="449911"/>
              </a:xfrm>
              <a:custGeom>
                <a:avLst/>
                <a:gdLst/>
                <a:ahLst/>
                <a:cxnLst/>
                <a:rect l="l" t="t" r="r" b="b"/>
                <a:pathLst>
                  <a:path w="71098" h="78008" extrusionOk="0">
                    <a:moveTo>
                      <a:pt x="36108" y="3531"/>
                    </a:moveTo>
                    <a:lnTo>
                      <a:pt x="36835" y="4631"/>
                    </a:lnTo>
                    <a:cubicBezTo>
                      <a:pt x="36551" y="4826"/>
                      <a:pt x="36268" y="5039"/>
                      <a:pt x="35948" y="5217"/>
                    </a:cubicBezTo>
                    <a:cubicBezTo>
                      <a:pt x="35043" y="5749"/>
                      <a:pt x="34635" y="6459"/>
                      <a:pt x="35132" y="7488"/>
                    </a:cubicBezTo>
                    <a:cubicBezTo>
                      <a:pt x="35486" y="8208"/>
                      <a:pt x="35984" y="8561"/>
                      <a:pt x="36635" y="8561"/>
                    </a:cubicBezTo>
                    <a:cubicBezTo>
                      <a:pt x="36866" y="8561"/>
                      <a:pt x="37116" y="8517"/>
                      <a:pt x="37385" y="8428"/>
                    </a:cubicBezTo>
                    <a:cubicBezTo>
                      <a:pt x="37776" y="8304"/>
                      <a:pt x="38184" y="8198"/>
                      <a:pt x="38752" y="8056"/>
                    </a:cubicBezTo>
                    <a:lnTo>
                      <a:pt x="38752" y="8056"/>
                    </a:lnTo>
                    <a:cubicBezTo>
                      <a:pt x="38412" y="9075"/>
                      <a:pt x="37909" y="9331"/>
                      <a:pt x="37373" y="9331"/>
                    </a:cubicBezTo>
                    <a:cubicBezTo>
                      <a:pt x="36833" y="9331"/>
                      <a:pt x="36258" y="9072"/>
                      <a:pt x="35779" y="9072"/>
                    </a:cubicBezTo>
                    <a:cubicBezTo>
                      <a:pt x="35690" y="9072"/>
                      <a:pt x="35604" y="9081"/>
                      <a:pt x="35522" y="9102"/>
                    </a:cubicBezTo>
                    <a:lnTo>
                      <a:pt x="33162" y="11977"/>
                    </a:lnTo>
                    <a:lnTo>
                      <a:pt x="28585" y="11037"/>
                    </a:lnTo>
                    <a:lnTo>
                      <a:pt x="31832" y="10238"/>
                    </a:lnTo>
                    <a:cubicBezTo>
                      <a:pt x="32825" y="8162"/>
                      <a:pt x="33127" y="7062"/>
                      <a:pt x="32914" y="6228"/>
                    </a:cubicBezTo>
                    <a:lnTo>
                      <a:pt x="36108" y="3531"/>
                    </a:lnTo>
                    <a:close/>
                    <a:moveTo>
                      <a:pt x="38947" y="36232"/>
                    </a:moveTo>
                    <a:lnTo>
                      <a:pt x="38947" y="36232"/>
                    </a:lnTo>
                    <a:cubicBezTo>
                      <a:pt x="40402" y="36374"/>
                      <a:pt x="40561" y="37705"/>
                      <a:pt x="41253" y="38486"/>
                    </a:cubicBezTo>
                    <a:cubicBezTo>
                      <a:pt x="40278" y="40029"/>
                      <a:pt x="42194" y="41076"/>
                      <a:pt x="41963" y="42673"/>
                    </a:cubicBezTo>
                    <a:cubicBezTo>
                      <a:pt x="41786" y="43862"/>
                      <a:pt x="42833" y="45264"/>
                      <a:pt x="43241" y="46648"/>
                    </a:cubicBezTo>
                    <a:cubicBezTo>
                      <a:pt x="43560" y="47641"/>
                      <a:pt x="43507" y="48741"/>
                      <a:pt x="43046" y="49699"/>
                    </a:cubicBezTo>
                    <a:lnTo>
                      <a:pt x="40473" y="45760"/>
                    </a:lnTo>
                    <a:cubicBezTo>
                      <a:pt x="41449" y="42726"/>
                      <a:pt x="39160" y="39728"/>
                      <a:pt x="38947" y="36232"/>
                    </a:cubicBezTo>
                    <a:close/>
                    <a:moveTo>
                      <a:pt x="36430" y="1"/>
                    </a:moveTo>
                    <a:cubicBezTo>
                      <a:pt x="35873" y="1"/>
                      <a:pt x="35316" y="87"/>
                      <a:pt x="34759" y="284"/>
                    </a:cubicBezTo>
                    <a:cubicBezTo>
                      <a:pt x="33659" y="657"/>
                      <a:pt x="32346" y="870"/>
                      <a:pt x="31885" y="2005"/>
                    </a:cubicBezTo>
                    <a:cubicBezTo>
                      <a:pt x="31264" y="3567"/>
                      <a:pt x="29809" y="3549"/>
                      <a:pt x="28656" y="3992"/>
                    </a:cubicBezTo>
                    <a:cubicBezTo>
                      <a:pt x="26331" y="4826"/>
                      <a:pt x="26012" y="5465"/>
                      <a:pt x="27006" y="7683"/>
                    </a:cubicBezTo>
                    <a:lnTo>
                      <a:pt x="29791" y="7736"/>
                    </a:lnTo>
                    <a:lnTo>
                      <a:pt x="29046" y="10327"/>
                    </a:lnTo>
                    <a:lnTo>
                      <a:pt x="28425" y="7736"/>
                    </a:lnTo>
                    <a:lnTo>
                      <a:pt x="26633" y="11143"/>
                    </a:lnTo>
                    <a:cubicBezTo>
                      <a:pt x="25746" y="11374"/>
                      <a:pt x="24734" y="11391"/>
                      <a:pt x="24113" y="11870"/>
                    </a:cubicBezTo>
                    <a:cubicBezTo>
                      <a:pt x="22960" y="12775"/>
                      <a:pt x="21328" y="12509"/>
                      <a:pt x="20352" y="13680"/>
                    </a:cubicBezTo>
                    <a:lnTo>
                      <a:pt x="19695" y="12900"/>
                    </a:lnTo>
                    <a:lnTo>
                      <a:pt x="18808" y="14106"/>
                    </a:lnTo>
                    <a:cubicBezTo>
                      <a:pt x="18523" y="13971"/>
                      <a:pt x="18518" y="13452"/>
                      <a:pt x="18160" y="13452"/>
                    </a:cubicBezTo>
                    <a:cubicBezTo>
                      <a:pt x="18049" y="13452"/>
                      <a:pt x="17905" y="13501"/>
                      <a:pt x="17708" y="13627"/>
                    </a:cubicBezTo>
                    <a:lnTo>
                      <a:pt x="18560" y="17193"/>
                    </a:lnTo>
                    <a:cubicBezTo>
                      <a:pt x="17972" y="17718"/>
                      <a:pt x="17385" y="18062"/>
                      <a:pt x="16823" y="18062"/>
                    </a:cubicBezTo>
                    <a:cubicBezTo>
                      <a:pt x="16435" y="18062"/>
                      <a:pt x="16059" y="17897"/>
                      <a:pt x="15703" y="17513"/>
                    </a:cubicBezTo>
                    <a:cubicBezTo>
                      <a:pt x="14869" y="16626"/>
                      <a:pt x="13929" y="16750"/>
                      <a:pt x="13112" y="16643"/>
                    </a:cubicBezTo>
                    <a:lnTo>
                      <a:pt x="11196" y="21381"/>
                    </a:lnTo>
                    <a:cubicBezTo>
                      <a:pt x="11922" y="22616"/>
                      <a:pt x="12753" y="22986"/>
                      <a:pt x="13632" y="22986"/>
                    </a:cubicBezTo>
                    <a:cubicBezTo>
                      <a:pt x="14835" y="22986"/>
                      <a:pt x="16130" y="22292"/>
                      <a:pt x="17371" y="22179"/>
                    </a:cubicBezTo>
                    <a:lnTo>
                      <a:pt x="17868" y="20618"/>
                    </a:lnTo>
                    <a:cubicBezTo>
                      <a:pt x="19961" y="20600"/>
                      <a:pt x="19961" y="20600"/>
                      <a:pt x="21594" y="18879"/>
                    </a:cubicBezTo>
                    <a:lnTo>
                      <a:pt x="22587" y="19784"/>
                    </a:lnTo>
                    <a:lnTo>
                      <a:pt x="24646" y="19181"/>
                    </a:lnTo>
                    <a:lnTo>
                      <a:pt x="28762" y="24788"/>
                    </a:lnTo>
                    <a:lnTo>
                      <a:pt x="24930" y="23971"/>
                    </a:lnTo>
                    <a:lnTo>
                      <a:pt x="24930" y="23971"/>
                    </a:lnTo>
                    <a:lnTo>
                      <a:pt x="26544" y="25746"/>
                    </a:lnTo>
                    <a:cubicBezTo>
                      <a:pt x="28177" y="25604"/>
                      <a:pt x="29507" y="24930"/>
                      <a:pt x="30182" y="23209"/>
                    </a:cubicBezTo>
                    <a:cubicBezTo>
                      <a:pt x="29738" y="22747"/>
                      <a:pt x="29365" y="22321"/>
                      <a:pt x="28957" y="21949"/>
                    </a:cubicBezTo>
                    <a:cubicBezTo>
                      <a:pt x="28017" y="21150"/>
                      <a:pt x="27165" y="20352"/>
                      <a:pt x="27502" y="18400"/>
                    </a:cubicBezTo>
                    <a:lnTo>
                      <a:pt x="27502" y="18400"/>
                    </a:lnTo>
                    <a:cubicBezTo>
                      <a:pt x="28336" y="19678"/>
                      <a:pt x="28709" y="20902"/>
                      <a:pt x="29472" y="21239"/>
                    </a:cubicBezTo>
                    <a:cubicBezTo>
                      <a:pt x="30678" y="21771"/>
                      <a:pt x="30785" y="22641"/>
                      <a:pt x="30927" y="23617"/>
                    </a:cubicBezTo>
                    <a:cubicBezTo>
                      <a:pt x="31016" y="24255"/>
                      <a:pt x="30874" y="24965"/>
                      <a:pt x="31087" y="25551"/>
                    </a:cubicBezTo>
                    <a:cubicBezTo>
                      <a:pt x="31282" y="26083"/>
                      <a:pt x="31832" y="26473"/>
                      <a:pt x="32187" y="26952"/>
                    </a:cubicBezTo>
                    <a:cubicBezTo>
                      <a:pt x="32275" y="27077"/>
                      <a:pt x="32329" y="27236"/>
                      <a:pt x="32329" y="27396"/>
                    </a:cubicBezTo>
                    <a:lnTo>
                      <a:pt x="34369" y="26225"/>
                    </a:lnTo>
                    <a:cubicBezTo>
                      <a:pt x="33860" y="25322"/>
                      <a:pt x="33670" y="24632"/>
                      <a:pt x="34867" y="24632"/>
                    </a:cubicBezTo>
                    <a:cubicBezTo>
                      <a:pt x="34964" y="24632"/>
                      <a:pt x="35070" y="24636"/>
                      <a:pt x="35185" y="24646"/>
                    </a:cubicBezTo>
                    <a:cubicBezTo>
                      <a:pt x="35416" y="25462"/>
                      <a:pt x="35718" y="26189"/>
                      <a:pt x="35753" y="26917"/>
                    </a:cubicBezTo>
                    <a:cubicBezTo>
                      <a:pt x="35859" y="28390"/>
                      <a:pt x="37013" y="29011"/>
                      <a:pt x="38024" y="29224"/>
                    </a:cubicBezTo>
                    <a:cubicBezTo>
                      <a:pt x="38126" y="29247"/>
                      <a:pt x="38227" y="29254"/>
                      <a:pt x="38330" y="29254"/>
                    </a:cubicBezTo>
                    <a:cubicBezTo>
                      <a:pt x="38476" y="29254"/>
                      <a:pt x="38623" y="29240"/>
                      <a:pt x="38773" y="29240"/>
                    </a:cubicBezTo>
                    <a:cubicBezTo>
                      <a:pt x="39073" y="29240"/>
                      <a:pt x="39384" y="29296"/>
                      <a:pt x="39710" y="29632"/>
                    </a:cubicBezTo>
                    <a:cubicBezTo>
                      <a:pt x="39812" y="29734"/>
                      <a:pt x="39986" y="29769"/>
                      <a:pt x="40202" y="29769"/>
                    </a:cubicBezTo>
                    <a:cubicBezTo>
                      <a:pt x="40620" y="29769"/>
                      <a:pt x="41193" y="29637"/>
                      <a:pt x="41697" y="29614"/>
                    </a:cubicBezTo>
                    <a:lnTo>
                      <a:pt x="41697" y="29614"/>
                    </a:lnTo>
                    <a:cubicBezTo>
                      <a:pt x="41182" y="31175"/>
                      <a:pt x="41608" y="32825"/>
                      <a:pt x="39657" y="33517"/>
                    </a:cubicBezTo>
                    <a:cubicBezTo>
                      <a:pt x="37368" y="32683"/>
                      <a:pt x="34369" y="33198"/>
                      <a:pt x="32488" y="30608"/>
                    </a:cubicBezTo>
                    <a:cubicBezTo>
                      <a:pt x="32240" y="30253"/>
                      <a:pt x="31388" y="30306"/>
                      <a:pt x="30820" y="30217"/>
                    </a:cubicBezTo>
                    <a:cubicBezTo>
                      <a:pt x="30607" y="30217"/>
                      <a:pt x="30395" y="30270"/>
                      <a:pt x="30182" y="30324"/>
                    </a:cubicBezTo>
                    <a:lnTo>
                      <a:pt x="29507" y="32151"/>
                    </a:lnTo>
                    <a:cubicBezTo>
                      <a:pt x="27875" y="31246"/>
                      <a:pt x="26686" y="29969"/>
                      <a:pt x="25373" y="29259"/>
                    </a:cubicBezTo>
                    <a:cubicBezTo>
                      <a:pt x="23918" y="28496"/>
                      <a:pt x="23794" y="27431"/>
                      <a:pt x="23794" y="26456"/>
                    </a:cubicBezTo>
                    <a:cubicBezTo>
                      <a:pt x="23808" y="24745"/>
                      <a:pt x="23906" y="24354"/>
                      <a:pt x="23055" y="24354"/>
                    </a:cubicBezTo>
                    <a:cubicBezTo>
                      <a:pt x="22802" y="24354"/>
                      <a:pt x="22466" y="24388"/>
                      <a:pt x="22020" y="24433"/>
                    </a:cubicBezTo>
                    <a:cubicBezTo>
                      <a:pt x="21712" y="24458"/>
                      <a:pt x="21377" y="24558"/>
                      <a:pt x="21074" y="24558"/>
                    </a:cubicBezTo>
                    <a:cubicBezTo>
                      <a:pt x="20958" y="24558"/>
                      <a:pt x="20846" y="24543"/>
                      <a:pt x="20742" y="24504"/>
                    </a:cubicBezTo>
                    <a:cubicBezTo>
                      <a:pt x="20157" y="24291"/>
                      <a:pt x="19678" y="23670"/>
                      <a:pt x="19092" y="23546"/>
                    </a:cubicBezTo>
                    <a:cubicBezTo>
                      <a:pt x="19019" y="23530"/>
                      <a:pt x="18944" y="23524"/>
                      <a:pt x="18868" y="23524"/>
                    </a:cubicBezTo>
                    <a:cubicBezTo>
                      <a:pt x="18388" y="23524"/>
                      <a:pt x="17849" y="23788"/>
                      <a:pt x="17363" y="23788"/>
                    </a:cubicBezTo>
                    <a:cubicBezTo>
                      <a:pt x="17305" y="23788"/>
                      <a:pt x="17249" y="23784"/>
                      <a:pt x="17193" y="23776"/>
                    </a:cubicBezTo>
                    <a:cubicBezTo>
                      <a:pt x="17025" y="23751"/>
                      <a:pt x="16855" y="23741"/>
                      <a:pt x="16686" y="23741"/>
                    </a:cubicBezTo>
                    <a:cubicBezTo>
                      <a:pt x="15885" y="23741"/>
                      <a:pt x="15077" y="23971"/>
                      <a:pt x="14280" y="23971"/>
                    </a:cubicBezTo>
                    <a:cubicBezTo>
                      <a:pt x="13809" y="23971"/>
                      <a:pt x="13342" y="23890"/>
                      <a:pt x="12882" y="23634"/>
                    </a:cubicBezTo>
                    <a:cubicBezTo>
                      <a:pt x="12688" y="23891"/>
                      <a:pt x="12389" y="23939"/>
                      <a:pt x="12067" y="23939"/>
                    </a:cubicBezTo>
                    <a:cubicBezTo>
                      <a:pt x="11878" y="23939"/>
                      <a:pt x="11682" y="23923"/>
                      <a:pt x="11494" y="23923"/>
                    </a:cubicBezTo>
                    <a:cubicBezTo>
                      <a:pt x="11005" y="23923"/>
                      <a:pt x="10573" y="24032"/>
                      <a:pt x="10486" y="24823"/>
                    </a:cubicBezTo>
                    <a:cubicBezTo>
                      <a:pt x="8943" y="25125"/>
                      <a:pt x="8925" y="26935"/>
                      <a:pt x="7594" y="27644"/>
                    </a:cubicBezTo>
                    <a:cubicBezTo>
                      <a:pt x="6636" y="28159"/>
                      <a:pt x="5270" y="28461"/>
                      <a:pt x="4720" y="29365"/>
                    </a:cubicBezTo>
                    <a:cubicBezTo>
                      <a:pt x="3992" y="30554"/>
                      <a:pt x="2733" y="30874"/>
                      <a:pt x="1899" y="31779"/>
                    </a:cubicBezTo>
                    <a:cubicBezTo>
                      <a:pt x="1420" y="32311"/>
                      <a:pt x="1100" y="33021"/>
                      <a:pt x="692" y="33695"/>
                    </a:cubicBezTo>
                    <a:lnTo>
                      <a:pt x="2058" y="34529"/>
                    </a:lnTo>
                    <a:lnTo>
                      <a:pt x="0" y="40331"/>
                    </a:lnTo>
                    <a:cubicBezTo>
                      <a:pt x="568" y="41839"/>
                      <a:pt x="1828" y="42460"/>
                      <a:pt x="1579" y="43844"/>
                    </a:cubicBezTo>
                    <a:cubicBezTo>
                      <a:pt x="1526" y="44093"/>
                      <a:pt x="4542" y="47659"/>
                      <a:pt x="4720" y="47677"/>
                    </a:cubicBezTo>
                    <a:cubicBezTo>
                      <a:pt x="6407" y="47823"/>
                      <a:pt x="7973" y="48589"/>
                      <a:pt x="9698" y="48589"/>
                    </a:cubicBezTo>
                    <a:cubicBezTo>
                      <a:pt x="10059" y="48589"/>
                      <a:pt x="10428" y="48555"/>
                      <a:pt x="10806" y="48475"/>
                    </a:cubicBezTo>
                    <a:cubicBezTo>
                      <a:pt x="10987" y="48438"/>
                      <a:pt x="11194" y="48420"/>
                      <a:pt x="11413" y="48420"/>
                    </a:cubicBezTo>
                    <a:cubicBezTo>
                      <a:pt x="12352" y="48420"/>
                      <a:pt x="13516" y="48748"/>
                      <a:pt x="13875" y="49309"/>
                    </a:cubicBezTo>
                    <a:cubicBezTo>
                      <a:pt x="14692" y="50587"/>
                      <a:pt x="15916" y="50622"/>
                      <a:pt x="17140" y="51048"/>
                    </a:cubicBezTo>
                    <a:lnTo>
                      <a:pt x="16076" y="56140"/>
                    </a:lnTo>
                    <a:cubicBezTo>
                      <a:pt x="17477" y="57542"/>
                      <a:pt x="16874" y="59405"/>
                      <a:pt x="17513" y="60896"/>
                    </a:cubicBezTo>
                    <a:cubicBezTo>
                      <a:pt x="17939" y="61907"/>
                      <a:pt x="17566" y="62439"/>
                      <a:pt x="17105" y="63291"/>
                    </a:cubicBezTo>
                    <a:cubicBezTo>
                      <a:pt x="16484" y="64409"/>
                      <a:pt x="14922" y="65544"/>
                      <a:pt x="15526" y="66751"/>
                    </a:cubicBezTo>
                    <a:cubicBezTo>
                      <a:pt x="16359" y="68454"/>
                      <a:pt x="16218" y="70264"/>
                      <a:pt x="16218" y="71879"/>
                    </a:cubicBezTo>
                    <a:cubicBezTo>
                      <a:pt x="16218" y="73795"/>
                      <a:pt x="17726" y="75427"/>
                      <a:pt x="16697" y="77361"/>
                    </a:cubicBezTo>
                    <a:cubicBezTo>
                      <a:pt x="17566" y="77539"/>
                      <a:pt x="18134" y="77610"/>
                      <a:pt x="18684" y="77787"/>
                    </a:cubicBezTo>
                    <a:cubicBezTo>
                      <a:pt x="19160" y="77941"/>
                      <a:pt x="19615" y="78007"/>
                      <a:pt x="20054" y="78007"/>
                    </a:cubicBezTo>
                    <a:cubicBezTo>
                      <a:pt x="21942" y="78007"/>
                      <a:pt x="23543" y="76798"/>
                      <a:pt x="25284" y="76208"/>
                    </a:cubicBezTo>
                    <a:cubicBezTo>
                      <a:pt x="25497" y="74416"/>
                      <a:pt x="27183" y="74310"/>
                      <a:pt x="28336" y="73671"/>
                    </a:cubicBezTo>
                    <a:cubicBezTo>
                      <a:pt x="29472" y="73032"/>
                      <a:pt x="29064" y="71826"/>
                      <a:pt x="29436" y="71240"/>
                    </a:cubicBezTo>
                    <a:cubicBezTo>
                      <a:pt x="30359" y="70814"/>
                      <a:pt x="31051" y="70495"/>
                      <a:pt x="31761" y="70175"/>
                    </a:cubicBezTo>
                    <a:cubicBezTo>
                      <a:pt x="32701" y="69750"/>
                      <a:pt x="34032" y="69998"/>
                      <a:pt x="34351" y="68472"/>
                    </a:cubicBezTo>
                    <a:cubicBezTo>
                      <a:pt x="34564" y="67407"/>
                      <a:pt x="35593" y="66680"/>
                      <a:pt x="35682" y="65456"/>
                    </a:cubicBezTo>
                    <a:cubicBezTo>
                      <a:pt x="35789" y="64196"/>
                      <a:pt x="36179" y="62972"/>
                      <a:pt x="36427" y="61783"/>
                    </a:cubicBezTo>
                    <a:cubicBezTo>
                      <a:pt x="38255" y="60576"/>
                      <a:pt x="39869" y="58979"/>
                      <a:pt x="41786" y="58376"/>
                    </a:cubicBezTo>
                    <a:cubicBezTo>
                      <a:pt x="44997" y="57365"/>
                      <a:pt x="46843" y="55306"/>
                      <a:pt x="48156" y="52432"/>
                    </a:cubicBezTo>
                    <a:cubicBezTo>
                      <a:pt x="47847" y="52304"/>
                      <a:pt x="47534" y="52259"/>
                      <a:pt x="47221" y="52259"/>
                    </a:cubicBezTo>
                    <a:cubicBezTo>
                      <a:pt x="46487" y="52259"/>
                      <a:pt x="45750" y="52505"/>
                      <a:pt x="45050" y="52505"/>
                    </a:cubicBezTo>
                    <a:cubicBezTo>
                      <a:pt x="44519" y="52505"/>
                      <a:pt x="44011" y="52363"/>
                      <a:pt x="43542" y="51864"/>
                    </a:cubicBezTo>
                    <a:cubicBezTo>
                      <a:pt x="44838" y="50108"/>
                      <a:pt x="44909" y="50037"/>
                      <a:pt x="46293" y="49859"/>
                    </a:cubicBezTo>
                    <a:cubicBezTo>
                      <a:pt x="49646" y="49451"/>
                      <a:pt x="52822" y="48599"/>
                      <a:pt x="55395" y="46222"/>
                    </a:cubicBezTo>
                    <a:cubicBezTo>
                      <a:pt x="55484" y="45760"/>
                      <a:pt x="55697" y="45281"/>
                      <a:pt x="55643" y="44838"/>
                    </a:cubicBezTo>
                    <a:cubicBezTo>
                      <a:pt x="55519" y="44022"/>
                      <a:pt x="55359" y="43205"/>
                      <a:pt x="55164" y="42389"/>
                    </a:cubicBezTo>
                    <a:lnTo>
                      <a:pt x="54224" y="42886"/>
                    </a:lnTo>
                    <a:lnTo>
                      <a:pt x="53887" y="41254"/>
                    </a:lnTo>
                    <a:lnTo>
                      <a:pt x="53017" y="42655"/>
                    </a:lnTo>
                    <a:cubicBezTo>
                      <a:pt x="51775" y="40810"/>
                      <a:pt x="49327" y="39763"/>
                      <a:pt x="49735" y="36906"/>
                    </a:cubicBezTo>
                    <a:lnTo>
                      <a:pt x="49735" y="36906"/>
                    </a:lnTo>
                    <a:cubicBezTo>
                      <a:pt x="51738" y="37643"/>
                      <a:pt x="51709" y="40841"/>
                      <a:pt x="54224" y="40841"/>
                    </a:cubicBezTo>
                    <a:cubicBezTo>
                      <a:pt x="54315" y="40841"/>
                      <a:pt x="54410" y="40836"/>
                      <a:pt x="54508" y="40828"/>
                    </a:cubicBezTo>
                    <a:cubicBezTo>
                      <a:pt x="55927" y="42620"/>
                      <a:pt x="57968" y="43134"/>
                      <a:pt x="59831" y="43365"/>
                    </a:cubicBezTo>
                    <a:lnTo>
                      <a:pt x="61091" y="47286"/>
                    </a:lnTo>
                    <a:lnTo>
                      <a:pt x="62244" y="46683"/>
                    </a:lnTo>
                    <a:lnTo>
                      <a:pt x="61215" y="57010"/>
                    </a:lnTo>
                    <a:cubicBezTo>
                      <a:pt x="61641" y="57382"/>
                      <a:pt x="62102" y="57613"/>
                      <a:pt x="62208" y="57950"/>
                    </a:cubicBezTo>
                    <a:cubicBezTo>
                      <a:pt x="62350" y="58411"/>
                      <a:pt x="62226" y="58944"/>
                      <a:pt x="62226" y="59547"/>
                    </a:cubicBezTo>
                    <a:cubicBezTo>
                      <a:pt x="64054" y="58323"/>
                      <a:pt x="61783" y="56531"/>
                      <a:pt x="63397" y="55164"/>
                    </a:cubicBezTo>
                    <a:cubicBezTo>
                      <a:pt x="64338" y="54348"/>
                      <a:pt x="63894" y="52503"/>
                      <a:pt x="65420" y="51421"/>
                    </a:cubicBezTo>
                    <a:cubicBezTo>
                      <a:pt x="66236" y="50835"/>
                      <a:pt x="66627" y="49575"/>
                      <a:pt x="67407" y="48670"/>
                    </a:cubicBezTo>
                    <a:cubicBezTo>
                      <a:pt x="71098" y="31370"/>
                      <a:pt x="63805" y="13556"/>
                      <a:pt x="49451" y="3265"/>
                    </a:cubicBezTo>
                    <a:lnTo>
                      <a:pt x="47836" y="4223"/>
                    </a:lnTo>
                    <a:lnTo>
                      <a:pt x="47286" y="3425"/>
                    </a:lnTo>
                    <a:lnTo>
                      <a:pt x="45068" y="5465"/>
                    </a:lnTo>
                    <a:lnTo>
                      <a:pt x="44802" y="2963"/>
                    </a:lnTo>
                    <a:cubicBezTo>
                      <a:pt x="44483" y="4383"/>
                      <a:pt x="44412" y="5554"/>
                      <a:pt x="43383" y="6193"/>
                    </a:cubicBezTo>
                    <a:lnTo>
                      <a:pt x="41094" y="4844"/>
                    </a:lnTo>
                    <a:lnTo>
                      <a:pt x="41253" y="4702"/>
                    </a:lnTo>
                    <a:lnTo>
                      <a:pt x="43436" y="4525"/>
                    </a:lnTo>
                    <a:cubicBezTo>
                      <a:pt x="43312" y="3975"/>
                      <a:pt x="43329" y="3673"/>
                      <a:pt x="43205" y="3567"/>
                    </a:cubicBezTo>
                    <a:cubicBezTo>
                      <a:pt x="41857" y="2502"/>
                      <a:pt x="40153" y="1934"/>
                      <a:pt x="38929" y="657"/>
                    </a:cubicBezTo>
                    <a:cubicBezTo>
                      <a:pt x="38787" y="497"/>
                      <a:pt x="38592" y="390"/>
                      <a:pt x="38379" y="319"/>
                    </a:cubicBezTo>
                    <a:cubicBezTo>
                      <a:pt x="37729" y="119"/>
                      <a:pt x="37080" y="1"/>
                      <a:pt x="36430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67" name="Google Shape;11100;p65">
                <a:extLst>
                  <a:ext uri="{FF2B5EF4-FFF2-40B4-BE49-F238E27FC236}">
                    <a16:creationId xmlns:a16="http://schemas.microsoft.com/office/drawing/2014/main" id="{2EBC705D-926A-A42A-B459-1C4AF6235656}"/>
                  </a:ext>
                </a:extLst>
              </p:cNvPr>
              <p:cNvSpPr/>
              <p:nvPr/>
            </p:nvSpPr>
            <p:spPr>
              <a:xfrm>
                <a:off x="6031360" y="3319580"/>
                <a:ext cx="62149" cy="151155"/>
              </a:xfrm>
              <a:custGeom>
                <a:avLst/>
                <a:gdLst/>
                <a:ahLst/>
                <a:cxnLst/>
                <a:rect l="l" t="t" r="r" b="b"/>
                <a:pathLst>
                  <a:path w="10771" h="26208" extrusionOk="0">
                    <a:moveTo>
                      <a:pt x="266" y="1"/>
                    </a:moveTo>
                    <a:lnTo>
                      <a:pt x="266" y="1"/>
                    </a:lnTo>
                    <a:cubicBezTo>
                      <a:pt x="0" y="9316"/>
                      <a:pt x="2679" y="18489"/>
                      <a:pt x="7914" y="26208"/>
                    </a:cubicBezTo>
                    <a:lnTo>
                      <a:pt x="9014" y="25995"/>
                    </a:lnTo>
                    <a:cubicBezTo>
                      <a:pt x="9954" y="24078"/>
                      <a:pt x="9617" y="22073"/>
                      <a:pt x="9475" y="20068"/>
                    </a:cubicBezTo>
                    <a:cubicBezTo>
                      <a:pt x="9422" y="19412"/>
                      <a:pt x="9120" y="18347"/>
                      <a:pt x="9386" y="18188"/>
                    </a:cubicBezTo>
                    <a:cubicBezTo>
                      <a:pt x="10753" y="17336"/>
                      <a:pt x="10274" y="15881"/>
                      <a:pt x="10770" y="14834"/>
                    </a:cubicBezTo>
                    <a:cubicBezTo>
                      <a:pt x="9777" y="13415"/>
                      <a:pt x="8890" y="12137"/>
                      <a:pt x="7328" y="11161"/>
                    </a:cubicBezTo>
                    <a:cubicBezTo>
                      <a:pt x="5270" y="9901"/>
                      <a:pt x="3194" y="8216"/>
                      <a:pt x="3247" y="5235"/>
                    </a:cubicBezTo>
                    <a:cubicBezTo>
                      <a:pt x="3265" y="4649"/>
                      <a:pt x="2999" y="3709"/>
                      <a:pt x="2591" y="3514"/>
                    </a:cubicBezTo>
                    <a:cubicBezTo>
                      <a:pt x="1295" y="2893"/>
                      <a:pt x="479" y="1562"/>
                      <a:pt x="408" y="604"/>
                    </a:cubicBezTo>
                    <a:cubicBezTo>
                      <a:pt x="373" y="391"/>
                      <a:pt x="337" y="196"/>
                      <a:pt x="266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68" name="Google Shape;11101;p65">
                <a:extLst>
                  <a:ext uri="{FF2B5EF4-FFF2-40B4-BE49-F238E27FC236}">
                    <a16:creationId xmlns:a16="http://schemas.microsoft.com/office/drawing/2014/main" id="{9A92A927-6F0F-B1BA-4DB4-CE1790634941}"/>
                  </a:ext>
                </a:extLst>
              </p:cNvPr>
              <p:cNvSpPr/>
              <p:nvPr/>
            </p:nvSpPr>
            <p:spPr>
              <a:xfrm>
                <a:off x="6189159" y="3076713"/>
                <a:ext cx="117131" cy="35868"/>
              </a:xfrm>
              <a:custGeom>
                <a:avLst/>
                <a:gdLst/>
                <a:ahLst/>
                <a:cxnLst/>
                <a:rect l="l" t="t" r="r" b="b"/>
                <a:pathLst>
                  <a:path w="20300" h="6219" extrusionOk="0">
                    <a:moveTo>
                      <a:pt x="17629" y="0"/>
                    </a:moveTo>
                    <a:cubicBezTo>
                      <a:pt x="12187" y="0"/>
                      <a:pt x="6775" y="976"/>
                      <a:pt x="1651" y="2882"/>
                    </a:cubicBezTo>
                    <a:cubicBezTo>
                      <a:pt x="1207" y="3344"/>
                      <a:pt x="764" y="3823"/>
                      <a:pt x="302" y="4266"/>
                    </a:cubicBezTo>
                    <a:cubicBezTo>
                      <a:pt x="1" y="4568"/>
                      <a:pt x="231" y="5402"/>
                      <a:pt x="214" y="6218"/>
                    </a:cubicBezTo>
                    <a:cubicBezTo>
                      <a:pt x="1402" y="5473"/>
                      <a:pt x="2201" y="4834"/>
                      <a:pt x="3141" y="4408"/>
                    </a:cubicBezTo>
                    <a:cubicBezTo>
                      <a:pt x="5525" y="3347"/>
                      <a:pt x="8003" y="2632"/>
                      <a:pt x="10607" y="2632"/>
                    </a:cubicBezTo>
                    <a:cubicBezTo>
                      <a:pt x="11182" y="2632"/>
                      <a:pt x="11763" y="2666"/>
                      <a:pt x="12350" y="2740"/>
                    </a:cubicBezTo>
                    <a:cubicBezTo>
                      <a:pt x="12586" y="2362"/>
                      <a:pt x="12876" y="2257"/>
                      <a:pt x="13186" y="2257"/>
                    </a:cubicBezTo>
                    <a:cubicBezTo>
                      <a:pt x="13571" y="2257"/>
                      <a:pt x="13986" y="2419"/>
                      <a:pt x="14364" y="2419"/>
                    </a:cubicBezTo>
                    <a:cubicBezTo>
                      <a:pt x="14550" y="2419"/>
                      <a:pt x="14727" y="2379"/>
                      <a:pt x="14887" y="2261"/>
                    </a:cubicBezTo>
                    <a:cubicBezTo>
                      <a:pt x="16502" y="1072"/>
                      <a:pt x="18472" y="718"/>
                      <a:pt x="20299" y="79"/>
                    </a:cubicBezTo>
                    <a:cubicBezTo>
                      <a:pt x="19409" y="26"/>
                      <a:pt x="18519" y="0"/>
                      <a:pt x="17629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69" name="Google Shape;11102;p65">
                <a:extLst>
                  <a:ext uri="{FF2B5EF4-FFF2-40B4-BE49-F238E27FC236}">
                    <a16:creationId xmlns:a16="http://schemas.microsoft.com/office/drawing/2014/main" id="{71EEC197-0B41-17CA-3F8F-38419F466CCB}"/>
                  </a:ext>
                </a:extLst>
              </p:cNvPr>
              <p:cNvSpPr/>
              <p:nvPr/>
            </p:nvSpPr>
            <p:spPr>
              <a:xfrm>
                <a:off x="6350006" y="3503923"/>
                <a:ext cx="45156" cy="42581"/>
              </a:xfrm>
              <a:custGeom>
                <a:avLst/>
                <a:gdLst/>
                <a:ahLst/>
                <a:cxnLst/>
                <a:rect l="l" t="t" r="r" b="b"/>
                <a:pathLst>
                  <a:path w="7826" h="7383" extrusionOk="0">
                    <a:moveTo>
                      <a:pt x="7648" y="1"/>
                    </a:moveTo>
                    <a:lnTo>
                      <a:pt x="7648" y="1"/>
                    </a:lnTo>
                    <a:cubicBezTo>
                      <a:pt x="6488" y="417"/>
                      <a:pt x="5728" y="1543"/>
                      <a:pt x="4541" y="1543"/>
                    </a:cubicBezTo>
                    <a:cubicBezTo>
                      <a:pt x="4311" y="1543"/>
                      <a:pt x="4065" y="1501"/>
                      <a:pt x="3797" y="1403"/>
                    </a:cubicBezTo>
                    <a:cubicBezTo>
                      <a:pt x="3766" y="1397"/>
                      <a:pt x="3735" y="1395"/>
                      <a:pt x="3704" y="1395"/>
                    </a:cubicBezTo>
                    <a:cubicBezTo>
                      <a:pt x="3523" y="1395"/>
                      <a:pt x="3348" y="1482"/>
                      <a:pt x="3212" y="1633"/>
                    </a:cubicBezTo>
                    <a:cubicBezTo>
                      <a:pt x="2520" y="3567"/>
                      <a:pt x="142" y="4490"/>
                      <a:pt x="0" y="7045"/>
                    </a:cubicBezTo>
                    <a:lnTo>
                      <a:pt x="1633" y="7382"/>
                    </a:lnTo>
                    <a:cubicBezTo>
                      <a:pt x="2662" y="6353"/>
                      <a:pt x="3655" y="5306"/>
                      <a:pt x="4844" y="4419"/>
                    </a:cubicBezTo>
                    <a:cubicBezTo>
                      <a:pt x="6211" y="3390"/>
                      <a:pt x="7825" y="2219"/>
                      <a:pt x="7648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70" name="Google Shape;11103;p65">
                <a:extLst>
                  <a:ext uri="{FF2B5EF4-FFF2-40B4-BE49-F238E27FC236}">
                    <a16:creationId xmlns:a16="http://schemas.microsoft.com/office/drawing/2014/main" id="{232F5EFD-3C04-665B-12A7-A9F8E72213A3}"/>
                  </a:ext>
                </a:extLst>
              </p:cNvPr>
              <p:cNvSpPr/>
              <p:nvPr/>
            </p:nvSpPr>
            <p:spPr>
              <a:xfrm>
                <a:off x="6262180" y="3141947"/>
                <a:ext cx="28469" cy="38688"/>
              </a:xfrm>
              <a:custGeom>
                <a:avLst/>
                <a:gdLst/>
                <a:ahLst/>
                <a:cxnLst/>
                <a:rect l="l" t="t" r="r" b="b"/>
                <a:pathLst>
                  <a:path w="4934" h="6708" extrusionOk="0">
                    <a:moveTo>
                      <a:pt x="2094" y="0"/>
                    </a:moveTo>
                    <a:lnTo>
                      <a:pt x="2094" y="0"/>
                    </a:lnTo>
                    <a:cubicBezTo>
                      <a:pt x="0" y="1420"/>
                      <a:pt x="3052" y="2467"/>
                      <a:pt x="1988" y="4454"/>
                    </a:cubicBezTo>
                    <a:lnTo>
                      <a:pt x="817" y="4756"/>
                    </a:lnTo>
                    <a:cubicBezTo>
                      <a:pt x="1243" y="6707"/>
                      <a:pt x="2822" y="6228"/>
                      <a:pt x="3851" y="6619"/>
                    </a:cubicBezTo>
                    <a:lnTo>
                      <a:pt x="4933" y="5430"/>
                    </a:lnTo>
                    <a:cubicBezTo>
                      <a:pt x="4685" y="3993"/>
                      <a:pt x="2768" y="2875"/>
                      <a:pt x="4206" y="1207"/>
                    </a:cubicBezTo>
                    <a:cubicBezTo>
                      <a:pt x="3883" y="979"/>
                      <a:pt x="3846" y="221"/>
                      <a:pt x="3400" y="221"/>
                    </a:cubicBezTo>
                    <a:cubicBezTo>
                      <a:pt x="3257" y="221"/>
                      <a:pt x="3072" y="299"/>
                      <a:pt x="2822" y="497"/>
                    </a:cubicBezTo>
                    <a:cubicBezTo>
                      <a:pt x="2815" y="502"/>
                      <a:pt x="2807" y="505"/>
                      <a:pt x="2796" y="505"/>
                    </a:cubicBezTo>
                    <a:cubicBezTo>
                      <a:pt x="2667" y="505"/>
                      <a:pt x="2259" y="115"/>
                      <a:pt x="209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71" name="Google Shape;11104;p65">
                <a:extLst>
                  <a:ext uri="{FF2B5EF4-FFF2-40B4-BE49-F238E27FC236}">
                    <a16:creationId xmlns:a16="http://schemas.microsoft.com/office/drawing/2014/main" id="{D6B837B8-AEB3-4CF4-3DF5-72B3A73F44DA}"/>
                  </a:ext>
                </a:extLst>
              </p:cNvPr>
              <p:cNvSpPr/>
              <p:nvPr/>
            </p:nvSpPr>
            <p:spPr>
              <a:xfrm>
                <a:off x="6251907" y="3101042"/>
                <a:ext cx="26011" cy="13686"/>
              </a:xfrm>
              <a:custGeom>
                <a:avLst/>
                <a:gdLst/>
                <a:ahLst/>
                <a:cxnLst/>
                <a:rect l="l" t="t" r="r" b="b"/>
                <a:pathLst>
                  <a:path w="4508" h="2373" extrusionOk="0">
                    <a:moveTo>
                      <a:pt x="1606" y="0"/>
                    </a:moveTo>
                    <a:cubicBezTo>
                      <a:pt x="1091" y="0"/>
                      <a:pt x="558" y="171"/>
                      <a:pt x="0" y="723"/>
                    </a:cubicBezTo>
                    <a:cubicBezTo>
                      <a:pt x="430" y="1555"/>
                      <a:pt x="972" y="2195"/>
                      <a:pt x="1679" y="2195"/>
                    </a:cubicBezTo>
                    <a:cubicBezTo>
                      <a:pt x="1906" y="2195"/>
                      <a:pt x="2151" y="2129"/>
                      <a:pt x="2414" y="1982"/>
                    </a:cubicBezTo>
                    <a:cubicBezTo>
                      <a:pt x="2981" y="1663"/>
                      <a:pt x="4507" y="2373"/>
                      <a:pt x="4064" y="456"/>
                    </a:cubicBezTo>
                    <a:lnTo>
                      <a:pt x="4064" y="456"/>
                    </a:lnTo>
                    <a:cubicBezTo>
                      <a:pt x="4046" y="457"/>
                      <a:pt x="4028" y="457"/>
                      <a:pt x="4010" y="457"/>
                    </a:cubicBezTo>
                    <a:cubicBezTo>
                      <a:pt x="3239" y="457"/>
                      <a:pt x="2447" y="0"/>
                      <a:pt x="1606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72" name="Google Shape;11105;p65">
                <a:extLst>
                  <a:ext uri="{FF2B5EF4-FFF2-40B4-BE49-F238E27FC236}">
                    <a16:creationId xmlns:a16="http://schemas.microsoft.com/office/drawing/2014/main" id="{5B352A04-4670-7924-A6CB-D3ACE2FE02DA}"/>
                  </a:ext>
                </a:extLst>
              </p:cNvPr>
              <p:cNvSpPr/>
              <p:nvPr/>
            </p:nvSpPr>
            <p:spPr>
              <a:xfrm>
                <a:off x="6250613" y="3155645"/>
                <a:ext cx="21609" cy="17008"/>
              </a:xfrm>
              <a:custGeom>
                <a:avLst/>
                <a:gdLst/>
                <a:ahLst/>
                <a:cxnLst/>
                <a:rect l="l" t="t" r="r" b="b"/>
                <a:pathLst>
                  <a:path w="3745" h="2949" extrusionOk="0">
                    <a:moveTo>
                      <a:pt x="1345" y="1"/>
                    </a:moveTo>
                    <a:cubicBezTo>
                      <a:pt x="985" y="1"/>
                      <a:pt x="770" y="142"/>
                      <a:pt x="568" y="429"/>
                    </a:cubicBezTo>
                    <a:cubicBezTo>
                      <a:pt x="213" y="943"/>
                      <a:pt x="249" y="1706"/>
                      <a:pt x="0" y="2948"/>
                    </a:cubicBezTo>
                    <a:lnTo>
                      <a:pt x="3744" y="695"/>
                    </a:lnTo>
                    <a:cubicBezTo>
                      <a:pt x="2515" y="235"/>
                      <a:pt x="1810" y="1"/>
                      <a:pt x="1345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</p:grpSp>
      </p:grpSp>
      <p:grpSp>
        <p:nvGrpSpPr>
          <p:cNvPr id="1973" name="Google Shape;11106;p65">
            <a:extLst>
              <a:ext uri="{FF2B5EF4-FFF2-40B4-BE49-F238E27FC236}">
                <a16:creationId xmlns:a16="http://schemas.microsoft.com/office/drawing/2014/main" id="{3A310B20-CCE3-175C-86CD-6960AE0C8312}"/>
              </a:ext>
            </a:extLst>
          </p:cNvPr>
          <p:cNvGrpSpPr/>
          <p:nvPr/>
        </p:nvGrpSpPr>
        <p:grpSpPr>
          <a:xfrm>
            <a:off x="4797047" y="4087843"/>
            <a:ext cx="2988459" cy="1774208"/>
            <a:chOff x="3597785" y="3065882"/>
            <a:chExt cx="2241344" cy="1330656"/>
          </a:xfrm>
        </p:grpSpPr>
        <p:grpSp>
          <p:nvGrpSpPr>
            <p:cNvPr id="1974" name="Google Shape;11107;p65">
              <a:extLst>
                <a:ext uri="{FF2B5EF4-FFF2-40B4-BE49-F238E27FC236}">
                  <a16:creationId xmlns:a16="http://schemas.microsoft.com/office/drawing/2014/main" id="{D8E7D5C3-D5A2-4C21-89BC-77C0C4DB2458}"/>
                </a:ext>
              </a:extLst>
            </p:cNvPr>
            <p:cNvGrpSpPr/>
            <p:nvPr/>
          </p:nvGrpSpPr>
          <p:grpSpPr>
            <a:xfrm>
              <a:off x="5296908" y="3937355"/>
              <a:ext cx="143198" cy="32380"/>
              <a:chOff x="5296908" y="3937355"/>
              <a:chExt cx="143198" cy="32380"/>
            </a:xfrm>
          </p:grpSpPr>
          <p:sp>
            <p:nvSpPr>
              <p:cNvPr id="2778" name="Google Shape;11108;p65">
                <a:extLst>
                  <a:ext uri="{FF2B5EF4-FFF2-40B4-BE49-F238E27FC236}">
                    <a16:creationId xmlns:a16="http://schemas.microsoft.com/office/drawing/2014/main" id="{7C3D22ED-0DB0-1512-E2B9-39B84BB43F18}"/>
                  </a:ext>
                </a:extLst>
              </p:cNvPr>
              <p:cNvSpPr/>
              <p:nvPr/>
            </p:nvSpPr>
            <p:spPr>
              <a:xfrm>
                <a:off x="5319457" y="3952794"/>
                <a:ext cx="111895" cy="8"/>
              </a:xfrm>
              <a:custGeom>
                <a:avLst/>
                <a:gdLst/>
                <a:ahLst/>
                <a:cxnLst/>
                <a:rect l="l" t="t" r="r" b="b"/>
                <a:pathLst>
                  <a:path w="14227" h="1" fill="none" extrusionOk="0">
                    <a:moveTo>
                      <a:pt x="1" y="0"/>
                    </a:moveTo>
                    <a:lnTo>
                      <a:pt x="14227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2779" name="Google Shape;11109;p65">
                <a:extLst>
                  <a:ext uri="{FF2B5EF4-FFF2-40B4-BE49-F238E27FC236}">
                    <a16:creationId xmlns:a16="http://schemas.microsoft.com/office/drawing/2014/main" id="{BECE1DC9-C104-51EB-DD5C-8A52F4430DCF}"/>
                  </a:ext>
                </a:extLst>
              </p:cNvPr>
              <p:cNvGrpSpPr/>
              <p:nvPr/>
            </p:nvGrpSpPr>
            <p:grpSpPr>
              <a:xfrm>
                <a:off x="5402331" y="3937355"/>
                <a:ext cx="37776" cy="32380"/>
                <a:chOff x="5402331" y="3937355"/>
                <a:chExt cx="37776" cy="32380"/>
              </a:xfrm>
            </p:grpSpPr>
            <p:sp>
              <p:nvSpPr>
                <p:cNvPr id="2783" name="Google Shape;11110;p65">
                  <a:extLst>
                    <a:ext uri="{FF2B5EF4-FFF2-40B4-BE49-F238E27FC236}">
                      <a16:creationId xmlns:a16="http://schemas.microsoft.com/office/drawing/2014/main" id="{82BFF571-5E9F-A7D8-FA6B-8C467E581CC7}"/>
                    </a:ext>
                  </a:extLst>
                </p:cNvPr>
                <p:cNvSpPr/>
                <p:nvPr/>
              </p:nvSpPr>
              <p:spPr>
                <a:xfrm>
                  <a:off x="5402331" y="3937355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4" y="609"/>
                      </a:cubicBezTo>
                      <a:cubicBezTo>
                        <a:pt x="0" y="1903"/>
                        <a:pt x="919" y="4117"/>
                        <a:pt x="2746" y="4117"/>
                      </a:cubicBezTo>
                      <a:cubicBezTo>
                        <a:pt x="3883" y="4117"/>
                        <a:pt x="4802" y="3185"/>
                        <a:pt x="4802" y="2060"/>
                      </a:cubicBezTo>
                      <a:cubicBezTo>
                        <a:pt x="4802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84" name="Google Shape;11111;p65">
                  <a:extLst>
                    <a:ext uri="{FF2B5EF4-FFF2-40B4-BE49-F238E27FC236}">
                      <a16:creationId xmlns:a16="http://schemas.microsoft.com/office/drawing/2014/main" id="{D1659FE6-86BD-93F1-86DB-C7B6C8DEA338}"/>
                    </a:ext>
                  </a:extLst>
                </p:cNvPr>
                <p:cNvSpPr/>
                <p:nvPr/>
              </p:nvSpPr>
              <p:spPr>
                <a:xfrm>
                  <a:off x="5415174" y="3946990"/>
                  <a:ext cx="15321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8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32" y="1416"/>
                      </a:cubicBezTo>
                      <a:cubicBezTo>
                        <a:pt x="701" y="1585"/>
                        <a:pt x="910" y="1661"/>
                        <a:pt x="1114" y="1661"/>
                      </a:cubicBezTo>
                      <a:cubicBezTo>
                        <a:pt x="1540" y="1661"/>
                        <a:pt x="1948" y="1333"/>
                        <a:pt x="1948" y="835"/>
                      </a:cubicBezTo>
                      <a:cubicBezTo>
                        <a:pt x="1948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80" name="Google Shape;11112;p65">
                <a:extLst>
                  <a:ext uri="{FF2B5EF4-FFF2-40B4-BE49-F238E27FC236}">
                    <a16:creationId xmlns:a16="http://schemas.microsoft.com/office/drawing/2014/main" id="{AE97BB13-153F-28B0-5BB7-E1222A04C42E}"/>
                  </a:ext>
                </a:extLst>
              </p:cNvPr>
              <p:cNvGrpSpPr/>
              <p:nvPr/>
            </p:nvGrpSpPr>
            <p:grpSpPr>
              <a:xfrm>
                <a:off x="5296908" y="3937355"/>
                <a:ext cx="37783" cy="32380"/>
                <a:chOff x="5296908" y="3937355"/>
                <a:chExt cx="37783" cy="32380"/>
              </a:xfrm>
            </p:grpSpPr>
            <p:sp>
              <p:nvSpPr>
                <p:cNvPr id="2781" name="Google Shape;11113;p65">
                  <a:extLst>
                    <a:ext uri="{FF2B5EF4-FFF2-40B4-BE49-F238E27FC236}">
                      <a16:creationId xmlns:a16="http://schemas.microsoft.com/office/drawing/2014/main" id="{BE5439C5-3783-6975-A4D3-EA8FD1D2FF11}"/>
                    </a:ext>
                  </a:extLst>
                </p:cNvPr>
                <p:cNvSpPr/>
                <p:nvPr/>
              </p:nvSpPr>
              <p:spPr>
                <a:xfrm>
                  <a:off x="5296908" y="3937355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47" y="4117"/>
                      </a:cubicBezTo>
                      <a:cubicBezTo>
                        <a:pt x="3884" y="4117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82" name="Google Shape;11114;p65">
                  <a:extLst>
                    <a:ext uri="{FF2B5EF4-FFF2-40B4-BE49-F238E27FC236}">
                      <a16:creationId xmlns:a16="http://schemas.microsoft.com/office/drawing/2014/main" id="{A6F84050-447C-246C-681C-08DEC495FE8D}"/>
                    </a:ext>
                  </a:extLst>
                </p:cNvPr>
                <p:cNvSpPr/>
                <p:nvPr/>
              </p:nvSpPr>
              <p:spPr>
                <a:xfrm>
                  <a:off x="5309846" y="3946990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02" y="1"/>
                      </a:moveTo>
                      <a:cubicBezTo>
                        <a:pt x="364" y="1"/>
                        <a:pt x="1" y="896"/>
                        <a:pt x="521" y="1416"/>
                      </a:cubicBezTo>
                      <a:cubicBezTo>
                        <a:pt x="690" y="1585"/>
                        <a:pt x="899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61" y="1"/>
                        <a:pt x="11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975" name="Google Shape;11115;p65">
              <a:extLst>
                <a:ext uri="{FF2B5EF4-FFF2-40B4-BE49-F238E27FC236}">
                  <a16:creationId xmlns:a16="http://schemas.microsoft.com/office/drawing/2014/main" id="{B3220E78-5578-5C3A-E7FE-74C76357EA5E}"/>
                </a:ext>
              </a:extLst>
            </p:cNvPr>
            <p:cNvGrpSpPr/>
            <p:nvPr/>
          </p:nvGrpSpPr>
          <p:grpSpPr>
            <a:xfrm>
              <a:off x="4724163" y="3119631"/>
              <a:ext cx="120838" cy="84218"/>
              <a:chOff x="4724163" y="3119631"/>
              <a:chExt cx="120838" cy="84218"/>
            </a:xfrm>
          </p:grpSpPr>
          <p:grpSp>
            <p:nvGrpSpPr>
              <p:cNvPr id="2763" name="Google Shape;11116;p65">
                <a:extLst>
                  <a:ext uri="{FF2B5EF4-FFF2-40B4-BE49-F238E27FC236}">
                    <a16:creationId xmlns:a16="http://schemas.microsoft.com/office/drawing/2014/main" id="{8CDDEC83-CDD3-B758-503D-DDAC5FF96EEF}"/>
                  </a:ext>
                </a:extLst>
              </p:cNvPr>
              <p:cNvGrpSpPr/>
              <p:nvPr/>
            </p:nvGrpSpPr>
            <p:grpSpPr>
              <a:xfrm>
                <a:off x="4746712" y="3132773"/>
                <a:ext cx="86869" cy="56424"/>
                <a:chOff x="4746712" y="3132773"/>
                <a:chExt cx="86869" cy="56424"/>
              </a:xfrm>
            </p:grpSpPr>
            <p:sp>
              <p:nvSpPr>
                <p:cNvPr id="2776" name="Google Shape;11117;p65">
                  <a:extLst>
                    <a:ext uri="{FF2B5EF4-FFF2-40B4-BE49-F238E27FC236}">
                      <a16:creationId xmlns:a16="http://schemas.microsoft.com/office/drawing/2014/main" id="{82951A0E-9E79-7A58-DB68-4F266134957A}"/>
                    </a:ext>
                  </a:extLst>
                </p:cNvPr>
                <p:cNvSpPr/>
                <p:nvPr/>
              </p:nvSpPr>
              <p:spPr>
                <a:xfrm>
                  <a:off x="4746712" y="3132773"/>
                  <a:ext cx="86869" cy="56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45" h="7174" fill="none" extrusionOk="0">
                      <a:moveTo>
                        <a:pt x="0" y="1597"/>
                      </a:moveTo>
                      <a:cubicBezTo>
                        <a:pt x="242" y="1743"/>
                        <a:pt x="3532" y="7174"/>
                        <a:pt x="3532" y="7174"/>
                      </a:cubicBezTo>
                      <a:lnTo>
                        <a:pt x="6290" y="3315"/>
                      </a:lnTo>
                      <a:lnTo>
                        <a:pt x="11044" y="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77" name="Google Shape;11118;p65">
                  <a:extLst>
                    <a:ext uri="{FF2B5EF4-FFF2-40B4-BE49-F238E27FC236}">
                      <a16:creationId xmlns:a16="http://schemas.microsoft.com/office/drawing/2014/main" id="{8E6F68BA-35E7-4047-406F-10429951D7E8}"/>
                    </a:ext>
                  </a:extLst>
                </p:cNvPr>
                <p:cNvSpPr/>
                <p:nvPr/>
              </p:nvSpPr>
              <p:spPr>
                <a:xfrm>
                  <a:off x="4746712" y="3145334"/>
                  <a:ext cx="49479" cy="135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1" h="1719" fill="none" extrusionOk="0">
                      <a:moveTo>
                        <a:pt x="0" y="0"/>
                      </a:moveTo>
                      <a:lnTo>
                        <a:pt x="6290" y="171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64" name="Google Shape;11119;p65">
                <a:extLst>
                  <a:ext uri="{FF2B5EF4-FFF2-40B4-BE49-F238E27FC236}">
                    <a16:creationId xmlns:a16="http://schemas.microsoft.com/office/drawing/2014/main" id="{834DFF92-63E9-DCDC-6939-C7D168EF65A2}"/>
                  </a:ext>
                </a:extLst>
              </p:cNvPr>
              <p:cNvGrpSpPr/>
              <p:nvPr/>
            </p:nvGrpSpPr>
            <p:grpSpPr>
              <a:xfrm>
                <a:off x="4773634" y="3143336"/>
                <a:ext cx="37776" cy="32451"/>
                <a:chOff x="4773634" y="3143336"/>
                <a:chExt cx="37776" cy="32451"/>
              </a:xfrm>
            </p:grpSpPr>
            <p:sp>
              <p:nvSpPr>
                <p:cNvPr id="2774" name="Google Shape;11120;p65">
                  <a:extLst>
                    <a:ext uri="{FF2B5EF4-FFF2-40B4-BE49-F238E27FC236}">
                      <a16:creationId xmlns:a16="http://schemas.microsoft.com/office/drawing/2014/main" id="{9C51697E-5113-D4BC-32D0-4318B70E36FF}"/>
                    </a:ext>
                  </a:extLst>
                </p:cNvPr>
                <p:cNvSpPr/>
                <p:nvPr/>
              </p:nvSpPr>
              <p:spPr>
                <a:xfrm>
                  <a:off x="4773634" y="3143336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900"/>
                        <a:pt x="920" y="4125"/>
                        <a:pt x="2746" y="4125"/>
                      </a:cubicBezTo>
                      <a:cubicBezTo>
                        <a:pt x="3884" y="4125"/>
                        <a:pt x="4803" y="3206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75" name="Google Shape;11121;p65">
                  <a:extLst>
                    <a:ext uri="{FF2B5EF4-FFF2-40B4-BE49-F238E27FC236}">
                      <a16:creationId xmlns:a16="http://schemas.microsoft.com/office/drawing/2014/main" id="{BC9D4F2C-8A3A-7601-9B52-2005B5F7A98E}"/>
                    </a:ext>
                  </a:extLst>
                </p:cNvPr>
                <p:cNvSpPr/>
                <p:nvPr/>
              </p:nvSpPr>
              <p:spPr>
                <a:xfrm>
                  <a:off x="4788664" y="315304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7"/>
                        <a:pt x="835" y="1657"/>
                      </a:cubicBezTo>
                      <a:cubicBezTo>
                        <a:pt x="1295" y="1657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65" name="Google Shape;11122;p65">
                <a:extLst>
                  <a:ext uri="{FF2B5EF4-FFF2-40B4-BE49-F238E27FC236}">
                    <a16:creationId xmlns:a16="http://schemas.microsoft.com/office/drawing/2014/main" id="{C24AEB4D-5164-C464-97B0-D18488ABA679}"/>
                  </a:ext>
                </a:extLst>
              </p:cNvPr>
              <p:cNvGrpSpPr/>
              <p:nvPr/>
            </p:nvGrpSpPr>
            <p:grpSpPr>
              <a:xfrm>
                <a:off x="4724163" y="3131248"/>
                <a:ext cx="37776" cy="32459"/>
                <a:chOff x="4724163" y="3131248"/>
                <a:chExt cx="37776" cy="32459"/>
              </a:xfrm>
            </p:grpSpPr>
            <p:sp>
              <p:nvSpPr>
                <p:cNvPr id="2772" name="Google Shape;11123;p65">
                  <a:extLst>
                    <a:ext uri="{FF2B5EF4-FFF2-40B4-BE49-F238E27FC236}">
                      <a16:creationId xmlns:a16="http://schemas.microsoft.com/office/drawing/2014/main" id="{E630A534-975F-9700-2F82-E70DF9E6B5AA}"/>
                    </a:ext>
                  </a:extLst>
                </p:cNvPr>
                <p:cNvSpPr/>
                <p:nvPr/>
              </p:nvSpPr>
              <p:spPr>
                <a:xfrm>
                  <a:off x="4724163" y="3131248"/>
                  <a:ext cx="37776" cy="324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7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00"/>
                        <a:pt x="920" y="4114"/>
                        <a:pt x="2746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73" name="Google Shape;11124;p65">
                  <a:extLst>
                    <a:ext uri="{FF2B5EF4-FFF2-40B4-BE49-F238E27FC236}">
                      <a16:creationId xmlns:a16="http://schemas.microsoft.com/office/drawing/2014/main" id="{3F9B692F-1A87-1669-EBC3-80E373477B34}"/>
                    </a:ext>
                  </a:extLst>
                </p:cNvPr>
                <p:cNvSpPr/>
                <p:nvPr/>
              </p:nvSpPr>
              <p:spPr>
                <a:xfrm>
                  <a:off x="4739288" y="314095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66" name="Google Shape;11125;p65">
                <a:extLst>
                  <a:ext uri="{FF2B5EF4-FFF2-40B4-BE49-F238E27FC236}">
                    <a16:creationId xmlns:a16="http://schemas.microsoft.com/office/drawing/2014/main" id="{BB1F75D5-6ECC-F716-8DA9-9F89E787BFFE}"/>
                  </a:ext>
                </a:extLst>
              </p:cNvPr>
              <p:cNvGrpSpPr/>
              <p:nvPr/>
            </p:nvGrpSpPr>
            <p:grpSpPr>
              <a:xfrm>
                <a:off x="4755081" y="3176054"/>
                <a:ext cx="32357" cy="27795"/>
                <a:chOff x="4755081" y="3176054"/>
                <a:chExt cx="32357" cy="27795"/>
              </a:xfrm>
            </p:grpSpPr>
            <p:sp>
              <p:nvSpPr>
                <p:cNvPr id="2770" name="Google Shape;11126;p65">
                  <a:extLst>
                    <a:ext uri="{FF2B5EF4-FFF2-40B4-BE49-F238E27FC236}">
                      <a16:creationId xmlns:a16="http://schemas.microsoft.com/office/drawing/2014/main" id="{62F91A05-2086-03FE-E1A2-F251A8FB22FF}"/>
                    </a:ext>
                  </a:extLst>
                </p:cNvPr>
                <p:cNvSpPr/>
                <p:nvPr/>
              </p:nvSpPr>
              <p:spPr>
                <a:xfrm>
                  <a:off x="4755081" y="3176054"/>
                  <a:ext cx="32357" cy="277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4" h="3534" extrusionOk="0">
                      <a:moveTo>
                        <a:pt x="2338" y="0"/>
                      </a:moveTo>
                      <a:cubicBezTo>
                        <a:pt x="1904" y="0"/>
                        <a:pt x="1462" y="162"/>
                        <a:pt x="1101" y="522"/>
                      </a:cubicBezTo>
                      <a:cubicBezTo>
                        <a:pt x="1" y="1635"/>
                        <a:pt x="787" y="3534"/>
                        <a:pt x="2360" y="3534"/>
                      </a:cubicBezTo>
                      <a:cubicBezTo>
                        <a:pt x="3327" y="3534"/>
                        <a:pt x="4114" y="2735"/>
                        <a:pt x="4114" y="1768"/>
                      </a:cubicBezTo>
                      <a:cubicBezTo>
                        <a:pt x="4114" y="704"/>
                        <a:pt x="3245" y="0"/>
                        <a:pt x="23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71" name="Google Shape;11127;p65">
                  <a:extLst>
                    <a:ext uri="{FF2B5EF4-FFF2-40B4-BE49-F238E27FC236}">
                      <a16:creationId xmlns:a16="http://schemas.microsoft.com/office/drawing/2014/main" id="{C3854F86-556D-5B2E-08E5-F89EB37AB485}"/>
                    </a:ext>
                  </a:extLst>
                </p:cNvPr>
                <p:cNvSpPr/>
                <p:nvPr/>
              </p:nvSpPr>
              <p:spPr>
                <a:xfrm>
                  <a:off x="4767924" y="3185768"/>
                  <a:ext cx="9902" cy="83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" h="1067" extrusionOk="0">
                      <a:moveTo>
                        <a:pt x="714" y="0"/>
                      </a:moveTo>
                      <a:cubicBezTo>
                        <a:pt x="243" y="0"/>
                        <a:pt x="1" y="569"/>
                        <a:pt x="339" y="908"/>
                      </a:cubicBezTo>
                      <a:cubicBezTo>
                        <a:pt x="449" y="1017"/>
                        <a:pt x="584" y="1066"/>
                        <a:pt x="716" y="1066"/>
                      </a:cubicBezTo>
                      <a:cubicBezTo>
                        <a:pt x="993" y="1066"/>
                        <a:pt x="1259" y="852"/>
                        <a:pt x="1259" y="533"/>
                      </a:cubicBezTo>
                      <a:cubicBezTo>
                        <a:pt x="1259" y="230"/>
                        <a:pt x="101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67" name="Google Shape;11128;p65">
                <a:extLst>
                  <a:ext uri="{FF2B5EF4-FFF2-40B4-BE49-F238E27FC236}">
                    <a16:creationId xmlns:a16="http://schemas.microsoft.com/office/drawing/2014/main" id="{595BFB57-BC85-60A8-CE17-B0687046BABF}"/>
                  </a:ext>
                </a:extLst>
              </p:cNvPr>
              <p:cNvGrpSpPr/>
              <p:nvPr/>
            </p:nvGrpSpPr>
            <p:grpSpPr>
              <a:xfrm>
                <a:off x="4812550" y="3119631"/>
                <a:ext cx="32451" cy="27803"/>
                <a:chOff x="4812550" y="3119631"/>
                <a:chExt cx="32451" cy="27803"/>
              </a:xfrm>
            </p:grpSpPr>
            <p:sp>
              <p:nvSpPr>
                <p:cNvPr id="2768" name="Google Shape;11129;p65">
                  <a:extLst>
                    <a:ext uri="{FF2B5EF4-FFF2-40B4-BE49-F238E27FC236}">
                      <a16:creationId xmlns:a16="http://schemas.microsoft.com/office/drawing/2014/main" id="{37855701-4A9C-73E5-76D4-4BA84652133B}"/>
                    </a:ext>
                  </a:extLst>
                </p:cNvPr>
                <p:cNvSpPr/>
                <p:nvPr/>
              </p:nvSpPr>
              <p:spPr>
                <a:xfrm>
                  <a:off x="4812550" y="3119631"/>
                  <a:ext cx="32451" cy="278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6" h="3535" extrusionOk="0">
                      <a:moveTo>
                        <a:pt x="2350" y="1"/>
                      </a:moveTo>
                      <a:cubicBezTo>
                        <a:pt x="1916" y="1"/>
                        <a:pt x="1473" y="162"/>
                        <a:pt x="1113" y="522"/>
                      </a:cubicBezTo>
                      <a:cubicBezTo>
                        <a:pt x="0" y="1635"/>
                        <a:pt x="798" y="3534"/>
                        <a:pt x="2371" y="3534"/>
                      </a:cubicBezTo>
                      <a:cubicBezTo>
                        <a:pt x="3339" y="3534"/>
                        <a:pt x="4125" y="2748"/>
                        <a:pt x="4125" y="1768"/>
                      </a:cubicBezTo>
                      <a:cubicBezTo>
                        <a:pt x="4125" y="705"/>
                        <a:pt x="3256" y="1"/>
                        <a:pt x="235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69" name="Google Shape;11130;p65">
                  <a:extLst>
                    <a:ext uri="{FF2B5EF4-FFF2-40B4-BE49-F238E27FC236}">
                      <a16:creationId xmlns:a16="http://schemas.microsoft.com/office/drawing/2014/main" id="{DCF46D44-4E0D-4DEA-2D28-C557759E40C8}"/>
                    </a:ext>
                  </a:extLst>
                </p:cNvPr>
                <p:cNvSpPr/>
                <p:nvPr/>
              </p:nvSpPr>
              <p:spPr>
                <a:xfrm>
                  <a:off x="4826912" y="3129352"/>
                  <a:ext cx="8478" cy="83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8" h="1065" extrusionOk="0">
                      <a:moveTo>
                        <a:pt x="533" y="0"/>
                      </a:moveTo>
                      <a:cubicBezTo>
                        <a:pt x="243" y="0"/>
                        <a:pt x="1" y="242"/>
                        <a:pt x="1" y="532"/>
                      </a:cubicBezTo>
                      <a:cubicBezTo>
                        <a:pt x="1" y="835"/>
                        <a:pt x="243" y="1065"/>
                        <a:pt x="533" y="1065"/>
                      </a:cubicBezTo>
                      <a:cubicBezTo>
                        <a:pt x="835" y="1065"/>
                        <a:pt x="1077" y="835"/>
                        <a:pt x="1077" y="532"/>
                      </a:cubicBezTo>
                      <a:cubicBezTo>
                        <a:pt x="1077" y="242"/>
                        <a:pt x="835" y="0"/>
                        <a:pt x="53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976" name="Google Shape;11131;p65">
              <a:extLst>
                <a:ext uri="{FF2B5EF4-FFF2-40B4-BE49-F238E27FC236}">
                  <a16:creationId xmlns:a16="http://schemas.microsoft.com/office/drawing/2014/main" id="{75934A8A-D0AD-2535-AC6E-ADAFC74038B7}"/>
                </a:ext>
              </a:extLst>
            </p:cNvPr>
            <p:cNvGrpSpPr/>
            <p:nvPr/>
          </p:nvGrpSpPr>
          <p:grpSpPr>
            <a:xfrm>
              <a:off x="5382826" y="4027197"/>
              <a:ext cx="268967" cy="250422"/>
              <a:chOff x="5382826" y="4027197"/>
              <a:chExt cx="268967" cy="250422"/>
            </a:xfrm>
          </p:grpSpPr>
          <p:grpSp>
            <p:nvGrpSpPr>
              <p:cNvPr id="2735" name="Google Shape;11132;p65">
                <a:extLst>
                  <a:ext uri="{FF2B5EF4-FFF2-40B4-BE49-F238E27FC236}">
                    <a16:creationId xmlns:a16="http://schemas.microsoft.com/office/drawing/2014/main" id="{5CF91BD3-C0C6-6C43-1ECF-90586BD5442C}"/>
                  </a:ext>
                </a:extLst>
              </p:cNvPr>
              <p:cNvGrpSpPr/>
              <p:nvPr/>
            </p:nvGrpSpPr>
            <p:grpSpPr>
              <a:xfrm>
                <a:off x="5405280" y="4042510"/>
                <a:ext cx="237570" cy="218647"/>
                <a:chOff x="5405280" y="4042510"/>
                <a:chExt cx="237570" cy="218647"/>
              </a:xfrm>
            </p:grpSpPr>
            <p:sp>
              <p:nvSpPr>
                <p:cNvPr id="2757" name="Google Shape;11133;p65">
                  <a:extLst>
                    <a:ext uri="{FF2B5EF4-FFF2-40B4-BE49-F238E27FC236}">
                      <a16:creationId xmlns:a16="http://schemas.microsoft.com/office/drawing/2014/main" id="{5F105DCD-2728-B0FC-C164-1F570F975D72}"/>
                    </a:ext>
                  </a:extLst>
                </p:cNvPr>
                <p:cNvSpPr/>
                <p:nvPr/>
              </p:nvSpPr>
              <p:spPr>
                <a:xfrm>
                  <a:off x="5405280" y="4042510"/>
                  <a:ext cx="144999" cy="173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36" h="22102" fill="none" extrusionOk="0">
                      <a:moveTo>
                        <a:pt x="0" y="12037"/>
                      </a:moveTo>
                      <a:cubicBezTo>
                        <a:pt x="702" y="12073"/>
                        <a:pt x="12302" y="22101"/>
                        <a:pt x="12302" y="22101"/>
                      </a:cubicBezTo>
                      <a:lnTo>
                        <a:pt x="11819" y="13005"/>
                      </a:lnTo>
                      <a:lnTo>
                        <a:pt x="18435" y="1"/>
                      </a:lnTo>
                      <a:lnTo>
                        <a:pt x="0" y="125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58" name="Google Shape;11134;p65">
                  <a:extLst>
                    <a:ext uri="{FF2B5EF4-FFF2-40B4-BE49-F238E27FC236}">
                      <a16:creationId xmlns:a16="http://schemas.microsoft.com/office/drawing/2014/main" id="{FC943E3B-CB40-32FE-E12C-6595D71EA5A3}"/>
                    </a:ext>
                  </a:extLst>
                </p:cNvPr>
                <p:cNvSpPr/>
                <p:nvPr/>
              </p:nvSpPr>
              <p:spPr>
                <a:xfrm>
                  <a:off x="5502036" y="4125093"/>
                  <a:ext cx="134350" cy="135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" h="17239" fill="none" extrusionOk="0">
                      <a:moveTo>
                        <a:pt x="13513" y="17239"/>
                      </a:moveTo>
                      <a:lnTo>
                        <a:pt x="12690" y="8614"/>
                      </a:lnTo>
                      <a:lnTo>
                        <a:pt x="17081" y="1"/>
                      </a:lnTo>
                      <a:lnTo>
                        <a:pt x="0" y="2021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59" name="Google Shape;11135;p65">
                  <a:extLst>
                    <a:ext uri="{FF2B5EF4-FFF2-40B4-BE49-F238E27FC236}">
                      <a16:creationId xmlns:a16="http://schemas.microsoft.com/office/drawing/2014/main" id="{2897BB50-4238-1827-89CF-F3C00406981E}"/>
                    </a:ext>
                  </a:extLst>
                </p:cNvPr>
                <p:cNvSpPr/>
                <p:nvPr/>
              </p:nvSpPr>
              <p:spPr>
                <a:xfrm>
                  <a:off x="5543704" y="4042990"/>
                  <a:ext cx="99146" cy="816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06" h="10380" fill="none" extrusionOk="0">
                      <a:moveTo>
                        <a:pt x="1" y="0"/>
                      </a:moveTo>
                      <a:lnTo>
                        <a:pt x="12606" y="1037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60" name="Google Shape;11136;p65">
                  <a:extLst>
                    <a:ext uri="{FF2B5EF4-FFF2-40B4-BE49-F238E27FC236}">
                      <a16:creationId xmlns:a16="http://schemas.microsoft.com/office/drawing/2014/main" id="{D5F05FFC-E8FC-F778-229B-D21BA62D7A27}"/>
                    </a:ext>
                  </a:extLst>
                </p:cNvPr>
                <p:cNvSpPr/>
                <p:nvPr/>
              </p:nvSpPr>
              <p:spPr>
                <a:xfrm>
                  <a:off x="5501941" y="4140980"/>
                  <a:ext cx="103708" cy="518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86" h="6594" fill="none" extrusionOk="0">
                      <a:moveTo>
                        <a:pt x="13186" y="6594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61" name="Google Shape;11137;p65">
                  <a:extLst>
                    <a:ext uri="{FF2B5EF4-FFF2-40B4-BE49-F238E27FC236}">
                      <a16:creationId xmlns:a16="http://schemas.microsoft.com/office/drawing/2014/main" id="{CEBBC194-126F-1681-1A6D-10C5AC3BE382}"/>
                    </a:ext>
                  </a:extLst>
                </p:cNvPr>
                <p:cNvSpPr/>
                <p:nvPr/>
              </p:nvSpPr>
              <p:spPr>
                <a:xfrm>
                  <a:off x="5495854" y="4211010"/>
                  <a:ext cx="105989" cy="50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76" h="6376" fill="none" extrusionOk="0">
                      <a:moveTo>
                        <a:pt x="0" y="0"/>
                      </a:moveTo>
                      <a:lnTo>
                        <a:pt x="13476" y="637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62" name="Google Shape;11138;p65">
                  <a:extLst>
                    <a:ext uri="{FF2B5EF4-FFF2-40B4-BE49-F238E27FC236}">
                      <a16:creationId xmlns:a16="http://schemas.microsoft.com/office/drawing/2014/main" id="{83E76C75-E6F6-63EF-BC26-08B921DDC4CC}"/>
                    </a:ext>
                  </a:extLst>
                </p:cNvPr>
                <p:cNvSpPr/>
                <p:nvPr/>
              </p:nvSpPr>
              <p:spPr>
                <a:xfrm>
                  <a:off x="5405280" y="4134420"/>
                  <a:ext cx="96669" cy="65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91" h="835" fill="none" extrusionOk="0">
                      <a:moveTo>
                        <a:pt x="12290" y="835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36" name="Google Shape;11139;p65">
                <a:extLst>
                  <a:ext uri="{FF2B5EF4-FFF2-40B4-BE49-F238E27FC236}">
                    <a16:creationId xmlns:a16="http://schemas.microsoft.com/office/drawing/2014/main" id="{4BCE1347-D5B2-D985-3189-DE4B6157CCB0}"/>
                  </a:ext>
                </a:extLst>
              </p:cNvPr>
              <p:cNvGrpSpPr/>
              <p:nvPr/>
            </p:nvGrpSpPr>
            <p:grpSpPr>
              <a:xfrm>
                <a:off x="5382826" y="4125549"/>
                <a:ext cx="37776" cy="32380"/>
                <a:chOff x="5382826" y="4125549"/>
                <a:chExt cx="37776" cy="32380"/>
              </a:xfrm>
            </p:grpSpPr>
            <p:sp>
              <p:nvSpPr>
                <p:cNvPr id="2755" name="Google Shape;11140;p65">
                  <a:extLst>
                    <a:ext uri="{FF2B5EF4-FFF2-40B4-BE49-F238E27FC236}">
                      <a16:creationId xmlns:a16="http://schemas.microsoft.com/office/drawing/2014/main" id="{C5207675-C775-6359-2055-F06D4051E5F2}"/>
                    </a:ext>
                  </a:extLst>
                </p:cNvPr>
                <p:cNvSpPr/>
                <p:nvPr/>
              </p:nvSpPr>
              <p:spPr>
                <a:xfrm>
                  <a:off x="5382826" y="4125549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4" y="0"/>
                      </a:moveTo>
                      <a:cubicBezTo>
                        <a:pt x="2229" y="0"/>
                        <a:pt x="1714" y="188"/>
                        <a:pt x="1295" y="608"/>
                      </a:cubicBezTo>
                      <a:cubicBezTo>
                        <a:pt x="0" y="1902"/>
                        <a:pt x="907" y="4116"/>
                        <a:pt x="2746" y="4116"/>
                      </a:cubicBezTo>
                      <a:cubicBezTo>
                        <a:pt x="3871" y="4116"/>
                        <a:pt x="4790" y="3197"/>
                        <a:pt x="4803" y="2060"/>
                      </a:cubicBezTo>
                      <a:cubicBezTo>
                        <a:pt x="4794" y="817"/>
                        <a:pt x="3787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56" name="Google Shape;11141;p65">
                  <a:extLst>
                    <a:ext uri="{FF2B5EF4-FFF2-40B4-BE49-F238E27FC236}">
                      <a16:creationId xmlns:a16="http://schemas.microsoft.com/office/drawing/2014/main" id="{CBDC7022-4059-3609-EB4B-8C6B234EF3EA}"/>
                    </a:ext>
                  </a:extLst>
                </p:cNvPr>
                <p:cNvSpPr/>
                <p:nvPr/>
              </p:nvSpPr>
              <p:spPr>
                <a:xfrm>
                  <a:off x="5395669" y="4135176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37" name="Google Shape;11142;p65">
                <a:extLst>
                  <a:ext uri="{FF2B5EF4-FFF2-40B4-BE49-F238E27FC236}">
                    <a16:creationId xmlns:a16="http://schemas.microsoft.com/office/drawing/2014/main" id="{9EDC9569-797A-846B-FE9E-73AC33B25926}"/>
                  </a:ext>
                </a:extLst>
              </p:cNvPr>
              <p:cNvGrpSpPr/>
              <p:nvPr/>
            </p:nvGrpSpPr>
            <p:grpSpPr>
              <a:xfrm>
                <a:off x="5475680" y="4195587"/>
                <a:ext cx="37783" cy="32364"/>
                <a:chOff x="5475680" y="4195587"/>
                <a:chExt cx="37783" cy="32364"/>
              </a:xfrm>
            </p:grpSpPr>
            <p:sp>
              <p:nvSpPr>
                <p:cNvPr id="2753" name="Google Shape;11143;p65">
                  <a:extLst>
                    <a:ext uri="{FF2B5EF4-FFF2-40B4-BE49-F238E27FC236}">
                      <a16:creationId xmlns:a16="http://schemas.microsoft.com/office/drawing/2014/main" id="{E9369E10-76E2-BA5E-B917-8818DF58CC06}"/>
                    </a:ext>
                  </a:extLst>
                </p:cNvPr>
                <p:cNvSpPr/>
                <p:nvPr/>
              </p:nvSpPr>
              <p:spPr>
                <a:xfrm>
                  <a:off x="5475680" y="4195587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1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54" name="Google Shape;11144;p65">
                  <a:extLst>
                    <a:ext uri="{FF2B5EF4-FFF2-40B4-BE49-F238E27FC236}">
                      <a16:creationId xmlns:a16="http://schemas.microsoft.com/office/drawing/2014/main" id="{0C32A16A-0011-F616-1FC3-2EC40870BEE8}"/>
                    </a:ext>
                  </a:extLst>
                </p:cNvPr>
                <p:cNvSpPr/>
                <p:nvPr/>
              </p:nvSpPr>
              <p:spPr>
                <a:xfrm>
                  <a:off x="5488523" y="4205300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16"/>
                      </a:cubicBezTo>
                      <a:cubicBezTo>
                        <a:pt x="700" y="1583"/>
                        <a:pt x="905" y="1657"/>
                        <a:pt x="1106" y="1657"/>
                      </a:cubicBezTo>
                      <a:cubicBezTo>
                        <a:pt x="1531" y="1657"/>
                        <a:pt x="1940" y="1324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38" name="Google Shape;11145;p65">
                <a:extLst>
                  <a:ext uri="{FF2B5EF4-FFF2-40B4-BE49-F238E27FC236}">
                    <a16:creationId xmlns:a16="http://schemas.microsoft.com/office/drawing/2014/main" id="{07950430-A33A-D888-8FD6-23E91DBE6B13}"/>
                  </a:ext>
                </a:extLst>
              </p:cNvPr>
              <p:cNvGrpSpPr/>
              <p:nvPr/>
            </p:nvGrpSpPr>
            <p:grpSpPr>
              <a:xfrm>
                <a:off x="5532575" y="4027197"/>
                <a:ext cx="33308" cy="32262"/>
                <a:chOff x="5532575" y="4027197"/>
                <a:chExt cx="33308" cy="32262"/>
              </a:xfrm>
            </p:grpSpPr>
            <p:sp>
              <p:nvSpPr>
                <p:cNvPr id="2751" name="Google Shape;11146;p65">
                  <a:extLst>
                    <a:ext uri="{FF2B5EF4-FFF2-40B4-BE49-F238E27FC236}">
                      <a16:creationId xmlns:a16="http://schemas.microsoft.com/office/drawing/2014/main" id="{170A1734-F603-C198-A8B6-BFCD5A08C9D4}"/>
                    </a:ext>
                  </a:extLst>
                </p:cNvPr>
                <p:cNvSpPr/>
                <p:nvPr/>
              </p:nvSpPr>
              <p:spPr>
                <a:xfrm>
                  <a:off x="5532575" y="4027197"/>
                  <a:ext cx="33308" cy="32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35" h="4102" extrusionOk="0">
                      <a:moveTo>
                        <a:pt x="1984" y="0"/>
                      </a:moveTo>
                      <a:cubicBezTo>
                        <a:pt x="871" y="49"/>
                        <a:pt x="0" y="1004"/>
                        <a:pt x="37" y="2117"/>
                      </a:cubicBezTo>
                      <a:cubicBezTo>
                        <a:pt x="73" y="3227"/>
                        <a:pt x="980" y="4101"/>
                        <a:pt x="2084" y="4101"/>
                      </a:cubicBezTo>
                      <a:cubicBezTo>
                        <a:pt x="2099" y="4101"/>
                        <a:pt x="2114" y="4101"/>
                        <a:pt x="2130" y="4101"/>
                      </a:cubicBezTo>
                      <a:lnTo>
                        <a:pt x="2275" y="4101"/>
                      </a:lnTo>
                      <a:cubicBezTo>
                        <a:pt x="3375" y="4028"/>
                        <a:pt x="4234" y="3085"/>
                        <a:pt x="4186" y="1984"/>
                      </a:cubicBezTo>
                      <a:cubicBezTo>
                        <a:pt x="4150" y="871"/>
                        <a:pt x="3242" y="0"/>
                        <a:pt x="21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52" name="Google Shape;11147;p65">
                  <a:extLst>
                    <a:ext uri="{FF2B5EF4-FFF2-40B4-BE49-F238E27FC236}">
                      <a16:creationId xmlns:a16="http://schemas.microsoft.com/office/drawing/2014/main" id="{EA649F52-7F1B-2EAD-46F9-59C05EE2AF17}"/>
                    </a:ext>
                  </a:extLst>
                </p:cNvPr>
                <p:cNvSpPr/>
                <p:nvPr/>
              </p:nvSpPr>
              <p:spPr>
                <a:xfrm>
                  <a:off x="5540661" y="4036792"/>
                  <a:ext cx="15502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1" h="1661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50"/>
                        <a:pt x="1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8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39" name="Google Shape;11148;p65">
                <a:extLst>
                  <a:ext uri="{FF2B5EF4-FFF2-40B4-BE49-F238E27FC236}">
                    <a16:creationId xmlns:a16="http://schemas.microsoft.com/office/drawing/2014/main" id="{4EBCA756-0A2C-16E8-D893-6FC48B2924C6}"/>
                  </a:ext>
                </a:extLst>
              </p:cNvPr>
              <p:cNvGrpSpPr/>
              <p:nvPr/>
            </p:nvGrpSpPr>
            <p:grpSpPr>
              <a:xfrm>
                <a:off x="5590706" y="4245348"/>
                <a:ext cx="33497" cy="32270"/>
                <a:chOff x="5590706" y="4245348"/>
                <a:chExt cx="33497" cy="32270"/>
              </a:xfrm>
            </p:grpSpPr>
            <p:sp>
              <p:nvSpPr>
                <p:cNvPr id="2749" name="Google Shape;11149;p65">
                  <a:extLst>
                    <a:ext uri="{FF2B5EF4-FFF2-40B4-BE49-F238E27FC236}">
                      <a16:creationId xmlns:a16="http://schemas.microsoft.com/office/drawing/2014/main" id="{7179E2DC-64AA-CF60-B383-282B30EF919E}"/>
                    </a:ext>
                  </a:extLst>
                </p:cNvPr>
                <p:cNvSpPr/>
                <p:nvPr/>
              </p:nvSpPr>
              <p:spPr>
                <a:xfrm>
                  <a:off x="5590706" y="4245348"/>
                  <a:ext cx="33497" cy="32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4103" extrusionOk="0">
                      <a:moveTo>
                        <a:pt x="2175" y="0"/>
                      </a:moveTo>
                      <a:cubicBezTo>
                        <a:pt x="2160" y="0"/>
                        <a:pt x="2145" y="1"/>
                        <a:pt x="2130" y="1"/>
                      </a:cubicBezTo>
                      <a:lnTo>
                        <a:pt x="1984" y="1"/>
                      </a:lnTo>
                      <a:cubicBezTo>
                        <a:pt x="872" y="49"/>
                        <a:pt x="1" y="993"/>
                        <a:pt x="37" y="2118"/>
                      </a:cubicBezTo>
                      <a:cubicBezTo>
                        <a:pt x="73" y="3228"/>
                        <a:pt x="980" y="4102"/>
                        <a:pt x="2085" y="4102"/>
                      </a:cubicBezTo>
                      <a:cubicBezTo>
                        <a:pt x="2100" y="4102"/>
                        <a:pt x="2115" y="4102"/>
                        <a:pt x="2130" y="4102"/>
                      </a:cubicBezTo>
                      <a:lnTo>
                        <a:pt x="2275" y="4102"/>
                      </a:lnTo>
                      <a:cubicBezTo>
                        <a:pt x="3388" y="4041"/>
                        <a:pt x="4259" y="3098"/>
                        <a:pt x="4222" y="1985"/>
                      </a:cubicBezTo>
                      <a:cubicBezTo>
                        <a:pt x="4175" y="875"/>
                        <a:pt x="3279" y="0"/>
                        <a:pt x="21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50" name="Google Shape;11150;p65">
                  <a:extLst>
                    <a:ext uri="{FF2B5EF4-FFF2-40B4-BE49-F238E27FC236}">
                      <a16:creationId xmlns:a16="http://schemas.microsoft.com/office/drawing/2014/main" id="{0632EF01-6DE8-BD44-9A1F-853031EC381C}"/>
                    </a:ext>
                  </a:extLst>
                </p:cNvPr>
                <p:cNvSpPr/>
                <p:nvPr/>
              </p:nvSpPr>
              <p:spPr>
                <a:xfrm>
                  <a:off x="5598791" y="4254944"/>
                  <a:ext cx="1540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9" h="1659" extrusionOk="0">
                      <a:moveTo>
                        <a:pt x="1106" y="0"/>
                      </a:moveTo>
                      <a:cubicBezTo>
                        <a:pt x="1085" y="0"/>
                        <a:pt x="1063" y="1"/>
                        <a:pt x="1041" y="3"/>
                      </a:cubicBezTo>
                      <a:cubicBezTo>
                        <a:pt x="303" y="51"/>
                        <a:pt x="1" y="970"/>
                        <a:pt x="557" y="1454"/>
                      </a:cubicBezTo>
                      <a:cubicBezTo>
                        <a:pt x="720" y="1596"/>
                        <a:pt x="909" y="1659"/>
                        <a:pt x="1093" y="1659"/>
                      </a:cubicBezTo>
                      <a:cubicBezTo>
                        <a:pt x="1538" y="1659"/>
                        <a:pt x="1958" y="1290"/>
                        <a:pt x="1924" y="777"/>
                      </a:cubicBezTo>
                      <a:cubicBezTo>
                        <a:pt x="1901" y="339"/>
                        <a:pt x="1538" y="0"/>
                        <a:pt x="1106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40" name="Google Shape;11151;p65">
                <a:extLst>
                  <a:ext uri="{FF2B5EF4-FFF2-40B4-BE49-F238E27FC236}">
                    <a16:creationId xmlns:a16="http://schemas.microsoft.com/office/drawing/2014/main" id="{85DF2033-B1C7-9AA9-F749-83856F4D9C34}"/>
                  </a:ext>
                </a:extLst>
              </p:cNvPr>
              <p:cNvGrpSpPr/>
              <p:nvPr/>
            </p:nvGrpSpPr>
            <p:grpSpPr>
              <a:xfrm>
                <a:off x="5618681" y="4109677"/>
                <a:ext cx="33112" cy="32357"/>
                <a:chOff x="5618681" y="4109677"/>
                <a:chExt cx="33112" cy="32357"/>
              </a:xfrm>
            </p:grpSpPr>
            <p:sp>
              <p:nvSpPr>
                <p:cNvPr id="2747" name="Google Shape;11152;p65">
                  <a:extLst>
                    <a:ext uri="{FF2B5EF4-FFF2-40B4-BE49-F238E27FC236}">
                      <a16:creationId xmlns:a16="http://schemas.microsoft.com/office/drawing/2014/main" id="{96C8B137-6304-327C-5ABF-4B2F6AAB330C}"/>
                    </a:ext>
                  </a:extLst>
                </p:cNvPr>
                <p:cNvSpPr/>
                <p:nvPr/>
              </p:nvSpPr>
              <p:spPr>
                <a:xfrm>
                  <a:off x="5618681" y="4109677"/>
                  <a:ext cx="33112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0" h="4114" extrusionOk="0">
                      <a:moveTo>
                        <a:pt x="1984" y="1"/>
                      </a:moveTo>
                      <a:cubicBezTo>
                        <a:pt x="871" y="61"/>
                        <a:pt x="0" y="1005"/>
                        <a:pt x="36" y="2130"/>
                      </a:cubicBezTo>
                      <a:cubicBezTo>
                        <a:pt x="84" y="3235"/>
                        <a:pt x="992" y="4114"/>
                        <a:pt x="2106" y="4114"/>
                      </a:cubicBezTo>
                      <a:cubicBezTo>
                        <a:pt x="2114" y="4114"/>
                        <a:pt x="2121" y="4114"/>
                        <a:pt x="2129" y="4114"/>
                      </a:cubicBezTo>
                      <a:lnTo>
                        <a:pt x="2274" y="4114"/>
                      </a:lnTo>
                      <a:cubicBezTo>
                        <a:pt x="3375" y="4029"/>
                        <a:pt x="4210" y="3086"/>
                        <a:pt x="4173" y="1985"/>
                      </a:cubicBezTo>
                      <a:cubicBezTo>
                        <a:pt x="4137" y="884"/>
                        <a:pt x="3230" y="13"/>
                        <a:pt x="21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48" name="Google Shape;11153;p65">
                  <a:extLst>
                    <a:ext uri="{FF2B5EF4-FFF2-40B4-BE49-F238E27FC236}">
                      <a16:creationId xmlns:a16="http://schemas.microsoft.com/office/drawing/2014/main" id="{027A5285-C322-35B9-01CA-39A32D9C46F9}"/>
                    </a:ext>
                  </a:extLst>
                </p:cNvPr>
                <p:cNvSpPr/>
                <p:nvPr/>
              </p:nvSpPr>
              <p:spPr>
                <a:xfrm>
                  <a:off x="5626767" y="4119280"/>
                  <a:ext cx="15494" cy="130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70" h="1660" extrusionOk="0">
                      <a:moveTo>
                        <a:pt x="1098" y="1"/>
                      </a:moveTo>
                      <a:cubicBezTo>
                        <a:pt x="1083" y="1"/>
                        <a:pt x="1068" y="1"/>
                        <a:pt x="1053" y="2"/>
                      </a:cubicBezTo>
                      <a:cubicBezTo>
                        <a:pt x="315" y="62"/>
                        <a:pt x="0" y="970"/>
                        <a:pt x="557" y="1453"/>
                      </a:cubicBezTo>
                      <a:cubicBezTo>
                        <a:pt x="721" y="1596"/>
                        <a:pt x="913" y="1660"/>
                        <a:pt x="1100" y="1660"/>
                      </a:cubicBezTo>
                      <a:cubicBezTo>
                        <a:pt x="1547" y="1660"/>
                        <a:pt x="1970" y="1296"/>
                        <a:pt x="1936" y="776"/>
                      </a:cubicBezTo>
                      <a:cubicBezTo>
                        <a:pt x="1901" y="332"/>
                        <a:pt x="1527" y="1"/>
                        <a:pt x="109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41" name="Google Shape;11154;p65">
                <a:extLst>
                  <a:ext uri="{FF2B5EF4-FFF2-40B4-BE49-F238E27FC236}">
                    <a16:creationId xmlns:a16="http://schemas.microsoft.com/office/drawing/2014/main" id="{E0613290-F6BE-D833-E8A7-2C8E6D4F9CC2}"/>
                  </a:ext>
                </a:extLst>
              </p:cNvPr>
              <p:cNvGrpSpPr/>
              <p:nvPr/>
            </p:nvGrpSpPr>
            <p:grpSpPr>
              <a:xfrm>
                <a:off x="5479298" y="4128262"/>
                <a:ext cx="31405" cy="26906"/>
                <a:chOff x="5479298" y="4128262"/>
                <a:chExt cx="31405" cy="26906"/>
              </a:xfrm>
            </p:grpSpPr>
            <p:sp>
              <p:nvSpPr>
                <p:cNvPr id="2745" name="Google Shape;11155;p65">
                  <a:extLst>
                    <a:ext uri="{FF2B5EF4-FFF2-40B4-BE49-F238E27FC236}">
                      <a16:creationId xmlns:a16="http://schemas.microsoft.com/office/drawing/2014/main" id="{BB9C42EF-402E-F072-3CBC-B456EFD33835}"/>
                    </a:ext>
                  </a:extLst>
                </p:cNvPr>
                <p:cNvSpPr/>
                <p:nvPr/>
              </p:nvSpPr>
              <p:spPr>
                <a:xfrm>
                  <a:off x="5479298" y="4128262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46" name="Google Shape;11156;p65">
                  <a:extLst>
                    <a:ext uri="{FF2B5EF4-FFF2-40B4-BE49-F238E27FC236}">
                      <a16:creationId xmlns:a16="http://schemas.microsoft.com/office/drawing/2014/main" id="{3581D099-8639-4CAE-B178-E04763BC3132}"/>
                    </a:ext>
                  </a:extLst>
                </p:cNvPr>
                <p:cNvSpPr/>
                <p:nvPr/>
              </p:nvSpPr>
              <p:spPr>
                <a:xfrm>
                  <a:off x="5493471" y="413793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8" y="1"/>
                        <a:pt x="1" y="218"/>
                        <a:pt x="1" y="485"/>
                      </a:cubicBezTo>
                      <a:cubicBezTo>
                        <a:pt x="1" y="751"/>
                        <a:pt x="218" y="968"/>
                        <a:pt x="485" y="968"/>
                      </a:cubicBezTo>
                      <a:cubicBezTo>
                        <a:pt x="751" y="968"/>
                        <a:pt x="968" y="751"/>
                        <a:pt x="968" y="485"/>
                      </a:cubicBezTo>
                      <a:cubicBezTo>
                        <a:pt x="968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42" name="Google Shape;11157;p65">
                <a:extLst>
                  <a:ext uri="{FF2B5EF4-FFF2-40B4-BE49-F238E27FC236}">
                    <a16:creationId xmlns:a16="http://schemas.microsoft.com/office/drawing/2014/main" id="{BF7EE4EE-8981-BFEA-A0B8-2087C23F98F1}"/>
                  </a:ext>
                </a:extLst>
              </p:cNvPr>
              <p:cNvGrpSpPr/>
              <p:nvPr/>
            </p:nvGrpSpPr>
            <p:grpSpPr>
              <a:xfrm>
                <a:off x="5582903" y="4180116"/>
                <a:ext cx="31499" cy="26898"/>
                <a:chOff x="5582903" y="4180116"/>
                <a:chExt cx="31499" cy="26898"/>
              </a:xfrm>
            </p:grpSpPr>
            <p:sp>
              <p:nvSpPr>
                <p:cNvPr id="2743" name="Google Shape;11158;p65">
                  <a:extLst>
                    <a:ext uri="{FF2B5EF4-FFF2-40B4-BE49-F238E27FC236}">
                      <a16:creationId xmlns:a16="http://schemas.microsoft.com/office/drawing/2014/main" id="{ED2E6FD1-D313-7108-D27C-3DDBB31978F3}"/>
                    </a:ext>
                  </a:extLst>
                </p:cNvPr>
                <p:cNvSpPr/>
                <p:nvPr/>
              </p:nvSpPr>
              <p:spPr>
                <a:xfrm>
                  <a:off x="5582903" y="4180116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1"/>
                      </a:moveTo>
                      <a:cubicBezTo>
                        <a:pt x="1855" y="1"/>
                        <a:pt x="1425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44" name="Google Shape;11159;p65">
                  <a:extLst>
                    <a:ext uri="{FF2B5EF4-FFF2-40B4-BE49-F238E27FC236}">
                      <a16:creationId xmlns:a16="http://schemas.microsoft.com/office/drawing/2014/main" id="{8C314BE6-3436-D257-C934-9DE498278546}"/>
                    </a:ext>
                  </a:extLst>
                </p:cNvPr>
                <p:cNvSpPr/>
                <p:nvPr/>
              </p:nvSpPr>
              <p:spPr>
                <a:xfrm>
                  <a:off x="5597084" y="4189790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977" name="Google Shape;11160;p65">
              <a:extLst>
                <a:ext uri="{FF2B5EF4-FFF2-40B4-BE49-F238E27FC236}">
                  <a16:creationId xmlns:a16="http://schemas.microsoft.com/office/drawing/2014/main" id="{46A90701-8B64-07BD-D150-72A19B4BC6D2}"/>
                </a:ext>
              </a:extLst>
            </p:cNvPr>
            <p:cNvGrpSpPr/>
            <p:nvPr/>
          </p:nvGrpSpPr>
          <p:grpSpPr>
            <a:xfrm>
              <a:off x="3977681" y="3230323"/>
              <a:ext cx="94584" cy="84085"/>
              <a:chOff x="3977681" y="3230323"/>
              <a:chExt cx="94584" cy="84085"/>
            </a:xfrm>
          </p:grpSpPr>
          <p:grpSp>
            <p:nvGrpSpPr>
              <p:cNvPr id="2719" name="Google Shape;11161;p65">
                <a:extLst>
                  <a:ext uri="{FF2B5EF4-FFF2-40B4-BE49-F238E27FC236}">
                    <a16:creationId xmlns:a16="http://schemas.microsoft.com/office/drawing/2014/main" id="{AD9FB1D7-4B32-22D7-B0E4-423F72BC283A}"/>
                  </a:ext>
                </a:extLst>
              </p:cNvPr>
              <p:cNvGrpSpPr/>
              <p:nvPr/>
            </p:nvGrpSpPr>
            <p:grpSpPr>
              <a:xfrm>
                <a:off x="4000135" y="3243041"/>
                <a:ext cx="59570" cy="57186"/>
                <a:chOff x="4000135" y="3243041"/>
                <a:chExt cx="59570" cy="57186"/>
              </a:xfrm>
            </p:grpSpPr>
            <p:sp>
              <p:nvSpPr>
                <p:cNvPr id="2732" name="Google Shape;11162;p65">
                  <a:extLst>
                    <a:ext uri="{FF2B5EF4-FFF2-40B4-BE49-F238E27FC236}">
                      <a16:creationId xmlns:a16="http://schemas.microsoft.com/office/drawing/2014/main" id="{EE5F6FDB-0B27-1525-9C91-149EA9BA2850}"/>
                    </a:ext>
                  </a:extLst>
                </p:cNvPr>
                <p:cNvSpPr/>
                <p:nvPr/>
              </p:nvSpPr>
              <p:spPr>
                <a:xfrm>
                  <a:off x="4000135" y="3243041"/>
                  <a:ext cx="59570" cy="570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74" h="7259" fill="none" extrusionOk="0">
                      <a:moveTo>
                        <a:pt x="1" y="2323"/>
                      </a:moveTo>
                      <a:lnTo>
                        <a:pt x="2577" y="7259"/>
                      </a:lnTo>
                      <a:lnTo>
                        <a:pt x="7573" y="4114"/>
                      </a:lnTo>
                      <a:lnTo>
                        <a:pt x="5541" y="1"/>
                      </a:lnTo>
                      <a:lnTo>
                        <a:pt x="352" y="232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33" name="Google Shape;11163;p65">
                  <a:extLst>
                    <a:ext uri="{FF2B5EF4-FFF2-40B4-BE49-F238E27FC236}">
                      <a16:creationId xmlns:a16="http://schemas.microsoft.com/office/drawing/2014/main" id="{4BFB6346-1519-E4EC-2BC7-8D555F94116B}"/>
                    </a:ext>
                  </a:extLst>
                </p:cNvPr>
                <p:cNvSpPr/>
                <p:nvPr/>
              </p:nvSpPr>
              <p:spPr>
                <a:xfrm>
                  <a:off x="4024210" y="3246847"/>
                  <a:ext cx="15706" cy="53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97" h="6787" fill="none" extrusionOk="0">
                      <a:moveTo>
                        <a:pt x="0" y="6787"/>
                      </a:moveTo>
                      <a:lnTo>
                        <a:pt x="199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34" name="Google Shape;11164;p65">
                  <a:extLst>
                    <a:ext uri="{FF2B5EF4-FFF2-40B4-BE49-F238E27FC236}">
                      <a16:creationId xmlns:a16="http://schemas.microsoft.com/office/drawing/2014/main" id="{853398A9-9029-17CA-A994-4D62E01043A6}"/>
                    </a:ext>
                  </a:extLst>
                </p:cNvPr>
                <p:cNvSpPr/>
                <p:nvPr/>
              </p:nvSpPr>
              <p:spPr>
                <a:xfrm>
                  <a:off x="4002896" y="3261311"/>
                  <a:ext cx="56809" cy="14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23" h="1791" fill="none" extrusionOk="0">
                      <a:moveTo>
                        <a:pt x="7222" y="1791"/>
                      </a:moveTo>
                      <a:lnTo>
                        <a:pt x="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20" name="Google Shape;11165;p65">
                <a:extLst>
                  <a:ext uri="{FF2B5EF4-FFF2-40B4-BE49-F238E27FC236}">
                    <a16:creationId xmlns:a16="http://schemas.microsoft.com/office/drawing/2014/main" id="{B5E38806-7AB7-F14E-C095-9363A1BB44B1}"/>
                  </a:ext>
                </a:extLst>
              </p:cNvPr>
              <p:cNvGrpSpPr/>
              <p:nvPr/>
            </p:nvGrpSpPr>
            <p:grpSpPr>
              <a:xfrm>
                <a:off x="3977681" y="3245872"/>
                <a:ext cx="37783" cy="32380"/>
                <a:chOff x="3977681" y="3245872"/>
                <a:chExt cx="37783" cy="32380"/>
              </a:xfrm>
            </p:grpSpPr>
            <p:sp>
              <p:nvSpPr>
                <p:cNvPr id="2730" name="Google Shape;11166;p65">
                  <a:extLst>
                    <a:ext uri="{FF2B5EF4-FFF2-40B4-BE49-F238E27FC236}">
                      <a16:creationId xmlns:a16="http://schemas.microsoft.com/office/drawing/2014/main" id="{3AD45215-42EB-2F53-86B6-1A441D3C2A18}"/>
                    </a:ext>
                  </a:extLst>
                </p:cNvPr>
                <p:cNvSpPr/>
                <p:nvPr/>
              </p:nvSpPr>
              <p:spPr>
                <a:xfrm>
                  <a:off x="3977681" y="3245872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26" y="1"/>
                      </a:moveTo>
                      <a:cubicBezTo>
                        <a:pt x="2219" y="1"/>
                        <a:pt x="1703" y="189"/>
                        <a:pt x="1283" y="608"/>
                      </a:cubicBezTo>
                      <a:cubicBezTo>
                        <a:pt x="1" y="1903"/>
                        <a:pt x="908" y="4117"/>
                        <a:pt x="2747" y="4117"/>
                      </a:cubicBezTo>
                      <a:cubicBezTo>
                        <a:pt x="3872" y="4104"/>
                        <a:pt x="4791" y="3185"/>
                        <a:pt x="4803" y="2060"/>
                      </a:cubicBezTo>
                      <a:cubicBezTo>
                        <a:pt x="4795" y="818"/>
                        <a:pt x="3782" y="1"/>
                        <a:pt x="27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31" name="Google Shape;11167;p65">
                  <a:extLst>
                    <a:ext uri="{FF2B5EF4-FFF2-40B4-BE49-F238E27FC236}">
                      <a16:creationId xmlns:a16="http://schemas.microsoft.com/office/drawing/2014/main" id="{71675369-AB44-4E08-F88E-71C737B7040B}"/>
                    </a:ext>
                  </a:extLst>
                </p:cNvPr>
                <p:cNvSpPr/>
                <p:nvPr/>
              </p:nvSpPr>
              <p:spPr>
                <a:xfrm>
                  <a:off x="3992718" y="325550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21" name="Google Shape;11168;p65">
                <a:extLst>
                  <a:ext uri="{FF2B5EF4-FFF2-40B4-BE49-F238E27FC236}">
                    <a16:creationId xmlns:a16="http://schemas.microsoft.com/office/drawing/2014/main" id="{6373973D-7A9A-720E-080F-164FDA5C1F3C}"/>
                  </a:ext>
                </a:extLst>
              </p:cNvPr>
              <p:cNvGrpSpPr/>
              <p:nvPr/>
            </p:nvGrpSpPr>
            <p:grpSpPr>
              <a:xfrm>
                <a:off x="4040860" y="3262672"/>
                <a:ext cx="31405" cy="27001"/>
                <a:chOff x="4040860" y="3262672"/>
                <a:chExt cx="31405" cy="27001"/>
              </a:xfrm>
            </p:grpSpPr>
            <p:sp>
              <p:nvSpPr>
                <p:cNvPr id="2728" name="Google Shape;11169;p65">
                  <a:extLst>
                    <a:ext uri="{FF2B5EF4-FFF2-40B4-BE49-F238E27FC236}">
                      <a16:creationId xmlns:a16="http://schemas.microsoft.com/office/drawing/2014/main" id="{04A1DAE9-433E-BCA2-D9B5-E8D1643094EF}"/>
                    </a:ext>
                  </a:extLst>
                </p:cNvPr>
                <p:cNvSpPr/>
                <p:nvPr/>
              </p:nvSpPr>
              <p:spPr>
                <a:xfrm>
                  <a:off x="4040860" y="326267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29" name="Google Shape;11170;p65">
                  <a:extLst>
                    <a:ext uri="{FF2B5EF4-FFF2-40B4-BE49-F238E27FC236}">
                      <a16:creationId xmlns:a16="http://schemas.microsoft.com/office/drawing/2014/main" id="{FC062482-F398-73C7-F9E1-76B05AF42CD8}"/>
                    </a:ext>
                  </a:extLst>
                </p:cNvPr>
                <p:cNvSpPr/>
                <p:nvPr/>
              </p:nvSpPr>
              <p:spPr>
                <a:xfrm>
                  <a:off x="4054938" y="327234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22" name="Google Shape;11171;p65">
                <a:extLst>
                  <a:ext uri="{FF2B5EF4-FFF2-40B4-BE49-F238E27FC236}">
                    <a16:creationId xmlns:a16="http://schemas.microsoft.com/office/drawing/2014/main" id="{9386D51D-B156-3CF9-45DC-21905FE26720}"/>
                  </a:ext>
                </a:extLst>
              </p:cNvPr>
              <p:cNvGrpSpPr/>
              <p:nvPr/>
            </p:nvGrpSpPr>
            <p:grpSpPr>
              <a:xfrm>
                <a:off x="4021072" y="3230323"/>
                <a:ext cx="31397" cy="26906"/>
                <a:chOff x="4021072" y="3230323"/>
                <a:chExt cx="31397" cy="26906"/>
              </a:xfrm>
            </p:grpSpPr>
            <p:sp>
              <p:nvSpPr>
                <p:cNvPr id="2726" name="Google Shape;11172;p65">
                  <a:extLst>
                    <a:ext uri="{FF2B5EF4-FFF2-40B4-BE49-F238E27FC236}">
                      <a16:creationId xmlns:a16="http://schemas.microsoft.com/office/drawing/2014/main" id="{F1826721-0595-1F56-705B-659BFED29D31}"/>
                    </a:ext>
                  </a:extLst>
                </p:cNvPr>
                <p:cNvSpPr/>
                <p:nvPr/>
              </p:nvSpPr>
              <p:spPr>
                <a:xfrm>
                  <a:off x="4021072" y="3230323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27" name="Google Shape;11173;p65">
                  <a:extLst>
                    <a:ext uri="{FF2B5EF4-FFF2-40B4-BE49-F238E27FC236}">
                      <a16:creationId xmlns:a16="http://schemas.microsoft.com/office/drawing/2014/main" id="{3F49E4DA-AFFF-7E4E-7759-6F1193E1C3BC}"/>
                    </a:ext>
                  </a:extLst>
                </p:cNvPr>
                <p:cNvSpPr/>
                <p:nvPr/>
              </p:nvSpPr>
              <p:spPr>
                <a:xfrm>
                  <a:off x="403524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23" name="Google Shape;11174;p65">
                <a:extLst>
                  <a:ext uri="{FF2B5EF4-FFF2-40B4-BE49-F238E27FC236}">
                    <a16:creationId xmlns:a16="http://schemas.microsoft.com/office/drawing/2014/main" id="{2F90E262-7943-AF0F-CB7E-66C538E945C2}"/>
                  </a:ext>
                </a:extLst>
              </p:cNvPr>
              <p:cNvGrpSpPr/>
              <p:nvPr/>
            </p:nvGrpSpPr>
            <p:grpSpPr>
              <a:xfrm>
                <a:off x="4001472" y="3287462"/>
                <a:ext cx="31499" cy="26945"/>
                <a:chOff x="4001472" y="3287462"/>
                <a:chExt cx="31499" cy="26945"/>
              </a:xfrm>
            </p:grpSpPr>
            <p:sp>
              <p:nvSpPr>
                <p:cNvPr id="2724" name="Google Shape;11175;p65">
                  <a:extLst>
                    <a:ext uri="{FF2B5EF4-FFF2-40B4-BE49-F238E27FC236}">
                      <a16:creationId xmlns:a16="http://schemas.microsoft.com/office/drawing/2014/main" id="{851D1789-1FBE-E3BB-3504-8B758EB67297}"/>
                    </a:ext>
                  </a:extLst>
                </p:cNvPr>
                <p:cNvSpPr/>
                <p:nvPr/>
              </p:nvSpPr>
              <p:spPr>
                <a:xfrm>
                  <a:off x="4001472" y="3287462"/>
                  <a:ext cx="31499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6" extrusionOk="0">
                      <a:moveTo>
                        <a:pt x="2276" y="1"/>
                      </a:moveTo>
                      <a:cubicBezTo>
                        <a:pt x="1854" y="1"/>
                        <a:pt x="1425" y="158"/>
                        <a:pt x="1077" y="510"/>
                      </a:cubicBezTo>
                      <a:cubicBezTo>
                        <a:pt x="0" y="1587"/>
                        <a:pt x="762" y="3425"/>
                        <a:pt x="2286" y="3425"/>
                      </a:cubicBezTo>
                      <a:cubicBezTo>
                        <a:pt x="3230" y="3425"/>
                        <a:pt x="3992" y="2663"/>
                        <a:pt x="4004" y="1720"/>
                      </a:cubicBezTo>
                      <a:cubicBezTo>
                        <a:pt x="4004" y="688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25" name="Google Shape;11176;p65">
                  <a:extLst>
                    <a:ext uri="{FF2B5EF4-FFF2-40B4-BE49-F238E27FC236}">
                      <a16:creationId xmlns:a16="http://schemas.microsoft.com/office/drawing/2014/main" id="{0786467F-E5A5-4380-B72F-AFFECC03D105}"/>
                    </a:ext>
                  </a:extLst>
                </p:cNvPr>
                <p:cNvSpPr/>
                <p:nvPr/>
              </p:nvSpPr>
              <p:spPr>
                <a:xfrm>
                  <a:off x="4014410" y="3297175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06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978" name="Google Shape;11177;p65">
              <a:extLst>
                <a:ext uri="{FF2B5EF4-FFF2-40B4-BE49-F238E27FC236}">
                  <a16:creationId xmlns:a16="http://schemas.microsoft.com/office/drawing/2014/main" id="{752F8A0F-237D-29D7-0D61-74F1BC09C728}"/>
                </a:ext>
              </a:extLst>
            </p:cNvPr>
            <p:cNvGrpSpPr/>
            <p:nvPr/>
          </p:nvGrpSpPr>
          <p:grpSpPr>
            <a:xfrm>
              <a:off x="4084715" y="3258865"/>
              <a:ext cx="184961" cy="137268"/>
              <a:chOff x="4084715" y="3258865"/>
              <a:chExt cx="184961" cy="137268"/>
            </a:xfrm>
          </p:grpSpPr>
          <p:grpSp>
            <p:nvGrpSpPr>
              <p:cNvPr id="2696" name="Google Shape;11178;p65">
                <a:extLst>
                  <a:ext uri="{FF2B5EF4-FFF2-40B4-BE49-F238E27FC236}">
                    <a16:creationId xmlns:a16="http://schemas.microsoft.com/office/drawing/2014/main" id="{30F8AE40-10F3-C6AC-8D33-1A89791BBD19}"/>
                  </a:ext>
                </a:extLst>
              </p:cNvPr>
              <p:cNvGrpSpPr/>
              <p:nvPr/>
            </p:nvGrpSpPr>
            <p:grpSpPr>
              <a:xfrm>
                <a:off x="4107453" y="3271583"/>
                <a:ext cx="153470" cy="110275"/>
                <a:chOff x="4107453" y="3271583"/>
                <a:chExt cx="153470" cy="110275"/>
              </a:xfrm>
            </p:grpSpPr>
            <p:sp>
              <p:nvSpPr>
                <p:cNvPr id="2715" name="Google Shape;11179;p65">
                  <a:extLst>
                    <a:ext uri="{FF2B5EF4-FFF2-40B4-BE49-F238E27FC236}">
                      <a16:creationId xmlns:a16="http://schemas.microsoft.com/office/drawing/2014/main" id="{C0BEF946-9D89-C8FE-9FBA-A383ABC82CD8}"/>
                    </a:ext>
                  </a:extLst>
                </p:cNvPr>
                <p:cNvSpPr/>
                <p:nvPr/>
              </p:nvSpPr>
              <p:spPr>
                <a:xfrm>
                  <a:off x="4107453" y="3271583"/>
                  <a:ext cx="153470" cy="110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513" h="14021" fill="none" extrusionOk="0">
                      <a:moveTo>
                        <a:pt x="19513" y="14021"/>
                      </a:moveTo>
                      <a:lnTo>
                        <a:pt x="14844" y="968"/>
                      </a:lnTo>
                      <a:lnTo>
                        <a:pt x="5674" y="1"/>
                      </a:lnTo>
                      <a:lnTo>
                        <a:pt x="1" y="968"/>
                      </a:lnTo>
                      <a:lnTo>
                        <a:pt x="8977" y="2674"/>
                      </a:lnTo>
                      <a:lnTo>
                        <a:pt x="14360" y="10102"/>
                      </a:lnTo>
                      <a:lnTo>
                        <a:pt x="19029" y="14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16" name="Google Shape;11180;p65">
                  <a:extLst>
                    <a:ext uri="{FF2B5EF4-FFF2-40B4-BE49-F238E27FC236}">
                      <a16:creationId xmlns:a16="http://schemas.microsoft.com/office/drawing/2014/main" id="{05C3DCFC-F540-BD67-58E4-D06D584C350C}"/>
                    </a:ext>
                  </a:extLst>
                </p:cNvPr>
                <p:cNvSpPr/>
                <p:nvPr/>
              </p:nvSpPr>
              <p:spPr>
                <a:xfrm>
                  <a:off x="4155886" y="3271968"/>
                  <a:ext cx="22171" cy="20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19" h="2614" fill="none" extrusionOk="0">
                      <a:moveTo>
                        <a:pt x="2819" y="2613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17" name="Google Shape;11181;p65">
                  <a:extLst>
                    <a:ext uri="{FF2B5EF4-FFF2-40B4-BE49-F238E27FC236}">
                      <a16:creationId xmlns:a16="http://schemas.microsoft.com/office/drawing/2014/main" id="{018F11A6-7F67-9D11-ADA2-F9AEE6218E58}"/>
                    </a:ext>
                  </a:extLst>
                </p:cNvPr>
                <p:cNvSpPr/>
                <p:nvPr/>
              </p:nvSpPr>
              <p:spPr>
                <a:xfrm>
                  <a:off x="4178049" y="3279196"/>
                  <a:ext cx="42345" cy="13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84" h="1695" fill="none" extrusionOk="0">
                      <a:moveTo>
                        <a:pt x="1" y="1694"/>
                      </a:moveTo>
                      <a:lnTo>
                        <a:pt x="538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18" name="Google Shape;11182;p65">
                  <a:extLst>
                    <a:ext uri="{FF2B5EF4-FFF2-40B4-BE49-F238E27FC236}">
                      <a16:creationId xmlns:a16="http://schemas.microsoft.com/office/drawing/2014/main" id="{62E973EF-86AB-6DA9-9438-6DABBD707CD4}"/>
                    </a:ext>
                  </a:extLst>
                </p:cNvPr>
                <p:cNvSpPr/>
                <p:nvPr/>
              </p:nvSpPr>
              <p:spPr>
                <a:xfrm>
                  <a:off x="4220387" y="3279196"/>
                  <a:ext cx="8" cy="71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" h="9122" fill="none" extrusionOk="0">
                      <a:moveTo>
                        <a:pt x="1" y="0"/>
                      </a:moveTo>
                      <a:lnTo>
                        <a:pt x="1" y="91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97" name="Google Shape;11183;p65">
                <a:extLst>
                  <a:ext uri="{FF2B5EF4-FFF2-40B4-BE49-F238E27FC236}">
                    <a16:creationId xmlns:a16="http://schemas.microsoft.com/office/drawing/2014/main" id="{798B3DCE-0969-D784-2E11-9B687694E00E}"/>
                  </a:ext>
                </a:extLst>
              </p:cNvPr>
              <p:cNvGrpSpPr/>
              <p:nvPr/>
            </p:nvGrpSpPr>
            <p:grpSpPr>
              <a:xfrm>
                <a:off x="4136947" y="3258865"/>
                <a:ext cx="31499" cy="27001"/>
                <a:chOff x="4136947" y="3258865"/>
                <a:chExt cx="31499" cy="27001"/>
              </a:xfrm>
            </p:grpSpPr>
            <p:sp>
              <p:nvSpPr>
                <p:cNvPr id="2713" name="Google Shape;11184;p65">
                  <a:extLst>
                    <a:ext uri="{FF2B5EF4-FFF2-40B4-BE49-F238E27FC236}">
                      <a16:creationId xmlns:a16="http://schemas.microsoft.com/office/drawing/2014/main" id="{120C6E94-4DE3-C68A-FC6C-5D74933BCD94}"/>
                    </a:ext>
                  </a:extLst>
                </p:cNvPr>
                <p:cNvSpPr/>
                <p:nvPr/>
              </p:nvSpPr>
              <p:spPr>
                <a:xfrm>
                  <a:off x="4136947" y="3258865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32"/>
                        <a:pt x="2299" y="3432"/>
                      </a:cubicBezTo>
                      <a:cubicBezTo>
                        <a:pt x="3243" y="3420"/>
                        <a:pt x="4005" y="2658"/>
                        <a:pt x="4005" y="1715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14" name="Google Shape;11185;p65">
                  <a:extLst>
                    <a:ext uri="{FF2B5EF4-FFF2-40B4-BE49-F238E27FC236}">
                      <a16:creationId xmlns:a16="http://schemas.microsoft.com/office/drawing/2014/main" id="{522A1902-19D1-436D-2EDA-CC81D42A1EB0}"/>
                    </a:ext>
                  </a:extLst>
                </p:cNvPr>
                <p:cNvSpPr/>
                <p:nvPr/>
              </p:nvSpPr>
              <p:spPr>
                <a:xfrm>
                  <a:off x="4151222" y="3268539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06" y="1"/>
                        <a:pt x="0" y="218"/>
                        <a:pt x="0" y="485"/>
                      </a:cubicBezTo>
                      <a:cubicBezTo>
                        <a:pt x="0" y="751"/>
                        <a:pt x="206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98" name="Google Shape;11186;p65">
                <a:extLst>
                  <a:ext uri="{FF2B5EF4-FFF2-40B4-BE49-F238E27FC236}">
                    <a16:creationId xmlns:a16="http://schemas.microsoft.com/office/drawing/2014/main" id="{9C6D22B7-1721-B711-1BC7-910ECAED0468}"/>
                  </a:ext>
                </a:extLst>
              </p:cNvPr>
              <p:cNvGrpSpPr/>
              <p:nvPr/>
            </p:nvGrpSpPr>
            <p:grpSpPr>
              <a:xfrm>
                <a:off x="4084715" y="3266478"/>
                <a:ext cx="31468" cy="26898"/>
                <a:chOff x="4084715" y="3266478"/>
                <a:chExt cx="31468" cy="26898"/>
              </a:xfrm>
            </p:grpSpPr>
            <p:sp>
              <p:nvSpPr>
                <p:cNvPr id="2711" name="Google Shape;11187;p65">
                  <a:extLst>
                    <a:ext uri="{FF2B5EF4-FFF2-40B4-BE49-F238E27FC236}">
                      <a16:creationId xmlns:a16="http://schemas.microsoft.com/office/drawing/2014/main" id="{2D5D43B2-950C-7703-152B-3312B607E13A}"/>
                    </a:ext>
                  </a:extLst>
                </p:cNvPr>
                <p:cNvSpPr/>
                <p:nvPr/>
              </p:nvSpPr>
              <p:spPr>
                <a:xfrm>
                  <a:off x="4084715" y="3266478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9" y="1"/>
                      </a:moveTo>
                      <a:cubicBezTo>
                        <a:pt x="1859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26"/>
                      </a:cubicBezTo>
                      <a:cubicBezTo>
                        <a:pt x="4001" y="686"/>
                        <a:pt x="3161" y="1"/>
                        <a:pt x="227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12" name="Google Shape;11188;p65">
                  <a:extLst>
                    <a:ext uri="{FF2B5EF4-FFF2-40B4-BE49-F238E27FC236}">
                      <a16:creationId xmlns:a16="http://schemas.microsoft.com/office/drawing/2014/main" id="{F86F8D8C-95C9-45F4-AC0D-DE20C00E60D7}"/>
                    </a:ext>
                  </a:extLst>
                </p:cNvPr>
                <p:cNvSpPr/>
                <p:nvPr/>
              </p:nvSpPr>
              <p:spPr>
                <a:xfrm>
                  <a:off x="4098896" y="327615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99" name="Google Shape;11189;p65">
                <a:extLst>
                  <a:ext uri="{FF2B5EF4-FFF2-40B4-BE49-F238E27FC236}">
                    <a16:creationId xmlns:a16="http://schemas.microsoft.com/office/drawing/2014/main" id="{A56635F8-D135-45B7-4BE2-677A6FCF21FF}"/>
                  </a:ext>
                </a:extLst>
              </p:cNvPr>
              <p:cNvGrpSpPr/>
              <p:nvPr/>
            </p:nvGrpSpPr>
            <p:grpSpPr>
              <a:xfrm>
                <a:off x="4159213" y="3279849"/>
                <a:ext cx="31405" cy="26945"/>
                <a:chOff x="4159213" y="3279849"/>
                <a:chExt cx="31405" cy="26945"/>
              </a:xfrm>
            </p:grpSpPr>
            <p:sp>
              <p:nvSpPr>
                <p:cNvPr id="2709" name="Google Shape;11190;p65">
                  <a:extLst>
                    <a:ext uri="{FF2B5EF4-FFF2-40B4-BE49-F238E27FC236}">
                      <a16:creationId xmlns:a16="http://schemas.microsoft.com/office/drawing/2014/main" id="{B64F5E43-32C5-30DB-7920-D4C0A7560B14}"/>
                    </a:ext>
                  </a:extLst>
                </p:cNvPr>
                <p:cNvSpPr/>
                <p:nvPr/>
              </p:nvSpPr>
              <p:spPr>
                <a:xfrm>
                  <a:off x="4159213" y="3279849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6"/>
                        <a:pt x="2287" y="3426"/>
                      </a:cubicBezTo>
                      <a:cubicBezTo>
                        <a:pt x="3230" y="3426"/>
                        <a:pt x="3992" y="2663"/>
                        <a:pt x="3992" y="1720"/>
                      </a:cubicBezTo>
                      <a:cubicBezTo>
                        <a:pt x="3992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10" name="Google Shape;11191;p65">
                  <a:extLst>
                    <a:ext uri="{FF2B5EF4-FFF2-40B4-BE49-F238E27FC236}">
                      <a16:creationId xmlns:a16="http://schemas.microsoft.com/office/drawing/2014/main" id="{390D3227-9EAE-D5C0-2319-FF4518A27BC6}"/>
                    </a:ext>
                  </a:extLst>
                </p:cNvPr>
                <p:cNvSpPr/>
                <p:nvPr/>
              </p:nvSpPr>
              <p:spPr>
                <a:xfrm>
                  <a:off x="4173385" y="3289570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00" name="Google Shape;11192;p65">
                <a:extLst>
                  <a:ext uri="{FF2B5EF4-FFF2-40B4-BE49-F238E27FC236}">
                    <a16:creationId xmlns:a16="http://schemas.microsoft.com/office/drawing/2014/main" id="{3D5872E7-58C9-C67F-1619-55E4CA875741}"/>
                  </a:ext>
                </a:extLst>
              </p:cNvPr>
              <p:cNvGrpSpPr/>
              <p:nvPr/>
            </p:nvGrpSpPr>
            <p:grpSpPr>
              <a:xfrm>
                <a:off x="4201550" y="3266502"/>
                <a:ext cx="31405" cy="26883"/>
                <a:chOff x="4201550" y="3266502"/>
                <a:chExt cx="31405" cy="26883"/>
              </a:xfrm>
            </p:grpSpPr>
            <p:sp>
              <p:nvSpPr>
                <p:cNvPr id="2707" name="Google Shape;11193;p65">
                  <a:extLst>
                    <a:ext uri="{FF2B5EF4-FFF2-40B4-BE49-F238E27FC236}">
                      <a16:creationId xmlns:a16="http://schemas.microsoft.com/office/drawing/2014/main" id="{A053EB57-96F3-A907-6B66-465363AC0499}"/>
                    </a:ext>
                  </a:extLst>
                </p:cNvPr>
                <p:cNvSpPr/>
                <p:nvPr/>
              </p:nvSpPr>
              <p:spPr>
                <a:xfrm>
                  <a:off x="4201550" y="3266502"/>
                  <a:ext cx="31405" cy="2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18" extrusionOk="0">
                      <a:moveTo>
                        <a:pt x="2266" y="1"/>
                      </a:moveTo>
                      <a:cubicBezTo>
                        <a:pt x="1849" y="1"/>
                        <a:pt x="1423" y="155"/>
                        <a:pt x="1077" y="502"/>
                      </a:cubicBezTo>
                      <a:cubicBezTo>
                        <a:pt x="1" y="1566"/>
                        <a:pt x="751" y="3417"/>
                        <a:pt x="2275" y="3417"/>
                      </a:cubicBezTo>
                      <a:cubicBezTo>
                        <a:pt x="2282" y="3417"/>
                        <a:pt x="2290" y="3417"/>
                        <a:pt x="2297" y="3417"/>
                      </a:cubicBezTo>
                      <a:cubicBezTo>
                        <a:pt x="3230" y="3417"/>
                        <a:pt x="3993" y="2660"/>
                        <a:pt x="3993" y="1723"/>
                      </a:cubicBezTo>
                      <a:cubicBezTo>
                        <a:pt x="3993" y="689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08" name="Google Shape;11194;p65">
                  <a:extLst>
                    <a:ext uri="{FF2B5EF4-FFF2-40B4-BE49-F238E27FC236}">
                      <a16:creationId xmlns:a16="http://schemas.microsoft.com/office/drawing/2014/main" id="{2F9E89F5-1150-AC3A-56B1-303D63649098}"/>
                    </a:ext>
                  </a:extLst>
                </p:cNvPr>
                <p:cNvSpPr/>
                <p:nvPr/>
              </p:nvSpPr>
              <p:spPr>
                <a:xfrm>
                  <a:off x="4214331" y="3276247"/>
                  <a:ext cx="8919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4" extrusionOk="0">
                      <a:moveTo>
                        <a:pt x="635" y="0"/>
                      </a:moveTo>
                      <a:cubicBezTo>
                        <a:pt x="209" y="0"/>
                        <a:pt x="0" y="512"/>
                        <a:pt x="311" y="823"/>
                      </a:cubicBezTo>
                      <a:cubicBezTo>
                        <a:pt x="408" y="920"/>
                        <a:pt x="528" y="964"/>
                        <a:pt x="646" y="964"/>
                      </a:cubicBezTo>
                      <a:cubicBezTo>
                        <a:pt x="895" y="964"/>
                        <a:pt x="1134" y="771"/>
                        <a:pt x="1134" y="484"/>
                      </a:cubicBezTo>
                      <a:cubicBezTo>
                        <a:pt x="1134" y="206"/>
                        <a:pt x="916" y="0"/>
                        <a:pt x="650" y="0"/>
                      </a:cubicBezTo>
                      <a:cubicBezTo>
                        <a:pt x="645" y="0"/>
                        <a:pt x="640" y="0"/>
                        <a:pt x="6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01" name="Google Shape;11195;p65">
                <a:extLst>
                  <a:ext uri="{FF2B5EF4-FFF2-40B4-BE49-F238E27FC236}">
                    <a16:creationId xmlns:a16="http://schemas.microsoft.com/office/drawing/2014/main" id="{8013A3CF-8B4D-5377-A18B-7C7E8F461C26}"/>
                  </a:ext>
                </a:extLst>
              </p:cNvPr>
              <p:cNvGrpSpPr/>
              <p:nvPr/>
            </p:nvGrpSpPr>
            <p:grpSpPr>
              <a:xfrm>
                <a:off x="4201550" y="3338278"/>
                <a:ext cx="31405" cy="26930"/>
                <a:chOff x="4201550" y="3338278"/>
                <a:chExt cx="31405" cy="26930"/>
              </a:xfrm>
            </p:grpSpPr>
            <p:sp>
              <p:nvSpPr>
                <p:cNvPr id="2705" name="Google Shape;11196;p65">
                  <a:extLst>
                    <a:ext uri="{FF2B5EF4-FFF2-40B4-BE49-F238E27FC236}">
                      <a16:creationId xmlns:a16="http://schemas.microsoft.com/office/drawing/2014/main" id="{44F63C4C-A46F-231C-A338-A50AC1AA36D3}"/>
                    </a:ext>
                  </a:extLst>
                </p:cNvPr>
                <p:cNvSpPr/>
                <p:nvPr/>
              </p:nvSpPr>
              <p:spPr>
                <a:xfrm>
                  <a:off x="4201550" y="3338278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6" y="1"/>
                      </a:moveTo>
                      <a:cubicBezTo>
                        <a:pt x="1848" y="1"/>
                        <a:pt x="1423" y="154"/>
                        <a:pt x="1077" y="497"/>
                      </a:cubicBezTo>
                      <a:cubicBezTo>
                        <a:pt x="1" y="1573"/>
                        <a:pt x="751" y="3412"/>
                        <a:pt x="2275" y="3424"/>
                      </a:cubicBezTo>
                      <a:cubicBezTo>
                        <a:pt x="3218" y="3424"/>
                        <a:pt x="3993" y="2662"/>
                        <a:pt x="3993" y="1718"/>
                      </a:cubicBezTo>
                      <a:cubicBezTo>
                        <a:pt x="3993" y="684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06" name="Google Shape;11197;p65">
                  <a:extLst>
                    <a:ext uri="{FF2B5EF4-FFF2-40B4-BE49-F238E27FC236}">
                      <a16:creationId xmlns:a16="http://schemas.microsoft.com/office/drawing/2014/main" id="{294E783E-D653-0BE5-896B-A87C16964DEE}"/>
                    </a:ext>
                  </a:extLst>
                </p:cNvPr>
                <p:cNvSpPr/>
                <p:nvPr/>
              </p:nvSpPr>
              <p:spPr>
                <a:xfrm>
                  <a:off x="4214331" y="3347976"/>
                  <a:ext cx="8919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4" h="965" extrusionOk="0">
                      <a:moveTo>
                        <a:pt x="671" y="1"/>
                      </a:moveTo>
                      <a:cubicBezTo>
                        <a:pt x="664" y="1"/>
                        <a:pt x="657" y="1"/>
                        <a:pt x="650" y="1"/>
                      </a:cubicBezTo>
                      <a:cubicBezTo>
                        <a:pt x="645" y="1"/>
                        <a:pt x="640" y="1"/>
                        <a:pt x="635" y="1"/>
                      </a:cubicBezTo>
                      <a:cubicBezTo>
                        <a:pt x="209" y="1"/>
                        <a:pt x="0" y="513"/>
                        <a:pt x="311" y="824"/>
                      </a:cubicBezTo>
                      <a:cubicBezTo>
                        <a:pt x="408" y="921"/>
                        <a:pt x="528" y="965"/>
                        <a:pt x="646" y="965"/>
                      </a:cubicBezTo>
                      <a:cubicBezTo>
                        <a:pt x="895" y="965"/>
                        <a:pt x="1134" y="772"/>
                        <a:pt x="1134" y="485"/>
                      </a:cubicBezTo>
                      <a:cubicBezTo>
                        <a:pt x="1134" y="214"/>
                        <a:pt x="927" y="1"/>
                        <a:pt x="67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702" name="Google Shape;11198;p65">
                <a:extLst>
                  <a:ext uri="{FF2B5EF4-FFF2-40B4-BE49-F238E27FC236}">
                    <a16:creationId xmlns:a16="http://schemas.microsoft.com/office/drawing/2014/main" id="{B727F368-AB17-F935-0F9A-78AA5913A538}"/>
                  </a:ext>
                </a:extLst>
              </p:cNvPr>
              <p:cNvGrpSpPr/>
              <p:nvPr/>
            </p:nvGrpSpPr>
            <p:grpSpPr>
              <a:xfrm>
                <a:off x="4238272" y="3369132"/>
                <a:ext cx="31405" cy="27001"/>
                <a:chOff x="4238272" y="3369132"/>
                <a:chExt cx="31405" cy="27001"/>
              </a:xfrm>
            </p:grpSpPr>
            <p:sp>
              <p:nvSpPr>
                <p:cNvPr id="2703" name="Google Shape;11199;p65">
                  <a:extLst>
                    <a:ext uri="{FF2B5EF4-FFF2-40B4-BE49-F238E27FC236}">
                      <a16:creationId xmlns:a16="http://schemas.microsoft.com/office/drawing/2014/main" id="{D069EA16-A5A6-0BA8-5542-03AE05F4A7C9}"/>
                    </a:ext>
                  </a:extLst>
                </p:cNvPr>
                <p:cNvSpPr/>
                <p:nvPr/>
              </p:nvSpPr>
              <p:spPr>
                <a:xfrm>
                  <a:off x="4238272" y="33691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4" y="1"/>
                        <a:pt x="1426" y="157"/>
                        <a:pt x="1078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704" name="Google Shape;11200;p65">
                  <a:extLst>
                    <a:ext uri="{FF2B5EF4-FFF2-40B4-BE49-F238E27FC236}">
                      <a16:creationId xmlns:a16="http://schemas.microsoft.com/office/drawing/2014/main" id="{72405D17-E77C-4A5B-C6D3-03438D787396}"/>
                    </a:ext>
                  </a:extLst>
                </p:cNvPr>
                <p:cNvSpPr/>
                <p:nvPr/>
              </p:nvSpPr>
              <p:spPr>
                <a:xfrm>
                  <a:off x="4251217" y="3378806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3"/>
                      </a:cubicBezTo>
                      <a:cubicBezTo>
                        <a:pt x="401" y="922"/>
                        <a:pt x="524" y="967"/>
                        <a:pt x="643" y="967"/>
                      </a:cubicBezTo>
                      <a:cubicBezTo>
                        <a:pt x="889" y="967"/>
                        <a:pt x="1125" y="778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979" name="Google Shape;11201;p65">
              <a:extLst>
                <a:ext uri="{FF2B5EF4-FFF2-40B4-BE49-F238E27FC236}">
                  <a16:creationId xmlns:a16="http://schemas.microsoft.com/office/drawing/2014/main" id="{1A9ED218-EBBC-CAA6-8024-C8E2F62A50D1}"/>
                </a:ext>
              </a:extLst>
            </p:cNvPr>
            <p:cNvGrpSpPr/>
            <p:nvPr/>
          </p:nvGrpSpPr>
          <p:grpSpPr>
            <a:xfrm>
              <a:off x="4068639" y="3200169"/>
              <a:ext cx="77643" cy="37272"/>
              <a:chOff x="4068639" y="3200169"/>
              <a:chExt cx="77643" cy="37272"/>
            </a:xfrm>
          </p:grpSpPr>
          <p:sp>
            <p:nvSpPr>
              <p:cNvPr id="2689" name="Google Shape;11202;p65">
                <a:extLst>
                  <a:ext uri="{FF2B5EF4-FFF2-40B4-BE49-F238E27FC236}">
                    <a16:creationId xmlns:a16="http://schemas.microsoft.com/office/drawing/2014/main" id="{AC1C031D-128B-863A-C5B0-29481D2B04F4}"/>
                  </a:ext>
                </a:extLst>
              </p:cNvPr>
              <p:cNvSpPr/>
              <p:nvPr/>
            </p:nvSpPr>
            <p:spPr>
              <a:xfrm>
                <a:off x="4087570" y="3212886"/>
                <a:ext cx="49958" cy="10374"/>
              </a:xfrm>
              <a:custGeom>
                <a:avLst/>
                <a:gdLst/>
                <a:ahLst/>
                <a:cxnLst/>
                <a:rect l="l" t="t" r="r" b="b"/>
                <a:pathLst>
                  <a:path w="6352" h="1319" fill="none" extrusionOk="0">
                    <a:moveTo>
                      <a:pt x="1" y="1319"/>
                    </a:moveTo>
                    <a:lnTo>
                      <a:pt x="6351" y="0"/>
                    </a:lnTo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2690" name="Google Shape;11203;p65">
                <a:extLst>
                  <a:ext uri="{FF2B5EF4-FFF2-40B4-BE49-F238E27FC236}">
                    <a16:creationId xmlns:a16="http://schemas.microsoft.com/office/drawing/2014/main" id="{4189426E-3FFF-3AB2-6A3F-FCF839221D71}"/>
                  </a:ext>
                </a:extLst>
              </p:cNvPr>
              <p:cNvGrpSpPr/>
              <p:nvPr/>
            </p:nvGrpSpPr>
            <p:grpSpPr>
              <a:xfrm>
                <a:off x="4114878" y="3200169"/>
                <a:ext cx="31405" cy="26993"/>
                <a:chOff x="4114878" y="3200169"/>
                <a:chExt cx="31405" cy="26993"/>
              </a:xfrm>
            </p:grpSpPr>
            <p:sp>
              <p:nvSpPr>
                <p:cNvPr id="2694" name="Google Shape;11204;p65">
                  <a:extLst>
                    <a:ext uri="{FF2B5EF4-FFF2-40B4-BE49-F238E27FC236}">
                      <a16:creationId xmlns:a16="http://schemas.microsoft.com/office/drawing/2014/main" id="{72ECC36A-FB42-A928-4A88-E810611FC4EA}"/>
                    </a:ext>
                  </a:extLst>
                </p:cNvPr>
                <p:cNvSpPr/>
                <p:nvPr/>
              </p:nvSpPr>
              <p:spPr>
                <a:xfrm>
                  <a:off x="4114878" y="3200169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7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95" name="Google Shape;11205;p65">
                  <a:extLst>
                    <a:ext uri="{FF2B5EF4-FFF2-40B4-BE49-F238E27FC236}">
                      <a16:creationId xmlns:a16="http://schemas.microsoft.com/office/drawing/2014/main" id="{385A0BFE-6BD3-55C1-486C-894F2C171E7E}"/>
                    </a:ext>
                  </a:extLst>
                </p:cNvPr>
                <p:cNvSpPr/>
                <p:nvPr/>
              </p:nvSpPr>
              <p:spPr>
                <a:xfrm>
                  <a:off x="4127721" y="320983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36"/>
                      </a:cubicBezTo>
                      <a:cubicBezTo>
                        <a:pt x="400" y="933"/>
                        <a:pt x="519" y="976"/>
                        <a:pt x="637" y="976"/>
                      </a:cubicBezTo>
                      <a:cubicBezTo>
                        <a:pt x="887" y="976"/>
                        <a:pt x="1129" y="781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91" name="Google Shape;11206;p65">
                <a:extLst>
                  <a:ext uri="{FF2B5EF4-FFF2-40B4-BE49-F238E27FC236}">
                    <a16:creationId xmlns:a16="http://schemas.microsoft.com/office/drawing/2014/main" id="{1DCC6E26-8AF1-17DC-4B95-C3D31424958C}"/>
                  </a:ext>
                </a:extLst>
              </p:cNvPr>
              <p:cNvGrpSpPr/>
              <p:nvPr/>
            </p:nvGrpSpPr>
            <p:grpSpPr>
              <a:xfrm>
                <a:off x="4068639" y="3210535"/>
                <a:ext cx="31499" cy="26906"/>
                <a:chOff x="4068639" y="3210535"/>
                <a:chExt cx="31499" cy="26906"/>
              </a:xfrm>
            </p:grpSpPr>
            <p:sp>
              <p:nvSpPr>
                <p:cNvPr id="2692" name="Google Shape;11207;p65">
                  <a:extLst>
                    <a:ext uri="{FF2B5EF4-FFF2-40B4-BE49-F238E27FC236}">
                      <a16:creationId xmlns:a16="http://schemas.microsoft.com/office/drawing/2014/main" id="{A4DC44E2-2A1F-2054-5934-BF9F37BAA4FB}"/>
                    </a:ext>
                  </a:extLst>
                </p:cNvPr>
                <p:cNvSpPr/>
                <p:nvPr/>
              </p:nvSpPr>
              <p:spPr>
                <a:xfrm>
                  <a:off x="4068639" y="321053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93" name="Google Shape;11208;p65">
                  <a:extLst>
                    <a:ext uri="{FF2B5EF4-FFF2-40B4-BE49-F238E27FC236}">
                      <a16:creationId xmlns:a16="http://schemas.microsoft.com/office/drawing/2014/main" id="{163BAC01-A490-434D-8478-899A537879FF}"/>
                    </a:ext>
                  </a:extLst>
                </p:cNvPr>
                <p:cNvSpPr/>
                <p:nvPr/>
              </p:nvSpPr>
              <p:spPr>
                <a:xfrm>
                  <a:off x="4081577" y="3220209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7" y="964"/>
                        <a:pt x="1126" y="771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980" name="Google Shape;11209;p65">
              <a:extLst>
                <a:ext uri="{FF2B5EF4-FFF2-40B4-BE49-F238E27FC236}">
                  <a16:creationId xmlns:a16="http://schemas.microsoft.com/office/drawing/2014/main" id="{16E7C32E-7009-137B-9952-0FFBA5482215}"/>
                </a:ext>
              </a:extLst>
            </p:cNvPr>
            <p:cNvGrpSpPr/>
            <p:nvPr/>
          </p:nvGrpSpPr>
          <p:grpSpPr>
            <a:xfrm>
              <a:off x="3869702" y="3066935"/>
              <a:ext cx="382664" cy="190294"/>
              <a:chOff x="3869702" y="3066935"/>
              <a:chExt cx="382664" cy="190294"/>
            </a:xfrm>
          </p:grpSpPr>
          <p:grpSp>
            <p:nvGrpSpPr>
              <p:cNvPr id="2655" name="Google Shape;11210;p65">
                <a:extLst>
                  <a:ext uri="{FF2B5EF4-FFF2-40B4-BE49-F238E27FC236}">
                    <a16:creationId xmlns:a16="http://schemas.microsoft.com/office/drawing/2014/main" id="{2306E4B4-AB82-795F-CF38-F09755E7F9BE}"/>
                  </a:ext>
                </a:extLst>
              </p:cNvPr>
              <p:cNvGrpSpPr/>
              <p:nvPr/>
            </p:nvGrpSpPr>
            <p:grpSpPr>
              <a:xfrm>
                <a:off x="3888633" y="3082351"/>
                <a:ext cx="351172" cy="160698"/>
                <a:chOff x="3888633" y="3082351"/>
                <a:chExt cx="351172" cy="160698"/>
              </a:xfrm>
            </p:grpSpPr>
            <p:sp>
              <p:nvSpPr>
                <p:cNvPr id="2683" name="Google Shape;11211;p65">
                  <a:extLst>
                    <a:ext uri="{FF2B5EF4-FFF2-40B4-BE49-F238E27FC236}">
                      <a16:creationId xmlns:a16="http://schemas.microsoft.com/office/drawing/2014/main" id="{E4DBD29B-CA6B-A064-7661-07CC7505925E}"/>
                    </a:ext>
                  </a:extLst>
                </p:cNvPr>
                <p:cNvSpPr/>
                <p:nvPr/>
              </p:nvSpPr>
              <p:spPr>
                <a:xfrm>
                  <a:off x="3892440" y="3082351"/>
                  <a:ext cx="347366" cy="1606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166" h="20432" fill="none" extrusionOk="0">
                      <a:moveTo>
                        <a:pt x="7041" y="11529"/>
                      </a:moveTo>
                      <a:lnTo>
                        <a:pt x="22440" y="4162"/>
                      </a:lnTo>
                      <a:lnTo>
                        <a:pt x="34815" y="0"/>
                      </a:lnTo>
                      <a:lnTo>
                        <a:pt x="44166" y="484"/>
                      </a:lnTo>
                      <a:lnTo>
                        <a:pt x="38964" y="8565"/>
                      </a:lnTo>
                      <a:lnTo>
                        <a:pt x="33012" y="10065"/>
                      </a:lnTo>
                      <a:lnTo>
                        <a:pt x="22440" y="4839"/>
                      </a:lnTo>
                      <a:lnTo>
                        <a:pt x="18750" y="15424"/>
                      </a:lnTo>
                      <a:cubicBezTo>
                        <a:pt x="18750" y="15424"/>
                        <a:pt x="6206" y="11154"/>
                        <a:pt x="6557" y="11516"/>
                      </a:cubicBezTo>
                      <a:lnTo>
                        <a:pt x="0" y="204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84" name="Google Shape;11212;p65">
                  <a:extLst>
                    <a:ext uri="{FF2B5EF4-FFF2-40B4-BE49-F238E27FC236}">
                      <a16:creationId xmlns:a16="http://schemas.microsoft.com/office/drawing/2014/main" id="{C230480E-21D4-3AFA-2309-8930364C0F85}"/>
                    </a:ext>
                  </a:extLst>
                </p:cNvPr>
                <p:cNvSpPr/>
                <p:nvPr/>
              </p:nvSpPr>
              <p:spPr>
                <a:xfrm>
                  <a:off x="3888633" y="3172924"/>
                  <a:ext cx="72979" cy="701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79" h="8916" fill="none" extrusionOk="0">
                      <a:moveTo>
                        <a:pt x="0" y="8916"/>
                      </a:moveTo>
                      <a:lnTo>
                        <a:pt x="9279" y="6883"/>
                      </a:lnTo>
                      <a:lnTo>
                        <a:pt x="7041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85" name="Google Shape;11213;p65">
                  <a:extLst>
                    <a:ext uri="{FF2B5EF4-FFF2-40B4-BE49-F238E27FC236}">
                      <a16:creationId xmlns:a16="http://schemas.microsoft.com/office/drawing/2014/main" id="{42DF260E-67B7-4304-5833-6DDE1D51EAA8}"/>
                    </a:ext>
                  </a:extLst>
                </p:cNvPr>
                <p:cNvSpPr/>
                <p:nvPr/>
              </p:nvSpPr>
              <p:spPr>
                <a:xfrm>
                  <a:off x="3960370" y="3203653"/>
                  <a:ext cx="79547" cy="196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4" h="2493" fill="none" extrusionOk="0">
                      <a:moveTo>
                        <a:pt x="0" y="2493"/>
                      </a:moveTo>
                      <a:lnTo>
                        <a:pt x="1011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86" name="Google Shape;11214;p65">
                  <a:extLst>
                    <a:ext uri="{FF2B5EF4-FFF2-40B4-BE49-F238E27FC236}">
                      <a16:creationId xmlns:a16="http://schemas.microsoft.com/office/drawing/2014/main" id="{D658E210-93AF-961F-F698-D554F65F779D}"/>
                    </a:ext>
                  </a:extLst>
                </p:cNvPr>
                <p:cNvSpPr/>
                <p:nvPr/>
              </p:nvSpPr>
              <p:spPr>
                <a:xfrm>
                  <a:off x="4043613" y="3161504"/>
                  <a:ext cx="108474" cy="421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792" h="5360" fill="none" extrusionOk="0">
                      <a:moveTo>
                        <a:pt x="1" y="5360"/>
                      </a:moveTo>
                      <a:lnTo>
                        <a:pt x="1379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87" name="Google Shape;11215;p65">
                  <a:extLst>
                    <a:ext uri="{FF2B5EF4-FFF2-40B4-BE49-F238E27FC236}">
                      <a16:creationId xmlns:a16="http://schemas.microsoft.com/office/drawing/2014/main" id="{380789A2-CCE7-3108-7D78-13A99935A6A7}"/>
                    </a:ext>
                  </a:extLst>
                </p:cNvPr>
                <p:cNvSpPr/>
                <p:nvPr/>
              </p:nvSpPr>
              <p:spPr>
                <a:xfrm>
                  <a:off x="4152079" y="3082351"/>
                  <a:ext cx="17224" cy="8296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0" h="10549" fill="none" extrusionOk="0">
                      <a:moveTo>
                        <a:pt x="0" y="10549"/>
                      </a:moveTo>
                      <a:lnTo>
                        <a:pt x="219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88" name="Google Shape;11216;p65">
                  <a:extLst>
                    <a:ext uri="{FF2B5EF4-FFF2-40B4-BE49-F238E27FC236}">
                      <a16:creationId xmlns:a16="http://schemas.microsoft.com/office/drawing/2014/main" id="{FDA54286-23DC-9C8D-09F2-401EDB05EA08}"/>
                    </a:ext>
                  </a:extLst>
                </p:cNvPr>
                <p:cNvSpPr/>
                <p:nvPr/>
              </p:nvSpPr>
              <p:spPr>
                <a:xfrm>
                  <a:off x="4169296" y="3082351"/>
                  <a:ext cx="25797" cy="635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0" h="8081" fill="none" extrusionOk="0">
                      <a:moveTo>
                        <a:pt x="1" y="0"/>
                      </a:moveTo>
                      <a:lnTo>
                        <a:pt x="3279" y="808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56" name="Google Shape;11217;p65">
                <a:extLst>
                  <a:ext uri="{FF2B5EF4-FFF2-40B4-BE49-F238E27FC236}">
                    <a16:creationId xmlns:a16="http://schemas.microsoft.com/office/drawing/2014/main" id="{B5A3FC29-8DAD-2C70-F38A-0DC6A3DE413D}"/>
                  </a:ext>
                </a:extLst>
              </p:cNvPr>
              <p:cNvGrpSpPr/>
              <p:nvPr/>
            </p:nvGrpSpPr>
            <p:grpSpPr>
              <a:xfrm>
                <a:off x="4143703" y="3066935"/>
                <a:ext cx="37783" cy="32357"/>
                <a:chOff x="4143703" y="3066935"/>
                <a:chExt cx="37783" cy="32357"/>
              </a:xfrm>
            </p:grpSpPr>
            <p:sp>
              <p:nvSpPr>
                <p:cNvPr id="2681" name="Google Shape;11218;p65">
                  <a:extLst>
                    <a:ext uri="{FF2B5EF4-FFF2-40B4-BE49-F238E27FC236}">
                      <a16:creationId xmlns:a16="http://schemas.microsoft.com/office/drawing/2014/main" id="{5607E924-6844-499A-FC6A-30C4847A6399}"/>
                    </a:ext>
                  </a:extLst>
                </p:cNvPr>
                <p:cNvSpPr/>
                <p:nvPr/>
              </p:nvSpPr>
              <p:spPr>
                <a:xfrm>
                  <a:off x="4143703" y="306693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1" y="0"/>
                      </a:moveTo>
                      <a:cubicBezTo>
                        <a:pt x="2227" y="0"/>
                        <a:pt x="1713" y="188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82" name="Google Shape;11219;p65">
                  <a:extLst>
                    <a:ext uri="{FF2B5EF4-FFF2-40B4-BE49-F238E27FC236}">
                      <a16:creationId xmlns:a16="http://schemas.microsoft.com/office/drawing/2014/main" id="{620DC0A6-F269-4048-55E1-CC1F5F816B13}"/>
                    </a:ext>
                  </a:extLst>
                </p:cNvPr>
                <p:cNvSpPr/>
                <p:nvPr/>
              </p:nvSpPr>
              <p:spPr>
                <a:xfrm>
                  <a:off x="4158741" y="3076641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4" y="1658"/>
                        <a:pt x="1657" y="1283"/>
                        <a:pt x="1657" y="823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57" name="Google Shape;11220;p65">
                <a:extLst>
                  <a:ext uri="{FF2B5EF4-FFF2-40B4-BE49-F238E27FC236}">
                    <a16:creationId xmlns:a16="http://schemas.microsoft.com/office/drawing/2014/main" id="{9D37D3CE-CE3B-6FE3-86C5-82057337F9FE}"/>
                  </a:ext>
                </a:extLst>
              </p:cNvPr>
              <p:cNvGrpSpPr/>
              <p:nvPr/>
            </p:nvGrpSpPr>
            <p:grpSpPr>
              <a:xfrm>
                <a:off x="4044565" y="3103563"/>
                <a:ext cx="37783" cy="32451"/>
                <a:chOff x="4044565" y="3103563"/>
                <a:chExt cx="37783" cy="32451"/>
              </a:xfrm>
            </p:grpSpPr>
            <p:sp>
              <p:nvSpPr>
                <p:cNvPr id="2679" name="Google Shape;11221;p65">
                  <a:extLst>
                    <a:ext uri="{FF2B5EF4-FFF2-40B4-BE49-F238E27FC236}">
                      <a16:creationId xmlns:a16="http://schemas.microsoft.com/office/drawing/2014/main" id="{7CC68B90-EC87-78B3-EE14-F9C5EEC9E299}"/>
                    </a:ext>
                  </a:extLst>
                </p:cNvPr>
                <p:cNvSpPr/>
                <p:nvPr/>
              </p:nvSpPr>
              <p:spPr>
                <a:xfrm>
                  <a:off x="4044565" y="3103563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80" name="Google Shape;11222;p65">
                  <a:extLst>
                    <a:ext uri="{FF2B5EF4-FFF2-40B4-BE49-F238E27FC236}">
                      <a16:creationId xmlns:a16="http://schemas.microsoft.com/office/drawing/2014/main" id="{FABC61CF-DFB6-41EB-00C5-7EAB592FE2DB}"/>
                    </a:ext>
                  </a:extLst>
                </p:cNvPr>
                <p:cNvSpPr/>
                <p:nvPr/>
              </p:nvSpPr>
              <p:spPr>
                <a:xfrm>
                  <a:off x="4059602" y="3113268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58" name="Google Shape;11223;p65">
                <a:extLst>
                  <a:ext uri="{FF2B5EF4-FFF2-40B4-BE49-F238E27FC236}">
                    <a16:creationId xmlns:a16="http://schemas.microsoft.com/office/drawing/2014/main" id="{4F53BB7B-0BC2-9389-544D-BD5E95CDB6D1}"/>
                  </a:ext>
                </a:extLst>
              </p:cNvPr>
              <p:cNvGrpSpPr/>
              <p:nvPr/>
            </p:nvGrpSpPr>
            <p:grpSpPr>
              <a:xfrm>
                <a:off x="4017454" y="3188237"/>
                <a:ext cx="37776" cy="32357"/>
                <a:chOff x="4017454" y="3188237"/>
                <a:chExt cx="37776" cy="32357"/>
              </a:xfrm>
            </p:grpSpPr>
            <p:sp>
              <p:nvSpPr>
                <p:cNvPr id="2677" name="Google Shape;11224;p65">
                  <a:extLst>
                    <a:ext uri="{FF2B5EF4-FFF2-40B4-BE49-F238E27FC236}">
                      <a16:creationId xmlns:a16="http://schemas.microsoft.com/office/drawing/2014/main" id="{34E3E1EF-8489-80F7-133E-6F02FED76910}"/>
                    </a:ext>
                  </a:extLst>
                </p:cNvPr>
                <p:cNvSpPr/>
                <p:nvPr/>
              </p:nvSpPr>
              <p:spPr>
                <a:xfrm>
                  <a:off x="4017454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08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78" name="Google Shape;11225;p65">
                  <a:extLst>
                    <a:ext uri="{FF2B5EF4-FFF2-40B4-BE49-F238E27FC236}">
                      <a16:creationId xmlns:a16="http://schemas.microsoft.com/office/drawing/2014/main" id="{C4EA12E1-9DA5-9430-27D1-AD38FE07D787}"/>
                    </a:ext>
                  </a:extLst>
                </p:cNvPr>
                <p:cNvSpPr/>
                <p:nvPr/>
              </p:nvSpPr>
              <p:spPr>
                <a:xfrm>
                  <a:off x="4032484" y="319794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59" name="Google Shape;11226;p65">
                <a:extLst>
                  <a:ext uri="{FF2B5EF4-FFF2-40B4-BE49-F238E27FC236}">
                    <a16:creationId xmlns:a16="http://schemas.microsoft.com/office/drawing/2014/main" id="{AA6479B9-96EF-9312-C7D5-2C21A0266522}"/>
                  </a:ext>
                </a:extLst>
              </p:cNvPr>
              <p:cNvGrpSpPr/>
              <p:nvPr/>
            </p:nvGrpSpPr>
            <p:grpSpPr>
              <a:xfrm>
                <a:off x="3921548" y="3157509"/>
                <a:ext cx="37783" cy="32357"/>
                <a:chOff x="3921548" y="3157509"/>
                <a:chExt cx="37783" cy="32357"/>
              </a:xfrm>
            </p:grpSpPr>
            <p:sp>
              <p:nvSpPr>
                <p:cNvPr id="2675" name="Google Shape;11227;p65">
                  <a:extLst>
                    <a:ext uri="{FF2B5EF4-FFF2-40B4-BE49-F238E27FC236}">
                      <a16:creationId xmlns:a16="http://schemas.microsoft.com/office/drawing/2014/main" id="{7FDCF06F-BA2F-5E39-32CC-3E15A43AE8AE}"/>
                    </a:ext>
                  </a:extLst>
                </p:cNvPr>
                <p:cNvSpPr/>
                <p:nvPr/>
              </p:nvSpPr>
              <p:spPr>
                <a:xfrm>
                  <a:off x="3921548" y="31575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76" name="Google Shape;11228;p65">
                  <a:extLst>
                    <a:ext uri="{FF2B5EF4-FFF2-40B4-BE49-F238E27FC236}">
                      <a16:creationId xmlns:a16="http://schemas.microsoft.com/office/drawing/2014/main" id="{01D1AA4C-3490-AB5E-9AF1-194A91A7ADC2}"/>
                    </a:ext>
                  </a:extLst>
                </p:cNvPr>
                <p:cNvSpPr/>
                <p:nvPr/>
              </p:nvSpPr>
              <p:spPr>
                <a:xfrm>
                  <a:off x="3936586" y="3167214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4"/>
                        <a:pt x="1282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60" name="Google Shape;11229;p65">
                <a:extLst>
                  <a:ext uri="{FF2B5EF4-FFF2-40B4-BE49-F238E27FC236}">
                    <a16:creationId xmlns:a16="http://schemas.microsoft.com/office/drawing/2014/main" id="{4C11491B-A147-1E40-C1C3-28E4143230A6}"/>
                  </a:ext>
                </a:extLst>
              </p:cNvPr>
              <p:cNvGrpSpPr/>
              <p:nvPr/>
            </p:nvGrpSpPr>
            <p:grpSpPr>
              <a:xfrm>
                <a:off x="3939056" y="3211620"/>
                <a:ext cx="37783" cy="32380"/>
                <a:chOff x="3939056" y="3211620"/>
                <a:chExt cx="37783" cy="32380"/>
              </a:xfrm>
            </p:grpSpPr>
            <p:sp>
              <p:nvSpPr>
                <p:cNvPr id="2673" name="Google Shape;11230;p65">
                  <a:extLst>
                    <a:ext uri="{FF2B5EF4-FFF2-40B4-BE49-F238E27FC236}">
                      <a16:creationId xmlns:a16="http://schemas.microsoft.com/office/drawing/2014/main" id="{5ECEFFF2-648E-0686-320A-150B129E90D1}"/>
                    </a:ext>
                  </a:extLst>
                </p:cNvPr>
                <p:cNvSpPr/>
                <p:nvPr/>
              </p:nvSpPr>
              <p:spPr>
                <a:xfrm>
                  <a:off x="3939056" y="3211620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1" y="1903"/>
                        <a:pt x="920" y="4117"/>
                        <a:pt x="2759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74" name="Google Shape;11231;p65">
                  <a:extLst>
                    <a:ext uri="{FF2B5EF4-FFF2-40B4-BE49-F238E27FC236}">
                      <a16:creationId xmlns:a16="http://schemas.microsoft.com/office/drawing/2014/main" id="{E459DAC6-ECB8-4BDB-5175-013726D8A4F5}"/>
                    </a:ext>
                  </a:extLst>
                </p:cNvPr>
                <p:cNvSpPr/>
                <p:nvPr/>
              </p:nvSpPr>
              <p:spPr>
                <a:xfrm>
                  <a:off x="3954188" y="32212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61" name="Google Shape;11232;p65">
                <a:extLst>
                  <a:ext uri="{FF2B5EF4-FFF2-40B4-BE49-F238E27FC236}">
                    <a16:creationId xmlns:a16="http://schemas.microsoft.com/office/drawing/2014/main" id="{B738E565-BE2B-036E-3686-FD1D0CE4E612}"/>
                  </a:ext>
                </a:extLst>
              </p:cNvPr>
              <p:cNvGrpSpPr/>
              <p:nvPr/>
            </p:nvGrpSpPr>
            <p:grpSpPr>
              <a:xfrm>
                <a:off x="4176240" y="3136965"/>
                <a:ext cx="31405" cy="26930"/>
                <a:chOff x="4176240" y="3136965"/>
                <a:chExt cx="31405" cy="26930"/>
              </a:xfrm>
            </p:grpSpPr>
            <p:sp>
              <p:nvSpPr>
                <p:cNvPr id="2671" name="Google Shape;11233;p65">
                  <a:extLst>
                    <a:ext uri="{FF2B5EF4-FFF2-40B4-BE49-F238E27FC236}">
                      <a16:creationId xmlns:a16="http://schemas.microsoft.com/office/drawing/2014/main" id="{311D0F83-C404-CD89-627B-6216433B6A11}"/>
                    </a:ext>
                  </a:extLst>
                </p:cNvPr>
                <p:cNvSpPr/>
                <p:nvPr/>
              </p:nvSpPr>
              <p:spPr>
                <a:xfrm>
                  <a:off x="4176240" y="3136965"/>
                  <a:ext cx="3140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4" extrusionOk="0">
                      <a:moveTo>
                        <a:pt x="2268" y="1"/>
                      </a:moveTo>
                      <a:cubicBezTo>
                        <a:pt x="1846" y="1"/>
                        <a:pt x="1415" y="158"/>
                        <a:pt x="1065" y="508"/>
                      </a:cubicBezTo>
                      <a:cubicBezTo>
                        <a:pt x="1" y="1585"/>
                        <a:pt x="763" y="3423"/>
                        <a:pt x="2275" y="3423"/>
                      </a:cubicBezTo>
                      <a:cubicBezTo>
                        <a:pt x="3231" y="3423"/>
                        <a:pt x="3993" y="2649"/>
                        <a:pt x="3993" y="1705"/>
                      </a:cubicBezTo>
                      <a:cubicBezTo>
                        <a:pt x="3985" y="677"/>
                        <a:pt x="3145" y="1"/>
                        <a:pt x="226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72" name="Google Shape;11234;p65">
                  <a:extLst>
                    <a:ext uri="{FF2B5EF4-FFF2-40B4-BE49-F238E27FC236}">
                      <a16:creationId xmlns:a16="http://schemas.microsoft.com/office/drawing/2014/main" id="{F2125941-6D23-9424-3B42-E7E9923568AF}"/>
                    </a:ext>
                  </a:extLst>
                </p:cNvPr>
                <p:cNvSpPr/>
                <p:nvPr/>
              </p:nvSpPr>
              <p:spPr>
                <a:xfrm>
                  <a:off x="4190327" y="3146663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62" name="Google Shape;11235;p65">
                <a:extLst>
                  <a:ext uri="{FF2B5EF4-FFF2-40B4-BE49-F238E27FC236}">
                    <a16:creationId xmlns:a16="http://schemas.microsoft.com/office/drawing/2014/main" id="{EDE43FD1-AE2B-67A6-EF33-418D00594309}"/>
                  </a:ext>
                </a:extLst>
              </p:cNvPr>
              <p:cNvGrpSpPr/>
              <p:nvPr/>
            </p:nvGrpSpPr>
            <p:grpSpPr>
              <a:xfrm>
                <a:off x="4133148" y="3152593"/>
                <a:ext cx="31499" cy="27001"/>
                <a:chOff x="4133148" y="3152593"/>
                <a:chExt cx="31499" cy="27001"/>
              </a:xfrm>
            </p:grpSpPr>
            <p:sp>
              <p:nvSpPr>
                <p:cNvPr id="2669" name="Google Shape;11236;p65">
                  <a:extLst>
                    <a:ext uri="{FF2B5EF4-FFF2-40B4-BE49-F238E27FC236}">
                      <a16:creationId xmlns:a16="http://schemas.microsoft.com/office/drawing/2014/main" id="{37848249-36A2-EA34-4785-AB7371BCA6B2}"/>
                    </a:ext>
                  </a:extLst>
                </p:cNvPr>
                <p:cNvSpPr/>
                <p:nvPr/>
              </p:nvSpPr>
              <p:spPr>
                <a:xfrm>
                  <a:off x="4133148" y="31525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8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70" name="Google Shape;11237;p65">
                  <a:extLst>
                    <a:ext uri="{FF2B5EF4-FFF2-40B4-BE49-F238E27FC236}">
                      <a16:creationId xmlns:a16="http://schemas.microsoft.com/office/drawing/2014/main" id="{CB10865A-12FE-C137-BAE3-9FD33DB3222B}"/>
                    </a:ext>
                  </a:extLst>
                </p:cNvPr>
                <p:cNvSpPr/>
                <p:nvPr/>
              </p:nvSpPr>
              <p:spPr>
                <a:xfrm>
                  <a:off x="4147321" y="316226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63" y="968"/>
                        <a:pt x="968" y="751"/>
                        <a:pt x="968" y="484"/>
                      </a:cubicBezTo>
                      <a:cubicBezTo>
                        <a:pt x="968" y="218"/>
                        <a:pt x="763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63" name="Google Shape;11238;p65">
                <a:extLst>
                  <a:ext uri="{FF2B5EF4-FFF2-40B4-BE49-F238E27FC236}">
                    <a16:creationId xmlns:a16="http://schemas.microsoft.com/office/drawing/2014/main" id="{0223D166-E985-7EF1-093E-8A66D6C6CA0E}"/>
                  </a:ext>
                </a:extLst>
              </p:cNvPr>
              <p:cNvGrpSpPr/>
              <p:nvPr/>
            </p:nvGrpSpPr>
            <p:grpSpPr>
              <a:xfrm>
                <a:off x="4220866" y="3073534"/>
                <a:ext cx="31499" cy="26898"/>
                <a:chOff x="4220866" y="3073534"/>
                <a:chExt cx="31499" cy="26898"/>
              </a:xfrm>
            </p:grpSpPr>
            <p:sp>
              <p:nvSpPr>
                <p:cNvPr id="2667" name="Google Shape;11239;p65">
                  <a:extLst>
                    <a:ext uri="{FF2B5EF4-FFF2-40B4-BE49-F238E27FC236}">
                      <a16:creationId xmlns:a16="http://schemas.microsoft.com/office/drawing/2014/main" id="{4A076AAB-64F4-7286-3676-06893105FD30}"/>
                    </a:ext>
                  </a:extLst>
                </p:cNvPr>
                <p:cNvSpPr/>
                <p:nvPr/>
              </p:nvSpPr>
              <p:spPr>
                <a:xfrm>
                  <a:off x="4220866" y="307353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68" name="Google Shape;11240;p65">
                  <a:extLst>
                    <a:ext uri="{FF2B5EF4-FFF2-40B4-BE49-F238E27FC236}">
                      <a16:creationId xmlns:a16="http://schemas.microsoft.com/office/drawing/2014/main" id="{D71CD12D-F817-D8AE-7B1B-C3249F570A77}"/>
                    </a:ext>
                  </a:extLst>
                </p:cNvPr>
                <p:cNvSpPr/>
                <p:nvPr/>
              </p:nvSpPr>
              <p:spPr>
                <a:xfrm>
                  <a:off x="4235039" y="3083114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5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64" name="Google Shape;11241;p65">
                <a:extLst>
                  <a:ext uri="{FF2B5EF4-FFF2-40B4-BE49-F238E27FC236}">
                    <a16:creationId xmlns:a16="http://schemas.microsoft.com/office/drawing/2014/main" id="{2E032257-394B-749B-12DE-CBB2F6153BEA}"/>
                  </a:ext>
                </a:extLst>
              </p:cNvPr>
              <p:cNvGrpSpPr/>
              <p:nvPr/>
            </p:nvGrpSpPr>
            <p:grpSpPr>
              <a:xfrm>
                <a:off x="3869702" y="3230323"/>
                <a:ext cx="31499" cy="26906"/>
                <a:chOff x="3869702" y="3230323"/>
                <a:chExt cx="31499" cy="26906"/>
              </a:xfrm>
            </p:grpSpPr>
            <p:sp>
              <p:nvSpPr>
                <p:cNvPr id="2665" name="Google Shape;11242;p65">
                  <a:extLst>
                    <a:ext uri="{FF2B5EF4-FFF2-40B4-BE49-F238E27FC236}">
                      <a16:creationId xmlns:a16="http://schemas.microsoft.com/office/drawing/2014/main" id="{8DE50559-42E3-D879-ED9B-09FF504B2DE8}"/>
                    </a:ext>
                  </a:extLst>
                </p:cNvPr>
                <p:cNvSpPr/>
                <p:nvPr/>
              </p:nvSpPr>
              <p:spPr>
                <a:xfrm>
                  <a:off x="3869702" y="32303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66" name="Google Shape;11243;p65">
                  <a:extLst>
                    <a:ext uri="{FF2B5EF4-FFF2-40B4-BE49-F238E27FC236}">
                      <a16:creationId xmlns:a16="http://schemas.microsoft.com/office/drawing/2014/main" id="{E26B4065-E697-FEE5-741C-1E542EF0079C}"/>
                    </a:ext>
                  </a:extLst>
                </p:cNvPr>
                <p:cNvSpPr/>
                <p:nvPr/>
              </p:nvSpPr>
              <p:spPr>
                <a:xfrm>
                  <a:off x="3883875" y="323999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4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4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981" name="Google Shape;11244;p65">
              <a:extLst>
                <a:ext uri="{FF2B5EF4-FFF2-40B4-BE49-F238E27FC236}">
                  <a16:creationId xmlns:a16="http://schemas.microsoft.com/office/drawing/2014/main" id="{99BD68AF-F2CB-AA71-DDFA-C8AFBE2C7620}"/>
                </a:ext>
              </a:extLst>
            </p:cNvPr>
            <p:cNvGrpSpPr/>
            <p:nvPr/>
          </p:nvGrpSpPr>
          <p:grpSpPr>
            <a:xfrm>
              <a:off x="4271383" y="3065882"/>
              <a:ext cx="304556" cy="341663"/>
              <a:chOff x="4271383" y="3065882"/>
              <a:chExt cx="304556" cy="341663"/>
            </a:xfrm>
          </p:grpSpPr>
          <p:grpSp>
            <p:nvGrpSpPr>
              <p:cNvPr id="2598" name="Google Shape;11245;p65">
                <a:extLst>
                  <a:ext uri="{FF2B5EF4-FFF2-40B4-BE49-F238E27FC236}">
                    <a16:creationId xmlns:a16="http://schemas.microsoft.com/office/drawing/2014/main" id="{771DEDA3-D1A3-41EB-61C8-300960813425}"/>
                  </a:ext>
                </a:extLst>
              </p:cNvPr>
              <p:cNvGrpSpPr/>
              <p:nvPr/>
            </p:nvGrpSpPr>
            <p:grpSpPr>
              <a:xfrm>
                <a:off x="4293838" y="3078639"/>
                <a:ext cx="269353" cy="311973"/>
                <a:chOff x="4293838" y="3078639"/>
                <a:chExt cx="269353" cy="311973"/>
              </a:xfrm>
            </p:grpSpPr>
            <p:sp>
              <p:nvSpPr>
                <p:cNvPr id="2638" name="Google Shape;11246;p65">
                  <a:extLst>
                    <a:ext uri="{FF2B5EF4-FFF2-40B4-BE49-F238E27FC236}">
                      <a16:creationId xmlns:a16="http://schemas.microsoft.com/office/drawing/2014/main" id="{04FFB587-60E6-4182-95FB-235CD3CBC6B3}"/>
                    </a:ext>
                  </a:extLst>
                </p:cNvPr>
                <p:cNvSpPr/>
                <p:nvPr/>
              </p:nvSpPr>
              <p:spPr>
                <a:xfrm>
                  <a:off x="4293838" y="3078639"/>
                  <a:ext cx="269353" cy="3119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7" h="39666" fill="none" extrusionOk="0">
                      <a:moveTo>
                        <a:pt x="13" y="16730"/>
                      </a:moveTo>
                      <a:lnTo>
                        <a:pt x="7162" y="27690"/>
                      </a:lnTo>
                      <a:lnTo>
                        <a:pt x="8480" y="39666"/>
                      </a:lnTo>
                      <a:lnTo>
                        <a:pt x="18182" y="34138"/>
                      </a:lnTo>
                      <a:lnTo>
                        <a:pt x="26371" y="29807"/>
                      </a:lnTo>
                      <a:cubicBezTo>
                        <a:pt x="26371" y="29807"/>
                        <a:pt x="33605" y="34694"/>
                        <a:pt x="33932" y="35456"/>
                      </a:cubicBezTo>
                      <a:cubicBezTo>
                        <a:pt x="34246" y="36218"/>
                        <a:pt x="32263" y="18388"/>
                        <a:pt x="32263" y="18388"/>
                      </a:cubicBezTo>
                      <a:lnTo>
                        <a:pt x="28428" y="2928"/>
                      </a:lnTo>
                      <a:lnTo>
                        <a:pt x="12932" y="1"/>
                      </a:lnTo>
                      <a:lnTo>
                        <a:pt x="1670" y="2650"/>
                      </a:lnTo>
                      <a:lnTo>
                        <a:pt x="0" y="1714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39" name="Google Shape;11247;p65">
                  <a:extLst>
                    <a:ext uri="{FF2B5EF4-FFF2-40B4-BE49-F238E27FC236}">
                      <a16:creationId xmlns:a16="http://schemas.microsoft.com/office/drawing/2014/main" id="{98439793-7AFF-AC5E-CDA3-FD85D458A94C}"/>
                    </a:ext>
                  </a:extLst>
                </p:cNvPr>
                <p:cNvSpPr/>
                <p:nvPr/>
              </p:nvSpPr>
              <p:spPr>
                <a:xfrm>
                  <a:off x="4306965" y="3099473"/>
                  <a:ext cx="62519" cy="696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49" h="8856" fill="none" extrusionOk="0">
                      <a:moveTo>
                        <a:pt x="1" y="1"/>
                      </a:moveTo>
                      <a:lnTo>
                        <a:pt x="7948" y="885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0" name="Google Shape;11248;p65">
                  <a:extLst>
                    <a:ext uri="{FF2B5EF4-FFF2-40B4-BE49-F238E27FC236}">
                      <a16:creationId xmlns:a16="http://schemas.microsoft.com/office/drawing/2014/main" id="{BF3CD13A-A1A1-7DCF-91D2-4A180737F883}"/>
                    </a:ext>
                  </a:extLst>
                </p:cNvPr>
                <p:cNvSpPr/>
                <p:nvPr/>
              </p:nvSpPr>
              <p:spPr>
                <a:xfrm>
                  <a:off x="4369476" y="3169118"/>
                  <a:ext cx="26072" cy="986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15" h="12545" fill="none" extrusionOk="0">
                      <a:moveTo>
                        <a:pt x="0" y="1"/>
                      </a:moveTo>
                      <a:lnTo>
                        <a:pt x="3315" y="1254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1" name="Google Shape;11249;p65">
                  <a:extLst>
                    <a:ext uri="{FF2B5EF4-FFF2-40B4-BE49-F238E27FC236}">
                      <a16:creationId xmlns:a16="http://schemas.microsoft.com/office/drawing/2014/main" id="{4B5A36CD-2FFD-E161-F5E1-8F174A77EDF9}"/>
                    </a:ext>
                  </a:extLst>
                </p:cNvPr>
                <p:cNvSpPr/>
                <p:nvPr/>
              </p:nvSpPr>
              <p:spPr>
                <a:xfrm>
                  <a:off x="4399347" y="3078639"/>
                  <a:ext cx="60041" cy="1105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34" h="14057" fill="none" extrusionOk="0">
                      <a:moveTo>
                        <a:pt x="7634" y="14057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2" name="Google Shape;11250;p65">
                  <a:extLst>
                    <a:ext uri="{FF2B5EF4-FFF2-40B4-BE49-F238E27FC236}">
                      <a16:creationId xmlns:a16="http://schemas.microsoft.com/office/drawing/2014/main" id="{C9D9D664-E085-CDEA-225B-38C57F529376}"/>
                    </a:ext>
                  </a:extLst>
                </p:cNvPr>
                <p:cNvSpPr/>
                <p:nvPr/>
              </p:nvSpPr>
              <p:spPr>
                <a:xfrm>
                  <a:off x="4373282" y="3169118"/>
                  <a:ext cx="82299" cy="20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64" h="2553" fill="none" extrusionOk="0">
                      <a:moveTo>
                        <a:pt x="0" y="1"/>
                      </a:moveTo>
                      <a:lnTo>
                        <a:pt x="10464" y="2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3" name="Google Shape;11251;p65">
                  <a:extLst>
                    <a:ext uri="{FF2B5EF4-FFF2-40B4-BE49-F238E27FC236}">
                      <a16:creationId xmlns:a16="http://schemas.microsoft.com/office/drawing/2014/main" id="{8405B715-5672-5149-6A4B-F2D2D9EBE08B}"/>
                    </a:ext>
                  </a:extLst>
                </p:cNvPr>
                <p:cNvSpPr/>
                <p:nvPr/>
              </p:nvSpPr>
              <p:spPr>
                <a:xfrm>
                  <a:off x="4369476" y="3078639"/>
                  <a:ext cx="29879" cy="904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99" h="11505" fill="none" extrusionOk="0">
                      <a:moveTo>
                        <a:pt x="0" y="11505"/>
                      </a:moveTo>
                      <a:lnTo>
                        <a:pt x="379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4" name="Google Shape;11252;p65">
                  <a:extLst>
                    <a:ext uri="{FF2B5EF4-FFF2-40B4-BE49-F238E27FC236}">
                      <a16:creationId xmlns:a16="http://schemas.microsoft.com/office/drawing/2014/main" id="{0B37E84B-749A-8CAC-C81B-429301BFCE8F}"/>
                    </a:ext>
                  </a:extLst>
                </p:cNvPr>
                <p:cNvSpPr/>
                <p:nvPr/>
              </p:nvSpPr>
              <p:spPr>
                <a:xfrm>
                  <a:off x="4293932" y="3169118"/>
                  <a:ext cx="75551" cy="41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06" h="5227" fill="none" extrusionOk="0">
                      <a:moveTo>
                        <a:pt x="1" y="5226"/>
                      </a:moveTo>
                      <a:lnTo>
                        <a:pt x="9605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5" name="Google Shape;11253;p65">
                  <a:extLst>
                    <a:ext uri="{FF2B5EF4-FFF2-40B4-BE49-F238E27FC236}">
                      <a16:creationId xmlns:a16="http://schemas.microsoft.com/office/drawing/2014/main" id="{7FEA0E76-3F14-3C93-D385-BFE3F5172417}"/>
                    </a:ext>
                  </a:extLst>
                </p:cNvPr>
                <p:cNvSpPr/>
                <p:nvPr/>
              </p:nvSpPr>
              <p:spPr>
                <a:xfrm>
                  <a:off x="4350159" y="3267776"/>
                  <a:ext cx="45389" cy="27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71" h="3437" fill="none" extrusionOk="0">
                      <a:moveTo>
                        <a:pt x="1" y="3436"/>
                      </a:moveTo>
                      <a:lnTo>
                        <a:pt x="577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6" name="Google Shape;11254;p65">
                  <a:extLst>
                    <a:ext uri="{FF2B5EF4-FFF2-40B4-BE49-F238E27FC236}">
                      <a16:creationId xmlns:a16="http://schemas.microsoft.com/office/drawing/2014/main" id="{49267377-F914-7C1D-4CBC-89FFDD2578C9}"/>
                    </a:ext>
                  </a:extLst>
                </p:cNvPr>
                <p:cNvSpPr/>
                <p:nvPr/>
              </p:nvSpPr>
              <p:spPr>
                <a:xfrm>
                  <a:off x="4395540" y="3267776"/>
                  <a:ext cx="38830" cy="760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37" h="9667" fill="none" extrusionOk="0">
                      <a:moveTo>
                        <a:pt x="1" y="1"/>
                      </a:moveTo>
                      <a:lnTo>
                        <a:pt x="4936" y="96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7" name="Google Shape;11255;p65">
                  <a:extLst>
                    <a:ext uri="{FF2B5EF4-FFF2-40B4-BE49-F238E27FC236}">
                      <a16:creationId xmlns:a16="http://schemas.microsoft.com/office/drawing/2014/main" id="{F35E22DF-2B08-4942-7763-2CBA667F9D5A}"/>
                    </a:ext>
                  </a:extLst>
                </p:cNvPr>
                <p:cNvSpPr/>
                <p:nvPr/>
              </p:nvSpPr>
              <p:spPr>
                <a:xfrm>
                  <a:off x="4360439" y="3267776"/>
                  <a:ext cx="35109" cy="1219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64" h="15509" fill="none" extrusionOk="0">
                      <a:moveTo>
                        <a:pt x="0" y="15509"/>
                      </a:moveTo>
                      <a:lnTo>
                        <a:pt x="446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8" name="Google Shape;11256;p65">
                  <a:extLst>
                    <a:ext uri="{FF2B5EF4-FFF2-40B4-BE49-F238E27FC236}">
                      <a16:creationId xmlns:a16="http://schemas.microsoft.com/office/drawing/2014/main" id="{CD3B46B4-0EB8-84EC-5742-0E78C3BA2601}"/>
                    </a:ext>
                  </a:extLst>
                </p:cNvPr>
                <p:cNvSpPr/>
                <p:nvPr/>
              </p:nvSpPr>
              <p:spPr>
                <a:xfrm>
                  <a:off x="4293932" y="3210220"/>
                  <a:ext cx="101616" cy="575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20" h="7319" fill="none" extrusionOk="0">
                      <a:moveTo>
                        <a:pt x="1" y="0"/>
                      </a:moveTo>
                      <a:lnTo>
                        <a:pt x="12920" y="73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49" name="Google Shape;11257;p65">
                  <a:extLst>
                    <a:ext uri="{FF2B5EF4-FFF2-40B4-BE49-F238E27FC236}">
                      <a16:creationId xmlns:a16="http://schemas.microsoft.com/office/drawing/2014/main" id="{1C22CCD9-BCF4-CAD8-F005-494A3AA395F4}"/>
                    </a:ext>
                  </a:extLst>
                </p:cNvPr>
                <p:cNvSpPr/>
                <p:nvPr/>
              </p:nvSpPr>
              <p:spPr>
                <a:xfrm>
                  <a:off x="4395540" y="3186436"/>
                  <a:ext cx="66420" cy="79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45" h="10138" fill="none" extrusionOk="0">
                      <a:moveTo>
                        <a:pt x="8444" y="0"/>
                      </a:moveTo>
                      <a:lnTo>
                        <a:pt x="1" y="1013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50" name="Google Shape;11258;p65">
                  <a:extLst>
                    <a:ext uri="{FF2B5EF4-FFF2-40B4-BE49-F238E27FC236}">
                      <a16:creationId xmlns:a16="http://schemas.microsoft.com/office/drawing/2014/main" id="{15D65EFB-041E-E7B9-2B3C-BE230DE59687}"/>
                    </a:ext>
                  </a:extLst>
                </p:cNvPr>
                <p:cNvSpPr/>
                <p:nvPr/>
              </p:nvSpPr>
              <p:spPr>
                <a:xfrm>
                  <a:off x="4459380" y="3189669"/>
                  <a:ext cx="41873" cy="123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24" h="15690" fill="none" extrusionOk="0">
                      <a:moveTo>
                        <a:pt x="1" y="0"/>
                      </a:moveTo>
                      <a:lnTo>
                        <a:pt x="5323" y="15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51" name="Google Shape;11259;p65">
                  <a:extLst>
                    <a:ext uri="{FF2B5EF4-FFF2-40B4-BE49-F238E27FC236}">
                      <a16:creationId xmlns:a16="http://schemas.microsoft.com/office/drawing/2014/main" id="{8381CFFB-B6AC-21AC-5581-D857BB5F2DC8}"/>
                    </a:ext>
                  </a:extLst>
                </p:cNvPr>
                <p:cNvSpPr/>
                <p:nvPr/>
              </p:nvSpPr>
              <p:spPr>
                <a:xfrm>
                  <a:off x="4395540" y="3267776"/>
                  <a:ext cx="105713" cy="45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41" h="5759" fill="none" extrusionOk="0">
                      <a:moveTo>
                        <a:pt x="1" y="1"/>
                      </a:moveTo>
                      <a:lnTo>
                        <a:pt x="13440" y="575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52" name="Google Shape;11260;p65">
                  <a:extLst>
                    <a:ext uri="{FF2B5EF4-FFF2-40B4-BE49-F238E27FC236}">
                      <a16:creationId xmlns:a16="http://schemas.microsoft.com/office/drawing/2014/main" id="{4AE6AA62-C259-C434-E0B6-8DECD57FAEB4}"/>
                    </a:ext>
                  </a:extLst>
                </p:cNvPr>
                <p:cNvSpPr/>
                <p:nvPr/>
              </p:nvSpPr>
              <p:spPr>
                <a:xfrm>
                  <a:off x="4501246" y="3223252"/>
                  <a:ext cx="46435" cy="898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4" h="11420" fill="none" extrusionOk="0">
                      <a:moveTo>
                        <a:pt x="0" y="11420"/>
                      </a:moveTo>
                      <a:lnTo>
                        <a:pt x="590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53" name="Google Shape;11261;p65">
                  <a:extLst>
                    <a:ext uri="{FF2B5EF4-FFF2-40B4-BE49-F238E27FC236}">
                      <a16:creationId xmlns:a16="http://schemas.microsoft.com/office/drawing/2014/main" id="{EAC1D34F-0BEF-838F-04AA-36A86147CE06}"/>
                    </a:ext>
                  </a:extLst>
                </p:cNvPr>
                <p:cNvSpPr/>
                <p:nvPr/>
              </p:nvSpPr>
              <p:spPr>
                <a:xfrm>
                  <a:off x="4459671" y="3104231"/>
                  <a:ext cx="58421" cy="8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28" h="10803" fill="none" extrusionOk="0">
                      <a:moveTo>
                        <a:pt x="0" y="10803"/>
                      </a:moveTo>
                      <a:lnTo>
                        <a:pt x="7428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54" name="Google Shape;11262;p65">
                  <a:extLst>
                    <a:ext uri="{FF2B5EF4-FFF2-40B4-BE49-F238E27FC236}">
                      <a16:creationId xmlns:a16="http://schemas.microsoft.com/office/drawing/2014/main" id="{A6F82045-2E24-85E3-7DF1-6E2AC5E18629}"/>
                    </a:ext>
                  </a:extLst>
                </p:cNvPr>
                <p:cNvSpPr/>
                <p:nvPr/>
              </p:nvSpPr>
              <p:spPr>
                <a:xfrm>
                  <a:off x="4459671" y="3189189"/>
                  <a:ext cx="86586" cy="367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4671" fill="none" extrusionOk="0">
                      <a:moveTo>
                        <a:pt x="0" y="1"/>
                      </a:moveTo>
                      <a:lnTo>
                        <a:pt x="11008" y="467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599" name="Google Shape;11263;p65">
                <a:extLst>
                  <a:ext uri="{FF2B5EF4-FFF2-40B4-BE49-F238E27FC236}">
                    <a16:creationId xmlns:a16="http://schemas.microsoft.com/office/drawing/2014/main" id="{D7820099-49B6-9C4A-642B-28674BA4E369}"/>
                  </a:ext>
                </a:extLst>
              </p:cNvPr>
              <p:cNvGrpSpPr/>
              <p:nvPr/>
            </p:nvGrpSpPr>
            <p:grpSpPr>
              <a:xfrm>
                <a:off x="4538164" y="3342061"/>
                <a:ext cx="37776" cy="32380"/>
                <a:chOff x="4538164" y="3342061"/>
                <a:chExt cx="37776" cy="32380"/>
              </a:xfrm>
            </p:grpSpPr>
            <p:sp>
              <p:nvSpPr>
                <p:cNvPr id="2636" name="Google Shape;11264;p65">
                  <a:extLst>
                    <a:ext uri="{FF2B5EF4-FFF2-40B4-BE49-F238E27FC236}">
                      <a16:creationId xmlns:a16="http://schemas.microsoft.com/office/drawing/2014/main" id="{215DD5B4-79CA-61D9-7D19-1A2195B074A0}"/>
                    </a:ext>
                  </a:extLst>
                </p:cNvPr>
                <p:cNvSpPr/>
                <p:nvPr/>
              </p:nvSpPr>
              <p:spPr>
                <a:xfrm>
                  <a:off x="4538164" y="3342061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9"/>
                        <a:pt x="1294" y="608"/>
                      </a:cubicBezTo>
                      <a:cubicBezTo>
                        <a:pt x="0" y="1903"/>
                        <a:pt x="919" y="4116"/>
                        <a:pt x="2746" y="4116"/>
                      </a:cubicBezTo>
                      <a:cubicBezTo>
                        <a:pt x="3883" y="4116"/>
                        <a:pt x="4802" y="3197"/>
                        <a:pt x="4802" y="2060"/>
                      </a:cubicBezTo>
                      <a:cubicBezTo>
                        <a:pt x="4802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37" name="Google Shape;11265;p65">
                  <a:extLst>
                    <a:ext uri="{FF2B5EF4-FFF2-40B4-BE49-F238E27FC236}">
                      <a16:creationId xmlns:a16="http://schemas.microsoft.com/office/drawing/2014/main" id="{CE1712B0-2CB9-AF42-D25E-6FAA5271D4EF}"/>
                    </a:ext>
                  </a:extLst>
                </p:cNvPr>
                <p:cNvSpPr/>
                <p:nvPr/>
              </p:nvSpPr>
              <p:spPr>
                <a:xfrm>
                  <a:off x="455319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0" name="Google Shape;11266;p65">
                <a:extLst>
                  <a:ext uri="{FF2B5EF4-FFF2-40B4-BE49-F238E27FC236}">
                    <a16:creationId xmlns:a16="http://schemas.microsoft.com/office/drawing/2014/main" id="{61653D5B-F6E1-63C2-CF05-87886A1B3F3B}"/>
                  </a:ext>
                </a:extLst>
              </p:cNvPr>
              <p:cNvGrpSpPr/>
              <p:nvPr/>
            </p:nvGrpSpPr>
            <p:grpSpPr>
              <a:xfrm>
                <a:off x="4271383" y="3194742"/>
                <a:ext cx="37783" cy="32420"/>
                <a:chOff x="4271383" y="3194742"/>
                <a:chExt cx="37783" cy="32420"/>
              </a:xfrm>
            </p:grpSpPr>
            <p:sp>
              <p:nvSpPr>
                <p:cNvPr id="2634" name="Google Shape;11267;p65">
                  <a:extLst>
                    <a:ext uri="{FF2B5EF4-FFF2-40B4-BE49-F238E27FC236}">
                      <a16:creationId xmlns:a16="http://schemas.microsoft.com/office/drawing/2014/main" id="{5AB95F13-74DC-804F-006F-5EA48E21B44F}"/>
                    </a:ext>
                  </a:extLst>
                </p:cNvPr>
                <p:cNvSpPr/>
                <p:nvPr/>
              </p:nvSpPr>
              <p:spPr>
                <a:xfrm>
                  <a:off x="4271383" y="3194742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35" name="Google Shape;11268;p65">
                  <a:extLst>
                    <a:ext uri="{FF2B5EF4-FFF2-40B4-BE49-F238E27FC236}">
                      <a16:creationId xmlns:a16="http://schemas.microsoft.com/office/drawing/2014/main" id="{4E86E277-F48C-7079-4C25-E5926836D46F}"/>
                    </a:ext>
                  </a:extLst>
                </p:cNvPr>
                <p:cNvSpPr/>
                <p:nvPr/>
              </p:nvSpPr>
              <p:spPr>
                <a:xfrm>
                  <a:off x="4286516" y="320441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1" name="Google Shape;11269;p65">
                <a:extLst>
                  <a:ext uri="{FF2B5EF4-FFF2-40B4-BE49-F238E27FC236}">
                    <a16:creationId xmlns:a16="http://schemas.microsoft.com/office/drawing/2014/main" id="{35CE3DB9-C007-9670-3C9F-C8DCF58F7974}"/>
                  </a:ext>
                </a:extLst>
              </p:cNvPr>
              <p:cNvGrpSpPr/>
              <p:nvPr/>
            </p:nvGrpSpPr>
            <p:grpSpPr>
              <a:xfrm>
                <a:off x="4284416" y="3084058"/>
                <a:ext cx="37783" cy="32357"/>
                <a:chOff x="4284416" y="3084058"/>
                <a:chExt cx="37783" cy="32357"/>
              </a:xfrm>
            </p:grpSpPr>
            <p:sp>
              <p:nvSpPr>
                <p:cNvPr id="2632" name="Google Shape;11270;p65">
                  <a:extLst>
                    <a:ext uri="{FF2B5EF4-FFF2-40B4-BE49-F238E27FC236}">
                      <a16:creationId xmlns:a16="http://schemas.microsoft.com/office/drawing/2014/main" id="{5CAE3E5F-9DBC-6170-788A-53D8B0CA744B}"/>
                    </a:ext>
                  </a:extLst>
                </p:cNvPr>
                <p:cNvSpPr/>
                <p:nvPr/>
              </p:nvSpPr>
              <p:spPr>
                <a:xfrm>
                  <a:off x="4284416" y="308405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33" name="Google Shape;11271;p65">
                  <a:extLst>
                    <a:ext uri="{FF2B5EF4-FFF2-40B4-BE49-F238E27FC236}">
                      <a16:creationId xmlns:a16="http://schemas.microsoft.com/office/drawing/2014/main" id="{0E7A36A5-A31D-6A66-80E7-2CD9EAC11AA4}"/>
                    </a:ext>
                  </a:extLst>
                </p:cNvPr>
                <p:cNvSpPr/>
                <p:nvPr/>
              </p:nvSpPr>
              <p:spPr>
                <a:xfrm>
                  <a:off x="4299548" y="3093763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4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2" name="Google Shape;11272;p65">
                <a:extLst>
                  <a:ext uri="{FF2B5EF4-FFF2-40B4-BE49-F238E27FC236}">
                    <a16:creationId xmlns:a16="http://schemas.microsoft.com/office/drawing/2014/main" id="{285636B3-FB52-CFF9-9715-0AE7EFC772AD}"/>
                  </a:ext>
                </a:extLst>
              </p:cNvPr>
              <p:cNvGrpSpPr/>
              <p:nvPr/>
            </p:nvGrpSpPr>
            <p:grpSpPr>
              <a:xfrm>
                <a:off x="4478697" y="3297561"/>
                <a:ext cx="37776" cy="32451"/>
                <a:chOff x="4478697" y="3297561"/>
                <a:chExt cx="37776" cy="32451"/>
              </a:xfrm>
            </p:grpSpPr>
            <p:sp>
              <p:nvSpPr>
                <p:cNvPr id="2630" name="Google Shape;11273;p65">
                  <a:extLst>
                    <a:ext uri="{FF2B5EF4-FFF2-40B4-BE49-F238E27FC236}">
                      <a16:creationId xmlns:a16="http://schemas.microsoft.com/office/drawing/2014/main" id="{F1D48A99-6F8C-F1E1-CA82-FF332F787BA0}"/>
                    </a:ext>
                  </a:extLst>
                </p:cNvPr>
                <p:cNvSpPr/>
                <p:nvPr/>
              </p:nvSpPr>
              <p:spPr>
                <a:xfrm>
                  <a:off x="4478697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46" y="4125"/>
                      </a:cubicBezTo>
                      <a:cubicBezTo>
                        <a:pt x="3884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31" name="Google Shape;11274;p65">
                  <a:extLst>
                    <a:ext uri="{FF2B5EF4-FFF2-40B4-BE49-F238E27FC236}">
                      <a16:creationId xmlns:a16="http://schemas.microsoft.com/office/drawing/2014/main" id="{7DE65822-7633-9579-89B3-9C3969944650}"/>
                    </a:ext>
                  </a:extLst>
                </p:cNvPr>
                <p:cNvSpPr/>
                <p:nvPr/>
              </p:nvSpPr>
              <p:spPr>
                <a:xfrm>
                  <a:off x="4493727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2"/>
                        <a:pt x="376" y="1657"/>
                        <a:pt x="835" y="1657"/>
                      </a:cubicBezTo>
                      <a:cubicBezTo>
                        <a:pt x="1295" y="1657"/>
                        <a:pt x="1658" y="1282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3" name="Google Shape;11275;p65">
                <a:extLst>
                  <a:ext uri="{FF2B5EF4-FFF2-40B4-BE49-F238E27FC236}">
                    <a16:creationId xmlns:a16="http://schemas.microsoft.com/office/drawing/2014/main" id="{E4FB7378-B7B2-D6B2-AFED-1EB7E277CCAD}"/>
                  </a:ext>
                </a:extLst>
              </p:cNvPr>
              <p:cNvGrpSpPr/>
              <p:nvPr/>
            </p:nvGrpSpPr>
            <p:grpSpPr>
              <a:xfrm>
                <a:off x="4411813" y="3331711"/>
                <a:ext cx="37776" cy="32451"/>
                <a:chOff x="4411813" y="3331711"/>
                <a:chExt cx="37776" cy="32451"/>
              </a:xfrm>
            </p:grpSpPr>
            <p:sp>
              <p:nvSpPr>
                <p:cNvPr id="2628" name="Google Shape;11276;p65">
                  <a:extLst>
                    <a:ext uri="{FF2B5EF4-FFF2-40B4-BE49-F238E27FC236}">
                      <a16:creationId xmlns:a16="http://schemas.microsoft.com/office/drawing/2014/main" id="{8013AE70-4C76-3AE1-8205-585BB7C5D456}"/>
                    </a:ext>
                  </a:extLst>
                </p:cNvPr>
                <p:cNvSpPr/>
                <p:nvPr/>
              </p:nvSpPr>
              <p:spPr>
                <a:xfrm>
                  <a:off x="4411813" y="333171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3" y="188"/>
                        <a:pt x="1295" y="606"/>
                      </a:cubicBezTo>
                      <a:cubicBezTo>
                        <a:pt x="0" y="1900"/>
                        <a:pt x="920" y="4126"/>
                        <a:pt x="2759" y="4126"/>
                      </a:cubicBezTo>
                      <a:cubicBezTo>
                        <a:pt x="3884" y="4114"/>
                        <a:pt x="4803" y="3194"/>
                        <a:pt x="4803" y="2069"/>
                      </a:cubicBezTo>
                      <a:cubicBezTo>
                        <a:pt x="4803" y="824"/>
                        <a:pt x="3788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29" name="Google Shape;11277;p65">
                  <a:extLst>
                    <a:ext uri="{FF2B5EF4-FFF2-40B4-BE49-F238E27FC236}">
                      <a16:creationId xmlns:a16="http://schemas.microsoft.com/office/drawing/2014/main" id="{F289EEC7-12E2-E665-7C30-DDDBA2C688F6}"/>
                    </a:ext>
                  </a:extLst>
                </p:cNvPr>
                <p:cNvSpPr/>
                <p:nvPr/>
              </p:nvSpPr>
              <p:spPr>
                <a:xfrm>
                  <a:off x="4426937" y="3341416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4" name="Google Shape;11278;p65">
                <a:extLst>
                  <a:ext uri="{FF2B5EF4-FFF2-40B4-BE49-F238E27FC236}">
                    <a16:creationId xmlns:a16="http://schemas.microsoft.com/office/drawing/2014/main" id="{03DED567-8C5B-2CAC-8963-C7B198409134}"/>
                  </a:ext>
                </a:extLst>
              </p:cNvPr>
              <p:cNvGrpSpPr/>
              <p:nvPr/>
            </p:nvGrpSpPr>
            <p:grpSpPr>
              <a:xfrm>
                <a:off x="4337984" y="3375188"/>
                <a:ext cx="37776" cy="32357"/>
                <a:chOff x="4337984" y="3375188"/>
                <a:chExt cx="37776" cy="32357"/>
              </a:xfrm>
            </p:grpSpPr>
            <p:sp>
              <p:nvSpPr>
                <p:cNvPr id="2626" name="Google Shape;11279;p65">
                  <a:extLst>
                    <a:ext uri="{FF2B5EF4-FFF2-40B4-BE49-F238E27FC236}">
                      <a16:creationId xmlns:a16="http://schemas.microsoft.com/office/drawing/2014/main" id="{2E842F7E-40C3-F272-F828-C22E7C9E3DF8}"/>
                    </a:ext>
                  </a:extLst>
                </p:cNvPr>
                <p:cNvSpPr/>
                <p:nvPr/>
              </p:nvSpPr>
              <p:spPr>
                <a:xfrm>
                  <a:off x="4337984" y="3375188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27" name="Google Shape;11280;p65">
                  <a:extLst>
                    <a:ext uri="{FF2B5EF4-FFF2-40B4-BE49-F238E27FC236}">
                      <a16:creationId xmlns:a16="http://schemas.microsoft.com/office/drawing/2014/main" id="{81BC0FE7-3EB8-3CF6-A9DB-C9D165D27EF1}"/>
                    </a:ext>
                  </a:extLst>
                </p:cNvPr>
                <p:cNvSpPr/>
                <p:nvPr/>
              </p:nvSpPr>
              <p:spPr>
                <a:xfrm>
                  <a:off x="4353108" y="3384894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64"/>
                        <a:pt x="1" y="824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5" name="Google Shape;11281;p65">
                <a:extLst>
                  <a:ext uri="{FF2B5EF4-FFF2-40B4-BE49-F238E27FC236}">
                    <a16:creationId xmlns:a16="http://schemas.microsoft.com/office/drawing/2014/main" id="{3B18E119-8868-0B48-B723-E19A949CA874}"/>
                  </a:ext>
                </a:extLst>
              </p:cNvPr>
              <p:cNvGrpSpPr/>
              <p:nvPr/>
            </p:nvGrpSpPr>
            <p:grpSpPr>
              <a:xfrm>
                <a:off x="4494867" y="3090530"/>
                <a:ext cx="37878" cy="32451"/>
                <a:chOff x="4494867" y="3090530"/>
                <a:chExt cx="37878" cy="32451"/>
              </a:xfrm>
            </p:grpSpPr>
            <p:sp>
              <p:nvSpPr>
                <p:cNvPr id="2624" name="Google Shape;11282;p65">
                  <a:extLst>
                    <a:ext uri="{FF2B5EF4-FFF2-40B4-BE49-F238E27FC236}">
                      <a16:creationId xmlns:a16="http://schemas.microsoft.com/office/drawing/2014/main" id="{D5AB37B8-1D89-FB25-E65D-275A181547AC}"/>
                    </a:ext>
                  </a:extLst>
                </p:cNvPr>
                <p:cNvSpPr/>
                <p:nvPr/>
              </p:nvSpPr>
              <p:spPr>
                <a:xfrm>
                  <a:off x="4494867" y="3090530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96" y="4114"/>
                        <a:pt x="4803" y="3194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25" name="Google Shape;11283;p65">
                  <a:extLst>
                    <a:ext uri="{FF2B5EF4-FFF2-40B4-BE49-F238E27FC236}">
                      <a16:creationId xmlns:a16="http://schemas.microsoft.com/office/drawing/2014/main" id="{8FCE9B15-EB5A-6753-6351-AC0369089E3E}"/>
                    </a:ext>
                  </a:extLst>
                </p:cNvPr>
                <p:cNvSpPr/>
                <p:nvPr/>
              </p:nvSpPr>
              <p:spPr>
                <a:xfrm>
                  <a:off x="4510000" y="310023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6" name="Google Shape;11284;p65">
                <a:extLst>
                  <a:ext uri="{FF2B5EF4-FFF2-40B4-BE49-F238E27FC236}">
                    <a16:creationId xmlns:a16="http://schemas.microsoft.com/office/drawing/2014/main" id="{D5DEB9BA-F68D-5B99-B2C9-5BCD34E704C2}"/>
                  </a:ext>
                </a:extLst>
              </p:cNvPr>
              <p:cNvGrpSpPr/>
              <p:nvPr/>
            </p:nvGrpSpPr>
            <p:grpSpPr>
              <a:xfrm>
                <a:off x="4525124" y="3207774"/>
                <a:ext cx="37783" cy="32420"/>
                <a:chOff x="4525124" y="3207774"/>
                <a:chExt cx="37783" cy="32420"/>
              </a:xfrm>
            </p:grpSpPr>
            <p:sp>
              <p:nvSpPr>
                <p:cNvPr id="2622" name="Google Shape;11285;p65">
                  <a:extLst>
                    <a:ext uri="{FF2B5EF4-FFF2-40B4-BE49-F238E27FC236}">
                      <a16:creationId xmlns:a16="http://schemas.microsoft.com/office/drawing/2014/main" id="{1F118F1F-F88F-19B5-AB6C-263FB41F2940}"/>
                    </a:ext>
                  </a:extLst>
                </p:cNvPr>
                <p:cNvSpPr/>
                <p:nvPr/>
              </p:nvSpPr>
              <p:spPr>
                <a:xfrm>
                  <a:off x="4525124" y="3207774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4"/>
                      </a:cubicBezTo>
                      <a:cubicBezTo>
                        <a:pt x="1" y="1908"/>
                        <a:pt x="920" y="4122"/>
                        <a:pt x="2747" y="4122"/>
                      </a:cubicBezTo>
                      <a:cubicBezTo>
                        <a:pt x="3884" y="4122"/>
                        <a:pt x="4803" y="3202"/>
                        <a:pt x="4803" y="2065"/>
                      </a:cubicBezTo>
                      <a:cubicBezTo>
                        <a:pt x="4803" y="823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23" name="Google Shape;11286;p65">
                  <a:extLst>
                    <a:ext uri="{FF2B5EF4-FFF2-40B4-BE49-F238E27FC236}">
                      <a16:creationId xmlns:a16="http://schemas.microsoft.com/office/drawing/2014/main" id="{49361E5A-1123-14AD-A41F-AE70838BC619}"/>
                    </a:ext>
                  </a:extLst>
                </p:cNvPr>
                <p:cNvSpPr/>
                <p:nvPr/>
              </p:nvSpPr>
              <p:spPr>
                <a:xfrm>
                  <a:off x="4540256" y="32174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6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7" name="Google Shape;11287;p65">
                <a:extLst>
                  <a:ext uri="{FF2B5EF4-FFF2-40B4-BE49-F238E27FC236}">
                    <a16:creationId xmlns:a16="http://schemas.microsoft.com/office/drawing/2014/main" id="{C30CA2FF-2CC6-1918-D554-EAF087EC62ED}"/>
                  </a:ext>
                </a:extLst>
              </p:cNvPr>
              <p:cNvGrpSpPr/>
              <p:nvPr/>
            </p:nvGrpSpPr>
            <p:grpSpPr>
              <a:xfrm>
                <a:off x="4440544" y="3176479"/>
                <a:ext cx="31499" cy="26898"/>
                <a:chOff x="4440544" y="3176479"/>
                <a:chExt cx="31499" cy="26898"/>
              </a:xfrm>
            </p:grpSpPr>
            <p:sp>
              <p:nvSpPr>
                <p:cNvPr id="2620" name="Google Shape;11288;p65">
                  <a:extLst>
                    <a:ext uri="{FF2B5EF4-FFF2-40B4-BE49-F238E27FC236}">
                      <a16:creationId xmlns:a16="http://schemas.microsoft.com/office/drawing/2014/main" id="{D7BD7A7C-D44B-EE01-191B-BB793FB8F9CC}"/>
                    </a:ext>
                  </a:extLst>
                </p:cNvPr>
                <p:cNvSpPr/>
                <p:nvPr/>
              </p:nvSpPr>
              <p:spPr>
                <a:xfrm>
                  <a:off x="4440544" y="3176479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1" y="0"/>
                      </a:moveTo>
                      <a:cubicBezTo>
                        <a:pt x="1860" y="0"/>
                        <a:pt x="1429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2"/>
                        <a:pt x="3163" y="0"/>
                        <a:pt x="228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21" name="Google Shape;11289;p65">
                  <a:extLst>
                    <a:ext uri="{FF2B5EF4-FFF2-40B4-BE49-F238E27FC236}">
                      <a16:creationId xmlns:a16="http://schemas.microsoft.com/office/drawing/2014/main" id="{B934E21E-2952-E637-0A93-FED8C254B732}"/>
                    </a:ext>
                  </a:extLst>
                </p:cNvPr>
                <p:cNvSpPr/>
                <p:nvPr/>
              </p:nvSpPr>
              <p:spPr>
                <a:xfrm>
                  <a:off x="4454724" y="3186145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8" name="Google Shape;11290;p65">
                <a:extLst>
                  <a:ext uri="{FF2B5EF4-FFF2-40B4-BE49-F238E27FC236}">
                    <a16:creationId xmlns:a16="http://schemas.microsoft.com/office/drawing/2014/main" id="{80553D59-9277-D984-55DF-E3B2D1AE7C63}"/>
                  </a:ext>
                </a:extLst>
              </p:cNvPr>
              <p:cNvGrpSpPr/>
              <p:nvPr/>
            </p:nvGrpSpPr>
            <p:grpSpPr>
              <a:xfrm>
                <a:off x="4350545" y="3156400"/>
                <a:ext cx="31405" cy="27001"/>
                <a:chOff x="4350545" y="3156400"/>
                <a:chExt cx="31405" cy="27001"/>
              </a:xfrm>
            </p:grpSpPr>
            <p:sp>
              <p:nvSpPr>
                <p:cNvPr id="2618" name="Google Shape;11291;p65">
                  <a:extLst>
                    <a:ext uri="{FF2B5EF4-FFF2-40B4-BE49-F238E27FC236}">
                      <a16:creationId xmlns:a16="http://schemas.microsoft.com/office/drawing/2014/main" id="{982AB9A9-5802-8E0F-CE68-8EF4D0F9655B}"/>
                    </a:ext>
                  </a:extLst>
                </p:cNvPr>
                <p:cNvSpPr/>
                <p:nvPr/>
              </p:nvSpPr>
              <p:spPr>
                <a:xfrm>
                  <a:off x="4350545" y="3156400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19" name="Google Shape;11292;p65">
                  <a:extLst>
                    <a:ext uri="{FF2B5EF4-FFF2-40B4-BE49-F238E27FC236}">
                      <a16:creationId xmlns:a16="http://schemas.microsoft.com/office/drawing/2014/main" id="{B342F73E-CA7B-39FD-8D86-001EE847CE68}"/>
                    </a:ext>
                  </a:extLst>
                </p:cNvPr>
                <p:cNvSpPr/>
                <p:nvPr/>
              </p:nvSpPr>
              <p:spPr>
                <a:xfrm>
                  <a:off x="4364717" y="3166074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09" name="Google Shape;11293;p65">
                <a:extLst>
                  <a:ext uri="{FF2B5EF4-FFF2-40B4-BE49-F238E27FC236}">
                    <a16:creationId xmlns:a16="http://schemas.microsoft.com/office/drawing/2014/main" id="{19EA5F23-E784-E2AC-BBB4-EAD0DE7EC16B}"/>
                  </a:ext>
                </a:extLst>
              </p:cNvPr>
              <p:cNvGrpSpPr/>
              <p:nvPr/>
            </p:nvGrpSpPr>
            <p:grpSpPr>
              <a:xfrm>
                <a:off x="4376703" y="3255058"/>
                <a:ext cx="31405" cy="27001"/>
                <a:chOff x="4376703" y="3255058"/>
                <a:chExt cx="31405" cy="27001"/>
              </a:xfrm>
            </p:grpSpPr>
            <p:sp>
              <p:nvSpPr>
                <p:cNvPr id="2616" name="Google Shape;11294;p65">
                  <a:extLst>
                    <a:ext uri="{FF2B5EF4-FFF2-40B4-BE49-F238E27FC236}">
                      <a16:creationId xmlns:a16="http://schemas.microsoft.com/office/drawing/2014/main" id="{DDE47C70-03EA-0B95-C503-AC14E76EB382}"/>
                    </a:ext>
                  </a:extLst>
                </p:cNvPr>
                <p:cNvSpPr/>
                <p:nvPr/>
              </p:nvSpPr>
              <p:spPr>
                <a:xfrm>
                  <a:off x="4376703" y="325505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17" name="Google Shape;11295;p65">
                  <a:extLst>
                    <a:ext uri="{FF2B5EF4-FFF2-40B4-BE49-F238E27FC236}">
                      <a16:creationId xmlns:a16="http://schemas.microsoft.com/office/drawing/2014/main" id="{D34F1157-CAD9-65D2-4647-EA1C8713DFFD}"/>
                    </a:ext>
                  </a:extLst>
                </p:cNvPr>
                <p:cNvSpPr/>
                <p:nvPr/>
              </p:nvSpPr>
              <p:spPr>
                <a:xfrm>
                  <a:off x="4390884" y="3264732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10" name="Google Shape;11296;p65">
                <a:extLst>
                  <a:ext uri="{FF2B5EF4-FFF2-40B4-BE49-F238E27FC236}">
                    <a16:creationId xmlns:a16="http://schemas.microsoft.com/office/drawing/2014/main" id="{997569EB-5070-59CA-5DBF-2F7D7F14876A}"/>
                  </a:ext>
                </a:extLst>
              </p:cNvPr>
              <p:cNvGrpSpPr/>
              <p:nvPr/>
            </p:nvGrpSpPr>
            <p:grpSpPr>
              <a:xfrm>
                <a:off x="4331322" y="3283656"/>
                <a:ext cx="31405" cy="26945"/>
                <a:chOff x="4331322" y="3283656"/>
                <a:chExt cx="31405" cy="26945"/>
              </a:xfrm>
            </p:grpSpPr>
            <p:sp>
              <p:nvSpPr>
                <p:cNvPr id="2614" name="Google Shape;11297;p65">
                  <a:extLst>
                    <a:ext uri="{FF2B5EF4-FFF2-40B4-BE49-F238E27FC236}">
                      <a16:creationId xmlns:a16="http://schemas.microsoft.com/office/drawing/2014/main" id="{C0B80E1C-0730-6038-17A9-296499EA142E}"/>
                    </a:ext>
                  </a:extLst>
                </p:cNvPr>
                <p:cNvSpPr/>
                <p:nvPr/>
              </p:nvSpPr>
              <p:spPr>
                <a:xfrm>
                  <a:off x="4331322" y="3283656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3" y="1"/>
                        <a:pt x="1425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20"/>
                      </a:cubicBezTo>
                      <a:cubicBezTo>
                        <a:pt x="3993" y="689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15" name="Google Shape;11298;p65">
                  <a:extLst>
                    <a:ext uri="{FF2B5EF4-FFF2-40B4-BE49-F238E27FC236}">
                      <a16:creationId xmlns:a16="http://schemas.microsoft.com/office/drawing/2014/main" id="{00DBC084-ACB0-4CE4-D920-F548C4FC28DC}"/>
                    </a:ext>
                  </a:extLst>
                </p:cNvPr>
                <p:cNvSpPr/>
                <p:nvPr/>
              </p:nvSpPr>
              <p:spPr>
                <a:xfrm>
                  <a:off x="4345503" y="3293274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63"/>
                        <a:pt x="218" y="969"/>
                        <a:pt x="484" y="969"/>
                      </a:cubicBezTo>
                      <a:cubicBezTo>
                        <a:pt x="750" y="969"/>
                        <a:pt x="968" y="763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611" name="Google Shape;11299;p65">
                <a:extLst>
                  <a:ext uri="{FF2B5EF4-FFF2-40B4-BE49-F238E27FC236}">
                    <a16:creationId xmlns:a16="http://schemas.microsoft.com/office/drawing/2014/main" id="{B0AF53D7-A102-FBCA-C7F1-081BED2E0E22}"/>
                  </a:ext>
                </a:extLst>
              </p:cNvPr>
              <p:cNvGrpSpPr/>
              <p:nvPr/>
            </p:nvGrpSpPr>
            <p:grpSpPr>
              <a:xfrm>
                <a:off x="4380510" y="3065882"/>
                <a:ext cx="31405" cy="26938"/>
                <a:chOff x="4380510" y="3065882"/>
                <a:chExt cx="31405" cy="26938"/>
              </a:xfrm>
            </p:grpSpPr>
            <p:sp>
              <p:nvSpPr>
                <p:cNvPr id="2612" name="Google Shape;11300;p65">
                  <a:extLst>
                    <a:ext uri="{FF2B5EF4-FFF2-40B4-BE49-F238E27FC236}">
                      <a16:creationId xmlns:a16="http://schemas.microsoft.com/office/drawing/2014/main" id="{42FC527F-9F11-839D-2081-12229D4132B0}"/>
                    </a:ext>
                  </a:extLst>
                </p:cNvPr>
                <p:cNvSpPr/>
                <p:nvPr/>
              </p:nvSpPr>
              <p:spPr>
                <a:xfrm>
                  <a:off x="4380510" y="3065882"/>
                  <a:ext cx="31405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5" extrusionOk="0">
                      <a:moveTo>
                        <a:pt x="2273" y="0"/>
                      </a:moveTo>
                      <a:cubicBezTo>
                        <a:pt x="1853" y="0"/>
                        <a:pt x="1426" y="157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0" y="3425"/>
                        <a:pt x="3993" y="2663"/>
                        <a:pt x="3993" y="1719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613" name="Google Shape;11301;p65">
                  <a:extLst>
                    <a:ext uri="{FF2B5EF4-FFF2-40B4-BE49-F238E27FC236}">
                      <a16:creationId xmlns:a16="http://schemas.microsoft.com/office/drawing/2014/main" id="{CCF082DA-182A-40EF-5B04-BBD404621074}"/>
                    </a:ext>
                  </a:extLst>
                </p:cNvPr>
                <p:cNvSpPr/>
                <p:nvPr/>
              </p:nvSpPr>
              <p:spPr>
                <a:xfrm>
                  <a:off x="4393354" y="3075500"/>
                  <a:ext cx="8950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6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35"/>
                      </a:cubicBezTo>
                      <a:cubicBezTo>
                        <a:pt x="401" y="932"/>
                        <a:pt x="522" y="976"/>
                        <a:pt x="641" y="976"/>
                      </a:cubicBezTo>
                      <a:cubicBezTo>
                        <a:pt x="893" y="976"/>
                        <a:pt x="1138" y="783"/>
                        <a:pt x="1138" y="496"/>
                      </a:cubicBezTo>
                      <a:cubicBezTo>
                        <a:pt x="1138" y="218"/>
                        <a:pt x="920" y="12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982" name="Google Shape;11302;p65">
              <a:extLst>
                <a:ext uri="{FF2B5EF4-FFF2-40B4-BE49-F238E27FC236}">
                  <a16:creationId xmlns:a16="http://schemas.microsoft.com/office/drawing/2014/main" id="{03FCF914-0B0C-8E68-E030-B3C8BB1D5ECF}"/>
                </a:ext>
              </a:extLst>
            </p:cNvPr>
            <p:cNvGrpSpPr/>
            <p:nvPr/>
          </p:nvGrpSpPr>
          <p:grpSpPr>
            <a:xfrm>
              <a:off x="4558998" y="3188237"/>
              <a:ext cx="1280131" cy="1052746"/>
              <a:chOff x="4558998" y="3188237"/>
              <a:chExt cx="1280131" cy="1052746"/>
            </a:xfrm>
          </p:grpSpPr>
          <p:sp>
            <p:nvSpPr>
              <p:cNvPr id="2178" name="Google Shape;11303;p65">
                <a:extLst>
                  <a:ext uri="{FF2B5EF4-FFF2-40B4-BE49-F238E27FC236}">
                    <a16:creationId xmlns:a16="http://schemas.microsoft.com/office/drawing/2014/main" id="{92FAEFAE-BEB9-5473-DF57-8AAFB455DA87}"/>
                  </a:ext>
                </a:extLst>
              </p:cNvPr>
              <p:cNvSpPr/>
              <p:nvPr/>
            </p:nvSpPr>
            <p:spPr>
              <a:xfrm>
                <a:off x="4916156" y="3750813"/>
                <a:ext cx="8" cy="8"/>
              </a:xfrm>
              <a:custGeom>
                <a:avLst/>
                <a:gdLst/>
                <a:ahLst/>
                <a:cxnLst/>
                <a:rect l="l" t="t" r="r" b="b"/>
                <a:pathLst>
                  <a:path w="1" h="1" fill="none" extrusionOk="0">
                    <a:moveTo>
                      <a:pt x="0" y="0"/>
                    </a:moveTo>
                    <a:close/>
                  </a:path>
                </a:pathLst>
              </a:custGeom>
              <a:noFill/>
              <a:ln w="1825" cap="flat" cmpd="sng">
                <a:solidFill>
                  <a:srgbClr val="A5B7C5"/>
                </a:solidFill>
                <a:prstDash val="solid"/>
                <a:miter lim="12096"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2179" name="Google Shape;11304;p65">
                <a:extLst>
                  <a:ext uri="{FF2B5EF4-FFF2-40B4-BE49-F238E27FC236}">
                    <a16:creationId xmlns:a16="http://schemas.microsoft.com/office/drawing/2014/main" id="{78917A71-7A66-8EC2-808C-E625F9BF3572}"/>
                  </a:ext>
                </a:extLst>
              </p:cNvPr>
              <p:cNvGrpSpPr/>
              <p:nvPr/>
            </p:nvGrpSpPr>
            <p:grpSpPr>
              <a:xfrm>
                <a:off x="4579164" y="3203653"/>
                <a:ext cx="1244833" cy="1020397"/>
                <a:chOff x="4579164" y="3203653"/>
                <a:chExt cx="1244833" cy="1020397"/>
              </a:xfrm>
            </p:grpSpPr>
            <p:sp>
              <p:nvSpPr>
                <p:cNvPr id="2497" name="Google Shape;11305;p65">
                  <a:extLst>
                    <a:ext uri="{FF2B5EF4-FFF2-40B4-BE49-F238E27FC236}">
                      <a16:creationId xmlns:a16="http://schemas.microsoft.com/office/drawing/2014/main" id="{943F71CC-27A0-6532-530A-4292F4B46CA5}"/>
                    </a:ext>
                  </a:extLst>
                </p:cNvPr>
                <p:cNvSpPr/>
                <p:nvPr/>
              </p:nvSpPr>
              <p:spPr>
                <a:xfrm>
                  <a:off x="5490144" y="3482892"/>
                  <a:ext cx="58995" cy="4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01" h="630" fill="none" extrusionOk="0">
                      <a:moveTo>
                        <a:pt x="0" y="630"/>
                      </a:moveTo>
                      <a:lnTo>
                        <a:pt x="750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98" name="Google Shape;11306;p65">
                  <a:extLst>
                    <a:ext uri="{FF2B5EF4-FFF2-40B4-BE49-F238E27FC236}">
                      <a16:creationId xmlns:a16="http://schemas.microsoft.com/office/drawing/2014/main" id="{4FA40B02-F7A4-E074-ADC5-3819BE98C9E8}"/>
                    </a:ext>
                  </a:extLst>
                </p:cNvPr>
                <p:cNvSpPr/>
                <p:nvPr/>
              </p:nvSpPr>
              <p:spPr>
                <a:xfrm>
                  <a:off x="5490616" y="3482892"/>
                  <a:ext cx="66137" cy="773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09" h="9836" fill="none" extrusionOk="0">
                      <a:moveTo>
                        <a:pt x="1" y="1"/>
                      </a:moveTo>
                      <a:lnTo>
                        <a:pt x="8408" y="98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grpSp>
              <p:nvGrpSpPr>
                <p:cNvPr id="2499" name="Google Shape;11307;p65">
                  <a:extLst>
                    <a:ext uri="{FF2B5EF4-FFF2-40B4-BE49-F238E27FC236}">
                      <a16:creationId xmlns:a16="http://schemas.microsoft.com/office/drawing/2014/main" id="{7B8F765A-700A-3FC4-3FFE-D55C3841CB1C}"/>
                    </a:ext>
                  </a:extLst>
                </p:cNvPr>
                <p:cNvGrpSpPr/>
                <p:nvPr/>
              </p:nvGrpSpPr>
              <p:grpSpPr>
                <a:xfrm>
                  <a:off x="4579164" y="3203653"/>
                  <a:ext cx="1244833" cy="1020397"/>
                  <a:chOff x="4579164" y="3203653"/>
                  <a:chExt cx="1244833" cy="1020397"/>
                </a:xfrm>
              </p:grpSpPr>
              <p:sp>
                <p:nvSpPr>
                  <p:cNvPr id="2500" name="Google Shape;11308;p65">
                    <a:extLst>
                      <a:ext uri="{FF2B5EF4-FFF2-40B4-BE49-F238E27FC236}">
                        <a16:creationId xmlns:a16="http://schemas.microsoft.com/office/drawing/2014/main" id="{BB413271-A9DA-6617-EA90-6862519E1773}"/>
                      </a:ext>
                    </a:extLst>
                  </p:cNvPr>
                  <p:cNvSpPr/>
                  <p:nvPr/>
                </p:nvSpPr>
                <p:spPr>
                  <a:xfrm>
                    <a:off x="4787909" y="3833395"/>
                    <a:ext cx="69267" cy="222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07" h="2831" fill="none" extrusionOk="0">
                        <a:moveTo>
                          <a:pt x="8806" y="0"/>
                        </a:moveTo>
                        <a:lnTo>
                          <a:pt x="0" y="2831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 marL="0" marR="0" lvl="0" indent="0" algn="l" defTabSz="1219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sz="1865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/>
                      <a:sym typeface="Arial" panose="020B0604020202020204"/>
                    </a:endParaRPr>
                  </a:p>
                </p:txBody>
              </p:sp>
              <p:sp>
                <p:nvSpPr>
                  <p:cNvPr id="2501" name="Google Shape;11309;p65">
                    <a:extLst>
                      <a:ext uri="{FF2B5EF4-FFF2-40B4-BE49-F238E27FC236}">
                        <a16:creationId xmlns:a16="http://schemas.microsoft.com/office/drawing/2014/main" id="{6D76D343-A873-2698-FC5C-A7B43ABCC588}"/>
                      </a:ext>
                    </a:extLst>
                  </p:cNvPr>
                  <p:cNvSpPr/>
                  <p:nvPr/>
                </p:nvSpPr>
                <p:spPr>
                  <a:xfrm>
                    <a:off x="4857263" y="3819695"/>
                    <a:ext cx="69936" cy="141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892" h="1803" fill="none" extrusionOk="0">
                        <a:moveTo>
                          <a:pt x="1" y="1803"/>
                        </a:moveTo>
                        <a:lnTo>
                          <a:pt x="8892" y="0"/>
                        </a:lnTo>
                      </a:path>
                    </a:pathLst>
                  </a:custGeom>
                  <a:noFill/>
                  <a:ln w="1825" cap="flat" cmpd="sng">
                    <a:solidFill>
                      <a:srgbClr val="A5B7C5"/>
                    </a:solidFill>
                    <a:prstDash val="solid"/>
                    <a:miter lim="12096"/>
                    <a:headEnd type="none" w="sm" len="sm"/>
                    <a:tailEnd type="none" w="sm" len="sm"/>
                  </a:ln>
                </p:spPr>
                <p:txBody>
                  <a:bodyPr spcFirstLastPara="1" wrap="square" lIns="121900" tIns="121900" rIns="121900" bIns="121900" anchor="ctr" anchorCtr="0">
                    <a:noAutofit/>
                  </a:bodyPr>
                  <a:lstStyle/>
                  <a:p>
                    <a:pPr marL="0" marR="0" lvl="0" indent="0" algn="l" defTabSz="1219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Tx/>
                      <a:buNone/>
                      <a:tabLst/>
                      <a:defRPr/>
                    </a:pPr>
                    <a:endParaRPr kumimoji="0" sz="1865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anose="020B0604020202020204"/>
                      <a:sym typeface="Arial" panose="020B0604020202020204"/>
                    </a:endParaRPr>
                  </a:p>
                </p:txBody>
              </p:sp>
              <p:grpSp>
                <p:nvGrpSpPr>
                  <p:cNvPr id="2502" name="Google Shape;11310;p65">
                    <a:extLst>
                      <a:ext uri="{FF2B5EF4-FFF2-40B4-BE49-F238E27FC236}">
                        <a16:creationId xmlns:a16="http://schemas.microsoft.com/office/drawing/2014/main" id="{B62768DA-3205-D7D9-9D71-231D03E60D6A}"/>
                      </a:ext>
                    </a:extLst>
                  </p:cNvPr>
                  <p:cNvGrpSpPr/>
                  <p:nvPr/>
                </p:nvGrpSpPr>
                <p:grpSpPr>
                  <a:xfrm>
                    <a:off x="4579164" y="3203653"/>
                    <a:ext cx="1244833" cy="1020397"/>
                    <a:chOff x="4579164" y="3203653"/>
                    <a:chExt cx="1244833" cy="1020397"/>
                  </a:xfrm>
                </p:grpSpPr>
                <p:sp>
                  <p:nvSpPr>
                    <p:cNvPr id="2503" name="Google Shape;11311;p65">
                      <a:extLst>
                        <a:ext uri="{FF2B5EF4-FFF2-40B4-BE49-F238E27FC236}">
                          <a16:creationId xmlns:a16="http://schemas.microsoft.com/office/drawing/2014/main" id="{E0DBFBAD-3C1C-3547-5E9F-0254388BF8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30329" y="3363965"/>
                      <a:ext cx="23894" cy="1027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38" h="13066" fill="none" extrusionOk="0">
                          <a:moveTo>
                            <a:pt x="3037" y="13065"/>
                          </a:moveTo>
                          <a:lnTo>
                            <a:pt x="1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2504" name="Google Shape;11312;p65">
                      <a:extLst>
                        <a:ext uri="{FF2B5EF4-FFF2-40B4-BE49-F238E27FC236}">
                          <a16:creationId xmlns:a16="http://schemas.microsoft.com/office/drawing/2014/main" id="{847A7C08-7113-97B8-6D8F-7BD0CF259C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49846" y="3385948"/>
                      <a:ext cx="104085" cy="792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234" h="10077" fill="none" extrusionOk="0">
                          <a:moveTo>
                            <a:pt x="0" y="0"/>
                          </a:moveTo>
                          <a:lnTo>
                            <a:pt x="13234" y="10077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2505" name="Google Shape;11313;p65">
                      <a:extLst>
                        <a:ext uri="{FF2B5EF4-FFF2-40B4-BE49-F238E27FC236}">
                          <a16:creationId xmlns:a16="http://schemas.microsoft.com/office/drawing/2014/main" id="{A7BDCECC-95AE-353B-C022-FE7FDFB51F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49650" y="3306598"/>
                      <a:ext cx="45869" cy="7935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832" h="10090" fill="none" extrusionOk="0">
                          <a:moveTo>
                            <a:pt x="5831" y="0"/>
                          </a:moveTo>
                          <a:lnTo>
                            <a:pt x="1" y="10089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2506" name="Google Shape;11314;p65">
                      <a:extLst>
                        <a:ext uri="{FF2B5EF4-FFF2-40B4-BE49-F238E27FC236}">
                          <a16:creationId xmlns:a16="http://schemas.microsoft.com/office/drawing/2014/main" id="{F1EB8587-6358-CBDA-E4E9-0BA01188DA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49650" y="3361299"/>
                      <a:ext cx="84305" cy="246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719" h="3135" fill="none" extrusionOk="0">
                          <a:moveTo>
                            <a:pt x="1" y="3134"/>
                          </a:moveTo>
                          <a:lnTo>
                            <a:pt x="10719" y="1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2507" name="Google Shape;11315;p65">
                      <a:extLst>
                        <a:ext uri="{FF2B5EF4-FFF2-40B4-BE49-F238E27FC236}">
                          <a16:creationId xmlns:a16="http://schemas.microsoft.com/office/drawing/2014/main" id="{173FF0DD-4174-C1B0-B949-1FB51F4FA8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89616" y="3306598"/>
                      <a:ext cx="19702" cy="547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05" h="6956" fill="none" extrusionOk="0">
                          <a:moveTo>
                            <a:pt x="2505" y="6956"/>
                          </a:move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2508" name="Google Shape;11316;p65">
                      <a:extLst>
                        <a:ext uri="{FF2B5EF4-FFF2-40B4-BE49-F238E27FC236}">
                          <a16:creationId xmlns:a16="http://schemas.microsoft.com/office/drawing/2014/main" id="{BB27EFE8-5C62-39F3-B47D-01EF2A28F3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8242" y="3357500"/>
                      <a:ext cx="74883" cy="1028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9521" h="1307" fill="none" extrusionOk="0">
                          <a:moveTo>
                            <a:pt x="1" y="1307"/>
                          </a:moveTo>
                          <a:lnTo>
                            <a:pt x="9521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2509" name="Google Shape;11317;p65">
                      <a:extLst>
                        <a:ext uri="{FF2B5EF4-FFF2-40B4-BE49-F238E27FC236}">
                          <a16:creationId xmlns:a16="http://schemas.microsoft.com/office/drawing/2014/main" id="{3832E1C5-C048-94A5-4544-9793286EE4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10274" y="3357500"/>
                      <a:ext cx="99044" cy="6355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593" h="8081" fill="none" extrusionOk="0">
                          <a:moveTo>
                            <a:pt x="0" y="8081"/>
                          </a:moveTo>
                          <a:lnTo>
                            <a:pt x="12593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sp>
                  <p:nvSpPr>
                    <p:cNvPr id="2510" name="Google Shape;11318;p65">
                      <a:extLst>
                        <a:ext uri="{FF2B5EF4-FFF2-40B4-BE49-F238E27FC236}">
                          <a16:creationId xmlns:a16="http://schemas.microsoft.com/office/drawing/2014/main" id="{83FA61EC-9A84-83C1-342C-B1434C9728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09310" y="3306598"/>
                      <a:ext cx="87443" cy="5091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118" h="6473" fill="none" extrusionOk="0">
                          <a:moveTo>
                            <a:pt x="1" y="6472"/>
                          </a:moveTo>
                          <a:lnTo>
                            <a:pt x="11118" y="0"/>
                          </a:lnTo>
                        </a:path>
                      </a:pathLst>
                    </a:custGeom>
                    <a:noFill/>
                    <a:ln w="1825" cap="flat" cmpd="sng">
                      <a:solidFill>
                        <a:srgbClr val="A5B7C5"/>
                      </a:solidFill>
                      <a:prstDash val="solid"/>
                      <a:miter lim="12096"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21900" tIns="121900" rIns="121900" bIns="121900" anchor="ctr" anchorCtr="0">
                      <a:noAutofit/>
                    </a:bodyPr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sz="1865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p:txBody>
                </p:sp>
                <p:grpSp>
                  <p:nvGrpSpPr>
                    <p:cNvPr id="2511" name="Google Shape;11319;p65">
                      <a:extLst>
                        <a:ext uri="{FF2B5EF4-FFF2-40B4-BE49-F238E27FC236}">
                          <a16:creationId xmlns:a16="http://schemas.microsoft.com/office/drawing/2014/main" id="{1DA1AE7C-F856-3A62-0622-A69BBA54199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579164" y="3203653"/>
                      <a:ext cx="1244833" cy="1020397"/>
                      <a:chOff x="4579164" y="3203653"/>
                      <a:chExt cx="1244833" cy="1020397"/>
                    </a:xfrm>
                  </p:grpSpPr>
                  <p:sp>
                    <p:nvSpPr>
                      <p:cNvPr id="2512" name="Google Shape;11320;p65">
                        <a:extLst>
                          <a:ext uri="{FF2B5EF4-FFF2-40B4-BE49-F238E27FC236}">
                            <a16:creationId xmlns:a16="http://schemas.microsoft.com/office/drawing/2014/main" id="{04F43F46-ABBC-6F91-572A-9F9981FE09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17986" y="3614284"/>
                        <a:ext cx="53002" cy="210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739" h="2674" fill="none" extrusionOk="0">
                            <a:moveTo>
                              <a:pt x="0" y="0"/>
                            </a:moveTo>
                            <a:lnTo>
                              <a:pt x="6738" y="267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13" name="Google Shape;11321;p65">
                        <a:extLst>
                          <a:ext uri="{FF2B5EF4-FFF2-40B4-BE49-F238E27FC236}">
                            <a16:creationId xmlns:a16="http://schemas.microsoft.com/office/drawing/2014/main" id="{E17EFBA2-8434-2BA0-8F67-65CE427844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24545" y="3589069"/>
                        <a:ext cx="43682" cy="631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54" h="8033" fill="none" extrusionOk="0">
                            <a:moveTo>
                              <a:pt x="1" y="8033"/>
                            </a:moveTo>
                            <a:lnTo>
                              <a:pt x="5553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14" name="Google Shape;11322;p65">
                        <a:extLst>
                          <a:ext uri="{FF2B5EF4-FFF2-40B4-BE49-F238E27FC236}">
                            <a16:creationId xmlns:a16="http://schemas.microsoft.com/office/drawing/2014/main" id="{CC5DE9F7-DF8B-044A-C5F6-788C93AAAD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68220" y="3517907"/>
                        <a:ext cx="112178" cy="711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63" h="9049" fill="none" extrusionOk="0">
                            <a:moveTo>
                              <a:pt x="0" y="9049"/>
                            </a:moveTo>
                            <a:lnTo>
                              <a:pt x="14262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15" name="Google Shape;11323;p65">
                        <a:extLst>
                          <a:ext uri="{FF2B5EF4-FFF2-40B4-BE49-F238E27FC236}">
                            <a16:creationId xmlns:a16="http://schemas.microsoft.com/office/drawing/2014/main" id="{E3BD1379-45DD-30D3-36E7-F1FFC53324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06562" y="3516766"/>
                        <a:ext cx="77455" cy="799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848" h="10162" fill="none" extrusionOk="0">
                            <a:moveTo>
                              <a:pt x="0" y="10161"/>
                            </a:moveTo>
                            <a:lnTo>
                              <a:pt x="9847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16" name="Google Shape;11324;p65">
                        <a:extLst>
                          <a:ext uri="{FF2B5EF4-FFF2-40B4-BE49-F238E27FC236}">
                            <a16:creationId xmlns:a16="http://schemas.microsoft.com/office/drawing/2014/main" id="{1947C5AF-A3BF-760E-8004-56E23E5800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63646" y="3516766"/>
                        <a:ext cx="20370" cy="528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90" h="6714" fill="none" extrusionOk="0">
                            <a:moveTo>
                              <a:pt x="0" y="6714"/>
                            </a:moveTo>
                            <a:lnTo>
                              <a:pt x="258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17" name="Google Shape;11325;p65">
                        <a:extLst>
                          <a:ext uri="{FF2B5EF4-FFF2-40B4-BE49-F238E27FC236}">
                            <a16:creationId xmlns:a16="http://schemas.microsoft.com/office/drawing/2014/main" id="{F9FF33A4-EFBC-060E-F3E0-D12014FBE2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83151" y="3520565"/>
                        <a:ext cx="45861" cy="974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31" h="12388" fill="none" extrusionOk="0">
                            <a:moveTo>
                              <a:pt x="5831" y="12388"/>
                            </a:moveTo>
                            <a:lnTo>
                              <a:pt x="0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18" name="Google Shape;11326;p65">
                        <a:extLst>
                          <a:ext uri="{FF2B5EF4-FFF2-40B4-BE49-F238E27FC236}">
                            <a16:creationId xmlns:a16="http://schemas.microsoft.com/office/drawing/2014/main" id="{197A0566-DE1A-2FE9-41AA-0E7045F245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38242" y="3483175"/>
                        <a:ext cx="44917" cy="3739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11" h="4755" fill="none" extrusionOk="0">
                            <a:moveTo>
                              <a:pt x="1" y="1"/>
                            </a:moveTo>
                            <a:lnTo>
                              <a:pt x="5710" y="475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19" name="Google Shape;11327;p65">
                        <a:extLst>
                          <a:ext uri="{FF2B5EF4-FFF2-40B4-BE49-F238E27FC236}">
                            <a16:creationId xmlns:a16="http://schemas.microsoft.com/office/drawing/2014/main" id="{0BD8FD25-CE38-39E9-BE64-0AC7E7CA05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04941" y="3501823"/>
                        <a:ext cx="78217" cy="187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945" h="2384" fill="none" extrusionOk="0">
                            <a:moveTo>
                              <a:pt x="1" y="1"/>
                            </a:moveTo>
                            <a:lnTo>
                              <a:pt x="9944" y="2384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20" name="Google Shape;11328;p65">
                        <a:extLst>
                          <a:ext uri="{FF2B5EF4-FFF2-40B4-BE49-F238E27FC236}">
                            <a16:creationId xmlns:a16="http://schemas.microsoft.com/office/drawing/2014/main" id="{10B5C403-EAB5-69F3-72CB-EF2FB8F2C4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68220" y="3520565"/>
                        <a:ext cx="115796" cy="193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23" h="2457" fill="none" extrusionOk="0">
                            <a:moveTo>
                              <a:pt x="0" y="2457"/>
                            </a:moveTo>
                            <a:lnTo>
                              <a:pt x="14722" y="1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21" name="Google Shape;11329;p65">
                        <a:extLst>
                          <a:ext uri="{FF2B5EF4-FFF2-40B4-BE49-F238E27FC236}">
                            <a16:creationId xmlns:a16="http://schemas.microsoft.com/office/drawing/2014/main" id="{491032F6-E723-9428-05BA-5114DF215E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813117" y="3462915"/>
                        <a:ext cx="40347" cy="511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130" h="6509" fill="none" extrusionOk="0">
                            <a:moveTo>
                              <a:pt x="5130" y="6508"/>
                            </a:moveTo>
                            <a:lnTo>
                              <a:pt x="1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22" name="Google Shape;11330;p65">
                        <a:extLst>
                          <a:ext uri="{FF2B5EF4-FFF2-40B4-BE49-F238E27FC236}">
                            <a16:creationId xmlns:a16="http://schemas.microsoft.com/office/drawing/2014/main" id="{D6372582-DED8-F04F-CF56-243BA7DA91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87807" y="3462915"/>
                        <a:ext cx="25317" cy="550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9" h="6993" fill="none" extrusionOk="0">
                            <a:moveTo>
                              <a:pt x="1" y="6992"/>
                            </a:moveTo>
                            <a:lnTo>
                              <a:pt x="3219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23" name="Google Shape;11331;p65">
                        <a:extLst>
                          <a:ext uri="{FF2B5EF4-FFF2-40B4-BE49-F238E27FC236}">
                            <a16:creationId xmlns:a16="http://schemas.microsoft.com/office/drawing/2014/main" id="{BC0CDE21-AA78-B516-1186-17709B3755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81342" y="3514100"/>
                        <a:ext cx="72311" cy="69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194" h="884" fill="none" extrusionOk="0">
                            <a:moveTo>
                              <a:pt x="0" y="883"/>
                            </a:moveTo>
                            <a:lnTo>
                              <a:pt x="9194" y="0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24" name="Google Shape;11332;p65">
                        <a:extLst>
                          <a:ext uri="{FF2B5EF4-FFF2-40B4-BE49-F238E27FC236}">
                            <a16:creationId xmlns:a16="http://schemas.microsoft.com/office/drawing/2014/main" id="{C4CA4C7F-5C37-51B6-6157-25D5F7E41D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853645" y="3514100"/>
                        <a:ext cx="26175" cy="5918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28" h="7525" fill="none" extrusionOk="0">
                            <a:moveTo>
                              <a:pt x="1" y="0"/>
                            </a:moveTo>
                            <a:lnTo>
                              <a:pt x="3328" y="7525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sp>
                    <p:nvSpPr>
                      <p:cNvPr id="2525" name="Google Shape;11333;p65">
                        <a:extLst>
                          <a:ext uri="{FF2B5EF4-FFF2-40B4-BE49-F238E27FC236}">
                            <a16:creationId xmlns:a16="http://schemas.microsoft.com/office/drawing/2014/main" id="{23F56620-02F8-4A6F-126E-BAC131CCD8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827392" y="3514100"/>
                        <a:ext cx="26261" cy="1003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39" h="12763" fill="none" extrusionOk="0">
                            <a:moveTo>
                              <a:pt x="3339" y="0"/>
                            </a:moveTo>
                            <a:lnTo>
                              <a:pt x="0" y="12762"/>
                            </a:lnTo>
                          </a:path>
                        </a:pathLst>
                      </a:custGeom>
                      <a:noFill/>
                      <a:ln w="1825" cap="flat" cmpd="sng">
                        <a:solidFill>
                          <a:srgbClr val="A5B7C5"/>
                        </a:solidFill>
                        <a:prstDash val="solid"/>
                        <a:miter lim="12096"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21900" tIns="121900" rIns="121900" bIns="121900" anchor="ctr" anchorCtr="0">
                        <a:noAutofit/>
                      </a:bodyPr>
                      <a:lstStyle/>
                      <a:p>
                        <a:pPr marL="0" marR="0" lvl="0" indent="0" algn="l" defTabSz="12192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1865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 panose="020B0604020202020204"/>
                          <a:sym typeface="Arial" panose="020B0604020202020204"/>
                        </a:endParaRPr>
                      </a:p>
                    </p:txBody>
                  </p:sp>
                  <p:grpSp>
                    <p:nvGrpSpPr>
                      <p:cNvPr id="2526" name="Google Shape;11334;p65">
                        <a:extLst>
                          <a:ext uri="{FF2B5EF4-FFF2-40B4-BE49-F238E27FC236}">
                            <a16:creationId xmlns:a16="http://schemas.microsoft.com/office/drawing/2014/main" id="{CB5B75FE-BB40-0F12-3D6A-BDD9C1372A5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4579164" y="3203653"/>
                        <a:ext cx="1244833" cy="1020397"/>
                        <a:chOff x="4579164" y="3203653"/>
                        <a:chExt cx="1244833" cy="1020397"/>
                      </a:xfrm>
                    </p:grpSpPr>
                    <p:sp>
                      <p:nvSpPr>
                        <p:cNvPr id="2527" name="Google Shape;11335;p65">
                          <a:extLst>
                            <a:ext uri="{FF2B5EF4-FFF2-40B4-BE49-F238E27FC236}">
                              <a16:creationId xmlns:a16="http://schemas.microsoft.com/office/drawing/2014/main" id="{26AAAFA6-737F-744F-1739-262C19CA955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79812" y="3466721"/>
                          <a:ext cx="74411" cy="1065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461" h="13549" fill="none" extrusionOk="0">
                              <a:moveTo>
                                <a:pt x="1" y="13549"/>
                              </a:moveTo>
                              <a:lnTo>
                                <a:pt x="946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28" name="Google Shape;11336;p65">
                          <a:extLst>
                            <a:ext uri="{FF2B5EF4-FFF2-40B4-BE49-F238E27FC236}">
                              <a16:creationId xmlns:a16="http://schemas.microsoft.com/office/drawing/2014/main" id="{F01700D3-F7AA-61EC-9A65-8090B0A8C32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54215" y="3408017"/>
                          <a:ext cx="105989" cy="5871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476" h="7465" fill="none" extrusionOk="0">
                              <a:moveTo>
                                <a:pt x="0" y="7464"/>
                              </a:moveTo>
                              <a:lnTo>
                                <a:pt x="13476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29" name="Google Shape;11337;p65">
                          <a:extLst>
                            <a:ext uri="{FF2B5EF4-FFF2-40B4-BE49-F238E27FC236}">
                              <a16:creationId xmlns:a16="http://schemas.microsoft.com/office/drawing/2014/main" id="{AC89185E-DDAC-A959-031C-E68A02A2BC3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53924" y="3465195"/>
                          <a:ext cx="119792" cy="5481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231" h="6969" fill="none" extrusionOk="0">
                              <a:moveTo>
                                <a:pt x="1" y="1"/>
                              </a:moveTo>
                              <a:lnTo>
                                <a:pt x="15231" y="6968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0" name="Google Shape;11338;p65">
                          <a:extLst>
                            <a:ext uri="{FF2B5EF4-FFF2-40B4-BE49-F238E27FC236}">
                              <a16:creationId xmlns:a16="http://schemas.microsoft.com/office/drawing/2014/main" id="{1CB4D76D-D60F-6D14-1C55-88C8FBBF34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73708" y="3521045"/>
                          <a:ext cx="26938" cy="718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25" h="9134" fill="none" extrusionOk="0">
                              <a:moveTo>
                                <a:pt x="1" y="0"/>
                              </a:moveTo>
                              <a:lnTo>
                                <a:pt x="3424" y="913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1" name="Google Shape;11339;p65">
                          <a:extLst>
                            <a:ext uri="{FF2B5EF4-FFF2-40B4-BE49-F238E27FC236}">
                              <a16:creationId xmlns:a16="http://schemas.microsoft.com/office/drawing/2014/main" id="{3702F583-2C32-ED2B-23B4-591651548B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00637" y="3586309"/>
                          <a:ext cx="26741" cy="81167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3400" h="10320" fill="none" extrusionOk="0">
                              <a:moveTo>
                                <a:pt x="3399" y="10319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2" name="Google Shape;11340;p65">
                          <a:extLst>
                            <a:ext uri="{FF2B5EF4-FFF2-40B4-BE49-F238E27FC236}">
                              <a16:creationId xmlns:a16="http://schemas.microsoft.com/office/drawing/2014/main" id="{DD6920F4-ADED-436E-9DD2-9F0E94F0473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88549" y="3252840"/>
                          <a:ext cx="693968" cy="52062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88235" h="66195" fill="none" extrusionOk="0">
                              <a:moveTo>
                                <a:pt x="1" y="63509"/>
                              </a:moveTo>
                              <a:lnTo>
                                <a:pt x="1537" y="42400"/>
                              </a:lnTo>
                              <a:lnTo>
                                <a:pt x="10077" y="22210"/>
                              </a:lnTo>
                              <a:cubicBezTo>
                                <a:pt x="10077" y="22210"/>
                                <a:pt x="14202" y="33218"/>
                                <a:pt x="14202" y="32384"/>
                              </a:cubicBezTo>
                              <a:cubicBezTo>
                                <a:pt x="14202" y="31561"/>
                                <a:pt x="26009" y="8976"/>
                                <a:pt x="26009" y="8976"/>
                              </a:cubicBezTo>
                              <a:lnTo>
                                <a:pt x="33618" y="31077"/>
                              </a:lnTo>
                              <a:lnTo>
                                <a:pt x="15025" y="46779"/>
                              </a:lnTo>
                              <a:lnTo>
                                <a:pt x="36037" y="48944"/>
                              </a:lnTo>
                              <a:lnTo>
                                <a:pt x="27557" y="58863"/>
                              </a:lnTo>
                              <a:lnTo>
                                <a:pt x="40803" y="66194"/>
                              </a:lnTo>
                              <a:lnTo>
                                <a:pt x="43586" y="48448"/>
                              </a:lnTo>
                              <a:lnTo>
                                <a:pt x="51122" y="29734"/>
                              </a:lnTo>
                              <a:lnTo>
                                <a:pt x="49670" y="16694"/>
                              </a:lnTo>
                              <a:lnTo>
                                <a:pt x="65263" y="21376"/>
                              </a:lnTo>
                              <a:lnTo>
                                <a:pt x="68819" y="9448"/>
                              </a:lnTo>
                              <a:lnTo>
                                <a:pt x="66098" y="1"/>
                              </a:lnTo>
                              <a:lnTo>
                                <a:pt x="88235" y="200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3" name="Google Shape;11341;p65">
                          <a:extLst>
                            <a:ext uri="{FF2B5EF4-FFF2-40B4-BE49-F238E27FC236}">
                              <a16:creationId xmlns:a16="http://schemas.microsoft.com/office/drawing/2014/main" id="{0FF27603-C68D-8D71-4940-F6108F6AAC1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60203" y="3203653"/>
                          <a:ext cx="544588" cy="31635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69242" h="40223" fill="none" extrusionOk="0">
                              <a:moveTo>
                                <a:pt x="69242" y="6255"/>
                              </a:moveTo>
                              <a:lnTo>
                                <a:pt x="53274" y="22948"/>
                              </a:lnTo>
                              <a:lnTo>
                                <a:pt x="45532" y="5432"/>
                              </a:lnTo>
                              <a:lnTo>
                                <a:pt x="29613" y="14747"/>
                              </a:lnTo>
                              <a:lnTo>
                                <a:pt x="28790" y="1"/>
                              </a:lnTo>
                              <a:lnTo>
                                <a:pt x="13500" y="28912"/>
                              </a:lnTo>
                              <a:lnTo>
                                <a:pt x="4306" y="13089"/>
                              </a:lnTo>
                              <a:lnTo>
                                <a:pt x="0" y="25984"/>
                              </a:lnTo>
                              <a:lnTo>
                                <a:pt x="1718" y="4022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4" name="Google Shape;11342;p65">
                          <a:extLst>
                            <a:ext uri="{FF2B5EF4-FFF2-40B4-BE49-F238E27FC236}">
                              <a16:creationId xmlns:a16="http://schemas.microsoft.com/office/drawing/2014/main" id="{76007760-A62D-4950-89B3-4D072239CC0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27371" y="3507533"/>
                          <a:ext cx="124739" cy="26783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5860" h="34054" fill="none" extrusionOk="0">
                              <a:moveTo>
                                <a:pt x="9266" y="1"/>
                              </a:moveTo>
                              <a:lnTo>
                                <a:pt x="10101" y="14396"/>
                              </a:lnTo>
                              <a:lnTo>
                                <a:pt x="15859" y="34053"/>
                              </a:lnTo>
                              <a:lnTo>
                                <a:pt x="0" y="19851"/>
                              </a:lnTo>
                              <a:lnTo>
                                <a:pt x="1234" y="33642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5" name="Google Shape;11343;p65">
                          <a:extLst>
                            <a:ext uri="{FF2B5EF4-FFF2-40B4-BE49-F238E27FC236}">
                              <a16:creationId xmlns:a16="http://schemas.microsoft.com/office/drawing/2014/main" id="{BD0E3FE1-1CDD-AE55-009F-FA8F56C2206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00637" y="3507533"/>
                          <a:ext cx="99618" cy="78784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2666" h="10017" fill="none" extrusionOk="0">
                              <a:moveTo>
                                <a:pt x="0" y="10017"/>
                              </a:moveTo>
                              <a:lnTo>
                                <a:pt x="12665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6" name="Google Shape;11344;p65">
                          <a:extLst>
                            <a:ext uri="{FF2B5EF4-FFF2-40B4-BE49-F238E27FC236}">
                              <a16:creationId xmlns:a16="http://schemas.microsoft.com/office/drawing/2014/main" id="{C0B0B44D-9246-0528-F36E-E575E38DC0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00248" y="3501068"/>
                          <a:ext cx="156514" cy="647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900" h="823" fill="none" extrusionOk="0">
                              <a:moveTo>
                                <a:pt x="0" y="823"/>
                              </a:moveTo>
                              <a:lnTo>
                                <a:pt x="19900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7" name="Google Shape;11345;p65">
                          <a:extLst>
                            <a:ext uri="{FF2B5EF4-FFF2-40B4-BE49-F238E27FC236}">
                              <a16:creationId xmlns:a16="http://schemas.microsoft.com/office/drawing/2014/main" id="{608EFEDC-39A1-3F87-4D48-13C722F7F8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27371" y="3507533"/>
                          <a:ext cx="72885" cy="15585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267" h="19816" fill="none" extrusionOk="0">
                              <a:moveTo>
                                <a:pt x="9266" y="1"/>
                              </a:moveTo>
                              <a:lnTo>
                                <a:pt x="0" y="19815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8" name="Google Shape;11346;p65">
                          <a:extLst>
                            <a:ext uri="{FF2B5EF4-FFF2-40B4-BE49-F238E27FC236}">
                              <a16:creationId xmlns:a16="http://schemas.microsoft.com/office/drawing/2014/main" id="{5310E78F-5728-FC18-1625-7E5532813E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2947" y="3384139"/>
                          <a:ext cx="126265" cy="11769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6054" h="14964" fill="none" extrusionOk="0">
                              <a:moveTo>
                                <a:pt x="1" y="14964"/>
                              </a:moveTo>
                              <a:lnTo>
                                <a:pt x="16053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39" name="Google Shape;11347;p65">
                          <a:extLst>
                            <a:ext uri="{FF2B5EF4-FFF2-40B4-BE49-F238E27FC236}">
                              <a16:creationId xmlns:a16="http://schemas.microsoft.com/office/drawing/2014/main" id="{BDCFF5FD-40A4-9B14-0FA8-CBC01FAB7F5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6753" y="3246375"/>
                          <a:ext cx="61567" cy="254700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828" h="32384" fill="none" extrusionOk="0">
                              <a:moveTo>
                                <a:pt x="1" y="32383"/>
                              </a:moveTo>
                              <a:lnTo>
                                <a:pt x="7827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0" name="Google Shape;11348;p65">
                          <a:extLst>
                            <a:ext uri="{FF2B5EF4-FFF2-40B4-BE49-F238E27FC236}">
                              <a16:creationId xmlns:a16="http://schemas.microsoft.com/office/drawing/2014/main" id="{E2D1B230-6C21-8D15-0BC8-A8B13739387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2947" y="3486698"/>
                          <a:ext cx="141483" cy="10571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7989" h="1344" fill="none" extrusionOk="0">
                              <a:moveTo>
                                <a:pt x="1" y="1343"/>
                              </a:moveTo>
                              <a:lnTo>
                                <a:pt x="1798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1" name="Google Shape;11349;p65">
                          <a:extLst>
                            <a:ext uri="{FF2B5EF4-FFF2-40B4-BE49-F238E27FC236}">
                              <a16:creationId xmlns:a16="http://schemas.microsoft.com/office/drawing/2014/main" id="{A4E33CAF-DD04-16C7-A508-50E5B3480E2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3898" y="3501068"/>
                          <a:ext cx="18089" cy="136725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300" h="17384" fill="none" extrusionOk="0">
                              <a:moveTo>
                                <a:pt x="1" y="0"/>
                              </a:moveTo>
                              <a:lnTo>
                                <a:pt x="2299" y="17383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2" name="Google Shape;11350;p65">
                          <a:extLst>
                            <a:ext uri="{FF2B5EF4-FFF2-40B4-BE49-F238E27FC236}">
                              <a16:creationId xmlns:a16="http://schemas.microsoft.com/office/drawing/2014/main" id="{E5F70C76-C1D0-64EA-CACD-F3C7820B9F8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06721" y="3620749"/>
                          <a:ext cx="102379" cy="9886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3017" h="12570" fill="none" extrusionOk="0">
                              <a:moveTo>
                                <a:pt x="0" y="1"/>
                              </a:moveTo>
                              <a:lnTo>
                                <a:pt x="13016" y="12569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3" name="Google Shape;11351;p65">
                          <a:extLst>
                            <a:ext uri="{FF2B5EF4-FFF2-40B4-BE49-F238E27FC236}">
                              <a16:creationId xmlns:a16="http://schemas.microsoft.com/office/drawing/2014/main" id="{68C7194B-7CBA-3768-E032-555F919B2F6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93102" y="3715798"/>
                          <a:ext cx="15997" cy="10123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2034" h="12872" fill="none" extrusionOk="0">
                              <a:moveTo>
                                <a:pt x="2033" y="0"/>
                              </a:moveTo>
                              <a:lnTo>
                                <a:pt x="1" y="1287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4" name="Google Shape;11352;p65">
                          <a:extLst>
                            <a:ext uri="{FF2B5EF4-FFF2-40B4-BE49-F238E27FC236}">
                              <a16:creationId xmlns:a16="http://schemas.microsoft.com/office/drawing/2014/main" id="{47F71A6F-BBD8-7628-C43E-F511FBA8204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27371" y="3659854"/>
                          <a:ext cx="92862" cy="134539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1807" h="17106" fill="none" extrusionOk="0">
                              <a:moveTo>
                                <a:pt x="11807" y="17105"/>
                              </a:moveTo>
                              <a:lnTo>
                                <a:pt x="0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5" name="Google Shape;11353;p65">
                          <a:extLst>
                            <a:ext uri="{FF2B5EF4-FFF2-40B4-BE49-F238E27FC236}">
                              <a16:creationId xmlns:a16="http://schemas.microsoft.com/office/drawing/2014/main" id="{4306BAB5-B2F6-8FD8-580C-013B92E44B9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479203" y="3327149"/>
                          <a:ext cx="150615" cy="56998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9150" h="7247" fill="none" extrusionOk="0">
                              <a:moveTo>
                                <a:pt x="19149" y="0"/>
                              </a:moveTo>
                              <a:lnTo>
                                <a:pt x="0" y="7246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6" name="Google Shape;11354;p65">
                          <a:extLst>
                            <a:ext uri="{FF2B5EF4-FFF2-40B4-BE49-F238E27FC236}">
                              <a16:creationId xmlns:a16="http://schemas.microsoft.com/office/drawing/2014/main" id="{096E33C5-6A1A-3C81-40ED-62F5EA1F80F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71980" y="3633790"/>
                          <a:ext cx="59373" cy="400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7549" h="509" fill="none" extrusionOk="0">
                              <a:moveTo>
                                <a:pt x="0" y="508"/>
                              </a:moveTo>
                              <a:lnTo>
                                <a:pt x="7549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7" name="Google Shape;11355;p65">
                          <a:extLst>
                            <a:ext uri="{FF2B5EF4-FFF2-40B4-BE49-F238E27FC236}">
                              <a16:creationId xmlns:a16="http://schemas.microsoft.com/office/drawing/2014/main" id="{D4C1901D-5268-D060-BE05-52D0E8B0FD1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352947" y="3497261"/>
                          <a:ext cx="78406" cy="1365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9969" h="17360" fill="none" extrusionOk="0">
                              <a:moveTo>
                                <a:pt x="9969" y="17359"/>
                              </a:moveTo>
                              <a:lnTo>
                                <a:pt x="1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8" name="Google Shape;11356;p65">
                          <a:extLst>
                            <a:ext uri="{FF2B5EF4-FFF2-40B4-BE49-F238E27FC236}">
                              <a16:creationId xmlns:a16="http://schemas.microsoft.com/office/drawing/2014/main" id="{32032328-EE01-F5DB-56A8-9E6463F8CA6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17296" y="3466721"/>
                          <a:ext cx="40733" cy="12235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5179" h="15557" fill="none" extrusionOk="0">
                              <a:moveTo>
                                <a:pt x="1" y="15557"/>
                              </a:moveTo>
                              <a:lnTo>
                                <a:pt x="5178" y="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49" name="Google Shape;11357;p65">
                          <a:extLst>
                            <a:ext uri="{FF2B5EF4-FFF2-40B4-BE49-F238E27FC236}">
                              <a16:creationId xmlns:a16="http://schemas.microsoft.com/office/drawing/2014/main" id="{23C0D0B8-D067-6ED8-3CD2-5C13A2E130E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60203" y="3408017"/>
                          <a:ext cx="111416" cy="19513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4166" h="2481" fill="none" extrusionOk="0">
                              <a:moveTo>
                                <a:pt x="0" y="0"/>
                              </a:moveTo>
                              <a:lnTo>
                                <a:pt x="14165" y="2480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sp>
                      <p:nvSpPr>
                        <p:cNvPr id="2550" name="Google Shape;11358;p65">
                          <a:extLst>
                            <a:ext uri="{FF2B5EF4-FFF2-40B4-BE49-F238E27FC236}">
                              <a16:creationId xmlns:a16="http://schemas.microsoft.com/office/drawing/2014/main" id="{0F791678-A555-524C-8FA4-1FFC5CD1BA8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27371" y="3620749"/>
                          <a:ext cx="79358" cy="42636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0090" h="5421" fill="none" extrusionOk="0">
                              <a:moveTo>
                                <a:pt x="0" y="5420"/>
                              </a:moveTo>
                              <a:lnTo>
                                <a:pt x="1008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  <p:grpSp>
                      <p:nvGrpSpPr>
                        <p:cNvPr id="2551" name="Google Shape;11359;p65">
                          <a:extLst>
                            <a:ext uri="{FF2B5EF4-FFF2-40B4-BE49-F238E27FC236}">
                              <a16:creationId xmlns:a16="http://schemas.microsoft.com/office/drawing/2014/main" id="{104C118D-E4C4-2321-4E49-83A99BCB1FFA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4579164" y="3203653"/>
                          <a:ext cx="1244833" cy="1020397"/>
                          <a:chOff x="4579164" y="3203653"/>
                          <a:chExt cx="1244833" cy="1020397"/>
                        </a:xfrm>
                      </p:grpSpPr>
                      <p:sp>
                        <p:nvSpPr>
                          <p:cNvPr id="2553" name="Google Shape;11360;p65">
                            <a:extLst>
                              <a:ext uri="{FF2B5EF4-FFF2-40B4-BE49-F238E27FC236}">
                                <a16:creationId xmlns:a16="http://schemas.microsoft.com/office/drawing/2014/main" id="{00E14A5F-E59F-E9F1-A784-EDC502088B54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949551" y="3708185"/>
                            <a:ext cx="37972" cy="3815"/>
                          </a:xfrm>
                          <a:custGeom>
                            <a:avLst/>
                            <a:gdLst/>
                            <a:ahLst/>
                            <a:cxnLst/>
                            <a:rect l="l" t="t" r="r" b="b"/>
                            <a:pathLst>
                              <a:path w="4828" h="485" fill="none" extrusionOk="0">
                                <a:moveTo>
                                  <a:pt x="0" y="1"/>
                                </a:moveTo>
                                <a:lnTo>
                                  <a:pt x="4827" y="485"/>
                                </a:lnTo>
                              </a:path>
                            </a:pathLst>
                          </a:custGeom>
                          <a:noFill/>
                          <a:ln w="1825" cap="flat" cmpd="sng">
                            <a:solidFill>
                              <a:srgbClr val="A5B7C5"/>
                            </a:solidFill>
                            <a:prstDash val="solid"/>
                            <a:miter lim="12096"/>
                            <a:headEnd type="none" w="sm" len="sm"/>
                            <a:tailEnd type="none" w="sm" len="sm"/>
                          </a:ln>
                        </p:spPr>
                        <p:txBody>
                          <a:bodyPr spcFirstLastPara="1" wrap="square" lIns="121900" tIns="121900" rIns="121900" bIns="121900" anchor="ctr" anchorCtr="0">
                            <a:noAutofit/>
                          </a:bodyPr>
                          <a:lstStyle/>
                          <a:p>
                            <a:pPr marL="0" marR="0" lvl="0" indent="0" algn="l" defTabSz="12192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>
                                <a:srgbClr val="000000"/>
                              </a:buClr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sz="1865" b="0" i="0" u="none" strike="noStrike" kern="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Arial" panose="020B0604020202020204"/>
                              <a:ea typeface="+mn-ea"/>
                              <a:cs typeface="Arial" panose="020B0604020202020204"/>
                              <a:sym typeface="Arial" panose="020B0604020202020204"/>
                            </a:endParaRPr>
                          </a:p>
                        </p:txBody>
                      </p:sp>
                      <p:grpSp>
                        <p:nvGrpSpPr>
                          <p:cNvPr id="2554" name="Google Shape;11361;p65">
                            <a:extLst>
                              <a:ext uri="{FF2B5EF4-FFF2-40B4-BE49-F238E27FC236}">
                                <a16:creationId xmlns:a16="http://schemas.microsoft.com/office/drawing/2014/main" id="{2AD9F5B4-39BD-5ED8-910C-21E062214FAD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4579164" y="3203653"/>
                            <a:ext cx="1244833" cy="1020397"/>
                            <a:chOff x="4579164" y="3203653"/>
                            <a:chExt cx="1244833" cy="1020397"/>
                          </a:xfrm>
                        </p:grpSpPr>
                        <p:sp>
                          <p:nvSpPr>
                            <p:cNvPr id="2555" name="Google Shape;11362;p65">
                              <a:extLst>
                                <a:ext uri="{FF2B5EF4-FFF2-40B4-BE49-F238E27FC236}">
                                  <a16:creationId xmlns:a16="http://schemas.microsoft.com/office/drawing/2014/main" id="{64829C3A-C84D-5C62-B223-FF0A9975819F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53357" y="3586309"/>
                              <a:ext cx="147288" cy="12188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8727" h="15497" fill="none" extrusionOk="0">
                                  <a:moveTo>
                                    <a:pt x="18726" y="1"/>
                                  </a:moveTo>
                                  <a:lnTo>
                                    <a:pt x="0" y="1549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2556" name="Google Shape;11363;p65">
                              <a:extLst>
                                <a:ext uri="{FF2B5EF4-FFF2-40B4-BE49-F238E27FC236}">
                                  <a16:creationId xmlns:a16="http://schemas.microsoft.com/office/drawing/2014/main" id="{2DF060E5-D102-1040-008E-ED4599E33206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87515" y="3592876"/>
                              <a:ext cx="113130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384" h="15146" fill="none" extrusionOk="0">
                                  <a:moveTo>
                                    <a:pt x="0" y="15146"/>
                                  </a:moveTo>
                                  <a:lnTo>
                                    <a:pt x="14383" y="0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2557" name="Google Shape;11364;p65">
                              <a:extLst>
                                <a:ext uri="{FF2B5EF4-FFF2-40B4-BE49-F238E27FC236}">
                                  <a16:creationId xmlns:a16="http://schemas.microsoft.com/office/drawing/2014/main" id="{2A96647C-16CA-DE3C-C708-935B6F5AAD83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13395" y="3708185"/>
                              <a:ext cx="39970" cy="4538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082" h="5771" fill="none" extrusionOk="0">
                                  <a:moveTo>
                                    <a:pt x="1" y="5771"/>
                                  </a:moveTo>
                                  <a:lnTo>
                                    <a:pt x="5081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2558" name="Google Shape;11365;p65">
                              <a:extLst>
                                <a:ext uri="{FF2B5EF4-FFF2-40B4-BE49-F238E27FC236}">
                                  <a16:creationId xmlns:a16="http://schemas.microsoft.com/office/drawing/2014/main" id="{1F8629A7-E929-79FB-A418-AEB4401F0504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888943" y="3704378"/>
                              <a:ext cx="60616" cy="2608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707" h="3316" fill="none" extrusionOk="0">
                                  <a:moveTo>
                                    <a:pt x="1" y="3315"/>
                                  </a:moveTo>
                                  <a:lnTo>
                                    <a:pt x="7706" y="1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2559" name="Google Shape;11366;p65">
                              <a:extLst>
                                <a:ext uri="{FF2B5EF4-FFF2-40B4-BE49-F238E27FC236}">
                                  <a16:creationId xmlns:a16="http://schemas.microsoft.com/office/drawing/2014/main" id="{BDD6C1F4-5765-5C48-C793-1DEB84FCF677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17296" y="3589069"/>
                              <a:ext cx="32262" cy="11912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4102" h="15146" fill="none" extrusionOk="0">
                                  <a:moveTo>
                                    <a:pt x="1" y="1"/>
                                  </a:moveTo>
                                  <a:lnTo>
                                    <a:pt x="4101" y="1514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2560" name="Google Shape;11367;p65">
                              <a:extLst>
                                <a:ext uri="{FF2B5EF4-FFF2-40B4-BE49-F238E27FC236}">
                                  <a16:creationId xmlns:a16="http://schemas.microsoft.com/office/drawing/2014/main" id="{61E34235-1C61-4B22-30B0-59ADB36227AC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49551" y="3708185"/>
                              <a:ext cx="22840" cy="72885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2904" h="9267" fill="none" extrusionOk="0">
                                  <a:moveTo>
                                    <a:pt x="0" y="1"/>
                                  </a:moveTo>
                                  <a:lnTo>
                                    <a:pt x="2904" y="9267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2561" name="Google Shape;11368;p65">
                              <a:extLst>
                                <a:ext uri="{FF2B5EF4-FFF2-40B4-BE49-F238E27FC236}">
                                  <a16:creationId xmlns:a16="http://schemas.microsoft.com/office/drawing/2014/main" id="{8D73EB43-C1B6-B4B6-B615-74816EBD9278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912066" y="3752237"/>
                              <a:ext cx="60325" cy="2883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7670" h="3666" fill="none" extrusionOk="0">
                                  <a:moveTo>
                                    <a:pt x="0" y="1"/>
                                  </a:moveTo>
                                  <a:lnTo>
                                    <a:pt x="7670" y="3666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grpSp>
                          <p:nvGrpSpPr>
                            <p:cNvPr id="2562" name="Google Shape;11369;p65">
                              <a:extLst>
                                <a:ext uri="{FF2B5EF4-FFF2-40B4-BE49-F238E27FC236}">
                                  <a16:creationId xmlns:a16="http://schemas.microsoft.com/office/drawing/2014/main" id="{15F09C31-840F-D118-4F04-A5C589E523D4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4579164" y="3203653"/>
                              <a:ext cx="1244833" cy="1020397"/>
                              <a:chOff x="4579164" y="3203653"/>
                              <a:chExt cx="1244833" cy="1020397"/>
                            </a:xfrm>
                          </p:grpSpPr>
                          <p:sp>
                            <p:nvSpPr>
                              <p:cNvPr id="2566" name="Google Shape;11370;p65">
                                <a:extLst>
                                  <a:ext uri="{FF2B5EF4-FFF2-40B4-BE49-F238E27FC236}">
                                    <a16:creationId xmlns:a16="http://schemas.microsoft.com/office/drawing/2014/main" id="{F168378E-2137-1013-1C28-E188A48FEBDE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590301" y="3738347"/>
                                <a:ext cx="92956" cy="9172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1819" h="11662" fill="none" extrusionOk="0">
                                    <a:moveTo>
                                      <a:pt x="0" y="0"/>
                                    </a:moveTo>
                                    <a:lnTo>
                                      <a:pt x="11819" y="11662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67" name="Google Shape;11371;p65">
                                <a:extLst>
                                  <a:ext uri="{FF2B5EF4-FFF2-40B4-BE49-F238E27FC236}">
                                    <a16:creationId xmlns:a16="http://schemas.microsoft.com/office/drawing/2014/main" id="{A4754943-E5BA-9C01-3919-A3ADE4413724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83250" y="3652241"/>
                                <a:ext cx="33591" cy="17782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271" h="22610" fill="none" extrusionOk="0">
                                    <a:moveTo>
                                      <a:pt x="1" y="22610"/>
                                    </a:moveTo>
                                    <a:lnTo>
                                      <a:pt x="427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68" name="Google Shape;11372;p65">
                                <a:extLst>
                                  <a:ext uri="{FF2B5EF4-FFF2-40B4-BE49-F238E27FC236}">
                                    <a16:creationId xmlns:a16="http://schemas.microsoft.com/office/drawing/2014/main" id="{9827005E-5C92-E8EF-441C-8BAADE5ADDD6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716833" y="3652241"/>
                                <a:ext cx="70982" cy="20770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9025" h="26409" fill="none" extrusionOk="0">
                                    <a:moveTo>
                                      <a:pt x="1" y="1"/>
                                    </a:moveTo>
                                    <a:lnTo>
                                      <a:pt x="9025" y="26408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69" name="Google Shape;11373;p65">
                                <a:extLst>
                                  <a:ext uri="{FF2B5EF4-FFF2-40B4-BE49-F238E27FC236}">
                                    <a16:creationId xmlns:a16="http://schemas.microsoft.com/office/drawing/2014/main" id="{A040F902-00E0-59A0-23A3-C67D3D9A617C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813117" y="3694578"/>
                                <a:ext cx="44154" cy="13929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614" h="17711" fill="none" extrusionOk="0">
                                    <a:moveTo>
                                      <a:pt x="5614" y="17711"/>
                                    </a:moveTo>
                                    <a:lnTo>
                                      <a:pt x="1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70" name="Google Shape;11374;p65">
                                <a:extLst>
                                  <a:ext uri="{FF2B5EF4-FFF2-40B4-BE49-F238E27FC236}">
                                    <a16:creationId xmlns:a16="http://schemas.microsoft.com/office/drawing/2014/main" id="{CA1BFCF0-40D5-168D-9D24-C6A52DCFD7B2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787807" y="3694578"/>
                                <a:ext cx="25317" cy="165369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3219" h="21026" fill="none" extrusionOk="0">
                                    <a:moveTo>
                                      <a:pt x="3219" y="1"/>
                                    </a:moveTo>
                                    <a:lnTo>
                                      <a:pt x="1" y="21025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71" name="Google Shape;11375;p65">
                                <a:extLst>
                                  <a:ext uri="{FF2B5EF4-FFF2-40B4-BE49-F238E27FC236}">
                                    <a16:creationId xmlns:a16="http://schemas.microsoft.com/office/drawing/2014/main" id="{45521DB1-6361-A094-75F9-D23481A43A8C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106374" cy="2522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3525" h="3207" fill="none" extrusionOk="0">
                                    <a:moveTo>
                                      <a:pt x="1" y="1"/>
                                    </a:moveTo>
                                    <a:lnTo>
                                      <a:pt x="13525" y="3206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72" name="Google Shape;11376;p65">
                                <a:extLst>
                                  <a:ext uri="{FF2B5EF4-FFF2-40B4-BE49-F238E27FC236}">
                                    <a16:creationId xmlns:a16="http://schemas.microsoft.com/office/drawing/2014/main" id="{655DEBEF-56B6-9D92-A024-238168677B1B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70980" y="3830061"/>
                                <a:ext cx="12277" cy="7926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561" h="10078" fill="none" extrusionOk="0">
                                    <a:moveTo>
                                      <a:pt x="1561" y="1"/>
                                    </a:moveTo>
                                    <a:lnTo>
                                      <a:pt x="0" y="10077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73" name="Google Shape;11377;p65">
                                <a:extLst>
                                  <a:ext uri="{FF2B5EF4-FFF2-40B4-BE49-F238E27FC236}">
                                    <a16:creationId xmlns:a16="http://schemas.microsoft.com/office/drawing/2014/main" id="{8E22D128-4445-241D-FAC1-6F28CD8E9E79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583828" y="3830061"/>
                                <a:ext cx="99429" cy="3454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2642" h="4392" fill="none" extrusionOk="0">
                                    <a:moveTo>
                                      <a:pt x="0" y="4392"/>
                                    </a:moveTo>
                                    <a:lnTo>
                                      <a:pt x="12642" y="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74" name="Google Shape;11378;p65">
                                <a:extLst>
                                  <a:ext uri="{FF2B5EF4-FFF2-40B4-BE49-F238E27FC236}">
                                    <a16:creationId xmlns:a16="http://schemas.microsoft.com/office/drawing/2014/main" id="{E26E80F6-C36A-4013-A36C-B691F0726487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83250" y="3830061"/>
                                <a:ext cx="50336" cy="117983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400" h="15001" fill="none" extrusionOk="0">
                                    <a:moveTo>
                                      <a:pt x="1" y="1"/>
                                    </a:moveTo>
                                    <a:lnTo>
                                      <a:pt x="6400" y="15001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75" name="Google Shape;11379;p65">
                                <a:extLst>
                                  <a:ext uri="{FF2B5EF4-FFF2-40B4-BE49-F238E27FC236}">
                                    <a16:creationId xmlns:a16="http://schemas.microsoft.com/office/drawing/2014/main" id="{BCE8E7AE-80E7-0D59-3739-DB75FCCB3920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733578" y="3855276"/>
                                <a:ext cx="56046" cy="927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7126" h="11795" fill="none" extrusionOk="0">
                                    <a:moveTo>
                                      <a:pt x="1" y="11795"/>
                                    </a:moveTo>
                                    <a:lnTo>
                                      <a:pt x="7126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76" name="Google Shape;11380;p65">
                                <a:extLst>
                                  <a:ext uri="{FF2B5EF4-FFF2-40B4-BE49-F238E27FC236}">
                                    <a16:creationId xmlns:a16="http://schemas.microsoft.com/office/drawing/2014/main" id="{62D8051F-07C8-D21A-5B02-56408472004D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888943" y="3730450"/>
                                <a:ext cx="34928" cy="89252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4441" h="11348" fill="none" extrusionOk="0">
                                    <a:moveTo>
                                      <a:pt x="4440" y="11347"/>
                                    </a:moveTo>
                                    <a:lnTo>
                                      <a:pt x="1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77" name="Google Shape;11381;p65">
                                <a:extLst>
                                  <a:ext uri="{FF2B5EF4-FFF2-40B4-BE49-F238E27FC236}">
                                    <a16:creationId xmlns:a16="http://schemas.microsoft.com/office/drawing/2014/main" id="{11AF8241-B615-A233-B077-DD7AB3CC7D3A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590301" y="3667468"/>
                                <a:ext cx="49762" cy="7088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6327" h="9013" fill="none" extrusionOk="0">
                                    <a:moveTo>
                                      <a:pt x="0" y="9012"/>
                                    </a:moveTo>
                                    <a:lnTo>
                                      <a:pt x="632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sp>
                            <p:nvSpPr>
                              <p:cNvPr id="2578" name="Google Shape;11382;p65">
                                <a:extLst>
                                  <a:ext uri="{FF2B5EF4-FFF2-40B4-BE49-F238E27FC236}">
                                    <a16:creationId xmlns:a16="http://schemas.microsoft.com/office/drawing/2014/main" id="{49FEDB70-28CA-AD40-96C5-8DC82894C48A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4640338" y="3648536"/>
                                <a:ext cx="80593" cy="20268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0247" h="2577" fill="none" extrusionOk="0">
                                    <a:moveTo>
                                      <a:pt x="1" y="2577"/>
                                    </a:moveTo>
                                    <a:lnTo>
                                      <a:pt x="10247" y="0"/>
                                    </a:lnTo>
                                  </a:path>
                                </a:pathLst>
                              </a:custGeom>
                              <a:noFill/>
                              <a:ln w="1825" cap="flat" cmpd="sng">
                                <a:solidFill>
                                  <a:srgbClr val="A5B7C5"/>
                                </a:solidFill>
                                <a:prstDash val="solid"/>
                                <a:miter lim="12096"/>
                                <a:headEnd type="none" w="sm" len="sm"/>
                                <a:tailEnd type="none" w="sm" len="sm"/>
                              </a:ln>
                            </p:spPr>
                            <p:txBody>
                              <a:bodyPr spcFirstLastPara="1" wrap="square" lIns="121900" tIns="121900" rIns="121900" bIns="121900" anchor="ctr" anchorCtr="0">
                                <a:noAutofit/>
                              </a:bodyPr>
                              <a:lstStyle/>
                              <a:p>
                                <a:pPr marL="0" marR="0" lvl="0" indent="0" algn="l" defTabSz="12192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>
                                    <a:srgbClr val="000000"/>
                                  </a:buClr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sz="1865" b="0" i="0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Arial" panose="020B0604020202020204"/>
                                  <a:ea typeface="+mn-ea"/>
                                  <a:cs typeface="Arial" panose="020B0604020202020204"/>
                                  <a:sym typeface="Arial" panose="020B0604020202020204"/>
                                </a:endParaRPr>
                              </a:p>
                            </p:txBody>
                          </p:sp>
                          <p:grpSp>
                            <p:nvGrpSpPr>
                              <p:cNvPr id="2579" name="Google Shape;11383;p65">
                                <a:extLst>
                                  <a:ext uri="{FF2B5EF4-FFF2-40B4-BE49-F238E27FC236}">
                                    <a16:creationId xmlns:a16="http://schemas.microsoft.com/office/drawing/2014/main" id="{5544501B-EA03-F1F2-8A65-B28042A17B5C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4579164" y="3203653"/>
                                <a:ext cx="1244833" cy="1020397"/>
                                <a:chOff x="4579164" y="3203653"/>
                                <a:chExt cx="1244833" cy="1020397"/>
                              </a:xfrm>
                            </p:grpSpPr>
                            <p:sp>
                              <p:nvSpPr>
                                <p:cNvPr id="2580" name="Google Shape;11384;p65">
                                  <a:extLst>
                                    <a:ext uri="{FF2B5EF4-FFF2-40B4-BE49-F238E27FC236}">
                                      <a16:creationId xmlns:a16="http://schemas.microsoft.com/office/drawing/2014/main" id="{BED6BF20-D0CD-8A65-3042-7057A33E9AA3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753083" y="3966015"/>
                                  <a:ext cx="92964" cy="5376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1820" h="6836" fill="none" extrusionOk="0">
                                      <a:moveTo>
                                        <a:pt x="1" y="6836"/>
                                      </a:moveTo>
                                      <a:lnTo>
                                        <a:pt x="11819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2581" name="Google Shape;11385;p65">
                                  <a:extLst>
                                    <a:ext uri="{FF2B5EF4-FFF2-40B4-BE49-F238E27FC236}">
                                      <a16:creationId xmlns:a16="http://schemas.microsoft.com/office/drawing/2014/main" id="{27FA21C9-54A8-6684-8B02-0AA7E387CD39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6040" y="3952794"/>
                                  <a:ext cx="103519" cy="13135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13162" h="1670" fill="none" extrusionOk="0">
                                      <a:moveTo>
                                        <a:pt x="13161" y="0"/>
                                      </a:moveTo>
                                      <a:lnTo>
                                        <a:pt x="0" y="167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2582" name="Google Shape;11386;p65">
                                  <a:extLst>
                                    <a:ext uri="{FF2B5EF4-FFF2-40B4-BE49-F238E27FC236}">
                                      <a16:creationId xmlns:a16="http://schemas.microsoft.com/office/drawing/2014/main" id="{86E8E483-665D-0B70-6652-4702E63C724F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6040" y="3962216"/>
                                  <a:ext cx="64800" cy="128066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239" h="16283" fill="none" extrusionOk="0">
                                      <a:moveTo>
                                        <a:pt x="0" y="0"/>
                                      </a:moveTo>
                                      <a:lnTo>
                                        <a:pt x="8238" y="16282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2583" name="Google Shape;11387;p65">
                                  <a:extLst>
                                    <a:ext uri="{FF2B5EF4-FFF2-40B4-BE49-F238E27FC236}">
                                      <a16:creationId xmlns:a16="http://schemas.microsoft.com/office/drawing/2014/main" id="{7ADA6FD0-D6ED-75CC-F8DA-F505B37488DF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2233" y="3962216"/>
                                  <a:ext cx="3815" cy="164787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85" h="20952" fill="none" extrusionOk="0">
                                      <a:moveTo>
                                        <a:pt x="0" y="20952"/>
                                      </a:moveTo>
                                      <a:lnTo>
                                        <a:pt x="484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2584" name="Google Shape;11388;p65">
                                  <a:extLst>
                                    <a:ext uri="{FF2B5EF4-FFF2-40B4-BE49-F238E27FC236}">
                                      <a16:creationId xmlns:a16="http://schemas.microsoft.com/office/drawing/2014/main" id="{4AE8C2B3-4C99-B7C4-8DEC-660106E5C5AB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2233" y="4123189"/>
                                  <a:ext cx="37587" cy="5300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4779" h="6739" fill="none" extrusionOk="0">
                                      <a:moveTo>
                                        <a:pt x="4779" y="6739"/>
                                      </a:moveTo>
                                      <a:lnTo>
                                        <a:pt x="0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2585" name="Google Shape;11389;p65">
                                  <a:extLst>
                                    <a:ext uri="{FF2B5EF4-FFF2-40B4-BE49-F238E27FC236}">
                                      <a16:creationId xmlns:a16="http://schemas.microsoft.com/office/drawing/2014/main" id="{F3CB4D38-925B-8726-E780-FF609A9A0EB3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770779" y="4118525"/>
                                  <a:ext cx="71461" cy="4672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9086" h="594" fill="none" extrusionOk="0">
                                      <a:moveTo>
                                        <a:pt x="9085" y="594"/>
                                      </a:moveTo>
                                      <a:lnTo>
                                        <a:pt x="1" y="1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2586" name="Google Shape;11390;p65">
                                  <a:extLst>
                                    <a:ext uri="{FF2B5EF4-FFF2-40B4-BE49-F238E27FC236}">
                                      <a16:creationId xmlns:a16="http://schemas.microsoft.com/office/drawing/2014/main" id="{D6D1F723-C32A-8D81-3182-517275BB1B7A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4842233" y="4090274"/>
                                  <a:ext cx="68606" cy="32923"/>
                                </a:xfrm>
                                <a:custGeom>
                                  <a:avLst/>
                                  <a:gdLst/>
                                  <a:ahLst/>
                                  <a:cxnLst/>
                                  <a:rect l="l" t="t" r="r" b="b"/>
                                  <a:pathLst>
                                    <a:path w="8723" h="4186" fill="none" extrusionOk="0">
                                      <a:moveTo>
                                        <a:pt x="0" y="4186"/>
                                      </a:moveTo>
                                      <a:lnTo>
                                        <a:pt x="8722" y="0"/>
                                      </a:lnTo>
                                    </a:path>
                                  </a:pathLst>
                                </a:custGeom>
                                <a:noFill/>
                                <a:ln w="1825" cap="flat" cmpd="sng">
                                  <a:solidFill>
                                    <a:srgbClr val="A5B7C5"/>
                                  </a:solidFill>
                                  <a:prstDash val="solid"/>
                                  <a:miter lim="12096"/>
                                  <a:headEnd type="none" w="sm" len="sm"/>
                                  <a:tailEnd type="none" w="sm" len="sm"/>
                                </a:ln>
                              </p:spPr>
                              <p:txBody>
                                <a:bodyPr spcFirstLastPara="1" wrap="square" lIns="121900" tIns="121900" rIns="121900" bIns="121900" anchor="ctr" anchorCtr="0">
                                  <a:noAutofit/>
                                </a:bodyPr>
                                <a:lstStyle/>
                                <a:p>
                                  <a:pPr marL="0" marR="0" lvl="0" indent="0" algn="l" defTabSz="1219200" rtl="0" eaLnBrk="1" fontAlgn="auto" latinLnBrk="0" hangingPunct="1">
                                    <a:lnSpc>
                                      <a:spcPct val="100000"/>
                                    </a:lnSpc>
                                    <a:spcBef>
                                      <a:spcPts val="0"/>
                                    </a:spcBef>
                                    <a:spcAft>
                                      <a:spcPts val="0"/>
                                    </a:spcAft>
                                    <a:buClr>
                                      <a:srgbClr val="000000"/>
                                    </a:buClr>
                                    <a:buSzTx/>
                                    <a:buFontTx/>
                                    <a:buNone/>
                                    <a:tabLst/>
                                    <a:defRPr/>
                                  </a:pPr>
                                  <a:endParaRPr kumimoji="0" sz="1865" b="0" i="0" u="none" strike="noStrike" kern="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Arial" panose="020B0604020202020204"/>
                                    <a:ea typeface="+mn-ea"/>
                                    <a:cs typeface="Arial" panose="020B0604020202020204"/>
                                    <a:sym typeface="Arial" panose="020B0604020202020204"/>
                                  </a:endParaRPr>
                                </a:p>
                              </p:txBody>
                            </p:sp>
                            <p:grpSp>
                              <p:nvGrpSpPr>
                                <p:cNvPr id="2587" name="Google Shape;11391;p65">
                                  <a:extLst>
                                    <a:ext uri="{FF2B5EF4-FFF2-40B4-BE49-F238E27FC236}">
                                      <a16:creationId xmlns:a16="http://schemas.microsoft.com/office/drawing/2014/main" id="{E680C55F-95DA-445F-3543-79FB3B7A7AC2}"/>
                                    </a:ext>
                                  </a:extLst>
                                </p:cNvPr>
                                <p:cNvGrpSpPr/>
                                <p:nvPr/>
                              </p:nvGrpSpPr>
                              <p:grpSpPr>
                                <a:xfrm>
                                  <a:off x="4579164" y="3203653"/>
                                  <a:ext cx="1244833" cy="1020397"/>
                                  <a:chOff x="4579164" y="3203653"/>
                                  <a:chExt cx="1244833" cy="1020397"/>
                                </a:xfrm>
                              </p:grpSpPr>
                              <p:sp>
                                <p:nvSpPr>
                                  <p:cNvPr id="2588" name="Google Shape;11392;p65">
                                    <a:extLst>
                                      <a:ext uri="{FF2B5EF4-FFF2-40B4-BE49-F238E27FC236}">
                                        <a16:creationId xmlns:a16="http://schemas.microsoft.com/office/drawing/2014/main" id="{2746011F-D1E3-A895-E6BE-9FFA31FD0245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788476" y="3855276"/>
                                    <a:ext cx="57572" cy="11074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7320" h="14081" fill="none" extrusionOk="0">
                                        <a:moveTo>
                                          <a:pt x="7319" y="14081"/>
                                        </a:moveTo>
                                        <a:lnTo>
                                          <a:pt x="1" y="0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2589" name="Google Shape;11393;p65">
                                    <a:extLst>
                                      <a:ext uri="{FF2B5EF4-FFF2-40B4-BE49-F238E27FC236}">
                                        <a16:creationId xmlns:a16="http://schemas.microsoft.com/office/drawing/2014/main" id="{5A179100-6812-C994-C4AF-24B8CCE39666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846040" y="3833867"/>
                                    <a:ext cx="11231" cy="132156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1428" h="16803" fill="none" extrusionOk="0">
                                        <a:moveTo>
                                          <a:pt x="0" y="16803"/>
                                        </a:moveTo>
                                        <a:lnTo>
                                          <a:pt x="1428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2590" name="Google Shape;11394;p65">
                                    <a:extLst>
                                      <a:ext uri="{FF2B5EF4-FFF2-40B4-BE49-F238E27FC236}">
                                        <a16:creationId xmlns:a16="http://schemas.microsoft.com/office/drawing/2014/main" id="{E52181B4-A42C-33A6-55C0-AF9D6E143C48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761554" y="3854796"/>
                                    <a:ext cx="26261" cy="164984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3339" h="20977" fill="none" extrusionOk="0">
                                        <a:moveTo>
                                          <a:pt x="0" y="20977"/>
                                        </a:moveTo>
                                        <a:lnTo>
                                          <a:pt x="3339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2591" name="Google Shape;11395;p65">
                                    <a:extLst>
                                      <a:ext uri="{FF2B5EF4-FFF2-40B4-BE49-F238E27FC236}">
                                        <a16:creationId xmlns:a16="http://schemas.microsoft.com/office/drawing/2014/main" id="{1B9FAC99-4342-5698-BB89-2B889ADE1F02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846991" y="3818263"/>
                                    <a:ext cx="74025" cy="146242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9412" h="18594" fill="none" extrusionOk="0">
                                        <a:moveTo>
                                          <a:pt x="0" y="18593"/>
                                        </a:moveTo>
                                        <a:lnTo>
                                          <a:pt x="9411" y="1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sp>
                                <p:nvSpPr>
                                  <p:cNvPr id="2592" name="Google Shape;11396;p65">
                                    <a:extLst>
                                      <a:ext uri="{FF2B5EF4-FFF2-40B4-BE49-F238E27FC236}">
                                        <a16:creationId xmlns:a16="http://schemas.microsoft.com/office/drawing/2014/main" id="{9381FDE9-D66E-06A8-DB01-51FBE7F71133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4927191" y="3823305"/>
                                    <a:ext cx="22368" cy="129497"/>
                                  </a:xfrm>
                                  <a:custGeom>
                                    <a:avLst/>
                                    <a:gdLst/>
                                    <a:ahLst/>
                                    <a:cxnLst/>
                                    <a:rect l="l" t="t" r="r" b="b"/>
                                    <a:pathLst>
                                      <a:path w="2844" h="16465" fill="none" extrusionOk="0">
                                        <a:moveTo>
                                          <a:pt x="1" y="1"/>
                                        </a:moveTo>
                                        <a:lnTo>
                                          <a:pt x="2843" y="1646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1825" cap="flat" cmpd="sng">
                                    <a:solidFill>
                                      <a:srgbClr val="A5B7C5"/>
                                    </a:solidFill>
                                    <a:prstDash val="solid"/>
                                    <a:miter lim="12096"/>
                                    <a:headEnd type="none" w="sm" len="sm"/>
                                    <a:tailEnd type="none" w="sm" len="sm"/>
                                  </a:ln>
                                </p:spPr>
                                <p:txBody>
                                  <a:bodyPr spcFirstLastPara="1" wrap="square" lIns="121900" tIns="121900" rIns="121900" bIns="121900" anchor="ctr" anchorCtr="0">
                                    <a:noAutofit/>
                                  </a:bodyPr>
                                  <a:lstStyle/>
                                  <a:p>
                                    <a:pPr marL="0" marR="0" lvl="0" indent="0" algn="l" defTabSz="1219200" rtl="0" eaLnBrk="1" fontAlgn="auto" latinLnBrk="0" hangingPunct="1">
                                      <a:lnSpc>
                                        <a:spcPct val="100000"/>
                                      </a:lnSpc>
                                      <a:spcBef>
                                        <a:spcPts val="0"/>
                                      </a:spcBef>
                                      <a:spcAft>
                                        <a:spcPts val="0"/>
                                      </a:spcAft>
                                      <a:buClr>
                                        <a:srgbClr val="000000"/>
                                      </a:buClr>
                                      <a:buSzTx/>
                                      <a:buFontTx/>
                                      <a:buNone/>
                                      <a:tabLst/>
                                      <a:defRPr/>
                                    </a:pPr>
                                    <a:endParaRPr kumimoji="0" sz="1865" b="0" i="0" u="none" strike="noStrike" kern="0" cap="none" spc="0" normalizeH="0" baseline="0" noProof="0">
                                      <a:ln>
                                        <a:noFill/>
                                      </a:ln>
                                      <a:solidFill>
                                        <a:srgbClr val="000000"/>
                                      </a:solidFill>
                                      <a:effectLst/>
                                      <a:uLnTx/>
                                      <a:uFillTx/>
                                      <a:latin typeface="Arial" panose="020B0604020202020204"/>
                                      <a:ea typeface="+mn-ea"/>
                                      <a:cs typeface="Arial" panose="020B0604020202020204"/>
                                      <a:sym typeface="Arial" panose="020B0604020202020204"/>
                                    </a:endParaRPr>
                                  </a:p>
                                </p:txBody>
                              </p:sp>
                              <p:grpSp>
                                <p:nvGrpSpPr>
                                  <p:cNvPr id="2593" name="Google Shape;11397;p65">
                                    <a:extLst>
                                      <a:ext uri="{FF2B5EF4-FFF2-40B4-BE49-F238E27FC236}">
                                        <a16:creationId xmlns:a16="http://schemas.microsoft.com/office/drawing/2014/main" id="{3D566A64-7D98-8E67-7545-619FD9736601}"/>
                                      </a:ext>
                                    </a:extLst>
                                  </p:cNvPr>
                                  <p:cNvGrpSpPr/>
                                  <p:nvPr/>
                                </p:nvGrpSpPr>
                                <p:grpSpPr>
                                  <a:xfrm>
                                    <a:off x="4579164" y="3203653"/>
                                    <a:ext cx="1244833" cy="1020397"/>
                                    <a:chOff x="4579164" y="3203653"/>
                                    <a:chExt cx="1244833" cy="1020397"/>
                                  </a:xfrm>
                                </p:grpSpPr>
                                <p:sp>
                                  <p:nvSpPr>
                                    <p:cNvPr id="2594" name="Google Shape;11398;p65">
                                      <a:extLst>
                                        <a:ext uri="{FF2B5EF4-FFF2-40B4-BE49-F238E27FC236}">
                                          <a16:creationId xmlns:a16="http://schemas.microsoft.com/office/drawing/2014/main" id="{B83003D4-75A0-6DD1-DD08-00668AC286B8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579164" y="3652241"/>
                                      <a:ext cx="422626" cy="571809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53735" h="72703" fill="none" extrusionOk="0">
                                          <a:moveTo>
                                            <a:pt x="27593" y="71880"/>
                                          </a:moveTo>
                                          <a:lnTo>
                                            <a:pt x="23771" y="58694"/>
                                          </a:lnTo>
                                          <a:lnTo>
                                            <a:pt x="22936" y="46731"/>
                                          </a:lnTo>
                                          <a:lnTo>
                                            <a:pt x="19972" y="37380"/>
                                          </a:lnTo>
                                          <a:lnTo>
                                            <a:pt x="11674" y="32686"/>
                                          </a:lnTo>
                                          <a:lnTo>
                                            <a:pt x="1" y="27001"/>
                                          </a:lnTo>
                                          <a:lnTo>
                                            <a:pt x="1392" y="10610"/>
                                          </a:lnTo>
                                          <a:lnTo>
                                            <a:pt x="17517" y="1"/>
                                          </a:lnTo>
                                          <a:lnTo>
                                            <a:pt x="29747" y="5384"/>
                                          </a:lnTo>
                                          <a:lnTo>
                                            <a:pt x="43827" y="21291"/>
                                          </a:lnTo>
                                          <a:lnTo>
                                            <a:pt x="49343" y="27122"/>
                                          </a:lnTo>
                                          <a:lnTo>
                                            <a:pt x="53735" y="25815"/>
                                          </a:lnTo>
                                          <a:lnTo>
                                            <a:pt x="50347" y="35940"/>
                                          </a:lnTo>
                                          <a:lnTo>
                                            <a:pt x="47093" y="38214"/>
                                          </a:lnTo>
                                          <a:lnTo>
                                            <a:pt x="44069" y="44275"/>
                                          </a:lnTo>
                                          <a:lnTo>
                                            <a:pt x="45073" y="51944"/>
                                          </a:lnTo>
                                          <a:lnTo>
                                            <a:pt x="42170" y="55694"/>
                                          </a:lnTo>
                                          <a:lnTo>
                                            <a:pt x="38227" y="66025"/>
                                          </a:lnTo>
                                          <a:lnTo>
                                            <a:pt x="27593" y="7270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121900" tIns="121900" rIns="121900" bIns="121900" anchor="ctr" anchorCtr="0">
                                      <a:noAutofit/>
                                    </a:bodyPr>
                                    <a:lstStyle/>
                                    <a:p>
                                      <a:pPr marL="0" marR="0" lvl="0" indent="0" algn="l" defTabSz="1219200" rtl="0" eaLnBrk="1" fontAlgn="auto" latinLnBrk="0" hangingPunct="1">
                                        <a:lnSpc>
                                          <a:spcPct val="100000"/>
                                        </a:lnSpc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Clr>
                                          <a:srgbClr val="000000"/>
                                        </a:buClr>
                                        <a:buSzTx/>
                                        <a:buFontTx/>
                                        <a:buNone/>
                                        <a:tabLst/>
                                        <a:defRPr/>
                                      </a:pPr>
                                      <a:endParaRPr kumimoji="0" sz="1865" b="0" i="0" u="none" strike="noStrike" kern="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Arial" panose="020B0604020202020204"/>
                                        <a:ea typeface="+mn-ea"/>
                                        <a:cs typeface="Arial" panose="020B0604020202020204"/>
                                        <a:sym typeface="Arial" panose="020B0604020202020204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2595" name="Google Shape;11399;p65">
                                      <a:extLst>
                                        <a:ext uri="{FF2B5EF4-FFF2-40B4-BE49-F238E27FC236}">
                                          <a16:creationId xmlns:a16="http://schemas.microsoft.com/office/drawing/2014/main" id="{9134B593-A98E-1B31-1101-564703C95C1B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617986" y="3203653"/>
                                      <a:ext cx="1206011" cy="684357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153339" h="87013" fill="none" extrusionOk="0">
                                          <a:moveTo>
                                            <a:pt x="24811" y="62214"/>
                                          </a:moveTo>
                                          <a:lnTo>
                                            <a:pt x="34452" y="66980"/>
                                          </a:lnTo>
                                          <a:lnTo>
                                            <a:pt x="37549" y="69920"/>
                                          </a:lnTo>
                                          <a:lnTo>
                                            <a:pt x="41274" y="77698"/>
                                          </a:lnTo>
                                          <a:lnTo>
                                            <a:pt x="46270" y="79222"/>
                                          </a:lnTo>
                                          <a:lnTo>
                                            <a:pt x="55899" y="72775"/>
                                          </a:lnTo>
                                          <a:lnTo>
                                            <a:pt x="52645" y="69085"/>
                                          </a:lnTo>
                                          <a:lnTo>
                                            <a:pt x="48291" y="70234"/>
                                          </a:lnTo>
                                          <a:lnTo>
                                            <a:pt x="46585" y="64634"/>
                                          </a:lnTo>
                                          <a:lnTo>
                                            <a:pt x="48774" y="66097"/>
                                          </a:lnTo>
                                          <a:lnTo>
                                            <a:pt x="59698" y="70234"/>
                                          </a:lnTo>
                                          <a:lnTo>
                                            <a:pt x="65988" y="72279"/>
                                          </a:lnTo>
                                          <a:lnTo>
                                            <a:pt x="66315" y="75944"/>
                                          </a:lnTo>
                                          <a:lnTo>
                                            <a:pt x="70960" y="87013"/>
                                          </a:lnTo>
                                          <a:lnTo>
                                            <a:pt x="76573" y="75944"/>
                                          </a:lnTo>
                                          <a:lnTo>
                                            <a:pt x="80831" y="72932"/>
                                          </a:lnTo>
                                          <a:lnTo>
                                            <a:pt x="86069" y="78146"/>
                                          </a:lnTo>
                                          <a:lnTo>
                                            <a:pt x="88355" y="83928"/>
                                          </a:lnTo>
                                          <a:lnTo>
                                            <a:pt x="94633" y="84037"/>
                                          </a:lnTo>
                                          <a:lnTo>
                                            <a:pt x="94270" y="74299"/>
                                          </a:lnTo>
                                          <a:lnTo>
                                            <a:pt x="100936" y="72690"/>
                                          </a:lnTo>
                                          <a:lnTo>
                                            <a:pt x="106682" y="64307"/>
                                          </a:lnTo>
                                          <a:lnTo>
                                            <a:pt x="106319" y="56553"/>
                                          </a:lnTo>
                                          <a:lnTo>
                                            <a:pt x="103416" y="54690"/>
                                          </a:lnTo>
                                          <a:lnTo>
                                            <a:pt x="106827" y="53105"/>
                                          </a:lnTo>
                                          <a:lnTo>
                                            <a:pt x="120194" y="45339"/>
                                          </a:lnTo>
                                          <a:lnTo>
                                            <a:pt x="122528" y="36859"/>
                                          </a:lnTo>
                                          <a:lnTo>
                                            <a:pt x="118851" y="35493"/>
                                          </a:lnTo>
                                          <a:lnTo>
                                            <a:pt x="125093" y="28464"/>
                                          </a:lnTo>
                                          <a:lnTo>
                                            <a:pt x="148536" y="25972"/>
                                          </a:lnTo>
                                          <a:lnTo>
                                            <a:pt x="153339" y="12255"/>
                                          </a:lnTo>
                                          <a:lnTo>
                                            <a:pt x="125468" y="6255"/>
                                          </a:lnTo>
                                          <a:lnTo>
                                            <a:pt x="101758" y="5432"/>
                                          </a:lnTo>
                                          <a:lnTo>
                                            <a:pt x="85016" y="1"/>
                                          </a:lnTo>
                                          <a:lnTo>
                                            <a:pt x="60532" y="12255"/>
                                          </a:lnTo>
                                          <a:lnTo>
                                            <a:pt x="39714" y="20214"/>
                                          </a:lnTo>
                                          <a:lnTo>
                                            <a:pt x="35444" y="13089"/>
                                          </a:lnTo>
                                          <a:lnTo>
                                            <a:pt x="22186" y="13464"/>
                                          </a:lnTo>
                                          <a:lnTo>
                                            <a:pt x="15291" y="21351"/>
                                          </a:lnTo>
                                          <a:lnTo>
                                            <a:pt x="11831" y="27484"/>
                                          </a:lnTo>
                                          <a:lnTo>
                                            <a:pt x="21581" y="26614"/>
                                          </a:lnTo>
                                          <a:lnTo>
                                            <a:pt x="24532" y="19561"/>
                                          </a:lnTo>
                                          <a:lnTo>
                                            <a:pt x="29480" y="22694"/>
                                          </a:lnTo>
                                          <a:lnTo>
                                            <a:pt x="24811" y="32964"/>
                                          </a:lnTo>
                                          <a:lnTo>
                                            <a:pt x="20262" y="35541"/>
                                          </a:lnTo>
                                          <a:lnTo>
                                            <a:pt x="15569" y="31368"/>
                                          </a:lnTo>
                                          <a:lnTo>
                                            <a:pt x="15061" y="35650"/>
                                          </a:lnTo>
                                          <a:lnTo>
                                            <a:pt x="11057" y="37924"/>
                                          </a:lnTo>
                                          <a:lnTo>
                                            <a:pt x="6024" y="43089"/>
                                          </a:lnTo>
                                          <a:lnTo>
                                            <a:pt x="6387" y="49210"/>
                                          </a:lnTo>
                                          <a:lnTo>
                                            <a:pt x="992" y="49210"/>
                                          </a:lnTo>
                                          <a:lnTo>
                                            <a:pt x="0" y="52198"/>
                                          </a:lnTo>
                                          <a:lnTo>
                                            <a:pt x="835" y="57037"/>
                                          </a:lnTo>
                                          <a:lnTo>
                                            <a:pt x="6726" y="55198"/>
                                          </a:lnTo>
                                          <a:lnTo>
                                            <a:pt x="10924" y="50069"/>
                                          </a:lnTo>
                                          <a:lnTo>
                                            <a:pt x="16367" y="50686"/>
                                          </a:lnTo>
                                          <a:lnTo>
                                            <a:pt x="18049" y="46670"/>
                                          </a:lnTo>
                                          <a:lnTo>
                                            <a:pt x="23093" y="54363"/>
                                          </a:lnTo>
                                          <a:lnTo>
                                            <a:pt x="26528" y="56105"/>
                                          </a:lnTo>
                                          <a:lnTo>
                                            <a:pt x="26734" y="52210"/>
                                          </a:lnTo>
                                          <a:lnTo>
                                            <a:pt x="33835" y="47069"/>
                                          </a:lnTo>
                                          <a:lnTo>
                                            <a:pt x="38069" y="49488"/>
                                          </a:lnTo>
                                          <a:lnTo>
                                            <a:pt x="36278" y="53045"/>
                                          </a:lnTo>
                                          <a:lnTo>
                                            <a:pt x="28343" y="55392"/>
                                          </a:lnTo>
                                          <a:cubicBezTo>
                                            <a:pt x="28343" y="55392"/>
                                            <a:pt x="31041" y="58888"/>
                                            <a:pt x="31319" y="58984"/>
                                          </a:cubicBezTo>
                                          <a:cubicBezTo>
                                            <a:pt x="31597" y="59069"/>
                                            <a:pt x="36278" y="58150"/>
                                            <a:pt x="36278" y="58150"/>
                                          </a:cubicBezTo>
                                          <a:lnTo>
                                            <a:pt x="35456" y="61948"/>
                                          </a:lnTo>
                                          <a:lnTo>
                                            <a:pt x="30920" y="63255"/>
                                          </a:lnTo>
                                          <a:lnTo>
                                            <a:pt x="24823" y="62142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121900" tIns="121900" rIns="121900" bIns="121900" anchor="ctr" anchorCtr="0">
                                      <a:noAutofit/>
                                    </a:bodyPr>
                                    <a:lstStyle/>
                                    <a:p>
                                      <a:pPr marL="0" marR="0" lvl="0" indent="0" algn="l" defTabSz="1219200" rtl="0" eaLnBrk="1" fontAlgn="auto" latinLnBrk="0" hangingPunct="1">
                                        <a:lnSpc>
                                          <a:spcPct val="100000"/>
                                        </a:lnSpc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Clr>
                                          <a:srgbClr val="000000"/>
                                        </a:buClr>
                                        <a:buSzTx/>
                                        <a:buFontTx/>
                                        <a:buNone/>
                                        <a:tabLst/>
                                        <a:defRPr/>
                                      </a:pPr>
                                      <a:endParaRPr kumimoji="0" sz="1865" b="0" i="0" u="none" strike="noStrike" kern="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Arial" panose="020B0604020202020204"/>
                                        <a:ea typeface="+mn-ea"/>
                                        <a:cs typeface="Arial" panose="020B0604020202020204"/>
                                        <a:sym typeface="Arial" panose="020B0604020202020204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2596" name="Google Shape;11400;p65">
                                      <a:extLst>
                                        <a:ext uri="{FF2B5EF4-FFF2-40B4-BE49-F238E27FC236}">
                                          <a16:creationId xmlns:a16="http://schemas.microsoft.com/office/drawing/2014/main" id="{CE4492E5-B8F6-728A-0843-E02357F8DA69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06356" y="3466721"/>
                                      <a:ext cx="194289" cy="358880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24703" h="45630" fill="none" extrusionOk="0">
                                          <a:moveTo>
                                            <a:pt x="8396" y="39968"/>
                                          </a:moveTo>
                                          <a:lnTo>
                                            <a:pt x="9835" y="45629"/>
                                          </a:lnTo>
                                          <a:lnTo>
                                            <a:pt x="11626" y="36786"/>
                                          </a:lnTo>
                                          <a:lnTo>
                                            <a:pt x="5492" y="30218"/>
                                          </a:lnTo>
                                          <a:lnTo>
                                            <a:pt x="1" y="25016"/>
                                          </a:lnTo>
                                          <a:lnTo>
                                            <a:pt x="1392" y="16040"/>
                                          </a:lnTo>
                                          <a:lnTo>
                                            <a:pt x="24702" y="15206"/>
                                          </a:lnTo>
                                          <a:lnTo>
                                            <a:pt x="6472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121900" tIns="121900" rIns="121900" bIns="121900" anchor="ctr" anchorCtr="0">
                                      <a:noAutofit/>
                                    </a:bodyPr>
                                    <a:lstStyle/>
                                    <a:p>
                                      <a:pPr marL="0" marR="0" lvl="0" indent="0" algn="l" defTabSz="1219200" rtl="0" eaLnBrk="1" fontAlgn="auto" latinLnBrk="0" hangingPunct="1">
                                        <a:lnSpc>
                                          <a:spcPct val="100000"/>
                                        </a:lnSpc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Clr>
                                          <a:srgbClr val="000000"/>
                                        </a:buClr>
                                        <a:buSzTx/>
                                        <a:buFontTx/>
                                        <a:buNone/>
                                        <a:tabLst/>
                                        <a:defRPr/>
                                      </a:pPr>
                                      <a:endParaRPr kumimoji="0" sz="1865" b="0" i="0" u="none" strike="noStrike" kern="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Arial" panose="020B0604020202020204"/>
                                        <a:ea typeface="+mn-ea"/>
                                        <a:cs typeface="Arial" panose="020B0604020202020204"/>
                                        <a:sym typeface="Arial" panose="020B0604020202020204"/>
                                      </a:endParaRPr>
                                    </a:p>
                                  </p:txBody>
                                </p:sp>
                                <p:sp>
                                  <p:nvSpPr>
                                    <p:cNvPr id="2597" name="Google Shape;11401;p65">
                                      <a:extLst>
                                        <a:ext uri="{FF2B5EF4-FFF2-40B4-BE49-F238E27FC236}">
                                          <a16:creationId xmlns:a16="http://schemas.microsoft.com/office/drawing/2014/main" id="{D0448D8A-C63D-5247-00EB-E952E2CA5020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4972383" y="3756043"/>
                                      <a:ext cx="25412" cy="25026"/>
                                    </a:xfrm>
                                    <a:custGeom>
                                      <a:avLst/>
                                      <a:gdLst/>
                                      <a:ahLst/>
                                      <a:cxnLst/>
                                      <a:rect l="l" t="t" r="r" b="b"/>
                                      <a:pathLst>
                                        <a:path w="3231" h="3182" fill="none" extrusionOk="0">
                                          <a:moveTo>
                                            <a:pt x="1" y="3182"/>
                                          </a:moveTo>
                                          <a:lnTo>
                                            <a:pt x="3231" y="0"/>
                                          </a:lnTo>
                                        </a:path>
                                      </a:pathLst>
                                    </a:custGeom>
                                    <a:noFill/>
                                    <a:ln w="1825" cap="flat" cmpd="sng">
                                      <a:solidFill>
                                        <a:srgbClr val="A5B7C5"/>
                                      </a:solidFill>
                                      <a:prstDash val="solid"/>
                                      <a:miter lim="12096"/>
                                      <a:headEnd type="none" w="sm" len="sm"/>
                                      <a:tailEnd type="none" w="sm" len="sm"/>
                                    </a:ln>
                                  </p:spPr>
                                  <p:txBody>
                                    <a:bodyPr spcFirstLastPara="1" wrap="square" lIns="121900" tIns="121900" rIns="121900" bIns="121900" anchor="ctr" anchorCtr="0">
                                      <a:noAutofit/>
                                    </a:bodyPr>
                                    <a:lstStyle/>
                                    <a:p>
                                      <a:pPr marL="0" marR="0" lvl="0" indent="0" algn="l" defTabSz="1219200" rtl="0" eaLnBrk="1" fontAlgn="auto" latinLnBrk="0" hangingPunct="1">
                                        <a:lnSpc>
                                          <a:spcPct val="100000"/>
                                        </a:lnSpc>
                                        <a:spcBef>
                                          <a:spcPts val="0"/>
                                        </a:spcBef>
                                        <a:spcAft>
                                          <a:spcPts val="0"/>
                                        </a:spcAft>
                                        <a:buClr>
                                          <a:srgbClr val="000000"/>
                                        </a:buClr>
                                        <a:buSzTx/>
                                        <a:buFontTx/>
                                        <a:buNone/>
                                        <a:tabLst/>
                                        <a:defRPr/>
                                      </a:pPr>
                                      <a:endParaRPr kumimoji="0" sz="1865" b="0" i="0" u="none" strike="noStrike" kern="0" cap="none" spc="0" normalizeH="0" baseline="0" noProof="0">
                                        <a:ln>
                                          <a:noFill/>
                                        </a:ln>
                                        <a:solidFill>
                                          <a:srgbClr val="000000"/>
                                        </a:solidFill>
                                        <a:effectLst/>
                                        <a:uLnTx/>
                                        <a:uFillTx/>
                                        <a:latin typeface="Arial" panose="020B0604020202020204"/>
                                        <a:ea typeface="+mn-ea"/>
                                        <a:cs typeface="Arial" panose="020B0604020202020204"/>
                                        <a:sym typeface="Arial" panose="020B0604020202020204"/>
                                      </a:endParaRPr>
                                    </a:p>
                                  </p:txBody>
                                </p:sp>
                              </p:grpSp>
                            </p:grpSp>
                          </p:grpSp>
                        </p:grpSp>
                        <p:sp>
                          <p:nvSpPr>
                            <p:cNvPr id="2563" name="Google Shape;11402;p65">
                              <a:extLst>
                                <a:ext uri="{FF2B5EF4-FFF2-40B4-BE49-F238E27FC236}">
                                  <a16:creationId xmlns:a16="http://schemas.microsoft.com/office/drawing/2014/main" id="{31D47D04-0297-1CAE-E93E-53AA7852A010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890375" y="3688019"/>
                              <a:ext cx="5144" cy="437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54" h="5565" fill="none" extrusionOk="0">
                                  <a:moveTo>
                                    <a:pt x="653" y="0"/>
                                  </a:moveTo>
                                  <a:lnTo>
                                    <a:pt x="0" y="5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2564" name="Google Shape;11403;p65">
                              <a:extLst>
                                <a:ext uri="{FF2B5EF4-FFF2-40B4-BE49-F238E27FC236}">
                                  <a16:creationId xmlns:a16="http://schemas.microsoft.com/office/drawing/2014/main" id="{64480BCE-C439-C2F5-E0AC-F4C52AAD0315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899317" y="3688019"/>
                              <a:ext cx="54048" cy="20174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6872" h="2565" fill="none" extrusionOk="0">
                                  <a:moveTo>
                                    <a:pt x="0" y="0"/>
                                  </a:moveTo>
                                  <a:lnTo>
                                    <a:pt x="6871" y="2565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  <p:sp>
                          <p:nvSpPr>
                            <p:cNvPr id="2565" name="Google Shape;11404;p65">
                              <a:extLst>
                                <a:ext uri="{FF2B5EF4-FFF2-40B4-BE49-F238E27FC236}">
                                  <a16:creationId xmlns:a16="http://schemas.microsoft.com/office/drawing/2014/main" id="{5215F5C0-B924-A88D-1577-30D02B7912F4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4862690" y="3700571"/>
                              <a:ext cx="27693" cy="31216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3521" h="3969" fill="none" extrusionOk="0">
                                  <a:moveTo>
                                    <a:pt x="0" y="1"/>
                                  </a:moveTo>
                                  <a:lnTo>
                                    <a:pt x="3520" y="3969"/>
                                  </a:lnTo>
                                </a:path>
                              </a:pathLst>
                            </a:custGeom>
                            <a:noFill/>
                            <a:ln w="1825" cap="flat" cmpd="sng">
                              <a:solidFill>
                                <a:srgbClr val="A5B7C5"/>
                              </a:solidFill>
                              <a:prstDash val="solid"/>
                              <a:miter lim="12096"/>
                              <a:headEnd type="none" w="sm" len="sm"/>
                              <a:tailEnd type="none" w="sm" len="sm"/>
                            </a:ln>
                          </p:spPr>
                          <p:txBody>
                            <a:bodyPr spcFirstLastPara="1" wrap="square" lIns="121900" tIns="121900" rIns="121900" bIns="121900" anchor="ctr" anchorCtr="0">
                              <a:noAutofit/>
                            </a:bodyPr>
                            <a:lstStyle/>
                            <a:p>
                              <a:pPr marL="0" marR="0" lvl="0" indent="0" algn="l" defTabSz="12192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>
                                  <a:srgbClr val="000000"/>
                                </a:buClr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sz="1865" b="0" i="0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Arial" panose="020B0604020202020204"/>
                                <a:ea typeface="+mn-ea"/>
                                <a:cs typeface="Arial" panose="020B0604020202020204"/>
                                <a:sym typeface="Arial" panose="020B0604020202020204"/>
                              </a:endParaRPr>
                            </a:p>
                          </p:txBody>
                        </p:sp>
                      </p:grpSp>
                    </p:grpSp>
                    <p:sp>
                      <p:nvSpPr>
                        <p:cNvPr id="2552" name="Google Shape;11405;p65">
                          <a:extLst>
                            <a:ext uri="{FF2B5EF4-FFF2-40B4-BE49-F238E27FC236}">
                              <a16:creationId xmlns:a16="http://schemas.microsoft.com/office/drawing/2014/main" id="{50FAB6C6-EAD2-7EF5-FD14-2A263C4F645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53924" y="3297081"/>
                          <a:ext cx="146053" cy="168122"/>
                        </a:xfrm>
                        <a:custGeom>
                          <a:avLst/>
                          <a:gdLst/>
                          <a:ahLst/>
                          <a:cxnLst/>
                          <a:rect l="l" t="t" r="r" b="b"/>
                          <a:pathLst>
                            <a:path w="18570" h="21376" fill="none" extrusionOk="0">
                              <a:moveTo>
                                <a:pt x="1" y="21376"/>
                              </a:moveTo>
                              <a:lnTo>
                                <a:pt x="18569" y="1"/>
                              </a:lnTo>
                            </a:path>
                          </a:pathLst>
                        </a:custGeom>
                        <a:noFill/>
                        <a:ln w="1825" cap="flat" cmpd="sng">
                          <a:solidFill>
                            <a:srgbClr val="A5B7C5"/>
                          </a:solidFill>
                          <a:prstDash val="solid"/>
                          <a:miter lim="12096"/>
                          <a:headEnd type="none" w="sm" len="sm"/>
                          <a:tailEnd type="none" w="sm" len="sm"/>
                        </a:ln>
                      </p:spPr>
                      <p:txBody>
                        <a:bodyPr spcFirstLastPara="1" wrap="square" lIns="121900" tIns="121900" rIns="121900" bIns="121900" anchor="ctr" anchorCtr="0">
                          <a:noAutofit/>
                        </a:bodyPr>
                        <a:lstStyle/>
                        <a:p>
                          <a:pPr marL="0" marR="0" lvl="0" indent="0" algn="l" defTabSz="1219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>
                              <a:srgbClr val="000000"/>
                            </a:buClr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sz="1865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Arial" panose="020B0604020202020204"/>
                            <a:sym typeface="Arial" panose="020B0604020202020204"/>
                          </a:endParaRPr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2180" name="Google Shape;11406;p65">
                <a:extLst>
                  <a:ext uri="{FF2B5EF4-FFF2-40B4-BE49-F238E27FC236}">
                    <a16:creationId xmlns:a16="http://schemas.microsoft.com/office/drawing/2014/main" id="{67232B75-AD1A-1307-ACD6-5BF6A0F1217F}"/>
                  </a:ext>
                </a:extLst>
              </p:cNvPr>
              <p:cNvGrpSpPr/>
              <p:nvPr/>
            </p:nvGrpSpPr>
            <p:grpSpPr>
              <a:xfrm>
                <a:off x="4595437" y="3598775"/>
                <a:ext cx="37776" cy="32451"/>
                <a:chOff x="4595437" y="3598775"/>
                <a:chExt cx="37776" cy="32451"/>
              </a:xfrm>
            </p:grpSpPr>
            <p:sp>
              <p:nvSpPr>
                <p:cNvPr id="2495" name="Google Shape;11407;p65">
                  <a:extLst>
                    <a:ext uri="{FF2B5EF4-FFF2-40B4-BE49-F238E27FC236}">
                      <a16:creationId xmlns:a16="http://schemas.microsoft.com/office/drawing/2014/main" id="{B38035C4-6506-AE04-73DD-5DADB2837AE5}"/>
                    </a:ext>
                  </a:extLst>
                </p:cNvPr>
                <p:cNvSpPr/>
                <p:nvPr/>
              </p:nvSpPr>
              <p:spPr>
                <a:xfrm>
                  <a:off x="4595437" y="3598775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00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96" name="Google Shape;11408;p65">
                  <a:extLst>
                    <a:ext uri="{FF2B5EF4-FFF2-40B4-BE49-F238E27FC236}">
                      <a16:creationId xmlns:a16="http://schemas.microsoft.com/office/drawing/2014/main" id="{04A3D1A9-91D1-5220-32DF-FF5FD130F828}"/>
                    </a:ext>
                  </a:extLst>
                </p:cNvPr>
                <p:cNvSpPr/>
                <p:nvPr/>
              </p:nvSpPr>
              <p:spPr>
                <a:xfrm>
                  <a:off x="4610561" y="360848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35"/>
                      </a:cubicBezTo>
                      <a:cubicBezTo>
                        <a:pt x="1658" y="375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81" name="Google Shape;11409;p65">
                <a:extLst>
                  <a:ext uri="{FF2B5EF4-FFF2-40B4-BE49-F238E27FC236}">
                    <a16:creationId xmlns:a16="http://schemas.microsoft.com/office/drawing/2014/main" id="{E1DB726E-A58E-7A9D-22DE-F0E3B0534110}"/>
                  </a:ext>
                </a:extLst>
              </p:cNvPr>
              <p:cNvGrpSpPr/>
              <p:nvPr/>
            </p:nvGrpSpPr>
            <p:grpSpPr>
              <a:xfrm>
                <a:off x="4641864" y="3524443"/>
                <a:ext cx="37776" cy="32380"/>
                <a:chOff x="4641864" y="3524443"/>
                <a:chExt cx="37776" cy="32380"/>
              </a:xfrm>
            </p:grpSpPr>
            <p:sp>
              <p:nvSpPr>
                <p:cNvPr id="2493" name="Google Shape;11410;p65">
                  <a:extLst>
                    <a:ext uri="{FF2B5EF4-FFF2-40B4-BE49-F238E27FC236}">
                      <a16:creationId xmlns:a16="http://schemas.microsoft.com/office/drawing/2014/main" id="{7E452C58-CF03-E422-8739-31BE224E7098}"/>
                    </a:ext>
                  </a:extLst>
                </p:cNvPr>
                <p:cNvSpPr/>
                <p:nvPr/>
              </p:nvSpPr>
              <p:spPr>
                <a:xfrm>
                  <a:off x="4641864" y="3524443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5" y="189"/>
                        <a:pt x="1295" y="609"/>
                      </a:cubicBezTo>
                      <a:cubicBezTo>
                        <a:pt x="0" y="1903"/>
                        <a:pt x="908" y="4117"/>
                        <a:pt x="2746" y="4117"/>
                      </a:cubicBezTo>
                      <a:cubicBezTo>
                        <a:pt x="3884" y="4117"/>
                        <a:pt x="4803" y="3197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94" name="Google Shape;11411;p65">
                  <a:extLst>
                    <a:ext uri="{FF2B5EF4-FFF2-40B4-BE49-F238E27FC236}">
                      <a16:creationId xmlns:a16="http://schemas.microsoft.com/office/drawing/2014/main" id="{49EF957A-A42F-05AC-0DD0-A238E805D770}"/>
                    </a:ext>
                  </a:extLst>
                </p:cNvPr>
                <p:cNvSpPr/>
                <p:nvPr/>
              </p:nvSpPr>
              <p:spPr>
                <a:xfrm>
                  <a:off x="4656988" y="3534077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82" name="Google Shape;11412;p65">
                <a:extLst>
                  <a:ext uri="{FF2B5EF4-FFF2-40B4-BE49-F238E27FC236}">
                    <a16:creationId xmlns:a16="http://schemas.microsoft.com/office/drawing/2014/main" id="{E91106B3-ED63-F02A-E902-F19082A42557}"/>
                  </a:ext>
                </a:extLst>
              </p:cNvPr>
              <p:cNvGrpSpPr/>
              <p:nvPr/>
            </p:nvGrpSpPr>
            <p:grpSpPr>
              <a:xfrm>
                <a:off x="4648431" y="3893901"/>
                <a:ext cx="37776" cy="32357"/>
                <a:chOff x="4648431" y="3893901"/>
                <a:chExt cx="37776" cy="32357"/>
              </a:xfrm>
            </p:grpSpPr>
            <p:sp>
              <p:nvSpPr>
                <p:cNvPr id="2491" name="Google Shape;11413;p65">
                  <a:extLst>
                    <a:ext uri="{FF2B5EF4-FFF2-40B4-BE49-F238E27FC236}">
                      <a16:creationId xmlns:a16="http://schemas.microsoft.com/office/drawing/2014/main" id="{BA17FBAD-4203-DAE9-0C4F-A531E33564D6}"/>
                    </a:ext>
                  </a:extLst>
                </p:cNvPr>
                <p:cNvSpPr/>
                <p:nvPr/>
              </p:nvSpPr>
              <p:spPr>
                <a:xfrm>
                  <a:off x="4648431" y="389390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3"/>
                        <a:pt x="2746" y="4113"/>
                      </a:cubicBezTo>
                      <a:cubicBezTo>
                        <a:pt x="3883" y="4113"/>
                        <a:pt x="4803" y="3194"/>
                        <a:pt x="4803" y="2057"/>
                      </a:cubicBezTo>
                      <a:cubicBezTo>
                        <a:pt x="4803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92" name="Google Shape;11414;p65">
                  <a:extLst>
                    <a:ext uri="{FF2B5EF4-FFF2-40B4-BE49-F238E27FC236}">
                      <a16:creationId xmlns:a16="http://schemas.microsoft.com/office/drawing/2014/main" id="{44205A0E-DED5-9A3D-3C09-07953DE367DA}"/>
                    </a:ext>
                  </a:extLst>
                </p:cNvPr>
                <p:cNvSpPr/>
                <p:nvPr/>
              </p:nvSpPr>
              <p:spPr>
                <a:xfrm>
                  <a:off x="4663556" y="390360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83" name="Google Shape;11415;p65">
                <a:extLst>
                  <a:ext uri="{FF2B5EF4-FFF2-40B4-BE49-F238E27FC236}">
                    <a16:creationId xmlns:a16="http://schemas.microsoft.com/office/drawing/2014/main" id="{921FEC66-E5EE-66CA-003D-E5FD74819B32}"/>
                  </a:ext>
                </a:extLst>
              </p:cNvPr>
              <p:cNvGrpSpPr/>
              <p:nvPr/>
            </p:nvGrpSpPr>
            <p:grpSpPr>
              <a:xfrm>
                <a:off x="4567752" y="3722908"/>
                <a:ext cx="37870" cy="32380"/>
                <a:chOff x="4567752" y="3722908"/>
                <a:chExt cx="37870" cy="32380"/>
              </a:xfrm>
            </p:grpSpPr>
            <p:sp>
              <p:nvSpPr>
                <p:cNvPr id="2489" name="Google Shape;11416;p65">
                  <a:extLst>
                    <a:ext uri="{FF2B5EF4-FFF2-40B4-BE49-F238E27FC236}">
                      <a16:creationId xmlns:a16="http://schemas.microsoft.com/office/drawing/2014/main" id="{0F4F6F86-AD9A-7848-253B-ECAD945B067E}"/>
                    </a:ext>
                  </a:extLst>
                </p:cNvPr>
                <p:cNvSpPr/>
                <p:nvPr/>
              </p:nvSpPr>
              <p:spPr>
                <a:xfrm>
                  <a:off x="4567752" y="3722908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1"/>
                      </a:moveTo>
                      <a:cubicBezTo>
                        <a:pt x="2243" y="1"/>
                        <a:pt x="1726" y="189"/>
                        <a:pt x="1307" y="609"/>
                      </a:cubicBezTo>
                      <a:cubicBezTo>
                        <a:pt x="0" y="1903"/>
                        <a:pt x="919" y="4117"/>
                        <a:pt x="2758" y="4117"/>
                      </a:cubicBezTo>
                      <a:cubicBezTo>
                        <a:pt x="3895" y="4117"/>
                        <a:pt x="4815" y="3197"/>
                        <a:pt x="4815" y="2060"/>
                      </a:cubicBezTo>
                      <a:cubicBezTo>
                        <a:pt x="4815" y="818"/>
                        <a:pt x="3804" y="1"/>
                        <a:pt x="274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90" name="Google Shape;11417;p65">
                  <a:extLst>
                    <a:ext uri="{FF2B5EF4-FFF2-40B4-BE49-F238E27FC236}">
                      <a16:creationId xmlns:a16="http://schemas.microsoft.com/office/drawing/2014/main" id="{3151666A-3ACA-1EEB-311B-B163A1DA78E9}"/>
                    </a:ext>
                  </a:extLst>
                </p:cNvPr>
                <p:cNvSpPr/>
                <p:nvPr/>
              </p:nvSpPr>
              <p:spPr>
                <a:xfrm>
                  <a:off x="4580690" y="373254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84" name="Google Shape;11418;p65">
                <a:extLst>
                  <a:ext uri="{FF2B5EF4-FFF2-40B4-BE49-F238E27FC236}">
                    <a16:creationId xmlns:a16="http://schemas.microsoft.com/office/drawing/2014/main" id="{E016CF6B-3D60-19D1-F875-739D9AA23A55}"/>
                  </a:ext>
                </a:extLst>
              </p:cNvPr>
              <p:cNvGrpSpPr/>
              <p:nvPr/>
            </p:nvGrpSpPr>
            <p:grpSpPr>
              <a:xfrm>
                <a:off x="4617506" y="3652052"/>
                <a:ext cx="37783" cy="32357"/>
                <a:chOff x="4617506" y="3652052"/>
                <a:chExt cx="37783" cy="32357"/>
              </a:xfrm>
            </p:grpSpPr>
            <p:sp>
              <p:nvSpPr>
                <p:cNvPr id="2487" name="Google Shape;11419;p65">
                  <a:extLst>
                    <a:ext uri="{FF2B5EF4-FFF2-40B4-BE49-F238E27FC236}">
                      <a16:creationId xmlns:a16="http://schemas.microsoft.com/office/drawing/2014/main" id="{0F3B22B7-2AFA-2BEF-8CFE-2C99CD074854}"/>
                    </a:ext>
                  </a:extLst>
                </p:cNvPr>
                <p:cNvSpPr/>
                <p:nvPr/>
              </p:nvSpPr>
              <p:spPr>
                <a:xfrm>
                  <a:off x="4617506" y="3652052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88" name="Google Shape;11420;p65">
                  <a:extLst>
                    <a:ext uri="{FF2B5EF4-FFF2-40B4-BE49-F238E27FC236}">
                      <a16:creationId xmlns:a16="http://schemas.microsoft.com/office/drawing/2014/main" id="{5F8EDA02-2A1F-82EF-DEFA-92CDABFAE2D2}"/>
                    </a:ext>
                  </a:extLst>
                </p:cNvPr>
                <p:cNvSpPr/>
                <p:nvPr/>
              </p:nvSpPr>
              <p:spPr>
                <a:xfrm>
                  <a:off x="4632638" y="366175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3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2" y="1658"/>
                        <a:pt x="1657" y="1283"/>
                        <a:pt x="1657" y="823"/>
                      </a:cubicBezTo>
                      <a:cubicBezTo>
                        <a:pt x="1657" y="363"/>
                        <a:pt x="1282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85" name="Google Shape;11421;p65">
                <a:extLst>
                  <a:ext uri="{FF2B5EF4-FFF2-40B4-BE49-F238E27FC236}">
                    <a16:creationId xmlns:a16="http://schemas.microsoft.com/office/drawing/2014/main" id="{31DB14D1-6635-3713-0F0E-EFEBA4D6AF43}"/>
                  </a:ext>
                </a:extLst>
              </p:cNvPr>
              <p:cNvGrpSpPr/>
              <p:nvPr/>
            </p:nvGrpSpPr>
            <p:grpSpPr>
              <a:xfrm>
                <a:off x="4739005" y="3554149"/>
                <a:ext cx="37870" cy="32357"/>
                <a:chOff x="4739005" y="3554149"/>
                <a:chExt cx="37870" cy="32357"/>
              </a:xfrm>
            </p:grpSpPr>
            <p:sp>
              <p:nvSpPr>
                <p:cNvPr id="2485" name="Google Shape;11422;p65">
                  <a:extLst>
                    <a:ext uri="{FF2B5EF4-FFF2-40B4-BE49-F238E27FC236}">
                      <a16:creationId xmlns:a16="http://schemas.microsoft.com/office/drawing/2014/main" id="{C1C6D968-1DA1-5261-040E-26B4214458FB}"/>
                    </a:ext>
                  </a:extLst>
                </p:cNvPr>
                <p:cNvSpPr/>
                <p:nvPr/>
              </p:nvSpPr>
              <p:spPr>
                <a:xfrm>
                  <a:off x="4739005" y="3554149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4" y="1"/>
                      </a:moveTo>
                      <a:cubicBezTo>
                        <a:pt x="2239" y="1"/>
                        <a:pt x="1725" y="188"/>
                        <a:pt x="1307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15" y="3195"/>
                        <a:pt x="4815" y="2058"/>
                      </a:cubicBezTo>
                      <a:cubicBezTo>
                        <a:pt x="4815" y="821"/>
                        <a:pt x="3801" y="1"/>
                        <a:pt x="274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86" name="Google Shape;11423;p65">
                  <a:extLst>
                    <a:ext uri="{FF2B5EF4-FFF2-40B4-BE49-F238E27FC236}">
                      <a16:creationId xmlns:a16="http://schemas.microsoft.com/office/drawing/2014/main" id="{43D3450B-1FD1-51EC-8AB2-6AFD81C9AFFE}"/>
                    </a:ext>
                  </a:extLst>
                </p:cNvPr>
                <p:cNvSpPr/>
                <p:nvPr/>
              </p:nvSpPr>
              <p:spPr>
                <a:xfrm>
                  <a:off x="4751943" y="3563854"/>
                  <a:ext cx="15227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9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1" y="1416"/>
                      </a:cubicBezTo>
                      <a:cubicBezTo>
                        <a:pt x="692" y="1583"/>
                        <a:pt x="899" y="1658"/>
                        <a:pt x="1101" y="1658"/>
                      </a:cubicBezTo>
                      <a:cubicBezTo>
                        <a:pt x="1529" y="1658"/>
                        <a:pt x="1936" y="1324"/>
                        <a:pt x="1936" y="824"/>
                      </a:cubicBezTo>
                      <a:cubicBezTo>
                        <a:pt x="1936" y="364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86" name="Google Shape;11424;p65">
                <a:extLst>
                  <a:ext uri="{FF2B5EF4-FFF2-40B4-BE49-F238E27FC236}">
                    <a16:creationId xmlns:a16="http://schemas.microsoft.com/office/drawing/2014/main" id="{A7C4238C-FB4A-299E-40F2-5CD5A917392F}"/>
                  </a:ext>
                </a:extLst>
              </p:cNvPr>
              <p:cNvGrpSpPr/>
              <p:nvPr/>
            </p:nvGrpSpPr>
            <p:grpSpPr>
              <a:xfrm>
                <a:off x="4806557" y="3630258"/>
                <a:ext cx="37776" cy="32364"/>
                <a:chOff x="4806557" y="3630258"/>
                <a:chExt cx="37776" cy="32364"/>
              </a:xfrm>
            </p:grpSpPr>
            <p:sp>
              <p:nvSpPr>
                <p:cNvPr id="2483" name="Google Shape;11425;p65">
                  <a:extLst>
                    <a:ext uri="{FF2B5EF4-FFF2-40B4-BE49-F238E27FC236}">
                      <a16:creationId xmlns:a16="http://schemas.microsoft.com/office/drawing/2014/main" id="{91CA5D27-732F-522F-D8A0-4202323F2BDE}"/>
                    </a:ext>
                  </a:extLst>
                </p:cNvPr>
                <p:cNvSpPr/>
                <p:nvPr/>
              </p:nvSpPr>
              <p:spPr>
                <a:xfrm>
                  <a:off x="4806557" y="3630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4" y="606"/>
                      </a:cubicBezTo>
                      <a:cubicBezTo>
                        <a:pt x="0" y="1901"/>
                        <a:pt x="907" y="4114"/>
                        <a:pt x="2746" y="4114"/>
                      </a:cubicBezTo>
                      <a:cubicBezTo>
                        <a:pt x="3883" y="4114"/>
                        <a:pt x="4802" y="3195"/>
                        <a:pt x="4802" y="2058"/>
                      </a:cubicBezTo>
                      <a:cubicBezTo>
                        <a:pt x="4802" y="822"/>
                        <a:pt x="3788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84" name="Google Shape;11426;p65">
                  <a:extLst>
                    <a:ext uri="{FF2B5EF4-FFF2-40B4-BE49-F238E27FC236}">
                      <a16:creationId xmlns:a16="http://schemas.microsoft.com/office/drawing/2014/main" id="{152A2C87-BD1A-6CA4-44DC-C0EF288C38F4}"/>
                    </a:ext>
                  </a:extLst>
                </p:cNvPr>
                <p:cNvSpPr/>
                <p:nvPr/>
              </p:nvSpPr>
              <p:spPr>
                <a:xfrm>
                  <a:off x="4819495" y="3639972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13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7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87" name="Google Shape;11427;p65">
                <a:extLst>
                  <a:ext uri="{FF2B5EF4-FFF2-40B4-BE49-F238E27FC236}">
                    <a16:creationId xmlns:a16="http://schemas.microsoft.com/office/drawing/2014/main" id="{974C151C-A5BB-BF15-F1EB-336B20D00770}"/>
                  </a:ext>
                </a:extLst>
              </p:cNvPr>
              <p:cNvGrpSpPr/>
              <p:nvPr/>
            </p:nvGrpSpPr>
            <p:grpSpPr>
              <a:xfrm>
                <a:off x="4737007" y="4004357"/>
                <a:ext cx="37870" cy="32357"/>
                <a:chOff x="4737007" y="4004357"/>
                <a:chExt cx="37870" cy="32357"/>
              </a:xfrm>
            </p:grpSpPr>
            <p:sp>
              <p:nvSpPr>
                <p:cNvPr id="2481" name="Google Shape;11428;p65">
                  <a:extLst>
                    <a:ext uri="{FF2B5EF4-FFF2-40B4-BE49-F238E27FC236}">
                      <a16:creationId xmlns:a16="http://schemas.microsoft.com/office/drawing/2014/main" id="{BB9D402B-443B-BBFD-12E8-B8985E0C7C42}"/>
                    </a:ext>
                  </a:extLst>
                </p:cNvPr>
                <p:cNvSpPr/>
                <p:nvPr/>
              </p:nvSpPr>
              <p:spPr>
                <a:xfrm>
                  <a:off x="4737007" y="4004357"/>
                  <a:ext cx="37870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4" extrusionOk="0">
                      <a:moveTo>
                        <a:pt x="2740" y="0"/>
                      </a:moveTo>
                      <a:cubicBezTo>
                        <a:pt x="2234" y="0"/>
                        <a:pt x="1717" y="187"/>
                        <a:pt x="1295" y="606"/>
                      </a:cubicBezTo>
                      <a:cubicBezTo>
                        <a:pt x="0" y="1900"/>
                        <a:pt x="920" y="4114"/>
                        <a:pt x="2758" y="4114"/>
                      </a:cubicBezTo>
                      <a:cubicBezTo>
                        <a:pt x="3895" y="4114"/>
                        <a:pt x="4803" y="3194"/>
                        <a:pt x="4815" y="2057"/>
                      </a:cubicBezTo>
                      <a:cubicBezTo>
                        <a:pt x="4815" y="821"/>
                        <a:pt x="3801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82" name="Google Shape;11429;p65">
                  <a:extLst>
                    <a:ext uri="{FF2B5EF4-FFF2-40B4-BE49-F238E27FC236}">
                      <a16:creationId xmlns:a16="http://schemas.microsoft.com/office/drawing/2014/main" id="{88B98A44-0CF6-981D-DDF1-C253CB8AEA8F}"/>
                    </a:ext>
                  </a:extLst>
                </p:cNvPr>
                <p:cNvSpPr/>
                <p:nvPr/>
              </p:nvSpPr>
              <p:spPr>
                <a:xfrm>
                  <a:off x="4752131" y="4014062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4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88" name="Google Shape;11430;p65">
                <a:extLst>
                  <a:ext uri="{FF2B5EF4-FFF2-40B4-BE49-F238E27FC236}">
                    <a16:creationId xmlns:a16="http://schemas.microsoft.com/office/drawing/2014/main" id="{F923CCD5-3EF8-894A-D563-00689020B3FE}"/>
                  </a:ext>
                </a:extLst>
              </p:cNvPr>
              <p:cNvGrpSpPr/>
              <p:nvPr/>
            </p:nvGrpSpPr>
            <p:grpSpPr>
              <a:xfrm>
                <a:off x="4773634" y="4208627"/>
                <a:ext cx="37776" cy="32357"/>
                <a:chOff x="4773634" y="4208627"/>
                <a:chExt cx="37776" cy="32357"/>
              </a:xfrm>
            </p:grpSpPr>
            <p:sp>
              <p:nvSpPr>
                <p:cNvPr id="2479" name="Google Shape;11431;p65">
                  <a:extLst>
                    <a:ext uri="{FF2B5EF4-FFF2-40B4-BE49-F238E27FC236}">
                      <a16:creationId xmlns:a16="http://schemas.microsoft.com/office/drawing/2014/main" id="{3D187B1E-98CD-FE1B-1961-D2903534F5FE}"/>
                    </a:ext>
                  </a:extLst>
                </p:cNvPr>
                <p:cNvSpPr/>
                <p:nvPr/>
              </p:nvSpPr>
              <p:spPr>
                <a:xfrm>
                  <a:off x="4773634" y="420862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80" name="Google Shape;11432;p65">
                  <a:extLst>
                    <a:ext uri="{FF2B5EF4-FFF2-40B4-BE49-F238E27FC236}">
                      <a16:creationId xmlns:a16="http://schemas.microsoft.com/office/drawing/2014/main" id="{B6CFB378-844C-6D13-8392-DAAA359A81E3}"/>
                    </a:ext>
                  </a:extLst>
                </p:cNvPr>
                <p:cNvSpPr/>
                <p:nvPr/>
              </p:nvSpPr>
              <p:spPr>
                <a:xfrm>
                  <a:off x="4788664" y="421833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89" name="Google Shape;11433;p65">
                <a:extLst>
                  <a:ext uri="{FF2B5EF4-FFF2-40B4-BE49-F238E27FC236}">
                    <a16:creationId xmlns:a16="http://schemas.microsoft.com/office/drawing/2014/main" id="{1652B1CE-6192-C2E1-7C4F-273A0CFB480A}"/>
                  </a:ext>
                </a:extLst>
              </p:cNvPr>
              <p:cNvGrpSpPr/>
              <p:nvPr/>
            </p:nvGrpSpPr>
            <p:grpSpPr>
              <a:xfrm>
                <a:off x="4888282" y="4074764"/>
                <a:ext cx="37776" cy="32451"/>
                <a:chOff x="4888282" y="4074764"/>
                <a:chExt cx="37776" cy="32451"/>
              </a:xfrm>
            </p:grpSpPr>
            <p:sp>
              <p:nvSpPr>
                <p:cNvPr id="2477" name="Google Shape;11434;p65">
                  <a:extLst>
                    <a:ext uri="{FF2B5EF4-FFF2-40B4-BE49-F238E27FC236}">
                      <a16:creationId xmlns:a16="http://schemas.microsoft.com/office/drawing/2014/main" id="{2B5816B5-7EE6-7936-4CE8-F3BAC28ED690}"/>
                    </a:ext>
                  </a:extLst>
                </p:cNvPr>
                <p:cNvSpPr/>
                <p:nvPr/>
              </p:nvSpPr>
              <p:spPr>
                <a:xfrm>
                  <a:off x="4888282" y="4074764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912"/>
                        <a:pt x="919" y="4125"/>
                        <a:pt x="2746" y="4125"/>
                      </a:cubicBezTo>
                      <a:cubicBezTo>
                        <a:pt x="3883" y="4125"/>
                        <a:pt x="4803" y="3206"/>
                        <a:pt x="4803" y="2069"/>
                      </a:cubicBezTo>
                      <a:cubicBezTo>
                        <a:pt x="4803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78" name="Google Shape;11435;p65">
                  <a:extLst>
                    <a:ext uri="{FF2B5EF4-FFF2-40B4-BE49-F238E27FC236}">
                      <a16:creationId xmlns:a16="http://schemas.microsoft.com/office/drawing/2014/main" id="{F86A900A-3AD6-7E32-AAB7-5C0EF4403133}"/>
                    </a:ext>
                  </a:extLst>
                </p:cNvPr>
                <p:cNvSpPr/>
                <p:nvPr/>
              </p:nvSpPr>
              <p:spPr>
                <a:xfrm>
                  <a:off x="4901220" y="4084470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0" name="Google Shape;11436;p65">
                <a:extLst>
                  <a:ext uri="{FF2B5EF4-FFF2-40B4-BE49-F238E27FC236}">
                    <a16:creationId xmlns:a16="http://schemas.microsoft.com/office/drawing/2014/main" id="{914A4719-5ED8-C289-6DA8-4CF418C6C956}"/>
                  </a:ext>
                </a:extLst>
              </p:cNvPr>
              <p:cNvGrpSpPr/>
              <p:nvPr/>
            </p:nvGrpSpPr>
            <p:grpSpPr>
              <a:xfrm>
                <a:off x="4901315" y="3804271"/>
                <a:ext cx="37776" cy="32364"/>
                <a:chOff x="4901315" y="3804271"/>
                <a:chExt cx="37776" cy="32364"/>
              </a:xfrm>
            </p:grpSpPr>
            <p:sp>
              <p:nvSpPr>
                <p:cNvPr id="2475" name="Google Shape;11437;p65">
                  <a:extLst>
                    <a:ext uri="{FF2B5EF4-FFF2-40B4-BE49-F238E27FC236}">
                      <a16:creationId xmlns:a16="http://schemas.microsoft.com/office/drawing/2014/main" id="{225E0FAD-3FAD-F9FB-F67A-98ACAFB43037}"/>
                    </a:ext>
                  </a:extLst>
                </p:cNvPr>
                <p:cNvSpPr/>
                <p:nvPr/>
              </p:nvSpPr>
              <p:spPr>
                <a:xfrm>
                  <a:off x="4901315" y="3804271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76" name="Google Shape;11438;p65">
                  <a:extLst>
                    <a:ext uri="{FF2B5EF4-FFF2-40B4-BE49-F238E27FC236}">
                      <a16:creationId xmlns:a16="http://schemas.microsoft.com/office/drawing/2014/main" id="{CDCF85D4-A75F-3E36-7928-6C7645FCFA90}"/>
                    </a:ext>
                  </a:extLst>
                </p:cNvPr>
                <p:cNvSpPr/>
                <p:nvPr/>
              </p:nvSpPr>
              <p:spPr>
                <a:xfrm>
                  <a:off x="4914253" y="3813985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1" name="Google Shape;11439;p65">
                <a:extLst>
                  <a:ext uri="{FF2B5EF4-FFF2-40B4-BE49-F238E27FC236}">
                    <a16:creationId xmlns:a16="http://schemas.microsoft.com/office/drawing/2014/main" id="{4265FA87-EBD4-F81B-03E6-6940ACA6C55C}"/>
                  </a:ext>
                </a:extLst>
              </p:cNvPr>
              <p:cNvGrpSpPr/>
              <p:nvPr/>
            </p:nvGrpSpPr>
            <p:grpSpPr>
              <a:xfrm>
                <a:off x="4866394" y="3715035"/>
                <a:ext cx="37846" cy="32357"/>
                <a:chOff x="4866394" y="3715035"/>
                <a:chExt cx="37846" cy="32357"/>
              </a:xfrm>
            </p:grpSpPr>
            <p:sp>
              <p:nvSpPr>
                <p:cNvPr id="2473" name="Google Shape;11440;p65">
                  <a:extLst>
                    <a:ext uri="{FF2B5EF4-FFF2-40B4-BE49-F238E27FC236}">
                      <a16:creationId xmlns:a16="http://schemas.microsoft.com/office/drawing/2014/main" id="{0664C3A1-B21C-7494-77EA-464F3651F94B}"/>
                    </a:ext>
                  </a:extLst>
                </p:cNvPr>
                <p:cNvSpPr/>
                <p:nvPr/>
              </p:nvSpPr>
              <p:spPr>
                <a:xfrm>
                  <a:off x="4866394" y="3715035"/>
                  <a:ext cx="3784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2" h="4114" extrusionOk="0">
                      <a:moveTo>
                        <a:pt x="2735" y="0"/>
                      </a:moveTo>
                      <a:cubicBezTo>
                        <a:pt x="2229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11" y="821"/>
                        <a:pt x="3794" y="0"/>
                        <a:pt x="273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74" name="Google Shape;11441;p65">
                  <a:extLst>
                    <a:ext uri="{FF2B5EF4-FFF2-40B4-BE49-F238E27FC236}">
                      <a16:creationId xmlns:a16="http://schemas.microsoft.com/office/drawing/2014/main" id="{059750D6-FEE8-B5C7-7B7F-A2E9D337BC0B}"/>
                    </a:ext>
                  </a:extLst>
                </p:cNvPr>
                <p:cNvSpPr/>
                <p:nvPr/>
              </p:nvSpPr>
              <p:spPr>
                <a:xfrm>
                  <a:off x="4879340" y="3724646"/>
                  <a:ext cx="15227" cy="131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6" extrusionOk="0">
                      <a:moveTo>
                        <a:pt x="1101" y="0"/>
                      </a:moveTo>
                      <a:cubicBezTo>
                        <a:pt x="363" y="0"/>
                        <a:pt x="0" y="896"/>
                        <a:pt x="520" y="1416"/>
                      </a:cubicBezTo>
                      <a:cubicBezTo>
                        <a:pt x="689" y="1589"/>
                        <a:pt x="898" y="1666"/>
                        <a:pt x="1103" y="1666"/>
                      </a:cubicBezTo>
                      <a:cubicBezTo>
                        <a:pt x="1528" y="1666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2" name="Google Shape;11442;p65">
                <a:extLst>
                  <a:ext uri="{FF2B5EF4-FFF2-40B4-BE49-F238E27FC236}">
                    <a16:creationId xmlns:a16="http://schemas.microsoft.com/office/drawing/2014/main" id="{33CBCDDE-8D7E-0ED5-979B-1D7BE769E1B7}"/>
                  </a:ext>
                </a:extLst>
              </p:cNvPr>
              <p:cNvGrpSpPr/>
              <p:nvPr/>
            </p:nvGrpSpPr>
            <p:grpSpPr>
              <a:xfrm>
                <a:off x="4979233" y="3839798"/>
                <a:ext cx="37878" cy="32420"/>
                <a:chOff x="4979233" y="3839798"/>
                <a:chExt cx="37878" cy="32420"/>
              </a:xfrm>
            </p:grpSpPr>
            <p:sp>
              <p:nvSpPr>
                <p:cNvPr id="2471" name="Google Shape;11443;p65">
                  <a:extLst>
                    <a:ext uri="{FF2B5EF4-FFF2-40B4-BE49-F238E27FC236}">
                      <a16:creationId xmlns:a16="http://schemas.microsoft.com/office/drawing/2014/main" id="{5A119AA6-CB27-84A9-56D4-2EC2588A672C}"/>
                    </a:ext>
                  </a:extLst>
                </p:cNvPr>
                <p:cNvSpPr/>
                <p:nvPr/>
              </p:nvSpPr>
              <p:spPr>
                <a:xfrm>
                  <a:off x="4979233" y="3839798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84" y="4122"/>
                        <a:pt x="4803" y="3202"/>
                        <a:pt x="4815" y="2065"/>
                      </a:cubicBezTo>
                      <a:cubicBezTo>
                        <a:pt x="4807" y="823"/>
                        <a:pt x="3794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72" name="Google Shape;11444;p65">
                  <a:extLst>
                    <a:ext uri="{FF2B5EF4-FFF2-40B4-BE49-F238E27FC236}">
                      <a16:creationId xmlns:a16="http://schemas.microsoft.com/office/drawing/2014/main" id="{C30491D1-380B-D550-4F43-BE446904ADEE}"/>
                    </a:ext>
                  </a:extLst>
                </p:cNvPr>
                <p:cNvSpPr/>
                <p:nvPr/>
              </p:nvSpPr>
              <p:spPr>
                <a:xfrm>
                  <a:off x="4994366" y="38494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3" name="Google Shape;11445;p65">
                <a:extLst>
                  <a:ext uri="{FF2B5EF4-FFF2-40B4-BE49-F238E27FC236}">
                    <a16:creationId xmlns:a16="http://schemas.microsoft.com/office/drawing/2014/main" id="{77F2E31C-BF36-F2C0-886F-EE00CB8BA63E}"/>
                  </a:ext>
                </a:extLst>
              </p:cNvPr>
              <p:cNvGrpSpPr/>
              <p:nvPr/>
            </p:nvGrpSpPr>
            <p:grpSpPr>
              <a:xfrm>
                <a:off x="4790662" y="3679147"/>
                <a:ext cx="37783" cy="32380"/>
                <a:chOff x="4790662" y="3679147"/>
                <a:chExt cx="37783" cy="32380"/>
              </a:xfrm>
            </p:grpSpPr>
            <p:sp>
              <p:nvSpPr>
                <p:cNvPr id="2469" name="Google Shape;11446;p65">
                  <a:extLst>
                    <a:ext uri="{FF2B5EF4-FFF2-40B4-BE49-F238E27FC236}">
                      <a16:creationId xmlns:a16="http://schemas.microsoft.com/office/drawing/2014/main" id="{9350F5B8-65EB-4AE8-4AA1-4524B7C4C7FC}"/>
                    </a:ext>
                  </a:extLst>
                </p:cNvPr>
                <p:cNvSpPr/>
                <p:nvPr/>
              </p:nvSpPr>
              <p:spPr>
                <a:xfrm>
                  <a:off x="4790662" y="3679147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2"/>
                        <a:pt x="908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3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70" name="Google Shape;11447;p65">
                  <a:extLst>
                    <a:ext uri="{FF2B5EF4-FFF2-40B4-BE49-F238E27FC236}">
                      <a16:creationId xmlns:a16="http://schemas.microsoft.com/office/drawing/2014/main" id="{C9D4EA2C-4615-469E-7162-AC77B7FF9C1F}"/>
                    </a:ext>
                  </a:extLst>
                </p:cNvPr>
                <p:cNvSpPr/>
                <p:nvPr/>
              </p:nvSpPr>
              <p:spPr>
                <a:xfrm>
                  <a:off x="4803506" y="3688774"/>
                  <a:ext cx="15235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2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4" y="1585"/>
                        <a:pt x="904" y="1661"/>
                        <a:pt x="1109" y="1661"/>
                      </a:cubicBezTo>
                      <a:cubicBezTo>
                        <a:pt x="1534" y="1661"/>
                        <a:pt x="1936" y="1334"/>
                        <a:pt x="1936" y="836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4" name="Google Shape;11448;p65">
                <a:extLst>
                  <a:ext uri="{FF2B5EF4-FFF2-40B4-BE49-F238E27FC236}">
                    <a16:creationId xmlns:a16="http://schemas.microsoft.com/office/drawing/2014/main" id="{F81BDAF1-44D9-F373-A15A-FE61A3157DC4}"/>
                  </a:ext>
                </a:extLst>
              </p:cNvPr>
              <p:cNvGrpSpPr/>
              <p:nvPr/>
            </p:nvGrpSpPr>
            <p:grpSpPr>
              <a:xfrm>
                <a:off x="4857263" y="3557861"/>
                <a:ext cx="37776" cy="32357"/>
                <a:chOff x="4857263" y="3557861"/>
                <a:chExt cx="37776" cy="32357"/>
              </a:xfrm>
            </p:grpSpPr>
            <p:sp>
              <p:nvSpPr>
                <p:cNvPr id="2467" name="Google Shape;11449;p65">
                  <a:extLst>
                    <a:ext uri="{FF2B5EF4-FFF2-40B4-BE49-F238E27FC236}">
                      <a16:creationId xmlns:a16="http://schemas.microsoft.com/office/drawing/2014/main" id="{F5D83A45-08AF-8126-DCF2-8C8CB77D116A}"/>
                    </a:ext>
                  </a:extLst>
                </p:cNvPr>
                <p:cNvSpPr/>
                <p:nvPr/>
              </p:nvSpPr>
              <p:spPr>
                <a:xfrm>
                  <a:off x="4857263" y="3557861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68" name="Google Shape;11450;p65">
                  <a:extLst>
                    <a:ext uri="{FF2B5EF4-FFF2-40B4-BE49-F238E27FC236}">
                      <a16:creationId xmlns:a16="http://schemas.microsoft.com/office/drawing/2014/main" id="{49A5CE78-B296-5705-43B7-C352EE8BA7AB}"/>
                    </a:ext>
                  </a:extLst>
                </p:cNvPr>
                <p:cNvSpPr/>
                <p:nvPr/>
              </p:nvSpPr>
              <p:spPr>
                <a:xfrm>
                  <a:off x="4870106" y="3567566"/>
                  <a:ext cx="15329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8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33" y="1416"/>
                      </a:cubicBezTo>
                      <a:cubicBezTo>
                        <a:pt x="700" y="1583"/>
                        <a:pt x="905" y="1658"/>
                        <a:pt x="1105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48" y="364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5" name="Google Shape;11451;p65">
                <a:extLst>
                  <a:ext uri="{FF2B5EF4-FFF2-40B4-BE49-F238E27FC236}">
                    <a16:creationId xmlns:a16="http://schemas.microsoft.com/office/drawing/2014/main" id="{3E4C92F9-3886-D4CC-24DD-162FB9EB3A4D}"/>
                  </a:ext>
                </a:extLst>
              </p:cNvPr>
              <p:cNvGrpSpPr/>
              <p:nvPr/>
            </p:nvGrpSpPr>
            <p:grpSpPr>
              <a:xfrm>
                <a:off x="4883902" y="3648033"/>
                <a:ext cx="37783" cy="32380"/>
                <a:chOff x="4883902" y="3648033"/>
                <a:chExt cx="37783" cy="32380"/>
              </a:xfrm>
            </p:grpSpPr>
            <p:sp>
              <p:nvSpPr>
                <p:cNvPr id="2465" name="Google Shape;11452;p65">
                  <a:extLst>
                    <a:ext uri="{FF2B5EF4-FFF2-40B4-BE49-F238E27FC236}">
                      <a16:creationId xmlns:a16="http://schemas.microsoft.com/office/drawing/2014/main" id="{8FC0F629-E161-4663-E3A1-DB1AE4CD11B5}"/>
                    </a:ext>
                  </a:extLst>
                </p:cNvPr>
                <p:cNvSpPr/>
                <p:nvPr/>
              </p:nvSpPr>
              <p:spPr>
                <a:xfrm>
                  <a:off x="4883902" y="3648033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1" y="0"/>
                      </a:moveTo>
                      <a:cubicBezTo>
                        <a:pt x="2226" y="0"/>
                        <a:pt x="1711" y="188"/>
                        <a:pt x="1295" y="608"/>
                      </a:cubicBezTo>
                      <a:cubicBezTo>
                        <a:pt x="1" y="1903"/>
                        <a:pt x="920" y="4104"/>
                        <a:pt x="2747" y="4116"/>
                      </a:cubicBezTo>
                      <a:cubicBezTo>
                        <a:pt x="3884" y="4104"/>
                        <a:pt x="4803" y="3185"/>
                        <a:pt x="4803" y="2048"/>
                      </a:cubicBezTo>
                      <a:cubicBezTo>
                        <a:pt x="4795" y="814"/>
                        <a:pt x="3783" y="0"/>
                        <a:pt x="27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66" name="Google Shape;11453;p65">
                  <a:extLst>
                    <a:ext uri="{FF2B5EF4-FFF2-40B4-BE49-F238E27FC236}">
                      <a16:creationId xmlns:a16="http://schemas.microsoft.com/office/drawing/2014/main" id="{8B569233-AEEC-0650-1C56-0676D7272FD2}"/>
                    </a:ext>
                  </a:extLst>
                </p:cNvPr>
                <p:cNvSpPr/>
                <p:nvPr/>
              </p:nvSpPr>
              <p:spPr>
                <a:xfrm>
                  <a:off x="4896745" y="3657668"/>
                  <a:ext cx="15329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49" h="1654" extrusionOk="0">
                      <a:moveTo>
                        <a:pt x="1114" y="0"/>
                      </a:moveTo>
                      <a:cubicBezTo>
                        <a:pt x="376" y="0"/>
                        <a:pt x="1" y="883"/>
                        <a:pt x="533" y="1404"/>
                      </a:cubicBezTo>
                      <a:cubicBezTo>
                        <a:pt x="702" y="1577"/>
                        <a:pt x="911" y="1654"/>
                        <a:pt x="1115" y="1654"/>
                      </a:cubicBezTo>
                      <a:cubicBezTo>
                        <a:pt x="1541" y="1654"/>
                        <a:pt x="1948" y="1321"/>
                        <a:pt x="1948" y="823"/>
                      </a:cubicBezTo>
                      <a:cubicBezTo>
                        <a:pt x="1948" y="363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6" name="Google Shape;11454;p65">
                <a:extLst>
                  <a:ext uri="{FF2B5EF4-FFF2-40B4-BE49-F238E27FC236}">
                    <a16:creationId xmlns:a16="http://schemas.microsoft.com/office/drawing/2014/main" id="{5F9DB7A3-2F05-2335-B3F5-59217E080DF7}"/>
                  </a:ext>
                </a:extLst>
              </p:cNvPr>
              <p:cNvGrpSpPr/>
              <p:nvPr/>
            </p:nvGrpSpPr>
            <p:grpSpPr>
              <a:xfrm>
                <a:off x="4907780" y="3347220"/>
                <a:ext cx="37878" cy="32357"/>
                <a:chOff x="4907780" y="3347220"/>
                <a:chExt cx="37878" cy="32357"/>
              </a:xfrm>
            </p:grpSpPr>
            <p:sp>
              <p:nvSpPr>
                <p:cNvPr id="2463" name="Google Shape;11455;p65">
                  <a:extLst>
                    <a:ext uri="{FF2B5EF4-FFF2-40B4-BE49-F238E27FC236}">
                      <a16:creationId xmlns:a16="http://schemas.microsoft.com/office/drawing/2014/main" id="{755CC31E-FFDC-F3A8-59AB-3F0F7EF41E86}"/>
                    </a:ext>
                  </a:extLst>
                </p:cNvPr>
                <p:cNvSpPr/>
                <p:nvPr/>
              </p:nvSpPr>
              <p:spPr>
                <a:xfrm>
                  <a:off x="4907780" y="3347220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33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4"/>
                        <a:pt x="4815" y="2057"/>
                      </a:cubicBezTo>
                      <a:cubicBezTo>
                        <a:pt x="4807" y="821"/>
                        <a:pt x="3791" y="0"/>
                        <a:pt x="273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64" name="Google Shape;11456;p65">
                  <a:extLst>
                    <a:ext uri="{FF2B5EF4-FFF2-40B4-BE49-F238E27FC236}">
                      <a16:creationId xmlns:a16="http://schemas.microsoft.com/office/drawing/2014/main" id="{570B8162-07F5-CCA4-9DC3-24E911B39FCC}"/>
                    </a:ext>
                  </a:extLst>
                </p:cNvPr>
                <p:cNvSpPr/>
                <p:nvPr/>
              </p:nvSpPr>
              <p:spPr>
                <a:xfrm>
                  <a:off x="4922912" y="3356926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7" name="Google Shape;11457;p65">
                <a:extLst>
                  <a:ext uri="{FF2B5EF4-FFF2-40B4-BE49-F238E27FC236}">
                    <a16:creationId xmlns:a16="http://schemas.microsoft.com/office/drawing/2014/main" id="{EE9524F8-5009-C03D-373F-731CFC21C16E}"/>
                  </a:ext>
                </a:extLst>
              </p:cNvPr>
              <p:cNvGrpSpPr/>
              <p:nvPr/>
            </p:nvGrpSpPr>
            <p:grpSpPr>
              <a:xfrm>
                <a:off x="5065048" y="3738150"/>
                <a:ext cx="37783" cy="32364"/>
                <a:chOff x="5065048" y="3738150"/>
                <a:chExt cx="37783" cy="32364"/>
              </a:xfrm>
            </p:grpSpPr>
            <p:sp>
              <p:nvSpPr>
                <p:cNvPr id="2461" name="Google Shape;11458;p65">
                  <a:extLst>
                    <a:ext uri="{FF2B5EF4-FFF2-40B4-BE49-F238E27FC236}">
                      <a16:creationId xmlns:a16="http://schemas.microsoft.com/office/drawing/2014/main" id="{587F2D4C-B1D8-1767-3CE0-C6CF19544985}"/>
                    </a:ext>
                  </a:extLst>
                </p:cNvPr>
                <p:cNvSpPr/>
                <p:nvPr/>
              </p:nvSpPr>
              <p:spPr>
                <a:xfrm>
                  <a:off x="5065048" y="3738150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62" name="Google Shape;11459;p65">
                  <a:extLst>
                    <a:ext uri="{FF2B5EF4-FFF2-40B4-BE49-F238E27FC236}">
                      <a16:creationId xmlns:a16="http://schemas.microsoft.com/office/drawing/2014/main" id="{C1089F58-36F2-686E-AD6D-9D8F7CFD363D}"/>
                    </a:ext>
                  </a:extLst>
                </p:cNvPr>
                <p:cNvSpPr/>
                <p:nvPr/>
              </p:nvSpPr>
              <p:spPr>
                <a:xfrm>
                  <a:off x="5077994" y="3747761"/>
                  <a:ext cx="15227" cy="130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2" extrusionOk="0">
                      <a:moveTo>
                        <a:pt x="1101" y="1"/>
                      </a:moveTo>
                      <a:cubicBezTo>
                        <a:pt x="363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2" y="1661"/>
                      </a:cubicBezTo>
                      <a:cubicBezTo>
                        <a:pt x="1528" y="1661"/>
                        <a:pt x="1936" y="1334"/>
                        <a:pt x="1936" y="836"/>
                      </a:cubicBezTo>
                      <a:cubicBezTo>
                        <a:pt x="1936" y="376"/>
                        <a:pt x="1561" y="1"/>
                        <a:pt x="110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8" name="Google Shape;11460;p65">
                <a:extLst>
                  <a:ext uri="{FF2B5EF4-FFF2-40B4-BE49-F238E27FC236}">
                    <a16:creationId xmlns:a16="http://schemas.microsoft.com/office/drawing/2014/main" id="{C19BE9B2-2FFD-E2AB-C85A-1BC9E6284DB6}"/>
                  </a:ext>
                </a:extLst>
              </p:cNvPr>
              <p:cNvGrpSpPr/>
              <p:nvPr/>
            </p:nvGrpSpPr>
            <p:grpSpPr>
              <a:xfrm>
                <a:off x="5071616" y="3284615"/>
                <a:ext cx="37783" cy="32357"/>
                <a:chOff x="5071616" y="3284615"/>
                <a:chExt cx="37783" cy="32357"/>
              </a:xfrm>
            </p:grpSpPr>
            <p:sp>
              <p:nvSpPr>
                <p:cNvPr id="2459" name="Google Shape;11461;p65">
                  <a:extLst>
                    <a:ext uri="{FF2B5EF4-FFF2-40B4-BE49-F238E27FC236}">
                      <a16:creationId xmlns:a16="http://schemas.microsoft.com/office/drawing/2014/main" id="{45883703-40AE-EF7A-3CB8-B61A59A90AB4}"/>
                    </a:ext>
                  </a:extLst>
                </p:cNvPr>
                <p:cNvSpPr/>
                <p:nvPr/>
              </p:nvSpPr>
              <p:spPr>
                <a:xfrm>
                  <a:off x="507161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8"/>
                        <a:pt x="1295" y="606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60" name="Google Shape;11462;p65">
                  <a:extLst>
                    <a:ext uri="{FF2B5EF4-FFF2-40B4-BE49-F238E27FC236}">
                      <a16:creationId xmlns:a16="http://schemas.microsoft.com/office/drawing/2014/main" id="{DB262D98-08A6-3CBE-C893-87894CDADCDB}"/>
                    </a:ext>
                  </a:extLst>
                </p:cNvPr>
                <p:cNvSpPr/>
                <p:nvPr/>
              </p:nvSpPr>
              <p:spPr>
                <a:xfrm>
                  <a:off x="5086646" y="3294320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36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36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199" name="Google Shape;11463;p65">
                <a:extLst>
                  <a:ext uri="{FF2B5EF4-FFF2-40B4-BE49-F238E27FC236}">
                    <a16:creationId xmlns:a16="http://schemas.microsoft.com/office/drawing/2014/main" id="{84E9C6F0-90C8-4E85-D1D3-75344FB0E8F2}"/>
                  </a:ext>
                </a:extLst>
              </p:cNvPr>
              <p:cNvGrpSpPr/>
              <p:nvPr/>
            </p:nvGrpSpPr>
            <p:grpSpPr>
              <a:xfrm>
                <a:off x="5389291" y="3759921"/>
                <a:ext cx="37783" cy="32380"/>
                <a:chOff x="5389291" y="3759921"/>
                <a:chExt cx="37783" cy="32380"/>
              </a:xfrm>
            </p:grpSpPr>
            <p:sp>
              <p:nvSpPr>
                <p:cNvPr id="2457" name="Google Shape;11464;p65">
                  <a:extLst>
                    <a:ext uri="{FF2B5EF4-FFF2-40B4-BE49-F238E27FC236}">
                      <a16:creationId xmlns:a16="http://schemas.microsoft.com/office/drawing/2014/main" id="{B4D4733D-A30D-236A-8F50-70668ECB7137}"/>
                    </a:ext>
                  </a:extLst>
                </p:cNvPr>
                <p:cNvSpPr/>
                <p:nvPr/>
              </p:nvSpPr>
              <p:spPr>
                <a:xfrm>
                  <a:off x="5389291" y="3759921"/>
                  <a:ext cx="37783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7" extrusionOk="0">
                      <a:moveTo>
                        <a:pt x="2738" y="0"/>
                      </a:moveTo>
                      <a:cubicBezTo>
                        <a:pt x="2231" y="0"/>
                        <a:pt x="1715" y="188"/>
                        <a:pt x="1295" y="608"/>
                      </a:cubicBezTo>
                      <a:cubicBezTo>
                        <a:pt x="1" y="1903"/>
                        <a:pt x="920" y="4116"/>
                        <a:pt x="2747" y="4116"/>
                      </a:cubicBezTo>
                      <a:cubicBezTo>
                        <a:pt x="3884" y="4116"/>
                        <a:pt x="4803" y="3197"/>
                        <a:pt x="4803" y="2060"/>
                      </a:cubicBezTo>
                      <a:cubicBezTo>
                        <a:pt x="4803" y="817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58" name="Google Shape;11465;p65">
                  <a:extLst>
                    <a:ext uri="{FF2B5EF4-FFF2-40B4-BE49-F238E27FC236}">
                      <a16:creationId xmlns:a16="http://schemas.microsoft.com/office/drawing/2014/main" id="{44BF05DA-67DD-A5CE-B86F-69DAD259CF45}"/>
                    </a:ext>
                  </a:extLst>
                </p:cNvPr>
                <p:cNvSpPr/>
                <p:nvPr/>
              </p:nvSpPr>
              <p:spPr>
                <a:xfrm>
                  <a:off x="5402229" y="3769555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64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0" name="Google Shape;11466;p65">
                <a:extLst>
                  <a:ext uri="{FF2B5EF4-FFF2-40B4-BE49-F238E27FC236}">
                    <a16:creationId xmlns:a16="http://schemas.microsoft.com/office/drawing/2014/main" id="{E245FFEC-E955-518C-1AF0-670134744C69}"/>
                  </a:ext>
                </a:extLst>
              </p:cNvPr>
              <p:cNvGrpSpPr/>
              <p:nvPr/>
            </p:nvGrpSpPr>
            <p:grpSpPr>
              <a:xfrm>
                <a:off x="5431534" y="3632932"/>
                <a:ext cx="37878" cy="32451"/>
                <a:chOff x="5431534" y="3632932"/>
                <a:chExt cx="37878" cy="32451"/>
              </a:xfrm>
            </p:grpSpPr>
            <p:sp>
              <p:nvSpPr>
                <p:cNvPr id="2455" name="Google Shape;11467;p65">
                  <a:extLst>
                    <a:ext uri="{FF2B5EF4-FFF2-40B4-BE49-F238E27FC236}">
                      <a16:creationId xmlns:a16="http://schemas.microsoft.com/office/drawing/2014/main" id="{8028A94F-5C77-F013-6FD9-C3FB606FCF77}"/>
                    </a:ext>
                  </a:extLst>
                </p:cNvPr>
                <p:cNvSpPr/>
                <p:nvPr/>
              </p:nvSpPr>
              <p:spPr>
                <a:xfrm>
                  <a:off x="5431534" y="3632932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4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899"/>
                        <a:pt x="920" y="4125"/>
                        <a:pt x="2759" y="4125"/>
                      </a:cubicBezTo>
                      <a:cubicBezTo>
                        <a:pt x="3896" y="4113"/>
                        <a:pt x="4815" y="3194"/>
                        <a:pt x="4815" y="2069"/>
                      </a:cubicBezTo>
                      <a:cubicBezTo>
                        <a:pt x="4815" y="824"/>
                        <a:pt x="3795" y="0"/>
                        <a:pt x="273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56" name="Google Shape;11468;p65">
                  <a:extLst>
                    <a:ext uri="{FF2B5EF4-FFF2-40B4-BE49-F238E27FC236}">
                      <a16:creationId xmlns:a16="http://schemas.microsoft.com/office/drawing/2014/main" id="{8DCB2A49-AABF-D2F0-DD4D-C6CE43310533}"/>
                    </a:ext>
                  </a:extLst>
                </p:cNvPr>
                <p:cNvSpPr/>
                <p:nvPr/>
              </p:nvSpPr>
              <p:spPr>
                <a:xfrm>
                  <a:off x="5444472" y="3642638"/>
                  <a:ext cx="15235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61" extrusionOk="0">
                      <a:moveTo>
                        <a:pt x="1114" y="0"/>
                      </a:moveTo>
                      <a:cubicBezTo>
                        <a:pt x="376" y="0"/>
                        <a:pt x="1" y="895"/>
                        <a:pt x="521" y="1415"/>
                      </a:cubicBezTo>
                      <a:cubicBezTo>
                        <a:pt x="690" y="1584"/>
                        <a:pt x="899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1" name="Google Shape;11469;p65">
                <a:extLst>
                  <a:ext uri="{FF2B5EF4-FFF2-40B4-BE49-F238E27FC236}">
                    <a16:creationId xmlns:a16="http://schemas.microsoft.com/office/drawing/2014/main" id="{04CB4510-A288-58E6-B63F-232B746838BE}"/>
                  </a:ext>
                </a:extLst>
              </p:cNvPr>
              <p:cNvGrpSpPr/>
              <p:nvPr/>
            </p:nvGrpSpPr>
            <p:grpSpPr>
              <a:xfrm>
                <a:off x="5540755" y="3544829"/>
                <a:ext cx="37783" cy="32357"/>
                <a:chOff x="5540755" y="3544829"/>
                <a:chExt cx="37783" cy="32357"/>
              </a:xfrm>
            </p:grpSpPr>
            <p:sp>
              <p:nvSpPr>
                <p:cNvPr id="2453" name="Google Shape;11470;p65">
                  <a:extLst>
                    <a:ext uri="{FF2B5EF4-FFF2-40B4-BE49-F238E27FC236}">
                      <a16:creationId xmlns:a16="http://schemas.microsoft.com/office/drawing/2014/main" id="{65B96E6B-0E1B-E075-9145-8D7D8067E966}"/>
                    </a:ext>
                  </a:extLst>
                </p:cNvPr>
                <p:cNvSpPr/>
                <p:nvPr/>
              </p:nvSpPr>
              <p:spPr>
                <a:xfrm>
                  <a:off x="5540755" y="354482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54" name="Google Shape;11471;p65">
                  <a:extLst>
                    <a:ext uri="{FF2B5EF4-FFF2-40B4-BE49-F238E27FC236}">
                      <a16:creationId xmlns:a16="http://schemas.microsoft.com/office/drawing/2014/main" id="{A42C9F3F-63E2-04CE-4C23-D23D526CA1D2}"/>
                    </a:ext>
                  </a:extLst>
                </p:cNvPr>
                <p:cNvSpPr/>
                <p:nvPr/>
              </p:nvSpPr>
              <p:spPr>
                <a:xfrm>
                  <a:off x="5553693" y="3554534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96"/>
                        <a:pt x="521" y="1416"/>
                      </a:cubicBezTo>
                      <a:cubicBezTo>
                        <a:pt x="688" y="1583"/>
                        <a:pt x="894" y="1658"/>
                        <a:pt x="1096" y="1658"/>
                      </a:cubicBezTo>
                      <a:cubicBezTo>
                        <a:pt x="1524" y="1658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2" name="Google Shape;11472;p65">
                <a:extLst>
                  <a:ext uri="{FF2B5EF4-FFF2-40B4-BE49-F238E27FC236}">
                    <a16:creationId xmlns:a16="http://schemas.microsoft.com/office/drawing/2014/main" id="{0DD035E3-35A6-2838-9147-C8BE02541D51}"/>
                  </a:ext>
                </a:extLst>
              </p:cNvPr>
              <p:cNvGrpSpPr/>
              <p:nvPr/>
            </p:nvGrpSpPr>
            <p:grpSpPr>
              <a:xfrm>
                <a:off x="5579293" y="3412107"/>
                <a:ext cx="37776" cy="32357"/>
                <a:chOff x="5579293" y="3412107"/>
                <a:chExt cx="37776" cy="32357"/>
              </a:xfrm>
            </p:grpSpPr>
            <p:sp>
              <p:nvSpPr>
                <p:cNvPr id="2451" name="Google Shape;11473;p65">
                  <a:extLst>
                    <a:ext uri="{FF2B5EF4-FFF2-40B4-BE49-F238E27FC236}">
                      <a16:creationId xmlns:a16="http://schemas.microsoft.com/office/drawing/2014/main" id="{7CE8A89D-5926-A676-7C6C-22C36CBFCCD2}"/>
                    </a:ext>
                  </a:extLst>
                </p:cNvPr>
                <p:cNvSpPr/>
                <p:nvPr/>
              </p:nvSpPr>
              <p:spPr>
                <a:xfrm>
                  <a:off x="5579293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4" y="605"/>
                      </a:cubicBezTo>
                      <a:cubicBezTo>
                        <a:pt x="0" y="1900"/>
                        <a:pt x="919" y="4114"/>
                        <a:pt x="2746" y="4114"/>
                      </a:cubicBezTo>
                      <a:cubicBezTo>
                        <a:pt x="3883" y="4114"/>
                        <a:pt x="4802" y="3194"/>
                        <a:pt x="4802" y="2057"/>
                      </a:cubicBezTo>
                      <a:cubicBezTo>
                        <a:pt x="4802" y="821"/>
                        <a:pt x="3788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52" name="Google Shape;11474;p65">
                  <a:extLst>
                    <a:ext uri="{FF2B5EF4-FFF2-40B4-BE49-F238E27FC236}">
                      <a16:creationId xmlns:a16="http://schemas.microsoft.com/office/drawing/2014/main" id="{07555207-34FF-7B13-63B6-E376979295F8}"/>
                    </a:ext>
                  </a:extLst>
                </p:cNvPr>
                <p:cNvSpPr/>
                <p:nvPr/>
              </p:nvSpPr>
              <p:spPr>
                <a:xfrm>
                  <a:off x="5594418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75" y="1"/>
                        <a:pt x="0" y="363"/>
                        <a:pt x="0" y="823"/>
                      </a:cubicBezTo>
                      <a:cubicBezTo>
                        <a:pt x="0" y="1283"/>
                        <a:pt x="375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3" name="Google Shape;11475;p65">
                <a:extLst>
                  <a:ext uri="{FF2B5EF4-FFF2-40B4-BE49-F238E27FC236}">
                    <a16:creationId xmlns:a16="http://schemas.microsoft.com/office/drawing/2014/main" id="{4DF60EC9-1775-AB24-CC60-1D0E58536FFA}"/>
                  </a:ext>
                </a:extLst>
              </p:cNvPr>
              <p:cNvGrpSpPr/>
              <p:nvPr/>
            </p:nvGrpSpPr>
            <p:grpSpPr>
              <a:xfrm>
                <a:off x="5801346" y="3284615"/>
                <a:ext cx="37783" cy="32357"/>
                <a:chOff x="5801346" y="3284615"/>
                <a:chExt cx="37783" cy="32357"/>
              </a:xfrm>
            </p:grpSpPr>
            <p:sp>
              <p:nvSpPr>
                <p:cNvPr id="2449" name="Google Shape;11476;p65">
                  <a:extLst>
                    <a:ext uri="{FF2B5EF4-FFF2-40B4-BE49-F238E27FC236}">
                      <a16:creationId xmlns:a16="http://schemas.microsoft.com/office/drawing/2014/main" id="{A1340F79-A874-C88F-E1B6-AF99285F7548}"/>
                    </a:ext>
                  </a:extLst>
                </p:cNvPr>
                <p:cNvSpPr/>
                <p:nvPr/>
              </p:nvSpPr>
              <p:spPr>
                <a:xfrm>
                  <a:off x="5801346" y="3284615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50" name="Google Shape;11477;p65">
                  <a:extLst>
                    <a:ext uri="{FF2B5EF4-FFF2-40B4-BE49-F238E27FC236}">
                      <a16:creationId xmlns:a16="http://schemas.microsoft.com/office/drawing/2014/main" id="{89C1521E-83D5-B18E-FA04-61C1F2C72C45}"/>
                    </a:ext>
                  </a:extLst>
                </p:cNvPr>
                <p:cNvSpPr/>
                <p:nvPr/>
              </p:nvSpPr>
              <p:spPr>
                <a:xfrm>
                  <a:off x="5816478" y="3294320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35" y="1"/>
                      </a:moveTo>
                      <a:cubicBezTo>
                        <a:pt x="375" y="1"/>
                        <a:pt x="0" y="364"/>
                        <a:pt x="0" y="823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4" name="Google Shape;11478;p65">
                <a:extLst>
                  <a:ext uri="{FF2B5EF4-FFF2-40B4-BE49-F238E27FC236}">
                    <a16:creationId xmlns:a16="http://schemas.microsoft.com/office/drawing/2014/main" id="{2EAAB7DB-58B4-86C3-DC7F-3D389837B488}"/>
                  </a:ext>
                </a:extLst>
              </p:cNvPr>
              <p:cNvGrpSpPr/>
              <p:nvPr/>
            </p:nvGrpSpPr>
            <p:grpSpPr>
              <a:xfrm>
                <a:off x="5763578" y="3399067"/>
                <a:ext cx="37776" cy="32364"/>
                <a:chOff x="5763578" y="3399067"/>
                <a:chExt cx="37776" cy="32364"/>
              </a:xfrm>
            </p:grpSpPr>
            <p:sp>
              <p:nvSpPr>
                <p:cNvPr id="2447" name="Google Shape;11479;p65">
                  <a:extLst>
                    <a:ext uri="{FF2B5EF4-FFF2-40B4-BE49-F238E27FC236}">
                      <a16:creationId xmlns:a16="http://schemas.microsoft.com/office/drawing/2014/main" id="{6A17B792-DB3C-1592-2F9B-03815394C1BC}"/>
                    </a:ext>
                  </a:extLst>
                </p:cNvPr>
                <p:cNvSpPr/>
                <p:nvPr/>
              </p:nvSpPr>
              <p:spPr>
                <a:xfrm>
                  <a:off x="5763578" y="3399067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48" name="Google Shape;11480;p65">
                  <a:extLst>
                    <a:ext uri="{FF2B5EF4-FFF2-40B4-BE49-F238E27FC236}">
                      <a16:creationId xmlns:a16="http://schemas.microsoft.com/office/drawing/2014/main" id="{2A1B458F-F4E5-3BFE-F36D-7CC53A735820}"/>
                    </a:ext>
                  </a:extLst>
                </p:cNvPr>
                <p:cNvSpPr/>
                <p:nvPr/>
              </p:nvSpPr>
              <p:spPr>
                <a:xfrm>
                  <a:off x="5776516" y="3408780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1" y="0"/>
                      </a:moveTo>
                      <a:cubicBezTo>
                        <a:pt x="364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63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5" name="Google Shape;11481;p65">
                <a:extLst>
                  <a:ext uri="{FF2B5EF4-FFF2-40B4-BE49-F238E27FC236}">
                    <a16:creationId xmlns:a16="http://schemas.microsoft.com/office/drawing/2014/main" id="{B1CEC8EA-E245-7D1E-23AD-CA1EC9D8CC6E}"/>
                  </a:ext>
                </a:extLst>
              </p:cNvPr>
              <p:cNvGrpSpPr/>
              <p:nvPr/>
            </p:nvGrpSpPr>
            <p:grpSpPr>
              <a:xfrm>
                <a:off x="5395858" y="3230952"/>
                <a:ext cx="37776" cy="32364"/>
                <a:chOff x="5395858" y="3230952"/>
                <a:chExt cx="37776" cy="32364"/>
              </a:xfrm>
            </p:grpSpPr>
            <p:sp>
              <p:nvSpPr>
                <p:cNvPr id="2445" name="Google Shape;11482;p65">
                  <a:extLst>
                    <a:ext uri="{FF2B5EF4-FFF2-40B4-BE49-F238E27FC236}">
                      <a16:creationId xmlns:a16="http://schemas.microsoft.com/office/drawing/2014/main" id="{D33CF81F-A7E2-6DAE-66F9-721EB68BCAD1}"/>
                    </a:ext>
                  </a:extLst>
                </p:cNvPr>
                <p:cNvSpPr/>
                <p:nvPr/>
              </p:nvSpPr>
              <p:spPr>
                <a:xfrm>
                  <a:off x="5395858" y="3230952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2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46" name="Google Shape;11483;p65">
                  <a:extLst>
                    <a:ext uri="{FF2B5EF4-FFF2-40B4-BE49-F238E27FC236}">
                      <a16:creationId xmlns:a16="http://schemas.microsoft.com/office/drawing/2014/main" id="{6D285188-4EC7-6F60-8F37-944AD02BF360}"/>
                    </a:ext>
                  </a:extLst>
                </p:cNvPr>
                <p:cNvSpPr/>
                <p:nvPr/>
              </p:nvSpPr>
              <p:spPr>
                <a:xfrm>
                  <a:off x="5408702" y="3240571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1" y="1416"/>
                      </a:cubicBezTo>
                      <a:cubicBezTo>
                        <a:pt x="690" y="1585"/>
                        <a:pt x="898" y="1660"/>
                        <a:pt x="1103" y="1660"/>
                      </a:cubicBezTo>
                      <a:cubicBezTo>
                        <a:pt x="1528" y="1660"/>
                        <a:pt x="1936" y="1333"/>
                        <a:pt x="1936" y="835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6" name="Google Shape;11484;p65">
                <a:extLst>
                  <a:ext uri="{FF2B5EF4-FFF2-40B4-BE49-F238E27FC236}">
                    <a16:creationId xmlns:a16="http://schemas.microsoft.com/office/drawing/2014/main" id="{C2EAF2CF-5313-9C58-DFAA-770A2B6925A0}"/>
                  </a:ext>
                </a:extLst>
              </p:cNvPr>
              <p:cNvGrpSpPr/>
              <p:nvPr/>
            </p:nvGrpSpPr>
            <p:grpSpPr>
              <a:xfrm>
                <a:off x="5264088" y="3188237"/>
                <a:ext cx="37776" cy="32357"/>
                <a:chOff x="5264088" y="3188237"/>
                <a:chExt cx="37776" cy="32357"/>
              </a:xfrm>
            </p:grpSpPr>
            <p:sp>
              <p:nvSpPr>
                <p:cNvPr id="2443" name="Google Shape;11485;p65">
                  <a:extLst>
                    <a:ext uri="{FF2B5EF4-FFF2-40B4-BE49-F238E27FC236}">
                      <a16:creationId xmlns:a16="http://schemas.microsoft.com/office/drawing/2014/main" id="{22BAD2FB-8D2B-28C3-FA12-587A93F11921}"/>
                    </a:ext>
                  </a:extLst>
                </p:cNvPr>
                <p:cNvSpPr/>
                <p:nvPr/>
              </p:nvSpPr>
              <p:spPr>
                <a:xfrm>
                  <a:off x="5264088" y="318823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8"/>
                        <a:pt x="1295" y="606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44" name="Google Shape;11486;p65">
                  <a:extLst>
                    <a:ext uri="{FF2B5EF4-FFF2-40B4-BE49-F238E27FC236}">
                      <a16:creationId xmlns:a16="http://schemas.microsoft.com/office/drawing/2014/main" id="{D449A01E-94F2-7311-31BB-FF2DB506E7F4}"/>
                    </a:ext>
                  </a:extLst>
                </p:cNvPr>
                <p:cNvSpPr/>
                <p:nvPr/>
              </p:nvSpPr>
              <p:spPr>
                <a:xfrm>
                  <a:off x="5279212" y="319794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64" y="1"/>
                        <a:pt x="1" y="376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7" name="Google Shape;11487;p65">
                <a:extLst>
                  <a:ext uri="{FF2B5EF4-FFF2-40B4-BE49-F238E27FC236}">
                    <a16:creationId xmlns:a16="http://schemas.microsoft.com/office/drawing/2014/main" id="{1D6452B8-2BDF-3158-55DA-3B7FEBF36513}"/>
                  </a:ext>
                </a:extLst>
              </p:cNvPr>
              <p:cNvGrpSpPr/>
              <p:nvPr/>
            </p:nvGrpSpPr>
            <p:grpSpPr>
              <a:xfrm>
                <a:off x="5585758" y="3237425"/>
                <a:ext cx="37878" cy="32357"/>
                <a:chOff x="5585758" y="3237425"/>
                <a:chExt cx="37878" cy="32357"/>
              </a:xfrm>
            </p:grpSpPr>
            <p:sp>
              <p:nvSpPr>
                <p:cNvPr id="2441" name="Google Shape;11488;p65">
                  <a:extLst>
                    <a:ext uri="{FF2B5EF4-FFF2-40B4-BE49-F238E27FC236}">
                      <a16:creationId xmlns:a16="http://schemas.microsoft.com/office/drawing/2014/main" id="{696A3751-1547-58EB-032F-7B441B4BE0DD}"/>
                    </a:ext>
                  </a:extLst>
                </p:cNvPr>
                <p:cNvSpPr/>
                <p:nvPr/>
              </p:nvSpPr>
              <p:spPr>
                <a:xfrm>
                  <a:off x="5585758" y="3237425"/>
                  <a:ext cx="37878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14" extrusionOk="0">
                      <a:moveTo>
                        <a:pt x="2744" y="0"/>
                      </a:moveTo>
                      <a:cubicBezTo>
                        <a:pt x="2240" y="0"/>
                        <a:pt x="1725" y="188"/>
                        <a:pt x="1307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96" y="4114"/>
                        <a:pt x="4815" y="3195"/>
                        <a:pt x="4815" y="2057"/>
                      </a:cubicBezTo>
                      <a:cubicBezTo>
                        <a:pt x="4815" y="821"/>
                        <a:pt x="3801" y="0"/>
                        <a:pt x="274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42" name="Google Shape;11489;p65">
                  <a:extLst>
                    <a:ext uri="{FF2B5EF4-FFF2-40B4-BE49-F238E27FC236}">
                      <a16:creationId xmlns:a16="http://schemas.microsoft.com/office/drawing/2014/main" id="{856F868B-C573-610A-C254-E8946458BA10}"/>
                    </a:ext>
                  </a:extLst>
                </p:cNvPr>
                <p:cNvSpPr/>
                <p:nvPr/>
              </p:nvSpPr>
              <p:spPr>
                <a:xfrm>
                  <a:off x="5598696" y="3247130"/>
                  <a:ext cx="15235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9" extrusionOk="0">
                      <a:moveTo>
                        <a:pt x="1114" y="1"/>
                      </a:moveTo>
                      <a:cubicBezTo>
                        <a:pt x="376" y="1"/>
                        <a:pt x="1" y="896"/>
                        <a:pt x="521" y="1416"/>
                      </a:cubicBezTo>
                      <a:cubicBezTo>
                        <a:pt x="692" y="1583"/>
                        <a:pt x="899" y="1658"/>
                        <a:pt x="1102" y="1658"/>
                      </a:cubicBezTo>
                      <a:cubicBezTo>
                        <a:pt x="1529" y="1658"/>
                        <a:pt x="1936" y="1324"/>
                        <a:pt x="1936" y="823"/>
                      </a:cubicBezTo>
                      <a:cubicBezTo>
                        <a:pt x="1936" y="376"/>
                        <a:pt x="1573" y="1"/>
                        <a:pt x="111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8" name="Google Shape;11490;p65">
                <a:extLst>
                  <a:ext uri="{FF2B5EF4-FFF2-40B4-BE49-F238E27FC236}">
                    <a16:creationId xmlns:a16="http://schemas.microsoft.com/office/drawing/2014/main" id="{E681F7A5-2107-2177-0D4D-0126CD732527}"/>
                  </a:ext>
                </a:extLst>
              </p:cNvPr>
              <p:cNvGrpSpPr/>
              <p:nvPr/>
            </p:nvGrpSpPr>
            <p:grpSpPr>
              <a:xfrm>
                <a:off x="4874196" y="3291088"/>
                <a:ext cx="37878" cy="32451"/>
                <a:chOff x="4874196" y="3291088"/>
                <a:chExt cx="37878" cy="32451"/>
              </a:xfrm>
            </p:grpSpPr>
            <p:sp>
              <p:nvSpPr>
                <p:cNvPr id="2439" name="Google Shape;11491;p65">
                  <a:extLst>
                    <a:ext uri="{FF2B5EF4-FFF2-40B4-BE49-F238E27FC236}">
                      <a16:creationId xmlns:a16="http://schemas.microsoft.com/office/drawing/2014/main" id="{C7CFE770-D04F-D0A1-4C09-B4C16E0B66BA}"/>
                    </a:ext>
                  </a:extLst>
                </p:cNvPr>
                <p:cNvSpPr/>
                <p:nvPr/>
              </p:nvSpPr>
              <p:spPr>
                <a:xfrm>
                  <a:off x="4874196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40" name="Google Shape;11492;p65">
                  <a:extLst>
                    <a:ext uri="{FF2B5EF4-FFF2-40B4-BE49-F238E27FC236}">
                      <a16:creationId xmlns:a16="http://schemas.microsoft.com/office/drawing/2014/main" id="{09937381-26AC-FC6B-AFC7-095E7FAB899E}"/>
                    </a:ext>
                  </a:extLst>
                </p:cNvPr>
                <p:cNvSpPr/>
                <p:nvPr/>
              </p:nvSpPr>
              <p:spPr>
                <a:xfrm>
                  <a:off x="4889328" y="330079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83"/>
                        <a:pt x="375" y="1658"/>
                        <a:pt x="835" y="1658"/>
                      </a:cubicBezTo>
                      <a:cubicBezTo>
                        <a:pt x="1295" y="1658"/>
                        <a:pt x="1657" y="1283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09" name="Google Shape;11493;p65">
                <a:extLst>
                  <a:ext uri="{FF2B5EF4-FFF2-40B4-BE49-F238E27FC236}">
                    <a16:creationId xmlns:a16="http://schemas.microsoft.com/office/drawing/2014/main" id="{6B16BA92-EEF3-75DC-7A28-CFE150F1D3C7}"/>
                  </a:ext>
                </a:extLst>
              </p:cNvPr>
              <p:cNvGrpSpPr/>
              <p:nvPr/>
            </p:nvGrpSpPr>
            <p:grpSpPr>
              <a:xfrm>
                <a:off x="5197770" y="3785466"/>
                <a:ext cx="37783" cy="32427"/>
                <a:chOff x="5197770" y="3785466"/>
                <a:chExt cx="37783" cy="32427"/>
              </a:xfrm>
            </p:grpSpPr>
            <p:sp>
              <p:nvSpPr>
                <p:cNvPr id="2437" name="Google Shape;11494;p65">
                  <a:extLst>
                    <a:ext uri="{FF2B5EF4-FFF2-40B4-BE49-F238E27FC236}">
                      <a16:creationId xmlns:a16="http://schemas.microsoft.com/office/drawing/2014/main" id="{E032A652-690E-8C06-1DFD-71DB47DE5847}"/>
                    </a:ext>
                  </a:extLst>
                </p:cNvPr>
                <p:cNvSpPr/>
                <p:nvPr/>
              </p:nvSpPr>
              <p:spPr>
                <a:xfrm>
                  <a:off x="5197770" y="3785466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2" y="1"/>
                        <a:pt x="1715" y="190"/>
                        <a:pt x="1295" y="614"/>
                      </a:cubicBezTo>
                      <a:cubicBezTo>
                        <a:pt x="1" y="1909"/>
                        <a:pt x="908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38" name="Google Shape;11495;p65">
                  <a:extLst>
                    <a:ext uri="{FF2B5EF4-FFF2-40B4-BE49-F238E27FC236}">
                      <a16:creationId xmlns:a16="http://schemas.microsoft.com/office/drawing/2014/main" id="{B0C28D29-57F0-3846-C996-B93563895090}"/>
                    </a:ext>
                  </a:extLst>
                </p:cNvPr>
                <p:cNvSpPr/>
                <p:nvPr/>
              </p:nvSpPr>
              <p:spPr>
                <a:xfrm>
                  <a:off x="5212808" y="37951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4"/>
                        <a:pt x="375" y="1657"/>
                        <a:pt x="835" y="1657"/>
                      </a:cubicBezTo>
                      <a:cubicBezTo>
                        <a:pt x="1295" y="1657"/>
                        <a:pt x="1657" y="1294"/>
                        <a:pt x="1657" y="835"/>
                      </a:cubicBezTo>
                      <a:cubicBezTo>
                        <a:pt x="1657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0" name="Google Shape;11496;p65">
                <a:extLst>
                  <a:ext uri="{FF2B5EF4-FFF2-40B4-BE49-F238E27FC236}">
                    <a16:creationId xmlns:a16="http://schemas.microsoft.com/office/drawing/2014/main" id="{60379D9D-3CBE-237A-D818-3442AE6846EC}"/>
                  </a:ext>
                </a:extLst>
              </p:cNvPr>
              <p:cNvGrpSpPr/>
              <p:nvPr/>
            </p:nvGrpSpPr>
            <p:grpSpPr>
              <a:xfrm>
                <a:off x="5177699" y="3492117"/>
                <a:ext cx="37776" cy="32357"/>
                <a:chOff x="5177699" y="3492117"/>
                <a:chExt cx="37776" cy="32357"/>
              </a:xfrm>
            </p:grpSpPr>
            <p:sp>
              <p:nvSpPr>
                <p:cNvPr id="2435" name="Google Shape;11497;p65">
                  <a:extLst>
                    <a:ext uri="{FF2B5EF4-FFF2-40B4-BE49-F238E27FC236}">
                      <a16:creationId xmlns:a16="http://schemas.microsoft.com/office/drawing/2014/main" id="{4D841818-8BD7-4BEE-2327-971081AF98D1}"/>
                    </a:ext>
                  </a:extLst>
                </p:cNvPr>
                <p:cNvSpPr/>
                <p:nvPr/>
              </p:nvSpPr>
              <p:spPr>
                <a:xfrm>
                  <a:off x="5177699" y="349211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6" y="1"/>
                      </a:moveTo>
                      <a:cubicBezTo>
                        <a:pt x="2232" y="1"/>
                        <a:pt x="1717" y="188"/>
                        <a:pt x="1295" y="606"/>
                      </a:cubicBezTo>
                      <a:cubicBezTo>
                        <a:pt x="1" y="1900"/>
                        <a:pt x="920" y="4114"/>
                        <a:pt x="2746" y="4114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93" y="1"/>
                        <a:pt x="273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36" name="Google Shape;11498;p65">
                  <a:extLst>
                    <a:ext uri="{FF2B5EF4-FFF2-40B4-BE49-F238E27FC236}">
                      <a16:creationId xmlns:a16="http://schemas.microsoft.com/office/drawing/2014/main" id="{330B2DBF-2900-1E9C-29B6-A7AAE2D03B40}"/>
                    </a:ext>
                  </a:extLst>
                </p:cNvPr>
                <p:cNvSpPr/>
                <p:nvPr/>
              </p:nvSpPr>
              <p:spPr>
                <a:xfrm>
                  <a:off x="5192823" y="3501823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3" y="1"/>
                      </a:moveTo>
                      <a:cubicBezTo>
                        <a:pt x="376" y="1"/>
                        <a:pt x="1" y="364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1" name="Google Shape;11499;p65">
                <a:extLst>
                  <a:ext uri="{FF2B5EF4-FFF2-40B4-BE49-F238E27FC236}">
                    <a16:creationId xmlns:a16="http://schemas.microsoft.com/office/drawing/2014/main" id="{31AB5675-7EE4-A8FA-9BFC-13D68ADCD71E}"/>
                  </a:ext>
                </a:extLst>
              </p:cNvPr>
              <p:cNvGrpSpPr/>
              <p:nvPr/>
            </p:nvGrpSpPr>
            <p:grpSpPr>
              <a:xfrm>
                <a:off x="5349431" y="3622346"/>
                <a:ext cx="37870" cy="32380"/>
                <a:chOff x="5349431" y="3622346"/>
                <a:chExt cx="37870" cy="32380"/>
              </a:xfrm>
            </p:grpSpPr>
            <p:sp>
              <p:nvSpPr>
                <p:cNvPr id="2433" name="Google Shape;11500;p65">
                  <a:extLst>
                    <a:ext uri="{FF2B5EF4-FFF2-40B4-BE49-F238E27FC236}">
                      <a16:creationId xmlns:a16="http://schemas.microsoft.com/office/drawing/2014/main" id="{3AB25373-C9FE-029D-E4FE-1865F43973BD}"/>
                    </a:ext>
                  </a:extLst>
                </p:cNvPr>
                <p:cNvSpPr/>
                <p:nvPr/>
              </p:nvSpPr>
              <p:spPr>
                <a:xfrm>
                  <a:off x="5349431" y="3622346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0" y="0"/>
                      </a:moveTo>
                      <a:cubicBezTo>
                        <a:pt x="2232" y="0"/>
                        <a:pt x="1714" y="189"/>
                        <a:pt x="1295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83" y="4116"/>
                        <a:pt x="4815" y="3197"/>
                        <a:pt x="4815" y="2060"/>
                      </a:cubicBezTo>
                      <a:cubicBezTo>
                        <a:pt x="4815" y="817"/>
                        <a:pt x="3798" y="0"/>
                        <a:pt x="274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34" name="Google Shape;11501;p65">
                  <a:extLst>
                    <a:ext uri="{FF2B5EF4-FFF2-40B4-BE49-F238E27FC236}">
                      <a16:creationId xmlns:a16="http://schemas.microsoft.com/office/drawing/2014/main" id="{6CF6045F-5507-85DB-62D9-2C7535143497}"/>
                    </a:ext>
                  </a:extLst>
                </p:cNvPr>
                <p:cNvSpPr/>
                <p:nvPr/>
              </p:nvSpPr>
              <p:spPr>
                <a:xfrm>
                  <a:off x="5362369" y="3632075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34" y="0"/>
                      </a:moveTo>
                      <a:cubicBezTo>
                        <a:pt x="1127" y="0"/>
                        <a:pt x="1120" y="0"/>
                        <a:pt x="1113" y="0"/>
                      </a:cubicBezTo>
                      <a:cubicBezTo>
                        <a:pt x="363" y="0"/>
                        <a:pt x="0" y="883"/>
                        <a:pt x="521" y="1416"/>
                      </a:cubicBezTo>
                      <a:cubicBezTo>
                        <a:pt x="691" y="1583"/>
                        <a:pt x="899" y="1657"/>
                        <a:pt x="1101" y="1657"/>
                      </a:cubicBezTo>
                      <a:cubicBezTo>
                        <a:pt x="1529" y="1657"/>
                        <a:pt x="1936" y="1324"/>
                        <a:pt x="1936" y="823"/>
                      </a:cubicBezTo>
                      <a:cubicBezTo>
                        <a:pt x="1936" y="370"/>
                        <a:pt x="1573" y="0"/>
                        <a:pt x="113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2" name="Google Shape;11502;p65">
                <a:extLst>
                  <a:ext uri="{FF2B5EF4-FFF2-40B4-BE49-F238E27FC236}">
                    <a16:creationId xmlns:a16="http://schemas.microsoft.com/office/drawing/2014/main" id="{52ECD69C-DEFD-AB63-341E-43D4929F6996}"/>
                  </a:ext>
                </a:extLst>
              </p:cNvPr>
              <p:cNvGrpSpPr/>
              <p:nvPr/>
            </p:nvGrpSpPr>
            <p:grpSpPr>
              <a:xfrm>
                <a:off x="5068855" y="3563980"/>
                <a:ext cx="53954" cy="46223"/>
                <a:chOff x="5068855" y="3563980"/>
                <a:chExt cx="53954" cy="46223"/>
              </a:xfrm>
            </p:grpSpPr>
            <p:sp>
              <p:nvSpPr>
                <p:cNvPr id="2431" name="Google Shape;11503;p65">
                  <a:extLst>
                    <a:ext uri="{FF2B5EF4-FFF2-40B4-BE49-F238E27FC236}">
                      <a16:creationId xmlns:a16="http://schemas.microsoft.com/office/drawing/2014/main" id="{40B35E60-728C-D01E-890D-4E1F85DF63FF}"/>
                    </a:ext>
                  </a:extLst>
                </p:cNvPr>
                <p:cNvSpPr/>
                <p:nvPr/>
              </p:nvSpPr>
              <p:spPr>
                <a:xfrm>
                  <a:off x="5068855" y="3563980"/>
                  <a:ext cx="53954" cy="462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0" h="5877" extrusionOk="0">
                      <a:moveTo>
                        <a:pt x="3909" y="0"/>
                      </a:moveTo>
                      <a:cubicBezTo>
                        <a:pt x="3187" y="0"/>
                        <a:pt x="2451" y="269"/>
                        <a:pt x="1852" y="868"/>
                      </a:cubicBezTo>
                      <a:cubicBezTo>
                        <a:pt x="1" y="2719"/>
                        <a:pt x="1307" y="5876"/>
                        <a:pt x="3920" y="5876"/>
                      </a:cubicBezTo>
                      <a:cubicBezTo>
                        <a:pt x="5541" y="5876"/>
                        <a:pt x="6848" y="4558"/>
                        <a:pt x="6860" y="2937"/>
                      </a:cubicBezTo>
                      <a:cubicBezTo>
                        <a:pt x="6860" y="1170"/>
                        <a:pt x="5416" y="0"/>
                        <a:pt x="390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32" name="Google Shape;11504;p65">
                  <a:extLst>
                    <a:ext uri="{FF2B5EF4-FFF2-40B4-BE49-F238E27FC236}">
                      <a16:creationId xmlns:a16="http://schemas.microsoft.com/office/drawing/2014/main" id="{8261064C-A271-F1D4-C521-19E2C1AE6250}"/>
                    </a:ext>
                  </a:extLst>
                </p:cNvPr>
                <p:cNvSpPr/>
                <p:nvPr/>
              </p:nvSpPr>
              <p:spPr>
                <a:xfrm>
                  <a:off x="5086268" y="3573654"/>
                  <a:ext cx="26835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13" extrusionOk="0">
                      <a:moveTo>
                        <a:pt x="1706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12"/>
                        <a:pt x="1706" y="3412"/>
                      </a:cubicBezTo>
                      <a:cubicBezTo>
                        <a:pt x="2650" y="3412"/>
                        <a:pt x="3412" y="2650"/>
                        <a:pt x="3412" y="1707"/>
                      </a:cubicBezTo>
                      <a:cubicBezTo>
                        <a:pt x="3412" y="763"/>
                        <a:pt x="2650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3" name="Google Shape;11505;p65">
                <a:extLst>
                  <a:ext uri="{FF2B5EF4-FFF2-40B4-BE49-F238E27FC236}">
                    <a16:creationId xmlns:a16="http://schemas.microsoft.com/office/drawing/2014/main" id="{F526C729-1E35-E9A4-11A3-8F538CEC8B1B}"/>
                  </a:ext>
                </a:extLst>
              </p:cNvPr>
              <p:cNvGrpSpPr/>
              <p:nvPr/>
            </p:nvGrpSpPr>
            <p:grpSpPr>
              <a:xfrm>
                <a:off x="5037654" y="3392507"/>
                <a:ext cx="37870" cy="32451"/>
                <a:chOff x="5037654" y="3392507"/>
                <a:chExt cx="37870" cy="32451"/>
              </a:xfrm>
            </p:grpSpPr>
            <p:sp>
              <p:nvSpPr>
                <p:cNvPr id="2429" name="Google Shape;11506;p65">
                  <a:extLst>
                    <a:ext uri="{FF2B5EF4-FFF2-40B4-BE49-F238E27FC236}">
                      <a16:creationId xmlns:a16="http://schemas.microsoft.com/office/drawing/2014/main" id="{76517F58-C435-5ED1-0A21-0B801F06AA9C}"/>
                    </a:ext>
                  </a:extLst>
                </p:cNvPr>
                <p:cNvSpPr/>
                <p:nvPr/>
              </p:nvSpPr>
              <p:spPr>
                <a:xfrm>
                  <a:off x="5037654" y="3392507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1"/>
                      </a:moveTo>
                      <a:cubicBezTo>
                        <a:pt x="2238" y="1"/>
                        <a:pt x="1724" y="188"/>
                        <a:pt x="1307" y="606"/>
                      </a:cubicBezTo>
                      <a:cubicBezTo>
                        <a:pt x="0" y="1912"/>
                        <a:pt x="919" y="4126"/>
                        <a:pt x="2758" y="4126"/>
                      </a:cubicBezTo>
                      <a:cubicBezTo>
                        <a:pt x="3895" y="4114"/>
                        <a:pt x="4815" y="3194"/>
                        <a:pt x="4815" y="2069"/>
                      </a:cubicBezTo>
                      <a:cubicBezTo>
                        <a:pt x="4815" y="824"/>
                        <a:pt x="3799" y="1"/>
                        <a:pt x="274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30" name="Google Shape;11507;p65">
                  <a:extLst>
                    <a:ext uri="{FF2B5EF4-FFF2-40B4-BE49-F238E27FC236}">
                      <a16:creationId xmlns:a16="http://schemas.microsoft.com/office/drawing/2014/main" id="{D67DF4EC-6DDC-85F9-3E20-29D3DDE477CB}"/>
                    </a:ext>
                  </a:extLst>
                </p:cNvPr>
                <p:cNvSpPr/>
                <p:nvPr/>
              </p:nvSpPr>
              <p:spPr>
                <a:xfrm>
                  <a:off x="5050592" y="3402213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1"/>
                      </a:moveTo>
                      <a:cubicBezTo>
                        <a:pt x="375" y="1"/>
                        <a:pt x="0" y="896"/>
                        <a:pt x="520" y="1416"/>
                      </a:cubicBezTo>
                      <a:cubicBezTo>
                        <a:pt x="689" y="1585"/>
                        <a:pt x="898" y="1661"/>
                        <a:pt x="1103" y="1661"/>
                      </a:cubicBezTo>
                      <a:cubicBezTo>
                        <a:pt x="1528" y="1661"/>
                        <a:pt x="1936" y="1333"/>
                        <a:pt x="1936" y="835"/>
                      </a:cubicBezTo>
                      <a:cubicBezTo>
                        <a:pt x="1936" y="376"/>
                        <a:pt x="1573" y="1"/>
                        <a:pt x="111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4" name="Google Shape;11508;p65">
                <a:extLst>
                  <a:ext uri="{FF2B5EF4-FFF2-40B4-BE49-F238E27FC236}">
                    <a16:creationId xmlns:a16="http://schemas.microsoft.com/office/drawing/2014/main" id="{D26A862E-5950-2CE8-93E8-5C0C2DC5D439}"/>
                  </a:ext>
                </a:extLst>
              </p:cNvPr>
              <p:cNvGrpSpPr/>
              <p:nvPr/>
            </p:nvGrpSpPr>
            <p:grpSpPr>
              <a:xfrm>
                <a:off x="5456560" y="3368629"/>
                <a:ext cx="37870" cy="32451"/>
                <a:chOff x="5456560" y="3368629"/>
                <a:chExt cx="37870" cy="32451"/>
              </a:xfrm>
            </p:grpSpPr>
            <p:sp>
              <p:nvSpPr>
                <p:cNvPr id="2427" name="Google Shape;11509;p65">
                  <a:extLst>
                    <a:ext uri="{FF2B5EF4-FFF2-40B4-BE49-F238E27FC236}">
                      <a16:creationId xmlns:a16="http://schemas.microsoft.com/office/drawing/2014/main" id="{0B12D806-ADBA-4976-8900-ED9F3E36F7E8}"/>
                    </a:ext>
                  </a:extLst>
                </p:cNvPr>
                <p:cNvSpPr/>
                <p:nvPr/>
              </p:nvSpPr>
              <p:spPr>
                <a:xfrm>
                  <a:off x="5456560" y="3368629"/>
                  <a:ext cx="37870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26" extrusionOk="0">
                      <a:moveTo>
                        <a:pt x="2742" y="0"/>
                      </a:moveTo>
                      <a:cubicBezTo>
                        <a:pt x="2238" y="0"/>
                        <a:pt x="1724" y="187"/>
                        <a:pt x="1307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95" y="4113"/>
                        <a:pt x="4815" y="3194"/>
                        <a:pt x="4815" y="2069"/>
                      </a:cubicBezTo>
                      <a:cubicBezTo>
                        <a:pt x="4815" y="824"/>
                        <a:pt x="3800" y="0"/>
                        <a:pt x="27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28" name="Google Shape;11510;p65">
                  <a:extLst>
                    <a:ext uri="{FF2B5EF4-FFF2-40B4-BE49-F238E27FC236}">
                      <a16:creationId xmlns:a16="http://schemas.microsoft.com/office/drawing/2014/main" id="{05D2F1D8-0620-710F-FDDA-5E777D845715}"/>
                    </a:ext>
                  </a:extLst>
                </p:cNvPr>
                <p:cNvSpPr/>
                <p:nvPr/>
              </p:nvSpPr>
              <p:spPr>
                <a:xfrm>
                  <a:off x="5469498" y="3378334"/>
                  <a:ext cx="15227" cy="13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61" extrusionOk="0">
                      <a:moveTo>
                        <a:pt x="1113" y="0"/>
                      </a:moveTo>
                      <a:cubicBezTo>
                        <a:pt x="375" y="0"/>
                        <a:pt x="0" y="895"/>
                        <a:pt x="520" y="1416"/>
                      </a:cubicBezTo>
                      <a:cubicBezTo>
                        <a:pt x="693" y="1585"/>
                        <a:pt x="903" y="1660"/>
                        <a:pt x="1108" y="1660"/>
                      </a:cubicBezTo>
                      <a:cubicBezTo>
                        <a:pt x="1533" y="1660"/>
                        <a:pt x="1936" y="1333"/>
                        <a:pt x="1936" y="835"/>
                      </a:cubicBezTo>
                      <a:cubicBezTo>
                        <a:pt x="1936" y="375"/>
                        <a:pt x="1573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5" name="Google Shape;11511;p65">
                <a:extLst>
                  <a:ext uri="{FF2B5EF4-FFF2-40B4-BE49-F238E27FC236}">
                    <a16:creationId xmlns:a16="http://schemas.microsoft.com/office/drawing/2014/main" id="{6FC6346F-532B-9DD7-77BA-6AEB68DE49ED}"/>
                  </a:ext>
                </a:extLst>
              </p:cNvPr>
              <p:cNvGrpSpPr/>
              <p:nvPr/>
            </p:nvGrpSpPr>
            <p:grpSpPr>
              <a:xfrm>
                <a:off x="4755749" y="3501516"/>
                <a:ext cx="46246" cy="39608"/>
                <a:chOff x="4755749" y="3501516"/>
                <a:chExt cx="46246" cy="39608"/>
              </a:xfrm>
            </p:grpSpPr>
            <p:sp>
              <p:nvSpPr>
                <p:cNvPr id="2425" name="Google Shape;11512;p65">
                  <a:extLst>
                    <a:ext uri="{FF2B5EF4-FFF2-40B4-BE49-F238E27FC236}">
                      <a16:creationId xmlns:a16="http://schemas.microsoft.com/office/drawing/2014/main" id="{0F76F547-EC86-33EB-7E11-C91757212122}"/>
                    </a:ext>
                  </a:extLst>
                </p:cNvPr>
                <p:cNvSpPr/>
                <p:nvPr/>
              </p:nvSpPr>
              <p:spPr>
                <a:xfrm>
                  <a:off x="4755749" y="3501516"/>
                  <a:ext cx="46246" cy="396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0" h="5036" extrusionOk="0">
                      <a:moveTo>
                        <a:pt x="3345" y="0"/>
                      </a:moveTo>
                      <a:cubicBezTo>
                        <a:pt x="2727" y="0"/>
                        <a:pt x="2097" y="229"/>
                        <a:pt x="1585" y="741"/>
                      </a:cubicBezTo>
                      <a:cubicBezTo>
                        <a:pt x="0" y="2326"/>
                        <a:pt x="1125" y="5036"/>
                        <a:pt x="3363" y="5036"/>
                      </a:cubicBezTo>
                      <a:cubicBezTo>
                        <a:pt x="4754" y="5036"/>
                        <a:pt x="5879" y="3911"/>
                        <a:pt x="5879" y="2520"/>
                      </a:cubicBezTo>
                      <a:cubicBezTo>
                        <a:pt x="5879" y="1005"/>
                        <a:pt x="4638" y="0"/>
                        <a:pt x="334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26" name="Google Shape;11513;p65">
                  <a:extLst>
                    <a:ext uri="{FF2B5EF4-FFF2-40B4-BE49-F238E27FC236}">
                      <a16:creationId xmlns:a16="http://schemas.microsoft.com/office/drawing/2014/main" id="{5E0BE2E4-0A9D-D5E1-0F2A-82FABAE82DDE}"/>
                    </a:ext>
                  </a:extLst>
                </p:cNvPr>
                <p:cNvSpPr/>
                <p:nvPr/>
              </p:nvSpPr>
              <p:spPr>
                <a:xfrm>
                  <a:off x="4768687" y="3511245"/>
                  <a:ext cx="23697" cy="202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3" h="2571" extrusionOk="0">
                      <a:moveTo>
                        <a:pt x="1718" y="0"/>
                      </a:moveTo>
                      <a:cubicBezTo>
                        <a:pt x="569" y="0"/>
                        <a:pt x="0" y="1379"/>
                        <a:pt x="811" y="2190"/>
                      </a:cubicBezTo>
                      <a:cubicBezTo>
                        <a:pt x="1074" y="2453"/>
                        <a:pt x="1398" y="2571"/>
                        <a:pt x="1715" y="2571"/>
                      </a:cubicBezTo>
                      <a:cubicBezTo>
                        <a:pt x="2377" y="2571"/>
                        <a:pt x="3013" y="2059"/>
                        <a:pt x="3013" y="1283"/>
                      </a:cubicBezTo>
                      <a:cubicBezTo>
                        <a:pt x="3013" y="581"/>
                        <a:pt x="2432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6" name="Google Shape;11514;p65">
                <a:extLst>
                  <a:ext uri="{FF2B5EF4-FFF2-40B4-BE49-F238E27FC236}">
                    <a16:creationId xmlns:a16="http://schemas.microsoft.com/office/drawing/2014/main" id="{0EB561E1-B160-1FAF-B597-B9D5D02EC7FF}"/>
                  </a:ext>
                </a:extLst>
              </p:cNvPr>
              <p:cNvGrpSpPr/>
              <p:nvPr/>
            </p:nvGrpSpPr>
            <p:grpSpPr>
              <a:xfrm>
                <a:off x="4681346" y="3485582"/>
                <a:ext cx="37783" cy="32427"/>
                <a:chOff x="4681346" y="3485582"/>
                <a:chExt cx="37783" cy="32427"/>
              </a:xfrm>
            </p:grpSpPr>
            <p:sp>
              <p:nvSpPr>
                <p:cNvPr id="2423" name="Google Shape;11515;p65">
                  <a:extLst>
                    <a:ext uri="{FF2B5EF4-FFF2-40B4-BE49-F238E27FC236}">
                      <a16:creationId xmlns:a16="http://schemas.microsoft.com/office/drawing/2014/main" id="{6C55F023-C18D-EF98-B25F-4896DE2AC19C}"/>
                    </a:ext>
                  </a:extLst>
                </p:cNvPr>
                <p:cNvSpPr/>
                <p:nvPr/>
              </p:nvSpPr>
              <p:spPr>
                <a:xfrm>
                  <a:off x="4681346" y="3485582"/>
                  <a:ext cx="37783" cy="324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3" extrusionOk="0">
                      <a:moveTo>
                        <a:pt x="2738" y="1"/>
                      </a:moveTo>
                      <a:cubicBezTo>
                        <a:pt x="2231" y="1"/>
                        <a:pt x="1715" y="191"/>
                        <a:pt x="1295" y="614"/>
                      </a:cubicBezTo>
                      <a:cubicBezTo>
                        <a:pt x="1" y="1909"/>
                        <a:pt x="920" y="4122"/>
                        <a:pt x="2747" y="4122"/>
                      </a:cubicBezTo>
                      <a:cubicBezTo>
                        <a:pt x="3884" y="4122"/>
                        <a:pt x="4803" y="3203"/>
                        <a:pt x="4803" y="2066"/>
                      </a:cubicBezTo>
                      <a:cubicBezTo>
                        <a:pt x="4803" y="824"/>
                        <a:pt x="3793" y="1"/>
                        <a:pt x="273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24" name="Google Shape;11516;p65">
                  <a:extLst>
                    <a:ext uri="{FF2B5EF4-FFF2-40B4-BE49-F238E27FC236}">
                      <a16:creationId xmlns:a16="http://schemas.microsoft.com/office/drawing/2014/main" id="{1089CE5D-02D5-B67C-73CD-AFC06FC35B27}"/>
                    </a:ext>
                  </a:extLst>
                </p:cNvPr>
                <p:cNvSpPr/>
                <p:nvPr/>
              </p:nvSpPr>
              <p:spPr>
                <a:xfrm>
                  <a:off x="4696479" y="34952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35"/>
                      </a:cubicBezTo>
                      <a:cubicBezTo>
                        <a:pt x="0" y="1295"/>
                        <a:pt x="363" y="1657"/>
                        <a:pt x="823" y="1657"/>
                      </a:cubicBezTo>
                      <a:cubicBezTo>
                        <a:pt x="1282" y="1657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7" name="Google Shape;11517;p65">
                <a:extLst>
                  <a:ext uri="{FF2B5EF4-FFF2-40B4-BE49-F238E27FC236}">
                    <a16:creationId xmlns:a16="http://schemas.microsoft.com/office/drawing/2014/main" id="{6170095B-424F-E2BB-7814-5E67FF658B0D}"/>
                  </a:ext>
                </a:extLst>
              </p:cNvPr>
              <p:cNvGrpSpPr/>
              <p:nvPr/>
            </p:nvGrpSpPr>
            <p:grpSpPr>
              <a:xfrm>
                <a:off x="4767067" y="3291088"/>
                <a:ext cx="37878" cy="32451"/>
                <a:chOff x="4767067" y="3291088"/>
                <a:chExt cx="37878" cy="32451"/>
              </a:xfrm>
            </p:grpSpPr>
            <p:sp>
              <p:nvSpPr>
                <p:cNvPr id="2421" name="Google Shape;11518;p65">
                  <a:extLst>
                    <a:ext uri="{FF2B5EF4-FFF2-40B4-BE49-F238E27FC236}">
                      <a16:creationId xmlns:a16="http://schemas.microsoft.com/office/drawing/2014/main" id="{265BA178-3178-FFC5-8FED-291F71D486DD}"/>
                    </a:ext>
                  </a:extLst>
                </p:cNvPr>
                <p:cNvSpPr/>
                <p:nvPr/>
              </p:nvSpPr>
              <p:spPr>
                <a:xfrm>
                  <a:off x="4767067" y="3291088"/>
                  <a:ext cx="37878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6" extrusionOk="0">
                      <a:moveTo>
                        <a:pt x="2739" y="0"/>
                      </a:moveTo>
                      <a:cubicBezTo>
                        <a:pt x="2233" y="0"/>
                        <a:pt x="1717" y="188"/>
                        <a:pt x="1295" y="605"/>
                      </a:cubicBezTo>
                      <a:cubicBezTo>
                        <a:pt x="1" y="1900"/>
                        <a:pt x="920" y="4126"/>
                        <a:pt x="2759" y="4126"/>
                      </a:cubicBezTo>
                      <a:cubicBezTo>
                        <a:pt x="3884" y="4113"/>
                        <a:pt x="4803" y="3206"/>
                        <a:pt x="4815" y="2069"/>
                      </a:cubicBezTo>
                      <a:cubicBezTo>
                        <a:pt x="4815" y="824"/>
                        <a:pt x="3800" y="0"/>
                        <a:pt x="273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22" name="Google Shape;11519;p65">
                  <a:extLst>
                    <a:ext uri="{FF2B5EF4-FFF2-40B4-BE49-F238E27FC236}">
                      <a16:creationId xmlns:a16="http://schemas.microsoft.com/office/drawing/2014/main" id="{B5D4E0DF-B243-7E90-2B4C-F05B9996D825}"/>
                    </a:ext>
                  </a:extLst>
                </p:cNvPr>
                <p:cNvSpPr/>
                <p:nvPr/>
              </p:nvSpPr>
              <p:spPr>
                <a:xfrm>
                  <a:off x="4780036" y="3300888"/>
                  <a:ext cx="15203" cy="130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3" h="1654" extrusionOk="0">
                      <a:moveTo>
                        <a:pt x="1131" y="0"/>
                      </a:moveTo>
                      <a:cubicBezTo>
                        <a:pt x="1124" y="0"/>
                        <a:pt x="1117" y="0"/>
                        <a:pt x="1110" y="1"/>
                      </a:cubicBezTo>
                      <a:cubicBezTo>
                        <a:pt x="1105" y="0"/>
                        <a:pt x="1100" y="0"/>
                        <a:pt x="1095" y="0"/>
                      </a:cubicBezTo>
                      <a:cubicBezTo>
                        <a:pt x="367" y="0"/>
                        <a:pt x="0" y="887"/>
                        <a:pt x="517" y="1404"/>
                      </a:cubicBezTo>
                      <a:cubicBezTo>
                        <a:pt x="686" y="1577"/>
                        <a:pt x="895" y="1654"/>
                        <a:pt x="1100" y="1654"/>
                      </a:cubicBezTo>
                      <a:cubicBezTo>
                        <a:pt x="1525" y="1654"/>
                        <a:pt x="1932" y="1321"/>
                        <a:pt x="1932" y="823"/>
                      </a:cubicBezTo>
                      <a:cubicBezTo>
                        <a:pt x="1932" y="371"/>
                        <a:pt x="1569" y="0"/>
                        <a:pt x="113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8" name="Google Shape;11520;p65">
                <a:extLst>
                  <a:ext uri="{FF2B5EF4-FFF2-40B4-BE49-F238E27FC236}">
                    <a16:creationId xmlns:a16="http://schemas.microsoft.com/office/drawing/2014/main" id="{2C082A6C-07D8-6F81-E2B9-4E39952E85D8}"/>
                  </a:ext>
                </a:extLst>
              </p:cNvPr>
              <p:cNvGrpSpPr/>
              <p:nvPr/>
            </p:nvGrpSpPr>
            <p:grpSpPr>
              <a:xfrm>
                <a:off x="4687819" y="3405539"/>
                <a:ext cx="37776" cy="32451"/>
                <a:chOff x="4687819" y="3405539"/>
                <a:chExt cx="37776" cy="32451"/>
              </a:xfrm>
            </p:grpSpPr>
            <p:sp>
              <p:nvSpPr>
                <p:cNvPr id="2419" name="Google Shape;11521;p65">
                  <a:extLst>
                    <a:ext uri="{FF2B5EF4-FFF2-40B4-BE49-F238E27FC236}">
                      <a16:creationId xmlns:a16="http://schemas.microsoft.com/office/drawing/2014/main" id="{675F995E-7D29-DEB6-D274-7069CAFC9028}"/>
                    </a:ext>
                  </a:extLst>
                </p:cNvPr>
                <p:cNvSpPr/>
                <p:nvPr/>
              </p:nvSpPr>
              <p:spPr>
                <a:xfrm>
                  <a:off x="4687819" y="3405539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1"/>
                      </a:moveTo>
                      <a:cubicBezTo>
                        <a:pt x="2226" y="1"/>
                        <a:pt x="1712" y="188"/>
                        <a:pt x="1295" y="606"/>
                      </a:cubicBezTo>
                      <a:cubicBezTo>
                        <a:pt x="0" y="1912"/>
                        <a:pt x="920" y="4126"/>
                        <a:pt x="2758" y="4126"/>
                      </a:cubicBezTo>
                      <a:cubicBezTo>
                        <a:pt x="3883" y="4114"/>
                        <a:pt x="4803" y="3195"/>
                        <a:pt x="4803" y="2070"/>
                      </a:cubicBezTo>
                      <a:cubicBezTo>
                        <a:pt x="4803" y="824"/>
                        <a:pt x="3787" y="1"/>
                        <a:pt x="2730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20" name="Google Shape;11522;p65">
                  <a:extLst>
                    <a:ext uri="{FF2B5EF4-FFF2-40B4-BE49-F238E27FC236}">
                      <a16:creationId xmlns:a16="http://schemas.microsoft.com/office/drawing/2014/main" id="{32169388-93FC-FCB2-D48B-A5474B15519C}"/>
                    </a:ext>
                  </a:extLst>
                </p:cNvPr>
                <p:cNvSpPr/>
                <p:nvPr/>
              </p:nvSpPr>
              <p:spPr>
                <a:xfrm>
                  <a:off x="4702944" y="341524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76" y="1"/>
                        <a:pt x="1" y="376"/>
                        <a:pt x="1" y="836"/>
                      </a:cubicBezTo>
                      <a:cubicBezTo>
                        <a:pt x="1" y="1295"/>
                        <a:pt x="376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6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19" name="Google Shape;11523;p65">
                <a:extLst>
                  <a:ext uri="{FF2B5EF4-FFF2-40B4-BE49-F238E27FC236}">
                    <a16:creationId xmlns:a16="http://schemas.microsoft.com/office/drawing/2014/main" id="{DD932ED6-160C-C366-9DE2-2FD002E88DB2}"/>
                  </a:ext>
                </a:extLst>
              </p:cNvPr>
              <p:cNvGrpSpPr/>
              <p:nvPr/>
            </p:nvGrpSpPr>
            <p:grpSpPr>
              <a:xfrm>
                <a:off x="4923101" y="3444809"/>
                <a:ext cx="52813" cy="45318"/>
                <a:chOff x="4923101" y="3444809"/>
                <a:chExt cx="52813" cy="45318"/>
              </a:xfrm>
            </p:grpSpPr>
            <p:sp>
              <p:nvSpPr>
                <p:cNvPr id="2417" name="Google Shape;11524;p65">
                  <a:extLst>
                    <a:ext uri="{FF2B5EF4-FFF2-40B4-BE49-F238E27FC236}">
                      <a16:creationId xmlns:a16="http://schemas.microsoft.com/office/drawing/2014/main" id="{81019A6F-B185-82BD-EB21-E6B65A81DB23}"/>
                    </a:ext>
                  </a:extLst>
                </p:cNvPr>
                <p:cNvSpPr/>
                <p:nvPr/>
              </p:nvSpPr>
              <p:spPr>
                <a:xfrm>
                  <a:off x="4923101" y="3444809"/>
                  <a:ext cx="52813" cy="453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15" h="5762" extrusionOk="0">
                      <a:moveTo>
                        <a:pt x="3823" y="1"/>
                      </a:moveTo>
                      <a:cubicBezTo>
                        <a:pt x="3117" y="1"/>
                        <a:pt x="2398" y="263"/>
                        <a:pt x="1815" y="851"/>
                      </a:cubicBezTo>
                      <a:cubicBezTo>
                        <a:pt x="1" y="2665"/>
                        <a:pt x="1283" y="5762"/>
                        <a:pt x="3847" y="5762"/>
                      </a:cubicBezTo>
                      <a:cubicBezTo>
                        <a:pt x="5432" y="5762"/>
                        <a:pt x="6714" y="4468"/>
                        <a:pt x="6714" y="2883"/>
                      </a:cubicBezTo>
                      <a:cubicBezTo>
                        <a:pt x="6714" y="1148"/>
                        <a:pt x="5298" y="1"/>
                        <a:pt x="382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18" name="Google Shape;11525;p65">
                  <a:extLst>
                    <a:ext uri="{FF2B5EF4-FFF2-40B4-BE49-F238E27FC236}">
                      <a16:creationId xmlns:a16="http://schemas.microsoft.com/office/drawing/2014/main" id="{DDBD8C0B-EF76-E168-836B-9DC940CE1E83}"/>
                    </a:ext>
                  </a:extLst>
                </p:cNvPr>
                <p:cNvSpPr/>
                <p:nvPr/>
              </p:nvSpPr>
              <p:spPr>
                <a:xfrm>
                  <a:off x="4936039" y="3454538"/>
                  <a:ext cx="30265" cy="25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48" h="3295" extrusionOk="0">
                      <a:moveTo>
                        <a:pt x="2202" y="1"/>
                      </a:moveTo>
                      <a:cubicBezTo>
                        <a:pt x="727" y="1"/>
                        <a:pt x="1" y="1779"/>
                        <a:pt x="1029" y="2807"/>
                      </a:cubicBezTo>
                      <a:cubicBezTo>
                        <a:pt x="1365" y="3144"/>
                        <a:pt x="1779" y="3294"/>
                        <a:pt x="2185" y="3294"/>
                      </a:cubicBezTo>
                      <a:cubicBezTo>
                        <a:pt x="3034" y="3294"/>
                        <a:pt x="3847" y="2636"/>
                        <a:pt x="3847" y="1646"/>
                      </a:cubicBezTo>
                      <a:cubicBezTo>
                        <a:pt x="3847" y="739"/>
                        <a:pt x="3110" y="1"/>
                        <a:pt x="220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0" name="Google Shape;11526;p65">
                <a:extLst>
                  <a:ext uri="{FF2B5EF4-FFF2-40B4-BE49-F238E27FC236}">
                    <a16:creationId xmlns:a16="http://schemas.microsoft.com/office/drawing/2014/main" id="{31DA2512-E131-427C-07B4-ECA1033B3F86}"/>
                  </a:ext>
                </a:extLst>
              </p:cNvPr>
              <p:cNvGrpSpPr/>
              <p:nvPr/>
            </p:nvGrpSpPr>
            <p:grpSpPr>
              <a:xfrm>
                <a:off x="4846040" y="3654750"/>
                <a:ext cx="31405" cy="26993"/>
                <a:chOff x="4846040" y="3654750"/>
                <a:chExt cx="31405" cy="26993"/>
              </a:xfrm>
            </p:grpSpPr>
            <p:sp>
              <p:nvSpPr>
                <p:cNvPr id="2415" name="Google Shape;11527;p65">
                  <a:extLst>
                    <a:ext uri="{FF2B5EF4-FFF2-40B4-BE49-F238E27FC236}">
                      <a16:creationId xmlns:a16="http://schemas.microsoft.com/office/drawing/2014/main" id="{86C028A8-8DB4-A928-B16B-BFDC82D3CBC2}"/>
                    </a:ext>
                  </a:extLst>
                </p:cNvPr>
                <p:cNvSpPr/>
                <p:nvPr/>
              </p:nvSpPr>
              <p:spPr>
                <a:xfrm>
                  <a:off x="4846040" y="3654750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32"/>
                        <a:pt x="2274" y="3432"/>
                      </a:cubicBezTo>
                      <a:cubicBezTo>
                        <a:pt x="3218" y="3432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16" name="Google Shape;11528;p65">
                  <a:extLst>
                    <a:ext uri="{FF2B5EF4-FFF2-40B4-BE49-F238E27FC236}">
                      <a16:creationId xmlns:a16="http://schemas.microsoft.com/office/drawing/2014/main" id="{140742E4-37E6-E552-AFE6-05E05A11C47C}"/>
                    </a:ext>
                  </a:extLst>
                </p:cNvPr>
                <p:cNvSpPr/>
                <p:nvPr/>
              </p:nvSpPr>
              <p:spPr>
                <a:xfrm>
                  <a:off x="4858883" y="3664424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35"/>
                      </a:cubicBezTo>
                      <a:cubicBezTo>
                        <a:pt x="400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1" name="Google Shape;11529;p65">
                <a:extLst>
                  <a:ext uri="{FF2B5EF4-FFF2-40B4-BE49-F238E27FC236}">
                    <a16:creationId xmlns:a16="http://schemas.microsoft.com/office/drawing/2014/main" id="{E3036B98-CA06-7BE3-8225-31D9E41EB985}"/>
                  </a:ext>
                </a:extLst>
              </p:cNvPr>
              <p:cNvGrpSpPr/>
              <p:nvPr/>
            </p:nvGrpSpPr>
            <p:grpSpPr>
              <a:xfrm>
                <a:off x="4925673" y="3691700"/>
                <a:ext cx="40253" cy="34472"/>
                <a:chOff x="4925673" y="3691700"/>
                <a:chExt cx="40253" cy="34472"/>
              </a:xfrm>
            </p:grpSpPr>
            <p:sp>
              <p:nvSpPr>
                <p:cNvPr id="2413" name="Google Shape;11530;p65">
                  <a:extLst>
                    <a:ext uri="{FF2B5EF4-FFF2-40B4-BE49-F238E27FC236}">
                      <a16:creationId xmlns:a16="http://schemas.microsoft.com/office/drawing/2014/main" id="{E14A7E1A-0A53-FC12-000B-DCA6F7571B82}"/>
                    </a:ext>
                  </a:extLst>
                </p:cNvPr>
                <p:cNvSpPr/>
                <p:nvPr/>
              </p:nvSpPr>
              <p:spPr>
                <a:xfrm>
                  <a:off x="4925673" y="3691700"/>
                  <a:ext cx="40253" cy="344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83" extrusionOk="0">
                      <a:moveTo>
                        <a:pt x="2908" y="0"/>
                      </a:moveTo>
                      <a:cubicBezTo>
                        <a:pt x="2371" y="0"/>
                        <a:pt x="1825" y="200"/>
                        <a:pt x="1379" y="645"/>
                      </a:cubicBezTo>
                      <a:cubicBezTo>
                        <a:pt x="0" y="2024"/>
                        <a:pt x="968" y="4383"/>
                        <a:pt x="2915" y="4383"/>
                      </a:cubicBezTo>
                      <a:cubicBezTo>
                        <a:pt x="4125" y="4383"/>
                        <a:pt x="5105" y="3403"/>
                        <a:pt x="5117" y="2193"/>
                      </a:cubicBezTo>
                      <a:cubicBezTo>
                        <a:pt x="5109" y="875"/>
                        <a:pt x="4031" y="0"/>
                        <a:pt x="29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14" name="Google Shape;11531;p65">
                  <a:extLst>
                    <a:ext uri="{FF2B5EF4-FFF2-40B4-BE49-F238E27FC236}">
                      <a16:creationId xmlns:a16="http://schemas.microsoft.com/office/drawing/2014/main" id="{CF48EC91-2A56-0340-1E4C-452640257A25}"/>
                    </a:ext>
                  </a:extLst>
                </p:cNvPr>
                <p:cNvSpPr/>
                <p:nvPr/>
              </p:nvSpPr>
              <p:spPr>
                <a:xfrm>
                  <a:off x="4938516" y="3701334"/>
                  <a:ext cx="17704" cy="151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1" h="1931" extrusionOk="0">
                      <a:moveTo>
                        <a:pt x="1295" y="1"/>
                      </a:moveTo>
                      <a:cubicBezTo>
                        <a:pt x="436" y="1"/>
                        <a:pt x="0" y="1041"/>
                        <a:pt x="605" y="1646"/>
                      </a:cubicBezTo>
                      <a:cubicBezTo>
                        <a:pt x="801" y="1842"/>
                        <a:pt x="1043" y="1930"/>
                        <a:pt x="1281" y="1930"/>
                      </a:cubicBezTo>
                      <a:cubicBezTo>
                        <a:pt x="1775" y="1930"/>
                        <a:pt x="2250" y="1549"/>
                        <a:pt x="2250" y="968"/>
                      </a:cubicBezTo>
                      <a:cubicBezTo>
                        <a:pt x="2250" y="436"/>
                        <a:pt x="1827" y="1"/>
                        <a:pt x="129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2" name="Google Shape;11532;p65">
                <a:extLst>
                  <a:ext uri="{FF2B5EF4-FFF2-40B4-BE49-F238E27FC236}">
                    <a16:creationId xmlns:a16="http://schemas.microsoft.com/office/drawing/2014/main" id="{D6B2A1AC-9906-6CD0-9ED9-427D0F0580F0}"/>
                  </a:ext>
                </a:extLst>
              </p:cNvPr>
              <p:cNvGrpSpPr/>
              <p:nvPr/>
            </p:nvGrpSpPr>
            <p:grpSpPr>
              <a:xfrm>
                <a:off x="4894653" y="3740848"/>
                <a:ext cx="31405" cy="26906"/>
                <a:chOff x="4894653" y="3740848"/>
                <a:chExt cx="31405" cy="26906"/>
              </a:xfrm>
            </p:grpSpPr>
            <p:sp>
              <p:nvSpPr>
                <p:cNvPr id="2411" name="Google Shape;11533;p65">
                  <a:extLst>
                    <a:ext uri="{FF2B5EF4-FFF2-40B4-BE49-F238E27FC236}">
                      <a16:creationId xmlns:a16="http://schemas.microsoft.com/office/drawing/2014/main" id="{059F5B69-E0B7-02A3-CFFF-1384168BCC7E}"/>
                    </a:ext>
                  </a:extLst>
                </p:cNvPr>
                <p:cNvSpPr/>
                <p:nvPr/>
              </p:nvSpPr>
              <p:spPr>
                <a:xfrm>
                  <a:off x="4894653" y="3740848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12" name="Google Shape;11534;p65">
                  <a:extLst>
                    <a:ext uri="{FF2B5EF4-FFF2-40B4-BE49-F238E27FC236}">
                      <a16:creationId xmlns:a16="http://schemas.microsoft.com/office/drawing/2014/main" id="{F8579FBF-86F1-9F23-144A-877D5699273A}"/>
                    </a:ext>
                  </a:extLst>
                </p:cNvPr>
                <p:cNvSpPr/>
                <p:nvPr/>
              </p:nvSpPr>
              <p:spPr>
                <a:xfrm>
                  <a:off x="4907497" y="375052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6" y="922"/>
                        <a:pt x="531" y="967"/>
                        <a:pt x="652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3" name="Google Shape;11535;p65">
                <a:extLst>
                  <a:ext uri="{FF2B5EF4-FFF2-40B4-BE49-F238E27FC236}">
                    <a16:creationId xmlns:a16="http://schemas.microsoft.com/office/drawing/2014/main" id="{5F10DC7F-911D-749F-0DB1-2CE1C8219FE9}"/>
                  </a:ext>
                </a:extLst>
              </p:cNvPr>
              <p:cNvGrpSpPr/>
              <p:nvPr/>
            </p:nvGrpSpPr>
            <p:grpSpPr>
              <a:xfrm>
                <a:off x="4962300" y="3696348"/>
                <a:ext cx="38255" cy="32773"/>
                <a:chOff x="4962300" y="3696348"/>
                <a:chExt cx="38255" cy="32773"/>
              </a:xfrm>
            </p:grpSpPr>
            <p:sp>
              <p:nvSpPr>
                <p:cNvPr id="2409" name="Google Shape;11536;p65">
                  <a:extLst>
                    <a:ext uri="{FF2B5EF4-FFF2-40B4-BE49-F238E27FC236}">
                      <a16:creationId xmlns:a16="http://schemas.microsoft.com/office/drawing/2014/main" id="{1AA5E8CE-998C-9105-E27F-D121B2B62EEA}"/>
                    </a:ext>
                  </a:extLst>
                </p:cNvPr>
                <p:cNvSpPr/>
                <p:nvPr/>
              </p:nvSpPr>
              <p:spPr>
                <a:xfrm>
                  <a:off x="4962300" y="3696348"/>
                  <a:ext cx="38255" cy="327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64" h="4167" extrusionOk="0">
                      <a:moveTo>
                        <a:pt x="2767" y="1"/>
                      </a:moveTo>
                      <a:cubicBezTo>
                        <a:pt x="2259" y="1"/>
                        <a:pt x="1740" y="189"/>
                        <a:pt x="1319" y="611"/>
                      </a:cubicBezTo>
                      <a:cubicBezTo>
                        <a:pt x="0" y="1929"/>
                        <a:pt x="932" y="4167"/>
                        <a:pt x="2783" y="4167"/>
                      </a:cubicBezTo>
                      <a:cubicBezTo>
                        <a:pt x="3932" y="4167"/>
                        <a:pt x="4863" y="3236"/>
                        <a:pt x="4863" y="2086"/>
                      </a:cubicBezTo>
                      <a:cubicBezTo>
                        <a:pt x="4863" y="833"/>
                        <a:pt x="3836" y="1"/>
                        <a:pt x="276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10" name="Google Shape;11537;p65">
                  <a:extLst>
                    <a:ext uri="{FF2B5EF4-FFF2-40B4-BE49-F238E27FC236}">
                      <a16:creationId xmlns:a16="http://schemas.microsoft.com/office/drawing/2014/main" id="{CA2D7968-1C7F-7A45-068A-12A1664A96CA}"/>
                    </a:ext>
                  </a:extLst>
                </p:cNvPr>
                <p:cNvSpPr/>
                <p:nvPr/>
              </p:nvSpPr>
              <p:spPr>
                <a:xfrm>
                  <a:off x="4975238" y="3706093"/>
                  <a:ext cx="15612" cy="13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1702" extrusionOk="0">
                      <a:moveTo>
                        <a:pt x="1138" y="1"/>
                      </a:moveTo>
                      <a:cubicBezTo>
                        <a:pt x="388" y="1"/>
                        <a:pt x="1" y="908"/>
                        <a:pt x="533" y="1452"/>
                      </a:cubicBezTo>
                      <a:cubicBezTo>
                        <a:pt x="709" y="1624"/>
                        <a:pt x="923" y="1702"/>
                        <a:pt x="1132" y="1702"/>
                      </a:cubicBezTo>
                      <a:cubicBezTo>
                        <a:pt x="1569" y="1702"/>
                        <a:pt x="1984" y="1363"/>
                        <a:pt x="1984" y="847"/>
                      </a:cubicBezTo>
                      <a:cubicBezTo>
                        <a:pt x="1984" y="376"/>
                        <a:pt x="1609" y="1"/>
                        <a:pt x="113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4" name="Google Shape;11538;p65">
                <a:extLst>
                  <a:ext uri="{FF2B5EF4-FFF2-40B4-BE49-F238E27FC236}">
                    <a16:creationId xmlns:a16="http://schemas.microsoft.com/office/drawing/2014/main" id="{D3160720-1963-6F0F-B58E-54086233AB98}"/>
                  </a:ext>
                </a:extLst>
              </p:cNvPr>
              <p:cNvGrpSpPr/>
              <p:nvPr/>
            </p:nvGrpSpPr>
            <p:grpSpPr>
              <a:xfrm>
                <a:off x="4980185" y="3743349"/>
                <a:ext cx="31499" cy="26969"/>
                <a:chOff x="4980185" y="3743349"/>
                <a:chExt cx="31499" cy="26969"/>
              </a:xfrm>
            </p:grpSpPr>
            <p:sp>
              <p:nvSpPr>
                <p:cNvPr id="2407" name="Google Shape;11539;p65">
                  <a:extLst>
                    <a:ext uri="{FF2B5EF4-FFF2-40B4-BE49-F238E27FC236}">
                      <a16:creationId xmlns:a16="http://schemas.microsoft.com/office/drawing/2014/main" id="{DE6E0412-0974-4FC0-7D12-8B2419E5D1A6}"/>
                    </a:ext>
                  </a:extLst>
                </p:cNvPr>
                <p:cNvSpPr/>
                <p:nvPr/>
              </p:nvSpPr>
              <p:spPr>
                <a:xfrm>
                  <a:off x="4980185" y="3743349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74" y="0"/>
                      </a:moveTo>
                      <a:cubicBezTo>
                        <a:pt x="1855" y="0"/>
                        <a:pt x="1427" y="155"/>
                        <a:pt x="1077" y="501"/>
                      </a:cubicBezTo>
                      <a:cubicBezTo>
                        <a:pt x="1" y="1578"/>
                        <a:pt x="763" y="3429"/>
                        <a:pt x="2287" y="3429"/>
                      </a:cubicBezTo>
                      <a:cubicBezTo>
                        <a:pt x="3230" y="3429"/>
                        <a:pt x="3993" y="2667"/>
                        <a:pt x="4005" y="1723"/>
                      </a:cubicBezTo>
                      <a:cubicBezTo>
                        <a:pt x="4005" y="689"/>
                        <a:pt x="3158" y="0"/>
                        <a:pt x="227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08" name="Google Shape;11540;p65">
                  <a:extLst>
                    <a:ext uri="{FF2B5EF4-FFF2-40B4-BE49-F238E27FC236}">
                      <a16:creationId xmlns:a16="http://schemas.microsoft.com/office/drawing/2014/main" id="{95D47DE7-9DF3-28DC-617E-65DFBF7A4C46}"/>
                    </a:ext>
                  </a:extLst>
                </p:cNvPr>
                <p:cNvSpPr/>
                <p:nvPr/>
              </p:nvSpPr>
              <p:spPr>
                <a:xfrm>
                  <a:off x="4993123" y="3753094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5" name="Google Shape;11541;p65">
                <a:extLst>
                  <a:ext uri="{FF2B5EF4-FFF2-40B4-BE49-F238E27FC236}">
                    <a16:creationId xmlns:a16="http://schemas.microsoft.com/office/drawing/2014/main" id="{EBF5E105-8EF2-506C-DB84-DA37221C969F}"/>
                  </a:ext>
                </a:extLst>
              </p:cNvPr>
              <p:cNvGrpSpPr/>
              <p:nvPr/>
            </p:nvGrpSpPr>
            <p:grpSpPr>
              <a:xfrm>
                <a:off x="5013768" y="3734312"/>
                <a:ext cx="31499" cy="26969"/>
                <a:chOff x="5013768" y="3734312"/>
                <a:chExt cx="31499" cy="26969"/>
              </a:xfrm>
            </p:grpSpPr>
            <p:sp>
              <p:nvSpPr>
                <p:cNvPr id="2405" name="Google Shape;11542;p65">
                  <a:extLst>
                    <a:ext uri="{FF2B5EF4-FFF2-40B4-BE49-F238E27FC236}">
                      <a16:creationId xmlns:a16="http://schemas.microsoft.com/office/drawing/2014/main" id="{D427378B-A5A0-2B86-377E-999FC29543F8}"/>
                    </a:ext>
                  </a:extLst>
                </p:cNvPr>
                <p:cNvSpPr/>
                <p:nvPr/>
              </p:nvSpPr>
              <p:spPr>
                <a:xfrm>
                  <a:off x="5013768" y="3734312"/>
                  <a:ext cx="31499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9" extrusionOk="0">
                      <a:moveTo>
                        <a:pt x="2281" y="1"/>
                      </a:moveTo>
                      <a:cubicBezTo>
                        <a:pt x="1858" y="1"/>
                        <a:pt x="1428" y="159"/>
                        <a:pt x="1077" y="513"/>
                      </a:cubicBezTo>
                      <a:cubicBezTo>
                        <a:pt x="1" y="1590"/>
                        <a:pt x="775" y="3429"/>
                        <a:pt x="2299" y="3429"/>
                      </a:cubicBezTo>
                      <a:cubicBezTo>
                        <a:pt x="3231" y="3417"/>
                        <a:pt x="3993" y="2655"/>
                        <a:pt x="4005" y="1711"/>
                      </a:cubicBezTo>
                      <a:cubicBezTo>
                        <a:pt x="3997" y="682"/>
                        <a:pt x="3157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06" name="Google Shape;11543;p65">
                  <a:extLst>
                    <a:ext uri="{FF2B5EF4-FFF2-40B4-BE49-F238E27FC236}">
                      <a16:creationId xmlns:a16="http://schemas.microsoft.com/office/drawing/2014/main" id="{8CD49B8F-B6A5-5636-E7F4-1F4CDFA8E46E}"/>
                    </a:ext>
                  </a:extLst>
                </p:cNvPr>
                <p:cNvSpPr/>
                <p:nvPr/>
              </p:nvSpPr>
              <p:spPr>
                <a:xfrm>
                  <a:off x="5028043" y="3743963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6" name="Google Shape;11544;p65">
                <a:extLst>
                  <a:ext uri="{FF2B5EF4-FFF2-40B4-BE49-F238E27FC236}">
                    <a16:creationId xmlns:a16="http://schemas.microsoft.com/office/drawing/2014/main" id="{6F0726F6-987D-71D9-92F2-F771960DDA61}"/>
                  </a:ext>
                </a:extLst>
              </p:cNvPr>
              <p:cNvGrpSpPr/>
              <p:nvPr/>
            </p:nvGrpSpPr>
            <p:grpSpPr>
              <a:xfrm>
                <a:off x="5036703" y="3764545"/>
                <a:ext cx="31499" cy="26898"/>
                <a:chOff x="5036703" y="3764545"/>
                <a:chExt cx="31499" cy="26898"/>
              </a:xfrm>
            </p:grpSpPr>
            <p:sp>
              <p:nvSpPr>
                <p:cNvPr id="2403" name="Google Shape;11545;p65">
                  <a:extLst>
                    <a:ext uri="{FF2B5EF4-FFF2-40B4-BE49-F238E27FC236}">
                      <a16:creationId xmlns:a16="http://schemas.microsoft.com/office/drawing/2014/main" id="{E3789DDE-0D75-1540-4A33-0E16371B2307}"/>
                    </a:ext>
                  </a:extLst>
                </p:cNvPr>
                <p:cNvSpPr/>
                <p:nvPr/>
              </p:nvSpPr>
              <p:spPr>
                <a:xfrm>
                  <a:off x="503670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19"/>
                        <a:pt x="2298" y="3419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04" name="Google Shape;11546;p65">
                  <a:extLst>
                    <a:ext uri="{FF2B5EF4-FFF2-40B4-BE49-F238E27FC236}">
                      <a16:creationId xmlns:a16="http://schemas.microsoft.com/office/drawing/2014/main" id="{32A5227B-8F26-0A68-FB55-5117A5BB38A8}"/>
                    </a:ext>
                  </a:extLst>
                </p:cNvPr>
                <p:cNvSpPr/>
                <p:nvPr/>
              </p:nvSpPr>
              <p:spPr>
                <a:xfrm>
                  <a:off x="5049641" y="377421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7" name="Google Shape;11547;p65">
                <a:extLst>
                  <a:ext uri="{FF2B5EF4-FFF2-40B4-BE49-F238E27FC236}">
                    <a16:creationId xmlns:a16="http://schemas.microsoft.com/office/drawing/2014/main" id="{E9932559-A7C5-DAF6-37B8-F0CAEB653197}"/>
                  </a:ext>
                </a:extLst>
              </p:cNvPr>
              <p:cNvGrpSpPr/>
              <p:nvPr/>
            </p:nvGrpSpPr>
            <p:grpSpPr>
              <a:xfrm>
                <a:off x="4953546" y="3768352"/>
                <a:ext cx="31405" cy="26898"/>
                <a:chOff x="4953546" y="3768352"/>
                <a:chExt cx="31405" cy="26898"/>
              </a:xfrm>
            </p:grpSpPr>
            <p:sp>
              <p:nvSpPr>
                <p:cNvPr id="2401" name="Google Shape;11548;p65">
                  <a:extLst>
                    <a:ext uri="{FF2B5EF4-FFF2-40B4-BE49-F238E27FC236}">
                      <a16:creationId xmlns:a16="http://schemas.microsoft.com/office/drawing/2014/main" id="{4B34295D-64B2-C00C-9A0A-B41C78DD51B7}"/>
                    </a:ext>
                  </a:extLst>
                </p:cNvPr>
                <p:cNvSpPr/>
                <p:nvPr/>
              </p:nvSpPr>
              <p:spPr>
                <a:xfrm>
                  <a:off x="4953546" y="376835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1" y="0"/>
                      </a:moveTo>
                      <a:cubicBezTo>
                        <a:pt x="1852" y="0"/>
                        <a:pt x="1425" y="156"/>
                        <a:pt x="1077" y="504"/>
                      </a:cubicBezTo>
                      <a:cubicBezTo>
                        <a:pt x="1" y="1581"/>
                        <a:pt x="751" y="3419"/>
                        <a:pt x="2287" y="3419"/>
                      </a:cubicBezTo>
                      <a:cubicBezTo>
                        <a:pt x="3218" y="3419"/>
                        <a:pt x="3992" y="2657"/>
                        <a:pt x="3992" y="1726"/>
                      </a:cubicBezTo>
                      <a:cubicBezTo>
                        <a:pt x="3992" y="686"/>
                        <a:pt x="3150" y="0"/>
                        <a:pt x="227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02" name="Google Shape;11549;p65">
                  <a:extLst>
                    <a:ext uri="{FF2B5EF4-FFF2-40B4-BE49-F238E27FC236}">
                      <a16:creationId xmlns:a16="http://schemas.microsoft.com/office/drawing/2014/main" id="{39C3FC12-96CB-84FB-AFF7-089AB56CB849}"/>
                    </a:ext>
                  </a:extLst>
                </p:cNvPr>
                <p:cNvSpPr/>
                <p:nvPr/>
              </p:nvSpPr>
              <p:spPr>
                <a:xfrm>
                  <a:off x="4966390" y="3778018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4" y="1"/>
                      </a:moveTo>
                      <a:cubicBezTo>
                        <a:pt x="218" y="1"/>
                        <a:pt x="1" y="533"/>
                        <a:pt x="303" y="835"/>
                      </a:cubicBezTo>
                      <a:cubicBezTo>
                        <a:pt x="404" y="933"/>
                        <a:pt x="527" y="976"/>
                        <a:pt x="647" y="976"/>
                      </a:cubicBezTo>
                      <a:cubicBezTo>
                        <a:pt x="899" y="976"/>
                        <a:pt x="1138" y="784"/>
                        <a:pt x="1138" y="497"/>
                      </a:cubicBezTo>
                      <a:cubicBezTo>
                        <a:pt x="1138" y="218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8" name="Google Shape;11550;p65">
                <a:extLst>
                  <a:ext uri="{FF2B5EF4-FFF2-40B4-BE49-F238E27FC236}">
                    <a16:creationId xmlns:a16="http://schemas.microsoft.com/office/drawing/2014/main" id="{767241FD-EF89-FF99-ECFF-86FD2D4CDC06}"/>
                  </a:ext>
                </a:extLst>
              </p:cNvPr>
              <p:cNvGrpSpPr/>
              <p:nvPr/>
            </p:nvGrpSpPr>
            <p:grpSpPr>
              <a:xfrm>
                <a:off x="4964770" y="3814016"/>
                <a:ext cx="31499" cy="26993"/>
                <a:chOff x="4964770" y="3814016"/>
                <a:chExt cx="31499" cy="26993"/>
              </a:xfrm>
            </p:grpSpPr>
            <p:sp>
              <p:nvSpPr>
                <p:cNvPr id="2399" name="Google Shape;11551;p65">
                  <a:extLst>
                    <a:ext uri="{FF2B5EF4-FFF2-40B4-BE49-F238E27FC236}">
                      <a16:creationId xmlns:a16="http://schemas.microsoft.com/office/drawing/2014/main" id="{E93E859B-065A-F18B-49C3-2750496EA4DF}"/>
                    </a:ext>
                  </a:extLst>
                </p:cNvPr>
                <p:cNvSpPr/>
                <p:nvPr/>
              </p:nvSpPr>
              <p:spPr>
                <a:xfrm>
                  <a:off x="4964770" y="3814016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32"/>
                        <a:pt x="2287" y="3432"/>
                      </a:cubicBezTo>
                      <a:cubicBezTo>
                        <a:pt x="3231" y="3432"/>
                        <a:pt x="3993" y="2658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400" name="Google Shape;11552;p65">
                  <a:extLst>
                    <a:ext uri="{FF2B5EF4-FFF2-40B4-BE49-F238E27FC236}">
                      <a16:creationId xmlns:a16="http://schemas.microsoft.com/office/drawing/2014/main" id="{F13A0782-8E87-B809-B1D2-B3D85DC1A236}"/>
                    </a:ext>
                  </a:extLst>
                </p:cNvPr>
                <p:cNvSpPr/>
                <p:nvPr/>
              </p:nvSpPr>
              <p:spPr>
                <a:xfrm>
                  <a:off x="4977715" y="3823690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35"/>
                      </a:cubicBezTo>
                      <a:cubicBezTo>
                        <a:pt x="399" y="932"/>
                        <a:pt x="519" y="975"/>
                        <a:pt x="636" y="975"/>
                      </a:cubicBezTo>
                      <a:cubicBezTo>
                        <a:pt x="885" y="975"/>
                        <a:pt x="1125" y="780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29" name="Google Shape;11553;p65">
                <a:extLst>
                  <a:ext uri="{FF2B5EF4-FFF2-40B4-BE49-F238E27FC236}">
                    <a16:creationId xmlns:a16="http://schemas.microsoft.com/office/drawing/2014/main" id="{8F60FD72-DACF-D8C2-64E3-562E232CAACC}"/>
                  </a:ext>
                </a:extLst>
              </p:cNvPr>
              <p:cNvGrpSpPr/>
              <p:nvPr/>
            </p:nvGrpSpPr>
            <p:grpSpPr>
              <a:xfrm>
                <a:off x="4923290" y="3800504"/>
                <a:ext cx="31468" cy="26898"/>
                <a:chOff x="4923290" y="3800504"/>
                <a:chExt cx="31468" cy="26898"/>
              </a:xfrm>
            </p:grpSpPr>
            <p:sp>
              <p:nvSpPr>
                <p:cNvPr id="2397" name="Google Shape;11554;p65">
                  <a:extLst>
                    <a:ext uri="{FF2B5EF4-FFF2-40B4-BE49-F238E27FC236}">
                      <a16:creationId xmlns:a16="http://schemas.microsoft.com/office/drawing/2014/main" id="{F3500153-6D39-36E8-68EA-0C3DD5D20D2A}"/>
                    </a:ext>
                  </a:extLst>
                </p:cNvPr>
                <p:cNvSpPr/>
                <p:nvPr/>
              </p:nvSpPr>
              <p:spPr>
                <a:xfrm>
                  <a:off x="4923290" y="3800504"/>
                  <a:ext cx="31468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" h="3420" extrusionOk="0">
                      <a:moveTo>
                        <a:pt x="2276" y="1"/>
                      </a:moveTo>
                      <a:cubicBezTo>
                        <a:pt x="1855" y="1"/>
                        <a:pt x="1426" y="156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4001" y="683"/>
                        <a:pt x="3156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98" name="Google Shape;11555;p65">
                  <a:extLst>
                    <a:ext uri="{FF2B5EF4-FFF2-40B4-BE49-F238E27FC236}">
                      <a16:creationId xmlns:a16="http://schemas.microsoft.com/office/drawing/2014/main" id="{6FB0D1A5-C7B7-8CDC-AD84-351C50297A78}"/>
                    </a:ext>
                  </a:extLst>
                </p:cNvPr>
                <p:cNvSpPr/>
                <p:nvPr/>
              </p:nvSpPr>
              <p:spPr>
                <a:xfrm>
                  <a:off x="4937470" y="381017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0" name="Google Shape;11556;p65">
                <a:extLst>
                  <a:ext uri="{FF2B5EF4-FFF2-40B4-BE49-F238E27FC236}">
                    <a16:creationId xmlns:a16="http://schemas.microsoft.com/office/drawing/2014/main" id="{A7462EB2-5D76-08D1-9E74-B8507CED4C7B}"/>
                  </a:ext>
                </a:extLst>
              </p:cNvPr>
              <p:cNvGrpSpPr/>
              <p:nvPr/>
            </p:nvGrpSpPr>
            <p:grpSpPr>
              <a:xfrm>
                <a:off x="5108534" y="3650943"/>
                <a:ext cx="31405" cy="26993"/>
                <a:chOff x="5108534" y="3650943"/>
                <a:chExt cx="31405" cy="26993"/>
              </a:xfrm>
            </p:grpSpPr>
            <p:sp>
              <p:nvSpPr>
                <p:cNvPr id="2395" name="Google Shape;11557;p65">
                  <a:extLst>
                    <a:ext uri="{FF2B5EF4-FFF2-40B4-BE49-F238E27FC236}">
                      <a16:creationId xmlns:a16="http://schemas.microsoft.com/office/drawing/2014/main" id="{9BE2C720-DBC5-AC92-ADEC-07110F55326D}"/>
                    </a:ext>
                  </a:extLst>
                </p:cNvPr>
                <p:cNvSpPr/>
                <p:nvPr/>
              </p:nvSpPr>
              <p:spPr>
                <a:xfrm>
                  <a:off x="5108534" y="365094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2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96" name="Google Shape;11558;p65">
                  <a:extLst>
                    <a:ext uri="{FF2B5EF4-FFF2-40B4-BE49-F238E27FC236}">
                      <a16:creationId xmlns:a16="http://schemas.microsoft.com/office/drawing/2014/main" id="{CB078FF7-A494-5C7E-8852-49A11333B48E}"/>
                    </a:ext>
                  </a:extLst>
                </p:cNvPr>
                <p:cNvSpPr/>
                <p:nvPr/>
              </p:nvSpPr>
              <p:spPr>
                <a:xfrm>
                  <a:off x="5122707" y="3660617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0"/>
                      </a:moveTo>
                      <a:cubicBezTo>
                        <a:pt x="218" y="0"/>
                        <a:pt x="1" y="218"/>
                        <a:pt x="1" y="484"/>
                      </a:cubicBezTo>
                      <a:cubicBezTo>
                        <a:pt x="1" y="750"/>
                        <a:pt x="218" y="968"/>
                        <a:pt x="484" y="968"/>
                      </a:cubicBezTo>
                      <a:cubicBezTo>
                        <a:pt x="751" y="968"/>
                        <a:pt x="968" y="750"/>
                        <a:pt x="968" y="484"/>
                      </a:cubicBezTo>
                      <a:cubicBezTo>
                        <a:pt x="968" y="218"/>
                        <a:pt x="751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1" name="Google Shape;11559;p65">
                <a:extLst>
                  <a:ext uri="{FF2B5EF4-FFF2-40B4-BE49-F238E27FC236}">
                    <a16:creationId xmlns:a16="http://schemas.microsoft.com/office/drawing/2014/main" id="{42B5CE63-8DEC-9394-FF90-2F29C46ECD72}"/>
                  </a:ext>
                </a:extLst>
              </p:cNvPr>
              <p:cNvGrpSpPr/>
              <p:nvPr/>
            </p:nvGrpSpPr>
            <p:grpSpPr>
              <a:xfrm>
                <a:off x="5119380" y="3760739"/>
                <a:ext cx="31499" cy="26993"/>
                <a:chOff x="5119380" y="3760739"/>
                <a:chExt cx="31499" cy="26993"/>
              </a:xfrm>
            </p:grpSpPr>
            <p:sp>
              <p:nvSpPr>
                <p:cNvPr id="2393" name="Google Shape;11560;p65">
                  <a:extLst>
                    <a:ext uri="{FF2B5EF4-FFF2-40B4-BE49-F238E27FC236}">
                      <a16:creationId xmlns:a16="http://schemas.microsoft.com/office/drawing/2014/main" id="{F709D588-0031-2F53-277A-25418F1E3AC6}"/>
                    </a:ext>
                  </a:extLst>
                </p:cNvPr>
                <p:cNvSpPr/>
                <p:nvPr/>
              </p:nvSpPr>
              <p:spPr>
                <a:xfrm>
                  <a:off x="5119380" y="3760739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20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94" name="Google Shape;11561;p65">
                  <a:extLst>
                    <a:ext uri="{FF2B5EF4-FFF2-40B4-BE49-F238E27FC236}">
                      <a16:creationId xmlns:a16="http://schemas.microsoft.com/office/drawing/2014/main" id="{768E324F-CAB1-C6E3-9101-222DBB7F25E1}"/>
                    </a:ext>
                  </a:extLst>
                </p:cNvPr>
                <p:cNvSpPr/>
                <p:nvPr/>
              </p:nvSpPr>
              <p:spPr>
                <a:xfrm>
                  <a:off x="5132318" y="3770405"/>
                  <a:ext cx="8856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3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0" y="972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2" name="Google Shape;11562;p65">
                <a:extLst>
                  <a:ext uri="{FF2B5EF4-FFF2-40B4-BE49-F238E27FC236}">
                    <a16:creationId xmlns:a16="http://schemas.microsoft.com/office/drawing/2014/main" id="{3694ED89-DBF3-BB8B-D4C0-6A7225850779}"/>
                  </a:ext>
                </a:extLst>
              </p:cNvPr>
              <p:cNvGrpSpPr/>
              <p:nvPr/>
            </p:nvGrpSpPr>
            <p:grpSpPr>
              <a:xfrm>
                <a:off x="5119380" y="3788235"/>
                <a:ext cx="31499" cy="26993"/>
                <a:chOff x="5119380" y="3788235"/>
                <a:chExt cx="31499" cy="26993"/>
              </a:xfrm>
            </p:grpSpPr>
            <p:sp>
              <p:nvSpPr>
                <p:cNvPr id="2391" name="Google Shape;11563;p65">
                  <a:extLst>
                    <a:ext uri="{FF2B5EF4-FFF2-40B4-BE49-F238E27FC236}">
                      <a16:creationId xmlns:a16="http://schemas.microsoft.com/office/drawing/2014/main" id="{5CAF17F0-6D2D-6C6A-F86D-5E34EA477F82}"/>
                    </a:ext>
                  </a:extLst>
                </p:cNvPr>
                <p:cNvSpPr/>
                <p:nvPr/>
              </p:nvSpPr>
              <p:spPr>
                <a:xfrm>
                  <a:off x="5119380" y="378823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75" y="0"/>
                      </a:moveTo>
                      <a:cubicBezTo>
                        <a:pt x="1854" y="0"/>
                        <a:pt x="1425" y="156"/>
                        <a:pt x="1077" y="504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19"/>
                        <a:pt x="3992" y="2657"/>
                        <a:pt x="4004" y="1714"/>
                      </a:cubicBezTo>
                      <a:cubicBezTo>
                        <a:pt x="4004" y="683"/>
                        <a:pt x="3157" y="0"/>
                        <a:pt x="227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92" name="Google Shape;11564;p65">
                  <a:extLst>
                    <a:ext uri="{FF2B5EF4-FFF2-40B4-BE49-F238E27FC236}">
                      <a16:creationId xmlns:a16="http://schemas.microsoft.com/office/drawing/2014/main" id="{FADF3107-A008-3D94-2986-8F07560EF711}"/>
                    </a:ext>
                  </a:extLst>
                </p:cNvPr>
                <p:cNvSpPr/>
                <p:nvPr/>
              </p:nvSpPr>
              <p:spPr>
                <a:xfrm>
                  <a:off x="5132318" y="379790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3" y="824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3" name="Google Shape;11565;p65">
                <a:extLst>
                  <a:ext uri="{FF2B5EF4-FFF2-40B4-BE49-F238E27FC236}">
                    <a16:creationId xmlns:a16="http://schemas.microsoft.com/office/drawing/2014/main" id="{798EBA7B-510C-4D64-7F69-BEB0F955D8FE}"/>
                  </a:ext>
                </a:extLst>
              </p:cNvPr>
              <p:cNvGrpSpPr/>
              <p:nvPr/>
            </p:nvGrpSpPr>
            <p:grpSpPr>
              <a:xfrm>
                <a:off x="5158005" y="3875284"/>
                <a:ext cx="31405" cy="27001"/>
                <a:chOff x="5158005" y="3875284"/>
                <a:chExt cx="31405" cy="27001"/>
              </a:xfrm>
            </p:grpSpPr>
            <p:sp>
              <p:nvSpPr>
                <p:cNvPr id="2389" name="Google Shape;11566;p65">
                  <a:extLst>
                    <a:ext uri="{FF2B5EF4-FFF2-40B4-BE49-F238E27FC236}">
                      <a16:creationId xmlns:a16="http://schemas.microsoft.com/office/drawing/2014/main" id="{5881DA7C-C2F4-A4FB-93C5-63D5E5B2CC59}"/>
                    </a:ext>
                  </a:extLst>
                </p:cNvPr>
                <p:cNvSpPr/>
                <p:nvPr/>
              </p:nvSpPr>
              <p:spPr>
                <a:xfrm>
                  <a:off x="5158005" y="3875284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90" name="Google Shape;11567;p65">
                  <a:extLst>
                    <a:ext uri="{FF2B5EF4-FFF2-40B4-BE49-F238E27FC236}">
                      <a16:creationId xmlns:a16="http://schemas.microsoft.com/office/drawing/2014/main" id="{FD19C2F6-D011-8939-7910-F25238F29741}"/>
                    </a:ext>
                  </a:extLst>
                </p:cNvPr>
                <p:cNvSpPr/>
                <p:nvPr/>
              </p:nvSpPr>
              <p:spPr>
                <a:xfrm>
                  <a:off x="5170848" y="3884958"/>
                  <a:ext cx="8950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2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6" y="926"/>
                        <a:pt x="531" y="972"/>
                        <a:pt x="652" y="972"/>
                      </a:cubicBezTo>
                      <a:cubicBezTo>
                        <a:pt x="902" y="972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4" name="Google Shape;11568;p65">
                <a:extLst>
                  <a:ext uri="{FF2B5EF4-FFF2-40B4-BE49-F238E27FC236}">
                    <a16:creationId xmlns:a16="http://schemas.microsoft.com/office/drawing/2014/main" id="{ABB18EF7-374C-8C50-D11B-EB519FEB09D8}"/>
                  </a:ext>
                </a:extLst>
              </p:cNvPr>
              <p:cNvGrpSpPr/>
              <p:nvPr/>
            </p:nvGrpSpPr>
            <p:grpSpPr>
              <a:xfrm>
                <a:off x="5233163" y="3764545"/>
                <a:ext cx="31499" cy="26898"/>
                <a:chOff x="5233163" y="3764545"/>
                <a:chExt cx="31499" cy="26898"/>
              </a:xfrm>
            </p:grpSpPr>
            <p:sp>
              <p:nvSpPr>
                <p:cNvPr id="2387" name="Google Shape;11569;p65">
                  <a:extLst>
                    <a:ext uri="{FF2B5EF4-FFF2-40B4-BE49-F238E27FC236}">
                      <a16:creationId xmlns:a16="http://schemas.microsoft.com/office/drawing/2014/main" id="{8BE36011-4F10-9A5A-144B-6AF8E0A9BF4A}"/>
                    </a:ext>
                  </a:extLst>
                </p:cNvPr>
                <p:cNvSpPr/>
                <p:nvPr/>
              </p:nvSpPr>
              <p:spPr>
                <a:xfrm>
                  <a:off x="5233163" y="376454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8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2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88" name="Google Shape;11570;p65">
                  <a:extLst>
                    <a:ext uri="{FF2B5EF4-FFF2-40B4-BE49-F238E27FC236}">
                      <a16:creationId xmlns:a16="http://schemas.microsoft.com/office/drawing/2014/main" id="{EEA5E6D4-0E46-C4F6-16FE-59AF27B9068F}"/>
                    </a:ext>
                  </a:extLst>
                </p:cNvPr>
                <p:cNvSpPr/>
                <p:nvPr/>
              </p:nvSpPr>
              <p:spPr>
                <a:xfrm>
                  <a:off x="5246108" y="3774211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5" name="Google Shape;11571;p65">
                <a:extLst>
                  <a:ext uri="{FF2B5EF4-FFF2-40B4-BE49-F238E27FC236}">
                    <a16:creationId xmlns:a16="http://schemas.microsoft.com/office/drawing/2014/main" id="{52F22D08-9DB8-B716-CCE0-9DF1837B00B9}"/>
                  </a:ext>
                </a:extLst>
              </p:cNvPr>
              <p:cNvGrpSpPr/>
              <p:nvPr/>
            </p:nvGrpSpPr>
            <p:grpSpPr>
              <a:xfrm>
                <a:off x="5276168" y="3805545"/>
                <a:ext cx="31499" cy="26906"/>
                <a:chOff x="5276168" y="3805545"/>
                <a:chExt cx="31499" cy="26906"/>
              </a:xfrm>
            </p:grpSpPr>
            <p:sp>
              <p:nvSpPr>
                <p:cNvPr id="2385" name="Google Shape;11572;p65">
                  <a:extLst>
                    <a:ext uri="{FF2B5EF4-FFF2-40B4-BE49-F238E27FC236}">
                      <a16:creationId xmlns:a16="http://schemas.microsoft.com/office/drawing/2014/main" id="{66F6C380-5FA7-8090-A52B-BE14B4CEAB53}"/>
                    </a:ext>
                  </a:extLst>
                </p:cNvPr>
                <p:cNvSpPr/>
                <p:nvPr/>
              </p:nvSpPr>
              <p:spPr>
                <a:xfrm>
                  <a:off x="5276168" y="3805545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1" y="1"/>
                      </a:moveTo>
                      <a:cubicBezTo>
                        <a:pt x="1860" y="1"/>
                        <a:pt x="1429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86" name="Google Shape;11573;p65">
                  <a:extLst>
                    <a:ext uri="{FF2B5EF4-FFF2-40B4-BE49-F238E27FC236}">
                      <a16:creationId xmlns:a16="http://schemas.microsoft.com/office/drawing/2014/main" id="{D0AC68C1-C3D6-6889-B7CC-29EFBDCB2D90}"/>
                    </a:ext>
                  </a:extLst>
                </p:cNvPr>
                <p:cNvSpPr/>
                <p:nvPr/>
              </p:nvSpPr>
              <p:spPr>
                <a:xfrm>
                  <a:off x="5289106" y="3815219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9" y="1"/>
                        <a:pt x="1" y="521"/>
                        <a:pt x="303" y="823"/>
                      </a:cubicBezTo>
                      <a:cubicBezTo>
                        <a:pt x="402" y="922"/>
                        <a:pt x="524" y="967"/>
                        <a:pt x="644" y="967"/>
                      </a:cubicBezTo>
                      <a:cubicBezTo>
                        <a:pt x="890" y="967"/>
                        <a:pt x="1126" y="778"/>
                        <a:pt x="1126" y="484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6" name="Google Shape;11574;p65">
                <a:extLst>
                  <a:ext uri="{FF2B5EF4-FFF2-40B4-BE49-F238E27FC236}">
                    <a16:creationId xmlns:a16="http://schemas.microsoft.com/office/drawing/2014/main" id="{76B1FAD7-5545-A42A-49AA-11B5805958DD}"/>
                  </a:ext>
                </a:extLst>
              </p:cNvPr>
              <p:cNvGrpSpPr/>
              <p:nvPr/>
            </p:nvGrpSpPr>
            <p:grpSpPr>
              <a:xfrm>
                <a:off x="5294053" y="3851933"/>
                <a:ext cx="31405" cy="26945"/>
                <a:chOff x="5294053" y="3851933"/>
                <a:chExt cx="31405" cy="26945"/>
              </a:xfrm>
            </p:grpSpPr>
            <p:sp>
              <p:nvSpPr>
                <p:cNvPr id="2383" name="Google Shape;11575;p65">
                  <a:extLst>
                    <a:ext uri="{FF2B5EF4-FFF2-40B4-BE49-F238E27FC236}">
                      <a16:creationId xmlns:a16="http://schemas.microsoft.com/office/drawing/2014/main" id="{B35CD944-8D1E-7803-989F-392F3BADC25A}"/>
                    </a:ext>
                  </a:extLst>
                </p:cNvPr>
                <p:cNvSpPr/>
                <p:nvPr/>
              </p:nvSpPr>
              <p:spPr>
                <a:xfrm>
                  <a:off x="5294053" y="3851933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1"/>
                      </a:moveTo>
                      <a:cubicBezTo>
                        <a:pt x="1854" y="1"/>
                        <a:pt x="1426" y="158"/>
                        <a:pt x="1077" y="510"/>
                      </a:cubicBezTo>
                      <a:cubicBezTo>
                        <a:pt x="1" y="1587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84" name="Google Shape;11576;p65">
                  <a:extLst>
                    <a:ext uri="{FF2B5EF4-FFF2-40B4-BE49-F238E27FC236}">
                      <a16:creationId xmlns:a16="http://schemas.microsoft.com/office/drawing/2014/main" id="{3B5B2DDC-A987-A762-A767-DEED5D77D73C}"/>
                    </a:ext>
                  </a:extLst>
                </p:cNvPr>
                <p:cNvSpPr/>
                <p:nvPr/>
              </p:nvSpPr>
              <p:spPr>
                <a:xfrm>
                  <a:off x="5308234" y="386155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63"/>
                        <a:pt x="218" y="968"/>
                        <a:pt x="484" y="968"/>
                      </a:cubicBezTo>
                      <a:cubicBezTo>
                        <a:pt x="750" y="968"/>
                        <a:pt x="968" y="763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7" name="Google Shape;11577;p65">
                <a:extLst>
                  <a:ext uri="{FF2B5EF4-FFF2-40B4-BE49-F238E27FC236}">
                    <a16:creationId xmlns:a16="http://schemas.microsoft.com/office/drawing/2014/main" id="{5576AA7E-28A9-DE99-29FD-0B7483CCBB54}"/>
                  </a:ext>
                </a:extLst>
              </p:cNvPr>
              <p:cNvGrpSpPr/>
              <p:nvPr/>
            </p:nvGrpSpPr>
            <p:grpSpPr>
              <a:xfrm>
                <a:off x="5341723" y="3851902"/>
                <a:ext cx="31405" cy="26977"/>
                <a:chOff x="5341723" y="3851902"/>
                <a:chExt cx="31405" cy="26977"/>
              </a:xfrm>
            </p:grpSpPr>
            <p:sp>
              <p:nvSpPr>
                <p:cNvPr id="2381" name="Google Shape;11578;p65">
                  <a:extLst>
                    <a:ext uri="{FF2B5EF4-FFF2-40B4-BE49-F238E27FC236}">
                      <a16:creationId xmlns:a16="http://schemas.microsoft.com/office/drawing/2014/main" id="{634255F0-C7E0-9694-45C6-1C6A173F6C25}"/>
                    </a:ext>
                  </a:extLst>
                </p:cNvPr>
                <p:cNvSpPr/>
                <p:nvPr/>
              </p:nvSpPr>
              <p:spPr>
                <a:xfrm>
                  <a:off x="5341723" y="3851902"/>
                  <a:ext cx="31405" cy="269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0" extrusionOk="0">
                      <a:moveTo>
                        <a:pt x="2266" y="1"/>
                      </a:moveTo>
                      <a:cubicBezTo>
                        <a:pt x="1848" y="1"/>
                        <a:pt x="1423" y="156"/>
                        <a:pt x="1077" y="502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4"/>
                      </a:cubicBezTo>
                      <a:cubicBezTo>
                        <a:pt x="3992" y="690"/>
                        <a:pt x="3146" y="1"/>
                        <a:pt x="226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82" name="Google Shape;11579;p65">
                  <a:extLst>
                    <a:ext uri="{FF2B5EF4-FFF2-40B4-BE49-F238E27FC236}">
                      <a16:creationId xmlns:a16="http://schemas.microsoft.com/office/drawing/2014/main" id="{AF213C50-F4AD-6E16-AB4C-C3E32297ABEF}"/>
                    </a:ext>
                  </a:extLst>
                </p:cNvPr>
                <p:cNvSpPr/>
                <p:nvPr/>
              </p:nvSpPr>
              <p:spPr>
                <a:xfrm>
                  <a:off x="5354567" y="3861647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7" y="964"/>
                        <a:pt x="646" y="964"/>
                      </a:cubicBezTo>
                      <a:cubicBezTo>
                        <a:pt x="898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8" name="Google Shape;11580;p65">
                <a:extLst>
                  <a:ext uri="{FF2B5EF4-FFF2-40B4-BE49-F238E27FC236}">
                    <a16:creationId xmlns:a16="http://schemas.microsoft.com/office/drawing/2014/main" id="{241AD488-37E4-B3C7-8C38-A547B5734962}"/>
                  </a:ext>
                </a:extLst>
              </p:cNvPr>
              <p:cNvGrpSpPr/>
              <p:nvPr/>
            </p:nvGrpSpPr>
            <p:grpSpPr>
              <a:xfrm>
                <a:off x="5054871" y="3507855"/>
                <a:ext cx="31405" cy="26993"/>
                <a:chOff x="5054871" y="3507855"/>
                <a:chExt cx="31405" cy="26993"/>
              </a:xfrm>
            </p:grpSpPr>
            <p:sp>
              <p:nvSpPr>
                <p:cNvPr id="2379" name="Google Shape;11581;p65">
                  <a:extLst>
                    <a:ext uri="{FF2B5EF4-FFF2-40B4-BE49-F238E27FC236}">
                      <a16:creationId xmlns:a16="http://schemas.microsoft.com/office/drawing/2014/main" id="{5588C80C-12EC-2F89-1C7A-2806AE3A4B85}"/>
                    </a:ext>
                  </a:extLst>
                </p:cNvPr>
                <p:cNvSpPr/>
                <p:nvPr/>
              </p:nvSpPr>
              <p:spPr>
                <a:xfrm>
                  <a:off x="5054871" y="3507855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31"/>
                        <a:pt x="2287" y="3431"/>
                      </a:cubicBezTo>
                      <a:cubicBezTo>
                        <a:pt x="3230" y="3431"/>
                        <a:pt x="3993" y="2657"/>
                        <a:pt x="3993" y="1714"/>
                      </a:cubicBezTo>
                      <a:cubicBezTo>
                        <a:pt x="3993" y="682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80" name="Google Shape;11582;p65">
                  <a:extLst>
                    <a:ext uri="{FF2B5EF4-FFF2-40B4-BE49-F238E27FC236}">
                      <a16:creationId xmlns:a16="http://schemas.microsoft.com/office/drawing/2014/main" id="{E954A5BD-AF67-6D4E-17D0-EBA50B65FDB0}"/>
                    </a:ext>
                  </a:extLst>
                </p:cNvPr>
                <p:cNvSpPr/>
                <p:nvPr/>
              </p:nvSpPr>
              <p:spPr>
                <a:xfrm>
                  <a:off x="5067715" y="351752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1"/>
                      </a:moveTo>
                      <a:cubicBezTo>
                        <a:pt x="218" y="1"/>
                        <a:pt x="1" y="521"/>
                        <a:pt x="315" y="823"/>
                      </a:cubicBezTo>
                      <a:cubicBezTo>
                        <a:pt x="414" y="922"/>
                        <a:pt x="536" y="967"/>
                        <a:pt x="656" y="967"/>
                      </a:cubicBezTo>
                      <a:cubicBezTo>
                        <a:pt x="902" y="967"/>
                        <a:pt x="1138" y="778"/>
                        <a:pt x="1138" y="485"/>
                      </a:cubicBezTo>
                      <a:cubicBezTo>
                        <a:pt x="1138" y="219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39" name="Google Shape;11583;p65">
                <a:extLst>
                  <a:ext uri="{FF2B5EF4-FFF2-40B4-BE49-F238E27FC236}">
                    <a16:creationId xmlns:a16="http://schemas.microsoft.com/office/drawing/2014/main" id="{3AD45D72-ED43-1EA5-5605-E8ED8596B45F}"/>
                  </a:ext>
                </a:extLst>
              </p:cNvPr>
              <p:cNvGrpSpPr/>
              <p:nvPr/>
            </p:nvGrpSpPr>
            <p:grpSpPr>
              <a:xfrm>
                <a:off x="4876579" y="3675325"/>
                <a:ext cx="31405" cy="26969"/>
                <a:chOff x="4876579" y="3675325"/>
                <a:chExt cx="31405" cy="26969"/>
              </a:xfrm>
            </p:grpSpPr>
            <p:sp>
              <p:nvSpPr>
                <p:cNvPr id="2377" name="Google Shape;11584;p65">
                  <a:extLst>
                    <a:ext uri="{FF2B5EF4-FFF2-40B4-BE49-F238E27FC236}">
                      <a16:creationId xmlns:a16="http://schemas.microsoft.com/office/drawing/2014/main" id="{D586F0CD-C6F7-893A-7561-726AB5F5F7DF}"/>
                    </a:ext>
                  </a:extLst>
                </p:cNvPr>
                <p:cNvSpPr/>
                <p:nvPr/>
              </p:nvSpPr>
              <p:spPr>
                <a:xfrm>
                  <a:off x="4876579" y="3675325"/>
                  <a:ext cx="31405" cy="269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9" extrusionOk="0">
                      <a:moveTo>
                        <a:pt x="2266" y="0"/>
                      </a:moveTo>
                      <a:cubicBezTo>
                        <a:pt x="1848" y="0"/>
                        <a:pt x="1423" y="155"/>
                        <a:pt x="1077" y="501"/>
                      </a:cubicBezTo>
                      <a:cubicBezTo>
                        <a:pt x="0" y="1578"/>
                        <a:pt x="762" y="3429"/>
                        <a:pt x="2287" y="3429"/>
                      </a:cubicBezTo>
                      <a:cubicBezTo>
                        <a:pt x="3230" y="3429"/>
                        <a:pt x="3992" y="2667"/>
                        <a:pt x="3992" y="1723"/>
                      </a:cubicBezTo>
                      <a:cubicBezTo>
                        <a:pt x="3992" y="689"/>
                        <a:pt x="3146" y="0"/>
                        <a:pt x="226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78" name="Google Shape;11585;p65">
                  <a:extLst>
                    <a:ext uri="{FF2B5EF4-FFF2-40B4-BE49-F238E27FC236}">
                      <a16:creationId xmlns:a16="http://schemas.microsoft.com/office/drawing/2014/main" id="{2D4B9371-6010-BC62-013A-9E00510C7FB4}"/>
                    </a:ext>
                  </a:extLst>
                </p:cNvPr>
                <p:cNvSpPr/>
                <p:nvPr/>
              </p:nvSpPr>
              <p:spPr>
                <a:xfrm>
                  <a:off x="4889517" y="3684975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2" y="0"/>
                      </a:moveTo>
                      <a:cubicBezTo>
                        <a:pt x="218" y="12"/>
                        <a:pt x="0" y="520"/>
                        <a:pt x="303" y="835"/>
                      </a:cubicBezTo>
                      <a:cubicBezTo>
                        <a:pt x="400" y="932"/>
                        <a:pt x="520" y="976"/>
                        <a:pt x="638" y="976"/>
                      </a:cubicBezTo>
                      <a:cubicBezTo>
                        <a:pt x="886" y="976"/>
                        <a:pt x="1125" y="783"/>
                        <a:pt x="1125" y="496"/>
                      </a:cubicBezTo>
                      <a:cubicBezTo>
                        <a:pt x="1125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40" name="Google Shape;11586;p65">
                <a:extLst>
                  <a:ext uri="{FF2B5EF4-FFF2-40B4-BE49-F238E27FC236}">
                    <a16:creationId xmlns:a16="http://schemas.microsoft.com/office/drawing/2014/main" id="{53CA0B3F-E939-CBC7-2D92-4CAE74224060}"/>
                  </a:ext>
                </a:extLst>
              </p:cNvPr>
              <p:cNvGrpSpPr/>
              <p:nvPr/>
            </p:nvGrpSpPr>
            <p:grpSpPr>
              <a:xfrm>
                <a:off x="4842233" y="3688333"/>
                <a:ext cx="31405" cy="26993"/>
                <a:chOff x="4842233" y="3688333"/>
                <a:chExt cx="31405" cy="26993"/>
              </a:xfrm>
            </p:grpSpPr>
            <p:sp>
              <p:nvSpPr>
                <p:cNvPr id="2375" name="Google Shape;11587;p65">
                  <a:extLst>
                    <a:ext uri="{FF2B5EF4-FFF2-40B4-BE49-F238E27FC236}">
                      <a16:creationId xmlns:a16="http://schemas.microsoft.com/office/drawing/2014/main" id="{52CBBE29-2231-1FFE-AE36-95D32CC1BE47}"/>
                    </a:ext>
                  </a:extLst>
                </p:cNvPr>
                <p:cNvSpPr/>
                <p:nvPr/>
              </p:nvSpPr>
              <p:spPr>
                <a:xfrm>
                  <a:off x="4842233" y="3688333"/>
                  <a:ext cx="31405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2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2" y="3420"/>
                        <a:pt x="2287" y="3432"/>
                      </a:cubicBezTo>
                      <a:cubicBezTo>
                        <a:pt x="3230" y="3432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76" name="Google Shape;11588;p65">
                  <a:extLst>
                    <a:ext uri="{FF2B5EF4-FFF2-40B4-BE49-F238E27FC236}">
                      <a16:creationId xmlns:a16="http://schemas.microsoft.com/office/drawing/2014/main" id="{52A6002A-BC83-8553-B6A0-7E21053C009F}"/>
                    </a:ext>
                  </a:extLst>
                </p:cNvPr>
                <p:cNvSpPr/>
                <p:nvPr/>
              </p:nvSpPr>
              <p:spPr>
                <a:xfrm>
                  <a:off x="4855076" y="369809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64" y="1"/>
                      </a:moveTo>
                      <a:cubicBezTo>
                        <a:pt x="656" y="1"/>
                        <a:pt x="649" y="1"/>
                        <a:pt x="641" y="1"/>
                      </a:cubicBezTo>
                      <a:cubicBezTo>
                        <a:pt x="218" y="1"/>
                        <a:pt x="0" y="522"/>
                        <a:pt x="303" y="824"/>
                      </a:cubicBezTo>
                      <a:cubicBezTo>
                        <a:pt x="400" y="921"/>
                        <a:pt x="520" y="965"/>
                        <a:pt x="638" y="965"/>
                      </a:cubicBezTo>
                      <a:cubicBezTo>
                        <a:pt x="886" y="965"/>
                        <a:pt x="1125" y="772"/>
                        <a:pt x="1125" y="485"/>
                      </a:cubicBezTo>
                      <a:cubicBezTo>
                        <a:pt x="1125" y="215"/>
                        <a:pt x="931" y="1"/>
                        <a:pt x="66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41" name="Google Shape;11589;p65">
                <a:extLst>
                  <a:ext uri="{FF2B5EF4-FFF2-40B4-BE49-F238E27FC236}">
                    <a16:creationId xmlns:a16="http://schemas.microsoft.com/office/drawing/2014/main" id="{A5F417BC-920B-7977-1414-C4F0C42DC862}"/>
                  </a:ext>
                </a:extLst>
              </p:cNvPr>
              <p:cNvGrpSpPr/>
              <p:nvPr/>
            </p:nvGrpSpPr>
            <p:grpSpPr>
              <a:xfrm>
                <a:off x="5187876" y="3608032"/>
                <a:ext cx="31405" cy="27001"/>
                <a:chOff x="5187876" y="3608032"/>
                <a:chExt cx="31405" cy="27001"/>
              </a:xfrm>
            </p:grpSpPr>
            <p:sp>
              <p:nvSpPr>
                <p:cNvPr id="2373" name="Google Shape;11590;p65">
                  <a:extLst>
                    <a:ext uri="{FF2B5EF4-FFF2-40B4-BE49-F238E27FC236}">
                      <a16:creationId xmlns:a16="http://schemas.microsoft.com/office/drawing/2014/main" id="{65DD3B68-8328-5D9C-3794-6DB2B67E18E3}"/>
                    </a:ext>
                  </a:extLst>
                </p:cNvPr>
                <p:cNvSpPr/>
                <p:nvPr/>
              </p:nvSpPr>
              <p:spPr>
                <a:xfrm>
                  <a:off x="5187876" y="3608032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6" y="157"/>
                        <a:pt x="1077" y="505"/>
                      </a:cubicBezTo>
                      <a:cubicBezTo>
                        <a:pt x="1" y="1582"/>
                        <a:pt x="763" y="3432"/>
                        <a:pt x="2287" y="3432"/>
                      </a:cubicBezTo>
                      <a:cubicBezTo>
                        <a:pt x="3231" y="3420"/>
                        <a:pt x="3993" y="2658"/>
                        <a:pt x="3993" y="1715"/>
                      </a:cubicBezTo>
                      <a:cubicBezTo>
                        <a:pt x="3993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74" name="Google Shape;11591;p65">
                  <a:extLst>
                    <a:ext uri="{FF2B5EF4-FFF2-40B4-BE49-F238E27FC236}">
                      <a16:creationId xmlns:a16="http://schemas.microsoft.com/office/drawing/2014/main" id="{49F507A6-3D22-B79D-D16A-D67317180F76}"/>
                    </a:ext>
                  </a:extLst>
                </p:cNvPr>
                <p:cNvSpPr/>
                <p:nvPr/>
              </p:nvSpPr>
              <p:spPr>
                <a:xfrm>
                  <a:off x="5202057" y="3617706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2242" name="Google Shape;11592;p65">
                <a:extLst>
                  <a:ext uri="{FF2B5EF4-FFF2-40B4-BE49-F238E27FC236}">
                    <a16:creationId xmlns:a16="http://schemas.microsoft.com/office/drawing/2014/main" id="{153BC9A7-B08E-1D05-B4E8-21C4DB19D499}"/>
                  </a:ext>
                </a:extLst>
              </p:cNvPr>
              <p:cNvSpPr/>
              <p:nvPr/>
            </p:nvSpPr>
            <p:spPr>
              <a:xfrm>
                <a:off x="5142589" y="3410030"/>
                <a:ext cx="42542" cy="36525"/>
              </a:xfrm>
              <a:custGeom>
                <a:avLst/>
                <a:gdLst/>
                <a:ahLst/>
                <a:cxnLst/>
                <a:rect l="l" t="t" r="r" b="b"/>
                <a:pathLst>
                  <a:path w="5409" h="4644" extrusionOk="0">
                    <a:moveTo>
                      <a:pt x="3085" y="1"/>
                    </a:moveTo>
                    <a:cubicBezTo>
                      <a:pt x="2516" y="1"/>
                      <a:pt x="1935" y="213"/>
                      <a:pt x="1465" y="688"/>
                    </a:cubicBezTo>
                    <a:cubicBezTo>
                      <a:pt x="1" y="2140"/>
                      <a:pt x="1029" y="4632"/>
                      <a:pt x="3098" y="4644"/>
                    </a:cubicBezTo>
                    <a:cubicBezTo>
                      <a:pt x="4380" y="4632"/>
                      <a:pt x="5408" y="3603"/>
                      <a:pt x="5408" y="2321"/>
                    </a:cubicBezTo>
                    <a:cubicBezTo>
                      <a:pt x="5408" y="923"/>
                      <a:pt x="4270" y="1"/>
                      <a:pt x="3085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243" name="Google Shape;11593;p65">
                <a:extLst>
                  <a:ext uri="{FF2B5EF4-FFF2-40B4-BE49-F238E27FC236}">
                    <a16:creationId xmlns:a16="http://schemas.microsoft.com/office/drawing/2014/main" id="{77365712-5CEC-DB33-E158-DD53C5BDD540}"/>
                  </a:ext>
                </a:extLst>
              </p:cNvPr>
              <p:cNvSpPr/>
              <p:nvPr/>
            </p:nvSpPr>
            <p:spPr>
              <a:xfrm>
                <a:off x="5158382" y="3419720"/>
                <a:ext cx="17138" cy="17130"/>
              </a:xfrm>
              <a:custGeom>
                <a:avLst/>
                <a:gdLst/>
                <a:ahLst/>
                <a:cxnLst/>
                <a:rect l="l" t="t" r="r" b="b"/>
                <a:pathLst>
                  <a:path w="2179" h="2178" extrusionOk="0">
                    <a:moveTo>
                      <a:pt x="1090" y="0"/>
                    </a:moveTo>
                    <a:cubicBezTo>
                      <a:pt x="485" y="0"/>
                      <a:pt x="1" y="484"/>
                      <a:pt x="1" y="1089"/>
                    </a:cubicBezTo>
                    <a:cubicBezTo>
                      <a:pt x="1" y="1694"/>
                      <a:pt x="485" y="2178"/>
                      <a:pt x="1090" y="2178"/>
                    </a:cubicBezTo>
                    <a:cubicBezTo>
                      <a:pt x="1694" y="2178"/>
                      <a:pt x="2178" y="1694"/>
                      <a:pt x="2178" y="1089"/>
                    </a:cubicBezTo>
                    <a:cubicBezTo>
                      <a:pt x="2178" y="484"/>
                      <a:pt x="1694" y="0"/>
                      <a:pt x="1090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2244" name="Google Shape;11594;p65">
                <a:extLst>
                  <a:ext uri="{FF2B5EF4-FFF2-40B4-BE49-F238E27FC236}">
                    <a16:creationId xmlns:a16="http://schemas.microsoft.com/office/drawing/2014/main" id="{31851700-FD69-D44A-F8B7-052E4BD1C659}"/>
                  </a:ext>
                </a:extLst>
              </p:cNvPr>
              <p:cNvGrpSpPr/>
              <p:nvPr/>
            </p:nvGrpSpPr>
            <p:grpSpPr>
              <a:xfrm>
                <a:off x="5269224" y="3304167"/>
                <a:ext cx="40253" cy="34402"/>
                <a:chOff x="5269224" y="3304167"/>
                <a:chExt cx="40253" cy="34402"/>
              </a:xfrm>
            </p:grpSpPr>
            <p:sp>
              <p:nvSpPr>
                <p:cNvPr id="2371" name="Google Shape;11595;p65">
                  <a:extLst>
                    <a:ext uri="{FF2B5EF4-FFF2-40B4-BE49-F238E27FC236}">
                      <a16:creationId xmlns:a16="http://schemas.microsoft.com/office/drawing/2014/main" id="{8440B65B-098A-7F29-3DF9-CF85698CEB46}"/>
                    </a:ext>
                  </a:extLst>
                </p:cNvPr>
                <p:cNvSpPr/>
                <p:nvPr/>
              </p:nvSpPr>
              <p:spPr>
                <a:xfrm>
                  <a:off x="5269224" y="3304167"/>
                  <a:ext cx="40253" cy="344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18" h="4374" extrusionOk="0">
                      <a:moveTo>
                        <a:pt x="2915" y="0"/>
                      </a:moveTo>
                      <a:cubicBezTo>
                        <a:pt x="2376" y="0"/>
                        <a:pt x="1827" y="201"/>
                        <a:pt x="1380" y="648"/>
                      </a:cubicBezTo>
                      <a:cubicBezTo>
                        <a:pt x="1" y="2015"/>
                        <a:pt x="980" y="4374"/>
                        <a:pt x="2928" y="4374"/>
                      </a:cubicBezTo>
                      <a:cubicBezTo>
                        <a:pt x="4126" y="4374"/>
                        <a:pt x="5105" y="3394"/>
                        <a:pt x="5118" y="2184"/>
                      </a:cubicBezTo>
                      <a:cubicBezTo>
                        <a:pt x="5109" y="869"/>
                        <a:pt x="4036" y="0"/>
                        <a:pt x="291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72" name="Google Shape;11596;p65">
                  <a:extLst>
                    <a:ext uri="{FF2B5EF4-FFF2-40B4-BE49-F238E27FC236}">
                      <a16:creationId xmlns:a16="http://schemas.microsoft.com/office/drawing/2014/main" id="{6960B42E-0A8C-670A-FDBA-362FBFB46F2F}"/>
                    </a:ext>
                  </a:extLst>
                </p:cNvPr>
                <p:cNvSpPr/>
                <p:nvPr/>
              </p:nvSpPr>
              <p:spPr>
                <a:xfrm>
                  <a:off x="5284639" y="3313826"/>
                  <a:ext cx="15132" cy="151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4" h="1925" extrusionOk="0">
                      <a:moveTo>
                        <a:pt x="968" y="1"/>
                      </a:moveTo>
                      <a:cubicBezTo>
                        <a:pt x="436" y="1"/>
                        <a:pt x="0" y="436"/>
                        <a:pt x="0" y="956"/>
                      </a:cubicBezTo>
                      <a:cubicBezTo>
                        <a:pt x="0" y="1489"/>
                        <a:pt x="436" y="1924"/>
                        <a:pt x="968" y="1924"/>
                      </a:cubicBezTo>
                      <a:cubicBezTo>
                        <a:pt x="1500" y="1924"/>
                        <a:pt x="1924" y="1489"/>
                        <a:pt x="1924" y="956"/>
                      </a:cubicBezTo>
                      <a:cubicBezTo>
                        <a:pt x="1924" y="436"/>
                        <a:pt x="1500" y="1"/>
                        <a:pt x="968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45" name="Google Shape;11597;p65">
                <a:extLst>
                  <a:ext uri="{FF2B5EF4-FFF2-40B4-BE49-F238E27FC236}">
                    <a16:creationId xmlns:a16="http://schemas.microsoft.com/office/drawing/2014/main" id="{05D68D7C-5438-EC46-EA44-BBE3ECA577B3}"/>
                  </a:ext>
                </a:extLst>
              </p:cNvPr>
              <p:cNvGrpSpPr/>
              <p:nvPr/>
            </p:nvGrpSpPr>
            <p:grpSpPr>
              <a:xfrm>
                <a:off x="5327354" y="3476615"/>
                <a:ext cx="49864" cy="42723"/>
                <a:chOff x="5327354" y="3476615"/>
                <a:chExt cx="49864" cy="42723"/>
              </a:xfrm>
            </p:grpSpPr>
            <p:sp>
              <p:nvSpPr>
                <p:cNvPr id="2369" name="Google Shape;11598;p65">
                  <a:extLst>
                    <a:ext uri="{FF2B5EF4-FFF2-40B4-BE49-F238E27FC236}">
                      <a16:creationId xmlns:a16="http://schemas.microsoft.com/office/drawing/2014/main" id="{07E22CEE-7E93-50E6-25E4-3D489566241A}"/>
                    </a:ext>
                  </a:extLst>
                </p:cNvPr>
                <p:cNvSpPr/>
                <p:nvPr/>
              </p:nvSpPr>
              <p:spPr>
                <a:xfrm>
                  <a:off x="5327354" y="3476615"/>
                  <a:ext cx="49864" cy="427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0" h="5432" extrusionOk="0">
                      <a:moveTo>
                        <a:pt x="3602" y="1"/>
                      </a:moveTo>
                      <a:cubicBezTo>
                        <a:pt x="2936" y="1"/>
                        <a:pt x="2257" y="248"/>
                        <a:pt x="1706" y="799"/>
                      </a:cubicBezTo>
                      <a:cubicBezTo>
                        <a:pt x="1" y="2504"/>
                        <a:pt x="1210" y="5432"/>
                        <a:pt x="3630" y="5432"/>
                      </a:cubicBezTo>
                      <a:cubicBezTo>
                        <a:pt x="5118" y="5432"/>
                        <a:pt x="6339" y="4222"/>
                        <a:pt x="6339" y="2722"/>
                      </a:cubicBezTo>
                      <a:cubicBezTo>
                        <a:pt x="6339" y="1084"/>
                        <a:pt x="4998" y="1"/>
                        <a:pt x="360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70" name="Google Shape;11599;p65">
                  <a:extLst>
                    <a:ext uri="{FF2B5EF4-FFF2-40B4-BE49-F238E27FC236}">
                      <a16:creationId xmlns:a16="http://schemas.microsoft.com/office/drawing/2014/main" id="{3B5A1E17-F167-B649-0264-E530B6C8A7C8}"/>
                    </a:ext>
                  </a:extLst>
                </p:cNvPr>
                <p:cNvSpPr/>
                <p:nvPr/>
              </p:nvSpPr>
              <p:spPr>
                <a:xfrm>
                  <a:off x="5340197" y="3486321"/>
                  <a:ext cx="27315" cy="234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3" h="2976" extrusionOk="0">
                      <a:moveTo>
                        <a:pt x="1985" y="0"/>
                      </a:moveTo>
                      <a:cubicBezTo>
                        <a:pt x="666" y="0"/>
                        <a:pt x="1" y="1597"/>
                        <a:pt x="944" y="2540"/>
                      </a:cubicBezTo>
                      <a:cubicBezTo>
                        <a:pt x="1245" y="2841"/>
                        <a:pt x="1614" y="2975"/>
                        <a:pt x="1977" y="2975"/>
                      </a:cubicBezTo>
                      <a:cubicBezTo>
                        <a:pt x="2739" y="2975"/>
                        <a:pt x="3473" y="2381"/>
                        <a:pt x="3473" y="1488"/>
                      </a:cubicBezTo>
                      <a:cubicBezTo>
                        <a:pt x="3473" y="665"/>
                        <a:pt x="2807" y="0"/>
                        <a:pt x="19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2246" name="Google Shape;11600;p65">
                <a:extLst>
                  <a:ext uri="{FF2B5EF4-FFF2-40B4-BE49-F238E27FC236}">
                    <a16:creationId xmlns:a16="http://schemas.microsoft.com/office/drawing/2014/main" id="{CEA5CAFA-2CAC-5880-C69D-76AC6E6DC5B2}"/>
                  </a:ext>
                </a:extLst>
              </p:cNvPr>
              <p:cNvSpPr/>
              <p:nvPr/>
            </p:nvSpPr>
            <p:spPr>
              <a:xfrm>
                <a:off x="5290255" y="3703080"/>
                <a:ext cx="31397" cy="26898"/>
              </a:xfrm>
              <a:custGeom>
                <a:avLst/>
                <a:gdLst/>
                <a:ahLst/>
                <a:cxnLst/>
                <a:rect l="l" t="t" r="r" b="b"/>
                <a:pathLst>
                  <a:path w="3992" h="3420" extrusionOk="0">
                    <a:moveTo>
                      <a:pt x="2272" y="1"/>
                    </a:moveTo>
                    <a:cubicBezTo>
                      <a:pt x="1853" y="1"/>
                      <a:pt x="1425" y="156"/>
                      <a:pt x="1077" y="505"/>
                    </a:cubicBezTo>
                    <a:cubicBezTo>
                      <a:pt x="0" y="1581"/>
                      <a:pt x="762" y="3420"/>
                      <a:pt x="2286" y="3420"/>
                    </a:cubicBezTo>
                    <a:cubicBezTo>
                      <a:pt x="3230" y="3420"/>
                      <a:pt x="3992" y="2658"/>
                      <a:pt x="3992" y="1714"/>
                    </a:cubicBezTo>
                    <a:cubicBezTo>
                      <a:pt x="3992" y="683"/>
                      <a:pt x="3150" y="1"/>
                      <a:pt x="2272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247" name="Google Shape;11601;p65">
                <a:extLst>
                  <a:ext uri="{FF2B5EF4-FFF2-40B4-BE49-F238E27FC236}">
                    <a16:creationId xmlns:a16="http://schemas.microsoft.com/office/drawing/2014/main" id="{1AFC6982-F3C6-B229-CD53-BC607E971823}"/>
                  </a:ext>
                </a:extLst>
              </p:cNvPr>
              <p:cNvSpPr/>
              <p:nvPr/>
            </p:nvSpPr>
            <p:spPr>
              <a:xfrm>
                <a:off x="5304427" y="3712754"/>
                <a:ext cx="7621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9" h="969" extrusionOk="0">
                    <a:moveTo>
                      <a:pt x="484" y="0"/>
                    </a:moveTo>
                    <a:cubicBezTo>
                      <a:pt x="218" y="0"/>
                      <a:pt x="0" y="218"/>
                      <a:pt x="0" y="484"/>
                    </a:cubicBezTo>
                    <a:cubicBezTo>
                      <a:pt x="0" y="750"/>
                      <a:pt x="218" y="968"/>
                      <a:pt x="484" y="968"/>
                    </a:cubicBezTo>
                    <a:cubicBezTo>
                      <a:pt x="750" y="968"/>
                      <a:pt x="968" y="750"/>
                      <a:pt x="968" y="484"/>
                    </a:cubicBezTo>
                    <a:cubicBezTo>
                      <a:pt x="968" y="218"/>
                      <a:pt x="750" y="0"/>
                      <a:pt x="484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2248" name="Google Shape;11602;p65">
                <a:extLst>
                  <a:ext uri="{FF2B5EF4-FFF2-40B4-BE49-F238E27FC236}">
                    <a16:creationId xmlns:a16="http://schemas.microsoft.com/office/drawing/2014/main" id="{94BDE632-FCD5-A9F2-E1B9-7B2F73A2C27C}"/>
                  </a:ext>
                </a:extLst>
              </p:cNvPr>
              <p:cNvGrpSpPr/>
              <p:nvPr/>
            </p:nvGrpSpPr>
            <p:grpSpPr>
              <a:xfrm>
                <a:off x="5341723" y="3775957"/>
                <a:ext cx="31405" cy="26898"/>
                <a:chOff x="5341723" y="3775957"/>
                <a:chExt cx="31405" cy="26898"/>
              </a:xfrm>
            </p:grpSpPr>
            <p:sp>
              <p:nvSpPr>
                <p:cNvPr id="2367" name="Google Shape;11603;p65">
                  <a:extLst>
                    <a:ext uri="{FF2B5EF4-FFF2-40B4-BE49-F238E27FC236}">
                      <a16:creationId xmlns:a16="http://schemas.microsoft.com/office/drawing/2014/main" id="{3CEAD251-E81E-5397-C381-1E4168D7F644}"/>
                    </a:ext>
                  </a:extLst>
                </p:cNvPr>
                <p:cNvSpPr/>
                <p:nvPr/>
              </p:nvSpPr>
              <p:spPr>
                <a:xfrm>
                  <a:off x="5341723" y="377595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68" name="Google Shape;11604;p65">
                  <a:extLst>
                    <a:ext uri="{FF2B5EF4-FFF2-40B4-BE49-F238E27FC236}">
                      <a16:creationId xmlns:a16="http://schemas.microsoft.com/office/drawing/2014/main" id="{DA262AFD-BCEB-5178-AA67-BB4A98D0D20F}"/>
                    </a:ext>
                  </a:extLst>
                </p:cNvPr>
                <p:cNvSpPr/>
                <p:nvPr/>
              </p:nvSpPr>
              <p:spPr>
                <a:xfrm>
                  <a:off x="5354567" y="3785631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2" y="922"/>
                        <a:pt x="525" y="966"/>
                        <a:pt x="646" y="966"/>
                      </a:cubicBezTo>
                      <a:cubicBezTo>
                        <a:pt x="896" y="966"/>
                        <a:pt x="1138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49" name="Google Shape;11605;p65">
                <a:extLst>
                  <a:ext uri="{FF2B5EF4-FFF2-40B4-BE49-F238E27FC236}">
                    <a16:creationId xmlns:a16="http://schemas.microsoft.com/office/drawing/2014/main" id="{C1394F96-D114-4536-7F49-A6B6F042F24A}"/>
                  </a:ext>
                </a:extLst>
              </p:cNvPr>
              <p:cNvGrpSpPr/>
              <p:nvPr/>
            </p:nvGrpSpPr>
            <p:grpSpPr>
              <a:xfrm>
                <a:off x="5439053" y="3699274"/>
                <a:ext cx="31405" cy="26898"/>
                <a:chOff x="5439053" y="3699274"/>
                <a:chExt cx="31405" cy="26898"/>
              </a:xfrm>
            </p:grpSpPr>
            <p:sp>
              <p:nvSpPr>
                <p:cNvPr id="2365" name="Google Shape;11606;p65">
                  <a:extLst>
                    <a:ext uri="{FF2B5EF4-FFF2-40B4-BE49-F238E27FC236}">
                      <a16:creationId xmlns:a16="http://schemas.microsoft.com/office/drawing/2014/main" id="{49EA7D35-BC0E-BB86-C562-BDB01DF517B0}"/>
                    </a:ext>
                  </a:extLst>
                </p:cNvPr>
                <p:cNvSpPr/>
                <p:nvPr/>
              </p:nvSpPr>
              <p:spPr>
                <a:xfrm>
                  <a:off x="5439053" y="36992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66" name="Google Shape;11607;p65">
                  <a:extLst>
                    <a:ext uri="{FF2B5EF4-FFF2-40B4-BE49-F238E27FC236}">
                      <a16:creationId xmlns:a16="http://schemas.microsoft.com/office/drawing/2014/main" id="{8B66F6AC-41F2-18AA-E329-5FD57A479C93}"/>
                    </a:ext>
                  </a:extLst>
                </p:cNvPr>
                <p:cNvSpPr/>
                <p:nvPr/>
              </p:nvSpPr>
              <p:spPr>
                <a:xfrm>
                  <a:off x="5453225" y="3708948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0" name="Google Shape;11608;p65">
                <a:extLst>
                  <a:ext uri="{FF2B5EF4-FFF2-40B4-BE49-F238E27FC236}">
                    <a16:creationId xmlns:a16="http://schemas.microsoft.com/office/drawing/2014/main" id="{9AFEE66E-21BE-1E86-E875-B4BEF861B058}"/>
                  </a:ext>
                </a:extLst>
              </p:cNvPr>
              <p:cNvGrpSpPr/>
              <p:nvPr/>
            </p:nvGrpSpPr>
            <p:grpSpPr>
              <a:xfrm>
                <a:off x="5412414" y="3622307"/>
                <a:ext cx="31499" cy="26993"/>
                <a:chOff x="5412414" y="3622307"/>
                <a:chExt cx="31499" cy="26993"/>
              </a:xfrm>
            </p:grpSpPr>
            <p:sp>
              <p:nvSpPr>
                <p:cNvPr id="2363" name="Google Shape;11609;p65">
                  <a:extLst>
                    <a:ext uri="{FF2B5EF4-FFF2-40B4-BE49-F238E27FC236}">
                      <a16:creationId xmlns:a16="http://schemas.microsoft.com/office/drawing/2014/main" id="{AFFD1572-9C82-A0FD-3221-E25ED53A34CD}"/>
                    </a:ext>
                  </a:extLst>
                </p:cNvPr>
                <p:cNvSpPr/>
                <p:nvPr/>
              </p:nvSpPr>
              <p:spPr>
                <a:xfrm>
                  <a:off x="5412414" y="3622307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64" name="Google Shape;11610;p65">
                  <a:extLst>
                    <a:ext uri="{FF2B5EF4-FFF2-40B4-BE49-F238E27FC236}">
                      <a16:creationId xmlns:a16="http://schemas.microsoft.com/office/drawing/2014/main" id="{25A45666-B4E4-8809-A8A1-6B5B2E98147D}"/>
                    </a:ext>
                  </a:extLst>
                </p:cNvPr>
                <p:cNvSpPr/>
                <p:nvPr/>
              </p:nvSpPr>
              <p:spPr>
                <a:xfrm>
                  <a:off x="5426681" y="3632075"/>
                  <a:ext cx="7527" cy="75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6" extrusionOk="0">
                      <a:moveTo>
                        <a:pt x="485" y="0"/>
                      </a:moveTo>
                      <a:cubicBezTo>
                        <a:pt x="206" y="0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85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1" name="Google Shape;11611;p65">
                <a:extLst>
                  <a:ext uri="{FF2B5EF4-FFF2-40B4-BE49-F238E27FC236}">
                    <a16:creationId xmlns:a16="http://schemas.microsoft.com/office/drawing/2014/main" id="{8C8F8A71-D87C-A19A-38F9-E217C8C9EFC4}"/>
                  </a:ext>
                </a:extLst>
              </p:cNvPr>
              <p:cNvGrpSpPr/>
              <p:nvPr/>
            </p:nvGrpSpPr>
            <p:grpSpPr>
              <a:xfrm>
                <a:off x="5476254" y="3473949"/>
                <a:ext cx="26835" cy="26930"/>
                <a:chOff x="5476254" y="3473949"/>
                <a:chExt cx="26835" cy="26930"/>
              </a:xfrm>
            </p:grpSpPr>
            <p:sp>
              <p:nvSpPr>
                <p:cNvPr id="2361" name="Google Shape;11612;p65">
                  <a:extLst>
                    <a:ext uri="{FF2B5EF4-FFF2-40B4-BE49-F238E27FC236}">
                      <a16:creationId xmlns:a16="http://schemas.microsoft.com/office/drawing/2014/main" id="{FA0ECE07-6703-2FF8-A758-CFE7850122A6}"/>
                    </a:ext>
                  </a:extLst>
                </p:cNvPr>
                <p:cNvSpPr/>
                <p:nvPr/>
              </p:nvSpPr>
              <p:spPr>
                <a:xfrm>
                  <a:off x="5476254" y="3473949"/>
                  <a:ext cx="26835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12" h="3424" extrusionOk="0">
                      <a:moveTo>
                        <a:pt x="1706" y="1"/>
                      </a:moveTo>
                      <a:cubicBezTo>
                        <a:pt x="762" y="1"/>
                        <a:pt x="0" y="775"/>
                        <a:pt x="0" y="1718"/>
                      </a:cubicBezTo>
                      <a:cubicBezTo>
                        <a:pt x="0" y="2662"/>
                        <a:pt x="762" y="3424"/>
                        <a:pt x="1706" y="3424"/>
                      </a:cubicBezTo>
                      <a:cubicBezTo>
                        <a:pt x="2649" y="3424"/>
                        <a:pt x="3411" y="2662"/>
                        <a:pt x="3411" y="1718"/>
                      </a:cubicBezTo>
                      <a:cubicBezTo>
                        <a:pt x="3411" y="775"/>
                        <a:pt x="2649" y="1"/>
                        <a:pt x="170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62" name="Google Shape;11613;p65">
                  <a:extLst>
                    <a:ext uri="{FF2B5EF4-FFF2-40B4-BE49-F238E27FC236}">
                      <a16:creationId xmlns:a16="http://schemas.microsoft.com/office/drawing/2014/main" id="{A96E25B9-99FD-0CDB-38E3-6505962D42C4}"/>
                    </a:ext>
                  </a:extLst>
                </p:cNvPr>
                <p:cNvSpPr/>
                <p:nvPr/>
              </p:nvSpPr>
              <p:spPr>
                <a:xfrm>
                  <a:off x="5485857" y="3483655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2" name="Google Shape;11614;p65">
                <a:extLst>
                  <a:ext uri="{FF2B5EF4-FFF2-40B4-BE49-F238E27FC236}">
                    <a16:creationId xmlns:a16="http://schemas.microsoft.com/office/drawing/2014/main" id="{A8A94063-BFE1-0971-5893-34CC1A1ACDD0}"/>
                  </a:ext>
                </a:extLst>
              </p:cNvPr>
              <p:cNvGrpSpPr/>
              <p:nvPr/>
            </p:nvGrpSpPr>
            <p:grpSpPr>
              <a:xfrm>
                <a:off x="5564547" y="3481594"/>
                <a:ext cx="31397" cy="26898"/>
                <a:chOff x="5564547" y="3481594"/>
                <a:chExt cx="31397" cy="26898"/>
              </a:xfrm>
            </p:grpSpPr>
            <p:sp>
              <p:nvSpPr>
                <p:cNvPr id="2359" name="Google Shape;11615;p65">
                  <a:extLst>
                    <a:ext uri="{FF2B5EF4-FFF2-40B4-BE49-F238E27FC236}">
                      <a16:creationId xmlns:a16="http://schemas.microsoft.com/office/drawing/2014/main" id="{42C1538E-96E1-1CB3-74FD-AF52B72F5E83}"/>
                    </a:ext>
                  </a:extLst>
                </p:cNvPr>
                <p:cNvSpPr/>
                <p:nvPr/>
              </p:nvSpPr>
              <p:spPr>
                <a:xfrm>
                  <a:off x="5564547" y="3481594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60" name="Google Shape;11616;p65">
                  <a:extLst>
                    <a:ext uri="{FF2B5EF4-FFF2-40B4-BE49-F238E27FC236}">
                      <a16:creationId xmlns:a16="http://schemas.microsoft.com/office/drawing/2014/main" id="{75708CC8-7968-545F-C163-99A5E767ECE6}"/>
                    </a:ext>
                  </a:extLst>
                </p:cNvPr>
                <p:cNvSpPr/>
                <p:nvPr/>
              </p:nvSpPr>
              <p:spPr>
                <a:xfrm>
                  <a:off x="5578719" y="349126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3" name="Google Shape;11617;p65">
                <a:extLst>
                  <a:ext uri="{FF2B5EF4-FFF2-40B4-BE49-F238E27FC236}">
                    <a16:creationId xmlns:a16="http://schemas.microsoft.com/office/drawing/2014/main" id="{71115676-3A2A-2ADC-9FD0-7D8A977D4632}"/>
                  </a:ext>
                </a:extLst>
              </p:cNvPr>
              <p:cNvGrpSpPr/>
              <p:nvPr/>
            </p:nvGrpSpPr>
            <p:grpSpPr>
              <a:xfrm>
                <a:off x="5534101" y="3470174"/>
                <a:ext cx="31397" cy="26906"/>
                <a:chOff x="5534101" y="3470174"/>
                <a:chExt cx="31397" cy="26906"/>
              </a:xfrm>
            </p:grpSpPr>
            <p:sp>
              <p:nvSpPr>
                <p:cNvPr id="2357" name="Google Shape;11618;p65">
                  <a:extLst>
                    <a:ext uri="{FF2B5EF4-FFF2-40B4-BE49-F238E27FC236}">
                      <a16:creationId xmlns:a16="http://schemas.microsoft.com/office/drawing/2014/main" id="{D7003F1E-E5F7-50C7-EC46-613E9A8DEFFA}"/>
                    </a:ext>
                  </a:extLst>
                </p:cNvPr>
                <p:cNvSpPr/>
                <p:nvPr/>
              </p:nvSpPr>
              <p:spPr>
                <a:xfrm>
                  <a:off x="5534101" y="3470174"/>
                  <a:ext cx="31397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58" name="Google Shape;11619;p65">
                  <a:extLst>
                    <a:ext uri="{FF2B5EF4-FFF2-40B4-BE49-F238E27FC236}">
                      <a16:creationId xmlns:a16="http://schemas.microsoft.com/office/drawing/2014/main" id="{C711C991-4FA4-A851-0042-F9F2BE51FE83}"/>
                    </a:ext>
                  </a:extLst>
                </p:cNvPr>
                <p:cNvSpPr/>
                <p:nvPr/>
              </p:nvSpPr>
              <p:spPr>
                <a:xfrm>
                  <a:off x="5546945" y="3479848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4" y="921"/>
                        <a:pt x="526" y="964"/>
                        <a:pt x="646" y="964"/>
                      </a:cubicBezTo>
                      <a:cubicBezTo>
                        <a:pt x="898" y="964"/>
                        <a:pt x="1137" y="771"/>
                        <a:pt x="1137" y="484"/>
                      </a:cubicBezTo>
                      <a:cubicBezTo>
                        <a:pt x="1137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4" name="Google Shape;11620;p65">
                <a:extLst>
                  <a:ext uri="{FF2B5EF4-FFF2-40B4-BE49-F238E27FC236}">
                    <a16:creationId xmlns:a16="http://schemas.microsoft.com/office/drawing/2014/main" id="{174416B0-E52C-0A88-2E82-9E7812F47778}"/>
                  </a:ext>
                </a:extLst>
              </p:cNvPr>
              <p:cNvGrpSpPr/>
              <p:nvPr/>
            </p:nvGrpSpPr>
            <p:grpSpPr>
              <a:xfrm>
                <a:off x="5610879" y="3314486"/>
                <a:ext cx="31499" cy="26938"/>
                <a:chOff x="5610879" y="3314486"/>
                <a:chExt cx="31499" cy="26938"/>
              </a:xfrm>
            </p:grpSpPr>
            <p:sp>
              <p:nvSpPr>
                <p:cNvPr id="2355" name="Google Shape;11621;p65">
                  <a:extLst>
                    <a:ext uri="{FF2B5EF4-FFF2-40B4-BE49-F238E27FC236}">
                      <a16:creationId xmlns:a16="http://schemas.microsoft.com/office/drawing/2014/main" id="{CC586108-F47C-A95C-E07E-E28ACB00C2FD}"/>
                    </a:ext>
                  </a:extLst>
                </p:cNvPr>
                <p:cNvSpPr/>
                <p:nvPr/>
              </p:nvSpPr>
              <p:spPr>
                <a:xfrm>
                  <a:off x="5610879" y="3314486"/>
                  <a:ext cx="31499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5" extrusionOk="0">
                      <a:moveTo>
                        <a:pt x="2285" y="0"/>
                      </a:moveTo>
                      <a:cubicBezTo>
                        <a:pt x="1865" y="0"/>
                        <a:pt x="1437" y="157"/>
                        <a:pt x="1089" y="509"/>
                      </a:cubicBezTo>
                      <a:cubicBezTo>
                        <a:pt x="0" y="1586"/>
                        <a:pt x="774" y="3425"/>
                        <a:pt x="2299" y="3425"/>
                      </a:cubicBezTo>
                      <a:cubicBezTo>
                        <a:pt x="3242" y="3425"/>
                        <a:pt x="4004" y="2663"/>
                        <a:pt x="4004" y="1719"/>
                      </a:cubicBezTo>
                      <a:cubicBezTo>
                        <a:pt x="4004" y="688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56" name="Google Shape;11622;p65">
                  <a:extLst>
                    <a:ext uri="{FF2B5EF4-FFF2-40B4-BE49-F238E27FC236}">
                      <a16:creationId xmlns:a16="http://schemas.microsoft.com/office/drawing/2014/main" id="{D64DB0C7-D2C9-8AA1-35D3-9720C6226B69}"/>
                    </a:ext>
                  </a:extLst>
                </p:cNvPr>
                <p:cNvSpPr/>
                <p:nvPr/>
              </p:nvSpPr>
              <p:spPr>
                <a:xfrm>
                  <a:off x="5623817" y="3324192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75" y="1"/>
                      </a:moveTo>
                      <a:cubicBezTo>
                        <a:pt x="668" y="1"/>
                        <a:pt x="661" y="1"/>
                        <a:pt x="654" y="1"/>
                      </a:cubicBezTo>
                      <a:cubicBezTo>
                        <a:pt x="218" y="1"/>
                        <a:pt x="0" y="509"/>
                        <a:pt x="303" y="824"/>
                      </a:cubicBezTo>
                      <a:cubicBezTo>
                        <a:pt x="404" y="921"/>
                        <a:pt x="525" y="965"/>
                        <a:pt x="644" y="965"/>
                      </a:cubicBezTo>
                      <a:cubicBezTo>
                        <a:pt x="893" y="965"/>
                        <a:pt x="1129" y="772"/>
                        <a:pt x="1137" y="485"/>
                      </a:cubicBezTo>
                      <a:cubicBezTo>
                        <a:pt x="1137" y="214"/>
                        <a:pt x="931" y="1"/>
                        <a:pt x="67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5" name="Google Shape;11623;p65">
                <a:extLst>
                  <a:ext uri="{FF2B5EF4-FFF2-40B4-BE49-F238E27FC236}">
                    <a16:creationId xmlns:a16="http://schemas.microsoft.com/office/drawing/2014/main" id="{CA2A4969-3996-7C27-47EA-841D5526C17F}"/>
                  </a:ext>
                </a:extLst>
              </p:cNvPr>
              <p:cNvGrpSpPr/>
              <p:nvPr/>
            </p:nvGrpSpPr>
            <p:grpSpPr>
              <a:xfrm>
                <a:off x="4834525" y="3501382"/>
                <a:ext cx="31499" cy="26898"/>
                <a:chOff x="4834525" y="3501382"/>
                <a:chExt cx="31499" cy="26898"/>
              </a:xfrm>
            </p:grpSpPr>
            <p:sp>
              <p:nvSpPr>
                <p:cNvPr id="2353" name="Google Shape;11624;p65">
                  <a:extLst>
                    <a:ext uri="{FF2B5EF4-FFF2-40B4-BE49-F238E27FC236}">
                      <a16:creationId xmlns:a16="http://schemas.microsoft.com/office/drawing/2014/main" id="{B1302F5E-4D6F-3541-936A-3F76EBB5C888}"/>
                    </a:ext>
                  </a:extLst>
                </p:cNvPr>
                <p:cNvSpPr/>
                <p:nvPr/>
              </p:nvSpPr>
              <p:spPr>
                <a:xfrm>
                  <a:off x="4834525" y="350138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54" name="Google Shape;11625;p65">
                  <a:extLst>
                    <a:ext uri="{FF2B5EF4-FFF2-40B4-BE49-F238E27FC236}">
                      <a16:creationId xmlns:a16="http://schemas.microsoft.com/office/drawing/2014/main" id="{ED9A2B7B-0DE7-23ED-F16F-EED8A3D8D3B4}"/>
                    </a:ext>
                  </a:extLst>
                </p:cNvPr>
                <p:cNvSpPr/>
                <p:nvPr/>
              </p:nvSpPr>
              <p:spPr>
                <a:xfrm>
                  <a:off x="4847463" y="3511056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6" name="Google Shape;11626;p65">
                <a:extLst>
                  <a:ext uri="{FF2B5EF4-FFF2-40B4-BE49-F238E27FC236}">
                    <a16:creationId xmlns:a16="http://schemas.microsoft.com/office/drawing/2014/main" id="{48F2E45B-EC11-79B7-FED6-8F8D865A55EA}"/>
                  </a:ext>
                </a:extLst>
              </p:cNvPr>
              <p:cNvGrpSpPr/>
              <p:nvPr/>
            </p:nvGrpSpPr>
            <p:grpSpPr>
              <a:xfrm>
                <a:off x="4898460" y="3580158"/>
                <a:ext cx="31405" cy="26898"/>
                <a:chOff x="4898460" y="3580158"/>
                <a:chExt cx="31405" cy="26898"/>
              </a:xfrm>
            </p:grpSpPr>
            <p:sp>
              <p:nvSpPr>
                <p:cNvPr id="2351" name="Google Shape;11627;p65">
                  <a:extLst>
                    <a:ext uri="{FF2B5EF4-FFF2-40B4-BE49-F238E27FC236}">
                      <a16:creationId xmlns:a16="http://schemas.microsoft.com/office/drawing/2014/main" id="{4B2EE954-C666-5F47-0147-FEF56269BCC2}"/>
                    </a:ext>
                  </a:extLst>
                </p:cNvPr>
                <p:cNvSpPr/>
                <p:nvPr/>
              </p:nvSpPr>
              <p:spPr>
                <a:xfrm>
                  <a:off x="4898460" y="3580158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1"/>
                      </a:moveTo>
                      <a:cubicBezTo>
                        <a:pt x="1853" y="1"/>
                        <a:pt x="1425" y="156"/>
                        <a:pt x="1077" y="505"/>
                      </a:cubicBezTo>
                      <a:cubicBezTo>
                        <a:pt x="0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52" name="Google Shape;11628;p65">
                  <a:extLst>
                    <a:ext uri="{FF2B5EF4-FFF2-40B4-BE49-F238E27FC236}">
                      <a16:creationId xmlns:a16="http://schemas.microsoft.com/office/drawing/2014/main" id="{72BCAA8C-275F-BD03-945B-4B262E40C4FA}"/>
                    </a:ext>
                  </a:extLst>
                </p:cNvPr>
                <p:cNvSpPr/>
                <p:nvPr/>
              </p:nvSpPr>
              <p:spPr>
                <a:xfrm>
                  <a:off x="4911303" y="3589832"/>
                  <a:ext cx="8950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7" extrusionOk="0">
                      <a:moveTo>
                        <a:pt x="654" y="0"/>
                      </a:moveTo>
                      <a:cubicBezTo>
                        <a:pt x="218" y="0"/>
                        <a:pt x="1" y="521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1" y="966"/>
                        <a:pt x="1130" y="777"/>
                        <a:pt x="1138" y="484"/>
                      </a:cubicBezTo>
                      <a:cubicBezTo>
                        <a:pt x="1138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7" name="Google Shape;11629;p65">
                <a:extLst>
                  <a:ext uri="{FF2B5EF4-FFF2-40B4-BE49-F238E27FC236}">
                    <a16:creationId xmlns:a16="http://schemas.microsoft.com/office/drawing/2014/main" id="{390B3887-2458-0771-5379-3CA2CE94BC50}"/>
                  </a:ext>
                </a:extLst>
              </p:cNvPr>
              <p:cNvGrpSpPr/>
              <p:nvPr/>
            </p:nvGrpSpPr>
            <p:grpSpPr>
              <a:xfrm>
                <a:off x="4882667" y="3608032"/>
                <a:ext cx="31499" cy="27001"/>
                <a:chOff x="4882667" y="3608032"/>
                <a:chExt cx="31499" cy="27001"/>
              </a:xfrm>
            </p:grpSpPr>
            <p:sp>
              <p:nvSpPr>
                <p:cNvPr id="2349" name="Google Shape;11630;p65">
                  <a:extLst>
                    <a:ext uri="{FF2B5EF4-FFF2-40B4-BE49-F238E27FC236}">
                      <a16:creationId xmlns:a16="http://schemas.microsoft.com/office/drawing/2014/main" id="{477FA36C-EE8D-F6F0-46CB-E6C18ABC625E}"/>
                    </a:ext>
                  </a:extLst>
                </p:cNvPr>
                <p:cNvSpPr/>
                <p:nvPr/>
              </p:nvSpPr>
              <p:spPr>
                <a:xfrm>
                  <a:off x="4882667" y="3608032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6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20"/>
                        <a:pt x="4004" y="2658"/>
                        <a:pt x="4004" y="1715"/>
                      </a:cubicBezTo>
                      <a:cubicBezTo>
                        <a:pt x="4004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50" name="Google Shape;11631;p65">
                  <a:extLst>
                    <a:ext uri="{FF2B5EF4-FFF2-40B4-BE49-F238E27FC236}">
                      <a16:creationId xmlns:a16="http://schemas.microsoft.com/office/drawing/2014/main" id="{6B143308-499B-C76C-CB0A-3B78CC3862E9}"/>
                    </a:ext>
                  </a:extLst>
                </p:cNvPr>
                <p:cNvSpPr/>
                <p:nvPr/>
              </p:nvSpPr>
              <p:spPr>
                <a:xfrm>
                  <a:off x="4895605" y="3617706"/>
                  <a:ext cx="8950" cy="76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3" extrusionOk="0">
                      <a:moveTo>
                        <a:pt x="642" y="1"/>
                      </a:moveTo>
                      <a:cubicBezTo>
                        <a:pt x="218" y="1"/>
                        <a:pt x="1" y="521"/>
                        <a:pt x="303" y="823"/>
                      </a:cubicBezTo>
                      <a:cubicBezTo>
                        <a:pt x="402" y="926"/>
                        <a:pt x="524" y="972"/>
                        <a:pt x="644" y="972"/>
                      </a:cubicBezTo>
                      <a:cubicBezTo>
                        <a:pt x="891" y="972"/>
                        <a:pt x="1130" y="778"/>
                        <a:pt x="1138" y="485"/>
                      </a:cubicBezTo>
                      <a:cubicBezTo>
                        <a:pt x="1138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8" name="Google Shape;11632;p65">
                <a:extLst>
                  <a:ext uri="{FF2B5EF4-FFF2-40B4-BE49-F238E27FC236}">
                    <a16:creationId xmlns:a16="http://schemas.microsoft.com/office/drawing/2014/main" id="{D4810762-045D-6025-D60A-FBD7442440A5}"/>
                  </a:ext>
                </a:extLst>
              </p:cNvPr>
              <p:cNvGrpSpPr/>
              <p:nvPr/>
            </p:nvGrpSpPr>
            <p:grpSpPr>
              <a:xfrm>
                <a:off x="4843373" y="3631407"/>
                <a:ext cx="16273" cy="16186"/>
                <a:chOff x="4843373" y="3631407"/>
                <a:chExt cx="16273" cy="16186"/>
              </a:xfrm>
            </p:grpSpPr>
            <p:sp>
              <p:nvSpPr>
                <p:cNvPr id="2347" name="Google Shape;11633;p65">
                  <a:extLst>
                    <a:ext uri="{FF2B5EF4-FFF2-40B4-BE49-F238E27FC236}">
                      <a16:creationId xmlns:a16="http://schemas.microsoft.com/office/drawing/2014/main" id="{1C8F8F16-A94B-39F9-F5C2-849352E2050B}"/>
                    </a:ext>
                  </a:extLst>
                </p:cNvPr>
                <p:cNvSpPr/>
                <p:nvPr/>
              </p:nvSpPr>
              <p:spPr>
                <a:xfrm>
                  <a:off x="4843373" y="3631407"/>
                  <a:ext cx="16273" cy="16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69" h="2058" extrusionOk="0">
                      <a:moveTo>
                        <a:pt x="1029" y="1"/>
                      </a:moveTo>
                      <a:cubicBezTo>
                        <a:pt x="460" y="1"/>
                        <a:pt x="0" y="460"/>
                        <a:pt x="0" y="1029"/>
                      </a:cubicBezTo>
                      <a:cubicBezTo>
                        <a:pt x="0" y="1597"/>
                        <a:pt x="460" y="2057"/>
                        <a:pt x="1029" y="2057"/>
                      </a:cubicBezTo>
                      <a:cubicBezTo>
                        <a:pt x="1609" y="2057"/>
                        <a:pt x="2069" y="1597"/>
                        <a:pt x="2069" y="1029"/>
                      </a:cubicBezTo>
                      <a:cubicBezTo>
                        <a:pt x="2069" y="460"/>
                        <a:pt x="1609" y="1"/>
                        <a:pt x="10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48" name="Google Shape;11634;p65">
                  <a:extLst>
                    <a:ext uri="{FF2B5EF4-FFF2-40B4-BE49-F238E27FC236}">
                      <a16:creationId xmlns:a16="http://schemas.microsoft.com/office/drawing/2014/main" id="{BF2A326B-2FE5-0DF0-C8B8-209205ADF884}"/>
                    </a:ext>
                  </a:extLst>
                </p:cNvPr>
                <p:cNvSpPr/>
                <p:nvPr/>
              </p:nvSpPr>
              <p:spPr>
                <a:xfrm>
                  <a:off x="4849178" y="3637211"/>
                  <a:ext cx="4672" cy="4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4" h="582" extrusionOk="0">
                      <a:moveTo>
                        <a:pt x="291" y="1"/>
                      </a:moveTo>
                      <a:cubicBezTo>
                        <a:pt x="133" y="1"/>
                        <a:pt x="0" y="134"/>
                        <a:pt x="0" y="291"/>
                      </a:cubicBezTo>
                      <a:cubicBezTo>
                        <a:pt x="0" y="460"/>
                        <a:pt x="133" y="581"/>
                        <a:pt x="291" y="581"/>
                      </a:cubicBezTo>
                      <a:cubicBezTo>
                        <a:pt x="460" y="581"/>
                        <a:pt x="593" y="460"/>
                        <a:pt x="593" y="291"/>
                      </a:cubicBezTo>
                      <a:cubicBezTo>
                        <a:pt x="593" y="134"/>
                        <a:pt x="460" y="1"/>
                        <a:pt x="29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59" name="Google Shape;11635;p65">
                <a:extLst>
                  <a:ext uri="{FF2B5EF4-FFF2-40B4-BE49-F238E27FC236}">
                    <a16:creationId xmlns:a16="http://schemas.microsoft.com/office/drawing/2014/main" id="{C4B80C60-8FEC-FAFE-8349-FBD5F01449A3}"/>
                  </a:ext>
                </a:extLst>
              </p:cNvPr>
              <p:cNvGrpSpPr/>
              <p:nvPr/>
            </p:nvGrpSpPr>
            <p:grpSpPr>
              <a:xfrm>
                <a:off x="4727773" y="3591578"/>
                <a:ext cx="31499" cy="26898"/>
                <a:chOff x="4727773" y="3591578"/>
                <a:chExt cx="31499" cy="26898"/>
              </a:xfrm>
            </p:grpSpPr>
            <p:sp>
              <p:nvSpPr>
                <p:cNvPr id="2345" name="Google Shape;11636;p65">
                  <a:extLst>
                    <a:ext uri="{FF2B5EF4-FFF2-40B4-BE49-F238E27FC236}">
                      <a16:creationId xmlns:a16="http://schemas.microsoft.com/office/drawing/2014/main" id="{12A07F8C-65E9-104B-EDF1-F87FDB2411BC}"/>
                    </a:ext>
                  </a:extLst>
                </p:cNvPr>
                <p:cNvSpPr/>
                <p:nvPr/>
              </p:nvSpPr>
              <p:spPr>
                <a:xfrm>
                  <a:off x="4727773" y="3591578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4005" y="1714"/>
                      </a:cubicBezTo>
                      <a:cubicBezTo>
                        <a:pt x="4005" y="683"/>
                        <a:pt x="3158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46" name="Google Shape;11637;p65">
                  <a:extLst>
                    <a:ext uri="{FF2B5EF4-FFF2-40B4-BE49-F238E27FC236}">
                      <a16:creationId xmlns:a16="http://schemas.microsoft.com/office/drawing/2014/main" id="{6FF18343-5BAC-B1C0-6386-A3C3056AE3F0}"/>
                    </a:ext>
                  </a:extLst>
                </p:cNvPr>
                <p:cNvSpPr/>
                <p:nvPr/>
              </p:nvSpPr>
              <p:spPr>
                <a:xfrm>
                  <a:off x="4740719" y="3601244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1" y="1"/>
                      </a:moveTo>
                      <a:cubicBezTo>
                        <a:pt x="206" y="1"/>
                        <a:pt x="0" y="521"/>
                        <a:pt x="302" y="824"/>
                      </a:cubicBezTo>
                      <a:cubicBezTo>
                        <a:pt x="400" y="921"/>
                        <a:pt x="520" y="964"/>
                        <a:pt x="638" y="964"/>
                      </a:cubicBezTo>
                      <a:cubicBezTo>
                        <a:pt x="886" y="964"/>
                        <a:pt x="1125" y="772"/>
                        <a:pt x="1125" y="485"/>
                      </a:cubicBezTo>
                      <a:cubicBezTo>
                        <a:pt x="1125" y="219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2260" name="Google Shape;11638;p65">
                <a:extLst>
                  <a:ext uri="{FF2B5EF4-FFF2-40B4-BE49-F238E27FC236}">
                    <a16:creationId xmlns:a16="http://schemas.microsoft.com/office/drawing/2014/main" id="{1B505D11-1370-C8EE-8ACC-0EB63AD512A5}"/>
                  </a:ext>
                </a:extLst>
              </p:cNvPr>
              <p:cNvSpPr/>
              <p:nvPr/>
            </p:nvSpPr>
            <p:spPr>
              <a:xfrm>
                <a:off x="4652041" y="3622590"/>
                <a:ext cx="31405" cy="26906"/>
              </a:xfrm>
              <a:custGeom>
                <a:avLst/>
                <a:gdLst/>
                <a:ahLst/>
                <a:cxnLst/>
                <a:rect l="l" t="t" r="r" b="b"/>
                <a:pathLst>
                  <a:path w="3993" h="3421" extrusionOk="0">
                    <a:moveTo>
                      <a:pt x="2273" y="1"/>
                    </a:moveTo>
                    <a:cubicBezTo>
                      <a:pt x="1853" y="1"/>
                      <a:pt x="1426" y="157"/>
                      <a:pt x="1077" y="505"/>
                    </a:cubicBezTo>
                    <a:cubicBezTo>
                      <a:pt x="1" y="1581"/>
                      <a:pt x="763" y="3420"/>
                      <a:pt x="2287" y="3420"/>
                    </a:cubicBezTo>
                    <a:cubicBezTo>
                      <a:pt x="3231" y="3420"/>
                      <a:pt x="3993" y="2658"/>
                      <a:pt x="3993" y="1714"/>
                    </a:cubicBezTo>
                    <a:cubicBezTo>
                      <a:pt x="3993" y="683"/>
                      <a:pt x="3151" y="1"/>
                      <a:pt x="2273" y="1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261" name="Google Shape;11639;p65">
                <a:extLst>
                  <a:ext uri="{FF2B5EF4-FFF2-40B4-BE49-F238E27FC236}">
                    <a16:creationId xmlns:a16="http://schemas.microsoft.com/office/drawing/2014/main" id="{2A69AA62-D5DD-BA77-0BA3-7D8D4613B12D}"/>
                  </a:ext>
                </a:extLst>
              </p:cNvPr>
              <p:cNvSpPr/>
              <p:nvPr/>
            </p:nvSpPr>
            <p:spPr>
              <a:xfrm>
                <a:off x="4666222" y="3632264"/>
                <a:ext cx="7613" cy="7621"/>
              </a:xfrm>
              <a:custGeom>
                <a:avLst/>
                <a:gdLst/>
                <a:ahLst/>
                <a:cxnLst/>
                <a:rect l="l" t="t" r="r" b="b"/>
                <a:pathLst>
                  <a:path w="968" h="969" extrusionOk="0">
                    <a:moveTo>
                      <a:pt x="484" y="1"/>
                    </a:moveTo>
                    <a:cubicBezTo>
                      <a:pt x="218" y="1"/>
                      <a:pt x="0" y="218"/>
                      <a:pt x="0" y="484"/>
                    </a:cubicBezTo>
                    <a:cubicBezTo>
                      <a:pt x="0" y="751"/>
                      <a:pt x="218" y="968"/>
                      <a:pt x="484" y="968"/>
                    </a:cubicBezTo>
                    <a:cubicBezTo>
                      <a:pt x="750" y="968"/>
                      <a:pt x="968" y="751"/>
                      <a:pt x="968" y="484"/>
                    </a:cubicBezTo>
                    <a:cubicBezTo>
                      <a:pt x="968" y="218"/>
                      <a:pt x="750" y="1"/>
                      <a:pt x="484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2262" name="Google Shape;11640;p65">
                <a:extLst>
                  <a:ext uri="{FF2B5EF4-FFF2-40B4-BE49-F238E27FC236}">
                    <a16:creationId xmlns:a16="http://schemas.microsoft.com/office/drawing/2014/main" id="{3703A585-DECD-3ED7-8219-47CDAA4E3ACF}"/>
                  </a:ext>
                </a:extLst>
              </p:cNvPr>
              <p:cNvGrpSpPr/>
              <p:nvPr/>
            </p:nvGrpSpPr>
            <p:grpSpPr>
              <a:xfrm>
                <a:off x="4609421" y="3577398"/>
                <a:ext cx="31499" cy="27001"/>
                <a:chOff x="4609421" y="3577398"/>
                <a:chExt cx="31499" cy="27001"/>
              </a:xfrm>
            </p:grpSpPr>
            <p:sp>
              <p:nvSpPr>
                <p:cNvPr id="2343" name="Google Shape;11641;p65">
                  <a:extLst>
                    <a:ext uri="{FF2B5EF4-FFF2-40B4-BE49-F238E27FC236}">
                      <a16:creationId xmlns:a16="http://schemas.microsoft.com/office/drawing/2014/main" id="{04B3D655-05FB-7F6F-C0E8-D5505D7DDAAD}"/>
                    </a:ext>
                  </a:extLst>
                </p:cNvPr>
                <p:cNvSpPr/>
                <p:nvPr/>
              </p:nvSpPr>
              <p:spPr>
                <a:xfrm>
                  <a:off x="4609421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1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4005" y="1714"/>
                      </a:cubicBezTo>
                      <a:cubicBezTo>
                        <a:pt x="3996" y="683"/>
                        <a:pt x="3152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44" name="Google Shape;11642;p65">
                  <a:extLst>
                    <a:ext uri="{FF2B5EF4-FFF2-40B4-BE49-F238E27FC236}">
                      <a16:creationId xmlns:a16="http://schemas.microsoft.com/office/drawing/2014/main" id="{92D847F9-A22B-CA66-A2E6-ECF90A9CAEA5}"/>
                    </a:ext>
                  </a:extLst>
                </p:cNvPr>
                <p:cNvSpPr/>
                <p:nvPr/>
              </p:nvSpPr>
              <p:spPr>
                <a:xfrm>
                  <a:off x="4623594" y="358707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63" name="Google Shape;11643;p65">
                <a:extLst>
                  <a:ext uri="{FF2B5EF4-FFF2-40B4-BE49-F238E27FC236}">
                    <a16:creationId xmlns:a16="http://schemas.microsoft.com/office/drawing/2014/main" id="{DF6E35EC-0B35-7BDA-9F8F-19DFB3666B24}"/>
                  </a:ext>
                </a:extLst>
              </p:cNvPr>
              <p:cNvGrpSpPr/>
              <p:nvPr/>
            </p:nvGrpSpPr>
            <p:grpSpPr>
              <a:xfrm>
                <a:off x="4649289" y="3577398"/>
                <a:ext cx="31499" cy="27001"/>
                <a:chOff x="4649289" y="3577398"/>
                <a:chExt cx="31499" cy="27001"/>
              </a:xfrm>
            </p:grpSpPr>
            <p:sp>
              <p:nvSpPr>
                <p:cNvPr id="2341" name="Google Shape;11644;p65">
                  <a:extLst>
                    <a:ext uri="{FF2B5EF4-FFF2-40B4-BE49-F238E27FC236}">
                      <a16:creationId xmlns:a16="http://schemas.microsoft.com/office/drawing/2014/main" id="{0A358906-5032-8B87-322C-746B5AA4F8DD}"/>
                    </a:ext>
                  </a:extLst>
                </p:cNvPr>
                <p:cNvSpPr/>
                <p:nvPr/>
              </p:nvSpPr>
              <p:spPr>
                <a:xfrm>
                  <a:off x="4649289" y="3577398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6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42" name="Google Shape;11645;p65">
                  <a:extLst>
                    <a:ext uri="{FF2B5EF4-FFF2-40B4-BE49-F238E27FC236}">
                      <a16:creationId xmlns:a16="http://schemas.microsoft.com/office/drawing/2014/main" id="{FBC1E514-6E8B-4E4C-A87D-86A0D56A692F}"/>
                    </a:ext>
                  </a:extLst>
                </p:cNvPr>
                <p:cNvSpPr/>
                <p:nvPr/>
              </p:nvSpPr>
              <p:spPr>
                <a:xfrm>
                  <a:off x="4662227" y="3587072"/>
                  <a:ext cx="8856" cy="7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6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35"/>
                      </a:cubicBezTo>
                      <a:cubicBezTo>
                        <a:pt x="400" y="932"/>
                        <a:pt x="519" y="976"/>
                        <a:pt x="636" y="976"/>
                      </a:cubicBezTo>
                      <a:cubicBezTo>
                        <a:pt x="885" y="976"/>
                        <a:pt x="1125" y="780"/>
                        <a:pt x="1125" y="484"/>
                      </a:cubicBezTo>
                      <a:cubicBezTo>
                        <a:pt x="1125" y="218"/>
                        <a:pt x="907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64" name="Google Shape;11646;p65">
                <a:extLst>
                  <a:ext uri="{FF2B5EF4-FFF2-40B4-BE49-F238E27FC236}">
                    <a16:creationId xmlns:a16="http://schemas.microsoft.com/office/drawing/2014/main" id="{2680D6A8-0821-5159-D18B-2EE206E239F5}"/>
                  </a:ext>
                </a:extLst>
              </p:cNvPr>
              <p:cNvGrpSpPr/>
              <p:nvPr/>
            </p:nvGrpSpPr>
            <p:grpSpPr>
              <a:xfrm>
                <a:off x="4605614" y="3639523"/>
                <a:ext cx="31499" cy="26906"/>
                <a:chOff x="4605614" y="3639523"/>
                <a:chExt cx="31499" cy="26906"/>
              </a:xfrm>
            </p:grpSpPr>
            <p:sp>
              <p:nvSpPr>
                <p:cNvPr id="2339" name="Google Shape;11647;p65">
                  <a:extLst>
                    <a:ext uri="{FF2B5EF4-FFF2-40B4-BE49-F238E27FC236}">
                      <a16:creationId xmlns:a16="http://schemas.microsoft.com/office/drawing/2014/main" id="{9353F5FE-74C8-193A-3DB0-008E44F25D91}"/>
                    </a:ext>
                  </a:extLst>
                </p:cNvPr>
                <p:cNvSpPr/>
                <p:nvPr/>
              </p:nvSpPr>
              <p:spPr>
                <a:xfrm>
                  <a:off x="4605614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76" y="1"/>
                      </a:moveTo>
                      <a:cubicBezTo>
                        <a:pt x="1855" y="1"/>
                        <a:pt x="1425" y="157"/>
                        <a:pt x="1077" y="505"/>
                      </a:cubicBezTo>
                      <a:cubicBezTo>
                        <a:pt x="1" y="1582"/>
                        <a:pt x="763" y="3420"/>
                        <a:pt x="2287" y="3420"/>
                      </a:cubicBezTo>
                      <a:cubicBezTo>
                        <a:pt x="3230" y="3420"/>
                        <a:pt x="3993" y="2658"/>
                        <a:pt x="4005" y="1715"/>
                      </a:cubicBezTo>
                      <a:cubicBezTo>
                        <a:pt x="4005" y="683"/>
                        <a:pt x="3157" y="1"/>
                        <a:pt x="227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40" name="Google Shape;11648;p65">
                  <a:extLst>
                    <a:ext uri="{FF2B5EF4-FFF2-40B4-BE49-F238E27FC236}">
                      <a16:creationId xmlns:a16="http://schemas.microsoft.com/office/drawing/2014/main" id="{0610DB19-C7BA-59F2-63F3-69E72B671210}"/>
                    </a:ext>
                  </a:extLst>
                </p:cNvPr>
                <p:cNvSpPr/>
                <p:nvPr/>
              </p:nvSpPr>
              <p:spPr>
                <a:xfrm>
                  <a:off x="4619795" y="3649197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84" y="968"/>
                      </a:cubicBezTo>
                      <a:cubicBezTo>
                        <a:pt x="750" y="968"/>
                        <a:pt x="968" y="751"/>
                        <a:pt x="968" y="485"/>
                      </a:cubicBezTo>
                      <a:cubicBezTo>
                        <a:pt x="968" y="218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65" name="Google Shape;11649;p65">
                <a:extLst>
                  <a:ext uri="{FF2B5EF4-FFF2-40B4-BE49-F238E27FC236}">
                    <a16:creationId xmlns:a16="http://schemas.microsoft.com/office/drawing/2014/main" id="{32656835-7B08-D584-8BF5-58FD82F13291}"/>
                  </a:ext>
                </a:extLst>
              </p:cNvPr>
              <p:cNvGrpSpPr/>
              <p:nvPr/>
            </p:nvGrpSpPr>
            <p:grpSpPr>
              <a:xfrm>
                <a:off x="4785149" y="3618846"/>
                <a:ext cx="26930" cy="26843"/>
                <a:chOff x="4785149" y="3618846"/>
                <a:chExt cx="26930" cy="26843"/>
              </a:xfrm>
            </p:grpSpPr>
            <p:sp>
              <p:nvSpPr>
                <p:cNvPr id="2337" name="Google Shape;11650;p65">
                  <a:extLst>
                    <a:ext uri="{FF2B5EF4-FFF2-40B4-BE49-F238E27FC236}">
                      <a16:creationId xmlns:a16="http://schemas.microsoft.com/office/drawing/2014/main" id="{EF13C360-2588-B1A3-E5BB-953E0EFAD800}"/>
                    </a:ext>
                  </a:extLst>
                </p:cNvPr>
                <p:cNvSpPr/>
                <p:nvPr/>
              </p:nvSpPr>
              <p:spPr>
                <a:xfrm>
                  <a:off x="4785149" y="3618846"/>
                  <a:ext cx="26930" cy="268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13" extrusionOk="0">
                      <a:moveTo>
                        <a:pt x="1718" y="1"/>
                      </a:moveTo>
                      <a:cubicBezTo>
                        <a:pt x="774" y="1"/>
                        <a:pt x="0" y="763"/>
                        <a:pt x="0" y="1707"/>
                      </a:cubicBezTo>
                      <a:cubicBezTo>
                        <a:pt x="0" y="2650"/>
                        <a:pt x="774" y="3412"/>
                        <a:pt x="1718" y="3412"/>
                      </a:cubicBezTo>
                      <a:cubicBezTo>
                        <a:pt x="2662" y="3412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38" name="Google Shape;11651;p65">
                  <a:extLst>
                    <a:ext uri="{FF2B5EF4-FFF2-40B4-BE49-F238E27FC236}">
                      <a16:creationId xmlns:a16="http://schemas.microsoft.com/office/drawing/2014/main" id="{8FD56946-1111-41CA-5342-E2B1AF01C411}"/>
                    </a:ext>
                  </a:extLst>
                </p:cNvPr>
                <p:cNvSpPr/>
                <p:nvPr/>
              </p:nvSpPr>
              <p:spPr>
                <a:xfrm>
                  <a:off x="4793611" y="3628457"/>
                  <a:ext cx="8856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5" extrusionOk="0">
                      <a:moveTo>
                        <a:pt x="642" y="1"/>
                      </a:moveTo>
                      <a:cubicBezTo>
                        <a:pt x="206" y="1"/>
                        <a:pt x="1" y="521"/>
                        <a:pt x="303" y="823"/>
                      </a:cubicBezTo>
                      <a:cubicBezTo>
                        <a:pt x="401" y="921"/>
                        <a:pt x="521" y="964"/>
                        <a:pt x="639" y="964"/>
                      </a:cubicBezTo>
                      <a:cubicBezTo>
                        <a:pt x="887" y="964"/>
                        <a:pt x="1126" y="772"/>
                        <a:pt x="1126" y="485"/>
                      </a:cubicBezTo>
                      <a:cubicBezTo>
                        <a:pt x="1126" y="218"/>
                        <a:pt x="908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66" name="Google Shape;11652;p65">
                <a:extLst>
                  <a:ext uri="{FF2B5EF4-FFF2-40B4-BE49-F238E27FC236}">
                    <a16:creationId xmlns:a16="http://schemas.microsoft.com/office/drawing/2014/main" id="{D15DD555-5E85-09DA-7CC2-77F8664A06BC}"/>
                  </a:ext>
                </a:extLst>
              </p:cNvPr>
              <p:cNvGrpSpPr/>
              <p:nvPr/>
            </p:nvGrpSpPr>
            <p:grpSpPr>
              <a:xfrm>
                <a:off x="4810167" y="3601567"/>
                <a:ext cx="31405" cy="26898"/>
                <a:chOff x="4810167" y="3601567"/>
                <a:chExt cx="31405" cy="26898"/>
              </a:xfrm>
            </p:grpSpPr>
            <p:sp>
              <p:nvSpPr>
                <p:cNvPr id="2335" name="Google Shape;11653;p65">
                  <a:extLst>
                    <a:ext uri="{FF2B5EF4-FFF2-40B4-BE49-F238E27FC236}">
                      <a16:creationId xmlns:a16="http://schemas.microsoft.com/office/drawing/2014/main" id="{84C48580-381A-090E-5484-4F35EB1F920B}"/>
                    </a:ext>
                  </a:extLst>
                </p:cNvPr>
                <p:cNvSpPr/>
                <p:nvPr/>
              </p:nvSpPr>
              <p:spPr>
                <a:xfrm>
                  <a:off x="4810167" y="3601567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1" y="3420"/>
                        <a:pt x="3993" y="2658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36" name="Google Shape;11654;p65">
                  <a:extLst>
                    <a:ext uri="{FF2B5EF4-FFF2-40B4-BE49-F238E27FC236}">
                      <a16:creationId xmlns:a16="http://schemas.microsoft.com/office/drawing/2014/main" id="{152238F4-0FF6-4A00-5DDC-3D5D1BAA13F0}"/>
                    </a:ext>
                  </a:extLst>
                </p:cNvPr>
                <p:cNvSpPr/>
                <p:nvPr/>
              </p:nvSpPr>
              <p:spPr>
                <a:xfrm>
                  <a:off x="4824348" y="3611241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67" name="Google Shape;11655;p65">
                <a:extLst>
                  <a:ext uri="{FF2B5EF4-FFF2-40B4-BE49-F238E27FC236}">
                    <a16:creationId xmlns:a16="http://schemas.microsoft.com/office/drawing/2014/main" id="{66D972B5-D85B-9A3C-32F0-DBBFB693FFA5}"/>
                  </a:ext>
                </a:extLst>
              </p:cNvPr>
              <p:cNvGrpSpPr/>
              <p:nvPr/>
            </p:nvGrpSpPr>
            <p:grpSpPr>
              <a:xfrm>
                <a:off x="4831002" y="3373230"/>
                <a:ext cx="31405" cy="26898"/>
                <a:chOff x="4831002" y="3373230"/>
                <a:chExt cx="31405" cy="26898"/>
              </a:xfrm>
            </p:grpSpPr>
            <p:sp>
              <p:nvSpPr>
                <p:cNvPr id="2333" name="Google Shape;11656;p65">
                  <a:extLst>
                    <a:ext uri="{FF2B5EF4-FFF2-40B4-BE49-F238E27FC236}">
                      <a16:creationId xmlns:a16="http://schemas.microsoft.com/office/drawing/2014/main" id="{876F89BD-E925-2E89-F1E3-C6B121CB13F5}"/>
                    </a:ext>
                  </a:extLst>
                </p:cNvPr>
                <p:cNvSpPr/>
                <p:nvPr/>
              </p:nvSpPr>
              <p:spPr>
                <a:xfrm>
                  <a:off x="4831002" y="3373230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6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34" name="Google Shape;11657;p65">
                  <a:extLst>
                    <a:ext uri="{FF2B5EF4-FFF2-40B4-BE49-F238E27FC236}">
                      <a16:creationId xmlns:a16="http://schemas.microsoft.com/office/drawing/2014/main" id="{F258E46A-CB47-ED06-1EA1-BAE7E8F41003}"/>
                    </a:ext>
                  </a:extLst>
                </p:cNvPr>
                <p:cNvSpPr/>
                <p:nvPr/>
              </p:nvSpPr>
              <p:spPr>
                <a:xfrm>
                  <a:off x="4845182" y="3382896"/>
                  <a:ext cx="7519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6" h="969" extrusionOk="0">
                      <a:moveTo>
                        <a:pt x="472" y="1"/>
                      </a:moveTo>
                      <a:cubicBezTo>
                        <a:pt x="206" y="1"/>
                        <a:pt x="0" y="219"/>
                        <a:pt x="0" y="485"/>
                      </a:cubicBezTo>
                      <a:cubicBezTo>
                        <a:pt x="0" y="751"/>
                        <a:pt x="206" y="969"/>
                        <a:pt x="472" y="969"/>
                      </a:cubicBezTo>
                      <a:cubicBezTo>
                        <a:pt x="750" y="969"/>
                        <a:pt x="956" y="751"/>
                        <a:pt x="956" y="485"/>
                      </a:cubicBezTo>
                      <a:cubicBezTo>
                        <a:pt x="956" y="219"/>
                        <a:pt x="750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68" name="Google Shape;11658;p65">
                <a:extLst>
                  <a:ext uri="{FF2B5EF4-FFF2-40B4-BE49-F238E27FC236}">
                    <a16:creationId xmlns:a16="http://schemas.microsoft.com/office/drawing/2014/main" id="{3D76AA8E-7A94-9AF3-88EA-C9C2B399EAB8}"/>
                  </a:ext>
                </a:extLst>
              </p:cNvPr>
              <p:cNvGrpSpPr/>
              <p:nvPr/>
            </p:nvGrpSpPr>
            <p:grpSpPr>
              <a:xfrm>
                <a:off x="4719311" y="3355054"/>
                <a:ext cx="31499" cy="27001"/>
                <a:chOff x="4719311" y="3355054"/>
                <a:chExt cx="31499" cy="27001"/>
              </a:xfrm>
            </p:grpSpPr>
            <p:sp>
              <p:nvSpPr>
                <p:cNvPr id="2331" name="Google Shape;11659;p65">
                  <a:extLst>
                    <a:ext uri="{FF2B5EF4-FFF2-40B4-BE49-F238E27FC236}">
                      <a16:creationId xmlns:a16="http://schemas.microsoft.com/office/drawing/2014/main" id="{53465E27-528C-2714-B751-ACD572893510}"/>
                    </a:ext>
                  </a:extLst>
                </p:cNvPr>
                <p:cNvSpPr/>
                <p:nvPr/>
              </p:nvSpPr>
              <p:spPr>
                <a:xfrm>
                  <a:off x="4719311" y="335505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75" y="1"/>
                      </a:moveTo>
                      <a:cubicBezTo>
                        <a:pt x="1854" y="1"/>
                        <a:pt x="1425" y="157"/>
                        <a:pt x="1077" y="505"/>
                      </a:cubicBezTo>
                      <a:cubicBezTo>
                        <a:pt x="0" y="1581"/>
                        <a:pt x="762" y="3432"/>
                        <a:pt x="2287" y="3432"/>
                      </a:cubicBezTo>
                      <a:cubicBezTo>
                        <a:pt x="3230" y="3432"/>
                        <a:pt x="4004" y="2658"/>
                        <a:pt x="4004" y="1714"/>
                      </a:cubicBezTo>
                      <a:cubicBezTo>
                        <a:pt x="4004" y="683"/>
                        <a:pt x="3157" y="1"/>
                        <a:pt x="227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32" name="Google Shape;11660;p65">
                  <a:extLst>
                    <a:ext uri="{FF2B5EF4-FFF2-40B4-BE49-F238E27FC236}">
                      <a16:creationId xmlns:a16="http://schemas.microsoft.com/office/drawing/2014/main" id="{30499B2E-6AFB-8E4D-AD2E-D131A28F57DA}"/>
                    </a:ext>
                  </a:extLst>
                </p:cNvPr>
                <p:cNvSpPr/>
                <p:nvPr/>
              </p:nvSpPr>
              <p:spPr>
                <a:xfrm>
                  <a:off x="4733578" y="3364822"/>
                  <a:ext cx="7527" cy="75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57" extrusionOk="0">
                      <a:moveTo>
                        <a:pt x="473" y="1"/>
                      </a:moveTo>
                      <a:cubicBezTo>
                        <a:pt x="206" y="1"/>
                        <a:pt x="1" y="206"/>
                        <a:pt x="1" y="472"/>
                      </a:cubicBezTo>
                      <a:cubicBezTo>
                        <a:pt x="1" y="738"/>
                        <a:pt x="206" y="956"/>
                        <a:pt x="473" y="956"/>
                      </a:cubicBezTo>
                      <a:cubicBezTo>
                        <a:pt x="751" y="956"/>
                        <a:pt x="956" y="738"/>
                        <a:pt x="956" y="472"/>
                      </a:cubicBezTo>
                      <a:cubicBezTo>
                        <a:pt x="956" y="206"/>
                        <a:pt x="751" y="1"/>
                        <a:pt x="47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69" name="Google Shape;11661;p65">
                <a:extLst>
                  <a:ext uri="{FF2B5EF4-FFF2-40B4-BE49-F238E27FC236}">
                    <a16:creationId xmlns:a16="http://schemas.microsoft.com/office/drawing/2014/main" id="{203FD287-8C62-7C73-F15F-9F27CEB059CD}"/>
                  </a:ext>
                </a:extLst>
              </p:cNvPr>
              <p:cNvGrpSpPr/>
              <p:nvPr/>
            </p:nvGrpSpPr>
            <p:grpSpPr>
              <a:xfrm>
                <a:off x="4798755" y="3450260"/>
                <a:ext cx="26930" cy="26930"/>
                <a:chOff x="4798755" y="3450260"/>
                <a:chExt cx="26930" cy="26930"/>
              </a:xfrm>
            </p:grpSpPr>
            <p:sp>
              <p:nvSpPr>
                <p:cNvPr id="2329" name="Google Shape;11662;p65">
                  <a:extLst>
                    <a:ext uri="{FF2B5EF4-FFF2-40B4-BE49-F238E27FC236}">
                      <a16:creationId xmlns:a16="http://schemas.microsoft.com/office/drawing/2014/main" id="{0AD564FE-9309-B886-0BE8-63282763352D}"/>
                    </a:ext>
                  </a:extLst>
                </p:cNvPr>
                <p:cNvSpPr/>
                <p:nvPr/>
              </p:nvSpPr>
              <p:spPr>
                <a:xfrm>
                  <a:off x="4798755" y="3450260"/>
                  <a:ext cx="26930" cy="269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4" h="3424" extrusionOk="0">
                      <a:moveTo>
                        <a:pt x="1718" y="0"/>
                      </a:moveTo>
                      <a:cubicBezTo>
                        <a:pt x="774" y="0"/>
                        <a:pt x="0" y="763"/>
                        <a:pt x="0" y="1706"/>
                      </a:cubicBezTo>
                      <a:cubicBezTo>
                        <a:pt x="0" y="2650"/>
                        <a:pt x="774" y="3424"/>
                        <a:pt x="1718" y="3424"/>
                      </a:cubicBezTo>
                      <a:cubicBezTo>
                        <a:pt x="2661" y="3424"/>
                        <a:pt x="3423" y="2650"/>
                        <a:pt x="3423" y="1706"/>
                      </a:cubicBezTo>
                      <a:cubicBezTo>
                        <a:pt x="3423" y="763"/>
                        <a:pt x="2661" y="0"/>
                        <a:pt x="171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30" name="Google Shape;11663;p65">
                  <a:extLst>
                    <a:ext uri="{FF2B5EF4-FFF2-40B4-BE49-F238E27FC236}">
                      <a16:creationId xmlns:a16="http://schemas.microsoft.com/office/drawing/2014/main" id="{C8B573A5-AF01-E524-572E-02686B7D6C8E}"/>
                    </a:ext>
                  </a:extLst>
                </p:cNvPr>
                <p:cNvSpPr/>
                <p:nvPr/>
              </p:nvSpPr>
              <p:spPr>
                <a:xfrm>
                  <a:off x="4807218" y="3459871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0"/>
                      </a:moveTo>
                      <a:cubicBezTo>
                        <a:pt x="206" y="0"/>
                        <a:pt x="1" y="520"/>
                        <a:pt x="303" y="823"/>
                      </a:cubicBezTo>
                      <a:cubicBezTo>
                        <a:pt x="402" y="922"/>
                        <a:pt x="524" y="966"/>
                        <a:pt x="644" y="966"/>
                      </a:cubicBezTo>
                      <a:cubicBezTo>
                        <a:pt x="890" y="966"/>
                        <a:pt x="1126" y="777"/>
                        <a:pt x="1126" y="484"/>
                      </a:cubicBezTo>
                      <a:cubicBezTo>
                        <a:pt x="1126" y="218"/>
                        <a:pt x="908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0" name="Google Shape;11664;p65">
                <a:extLst>
                  <a:ext uri="{FF2B5EF4-FFF2-40B4-BE49-F238E27FC236}">
                    <a16:creationId xmlns:a16="http://schemas.microsoft.com/office/drawing/2014/main" id="{73AC9C53-1B86-9C61-E06A-182B404C421E}"/>
                  </a:ext>
                </a:extLst>
              </p:cNvPr>
              <p:cNvGrpSpPr/>
              <p:nvPr/>
            </p:nvGrpSpPr>
            <p:grpSpPr>
              <a:xfrm>
                <a:off x="4645576" y="3467555"/>
                <a:ext cx="31405" cy="26953"/>
                <a:chOff x="4645576" y="3467555"/>
                <a:chExt cx="31405" cy="26953"/>
              </a:xfrm>
            </p:grpSpPr>
            <p:sp>
              <p:nvSpPr>
                <p:cNvPr id="2327" name="Google Shape;11665;p65">
                  <a:extLst>
                    <a:ext uri="{FF2B5EF4-FFF2-40B4-BE49-F238E27FC236}">
                      <a16:creationId xmlns:a16="http://schemas.microsoft.com/office/drawing/2014/main" id="{38F238BF-EDCB-14F5-FAD4-46BE7011DBB4}"/>
                    </a:ext>
                  </a:extLst>
                </p:cNvPr>
                <p:cNvSpPr/>
                <p:nvPr/>
              </p:nvSpPr>
              <p:spPr>
                <a:xfrm>
                  <a:off x="4645576" y="3467555"/>
                  <a:ext cx="31405" cy="26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7" extrusionOk="0">
                      <a:moveTo>
                        <a:pt x="2272" y="0"/>
                      </a:moveTo>
                      <a:cubicBezTo>
                        <a:pt x="1853" y="0"/>
                        <a:pt x="1425" y="155"/>
                        <a:pt x="1077" y="499"/>
                      </a:cubicBezTo>
                      <a:cubicBezTo>
                        <a:pt x="0" y="1576"/>
                        <a:pt x="750" y="3414"/>
                        <a:pt x="2274" y="3426"/>
                      </a:cubicBezTo>
                      <a:cubicBezTo>
                        <a:pt x="3218" y="3426"/>
                        <a:pt x="3992" y="2652"/>
                        <a:pt x="3992" y="1709"/>
                      </a:cubicBezTo>
                      <a:cubicBezTo>
                        <a:pt x="3992" y="677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28" name="Google Shape;11666;p65">
                  <a:extLst>
                    <a:ext uri="{FF2B5EF4-FFF2-40B4-BE49-F238E27FC236}">
                      <a16:creationId xmlns:a16="http://schemas.microsoft.com/office/drawing/2014/main" id="{F92312D0-BB1D-2F69-8860-E59425ADC5D9}"/>
                    </a:ext>
                  </a:extLst>
                </p:cNvPr>
                <p:cNvSpPr/>
                <p:nvPr/>
              </p:nvSpPr>
              <p:spPr>
                <a:xfrm>
                  <a:off x="4659749" y="3477182"/>
                  <a:ext cx="7527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7" h="969" extrusionOk="0">
                      <a:moveTo>
                        <a:pt x="472" y="1"/>
                      </a:moveTo>
                      <a:cubicBezTo>
                        <a:pt x="206" y="1"/>
                        <a:pt x="1" y="219"/>
                        <a:pt x="1" y="485"/>
                      </a:cubicBezTo>
                      <a:cubicBezTo>
                        <a:pt x="1" y="751"/>
                        <a:pt x="206" y="969"/>
                        <a:pt x="472" y="969"/>
                      </a:cubicBezTo>
                      <a:cubicBezTo>
                        <a:pt x="751" y="969"/>
                        <a:pt x="956" y="751"/>
                        <a:pt x="956" y="485"/>
                      </a:cubicBezTo>
                      <a:cubicBezTo>
                        <a:pt x="956" y="219"/>
                        <a:pt x="751" y="1"/>
                        <a:pt x="47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1" name="Google Shape;11667;p65">
                <a:extLst>
                  <a:ext uri="{FF2B5EF4-FFF2-40B4-BE49-F238E27FC236}">
                    <a16:creationId xmlns:a16="http://schemas.microsoft.com/office/drawing/2014/main" id="{419A35F1-4470-CCD1-EEB8-A9F44C1DED4F}"/>
                  </a:ext>
                </a:extLst>
              </p:cNvPr>
              <p:cNvGrpSpPr/>
              <p:nvPr/>
            </p:nvGrpSpPr>
            <p:grpSpPr>
              <a:xfrm>
                <a:off x="4687631" y="3583965"/>
                <a:ext cx="31499" cy="26898"/>
                <a:chOff x="4687631" y="3583965"/>
                <a:chExt cx="31499" cy="26898"/>
              </a:xfrm>
            </p:grpSpPr>
            <p:sp>
              <p:nvSpPr>
                <p:cNvPr id="2325" name="Google Shape;11668;p65">
                  <a:extLst>
                    <a:ext uri="{FF2B5EF4-FFF2-40B4-BE49-F238E27FC236}">
                      <a16:creationId xmlns:a16="http://schemas.microsoft.com/office/drawing/2014/main" id="{930AF520-1DC5-093E-BCB9-12F8E8F10A41}"/>
                    </a:ext>
                  </a:extLst>
                </p:cNvPr>
                <p:cNvSpPr/>
                <p:nvPr/>
              </p:nvSpPr>
              <p:spPr>
                <a:xfrm>
                  <a:off x="4687631" y="3583965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26" name="Google Shape;11669;p65">
                  <a:extLst>
                    <a:ext uri="{FF2B5EF4-FFF2-40B4-BE49-F238E27FC236}">
                      <a16:creationId xmlns:a16="http://schemas.microsoft.com/office/drawing/2014/main" id="{3C5F1276-6ED2-7C23-9035-CB2994C307F1}"/>
                    </a:ext>
                  </a:extLst>
                </p:cNvPr>
                <p:cNvSpPr/>
                <p:nvPr/>
              </p:nvSpPr>
              <p:spPr>
                <a:xfrm>
                  <a:off x="4700568" y="3593639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41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4" y="920"/>
                        <a:pt x="525" y="964"/>
                        <a:pt x="644" y="964"/>
                      </a:cubicBezTo>
                      <a:cubicBezTo>
                        <a:pt x="893" y="964"/>
                        <a:pt x="1129" y="771"/>
                        <a:pt x="1137" y="484"/>
                      </a:cubicBezTo>
                      <a:cubicBezTo>
                        <a:pt x="1137" y="218"/>
                        <a:pt x="920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2" name="Google Shape;11670;p65">
                <a:extLst>
                  <a:ext uri="{FF2B5EF4-FFF2-40B4-BE49-F238E27FC236}">
                    <a16:creationId xmlns:a16="http://schemas.microsoft.com/office/drawing/2014/main" id="{4B8FA9BF-583E-1784-FDEE-64B42F6FC521}"/>
                  </a:ext>
                </a:extLst>
              </p:cNvPr>
              <p:cNvGrpSpPr/>
              <p:nvPr/>
            </p:nvGrpSpPr>
            <p:grpSpPr>
              <a:xfrm>
                <a:off x="4719311" y="3471314"/>
                <a:ext cx="31499" cy="27001"/>
                <a:chOff x="4719311" y="3471314"/>
                <a:chExt cx="31499" cy="27001"/>
              </a:xfrm>
            </p:grpSpPr>
            <p:sp>
              <p:nvSpPr>
                <p:cNvPr id="2323" name="Google Shape;11671;p65">
                  <a:extLst>
                    <a:ext uri="{FF2B5EF4-FFF2-40B4-BE49-F238E27FC236}">
                      <a16:creationId xmlns:a16="http://schemas.microsoft.com/office/drawing/2014/main" id="{09043173-C1D5-C26B-C8F2-1E8625B5712D}"/>
                    </a:ext>
                  </a:extLst>
                </p:cNvPr>
                <p:cNvSpPr/>
                <p:nvPr/>
              </p:nvSpPr>
              <p:spPr>
                <a:xfrm>
                  <a:off x="4719311" y="3471314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32"/>
                        <a:pt x="4004" y="2658"/>
                        <a:pt x="4004" y="1715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24" name="Google Shape;11672;p65">
                  <a:extLst>
                    <a:ext uri="{FF2B5EF4-FFF2-40B4-BE49-F238E27FC236}">
                      <a16:creationId xmlns:a16="http://schemas.microsoft.com/office/drawing/2014/main" id="{8EEDE1B3-A530-FD3B-F720-C510EFA9C5E8}"/>
                    </a:ext>
                  </a:extLst>
                </p:cNvPr>
                <p:cNvSpPr/>
                <p:nvPr/>
              </p:nvSpPr>
              <p:spPr>
                <a:xfrm>
                  <a:off x="4732249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3" name="Google Shape;11673;p65">
                <a:extLst>
                  <a:ext uri="{FF2B5EF4-FFF2-40B4-BE49-F238E27FC236}">
                    <a16:creationId xmlns:a16="http://schemas.microsoft.com/office/drawing/2014/main" id="{E1837A1F-99AA-6215-AD16-59AC13678C24}"/>
                  </a:ext>
                </a:extLst>
              </p:cNvPr>
              <p:cNvGrpSpPr/>
              <p:nvPr/>
            </p:nvGrpSpPr>
            <p:grpSpPr>
              <a:xfrm>
                <a:off x="4719311" y="3434404"/>
                <a:ext cx="31499" cy="26898"/>
                <a:chOff x="4719311" y="3434404"/>
                <a:chExt cx="31499" cy="26898"/>
              </a:xfrm>
            </p:grpSpPr>
            <p:sp>
              <p:nvSpPr>
                <p:cNvPr id="2321" name="Google Shape;11674;p65">
                  <a:extLst>
                    <a:ext uri="{FF2B5EF4-FFF2-40B4-BE49-F238E27FC236}">
                      <a16:creationId xmlns:a16="http://schemas.microsoft.com/office/drawing/2014/main" id="{647D3D8B-F92B-79A4-8609-3369769A57CC}"/>
                    </a:ext>
                  </a:extLst>
                </p:cNvPr>
                <p:cNvSpPr/>
                <p:nvPr/>
              </p:nvSpPr>
              <p:spPr>
                <a:xfrm>
                  <a:off x="4719311" y="3434404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22" name="Google Shape;11675;p65">
                  <a:extLst>
                    <a:ext uri="{FF2B5EF4-FFF2-40B4-BE49-F238E27FC236}">
                      <a16:creationId xmlns:a16="http://schemas.microsoft.com/office/drawing/2014/main" id="{993E48C2-0BE9-3833-25EC-E5B51EFAA986}"/>
                    </a:ext>
                  </a:extLst>
                </p:cNvPr>
                <p:cNvSpPr/>
                <p:nvPr/>
              </p:nvSpPr>
              <p:spPr>
                <a:xfrm>
                  <a:off x="4732249" y="3444078"/>
                  <a:ext cx="8856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4" extrusionOk="0">
                      <a:moveTo>
                        <a:pt x="642" y="0"/>
                      </a:moveTo>
                      <a:cubicBezTo>
                        <a:pt x="218" y="0"/>
                        <a:pt x="0" y="520"/>
                        <a:pt x="303" y="823"/>
                      </a:cubicBezTo>
                      <a:cubicBezTo>
                        <a:pt x="400" y="920"/>
                        <a:pt x="520" y="964"/>
                        <a:pt x="638" y="964"/>
                      </a:cubicBezTo>
                      <a:cubicBezTo>
                        <a:pt x="886" y="964"/>
                        <a:pt x="1125" y="771"/>
                        <a:pt x="1125" y="484"/>
                      </a:cubicBezTo>
                      <a:cubicBezTo>
                        <a:pt x="1125" y="218"/>
                        <a:pt x="920" y="0"/>
                        <a:pt x="64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4" name="Google Shape;11676;p65">
                <a:extLst>
                  <a:ext uri="{FF2B5EF4-FFF2-40B4-BE49-F238E27FC236}">
                    <a16:creationId xmlns:a16="http://schemas.microsoft.com/office/drawing/2014/main" id="{20003537-CE09-B303-8F1A-5BA1A5E97C26}"/>
                  </a:ext>
                </a:extLst>
              </p:cNvPr>
              <p:cNvGrpSpPr/>
              <p:nvPr/>
            </p:nvGrpSpPr>
            <p:grpSpPr>
              <a:xfrm>
                <a:off x="4768876" y="3401772"/>
                <a:ext cx="31499" cy="26898"/>
                <a:chOff x="4768876" y="3401772"/>
                <a:chExt cx="31499" cy="26898"/>
              </a:xfrm>
            </p:grpSpPr>
            <p:sp>
              <p:nvSpPr>
                <p:cNvPr id="2319" name="Google Shape;11677;p65">
                  <a:extLst>
                    <a:ext uri="{FF2B5EF4-FFF2-40B4-BE49-F238E27FC236}">
                      <a16:creationId xmlns:a16="http://schemas.microsoft.com/office/drawing/2014/main" id="{57B5E534-BDB1-9B60-A45D-866BF07123A2}"/>
                    </a:ext>
                  </a:extLst>
                </p:cNvPr>
                <p:cNvSpPr/>
                <p:nvPr/>
              </p:nvSpPr>
              <p:spPr>
                <a:xfrm>
                  <a:off x="4768876" y="3401772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76" y="0"/>
                      </a:moveTo>
                      <a:cubicBezTo>
                        <a:pt x="1855" y="0"/>
                        <a:pt x="1425" y="156"/>
                        <a:pt x="1077" y="504"/>
                      </a:cubicBezTo>
                      <a:cubicBezTo>
                        <a:pt x="1" y="1581"/>
                        <a:pt x="763" y="3419"/>
                        <a:pt x="2287" y="3419"/>
                      </a:cubicBezTo>
                      <a:cubicBezTo>
                        <a:pt x="3231" y="3419"/>
                        <a:pt x="4005" y="2657"/>
                        <a:pt x="4005" y="1714"/>
                      </a:cubicBezTo>
                      <a:cubicBezTo>
                        <a:pt x="4005" y="683"/>
                        <a:pt x="3157" y="0"/>
                        <a:pt x="227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20" name="Google Shape;11678;p65">
                  <a:extLst>
                    <a:ext uri="{FF2B5EF4-FFF2-40B4-BE49-F238E27FC236}">
                      <a16:creationId xmlns:a16="http://schemas.microsoft.com/office/drawing/2014/main" id="{FA548353-A153-CD6D-89B2-E02CC4A3E932}"/>
                    </a:ext>
                  </a:extLst>
                </p:cNvPr>
                <p:cNvSpPr/>
                <p:nvPr/>
              </p:nvSpPr>
              <p:spPr>
                <a:xfrm>
                  <a:off x="4783057" y="3411438"/>
                  <a:ext cx="7613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9" extrusionOk="0">
                      <a:moveTo>
                        <a:pt x="484" y="1"/>
                      </a:moveTo>
                      <a:cubicBezTo>
                        <a:pt x="218" y="1"/>
                        <a:pt x="0" y="219"/>
                        <a:pt x="0" y="485"/>
                      </a:cubicBezTo>
                      <a:cubicBezTo>
                        <a:pt x="0" y="751"/>
                        <a:pt x="218" y="969"/>
                        <a:pt x="484" y="969"/>
                      </a:cubicBezTo>
                      <a:cubicBezTo>
                        <a:pt x="750" y="969"/>
                        <a:pt x="968" y="751"/>
                        <a:pt x="968" y="485"/>
                      </a:cubicBezTo>
                      <a:cubicBezTo>
                        <a:pt x="968" y="219"/>
                        <a:pt x="750" y="1"/>
                        <a:pt x="48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5" name="Google Shape;11679;p65">
                <a:extLst>
                  <a:ext uri="{FF2B5EF4-FFF2-40B4-BE49-F238E27FC236}">
                    <a16:creationId xmlns:a16="http://schemas.microsoft.com/office/drawing/2014/main" id="{D19947A1-D67C-88F7-6AAC-262A5071A4DC}"/>
                  </a:ext>
                </a:extLst>
              </p:cNvPr>
              <p:cNvGrpSpPr/>
              <p:nvPr/>
            </p:nvGrpSpPr>
            <p:grpSpPr>
              <a:xfrm>
                <a:off x="4762214" y="3471377"/>
                <a:ext cx="26938" cy="26938"/>
                <a:chOff x="4762214" y="3471377"/>
                <a:chExt cx="26938" cy="26938"/>
              </a:xfrm>
            </p:grpSpPr>
            <p:sp>
              <p:nvSpPr>
                <p:cNvPr id="2317" name="Google Shape;11680;p65">
                  <a:extLst>
                    <a:ext uri="{FF2B5EF4-FFF2-40B4-BE49-F238E27FC236}">
                      <a16:creationId xmlns:a16="http://schemas.microsoft.com/office/drawing/2014/main" id="{E7756E6F-0725-31F8-A55E-939D30D9078A}"/>
                    </a:ext>
                  </a:extLst>
                </p:cNvPr>
                <p:cNvSpPr/>
                <p:nvPr/>
              </p:nvSpPr>
              <p:spPr>
                <a:xfrm>
                  <a:off x="4762214" y="3471377"/>
                  <a:ext cx="26938" cy="269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5" h="3425" extrusionOk="0">
                      <a:moveTo>
                        <a:pt x="1707" y="1"/>
                      </a:moveTo>
                      <a:cubicBezTo>
                        <a:pt x="763" y="1"/>
                        <a:pt x="1" y="763"/>
                        <a:pt x="1" y="1707"/>
                      </a:cubicBezTo>
                      <a:cubicBezTo>
                        <a:pt x="1" y="2650"/>
                        <a:pt x="763" y="3424"/>
                        <a:pt x="1707" y="3424"/>
                      </a:cubicBezTo>
                      <a:cubicBezTo>
                        <a:pt x="2662" y="3424"/>
                        <a:pt x="3424" y="2650"/>
                        <a:pt x="3424" y="1707"/>
                      </a:cubicBezTo>
                      <a:cubicBezTo>
                        <a:pt x="3424" y="763"/>
                        <a:pt x="2662" y="1"/>
                        <a:pt x="1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18" name="Google Shape;11681;p65">
                  <a:extLst>
                    <a:ext uri="{FF2B5EF4-FFF2-40B4-BE49-F238E27FC236}">
                      <a16:creationId xmlns:a16="http://schemas.microsoft.com/office/drawing/2014/main" id="{B758C787-C6EB-5166-B129-041C33A72BAB}"/>
                    </a:ext>
                  </a:extLst>
                </p:cNvPr>
                <p:cNvSpPr/>
                <p:nvPr/>
              </p:nvSpPr>
              <p:spPr>
                <a:xfrm>
                  <a:off x="4770591" y="3480988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2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8"/>
                        <a:pt x="920" y="1"/>
                        <a:pt x="64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6" name="Google Shape;11682;p65">
                <a:extLst>
                  <a:ext uri="{FF2B5EF4-FFF2-40B4-BE49-F238E27FC236}">
                    <a16:creationId xmlns:a16="http://schemas.microsoft.com/office/drawing/2014/main" id="{3F371DB5-E37B-06FA-8062-88C9F034370F}"/>
                  </a:ext>
                </a:extLst>
              </p:cNvPr>
              <p:cNvGrpSpPr/>
              <p:nvPr/>
            </p:nvGrpSpPr>
            <p:grpSpPr>
              <a:xfrm>
                <a:off x="4790473" y="3344782"/>
                <a:ext cx="31405" cy="26898"/>
                <a:chOff x="4790473" y="3344782"/>
                <a:chExt cx="31405" cy="26898"/>
              </a:xfrm>
            </p:grpSpPr>
            <p:sp>
              <p:nvSpPr>
                <p:cNvPr id="2315" name="Google Shape;11683;p65">
                  <a:extLst>
                    <a:ext uri="{FF2B5EF4-FFF2-40B4-BE49-F238E27FC236}">
                      <a16:creationId xmlns:a16="http://schemas.microsoft.com/office/drawing/2014/main" id="{05DC84DA-1005-1A28-2A62-D04DD38F6A07}"/>
                    </a:ext>
                  </a:extLst>
                </p:cNvPr>
                <p:cNvSpPr/>
                <p:nvPr/>
              </p:nvSpPr>
              <p:spPr>
                <a:xfrm>
                  <a:off x="4790473" y="3344782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3" y="2657"/>
                        <a:pt x="3993" y="1714"/>
                      </a:cubicBezTo>
                      <a:cubicBezTo>
                        <a:pt x="3993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16" name="Google Shape;11684;p65">
                  <a:extLst>
                    <a:ext uri="{FF2B5EF4-FFF2-40B4-BE49-F238E27FC236}">
                      <a16:creationId xmlns:a16="http://schemas.microsoft.com/office/drawing/2014/main" id="{692009C1-8367-690A-9B19-1CA5AC40B114}"/>
                    </a:ext>
                  </a:extLst>
                </p:cNvPr>
                <p:cNvSpPr/>
                <p:nvPr/>
              </p:nvSpPr>
              <p:spPr>
                <a:xfrm>
                  <a:off x="4804654" y="3354456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18" y="0"/>
                        <a:pt x="0" y="218"/>
                        <a:pt x="0" y="484"/>
                      </a:cubicBezTo>
                      <a:cubicBezTo>
                        <a:pt x="0" y="750"/>
                        <a:pt x="218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7" name="Google Shape;11685;p65">
                <a:extLst>
                  <a:ext uri="{FF2B5EF4-FFF2-40B4-BE49-F238E27FC236}">
                    <a16:creationId xmlns:a16="http://schemas.microsoft.com/office/drawing/2014/main" id="{D7017ED4-7C5A-1321-73B2-3C0BB79393E7}"/>
                  </a:ext>
                </a:extLst>
              </p:cNvPr>
              <p:cNvGrpSpPr/>
              <p:nvPr/>
            </p:nvGrpSpPr>
            <p:grpSpPr>
              <a:xfrm>
                <a:off x="4823774" y="3950733"/>
                <a:ext cx="37398" cy="32034"/>
                <a:chOff x="4823774" y="3950733"/>
                <a:chExt cx="37398" cy="32034"/>
              </a:xfrm>
            </p:grpSpPr>
            <p:sp>
              <p:nvSpPr>
                <p:cNvPr id="2313" name="Google Shape;11686;p65">
                  <a:extLst>
                    <a:ext uri="{FF2B5EF4-FFF2-40B4-BE49-F238E27FC236}">
                      <a16:creationId xmlns:a16="http://schemas.microsoft.com/office/drawing/2014/main" id="{EB2A6666-1C6E-79EA-9C10-4E49AC3423FB}"/>
                    </a:ext>
                  </a:extLst>
                </p:cNvPr>
                <p:cNvSpPr/>
                <p:nvPr/>
              </p:nvSpPr>
              <p:spPr>
                <a:xfrm>
                  <a:off x="4823774" y="3950733"/>
                  <a:ext cx="37398" cy="32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55" h="4073" extrusionOk="0">
                      <a:moveTo>
                        <a:pt x="2707" y="1"/>
                      </a:moveTo>
                      <a:cubicBezTo>
                        <a:pt x="2207" y="1"/>
                        <a:pt x="1698" y="186"/>
                        <a:pt x="1283" y="601"/>
                      </a:cubicBezTo>
                      <a:cubicBezTo>
                        <a:pt x="1" y="1883"/>
                        <a:pt x="908" y="4073"/>
                        <a:pt x="2722" y="4073"/>
                      </a:cubicBezTo>
                      <a:cubicBezTo>
                        <a:pt x="3835" y="4073"/>
                        <a:pt x="4755" y="3166"/>
                        <a:pt x="4755" y="2041"/>
                      </a:cubicBezTo>
                      <a:cubicBezTo>
                        <a:pt x="4755" y="813"/>
                        <a:pt x="3752" y="1"/>
                        <a:pt x="270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14" name="Google Shape;11687;p65">
                  <a:extLst>
                    <a:ext uri="{FF2B5EF4-FFF2-40B4-BE49-F238E27FC236}">
                      <a16:creationId xmlns:a16="http://schemas.microsoft.com/office/drawing/2014/main" id="{964764A1-C373-7A6A-6817-A7A291EB4F28}"/>
                    </a:ext>
                  </a:extLst>
                </p:cNvPr>
                <p:cNvSpPr/>
                <p:nvPr/>
              </p:nvSpPr>
              <p:spPr>
                <a:xfrm>
                  <a:off x="4836617" y="3960407"/>
                  <a:ext cx="14849" cy="12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88" h="1617" extrusionOk="0">
                      <a:moveTo>
                        <a:pt x="1089" y="0"/>
                      </a:moveTo>
                      <a:cubicBezTo>
                        <a:pt x="363" y="0"/>
                        <a:pt x="1" y="871"/>
                        <a:pt x="509" y="1379"/>
                      </a:cubicBezTo>
                      <a:cubicBezTo>
                        <a:pt x="673" y="1543"/>
                        <a:pt x="874" y="1616"/>
                        <a:pt x="1073" y="1616"/>
                      </a:cubicBezTo>
                      <a:cubicBezTo>
                        <a:pt x="1488" y="1616"/>
                        <a:pt x="1888" y="1294"/>
                        <a:pt x="1888" y="811"/>
                      </a:cubicBezTo>
                      <a:cubicBezTo>
                        <a:pt x="1888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8" name="Google Shape;11688;p65">
                <a:extLst>
                  <a:ext uri="{FF2B5EF4-FFF2-40B4-BE49-F238E27FC236}">
                    <a16:creationId xmlns:a16="http://schemas.microsoft.com/office/drawing/2014/main" id="{CCF42F58-2173-F2DD-57CF-3787CEA2B562}"/>
                  </a:ext>
                </a:extLst>
              </p:cNvPr>
              <p:cNvGrpSpPr/>
              <p:nvPr/>
            </p:nvGrpSpPr>
            <p:grpSpPr>
              <a:xfrm>
                <a:off x="4823396" y="4110566"/>
                <a:ext cx="31405" cy="26906"/>
                <a:chOff x="4823396" y="4110566"/>
                <a:chExt cx="31405" cy="26906"/>
              </a:xfrm>
            </p:grpSpPr>
            <p:sp>
              <p:nvSpPr>
                <p:cNvPr id="2311" name="Google Shape;11689;p65">
                  <a:extLst>
                    <a:ext uri="{FF2B5EF4-FFF2-40B4-BE49-F238E27FC236}">
                      <a16:creationId xmlns:a16="http://schemas.microsoft.com/office/drawing/2014/main" id="{FA63FB62-4AA1-5242-98CB-ED02C802193F}"/>
                    </a:ext>
                  </a:extLst>
                </p:cNvPr>
                <p:cNvSpPr/>
                <p:nvPr/>
              </p:nvSpPr>
              <p:spPr>
                <a:xfrm>
                  <a:off x="4823396" y="4110566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2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5"/>
                      </a:cubicBezTo>
                      <a:cubicBezTo>
                        <a:pt x="3992" y="683"/>
                        <a:pt x="3150" y="1"/>
                        <a:pt x="227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12" name="Google Shape;11690;p65">
                  <a:extLst>
                    <a:ext uri="{FF2B5EF4-FFF2-40B4-BE49-F238E27FC236}">
                      <a16:creationId xmlns:a16="http://schemas.microsoft.com/office/drawing/2014/main" id="{EA34ACB7-B823-54D8-E6E6-9CEB67B405DF}"/>
                    </a:ext>
                  </a:extLst>
                </p:cNvPr>
                <p:cNvSpPr/>
                <p:nvPr/>
              </p:nvSpPr>
              <p:spPr>
                <a:xfrm>
                  <a:off x="4836240" y="4120145"/>
                  <a:ext cx="8950" cy="7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77" extrusionOk="0">
                      <a:moveTo>
                        <a:pt x="653" y="1"/>
                      </a:moveTo>
                      <a:cubicBezTo>
                        <a:pt x="218" y="1"/>
                        <a:pt x="0" y="533"/>
                        <a:pt x="303" y="835"/>
                      </a:cubicBezTo>
                      <a:cubicBezTo>
                        <a:pt x="404" y="933"/>
                        <a:pt x="527" y="976"/>
                        <a:pt x="646" y="976"/>
                      </a:cubicBezTo>
                      <a:cubicBezTo>
                        <a:pt x="898" y="976"/>
                        <a:pt x="1137" y="784"/>
                        <a:pt x="1137" y="497"/>
                      </a:cubicBezTo>
                      <a:cubicBezTo>
                        <a:pt x="1137" y="218"/>
                        <a:pt x="920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79" name="Google Shape;11691;p65">
                <a:extLst>
                  <a:ext uri="{FF2B5EF4-FFF2-40B4-BE49-F238E27FC236}">
                    <a16:creationId xmlns:a16="http://schemas.microsoft.com/office/drawing/2014/main" id="{A5C60922-1AE9-4355-B107-217FDA158300}"/>
                  </a:ext>
                </a:extLst>
              </p:cNvPr>
              <p:cNvGrpSpPr/>
              <p:nvPr/>
            </p:nvGrpSpPr>
            <p:grpSpPr>
              <a:xfrm>
                <a:off x="4838332" y="3821150"/>
                <a:ext cx="31499" cy="26898"/>
                <a:chOff x="4838332" y="3821150"/>
                <a:chExt cx="31499" cy="26898"/>
              </a:xfrm>
            </p:grpSpPr>
            <p:sp>
              <p:nvSpPr>
                <p:cNvPr id="2309" name="Google Shape;11692;p65">
                  <a:extLst>
                    <a:ext uri="{FF2B5EF4-FFF2-40B4-BE49-F238E27FC236}">
                      <a16:creationId xmlns:a16="http://schemas.microsoft.com/office/drawing/2014/main" id="{FF35F1B9-A173-7A14-D464-FAFC9ED3F70A}"/>
                    </a:ext>
                  </a:extLst>
                </p:cNvPr>
                <p:cNvSpPr/>
                <p:nvPr/>
              </p:nvSpPr>
              <p:spPr>
                <a:xfrm>
                  <a:off x="4838332" y="3821150"/>
                  <a:ext cx="31499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0" extrusionOk="0">
                      <a:moveTo>
                        <a:pt x="2285" y="1"/>
                      </a:moveTo>
                      <a:cubicBezTo>
                        <a:pt x="1865" y="1"/>
                        <a:pt x="1437" y="156"/>
                        <a:pt x="1089" y="505"/>
                      </a:cubicBezTo>
                      <a:cubicBezTo>
                        <a:pt x="0" y="1581"/>
                        <a:pt x="775" y="3420"/>
                        <a:pt x="2299" y="3420"/>
                      </a:cubicBezTo>
                      <a:cubicBezTo>
                        <a:pt x="3242" y="3420"/>
                        <a:pt x="4004" y="2658"/>
                        <a:pt x="4004" y="1714"/>
                      </a:cubicBezTo>
                      <a:cubicBezTo>
                        <a:pt x="4004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10" name="Google Shape;11693;p65">
                  <a:extLst>
                    <a:ext uri="{FF2B5EF4-FFF2-40B4-BE49-F238E27FC236}">
                      <a16:creationId xmlns:a16="http://schemas.microsoft.com/office/drawing/2014/main" id="{66EE03FD-97F6-F231-D959-9B62D3567798}"/>
                    </a:ext>
                  </a:extLst>
                </p:cNvPr>
                <p:cNvSpPr/>
                <p:nvPr/>
              </p:nvSpPr>
              <p:spPr>
                <a:xfrm>
                  <a:off x="4851270" y="3830824"/>
                  <a:ext cx="8950" cy="75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4" extrusionOk="0">
                      <a:moveTo>
                        <a:pt x="654" y="0"/>
                      </a:moveTo>
                      <a:cubicBezTo>
                        <a:pt x="218" y="0"/>
                        <a:pt x="0" y="521"/>
                        <a:pt x="303" y="823"/>
                      </a:cubicBezTo>
                      <a:cubicBezTo>
                        <a:pt x="404" y="920"/>
                        <a:pt x="526" y="964"/>
                        <a:pt x="644" y="964"/>
                      </a:cubicBezTo>
                      <a:cubicBezTo>
                        <a:pt x="893" y="964"/>
                        <a:pt x="1129" y="771"/>
                        <a:pt x="1138" y="484"/>
                      </a:cubicBezTo>
                      <a:cubicBezTo>
                        <a:pt x="1125" y="218"/>
                        <a:pt x="920" y="0"/>
                        <a:pt x="65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80" name="Google Shape;11694;p65">
                <a:extLst>
                  <a:ext uri="{FF2B5EF4-FFF2-40B4-BE49-F238E27FC236}">
                    <a16:creationId xmlns:a16="http://schemas.microsoft.com/office/drawing/2014/main" id="{DDF009DC-8ABD-2AFF-7F8A-DA0D2E39D4D7}"/>
                  </a:ext>
                </a:extLst>
              </p:cNvPr>
              <p:cNvGrpSpPr/>
              <p:nvPr/>
            </p:nvGrpSpPr>
            <p:grpSpPr>
              <a:xfrm>
                <a:off x="4661275" y="3815007"/>
                <a:ext cx="36824" cy="31523"/>
                <a:chOff x="4661275" y="3815007"/>
                <a:chExt cx="36824" cy="31523"/>
              </a:xfrm>
            </p:grpSpPr>
            <p:sp>
              <p:nvSpPr>
                <p:cNvPr id="2307" name="Google Shape;11695;p65">
                  <a:extLst>
                    <a:ext uri="{FF2B5EF4-FFF2-40B4-BE49-F238E27FC236}">
                      <a16:creationId xmlns:a16="http://schemas.microsoft.com/office/drawing/2014/main" id="{83F7EF39-AD31-1754-1A64-CC7DBC8CEF24}"/>
                    </a:ext>
                  </a:extLst>
                </p:cNvPr>
                <p:cNvSpPr/>
                <p:nvPr/>
              </p:nvSpPr>
              <p:spPr>
                <a:xfrm>
                  <a:off x="4661275" y="3815007"/>
                  <a:ext cx="36824" cy="315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2" h="4008" extrusionOk="0">
                      <a:moveTo>
                        <a:pt x="2663" y="0"/>
                      </a:moveTo>
                      <a:cubicBezTo>
                        <a:pt x="2169" y="0"/>
                        <a:pt x="1666" y="184"/>
                        <a:pt x="1258" y="596"/>
                      </a:cubicBezTo>
                      <a:cubicBezTo>
                        <a:pt x="0" y="1854"/>
                        <a:pt x="895" y="4007"/>
                        <a:pt x="2674" y="4007"/>
                      </a:cubicBezTo>
                      <a:cubicBezTo>
                        <a:pt x="3774" y="4007"/>
                        <a:pt x="4682" y="3112"/>
                        <a:pt x="4682" y="2011"/>
                      </a:cubicBezTo>
                      <a:cubicBezTo>
                        <a:pt x="4682" y="801"/>
                        <a:pt x="3692" y="0"/>
                        <a:pt x="266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08" name="Google Shape;11696;p65">
                  <a:extLst>
                    <a:ext uri="{FF2B5EF4-FFF2-40B4-BE49-F238E27FC236}">
                      <a16:creationId xmlns:a16="http://schemas.microsoft.com/office/drawing/2014/main" id="{9B5FBB5F-8FE1-4BB6-497C-64E7A0B5BEFF}"/>
                    </a:ext>
                  </a:extLst>
                </p:cNvPr>
                <p:cNvSpPr/>
                <p:nvPr/>
              </p:nvSpPr>
              <p:spPr>
                <a:xfrm>
                  <a:off x="4676211" y="3824736"/>
                  <a:ext cx="12183" cy="121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49" h="1549" extrusionOk="0">
                      <a:moveTo>
                        <a:pt x="775" y="0"/>
                      </a:moveTo>
                      <a:cubicBezTo>
                        <a:pt x="351" y="0"/>
                        <a:pt x="0" y="339"/>
                        <a:pt x="0" y="774"/>
                      </a:cubicBezTo>
                      <a:cubicBezTo>
                        <a:pt x="0" y="1198"/>
                        <a:pt x="351" y="1549"/>
                        <a:pt x="775" y="1549"/>
                      </a:cubicBezTo>
                      <a:cubicBezTo>
                        <a:pt x="1210" y="1549"/>
                        <a:pt x="1549" y="1198"/>
                        <a:pt x="1549" y="774"/>
                      </a:cubicBezTo>
                      <a:cubicBezTo>
                        <a:pt x="1549" y="339"/>
                        <a:pt x="1210" y="0"/>
                        <a:pt x="77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81" name="Google Shape;11697;p65">
                <a:extLst>
                  <a:ext uri="{FF2B5EF4-FFF2-40B4-BE49-F238E27FC236}">
                    <a16:creationId xmlns:a16="http://schemas.microsoft.com/office/drawing/2014/main" id="{70C73731-5B27-54A6-5D10-5417C882F5FD}"/>
                  </a:ext>
                </a:extLst>
              </p:cNvPr>
              <p:cNvGrpSpPr/>
              <p:nvPr/>
            </p:nvGrpSpPr>
            <p:grpSpPr>
              <a:xfrm>
                <a:off x="4558998" y="3851037"/>
                <a:ext cx="33591" cy="28699"/>
                <a:chOff x="4558998" y="3851037"/>
                <a:chExt cx="33591" cy="28699"/>
              </a:xfrm>
            </p:grpSpPr>
            <p:sp>
              <p:nvSpPr>
                <p:cNvPr id="2305" name="Google Shape;11698;p65">
                  <a:extLst>
                    <a:ext uri="{FF2B5EF4-FFF2-40B4-BE49-F238E27FC236}">
                      <a16:creationId xmlns:a16="http://schemas.microsoft.com/office/drawing/2014/main" id="{0F2099B8-FE08-C9AF-DEA0-CFB332321890}"/>
                    </a:ext>
                  </a:extLst>
                </p:cNvPr>
                <p:cNvSpPr/>
                <p:nvPr/>
              </p:nvSpPr>
              <p:spPr>
                <a:xfrm>
                  <a:off x="4558998" y="3851037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30" y="0"/>
                      </a:moveTo>
                      <a:cubicBezTo>
                        <a:pt x="1980" y="0"/>
                        <a:pt x="1522" y="167"/>
                        <a:pt x="1149" y="539"/>
                      </a:cubicBezTo>
                      <a:cubicBezTo>
                        <a:pt x="0" y="1688"/>
                        <a:pt x="823" y="3648"/>
                        <a:pt x="2444" y="3648"/>
                      </a:cubicBezTo>
                      <a:cubicBezTo>
                        <a:pt x="3448" y="3648"/>
                        <a:pt x="4270" y="2838"/>
                        <a:pt x="4270" y="1822"/>
                      </a:cubicBezTo>
                      <a:cubicBezTo>
                        <a:pt x="4270" y="726"/>
                        <a:pt x="3369" y="0"/>
                        <a:pt x="24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06" name="Google Shape;11699;p65">
                  <a:extLst>
                    <a:ext uri="{FF2B5EF4-FFF2-40B4-BE49-F238E27FC236}">
                      <a16:creationId xmlns:a16="http://schemas.microsoft.com/office/drawing/2014/main" id="{F3838007-0DAF-9F10-E697-CBB6E6FB5062}"/>
                    </a:ext>
                  </a:extLst>
                </p:cNvPr>
                <p:cNvSpPr/>
                <p:nvPr/>
              </p:nvSpPr>
              <p:spPr>
                <a:xfrm>
                  <a:off x="4573557" y="386069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5" y="932"/>
                        <a:pt x="1185" y="594"/>
                      </a:cubicBezTo>
                      <a:cubicBezTo>
                        <a:pt x="1185" y="267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82" name="Google Shape;11700;p65">
                <a:extLst>
                  <a:ext uri="{FF2B5EF4-FFF2-40B4-BE49-F238E27FC236}">
                    <a16:creationId xmlns:a16="http://schemas.microsoft.com/office/drawing/2014/main" id="{EA2C0A53-E9DD-BA70-6B98-F9E7243536D7}"/>
                  </a:ext>
                </a:extLst>
              </p:cNvPr>
              <p:cNvGrpSpPr/>
              <p:nvPr/>
            </p:nvGrpSpPr>
            <p:grpSpPr>
              <a:xfrm>
                <a:off x="4696762" y="3638587"/>
                <a:ext cx="33591" cy="28794"/>
                <a:chOff x="4696762" y="3638587"/>
                <a:chExt cx="33591" cy="28794"/>
              </a:xfrm>
            </p:grpSpPr>
            <p:sp>
              <p:nvSpPr>
                <p:cNvPr id="2303" name="Google Shape;11701;p65">
                  <a:extLst>
                    <a:ext uri="{FF2B5EF4-FFF2-40B4-BE49-F238E27FC236}">
                      <a16:creationId xmlns:a16="http://schemas.microsoft.com/office/drawing/2014/main" id="{3FC24B85-8B33-B002-176C-89DE31A64EA8}"/>
                    </a:ext>
                  </a:extLst>
                </p:cNvPr>
                <p:cNvSpPr/>
                <p:nvPr/>
              </p:nvSpPr>
              <p:spPr>
                <a:xfrm>
                  <a:off x="4696762" y="3638587"/>
                  <a:ext cx="33591" cy="287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61" extrusionOk="0">
                      <a:moveTo>
                        <a:pt x="2426" y="1"/>
                      </a:moveTo>
                      <a:cubicBezTo>
                        <a:pt x="1978" y="1"/>
                        <a:pt x="1521" y="167"/>
                        <a:pt x="1150" y="539"/>
                      </a:cubicBezTo>
                      <a:cubicBezTo>
                        <a:pt x="0" y="1688"/>
                        <a:pt x="823" y="3660"/>
                        <a:pt x="2444" y="3660"/>
                      </a:cubicBezTo>
                      <a:cubicBezTo>
                        <a:pt x="3448" y="3648"/>
                        <a:pt x="4258" y="2838"/>
                        <a:pt x="4270" y="1834"/>
                      </a:cubicBezTo>
                      <a:cubicBezTo>
                        <a:pt x="4262" y="729"/>
                        <a:pt x="3363" y="1"/>
                        <a:pt x="242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04" name="Google Shape;11702;p65">
                  <a:extLst>
                    <a:ext uri="{FF2B5EF4-FFF2-40B4-BE49-F238E27FC236}">
                      <a16:creationId xmlns:a16="http://schemas.microsoft.com/office/drawing/2014/main" id="{2AF4FA8F-D7D4-2796-CDD2-04E10FA93FA9}"/>
                    </a:ext>
                  </a:extLst>
                </p:cNvPr>
                <p:cNvSpPr/>
                <p:nvPr/>
              </p:nvSpPr>
              <p:spPr>
                <a:xfrm>
                  <a:off x="4711320" y="3648245"/>
                  <a:ext cx="9328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99" extrusionOk="0">
                      <a:moveTo>
                        <a:pt x="593" y="1"/>
                      </a:moveTo>
                      <a:cubicBezTo>
                        <a:pt x="266" y="1"/>
                        <a:pt x="0" y="279"/>
                        <a:pt x="0" y="606"/>
                      </a:cubicBezTo>
                      <a:cubicBezTo>
                        <a:pt x="0" y="932"/>
                        <a:pt x="266" y="1198"/>
                        <a:pt x="593" y="1198"/>
                      </a:cubicBezTo>
                      <a:cubicBezTo>
                        <a:pt x="919" y="1198"/>
                        <a:pt x="1186" y="932"/>
                        <a:pt x="1186" y="606"/>
                      </a:cubicBezTo>
                      <a:cubicBezTo>
                        <a:pt x="1186" y="279"/>
                        <a:pt x="919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83" name="Google Shape;11703;p65">
                <a:extLst>
                  <a:ext uri="{FF2B5EF4-FFF2-40B4-BE49-F238E27FC236}">
                    <a16:creationId xmlns:a16="http://schemas.microsoft.com/office/drawing/2014/main" id="{544156E7-D5D1-D6CC-BBCB-01938810BF04}"/>
                  </a:ext>
                </a:extLst>
              </p:cNvPr>
              <p:cNvGrpSpPr/>
              <p:nvPr/>
            </p:nvGrpSpPr>
            <p:grpSpPr>
              <a:xfrm>
                <a:off x="4929479" y="3939140"/>
                <a:ext cx="33497" cy="28692"/>
                <a:chOff x="4929479" y="3939140"/>
                <a:chExt cx="33497" cy="28692"/>
              </a:xfrm>
            </p:grpSpPr>
            <p:sp>
              <p:nvSpPr>
                <p:cNvPr id="2301" name="Google Shape;11704;p65">
                  <a:extLst>
                    <a:ext uri="{FF2B5EF4-FFF2-40B4-BE49-F238E27FC236}">
                      <a16:creationId xmlns:a16="http://schemas.microsoft.com/office/drawing/2014/main" id="{3DB211BC-9117-363A-CC00-009C408239D2}"/>
                    </a:ext>
                  </a:extLst>
                </p:cNvPr>
                <p:cNvSpPr/>
                <p:nvPr/>
              </p:nvSpPr>
              <p:spPr>
                <a:xfrm>
                  <a:off x="4929479" y="3939140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8" y="0"/>
                        <a:pt x="1521" y="167"/>
                        <a:pt x="1149" y="539"/>
                      </a:cubicBezTo>
                      <a:cubicBezTo>
                        <a:pt x="0" y="1688"/>
                        <a:pt x="811" y="3648"/>
                        <a:pt x="2431" y="3648"/>
                      </a:cubicBezTo>
                      <a:cubicBezTo>
                        <a:pt x="3448" y="3648"/>
                        <a:pt x="4258" y="2837"/>
                        <a:pt x="4258" y="1833"/>
                      </a:cubicBezTo>
                      <a:cubicBezTo>
                        <a:pt x="4258" y="729"/>
                        <a:pt x="3361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02" name="Google Shape;11705;p65">
                  <a:extLst>
                    <a:ext uri="{FF2B5EF4-FFF2-40B4-BE49-F238E27FC236}">
                      <a16:creationId xmlns:a16="http://schemas.microsoft.com/office/drawing/2014/main" id="{FEFE9AED-586D-3222-E4FF-451E852CD435}"/>
                    </a:ext>
                  </a:extLst>
                </p:cNvPr>
                <p:cNvSpPr/>
                <p:nvPr/>
              </p:nvSpPr>
              <p:spPr>
                <a:xfrm>
                  <a:off x="4943935" y="3948893"/>
                  <a:ext cx="9430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9" h="1186" extrusionOk="0">
                      <a:moveTo>
                        <a:pt x="593" y="0"/>
                      </a:moveTo>
                      <a:cubicBezTo>
                        <a:pt x="267" y="0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0"/>
                        <a:pt x="59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84" name="Google Shape;11706;p65">
                <a:extLst>
                  <a:ext uri="{FF2B5EF4-FFF2-40B4-BE49-F238E27FC236}">
                    <a16:creationId xmlns:a16="http://schemas.microsoft.com/office/drawing/2014/main" id="{A60E5A6B-759A-AA01-DC9A-B6AD4410A6A0}"/>
                  </a:ext>
                </a:extLst>
              </p:cNvPr>
              <p:cNvGrpSpPr/>
              <p:nvPr/>
            </p:nvGrpSpPr>
            <p:grpSpPr>
              <a:xfrm>
                <a:off x="4907119" y="3986039"/>
                <a:ext cx="33497" cy="28699"/>
                <a:chOff x="4907119" y="3986039"/>
                <a:chExt cx="33497" cy="28699"/>
              </a:xfrm>
            </p:grpSpPr>
            <p:sp>
              <p:nvSpPr>
                <p:cNvPr id="2299" name="Google Shape;11707;p65">
                  <a:extLst>
                    <a:ext uri="{FF2B5EF4-FFF2-40B4-BE49-F238E27FC236}">
                      <a16:creationId xmlns:a16="http://schemas.microsoft.com/office/drawing/2014/main" id="{EDD95963-D528-405B-EA93-72B520B5ED24}"/>
                    </a:ext>
                  </a:extLst>
                </p:cNvPr>
                <p:cNvSpPr/>
                <p:nvPr/>
              </p:nvSpPr>
              <p:spPr>
                <a:xfrm>
                  <a:off x="4907119" y="3986039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7"/>
                        <a:pt x="1149" y="540"/>
                      </a:cubicBezTo>
                      <a:cubicBezTo>
                        <a:pt x="0" y="1689"/>
                        <a:pt x="811" y="3648"/>
                        <a:pt x="2444" y="3648"/>
                      </a:cubicBezTo>
                      <a:cubicBezTo>
                        <a:pt x="3448" y="3648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300" name="Google Shape;11708;p65">
                  <a:extLst>
                    <a:ext uri="{FF2B5EF4-FFF2-40B4-BE49-F238E27FC236}">
                      <a16:creationId xmlns:a16="http://schemas.microsoft.com/office/drawing/2014/main" id="{9D137915-053E-C3EF-46D1-4C273C371C3F}"/>
                    </a:ext>
                  </a:extLst>
                </p:cNvPr>
                <p:cNvSpPr/>
                <p:nvPr/>
              </p:nvSpPr>
              <p:spPr>
                <a:xfrm>
                  <a:off x="4921583" y="3995705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605" y="0"/>
                      </a:moveTo>
                      <a:cubicBezTo>
                        <a:pt x="266" y="0"/>
                        <a:pt x="0" y="266"/>
                        <a:pt x="0" y="593"/>
                      </a:cubicBezTo>
                      <a:cubicBezTo>
                        <a:pt x="0" y="919"/>
                        <a:pt x="266" y="1186"/>
                        <a:pt x="605" y="1186"/>
                      </a:cubicBezTo>
                      <a:cubicBezTo>
                        <a:pt x="931" y="1186"/>
                        <a:pt x="1198" y="919"/>
                        <a:pt x="1198" y="593"/>
                      </a:cubicBezTo>
                      <a:cubicBezTo>
                        <a:pt x="1198" y="266"/>
                        <a:pt x="931" y="0"/>
                        <a:pt x="60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85" name="Google Shape;11709;p65">
                <a:extLst>
                  <a:ext uri="{FF2B5EF4-FFF2-40B4-BE49-F238E27FC236}">
                    <a16:creationId xmlns:a16="http://schemas.microsoft.com/office/drawing/2014/main" id="{9109A027-48DD-66DE-2100-439E8E456A06}"/>
                  </a:ext>
                </a:extLst>
              </p:cNvPr>
              <p:cNvGrpSpPr/>
              <p:nvPr/>
            </p:nvGrpSpPr>
            <p:grpSpPr>
              <a:xfrm>
                <a:off x="4911783" y="4048102"/>
                <a:ext cx="33591" cy="28762"/>
                <a:chOff x="4911783" y="4048102"/>
                <a:chExt cx="33591" cy="28762"/>
              </a:xfrm>
            </p:grpSpPr>
            <p:sp>
              <p:nvSpPr>
                <p:cNvPr id="2297" name="Google Shape;11710;p65">
                  <a:extLst>
                    <a:ext uri="{FF2B5EF4-FFF2-40B4-BE49-F238E27FC236}">
                      <a16:creationId xmlns:a16="http://schemas.microsoft.com/office/drawing/2014/main" id="{E1ABDC63-96C9-0F9A-2648-E08BCBB4D420}"/>
                    </a:ext>
                  </a:extLst>
                </p:cNvPr>
                <p:cNvSpPr/>
                <p:nvPr/>
              </p:nvSpPr>
              <p:spPr>
                <a:xfrm>
                  <a:off x="4911783" y="4048102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2" y="0"/>
                      </a:moveTo>
                      <a:cubicBezTo>
                        <a:pt x="1974" y="0"/>
                        <a:pt x="1519" y="166"/>
                        <a:pt x="1149" y="536"/>
                      </a:cubicBezTo>
                      <a:cubicBezTo>
                        <a:pt x="0" y="1685"/>
                        <a:pt x="823" y="3657"/>
                        <a:pt x="2456" y="3657"/>
                      </a:cubicBezTo>
                      <a:cubicBezTo>
                        <a:pt x="3448" y="3645"/>
                        <a:pt x="4258" y="2834"/>
                        <a:pt x="4270" y="1842"/>
                      </a:cubicBezTo>
                      <a:cubicBezTo>
                        <a:pt x="4270" y="735"/>
                        <a:pt x="3364" y="0"/>
                        <a:pt x="242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298" name="Google Shape;11711;p65">
                  <a:extLst>
                    <a:ext uri="{FF2B5EF4-FFF2-40B4-BE49-F238E27FC236}">
                      <a16:creationId xmlns:a16="http://schemas.microsoft.com/office/drawing/2014/main" id="{73DE07EE-AF21-EABE-DB16-5057600C9920}"/>
                    </a:ext>
                  </a:extLst>
                </p:cNvPr>
                <p:cNvSpPr/>
                <p:nvPr/>
              </p:nvSpPr>
              <p:spPr>
                <a:xfrm>
                  <a:off x="4926333" y="4057831"/>
                  <a:ext cx="9336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6" extrusionOk="0">
                      <a:moveTo>
                        <a:pt x="594" y="0"/>
                      </a:moveTo>
                      <a:cubicBezTo>
                        <a:pt x="267" y="0"/>
                        <a:pt x="1" y="266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6"/>
                        <a:pt x="920" y="0"/>
                        <a:pt x="59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2286" name="Google Shape;11712;p65">
                <a:extLst>
                  <a:ext uri="{FF2B5EF4-FFF2-40B4-BE49-F238E27FC236}">
                    <a16:creationId xmlns:a16="http://schemas.microsoft.com/office/drawing/2014/main" id="{7C6F4E02-887E-6336-3865-6726F8BBA627}"/>
                  </a:ext>
                </a:extLst>
              </p:cNvPr>
              <p:cNvSpPr/>
              <p:nvPr/>
            </p:nvSpPr>
            <p:spPr>
              <a:xfrm>
                <a:off x="4713506" y="3934476"/>
                <a:ext cx="33497" cy="28692"/>
              </a:xfrm>
              <a:custGeom>
                <a:avLst/>
                <a:gdLst/>
                <a:ahLst/>
                <a:cxnLst/>
                <a:rect l="l" t="t" r="r" b="b"/>
                <a:pathLst>
                  <a:path w="4259" h="3648" extrusionOk="0">
                    <a:moveTo>
                      <a:pt x="2422" y="0"/>
                    </a:moveTo>
                    <a:cubicBezTo>
                      <a:pt x="1974" y="0"/>
                      <a:pt x="1518" y="167"/>
                      <a:pt x="1150" y="539"/>
                    </a:cubicBezTo>
                    <a:cubicBezTo>
                      <a:pt x="0" y="1688"/>
                      <a:pt x="811" y="3648"/>
                      <a:pt x="2432" y="3648"/>
                    </a:cubicBezTo>
                    <a:cubicBezTo>
                      <a:pt x="3436" y="3648"/>
                      <a:pt x="4258" y="2838"/>
                      <a:pt x="4258" y="1821"/>
                    </a:cubicBezTo>
                    <a:cubicBezTo>
                      <a:pt x="4258" y="726"/>
                      <a:pt x="3357" y="0"/>
                      <a:pt x="2422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2287" name="Google Shape;11713;p65">
                <a:extLst>
                  <a:ext uri="{FF2B5EF4-FFF2-40B4-BE49-F238E27FC236}">
                    <a16:creationId xmlns:a16="http://schemas.microsoft.com/office/drawing/2014/main" id="{5DC1A24A-B89F-4A33-BA72-CCF9FF171D3F}"/>
                  </a:ext>
                </a:extLst>
              </p:cNvPr>
              <p:cNvSpPr/>
              <p:nvPr/>
            </p:nvSpPr>
            <p:spPr>
              <a:xfrm>
                <a:off x="4727970" y="3944135"/>
                <a:ext cx="9328" cy="9430"/>
              </a:xfrm>
              <a:custGeom>
                <a:avLst/>
                <a:gdLst/>
                <a:ahLst/>
                <a:cxnLst/>
                <a:rect l="l" t="t" r="r" b="b"/>
                <a:pathLst>
                  <a:path w="1186" h="1199" extrusionOk="0">
                    <a:moveTo>
                      <a:pt x="593" y="1"/>
                    </a:moveTo>
                    <a:cubicBezTo>
                      <a:pt x="266" y="1"/>
                      <a:pt x="0" y="267"/>
                      <a:pt x="0" y="593"/>
                    </a:cubicBezTo>
                    <a:cubicBezTo>
                      <a:pt x="0" y="932"/>
                      <a:pt x="266" y="1198"/>
                      <a:pt x="593" y="1198"/>
                    </a:cubicBezTo>
                    <a:cubicBezTo>
                      <a:pt x="919" y="1198"/>
                      <a:pt x="1186" y="932"/>
                      <a:pt x="1186" y="593"/>
                    </a:cubicBezTo>
                    <a:cubicBezTo>
                      <a:pt x="1186" y="267"/>
                      <a:pt x="919" y="1"/>
                      <a:pt x="593" y="1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2288" name="Google Shape;11714;p65">
                <a:extLst>
                  <a:ext uri="{FF2B5EF4-FFF2-40B4-BE49-F238E27FC236}">
                    <a16:creationId xmlns:a16="http://schemas.microsoft.com/office/drawing/2014/main" id="{8C7EBF49-2EBF-532A-AD4A-792991AE2051}"/>
                  </a:ext>
                </a:extLst>
              </p:cNvPr>
              <p:cNvGrpSpPr/>
              <p:nvPr/>
            </p:nvGrpSpPr>
            <p:grpSpPr>
              <a:xfrm>
                <a:off x="4762623" y="3837847"/>
                <a:ext cx="42416" cy="36273"/>
                <a:chOff x="4762623" y="3837847"/>
                <a:chExt cx="42416" cy="36273"/>
              </a:xfrm>
            </p:grpSpPr>
            <p:sp>
              <p:nvSpPr>
                <p:cNvPr id="2295" name="Google Shape;11715;p65">
                  <a:extLst>
                    <a:ext uri="{FF2B5EF4-FFF2-40B4-BE49-F238E27FC236}">
                      <a16:creationId xmlns:a16="http://schemas.microsoft.com/office/drawing/2014/main" id="{7E52EF39-5105-0DB0-C636-BFB8EAA9114D}"/>
                    </a:ext>
                  </a:extLst>
                </p:cNvPr>
                <p:cNvSpPr/>
                <p:nvPr/>
              </p:nvSpPr>
              <p:spPr>
                <a:xfrm>
                  <a:off x="4762623" y="3837847"/>
                  <a:ext cx="42416" cy="36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3" h="4612" extrusionOk="0">
                      <a:moveTo>
                        <a:pt x="3064" y="1"/>
                      </a:moveTo>
                      <a:cubicBezTo>
                        <a:pt x="2496" y="1"/>
                        <a:pt x="1918" y="211"/>
                        <a:pt x="1449" y="680"/>
                      </a:cubicBezTo>
                      <a:cubicBezTo>
                        <a:pt x="1" y="2128"/>
                        <a:pt x="1033" y="4611"/>
                        <a:pt x="3067" y="4611"/>
                      </a:cubicBezTo>
                      <a:cubicBezTo>
                        <a:pt x="3072" y="4611"/>
                        <a:pt x="3077" y="4611"/>
                        <a:pt x="3082" y="4611"/>
                      </a:cubicBezTo>
                      <a:cubicBezTo>
                        <a:pt x="4352" y="4611"/>
                        <a:pt x="5380" y="3583"/>
                        <a:pt x="5392" y="2313"/>
                      </a:cubicBezTo>
                      <a:cubicBezTo>
                        <a:pt x="5392" y="921"/>
                        <a:pt x="4251" y="1"/>
                        <a:pt x="306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296" name="Google Shape;11716;p65">
                  <a:extLst>
                    <a:ext uri="{FF2B5EF4-FFF2-40B4-BE49-F238E27FC236}">
                      <a16:creationId xmlns:a16="http://schemas.microsoft.com/office/drawing/2014/main" id="{6E070DB4-A2DC-0095-481B-ACC262CEE964}"/>
                    </a:ext>
                  </a:extLst>
                </p:cNvPr>
                <p:cNvSpPr/>
                <p:nvPr/>
              </p:nvSpPr>
              <p:spPr>
                <a:xfrm>
                  <a:off x="4775538" y="3847568"/>
                  <a:ext cx="19796" cy="16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17" h="2156" extrusionOk="0">
                      <a:moveTo>
                        <a:pt x="1440" y="0"/>
                      </a:moveTo>
                      <a:cubicBezTo>
                        <a:pt x="484" y="0"/>
                        <a:pt x="0" y="1162"/>
                        <a:pt x="678" y="1839"/>
                      </a:cubicBezTo>
                      <a:cubicBezTo>
                        <a:pt x="896" y="2058"/>
                        <a:pt x="1165" y="2155"/>
                        <a:pt x="1429" y="2155"/>
                      </a:cubicBezTo>
                      <a:cubicBezTo>
                        <a:pt x="1984" y="2155"/>
                        <a:pt x="2517" y="1724"/>
                        <a:pt x="2517" y="1077"/>
                      </a:cubicBezTo>
                      <a:cubicBezTo>
                        <a:pt x="2517" y="484"/>
                        <a:pt x="2045" y="0"/>
                        <a:pt x="144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89" name="Google Shape;11717;p65">
                <a:extLst>
                  <a:ext uri="{FF2B5EF4-FFF2-40B4-BE49-F238E27FC236}">
                    <a16:creationId xmlns:a16="http://schemas.microsoft.com/office/drawing/2014/main" id="{B7CBAFA4-5694-81DF-161C-C766A6C5C79E}"/>
                  </a:ext>
                </a:extLst>
              </p:cNvPr>
              <p:cNvGrpSpPr/>
              <p:nvPr/>
            </p:nvGrpSpPr>
            <p:grpSpPr>
              <a:xfrm>
                <a:off x="4746044" y="4104966"/>
                <a:ext cx="33497" cy="28699"/>
                <a:chOff x="4746044" y="4104966"/>
                <a:chExt cx="33497" cy="28699"/>
              </a:xfrm>
            </p:grpSpPr>
            <p:sp>
              <p:nvSpPr>
                <p:cNvPr id="2293" name="Google Shape;11718;p65">
                  <a:extLst>
                    <a:ext uri="{FF2B5EF4-FFF2-40B4-BE49-F238E27FC236}">
                      <a16:creationId xmlns:a16="http://schemas.microsoft.com/office/drawing/2014/main" id="{79C9EF22-D858-83B4-BCBE-8591C6A363AE}"/>
                    </a:ext>
                  </a:extLst>
                </p:cNvPr>
                <p:cNvSpPr/>
                <p:nvPr/>
              </p:nvSpPr>
              <p:spPr>
                <a:xfrm>
                  <a:off x="4746044" y="4104966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8" y="1"/>
                      </a:moveTo>
                      <a:cubicBezTo>
                        <a:pt x="1979" y="1"/>
                        <a:pt x="1522" y="167"/>
                        <a:pt x="1150" y="540"/>
                      </a:cubicBezTo>
                      <a:cubicBezTo>
                        <a:pt x="0" y="1677"/>
                        <a:pt x="811" y="3648"/>
                        <a:pt x="2432" y="3648"/>
                      </a:cubicBezTo>
                      <a:cubicBezTo>
                        <a:pt x="3436" y="3648"/>
                        <a:pt x="4259" y="2826"/>
                        <a:pt x="4259" y="1822"/>
                      </a:cubicBezTo>
                      <a:cubicBezTo>
                        <a:pt x="4259" y="726"/>
                        <a:pt x="3363" y="1"/>
                        <a:pt x="242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294" name="Google Shape;11719;p65">
                  <a:extLst>
                    <a:ext uri="{FF2B5EF4-FFF2-40B4-BE49-F238E27FC236}">
                      <a16:creationId xmlns:a16="http://schemas.microsoft.com/office/drawing/2014/main" id="{8B8BE2C0-EC37-5C9E-2C41-4B8F767B4F49}"/>
                    </a:ext>
                  </a:extLst>
                </p:cNvPr>
                <p:cNvSpPr/>
                <p:nvPr/>
              </p:nvSpPr>
              <p:spPr>
                <a:xfrm>
                  <a:off x="4758887" y="4114632"/>
                  <a:ext cx="11042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2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5" y="1191"/>
                        <a:pt x="792" y="1191"/>
                      </a:cubicBezTo>
                      <a:cubicBezTo>
                        <a:pt x="1099" y="1191"/>
                        <a:pt x="1396" y="953"/>
                        <a:pt x="1404" y="593"/>
                      </a:cubicBezTo>
                      <a:cubicBezTo>
                        <a:pt x="1404" y="266"/>
                        <a:pt x="1126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290" name="Google Shape;11720;p65">
                <a:extLst>
                  <a:ext uri="{FF2B5EF4-FFF2-40B4-BE49-F238E27FC236}">
                    <a16:creationId xmlns:a16="http://schemas.microsoft.com/office/drawing/2014/main" id="{3D323D97-53D8-7096-D096-A76FAA11EDC7}"/>
                  </a:ext>
                </a:extLst>
              </p:cNvPr>
              <p:cNvGrpSpPr/>
              <p:nvPr/>
            </p:nvGrpSpPr>
            <p:grpSpPr>
              <a:xfrm>
                <a:off x="4859646" y="4162554"/>
                <a:ext cx="33591" cy="28762"/>
                <a:chOff x="4859646" y="4162554"/>
                <a:chExt cx="33591" cy="28762"/>
              </a:xfrm>
            </p:grpSpPr>
            <p:sp>
              <p:nvSpPr>
                <p:cNvPr id="2291" name="Google Shape;11721;p65">
                  <a:extLst>
                    <a:ext uri="{FF2B5EF4-FFF2-40B4-BE49-F238E27FC236}">
                      <a16:creationId xmlns:a16="http://schemas.microsoft.com/office/drawing/2014/main" id="{037FE5E2-E2A9-3A5C-811F-5E05ECCF141A}"/>
                    </a:ext>
                  </a:extLst>
                </p:cNvPr>
                <p:cNvSpPr/>
                <p:nvPr/>
              </p:nvSpPr>
              <p:spPr>
                <a:xfrm>
                  <a:off x="4859646" y="4162554"/>
                  <a:ext cx="33591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57" extrusionOk="0">
                      <a:moveTo>
                        <a:pt x="2423" y="0"/>
                      </a:moveTo>
                      <a:cubicBezTo>
                        <a:pt x="1975" y="0"/>
                        <a:pt x="1520" y="166"/>
                        <a:pt x="1149" y="536"/>
                      </a:cubicBezTo>
                      <a:cubicBezTo>
                        <a:pt x="0" y="1685"/>
                        <a:pt x="823" y="3657"/>
                        <a:pt x="2444" y="3657"/>
                      </a:cubicBezTo>
                      <a:cubicBezTo>
                        <a:pt x="3448" y="3657"/>
                        <a:pt x="4258" y="2834"/>
                        <a:pt x="4270" y="1830"/>
                      </a:cubicBezTo>
                      <a:cubicBezTo>
                        <a:pt x="4270" y="732"/>
                        <a:pt x="3365" y="0"/>
                        <a:pt x="24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292" name="Google Shape;11722;p65">
                  <a:extLst>
                    <a:ext uri="{FF2B5EF4-FFF2-40B4-BE49-F238E27FC236}">
                      <a16:creationId xmlns:a16="http://schemas.microsoft.com/office/drawing/2014/main" id="{F3D52119-129D-6A40-D466-78885F0469BA}"/>
                    </a:ext>
                  </a:extLst>
                </p:cNvPr>
                <p:cNvSpPr/>
                <p:nvPr/>
              </p:nvSpPr>
              <p:spPr>
                <a:xfrm>
                  <a:off x="4874196" y="4172283"/>
                  <a:ext cx="9336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87" extrusionOk="0">
                      <a:moveTo>
                        <a:pt x="594" y="1"/>
                      </a:moveTo>
                      <a:cubicBezTo>
                        <a:pt x="267" y="1"/>
                        <a:pt x="1" y="267"/>
                        <a:pt x="1" y="593"/>
                      </a:cubicBezTo>
                      <a:cubicBezTo>
                        <a:pt x="1" y="920"/>
                        <a:pt x="267" y="1186"/>
                        <a:pt x="594" y="1186"/>
                      </a:cubicBezTo>
                      <a:cubicBezTo>
                        <a:pt x="920" y="1186"/>
                        <a:pt x="1186" y="920"/>
                        <a:pt x="1186" y="593"/>
                      </a:cubicBezTo>
                      <a:cubicBezTo>
                        <a:pt x="1186" y="267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  <p:grpSp>
          <p:nvGrpSpPr>
            <p:cNvPr id="1983" name="Google Shape;11723;p65">
              <a:extLst>
                <a:ext uri="{FF2B5EF4-FFF2-40B4-BE49-F238E27FC236}">
                  <a16:creationId xmlns:a16="http://schemas.microsoft.com/office/drawing/2014/main" id="{F920BD07-955C-978A-927A-50A8151DA220}"/>
                </a:ext>
              </a:extLst>
            </p:cNvPr>
            <p:cNvGrpSpPr/>
            <p:nvPr/>
          </p:nvGrpSpPr>
          <p:grpSpPr>
            <a:xfrm>
              <a:off x="3597785" y="3274438"/>
              <a:ext cx="855610" cy="1122100"/>
              <a:chOff x="3597785" y="3274438"/>
              <a:chExt cx="855610" cy="1122100"/>
            </a:xfrm>
          </p:grpSpPr>
          <p:grpSp>
            <p:nvGrpSpPr>
              <p:cNvPr id="1984" name="Google Shape;11724;p65">
                <a:extLst>
                  <a:ext uri="{FF2B5EF4-FFF2-40B4-BE49-F238E27FC236}">
                    <a16:creationId xmlns:a16="http://schemas.microsoft.com/office/drawing/2014/main" id="{FFD68D56-DBB4-BC6E-84D6-A79A83B25D9A}"/>
                  </a:ext>
                </a:extLst>
              </p:cNvPr>
              <p:cNvGrpSpPr/>
              <p:nvPr/>
            </p:nvGrpSpPr>
            <p:grpSpPr>
              <a:xfrm>
                <a:off x="3617857" y="3284717"/>
                <a:ext cx="826785" cy="1099165"/>
                <a:chOff x="3617857" y="3284717"/>
                <a:chExt cx="826785" cy="1099165"/>
              </a:xfrm>
            </p:grpSpPr>
            <p:sp>
              <p:nvSpPr>
                <p:cNvPr id="2122" name="Google Shape;11725;p65">
                  <a:extLst>
                    <a:ext uri="{FF2B5EF4-FFF2-40B4-BE49-F238E27FC236}">
                      <a16:creationId xmlns:a16="http://schemas.microsoft.com/office/drawing/2014/main" id="{871974E1-24E0-A81A-2902-7DA09092C4E2}"/>
                    </a:ext>
                  </a:extLst>
                </p:cNvPr>
                <p:cNvSpPr/>
                <p:nvPr/>
              </p:nvSpPr>
              <p:spPr>
                <a:xfrm>
                  <a:off x="4155028" y="3869354"/>
                  <a:ext cx="289613" cy="514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823" h="65420" fill="none" extrusionOk="0">
                      <a:moveTo>
                        <a:pt x="5928" y="64827"/>
                      </a:moveTo>
                      <a:lnTo>
                        <a:pt x="6158" y="49755"/>
                      </a:lnTo>
                      <a:lnTo>
                        <a:pt x="8202" y="42327"/>
                      </a:lnTo>
                      <a:lnTo>
                        <a:pt x="8795" y="36351"/>
                      </a:lnTo>
                      <a:lnTo>
                        <a:pt x="8795" y="28912"/>
                      </a:lnTo>
                      <a:lnTo>
                        <a:pt x="3049" y="23347"/>
                      </a:lnTo>
                      <a:lnTo>
                        <a:pt x="0" y="12291"/>
                      </a:lnTo>
                      <a:lnTo>
                        <a:pt x="11601" y="1"/>
                      </a:lnTo>
                      <a:lnTo>
                        <a:pt x="19319" y="4259"/>
                      </a:lnTo>
                      <a:lnTo>
                        <a:pt x="27266" y="11747"/>
                      </a:lnTo>
                      <a:lnTo>
                        <a:pt x="36823" y="15472"/>
                      </a:lnTo>
                      <a:lnTo>
                        <a:pt x="34827" y="25803"/>
                      </a:lnTo>
                      <a:lnTo>
                        <a:pt x="26722" y="36944"/>
                      </a:lnTo>
                      <a:lnTo>
                        <a:pt x="19924" y="49198"/>
                      </a:lnTo>
                      <a:lnTo>
                        <a:pt x="11008" y="60690"/>
                      </a:lnTo>
                      <a:lnTo>
                        <a:pt x="5335" y="6542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23" name="Google Shape;11726;p65">
                  <a:extLst>
                    <a:ext uri="{FF2B5EF4-FFF2-40B4-BE49-F238E27FC236}">
                      <a16:creationId xmlns:a16="http://schemas.microsoft.com/office/drawing/2014/main" id="{937BEB8C-95BC-5293-89FC-F857C7109A8D}"/>
                    </a:ext>
                  </a:extLst>
                </p:cNvPr>
                <p:cNvSpPr/>
                <p:nvPr/>
              </p:nvSpPr>
              <p:spPr>
                <a:xfrm>
                  <a:off x="3617857" y="3284717"/>
                  <a:ext cx="662957" cy="685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4292" h="87218" fill="none" extrusionOk="0">
                      <a:moveTo>
                        <a:pt x="79900" y="75157"/>
                      </a:moveTo>
                      <a:lnTo>
                        <a:pt x="77916" y="83262"/>
                      </a:lnTo>
                      <a:lnTo>
                        <a:pt x="68299" y="87218"/>
                      </a:lnTo>
                      <a:lnTo>
                        <a:pt x="61610" y="72314"/>
                      </a:lnTo>
                      <a:lnTo>
                        <a:pt x="48376" y="64524"/>
                      </a:lnTo>
                      <a:lnTo>
                        <a:pt x="37489" y="50685"/>
                      </a:lnTo>
                      <a:lnTo>
                        <a:pt x="32771" y="39181"/>
                      </a:lnTo>
                      <a:lnTo>
                        <a:pt x="28525" y="27000"/>
                      </a:lnTo>
                      <a:lnTo>
                        <a:pt x="19779" y="19379"/>
                      </a:lnTo>
                      <a:lnTo>
                        <a:pt x="1" y="14057"/>
                      </a:lnTo>
                      <a:lnTo>
                        <a:pt x="5227" y="0"/>
                      </a:lnTo>
                      <a:lnTo>
                        <a:pt x="40380" y="3605"/>
                      </a:lnTo>
                      <a:lnTo>
                        <a:pt x="53662" y="9254"/>
                      </a:lnTo>
                      <a:lnTo>
                        <a:pt x="56711" y="17734"/>
                      </a:lnTo>
                      <a:lnTo>
                        <a:pt x="69727" y="26177"/>
                      </a:lnTo>
                      <a:lnTo>
                        <a:pt x="84291" y="20649"/>
                      </a:lnTo>
                      <a:lnTo>
                        <a:pt x="79465" y="38165"/>
                      </a:lnTo>
                      <a:lnTo>
                        <a:pt x="72207" y="46960"/>
                      </a:lnTo>
                      <a:lnTo>
                        <a:pt x="64791" y="54677"/>
                      </a:lnTo>
                      <a:lnTo>
                        <a:pt x="54497" y="63206"/>
                      </a:lnTo>
                      <a:lnTo>
                        <a:pt x="62094" y="63556"/>
                      </a:lnTo>
                      <a:lnTo>
                        <a:pt x="66098" y="74335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24" name="Google Shape;11727;p65">
                  <a:extLst>
                    <a:ext uri="{FF2B5EF4-FFF2-40B4-BE49-F238E27FC236}">
                      <a16:creationId xmlns:a16="http://schemas.microsoft.com/office/drawing/2014/main" id="{270B07AC-B965-B7EB-D535-F14D835732CC}"/>
                    </a:ext>
                  </a:extLst>
                </p:cNvPr>
                <p:cNvSpPr/>
                <p:nvPr/>
              </p:nvSpPr>
              <p:spPr>
                <a:xfrm>
                  <a:off x="4230666" y="3943372"/>
                  <a:ext cx="15612" cy="77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5" h="9909" fill="none" extrusionOk="0">
                      <a:moveTo>
                        <a:pt x="1984" y="9908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25" name="Google Shape;11728;p65">
                  <a:extLst>
                    <a:ext uri="{FF2B5EF4-FFF2-40B4-BE49-F238E27FC236}">
                      <a16:creationId xmlns:a16="http://schemas.microsoft.com/office/drawing/2014/main" id="{AB8FD625-C08F-B740-D85B-D8ECF7B06165}"/>
                    </a:ext>
                  </a:extLst>
                </p:cNvPr>
                <p:cNvSpPr/>
                <p:nvPr/>
              </p:nvSpPr>
              <p:spPr>
                <a:xfrm>
                  <a:off x="4230666" y="3902843"/>
                  <a:ext cx="138817" cy="1169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50" h="14868" fill="none" extrusionOk="0">
                      <a:moveTo>
                        <a:pt x="11952" y="14868"/>
                      </a:moveTo>
                      <a:lnTo>
                        <a:pt x="0" y="4670"/>
                      </a:lnTo>
                      <a:lnTo>
                        <a:pt x="9702" y="1"/>
                      </a:lnTo>
                      <a:lnTo>
                        <a:pt x="17649" y="7489"/>
                      </a:lnTo>
                      <a:close/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26" name="Google Shape;11729;p65">
                  <a:extLst>
                    <a:ext uri="{FF2B5EF4-FFF2-40B4-BE49-F238E27FC236}">
                      <a16:creationId xmlns:a16="http://schemas.microsoft.com/office/drawing/2014/main" id="{4B872EC9-C810-211E-9C60-50F5EC84CF1B}"/>
                    </a:ext>
                  </a:extLst>
                </p:cNvPr>
                <p:cNvSpPr/>
                <p:nvPr/>
              </p:nvSpPr>
              <p:spPr>
                <a:xfrm>
                  <a:off x="4234473" y="3939573"/>
                  <a:ext cx="143953" cy="221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03" h="2819" fill="none" extrusionOk="0">
                      <a:moveTo>
                        <a:pt x="0" y="0"/>
                      </a:moveTo>
                      <a:lnTo>
                        <a:pt x="18303" y="2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27" name="Google Shape;11730;p65">
                  <a:extLst>
                    <a:ext uri="{FF2B5EF4-FFF2-40B4-BE49-F238E27FC236}">
                      <a16:creationId xmlns:a16="http://schemas.microsoft.com/office/drawing/2014/main" id="{3D524162-E5F4-211B-604A-98939C337537}"/>
                    </a:ext>
                  </a:extLst>
                </p:cNvPr>
                <p:cNvSpPr/>
                <p:nvPr/>
              </p:nvSpPr>
              <p:spPr>
                <a:xfrm>
                  <a:off x="4300405" y="4023579"/>
                  <a:ext cx="24264" cy="11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85" h="14323" fill="none" extrusionOk="0">
                      <a:moveTo>
                        <a:pt x="0" y="14323"/>
                      </a:moveTo>
                      <a:lnTo>
                        <a:pt x="308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28" name="Google Shape;11731;p65">
                  <a:extLst>
                    <a:ext uri="{FF2B5EF4-FFF2-40B4-BE49-F238E27FC236}">
                      <a16:creationId xmlns:a16="http://schemas.microsoft.com/office/drawing/2014/main" id="{3ADBB804-D2CC-2A06-432C-884B38AC97CC}"/>
                    </a:ext>
                  </a:extLst>
                </p:cNvPr>
                <p:cNvSpPr/>
                <p:nvPr/>
              </p:nvSpPr>
              <p:spPr>
                <a:xfrm>
                  <a:off x="4324661" y="4019772"/>
                  <a:ext cx="40544" cy="1401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55" h="17820" fill="none" extrusionOk="0">
                      <a:moveTo>
                        <a:pt x="1" y="1"/>
                      </a:moveTo>
                      <a:lnTo>
                        <a:pt x="5154" y="1781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29" name="Google Shape;11732;p65">
                  <a:extLst>
                    <a:ext uri="{FF2B5EF4-FFF2-40B4-BE49-F238E27FC236}">
                      <a16:creationId xmlns:a16="http://schemas.microsoft.com/office/drawing/2014/main" id="{65705235-9893-A0E4-5BFD-1D4205D94D33}"/>
                    </a:ext>
                  </a:extLst>
                </p:cNvPr>
                <p:cNvSpPr/>
                <p:nvPr/>
              </p:nvSpPr>
              <p:spPr>
                <a:xfrm>
                  <a:off x="4324661" y="4019772"/>
                  <a:ext cx="104282" cy="525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59" h="6678" fill="none" extrusionOk="0">
                      <a:moveTo>
                        <a:pt x="1" y="1"/>
                      </a:moveTo>
                      <a:lnTo>
                        <a:pt x="13259" y="667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0" name="Google Shape;11733;p65">
                  <a:extLst>
                    <a:ext uri="{FF2B5EF4-FFF2-40B4-BE49-F238E27FC236}">
                      <a16:creationId xmlns:a16="http://schemas.microsoft.com/office/drawing/2014/main" id="{E4B9E59B-24A4-7FB0-C8E3-7EFB8849DAC5}"/>
                    </a:ext>
                  </a:extLst>
                </p:cNvPr>
                <p:cNvSpPr/>
                <p:nvPr/>
              </p:nvSpPr>
              <p:spPr>
                <a:xfrm>
                  <a:off x="4328467" y="3989901"/>
                  <a:ext cx="113421" cy="298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21" h="3799" fill="none" extrusionOk="0">
                      <a:moveTo>
                        <a:pt x="14420" y="0"/>
                      </a:moveTo>
                      <a:lnTo>
                        <a:pt x="1" y="379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1" name="Google Shape;11734;p65">
                  <a:extLst>
                    <a:ext uri="{FF2B5EF4-FFF2-40B4-BE49-F238E27FC236}">
                      <a16:creationId xmlns:a16="http://schemas.microsoft.com/office/drawing/2014/main" id="{51F8B056-3C9B-158B-69E7-BA43376559B8}"/>
                    </a:ext>
                  </a:extLst>
                </p:cNvPr>
                <p:cNvSpPr/>
                <p:nvPr/>
              </p:nvSpPr>
              <p:spPr>
                <a:xfrm>
                  <a:off x="4224193" y="4019772"/>
                  <a:ext cx="23886" cy="76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7" h="9787" fill="none" extrusionOk="0">
                      <a:moveTo>
                        <a:pt x="1" y="9787"/>
                      </a:moveTo>
                      <a:lnTo>
                        <a:pt x="303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2" name="Google Shape;11735;p65">
                  <a:extLst>
                    <a:ext uri="{FF2B5EF4-FFF2-40B4-BE49-F238E27FC236}">
                      <a16:creationId xmlns:a16="http://schemas.microsoft.com/office/drawing/2014/main" id="{F55A7D0D-5870-FFD8-1B51-5160DD6CA488}"/>
                    </a:ext>
                  </a:extLst>
                </p:cNvPr>
                <p:cNvSpPr/>
                <p:nvPr/>
              </p:nvSpPr>
              <p:spPr>
                <a:xfrm>
                  <a:off x="4248071" y="4019772"/>
                  <a:ext cx="52342" cy="1164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55" h="14807" fill="none" extrusionOk="0">
                      <a:moveTo>
                        <a:pt x="1" y="1"/>
                      </a:moveTo>
                      <a:lnTo>
                        <a:pt x="6654" y="1480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3" name="Google Shape;11736;p65">
                  <a:extLst>
                    <a:ext uri="{FF2B5EF4-FFF2-40B4-BE49-F238E27FC236}">
                      <a16:creationId xmlns:a16="http://schemas.microsoft.com/office/drawing/2014/main" id="{73D7BF53-2396-5A7B-D4EF-5CECE48AE552}"/>
                    </a:ext>
                  </a:extLst>
                </p:cNvPr>
                <p:cNvSpPr/>
                <p:nvPr/>
              </p:nvSpPr>
              <p:spPr>
                <a:xfrm>
                  <a:off x="4300405" y="4138982"/>
                  <a:ext cx="6567" cy="119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" h="15134" fill="none" extrusionOk="0">
                      <a:moveTo>
                        <a:pt x="0" y="1"/>
                      </a:moveTo>
                      <a:lnTo>
                        <a:pt x="835" y="151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4" name="Google Shape;11737;p65">
                  <a:extLst>
                    <a:ext uri="{FF2B5EF4-FFF2-40B4-BE49-F238E27FC236}">
                      <a16:creationId xmlns:a16="http://schemas.microsoft.com/office/drawing/2014/main" id="{A317D1E6-E8B4-BDE5-2794-DA4F594B54F9}"/>
                    </a:ext>
                  </a:extLst>
                </p:cNvPr>
                <p:cNvSpPr/>
                <p:nvPr/>
              </p:nvSpPr>
              <p:spPr>
                <a:xfrm>
                  <a:off x="4219726" y="4200164"/>
                  <a:ext cx="85343" cy="605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51" h="7694" fill="none" extrusionOk="0">
                      <a:moveTo>
                        <a:pt x="0" y="0"/>
                      </a:moveTo>
                      <a:lnTo>
                        <a:pt x="10851" y="76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5" name="Google Shape;11738;p65">
                  <a:extLst>
                    <a:ext uri="{FF2B5EF4-FFF2-40B4-BE49-F238E27FC236}">
                      <a16:creationId xmlns:a16="http://schemas.microsoft.com/office/drawing/2014/main" id="{44987A2F-2D2E-D4C8-90DF-2253A0313A55}"/>
                    </a:ext>
                  </a:extLst>
                </p:cNvPr>
                <p:cNvSpPr/>
                <p:nvPr/>
              </p:nvSpPr>
              <p:spPr>
                <a:xfrm>
                  <a:off x="4223430" y="4137275"/>
                  <a:ext cx="81930" cy="151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17" h="1924" fill="none" extrusionOk="0">
                      <a:moveTo>
                        <a:pt x="1" y="1923"/>
                      </a:moveTo>
                      <a:lnTo>
                        <a:pt x="10416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6" name="Google Shape;11739;p65">
                  <a:extLst>
                    <a:ext uri="{FF2B5EF4-FFF2-40B4-BE49-F238E27FC236}">
                      <a16:creationId xmlns:a16="http://schemas.microsoft.com/office/drawing/2014/main" id="{6627283F-0BE6-89E5-80C0-347D442E84A4}"/>
                    </a:ext>
                  </a:extLst>
                </p:cNvPr>
                <p:cNvSpPr/>
                <p:nvPr/>
              </p:nvSpPr>
              <p:spPr>
                <a:xfrm>
                  <a:off x="4303638" y="4138982"/>
                  <a:ext cx="59947" cy="23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2" h="3038" fill="none" extrusionOk="0">
                      <a:moveTo>
                        <a:pt x="7621" y="3037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7" name="Google Shape;11740;p65">
                  <a:extLst>
                    <a:ext uri="{FF2B5EF4-FFF2-40B4-BE49-F238E27FC236}">
                      <a16:creationId xmlns:a16="http://schemas.microsoft.com/office/drawing/2014/main" id="{9FAC2532-13F7-96E7-31CB-5B06FF40DC9A}"/>
                    </a:ext>
                  </a:extLst>
                </p:cNvPr>
                <p:cNvSpPr/>
                <p:nvPr/>
              </p:nvSpPr>
              <p:spPr>
                <a:xfrm>
                  <a:off x="4201644" y="4267237"/>
                  <a:ext cx="39970" cy="771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2" h="9811" fill="none" extrusionOk="0">
                      <a:moveTo>
                        <a:pt x="1" y="0"/>
                      </a:moveTo>
                      <a:lnTo>
                        <a:pt x="5081" y="981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8" name="Google Shape;11741;p65">
                  <a:extLst>
                    <a:ext uri="{FF2B5EF4-FFF2-40B4-BE49-F238E27FC236}">
                      <a16:creationId xmlns:a16="http://schemas.microsoft.com/office/drawing/2014/main" id="{14C56D52-A575-5542-8913-35298040649A}"/>
                    </a:ext>
                  </a:extLst>
                </p:cNvPr>
                <p:cNvSpPr/>
                <p:nvPr/>
              </p:nvSpPr>
              <p:spPr>
                <a:xfrm>
                  <a:off x="4203831" y="4258003"/>
                  <a:ext cx="103142" cy="92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14" h="1175" fill="none" extrusionOk="0">
                      <a:moveTo>
                        <a:pt x="1" y="1174"/>
                      </a:moveTo>
                      <a:lnTo>
                        <a:pt x="1311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39" name="Google Shape;11742;p65">
                  <a:extLst>
                    <a:ext uri="{FF2B5EF4-FFF2-40B4-BE49-F238E27FC236}">
                      <a16:creationId xmlns:a16="http://schemas.microsoft.com/office/drawing/2014/main" id="{585F68B2-FC4C-2996-9BB1-A5413F0DF2FB}"/>
                    </a:ext>
                  </a:extLst>
                </p:cNvPr>
                <p:cNvSpPr/>
                <p:nvPr/>
              </p:nvSpPr>
              <p:spPr>
                <a:xfrm>
                  <a:off x="4179001" y="3943372"/>
                  <a:ext cx="51673" cy="1049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70" h="13344" fill="none" extrusionOk="0">
                      <a:moveTo>
                        <a:pt x="1" y="13344"/>
                      </a:moveTo>
                      <a:lnTo>
                        <a:pt x="656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0" name="Google Shape;11743;p65">
                  <a:extLst>
                    <a:ext uri="{FF2B5EF4-FFF2-40B4-BE49-F238E27FC236}">
                      <a16:creationId xmlns:a16="http://schemas.microsoft.com/office/drawing/2014/main" id="{3808D4C1-C295-CB05-E977-9A9D7D82C686}"/>
                    </a:ext>
                  </a:extLst>
                </p:cNvPr>
                <p:cNvSpPr/>
                <p:nvPr/>
              </p:nvSpPr>
              <p:spPr>
                <a:xfrm>
                  <a:off x="4248071" y="4019772"/>
                  <a:ext cx="76597" cy="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39" h="1" fill="none" extrusionOk="0">
                      <a:moveTo>
                        <a:pt x="1" y="1"/>
                      </a:moveTo>
                      <a:lnTo>
                        <a:pt x="9739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1" name="Google Shape;11744;p65">
                  <a:extLst>
                    <a:ext uri="{FF2B5EF4-FFF2-40B4-BE49-F238E27FC236}">
                      <a16:creationId xmlns:a16="http://schemas.microsoft.com/office/drawing/2014/main" id="{62282576-D8DC-D6C8-434A-318341A383AB}"/>
                    </a:ext>
                  </a:extLst>
                </p:cNvPr>
                <p:cNvSpPr/>
                <p:nvPr/>
              </p:nvSpPr>
              <p:spPr>
                <a:xfrm>
                  <a:off x="4219529" y="4138982"/>
                  <a:ext cx="84116" cy="63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95" h="8046" fill="none" extrusionOk="0">
                      <a:moveTo>
                        <a:pt x="1" y="8045"/>
                      </a:moveTo>
                      <a:lnTo>
                        <a:pt x="10694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2" name="Google Shape;11745;p65">
                  <a:extLst>
                    <a:ext uri="{FF2B5EF4-FFF2-40B4-BE49-F238E27FC236}">
                      <a16:creationId xmlns:a16="http://schemas.microsoft.com/office/drawing/2014/main" id="{7A8CE4B4-EDD2-D4FB-BE75-2D0220F6391D}"/>
                    </a:ext>
                  </a:extLst>
                </p:cNvPr>
                <p:cNvSpPr/>
                <p:nvPr/>
              </p:nvSpPr>
              <p:spPr>
                <a:xfrm>
                  <a:off x="3654964" y="3289853"/>
                  <a:ext cx="46820" cy="638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53" h="8118" fill="none" extrusionOk="0">
                      <a:moveTo>
                        <a:pt x="1" y="0"/>
                      </a:moveTo>
                      <a:lnTo>
                        <a:pt x="5952" y="8117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3" name="Google Shape;11746;p65">
                  <a:extLst>
                    <a:ext uri="{FF2B5EF4-FFF2-40B4-BE49-F238E27FC236}">
                      <a16:creationId xmlns:a16="http://schemas.microsoft.com/office/drawing/2014/main" id="{54C6A4C1-4632-2D06-926D-DA42F28B26C6}"/>
                    </a:ext>
                  </a:extLst>
                </p:cNvPr>
                <p:cNvSpPr/>
                <p:nvPr/>
              </p:nvSpPr>
              <p:spPr>
                <a:xfrm>
                  <a:off x="3619760" y="3353693"/>
                  <a:ext cx="85736" cy="36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01" h="4670" fill="none" extrusionOk="0">
                      <a:moveTo>
                        <a:pt x="1" y="4670"/>
                      </a:moveTo>
                      <a:lnTo>
                        <a:pt x="1090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4" name="Google Shape;11747;p65">
                  <a:extLst>
                    <a:ext uri="{FF2B5EF4-FFF2-40B4-BE49-F238E27FC236}">
                      <a16:creationId xmlns:a16="http://schemas.microsoft.com/office/drawing/2014/main" id="{40469D15-B540-F66E-00C1-2F51A16869AA}"/>
                    </a:ext>
                  </a:extLst>
                </p:cNvPr>
                <p:cNvSpPr/>
                <p:nvPr/>
              </p:nvSpPr>
              <p:spPr>
                <a:xfrm>
                  <a:off x="3703011" y="3354739"/>
                  <a:ext cx="70415" cy="79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53" h="10089" fill="none" extrusionOk="0">
                      <a:moveTo>
                        <a:pt x="1" y="0"/>
                      </a:moveTo>
                      <a:lnTo>
                        <a:pt x="8952" y="10089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5" name="Google Shape;11748;p65">
                  <a:extLst>
                    <a:ext uri="{FF2B5EF4-FFF2-40B4-BE49-F238E27FC236}">
                      <a16:creationId xmlns:a16="http://schemas.microsoft.com/office/drawing/2014/main" id="{6CC6CFBE-3DBF-BD9A-569F-8899FEEE3F6E}"/>
                    </a:ext>
                  </a:extLst>
                </p:cNvPr>
                <p:cNvSpPr/>
                <p:nvPr/>
              </p:nvSpPr>
              <p:spPr>
                <a:xfrm>
                  <a:off x="3779884" y="3366443"/>
                  <a:ext cx="34449" cy="676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0" h="8601" fill="none" extrusionOk="0">
                      <a:moveTo>
                        <a:pt x="1" y="8601"/>
                      </a:moveTo>
                      <a:lnTo>
                        <a:pt x="438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6" name="Google Shape;11749;p65">
                  <a:extLst>
                    <a:ext uri="{FF2B5EF4-FFF2-40B4-BE49-F238E27FC236}">
                      <a16:creationId xmlns:a16="http://schemas.microsoft.com/office/drawing/2014/main" id="{A7EAA1AF-412F-BBB8-B610-55FC8A94505D}"/>
                    </a:ext>
                  </a:extLst>
                </p:cNvPr>
                <p:cNvSpPr/>
                <p:nvPr/>
              </p:nvSpPr>
              <p:spPr>
                <a:xfrm>
                  <a:off x="3701776" y="3353693"/>
                  <a:ext cx="116363" cy="127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795" h="1622" fill="none" extrusionOk="0">
                      <a:moveTo>
                        <a:pt x="14795" y="1621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7" name="Google Shape;11750;p65">
                  <a:extLst>
                    <a:ext uri="{FF2B5EF4-FFF2-40B4-BE49-F238E27FC236}">
                      <a16:creationId xmlns:a16="http://schemas.microsoft.com/office/drawing/2014/main" id="{2664A204-3410-4A73-C2E7-2D5F12FF2A11}"/>
                    </a:ext>
                  </a:extLst>
                </p:cNvPr>
                <p:cNvSpPr/>
                <p:nvPr/>
              </p:nvSpPr>
              <p:spPr>
                <a:xfrm>
                  <a:off x="3701776" y="3313063"/>
                  <a:ext cx="227204" cy="406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888" h="5167" fill="none" extrusionOk="0">
                      <a:moveTo>
                        <a:pt x="28887" y="1"/>
                      </a:moveTo>
                      <a:lnTo>
                        <a:pt x="0" y="51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8" name="Google Shape;11751;p65">
                  <a:extLst>
                    <a:ext uri="{FF2B5EF4-FFF2-40B4-BE49-F238E27FC236}">
                      <a16:creationId xmlns:a16="http://schemas.microsoft.com/office/drawing/2014/main" id="{118CFE0E-161C-6923-5C85-71047B542233}"/>
                    </a:ext>
                  </a:extLst>
                </p:cNvPr>
                <p:cNvSpPr/>
                <p:nvPr/>
              </p:nvSpPr>
              <p:spPr>
                <a:xfrm>
                  <a:off x="3888633" y="3313063"/>
                  <a:ext cx="40347" cy="114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0" h="14554" fill="none" extrusionOk="0">
                      <a:moveTo>
                        <a:pt x="5129" y="1"/>
                      </a:moveTo>
                      <a:lnTo>
                        <a:pt x="0" y="1455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49" name="Google Shape;11752;p65">
                  <a:extLst>
                    <a:ext uri="{FF2B5EF4-FFF2-40B4-BE49-F238E27FC236}">
                      <a16:creationId xmlns:a16="http://schemas.microsoft.com/office/drawing/2014/main" id="{3CA32EE6-C0EE-2309-C17B-615244BAADEA}"/>
                    </a:ext>
                  </a:extLst>
                </p:cNvPr>
                <p:cNvSpPr/>
                <p:nvPr/>
              </p:nvSpPr>
              <p:spPr>
                <a:xfrm>
                  <a:off x="3814325" y="3366443"/>
                  <a:ext cx="74316" cy="610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49" h="7767" fill="none" extrusionOk="0">
                      <a:moveTo>
                        <a:pt x="1" y="0"/>
                      </a:moveTo>
                      <a:lnTo>
                        <a:pt x="9448" y="776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0" name="Google Shape;11753;p65">
                  <a:extLst>
                    <a:ext uri="{FF2B5EF4-FFF2-40B4-BE49-F238E27FC236}">
                      <a16:creationId xmlns:a16="http://schemas.microsoft.com/office/drawing/2014/main" id="{01D850CB-A6CB-404B-BC4A-E157CFE384A0}"/>
                    </a:ext>
                  </a:extLst>
                </p:cNvPr>
                <p:cNvSpPr/>
                <p:nvPr/>
              </p:nvSpPr>
              <p:spPr>
                <a:xfrm>
                  <a:off x="3838399" y="3427522"/>
                  <a:ext cx="50242" cy="677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88" h="8614" fill="none" extrusionOk="0">
                      <a:moveTo>
                        <a:pt x="0" y="8613"/>
                      </a:moveTo>
                      <a:lnTo>
                        <a:pt x="638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1" name="Google Shape;11754;p65">
                  <a:extLst>
                    <a:ext uri="{FF2B5EF4-FFF2-40B4-BE49-F238E27FC236}">
                      <a16:creationId xmlns:a16="http://schemas.microsoft.com/office/drawing/2014/main" id="{0C083663-42B7-3432-F4A2-59CFC3EE9746}"/>
                    </a:ext>
                  </a:extLst>
                </p:cNvPr>
                <p:cNvSpPr/>
                <p:nvPr/>
              </p:nvSpPr>
              <p:spPr>
                <a:xfrm>
                  <a:off x="3814325" y="3313063"/>
                  <a:ext cx="114656" cy="533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8" h="6788" fill="none" extrusionOk="0">
                      <a:moveTo>
                        <a:pt x="1" y="6787"/>
                      </a:moveTo>
                      <a:lnTo>
                        <a:pt x="14577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2" name="Google Shape;11755;p65">
                  <a:extLst>
                    <a:ext uri="{FF2B5EF4-FFF2-40B4-BE49-F238E27FC236}">
                      <a16:creationId xmlns:a16="http://schemas.microsoft.com/office/drawing/2014/main" id="{53CB542D-EA8D-E06E-60B4-144FD1C1ADFA}"/>
                    </a:ext>
                  </a:extLst>
                </p:cNvPr>
                <p:cNvSpPr/>
                <p:nvPr/>
              </p:nvSpPr>
              <p:spPr>
                <a:xfrm>
                  <a:off x="3888633" y="3427522"/>
                  <a:ext cx="55377" cy="762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41" h="9690" fill="none" extrusionOk="0">
                      <a:moveTo>
                        <a:pt x="0" y="0"/>
                      </a:moveTo>
                      <a:lnTo>
                        <a:pt x="7041" y="969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3" name="Google Shape;11756;p65">
                  <a:extLst>
                    <a:ext uri="{FF2B5EF4-FFF2-40B4-BE49-F238E27FC236}">
                      <a16:creationId xmlns:a16="http://schemas.microsoft.com/office/drawing/2014/main" id="{2615A852-FF08-C918-EC53-2B2F418DD88E}"/>
                    </a:ext>
                  </a:extLst>
                </p:cNvPr>
                <p:cNvSpPr/>
                <p:nvPr/>
              </p:nvSpPr>
              <p:spPr>
                <a:xfrm>
                  <a:off x="3944003" y="3406208"/>
                  <a:ext cx="40631" cy="975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66" h="12400" fill="none" extrusionOk="0">
                      <a:moveTo>
                        <a:pt x="1" y="12400"/>
                      </a:moveTo>
                      <a:lnTo>
                        <a:pt x="516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4" name="Google Shape;11757;p65">
                  <a:extLst>
                    <a:ext uri="{FF2B5EF4-FFF2-40B4-BE49-F238E27FC236}">
                      <a16:creationId xmlns:a16="http://schemas.microsoft.com/office/drawing/2014/main" id="{46956F4D-C556-99EF-A1AC-BD77FE47BFE5}"/>
                    </a:ext>
                  </a:extLst>
                </p:cNvPr>
                <p:cNvSpPr/>
                <p:nvPr/>
              </p:nvSpPr>
              <p:spPr>
                <a:xfrm>
                  <a:off x="3984625" y="3357500"/>
                  <a:ext cx="55291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0" h="6194" fill="none" extrusionOk="0">
                      <a:moveTo>
                        <a:pt x="1" y="6194"/>
                      </a:moveTo>
                      <a:lnTo>
                        <a:pt x="7029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5" name="Google Shape;11758;p65">
                  <a:extLst>
                    <a:ext uri="{FF2B5EF4-FFF2-40B4-BE49-F238E27FC236}">
                      <a16:creationId xmlns:a16="http://schemas.microsoft.com/office/drawing/2014/main" id="{26417FB8-D92E-9DBE-3ADE-9C1441E102CC}"/>
                    </a:ext>
                  </a:extLst>
                </p:cNvPr>
                <p:cNvSpPr/>
                <p:nvPr/>
              </p:nvSpPr>
              <p:spPr>
                <a:xfrm>
                  <a:off x="3888633" y="3406208"/>
                  <a:ext cx="96000" cy="213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206" h="2711" fill="none" extrusionOk="0">
                      <a:moveTo>
                        <a:pt x="0" y="2710"/>
                      </a:moveTo>
                      <a:lnTo>
                        <a:pt x="1220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6" name="Google Shape;11759;p65">
                  <a:extLst>
                    <a:ext uri="{FF2B5EF4-FFF2-40B4-BE49-F238E27FC236}">
                      <a16:creationId xmlns:a16="http://schemas.microsoft.com/office/drawing/2014/main" id="{69DC1A6C-7661-3F1E-1C9E-BAD12C82832E}"/>
                    </a:ext>
                  </a:extLst>
                </p:cNvPr>
                <p:cNvSpPr/>
                <p:nvPr/>
              </p:nvSpPr>
              <p:spPr>
                <a:xfrm>
                  <a:off x="3984625" y="3406208"/>
                  <a:ext cx="42251" cy="1363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72" h="17336" fill="none" extrusionOk="0">
                      <a:moveTo>
                        <a:pt x="1" y="1"/>
                      </a:moveTo>
                      <a:lnTo>
                        <a:pt x="5372" y="17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7" name="Google Shape;11760;p65">
                  <a:extLst>
                    <a:ext uri="{FF2B5EF4-FFF2-40B4-BE49-F238E27FC236}">
                      <a16:creationId xmlns:a16="http://schemas.microsoft.com/office/drawing/2014/main" id="{3141936C-4EF5-3B49-6AFA-7586A81BC0AC}"/>
                    </a:ext>
                  </a:extLst>
                </p:cNvPr>
                <p:cNvSpPr/>
                <p:nvPr/>
              </p:nvSpPr>
              <p:spPr>
                <a:xfrm>
                  <a:off x="4026868" y="3427522"/>
                  <a:ext cx="35597" cy="1150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6" h="14626" fill="none" extrusionOk="0">
                      <a:moveTo>
                        <a:pt x="1" y="14625"/>
                      </a:moveTo>
                      <a:lnTo>
                        <a:pt x="4525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8" name="Google Shape;11761;p65">
                  <a:extLst>
                    <a:ext uri="{FF2B5EF4-FFF2-40B4-BE49-F238E27FC236}">
                      <a16:creationId xmlns:a16="http://schemas.microsoft.com/office/drawing/2014/main" id="{99DBAAC5-509F-6B7E-120D-D68C1C669E9A}"/>
                    </a:ext>
                  </a:extLst>
                </p:cNvPr>
                <p:cNvSpPr/>
                <p:nvPr/>
              </p:nvSpPr>
              <p:spPr>
                <a:xfrm>
                  <a:off x="3876261" y="3542548"/>
                  <a:ext cx="150615" cy="520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150" h="6618" fill="none" extrusionOk="0">
                      <a:moveTo>
                        <a:pt x="1" y="6617"/>
                      </a:moveTo>
                      <a:lnTo>
                        <a:pt x="19150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59" name="Google Shape;11762;p65">
                  <a:extLst>
                    <a:ext uri="{FF2B5EF4-FFF2-40B4-BE49-F238E27FC236}">
                      <a16:creationId xmlns:a16="http://schemas.microsoft.com/office/drawing/2014/main" id="{0786BBAD-8155-B5B4-22F9-83B413D5A898}"/>
                    </a:ext>
                  </a:extLst>
                </p:cNvPr>
                <p:cNvSpPr/>
                <p:nvPr/>
              </p:nvSpPr>
              <p:spPr>
                <a:xfrm>
                  <a:off x="4006702" y="3542548"/>
                  <a:ext cx="20174" cy="990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65" h="12593" fill="none" extrusionOk="0">
                      <a:moveTo>
                        <a:pt x="2565" y="0"/>
                      </a:moveTo>
                      <a:lnTo>
                        <a:pt x="0" y="1259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0" name="Google Shape;11763;p65">
                  <a:extLst>
                    <a:ext uri="{FF2B5EF4-FFF2-40B4-BE49-F238E27FC236}">
                      <a16:creationId xmlns:a16="http://schemas.microsoft.com/office/drawing/2014/main" id="{5FD8F407-24F3-D467-AE0E-EBE14CC44499}"/>
                    </a:ext>
                  </a:extLst>
                </p:cNvPr>
                <p:cNvSpPr/>
                <p:nvPr/>
              </p:nvSpPr>
              <p:spPr>
                <a:xfrm>
                  <a:off x="3912700" y="3641584"/>
                  <a:ext cx="97817" cy="417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437" h="5312" fill="none" extrusionOk="0">
                      <a:moveTo>
                        <a:pt x="1" y="5311"/>
                      </a:moveTo>
                      <a:lnTo>
                        <a:pt x="12436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1" name="Google Shape;11764;p65">
                  <a:extLst>
                    <a:ext uri="{FF2B5EF4-FFF2-40B4-BE49-F238E27FC236}">
                      <a16:creationId xmlns:a16="http://schemas.microsoft.com/office/drawing/2014/main" id="{58308C69-AE06-F82E-AB61-AEE0E53B5900}"/>
                    </a:ext>
                  </a:extLst>
                </p:cNvPr>
                <p:cNvSpPr/>
                <p:nvPr/>
              </p:nvSpPr>
              <p:spPr>
                <a:xfrm>
                  <a:off x="3875601" y="3503726"/>
                  <a:ext cx="68410" cy="891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698" h="11336" fill="none" extrusionOk="0">
                      <a:moveTo>
                        <a:pt x="8698" y="1"/>
                      </a:moveTo>
                      <a:lnTo>
                        <a:pt x="0" y="11335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2" name="Google Shape;11765;p65">
                  <a:extLst>
                    <a:ext uri="{FF2B5EF4-FFF2-40B4-BE49-F238E27FC236}">
                      <a16:creationId xmlns:a16="http://schemas.microsoft.com/office/drawing/2014/main" id="{69EC61EC-E9BB-7C5B-24FB-52D23301BC7B}"/>
                    </a:ext>
                  </a:extLst>
                </p:cNvPr>
                <p:cNvSpPr/>
                <p:nvPr/>
              </p:nvSpPr>
              <p:spPr>
                <a:xfrm>
                  <a:off x="3944003" y="3503726"/>
                  <a:ext cx="89441" cy="36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72" h="4598" fill="none" extrusionOk="0">
                      <a:moveTo>
                        <a:pt x="1" y="1"/>
                      </a:moveTo>
                      <a:lnTo>
                        <a:pt x="11372" y="459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3" name="Google Shape;11766;p65">
                  <a:extLst>
                    <a:ext uri="{FF2B5EF4-FFF2-40B4-BE49-F238E27FC236}">
                      <a16:creationId xmlns:a16="http://schemas.microsoft.com/office/drawing/2014/main" id="{04CCCFB3-4555-125C-116F-17D61CEA5215}"/>
                    </a:ext>
                  </a:extLst>
                </p:cNvPr>
                <p:cNvSpPr/>
                <p:nvPr/>
              </p:nvSpPr>
              <p:spPr>
                <a:xfrm>
                  <a:off x="4033436" y="3490599"/>
                  <a:ext cx="132824" cy="49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8" h="6267" fill="none" extrusionOk="0">
                      <a:moveTo>
                        <a:pt x="1" y="6267"/>
                      </a:moveTo>
                      <a:lnTo>
                        <a:pt x="16888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4" name="Google Shape;11767;p65">
                  <a:extLst>
                    <a:ext uri="{FF2B5EF4-FFF2-40B4-BE49-F238E27FC236}">
                      <a16:creationId xmlns:a16="http://schemas.microsoft.com/office/drawing/2014/main" id="{8D39D405-9309-58F7-B9FB-73DE6378DDFC}"/>
                    </a:ext>
                  </a:extLst>
                </p:cNvPr>
                <p:cNvSpPr/>
                <p:nvPr/>
              </p:nvSpPr>
              <p:spPr>
                <a:xfrm>
                  <a:off x="4166252" y="3490599"/>
                  <a:ext cx="73459" cy="95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40" h="12146" fill="none" extrusionOk="0">
                      <a:moveTo>
                        <a:pt x="1" y="0"/>
                      </a:moveTo>
                      <a:lnTo>
                        <a:pt x="9339" y="12146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5" name="Google Shape;11768;p65">
                  <a:extLst>
                    <a:ext uri="{FF2B5EF4-FFF2-40B4-BE49-F238E27FC236}">
                      <a16:creationId xmlns:a16="http://schemas.microsoft.com/office/drawing/2014/main" id="{0EB2C509-3714-7481-1A45-6406E654374E}"/>
                    </a:ext>
                  </a:extLst>
                </p:cNvPr>
                <p:cNvSpPr/>
                <p:nvPr/>
              </p:nvSpPr>
              <p:spPr>
                <a:xfrm>
                  <a:off x="4027726" y="3539882"/>
                  <a:ext cx="211985" cy="39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53" h="5082" fill="none" extrusionOk="0">
                      <a:moveTo>
                        <a:pt x="26952" y="5081"/>
                      </a:moveTo>
                      <a:lnTo>
                        <a:pt x="1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6" name="Google Shape;11769;p65">
                  <a:extLst>
                    <a:ext uri="{FF2B5EF4-FFF2-40B4-BE49-F238E27FC236}">
                      <a16:creationId xmlns:a16="http://schemas.microsoft.com/office/drawing/2014/main" id="{3E874BF7-5CD9-91AA-D617-88F66B981936}"/>
                    </a:ext>
                  </a:extLst>
                </p:cNvPr>
                <p:cNvSpPr/>
                <p:nvPr/>
              </p:nvSpPr>
              <p:spPr>
                <a:xfrm>
                  <a:off x="4027726" y="3539882"/>
                  <a:ext cx="99720" cy="1748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79" h="22235" fill="none" extrusionOk="0">
                      <a:moveTo>
                        <a:pt x="1" y="1"/>
                      </a:moveTo>
                      <a:lnTo>
                        <a:pt x="12678" y="2223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7" name="Google Shape;11770;p65">
                  <a:extLst>
                    <a:ext uri="{FF2B5EF4-FFF2-40B4-BE49-F238E27FC236}">
                      <a16:creationId xmlns:a16="http://schemas.microsoft.com/office/drawing/2014/main" id="{7E4728DB-BB02-68B5-3E30-2417BF31F7AB}"/>
                    </a:ext>
                  </a:extLst>
                </p:cNvPr>
                <p:cNvSpPr/>
                <p:nvPr/>
              </p:nvSpPr>
              <p:spPr>
                <a:xfrm>
                  <a:off x="4027726" y="3539882"/>
                  <a:ext cx="159754" cy="111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312" h="14203" fill="none" extrusionOk="0">
                      <a:moveTo>
                        <a:pt x="1" y="1"/>
                      </a:moveTo>
                      <a:lnTo>
                        <a:pt x="20311" y="142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8" name="Google Shape;11771;p65">
                  <a:extLst>
                    <a:ext uri="{FF2B5EF4-FFF2-40B4-BE49-F238E27FC236}">
                      <a16:creationId xmlns:a16="http://schemas.microsoft.com/office/drawing/2014/main" id="{2953C388-1107-38D8-8597-8EA9F2F21612}"/>
                    </a:ext>
                  </a:extLst>
                </p:cNvPr>
                <p:cNvSpPr/>
                <p:nvPr/>
              </p:nvSpPr>
              <p:spPr>
                <a:xfrm>
                  <a:off x="4006702" y="3641584"/>
                  <a:ext cx="120743" cy="7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2" h="9304" fill="none" extrusionOk="0">
                      <a:moveTo>
                        <a:pt x="0" y="1"/>
                      </a:moveTo>
                      <a:lnTo>
                        <a:pt x="15351" y="9303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69" name="Google Shape;11772;p65">
                  <a:extLst>
                    <a:ext uri="{FF2B5EF4-FFF2-40B4-BE49-F238E27FC236}">
                      <a16:creationId xmlns:a16="http://schemas.microsoft.com/office/drawing/2014/main" id="{4B886D39-3C02-F69A-5B24-A222A10C7EE0}"/>
                    </a:ext>
                  </a:extLst>
                </p:cNvPr>
                <p:cNvSpPr/>
                <p:nvPr/>
              </p:nvSpPr>
              <p:spPr>
                <a:xfrm>
                  <a:off x="4006702" y="3641584"/>
                  <a:ext cx="39773" cy="1402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57" h="17832" fill="none" extrusionOk="0">
                      <a:moveTo>
                        <a:pt x="5057" y="17832"/>
                      </a:moveTo>
                      <a:lnTo>
                        <a:pt x="0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70" name="Google Shape;11773;p65">
                  <a:extLst>
                    <a:ext uri="{FF2B5EF4-FFF2-40B4-BE49-F238E27FC236}">
                      <a16:creationId xmlns:a16="http://schemas.microsoft.com/office/drawing/2014/main" id="{FE76F693-9D47-6B6B-FF30-920F1E2259E5}"/>
                    </a:ext>
                  </a:extLst>
                </p:cNvPr>
                <p:cNvSpPr/>
                <p:nvPr/>
              </p:nvSpPr>
              <p:spPr>
                <a:xfrm>
                  <a:off x="3996423" y="3784585"/>
                  <a:ext cx="51862" cy="10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94" h="1307" fill="none" extrusionOk="0">
                      <a:moveTo>
                        <a:pt x="1" y="1307"/>
                      </a:moveTo>
                      <a:lnTo>
                        <a:pt x="6594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71" name="Google Shape;11774;p65">
                  <a:extLst>
                    <a:ext uri="{FF2B5EF4-FFF2-40B4-BE49-F238E27FC236}">
                      <a16:creationId xmlns:a16="http://schemas.microsoft.com/office/drawing/2014/main" id="{03832F7F-A8FC-5D0A-7315-8FCF9F44B096}"/>
                    </a:ext>
                  </a:extLst>
                </p:cNvPr>
                <p:cNvSpPr/>
                <p:nvPr/>
              </p:nvSpPr>
              <p:spPr>
                <a:xfrm>
                  <a:off x="4048277" y="3784585"/>
                  <a:ext cx="47583" cy="6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50" h="8759" fill="none" extrusionOk="0">
                      <a:moveTo>
                        <a:pt x="1" y="0"/>
                      </a:moveTo>
                      <a:lnTo>
                        <a:pt x="6049" y="8758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72" name="Google Shape;11775;p65">
                  <a:extLst>
                    <a:ext uri="{FF2B5EF4-FFF2-40B4-BE49-F238E27FC236}">
                      <a16:creationId xmlns:a16="http://schemas.microsoft.com/office/drawing/2014/main" id="{7540CAF9-80FF-39BA-9BD4-CDE0C67277AA}"/>
                    </a:ext>
                  </a:extLst>
                </p:cNvPr>
                <p:cNvSpPr/>
                <p:nvPr/>
              </p:nvSpPr>
              <p:spPr>
                <a:xfrm>
                  <a:off x="4095947" y="3788392"/>
                  <a:ext cx="10280" cy="64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07" h="8251" fill="none" extrusionOk="0">
                      <a:moveTo>
                        <a:pt x="0" y="8250"/>
                      </a:moveTo>
                      <a:lnTo>
                        <a:pt x="1307" y="0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73" name="Google Shape;11776;p65">
                  <a:extLst>
                    <a:ext uri="{FF2B5EF4-FFF2-40B4-BE49-F238E27FC236}">
                      <a16:creationId xmlns:a16="http://schemas.microsoft.com/office/drawing/2014/main" id="{682A3C45-FCC9-77F1-8E74-F6BA58FC0048}"/>
                    </a:ext>
                  </a:extLst>
                </p:cNvPr>
                <p:cNvSpPr/>
                <p:nvPr/>
              </p:nvSpPr>
              <p:spPr>
                <a:xfrm>
                  <a:off x="4095852" y="3853467"/>
                  <a:ext cx="45672" cy="15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07" h="2021" fill="none" extrusionOk="0">
                      <a:moveTo>
                        <a:pt x="0" y="0"/>
                      </a:moveTo>
                      <a:lnTo>
                        <a:pt x="5807" y="202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74" name="Google Shape;11777;p65">
                  <a:extLst>
                    <a:ext uri="{FF2B5EF4-FFF2-40B4-BE49-F238E27FC236}">
                      <a16:creationId xmlns:a16="http://schemas.microsoft.com/office/drawing/2014/main" id="{17CE3E22-9CE0-033E-74E8-E0EDD9229B50}"/>
                    </a:ext>
                  </a:extLst>
                </p:cNvPr>
                <p:cNvSpPr/>
                <p:nvPr/>
              </p:nvSpPr>
              <p:spPr>
                <a:xfrm>
                  <a:off x="4138567" y="3868308"/>
                  <a:ext cx="16469" cy="101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2932" fill="none" extrusionOk="0">
                      <a:moveTo>
                        <a:pt x="1" y="1"/>
                      </a:moveTo>
                      <a:lnTo>
                        <a:pt x="2093" y="1293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75" name="Google Shape;11778;p65">
                  <a:extLst>
                    <a:ext uri="{FF2B5EF4-FFF2-40B4-BE49-F238E27FC236}">
                      <a16:creationId xmlns:a16="http://schemas.microsoft.com/office/drawing/2014/main" id="{C31B300B-6805-10B1-F154-5CEBD1468B50}"/>
                    </a:ext>
                  </a:extLst>
                </p:cNvPr>
                <p:cNvSpPr/>
                <p:nvPr/>
              </p:nvSpPr>
              <p:spPr>
                <a:xfrm>
                  <a:off x="3875601" y="3592876"/>
                  <a:ext cx="131110" cy="487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670" h="6194" fill="none" extrusionOk="0">
                      <a:moveTo>
                        <a:pt x="0" y="0"/>
                      </a:moveTo>
                      <a:lnTo>
                        <a:pt x="16669" y="6194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76" name="Google Shape;11779;p65">
                  <a:extLst>
                    <a:ext uri="{FF2B5EF4-FFF2-40B4-BE49-F238E27FC236}">
                      <a16:creationId xmlns:a16="http://schemas.microsoft.com/office/drawing/2014/main" id="{1550FE5D-7CFA-44EA-D08B-4EC7989F9141}"/>
                    </a:ext>
                  </a:extLst>
                </p:cNvPr>
                <p:cNvSpPr/>
                <p:nvPr/>
              </p:nvSpPr>
              <p:spPr>
                <a:xfrm>
                  <a:off x="4164828" y="3394410"/>
                  <a:ext cx="26458" cy="931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11844" fill="none" extrusionOk="0">
                      <a:moveTo>
                        <a:pt x="0" y="11843"/>
                      </a:moveTo>
                      <a:lnTo>
                        <a:pt x="3363" y="1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77" name="Google Shape;11780;p65">
                  <a:extLst>
                    <a:ext uri="{FF2B5EF4-FFF2-40B4-BE49-F238E27FC236}">
                      <a16:creationId xmlns:a16="http://schemas.microsoft.com/office/drawing/2014/main" id="{728EDAAF-FFF2-E36A-0D1C-03A452AE08D5}"/>
                    </a:ext>
                  </a:extLst>
                </p:cNvPr>
                <p:cNvSpPr/>
                <p:nvPr/>
              </p:nvSpPr>
              <p:spPr>
                <a:xfrm>
                  <a:off x="4191278" y="3394410"/>
                  <a:ext cx="86586" cy="527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09" h="6703" fill="none" extrusionOk="0">
                      <a:moveTo>
                        <a:pt x="0" y="1"/>
                      </a:moveTo>
                      <a:lnTo>
                        <a:pt x="11008" y="6702"/>
                      </a:lnTo>
                    </a:path>
                  </a:pathLst>
                </a:custGeom>
                <a:noFill/>
                <a:ln w="1825" cap="flat" cmpd="sng">
                  <a:solidFill>
                    <a:srgbClr val="A5B7C5"/>
                  </a:solidFill>
                  <a:prstDash val="solid"/>
                  <a:miter lim="12096"/>
                  <a:headEnd type="none" w="sm" len="sm"/>
                  <a:tailEnd type="none" w="sm" len="sm"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85" name="Google Shape;11781;p65">
                <a:extLst>
                  <a:ext uri="{FF2B5EF4-FFF2-40B4-BE49-F238E27FC236}">
                    <a16:creationId xmlns:a16="http://schemas.microsoft.com/office/drawing/2014/main" id="{729917CD-FCC8-A8A8-28B5-DFEF3B55436B}"/>
                  </a:ext>
                </a:extLst>
              </p:cNvPr>
              <p:cNvGrpSpPr/>
              <p:nvPr/>
            </p:nvGrpSpPr>
            <p:grpSpPr>
              <a:xfrm>
                <a:off x="4180904" y="4251758"/>
                <a:ext cx="37783" cy="32420"/>
                <a:chOff x="4180904" y="4251758"/>
                <a:chExt cx="37783" cy="32420"/>
              </a:xfrm>
            </p:grpSpPr>
            <p:sp>
              <p:nvSpPr>
                <p:cNvPr id="2120" name="Google Shape;11782;p65">
                  <a:extLst>
                    <a:ext uri="{FF2B5EF4-FFF2-40B4-BE49-F238E27FC236}">
                      <a16:creationId xmlns:a16="http://schemas.microsoft.com/office/drawing/2014/main" id="{4A14B045-EE9C-B70B-4825-A18EF69C8DEA}"/>
                    </a:ext>
                  </a:extLst>
                </p:cNvPr>
                <p:cNvSpPr/>
                <p:nvPr/>
              </p:nvSpPr>
              <p:spPr>
                <a:xfrm>
                  <a:off x="4180904" y="4251758"/>
                  <a:ext cx="37783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2" extrusionOk="0">
                      <a:moveTo>
                        <a:pt x="2738" y="0"/>
                      </a:moveTo>
                      <a:cubicBezTo>
                        <a:pt x="2231" y="0"/>
                        <a:pt x="1715" y="190"/>
                        <a:pt x="1295" y="613"/>
                      </a:cubicBezTo>
                      <a:cubicBezTo>
                        <a:pt x="1" y="1908"/>
                        <a:pt x="920" y="4121"/>
                        <a:pt x="2759" y="4121"/>
                      </a:cubicBezTo>
                      <a:cubicBezTo>
                        <a:pt x="3884" y="4109"/>
                        <a:pt x="4803" y="3190"/>
                        <a:pt x="4803" y="2065"/>
                      </a:cubicBezTo>
                      <a:cubicBezTo>
                        <a:pt x="4803" y="823"/>
                        <a:pt x="3792" y="0"/>
                        <a:pt x="273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21" name="Google Shape;11783;p65">
                  <a:extLst>
                    <a:ext uri="{FF2B5EF4-FFF2-40B4-BE49-F238E27FC236}">
                      <a16:creationId xmlns:a16="http://schemas.microsoft.com/office/drawing/2014/main" id="{854D73D2-E0AA-DBD1-AAF5-2DF5DFDB09CE}"/>
                    </a:ext>
                  </a:extLst>
                </p:cNvPr>
                <p:cNvSpPr/>
                <p:nvPr/>
              </p:nvSpPr>
              <p:spPr>
                <a:xfrm>
                  <a:off x="4196037" y="426143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86" name="Google Shape;11784;p65">
                <a:extLst>
                  <a:ext uri="{FF2B5EF4-FFF2-40B4-BE49-F238E27FC236}">
                    <a16:creationId xmlns:a16="http://schemas.microsoft.com/office/drawing/2014/main" id="{DE265927-9027-8086-7211-5C1FEAD09D2B}"/>
                  </a:ext>
                </a:extLst>
              </p:cNvPr>
              <p:cNvGrpSpPr/>
              <p:nvPr/>
            </p:nvGrpSpPr>
            <p:grpSpPr>
              <a:xfrm>
                <a:off x="4201644" y="4081324"/>
                <a:ext cx="37783" cy="32364"/>
                <a:chOff x="4201644" y="4081324"/>
                <a:chExt cx="37783" cy="32364"/>
              </a:xfrm>
            </p:grpSpPr>
            <p:sp>
              <p:nvSpPr>
                <p:cNvPr id="2118" name="Google Shape;11785;p65">
                  <a:extLst>
                    <a:ext uri="{FF2B5EF4-FFF2-40B4-BE49-F238E27FC236}">
                      <a16:creationId xmlns:a16="http://schemas.microsoft.com/office/drawing/2014/main" id="{38BBEF28-7236-2875-D055-EF2552C47EFA}"/>
                    </a:ext>
                  </a:extLst>
                </p:cNvPr>
                <p:cNvSpPr/>
                <p:nvPr/>
              </p:nvSpPr>
              <p:spPr>
                <a:xfrm>
                  <a:off x="4201644" y="4081324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19" name="Google Shape;11786;p65">
                  <a:extLst>
                    <a:ext uri="{FF2B5EF4-FFF2-40B4-BE49-F238E27FC236}">
                      <a16:creationId xmlns:a16="http://schemas.microsoft.com/office/drawing/2014/main" id="{28974AD5-E95C-FEF2-3980-9043F32775CA}"/>
                    </a:ext>
                  </a:extLst>
                </p:cNvPr>
                <p:cNvSpPr/>
                <p:nvPr/>
              </p:nvSpPr>
              <p:spPr>
                <a:xfrm>
                  <a:off x="4214582" y="4091037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02" y="0"/>
                      </a:moveTo>
                      <a:cubicBezTo>
                        <a:pt x="364" y="0"/>
                        <a:pt x="1" y="883"/>
                        <a:pt x="521" y="1415"/>
                      </a:cubicBezTo>
                      <a:cubicBezTo>
                        <a:pt x="688" y="1582"/>
                        <a:pt x="894" y="1657"/>
                        <a:pt x="1096" y="1657"/>
                      </a:cubicBezTo>
                      <a:cubicBezTo>
                        <a:pt x="1524" y="1657"/>
                        <a:pt x="1936" y="1323"/>
                        <a:pt x="1936" y="823"/>
                      </a:cubicBezTo>
                      <a:cubicBezTo>
                        <a:pt x="1936" y="363"/>
                        <a:pt x="1561" y="0"/>
                        <a:pt x="1102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87" name="Google Shape;11787;p65">
                <a:extLst>
                  <a:ext uri="{FF2B5EF4-FFF2-40B4-BE49-F238E27FC236}">
                    <a16:creationId xmlns:a16="http://schemas.microsoft.com/office/drawing/2014/main" id="{BB2C9162-DFF8-E899-7A7F-CB259BF5C158}"/>
                  </a:ext>
                </a:extLst>
              </p:cNvPr>
              <p:cNvGrpSpPr/>
              <p:nvPr/>
            </p:nvGrpSpPr>
            <p:grpSpPr>
              <a:xfrm>
                <a:off x="4284416" y="3887428"/>
                <a:ext cx="37783" cy="32451"/>
                <a:chOff x="4284416" y="3887428"/>
                <a:chExt cx="37783" cy="32451"/>
              </a:xfrm>
            </p:grpSpPr>
            <p:sp>
              <p:nvSpPr>
                <p:cNvPr id="2116" name="Google Shape;11788;p65">
                  <a:extLst>
                    <a:ext uri="{FF2B5EF4-FFF2-40B4-BE49-F238E27FC236}">
                      <a16:creationId xmlns:a16="http://schemas.microsoft.com/office/drawing/2014/main" id="{8E70BB65-81C5-DED7-53E7-C63A14BD2883}"/>
                    </a:ext>
                  </a:extLst>
                </p:cNvPr>
                <p:cNvSpPr/>
                <p:nvPr/>
              </p:nvSpPr>
              <p:spPr>
                <a:xfrm>
                  <a:off x="4284416" y="3887428"/>
                  <a:ext cx="37783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26" extrusionOk="0">
                      <a:moveTo>
                        <a:pt x="2731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1" y="1900"/>
                        <a:pt x="920" y="4126"/>
                        <a:pt x="2747" y="4126"/>
                      </a:cubicBezTo>
                      <a:cubicBezTo>
                        <a:pt x="3884" y="4114"/>
                        <a:pt x="4803" y="3195"/>
                        <a:pt x="4803" y="2070"/>
                      </a:cubicBezTo>
                      <a:cubicBezTo>
                        <a:pt x="4803" y="824"/>
                        <a:pt x="3788" y="1"/>
                        <a:pt x="273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17" name="Google Shape;11789;p65">
                  <a:extLst>
                    <a:ext uri="{FF2B5EF4-FFF2-40B4-BE49-F238E27FC236}">
                      <a16:creationId xmlns:a16="http://schemas.microsoft.com/office/drawing/2014/main" id="{FA64E342-035D-3077-74B1-F794BA28B0ED}"/>
                    </a:ext>
                  </a:extLst>
                </p:cNvPr>
                <p:cNvSpPr/>
                <p:nvPr/>
              </p:nvSpPr>
              <p:spPr>
                <a:xfrm>
                  <a:off x="4299548" y="3897039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35"/>
                      </a:cubicBezTo>
                      <a:cubicBezTo>
                        <a:pt x="0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88" name="Google Shape;11790;p65">
                <a:extLst>
                  <a:ext uri="{FF2B5EF4-FFF2-40B4-BE49-F238E27FC236}">
                    <a16:creationId xmlns:a16="http://schemas.microsoft.com/office/drawing/2014/main" id="{18C7612D-2798-6FC1-925F-E7DF5C0DDC61}"/>
                  </a:ext>
                </a:extLst>
              </p:cNvPr>
              <p:cNvGrpSpPr/>
              <p:nvPr/>
            </p:nvGrpSpPr>
            <p:grpSpPr>
              <a:xfrm>
                <a:off x="4223721" y="3860404"/>
                <a:ext cx="37870" cy="32364"/>
                <a:chOff x="4223721" y="3860404"/>
                <a:chExt cx="37870" cy="32364"/>
              </a:xfrm>
            </p:grpSpPr>
            <p:sp>
              <p:nvSpPr>
                <p:cNvPr id="2114" name="Google Shape;11791;p65">
                  <a:extLst>
                    <a:ext uri="{FF2B5EF4-FFF2-40B4-BE49-F238E27FC236}">
                      <a16:creationId xmlns:a16="http://schemas.microsoft.com/office/drawing/2014/main" id="{592BBE59-DDC4-1393-41B6-BDFB17DCC823}"/>
                    </a:ext>
                  </a:extLst>
                </p:cNvPr>
                <p:cNvSpPr/>
                <p:nvPr/>
              </p:nvSpPr>
              <p:spPr>
                <a:xfrm>
                  <a:off x="4223721" y="3860404"/>
                  <a:ext cx="37870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5" extrusionOk="0">
                      <a:moveTo>
                        <a:pt x="2735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58" y="4114"/>
                      </a:cubicBezTo>
                      <a:cubicBezTo>
                        <a:pt x="3883" y="4114"/>
                        <a:pt x="4803" y="3195"/>
                        <a:pt x="4815" y="2058"/>
                      </a:cubicBezTo>
                      <a:cubicBezTo>
                        <a:pt x="4815" y="822"/>
                        <a:pt x="3795" y="1"/>
                        <a:pt x="273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15" name="Google Shape;11792;p65">
                  <a:extLst>
                    <a:ext uri="{FF2B5EF4-FFF2-40B4-BE49-F238E27FC236}">
                      <a16:creationId xmlns:a16="http://schemas.microsoft.com/office/drawing/2014/main" id="{F81CAB8E-57AD-F6F4-394B-1797F3C348A6}"/>
                    </a:ext>
                  </a:extLst>
                </p:cNvPr>
                <p:cNvSpPr/>
                <p:nvPr/>
              </p:nvSpPr>
              <p:spPr>
                <a:xfrm>
                  <a:off x="4238846" y="38701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89" name="Google Shape;11793;p65">
                <a:extLst>
                  <a:ext uri="{FF2B5EF4-FFF2-40B4-BE49-F238E27FC236}">
                    <a16:creationId xmlns:a16="http://schemas.microsoft.com/office/drawing/2014/main" id="{9383297F-AC21-3420-2C2C-F767B0F9FDFE}"/>
                  </a:ext>
                </a:extLst>
              </p:cNvPr>
              <p:cNvGrpSpPr/>
              <p:nvPr/>
            </p:nvGrpSpPr>
            <p:grpSpPr>
              <a:xfrm>
                <a:off x="4104889" y="3699242"/>
                <a:ext cx="37776" cy="32357"/>
                <a:chOff x="4104889" y="3699242"/>
                <a:chExt cx="37776" cy="32357"/>
              </a:xfrm>
            </p:grpSpPr>
            <p:sp>
              <p:nvSpPr>
                <p:cNvPr id="2112" name="Google Shape;11794;p65">
                  <a:extLst>
                    <a:ext uri="{FF2B5EF4-FFF2-40B4-BE49-F238E27FC236}">
                      <a16:creationId xmlns:a16="http://schemas.microsoft.com/office/drawing/2014/main" id="{95A304C6-ACB0-ECA9-CA00-7EE5A54CDFE8}"/>
                    </a:ext>
                  </a:extLst>
                </p:cNvPr>
                <p:cNvSpPr/>
                <p:nvPr/>
              </p:nvSpPr>
              <p:spPr>
                <a:xfrm>
                  <a:off x="4104889" y="3699242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8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13" name="Google Shape;11795;p65">
                  <a:extLst>
                    <a:ext uri="{FF2B5EF4-FFF2-40B4-BE49-F238E27FC236}">
                      <a16:creationId xmlns:a16="http://schemas.microsoft.com/office/drawing/2014/main" id="{C5B61279-2E15-5201-228E-2DAD379A95B2}"/>
                    </a:ext>
                  </a:extLst>
                </p:cNvPr>
                <p:cNvSpPr/>
                <p:nvPr/>
              </p:nvSpPr>
              <p:spPr>
                <a:xfrm>
                  <a:off x="4120013" y="3708948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76" y="0"/>
                        <a:pt x="1" y="375"/>
                        <a:pt x="1" y="823"/>
                      </a:cubicBezTo>
                      <a:cubicBezTo>
                        <a:pt x="1" y="1283"/>
                        <a:pt x="376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90" name="Google Shape;11796;p65">
                <a:extLst>
                  <a:ext uri="{FF2B5EF4-FFF2-40B4-BE49-F238E27FC236}">
                    <a16:creationId xmlns:a16="http://schemas.microsoft.com/office/drawing/2014/main" id="{E5E953FE-7A48-7EF2-C236-D1311771D109}"/>
                  </a:ext>
                </a:extLst>
              </p:cNvPr>
              <p:cNvGrpSpPr/>
              <p:nvPr/>
            </p:nvGrpSpPr>
            <p:grpSpPr>
              <a:xfrm>
                <a:off x="4143608" y="3475121"/>
                <a:ext cx="37878" cy="32420"/>
                <a:chOff x="4143608" y="3475121"/>
                <a:chExt cx="37878" cy="32420"/>
              </a:xfrm>
            </p:grpSpPr>
            <p:sp>
              <p:nvSpPr>
                <p:cNvPr id="2110" name="Google Shape;11797;p65">
                  <a:extLst>
                    <a:ext uri="{FF2B5EF4-FFF2-40B4-BE49-F238E27FC236}">
                      <a16:creationId xmlns:a16="http://schemas.microsoft.com/office/drawing/2014/main" id="{80147BDA-39F7-5A5F-0589-249CA1EA386A}"/>
                    </a:ext>
                  </a:extLst>
                </p:cNvPr>
                <p:cNvSpPr/>
                <p:nvPr/>
              </p:nvSpPr>
              <p:spPr>
                <a:xfrm>
                  <a:off x="4143608" y="3475121"/>
                  <a:ext cx="37878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6" h="4122" extrusionOk="0">
                      <a:moveTo>
                        <a:pt x="2750" y="0"/>
                      </a:moveTo>
                      <a:cubicBezTo>
                        <a:pt x="2244" y="0"/>
                        <a:pt x="1727" y="190"/>
                        <a:pt x="1307" y="614"/>
                      </a:cubicBezTo>
                      <a:cubicBezTo>
                        <a:pt x="1" y="1908"/>
                        <a:pt x="920" y="4122"/>
                        <a:pt x="2759" y="4122"/>
                      </a:cubicBezTo>
                      <a:cubicBezTo>
                        <a:pt x="3896" y="4122"/>
                        <a:pt x="4815" y="3202"/>
                        <a:pt x="4815" y="2065"/>
                      </a:cubicBezTo>
                      <a:cubicBezTo>
                        <a:pt x="4815" y="823"/>
                        <a:pt x="3805" y="0"/>
                        <a:pt x="275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11" name="Google Shape;11798;p65">
                  <a:extLst>
                    <a:ext uri="{FF2B5EF4-FFF2-40B4-BE49-F238E27FC236}">
                      <a16:creationId xmlns:a16="http://schemas.microsoft.com/office/drawing/2014/main" id="{FC200C72-8125-E00F-DF53-C9684BADB780}"/>
                    </a:ext>
                  </a:extLst>
                </p:cNvPr>
                <p:cNvSpPr/>
                <p:nvPr/>
              </p:nvSpPr>
              <p:spPr>
                <a:xfrm>
                  <a:off x="4158741" y="348479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5" y="1"/>
                        <a:pt x="0" y="376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94" y="1658"/>
                        <a:pt x="1657" y="1295"/>
                        <a:pt x="1657" y="835"/>
                      </a:cubicBezTo>
                      <a:cubicBezTo>
                        <a:pt x="1657" y="376"/>
                        <a:pt x="1294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91" name="Google Shape;11799;p65">
                <a:extLst>
                  <a:ext uri="{FF2B5EF4-FFF2-40B4-BE49-F238E27FC236}">
                    <a16:creationId xmlns:a16="http://schemas.microsoft.com/office/drawing/2014/main" id="{09EADC91-AD03-74DD-E4C0-7F7AC91BCC37}"/>
                  </a:ext>
                </a:extLst>
              </p:cNvPr>
              <p:cNvGrpSpPr/>
              <p:nvPr/>
            </p:nvGrpSpPr>
            <p:grpSpPr>
              <a:xfrm>
                <a:off x="4217248" y="3570893"/>
                <a:ext cx="37776" cy="32364"/>
                <a:chOff x="4217248" y="3570893"/>
                <a:chExt cx="37776" cy="32364"/>
              </a:xfrm>
            </p:grpSpPr>
            <p:sp>
              <p:nvSpPr>
                <p:cNvPr id="2108" name="Google Shape;11800;p65">
                  <a:extLst>
                    <a:ext uri="{FF2B5EF4-FFF2-40B4-BE49-F238E27FC236}">
                      <a16:creationId xmlns:a16="http://schemas.microsoft.com/office/drawing/2014/main" id="{B5A99263-A7D5-6250-587A-C2D0CF7245F5}"/>
                    </a:ext>
                  </a:extLst>
                </p:cNvPr>
                <p:cNvSpPr/>
                <p:nvPr/>
              </p:nvSpPr>
              <p:spPr>
                <a:xfrm>
                  <a:off x="4217248" y="3570893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8" y="1"/>
                        <a:pt x="1713" y="188"/>
                        <a:pt x="1295" y="606"/>
                      </a:cubicBezTo>
                      <a:cubicBezTo>
                        <a:pt x="1" y="1900"/>
                        <a:pt x="920" y="4114"/>
                        <a:pt x="2759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09" name="Google Shape;11801;p65">
                  <a:extLst>
                    <a:ext uri="{FF2B5EF4-FFF2-40B4-BE49-F238E27FC236}">
                      <a16:creationId xmlns:a16="http://schemas.microsoft.com/office/drawing/2014/main" id="{A753C62B-3C11-6E48-695C-D259C3653EEC}"/>
                    </a:ext>
                  </a:extLst>
                </p:cNvPr>
                <p:cNvSpPr/>
                <p:nvPr/>
              </p:nvSpPr>
              <p:spPr>
                <a:xfrm>
                  <a:off x="4232373" y="3580599"/>
                  <a:ext cx="13048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9" extrusionOk="0">
                      <a:moveTo>
                        <a:pt x="824" y="1"/>
                      </a:moveTo>
                      <a:cubicBezTo>
                        <a:pt x="364" y="1"/>
                        <a:pt x="1" y="376"/>
                        <a:pt x="1" y="824"/>
                      </a:cubicBezTo>
                      <a:cubicBezTo>
                        <a:pt x="1" y="1283"/>
                        <a:pt x="364" y="1658"/>
                        <a:pt x="824" y="1658"/>
                      </a:cubicBezTo>
                      <a:cubicBezTo>
                        <a:pt x="1283" y="1658"/>
                        <a:pt x="1658" y="1283"/>
                        <a:pt x="1658" y="824"/>
                      </a:cubicBezTo>
                      <a:cubicBezTo>
                        <a:pt x="1658" y="376"/>
                        <a:pt x="1283" y="1"/>
                        <a:pt x="82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92" name="Google Shape;11802;p65">
                <a:extLst>
                  <a:ext uri="{FF2B5EF4-FFF2-40B4-BE49-F238E27FC236}">
                    <a16:creationId xmlns:a16="http://schemas.microsoft.com/office/drawing/2014/main" id="{C5A6C2AD-FB83-654E-E990-400B7BF23B0F}"/>
                  </a:ext>
                </a:extLst>
              </p:cNvPr>
              <p:cNvGrpSpPr/>
              <p:nvPr/>
            </p:nvGrpSpPr>
            <p:grpSpPr>
              <a:xfrm>
                <a:off x="4255307" y="3431612"/>
                <a:ext cx="37776" cy="32451"/>
                <a:chOff x="4255307" y="3431612"/>
                <a:chExt cx="37776" cy="32451"/>
              </a:xfrm>
            </p:grpSpPr>
            <p:sp>
              <p:nvSpPr>
                <p:cNvPr id="2106" name="Google Shape;11803;p65">
                  <a:extLst>
                    <a:ext uri="{FF2B5EF4-FFF2-40B4-BE49-F238E27FC236}">
                      <a16:creationId xmlns:a16="http://schemas.microsoft.com/office/drawing/2014/main" id="{70434F13-BF45-59B8-36F7-F137984EF3A4}"/>
                    </a:ext>
                  </a:extLst>
                </p:cNvPr>
                <p:cNvSpPr/>
                <p:nvPr/>
              </p:nvSpPr>
              <p:spPr>
                <a:xfrm>
                  <a:off x="4255307" y="3431612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5" y="605"/>
                      </a:cubicBezTo>
                      <a:cubicBezTo>
                        <a:pt x="0" y="1912"/>
                        <a:pt x="920" y="4125"/>
                        <a:pt x="2758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07" name="Google Shape;11804;p65">
                  <a:extLst>
                    <a:ext uri="{FF2B5EF4-FFF2-40B4-BE49-F238E27FC236}">
                      <a16:creationId xmlns:a16="http://schemas.microsoft.com/office/drawing/2014/main" id="{88B80D01-9D70-C3EA-14FB-B8B8CD7CC8CD}"/>
                    </a:ext>
                  </a:extLst>
                </p:cNvPr>
                <p:cNvSpPr/>
                <p:nvPr/>
              </p:nvSpPr>
              <p:spPr>
                <a:xfrm>
                  <a:off x="4270432" y="3441317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75"/>
                        <a:pt x="1" y="835"/>
                      </a:cubicBezTo>
                      <a:cubicBezTo>
                        <a:pt x="1" y="1295"/>
                        <a:pt x="376" y="1658"/>
                        <a:pt x="835" y="1658"/>
                      </a:cubicBezTo>
                      <a:cubicBezTo>
                        <a:pt x="1295" y="1658"/>
                        <a:pt x="1658" y="1295"/>
                        <a:pt x="1658" y="835"/>
                      </a:cubicBezTo>
                      <a:cubicBezTo>
                        <a:pt x="1658" y="375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93" name="Google Shape;11805;p65">
                <a:extLst>
                  <a:ext uri="{FF2B5EF4-FFF2-40B4-BE49-F238E27FC236}">
                    <a16:creationId xmlns:a16="http://schemas.microsoft.com/office/drawing/2014/main" id="{B8BDFCA1-14A8-B27E-D5DF-33BC8FC20298}"/>
                  </a:ext>
                </a:extLst>
              </p:cNvPr>
              <p:cNvGrpSpPr/>
              <p:nvPr/>
            </p:nvGrpSpPr>
            <p:grpSpPr>
              <a:xfrm>
                <a:off x="3853052" y="3577398"/>
                <a:ext cx="37776" cy="32420"/>
                <a:chOff x="3853052" y="3577398"/>
                <a:chExt cx="37776" cy="32420"/>
              </a:xfrm>
            </p:grpSpPr>
            <p:sp>
              <p:nvSpPr>
                <p:cNvPr id="2104" name="Google Shape;11806;p65">
                  <a:extLst>
                    <a:ext uri="{FF2B5EF4-FFF2-40B4-BE49-F238E27FC236}">
                      <a16:creationId xmlns:a16="http://schemas.microsoft.com/office/drawing/2014/main" id="{924A3272-C88A-AE49-DC2E-6BBBA9E22AC5}"/>
                    </a:ext>
                  </a:extLst>
                </p:cNvPr>
                <p:cNvSpPr/>
                <p:nvPr/>
              </p:nvSpPr>
              <p:spPr>
                <a:xfrm>
                  <a:off x="3853052" y="3577398"/>
                  <a:ext cx="37776" cy="324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2" extrusionOk="0">
                      <a:moveTo>
                        <a:pt x="2737" y="0"/>
                      </a:moveTo>
                      <a:cubicBezTo>
                        <a:pt x="2231" y="0"/>
                        <a:pt x="1714" y="190"/>
                        <a:pt x="1294" y="614"/>
                      </a:cubicBezTo>
                      <a:cubicBezTo>
                        <a:pt x="0" y="1908"/>
                        <a:pt x="919" y="4122"/>
                        <a:pt x="2746" y="4122"/>
                      </a:cubicBezTo>
                      <a:cubicBezTo>
                        <a:pt x="3883" y="4122"/>
                        <a:pt x="4803" y="3202"/>
                        <a:pt x="4803" y="2065"/>
                      </a:cubicBezTo>
                      <a:cubicBezTo>
                        <a:pt x="4803" y="823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05" name="Google Shape;11807;p65">
                  <a:extLst>
                    <a:ext uri="{FF2B5EF4-FFF2-40B4-BE49-F238E27FC236}">
                      <a16:creationId xmlns:a16="http://schemas.microsoft.com/office/drawing/2014/main" id="{7D6319C7-C7A7-577E-2F6B-3BEF9D4C6688}"/>
                    </a:ext>
                  </a:extLst>
                </p:cNvPr>
                <p:cNvSpPr/>
                <p:nvPr/>
              </p:nvSpPr>
              <p:spPr>
                <a:xfrm>
                  <a:off x="3868176" y="358707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76"/>
                        <a:pt x="1" y="835"/>
                      </a:cubicBezTo>
                      <a:cubicBezTo>
                        <a:pt x="1" y="1295"/>
                        <a:pt x="363" y="1658"/>
                        <a:pt x="823" y="1658"/>
                      </a:cubicBezTo>
                      <a:cubicBezTo>
                        <a:pt x="1283" y="1658"/>
                        <a:pt x="1658" y="1295"/>
                        <a:pt x="1658" y="835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94" name="Google Shape;11808;p65">
                <a:extLst>
                  <a:ext uri="{FF2B5EF4-FFF2-40B4-BE49-F238E27FC236}">
                    <a16:creationId xmlns:a16="http://schemas.microsoft.com/office/drawing/2014/main" id="{D3DBE287-9159-1473-FDB9-F5F35293693E}"/>
                  </a:ext>
                </a:extLst>
              </p:cNvPr>
              <p:cNvGrpSpPr/>
              <p:nvPr/>
            </p:nvGrpSpPr>
            <p:grpSpPr>
              <a:xfrm>
                <a:off x="4039908" y="3412107"/>
                <a:ext cx="37776" cy="32357"/>
                <a:chOff x="4039908" y="3412107"/>
                <a:chExt cx="37776" cy="32357"/>
              </a:xfrm>
            </p:grpSpPr>
            <p:sp>
              <p:nvSpPr>
                <p:cNvPr id="2102" name="Google Shape;11809;p65">
                  <a:extLst>
                    <a:ext uri="{FF2B5EF4-FFF2-40B4-BE49-F238E27FC236}">
                      <a16:creationId xmlns:a16="http://schemas.microsoft.com/office/drawing/2014/main" id="{AC774143-FDB6-1BE5-1193-B0A1D89468F0}"/>
                    </a:ext>
                  </a:extLst>
                </p:cNvPr>
                <p:cNvSpPr/>
                <p:nvPr/>
              </p:nvSpPr>
              <p:spPr>
                <a:xfrm>
                  <a:off x="4039908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03" name="Google Shape;11810;p65">
                  <a:extLst>
                    <a:ext uri="{FF2B5EF4-FFF2-40B4-BE49-F238E27FC236}">
                      <a16:creationId xmlns:a16="http://schemas.microsoft.com/office/drawing/2014/main" id="{CA4E5E82-03FF-4339-334F-940B9CFA2C0A}"/>
                    </a:ext>
                  </a:extLst>
                </p:cNvPr>
                <p:cNvSpPr/>
                <p:nvPr/>
              </p:nvSpPr>
              <p:spPr>
                <a:xfrm>
                  <a:off x="4055033" y="3421812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1" y="363"/>
                        <a:pt x="1" y="823"/>
                      </a:cubicBezTo>
                      <a:cubicBezTo>
                        <a:pt x="1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95" name="Google Shape;11811;p65">
                <a:extLst>
                  <a:ext uri="{FF2B5EF4-FFF2-40B4-BE49-F238E27FC236}">
                    <a16:creationId xmlns:a16="http://schemas.microsoft.com/office/drawing/2014/main" id="{473A747B-0A50-03F4-087C-87011ADBB22D}"/>
                  </a:ext>
                </a:extLst>
              </p:cNvPr>
              <p:cNvGrpSpPr/>
              <p:nvPr/>
            </p:nvGrpSpPr>
            <p:grpSpPr>
              <a:xfrm>
                <a:off x="4017360" y="3342061"/>
                <a:ext cx="37870" cy="32380"/>
                <a:chOff x="4017360" y="3342061"/>
                <a:chExt cx="37870" cy="32380"/>
              </a:xfrm>
            </p:grpSpPr>
            <p:sp>
              <p:nvSpPr>
                <p:cNvPr id="2100" name="Google Shape;11812;p65">
                  <a:extLst>
                    <a:ext uri="{FF2B5EF4-FFF2-40B4-BE49-F238E27FC236}">
                      <a16:creationId xmlns:a16="http://schemas.microsoft.com/office/drawing/2014/main" id="{6429377C-62CD-D466-6767-327ADDE90732}"/>
                    </a:ext>
                  </a:extLst>
                </p:cNvPr>
                <p:cNvSpPr/>
                <p:nvPr/>
              </p:nvSpPr>
              <p:spPr>
                <a:xfrm>
                  <a:off x="4017360" y="3342061"/>
                  <a:ext cx="37870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15" h="4117" extrusionOk="0">
                      <a:moveTo>
                        <a:pt x="2749" y="0"/>
                      </a:moveTo>
                      <a:cubicBezTo>
                        <a:pt x="2243" y="0"/>
                        <a:pt x="1726" y="189"/>
                        <a:pt x="1307" y="608"/>
                      </a:cubicBezTo>
                      <a:cubicBezTo>
                        <a:pt x="0" y="1903"/>
                        <a:pt x="920" y="4116"/>
                        <a:pt x="2758" y="4116"/>
                      </a:cubicBezTo>
                      <a:cubicBezTo>
                        <a:pt x="3895" y="4116"/>
                        <a:pt x="4815" y="3197"/>
                        <a:pt x="4815" y="2060"/>
                      </a:cubicBezTo>
                      <a:cubicBezTo>
                        <a:pt x="4815" y="817"/>
                        <a:pt x="3804" y="0"/>
                        <a:pt x="2749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101" name="Google Shape;11813;p65">
                  <a:extLst>
                    <a:ext uri="{FF2B5EF4-FFF2-40B4-BE49-F238E27FC236}">
                      <a16:creationId xmlns:a16="http://schemas.microsoft.com/office/drawing/2014/main" id="{D61D300E-E201-9AFC-F019-FF937A3BADF7}"/>
                    </a:ext>
                  </a:extLst>
                </p:cNvPr>
                <p:cNvSpPr/>
                <p:nvPr/>
              </p:nvSpPr>
              <p:spPr>
                <a:xfrm>
                  <a:off x="4032484" y="3351790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6" y="0"/>
                        <a:pt x="1" y="363"/>
                        <a:pt x="1" y="823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23"/>
                      </a:cubicBezTo>
                      <a:cubicBezTo>
                        <a:pt x="1658" y="363"/>
                        <a:pt x="1295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1996" name="Google Shape;11814;p65">
                <a:extLst>
                  <a:ext uri="{FF2B5EF4-FFF2-40B4-BE49-F238E27FC236}">
                    <a16:creationId xmlns:a16="http://schemas.microsoft.com/office/drawing/2014/main" id="{D8CEFBCE-87E5-7C92-CBAB-6A3F4CD67A5A}"/>
                  </a:ext>
                </a:extLst>
              </p:cNvPr>
              <p:cNvSpPr/>
              <p:nvPr/>
            </p:nvSpPr>
            <p:spPr>
              <a:xfrm>
                <a:off x="3998712" y="3520180"/>
                <a:ext cx="47764" cy="40929"/>
              </a:xfrm>
              <a:custGeom>
                <a:avLst/>
                <a:gdLst/>
                <a:ahLst/>
                <a:cxnLst/>
                <a:rect l="l" t="t" r="r" b="b"/>
                <a:pathLst>
                  <a:path w="6073" h="5204" extrusionOk="0">
                    <a:moveTo>
                      <a:pt x="3457" y="0"/>
                    </a:moveTo>
                    <a:cubicBezTo>
                      <a:pt x="2821" y="0"/>
                      <a:pt x="2173" y="236"/>
                      <a:pt x="1645" y="764"/>
                    </a:cubicBezTo>
                    <a:cubicBezTo>
                      <a:pt x="0" y="2397"/>
                      <a:pt x="1162" y="5191"/>
                      <a:pt x="3472" y="5203"/>
                    </a:cubicBezTo>
                    <a:cubicBezTo>
                      <a:pt x="4899" y="5191"/>
                      <a:pt x="6061" y="4030"/>
                      <a:pt x="6073" y="2602"/>
                    </a:cubicBezTo>
                    <a:cubicBezTo>
                      <a:pt x="6073" y="1038"/>
                      <a:pt x="4792" y="0"/>
                      <a:pt x="3457" y="0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sp>
            <p:nvSpPr>
              <p:cNvPr id="1997" name="Google Shape;11815;p65">
                <a:extLst>
                  <a:ext uri="{FF2B5EF4-FFF2-40B4-BE49-F238E27FC236}">
                    <a16:creationId xmlns:a16="http://schemas.microsoft.com/office/drawing/2014/main" id="{FF7E4122-7A46-B86B-4B2F-F1948F064678}"/>
                  </a:ext>
                </a:extLst>
              </p:cNvPr>
              <p:cNvSpPr/>
              <p:nvPr/>
            </p:nvSpPr>
            <p:spPr>
              <a:xfrm>
                <a:off x="4011744" y="3529893"/>
                <a:ext cx="25026" cy="21448"/>
              </a:xfrm>
              <a:custGeom>
                <a:avLst/>
                <a:gdLst/>
                <a:ahLst/>
                <a:cxnLst/>
                <a:rect l="l" t="t" r="r" b="b"/>
                <a:pathLst>
                  <a:path w="3182" h="2727" extrusionOk="0">
                    <a:moveTo>
                      <a:pt x="1815" y="0"/>
                    </a:moveTo>
                    <a:cubicBezTo>
                      <a:pt x="605" y="0"/>
                      <a:pt x="1" y="1464"/>
                      <a:pt x="847" y="2323"/>
                    </a:cubicBezTo>
                    <a:cubicBezTo>
                      <a:pt x="1126" y="2601"/>
                      <a:pt x="1468" y="2726"/>
                      <a:pt x="1803" y="2726"/>
                    </a:cubicBezTo>
                    <a:cubicBezTo>
                      <a:pt x="2503" y="2726"/>
                      <a:pt x="3174" y="2185"/>
                      <a:pt x="3182" y="1367"/>
                    </a:cubicBezTo>
                    <a:cubicBezTo>
                      <a:pt x="3182" y="605"/>
                      <a:pt x="2565" y="0"/>
                      <a:pt x="1815" y="0"/>
                    </a:cubicBezTo>
                    <a:close/>
                  </a:path>
                </a:pathLst>
              </a:custGeom>
              <a:solidFill>
                <a:srgbClr val="869FB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/>
                  <a:sym typeface="Arial" panose="020B0604020202020204"/>
                </a:endParaRPr>
              </a:p>
            </p:txBody>
          </p:sp>
          <p:grpSp>
            <p:nvGrpSpPr>
              <p:cNvPr id="1998" name="Google Shape;11816;p65">
                <a:extLst>
                  <a:ext uri="{FF2B5EF4-FFF2-40B4-BE49-F238E27FC236}">
                    <a16:creationId xmlns:a16="http://schemas.microsoft.com/office/drawing/2014/main" id="{EEDFC2BA-3EC2-9D2C-9B62-F57EE32CC4DD}"/>
                  </a:ext>
                </a:extLst>
              </p:cNvPr>
              <p:cNvGrpSpPr/>
              <p:nvPr/>
            </p:nvGrpSpPr>
            <p:grpSpPr>
              <a:xfrm>
                <a:off x="3750870" y="3418650"/>
                <a:ext cx="37776" cy="32380"/>
                <a:chOff x="3750870" y="3418650"/>
                <a:chExt cx="37776" cy="32380"/>
              </a:xfrm>
            </p:grpSpPr>
            <p:sp>
              <p:nvSpPr>
                <p:cNvPr id="2098" name="Google Shape;11817;p65">
                  <a:extLst>
                    <a:ext uri="{FF2B5EF4-FFF2-40B4-BE49-F238E27FC236}">
                      <a16:creationId xmlns:a16="http://schemas.microsoft.com/office/drawing/2014/main" id="{4E401203-6333-407E-9890-A2C05A59D41A}"/>
                    </a:ext>
                  </a:extLst>
                </p:cNvPr>
                <p:cNvSpPr/>
                <p:nvPr/>
              </p:nvSpPr>
              <p:spPr>
                <a:xfrm>
                  <a:off x="3750870" y="3418650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0"/>
                      </a:moveTo>
                      <a:cubicBezTo>
                        <a:pt x="2231" y="0"/>
                        <a:pt x="1714" y="188"/>
                        <a:pt x="1295" y="608"/>
                      </a:cubicBezTo>
                      <a:cubicBezTo>
                        <a:pt x="0" y="1903"/>
                        <a:pt x="920" y="4116"/>
                        <a:pt x="2746" y="4116"/>
                      </a:cubicBezTo>
                      <a:cubicBezTo>
                        <a:pt x="3883" y="4104"/>
                        <a:pt x="4803" y="3185"/>
                        <a:pt x="4803" y="2060"/>
                      </a:cubicBezTo>
                      <a:cubicBezTo>
                        <a:pt x="4803" y="817"/>
                        <a:pt x="3792" y="0"/>
                        <a:pt x="2737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99" name="Google Shape;11818;p65">
                  <a:extLst>
                    <a:ext uri="{FF2B5EF4-FFF2-40B4-BE49-F238E27FC236}">
                      <a16:creationId xmlns:a16="http://schemas.microsoft.com/office/drawing/2014/main" id="{43EC1812-C068-A6FA-CA19-96A740DA412B}"/>
                    </a:ext>
                  </a:extLst>
                </p:cNvPr>
                <p:cNvSpPr/>
                <p:nvPr/>
              </p:nvSpPr>
              <p:spPr>
                <a:xfrm>
                  <a:off x="3765994" y="342828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1" y="375"/>
                        <a:pt x="1" y="835"/>
                      </a:cubicBezTo>
                      <a:cubicBezTo>
                        <a:pt x="1" y="1294"/>
                        <a:pt x="363" y="1657"/>
                        <a:pt x="823" y="1657"/>
                      </a:cubicBezTo>
                      <a:cubicBezTo>
                        <a:pt x="1283" y="1657"/>
                        <a:pt x="1658" y="1294"/>
                        <a:pt x="1658" y="835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1999" name="Google Shape;11819;p65">
                <a:extLst>
                  <a:ext uri="{FF2B5EF4-FFF2-40B4-BE49-F238E27FC236}">
                    <a16:creationId xmlns:a16="http://schemas.microsoft.com/office/drawing/2014/main" id="{520AF4E8-347B-104A-0834-7ED29E4813B0}"/>
                  </a:ext>
                </a:extLst>
              </p:cNvPr>
              <p:cNvGrpSpPr/>
              <p:nvPr/>
            </p:nvGrpSpPr>
            <p:grpSpPr>
              <a:xfrm>
                <a:off x="3632509" y="3274438"/>
                <a:ext cx="37783" cy="32357"/>
                <a:chOff x="3632509" y="3274438"/>
                <a:chExt cx="37783" cy="32357"/>
              </a:xfrm>
            </p:grpSpPr>
            <p:sp>
              <p:nvSpPr>
                <p:cNvPr id="2096" name="Google Shape;11820;p65">
                  <a:extLst>
                    <a:ext uri="{FF2B5EF4-FFF2-40B4-BE49-F238E27FC236}">
                      <a16:creationId xmlns:a16="http://schemas.microsoft.com/office/drawing/2014/main" id="{A98FCAE7-3021-76D4-081C-C141366A5562}"/>
                    </a:ext>
                  </a:extLst>
                </p:cNvPr>
                <p:cNvSpPr/>
                <p:nvPr/>
              </p:nvSpPr>
              <p:spPr>
                <a:xfrm>
                  <a:off x="3632509" y="3274438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3" y="187"/>
                        <a:pt x="1295" y="605"/>
                      </a:cubicBezTo>
                      <a:cubicBezTo>
                        <a:pt x="1" y="1900"/>
                        <a:pt x="908" y="4114"/>
                        <a:pt x="2747" y="4114"/>
                      </a:cubicBezTo>
                      <a:cubicBezTo>
                        <a:pt x="3872" y="4114"/>
                        <a:pt x="4791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97" name="Google Shape;11821;p65">
                  <a:extLst>
                    <a:ext uri="{FF2B5EF4-FFF2-40B4-BE49-F238E27FC236}">
                      <a16:creationId xmlns:a16="http://schemas.microsoft.com/office/drawing/2014/main" id="{E36FBBC6-5578-A630-2439-DDB39D9C3337}"/>
                    </a:ext>
                  </a:extLst>
                </p:cNvPr>
                <p:cNvSpPr/>
                <p:nvPr/>
              </p:nvSpPr>
              <p:spPr>
                <a:xfrm>
                  <a:off x="3647547" y="328404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0"/>
                      </a:moveTo>
                      <a:cubicBezTo>
                        <a:pt x="375" y="0"/>
                        <a:pt x="0" y="375"/>
                        <a:pt x="0" y="835"/>
                      </a:cubicBezTo>
                      <a:cubicBezTo>
                        <a:pt x="0" y="1295"/>
                        <a:pt x="375" y="1658"/>
                        <a:pt x="835" y="1658"/>
                      </a:cubicBezTo>
                      <a:cubicBezTo>
                        <a:pt x="1282" y="1658"/>
                        <a:pt x="1657" y="1295"/>
                        <a:pt x="1657" y="835"/>
                      </a:cubicBezTo>
                      <a:cubicBezTo>
                        <a:pt x="1657" y="375"/>
                        <a:pt x="1282" y="0"/>
                        <a:pt x="83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0" name="Google Shape;11822;p65">
                <a:extLst>
                  <a:ext uri="{FF2B5EF4-FFF2-40B4-BE49-F238E27FC236}">
                    <a16:creationId xmlns:a16="http://schemas.microsoft.com/office/drawing/2014/main" id="{36BD20F8-4864-FA32-2210-FF984B64883D}"/>
                  </a:ext>
                </a:extLst>
              </p:cNvPr>
              <p:cNvGrpSpPr/>
              <p:nvPr/>
            </p:nvGrpSpPr>
            <p:grpSpPr>
              <a:xfrm>
                <a:off x="3906424" y="3297561"/>
                <a:ext cx="37776" cy="32451"/>
                <a:chOff x="3906424" y="3297561"/>
                <a:chExt cx="37776" cy="32451"/>
              </a:xfrm>
            </p:grpSpPr>
            <p:sp>
              <p:nvSpPr>
                <p:cNvPr id="2094" name="Google Shape;11823;p65">
                  <a:extLst>
                    <a:ext uri="{FF2B5EF4-FFF2-40B4-BE49-F238E27FC236}">
                      <a16:creationId xmlns:a16="http://schemas.microsoft.com/office/drawing/2014/main" id="{8D441A3F-1EBE-5528-9A38-22D2C0FB5FF3}"/>
                    </a:ext>
                  </a:extLst>
                </p:cNvPr>
                <p:cNvSpPr/>
                <p:nvPr/>
              </p:nvSpPr>
              <p:spPr>
                <a:xfrm>
                  <a:off x="3906424" y="3297561"/>
                  <a:ext cx="37776" cy="324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26" extrusionOk="0">
                      <a:moveTo>
                        <a:pt x="2730" y="0"/>
                      </a:moveTo>
                      <a:cubicBezTo>
                        <a:pt x="2226" y="0"/>
                        <a:pt x="1713" y="187"/>
                        <a:pt x="1295" y="605"/>
                      </a:cubicBezTo>
                      <a:cubicBezTo>
                        <a:pt x="0" y="1899"/>
                        <a:pt x="920" y="4125"/>
                        <a:pt x="2746" y="4125"/>
                      </a:cubicBezTo>
                      <a:cubicBezTo>
                        <a:pt x="3883" y="4113"/>
                        <a:pt x="4803" y="3194"/>
                        <a:pt x="4803" y="2069"/>
                      </a:cubicBezTo>
                      <a:cubicBezTo>
                        <a:pt x="4803" y="824"/>
                        <a:pt x="3788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95" name="Google Shape;11824;p65">
                  <a:extLst>
                    <a:ext uri="{FF2B5EF4-FFF2-40B4-BE49-F238E27FC236}">
                      <a16:creationId xmlns:a16="http://schemas.microsoft.com/office/drawing/2014/main" id="{903038B8-D89E-7014-EDDD-D58B35BBD899}"/>
                    </a:ext>
                  </a:extLst>
                </p:cNvPr>
                <p:cNvSpPr/>
                <p:nvPr/>
              </p:nvSpPr>
              <p:spPr>
                <a:xfrm>
                  <a:off x="3921548" y="3307361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0"/>
                      </a:moveTo>
                      <a:cubicBezTo>
                        <a:pt x="364" y="0"/>
                        <a:pt x="1" y="363"/>
                        <a:pt x="1" y="823"/>
                      </a:cubicBezTo>
                      <a:cubicBezTo>
                        <a:pt x="1" y="1282"/>
                        <a:pt x="364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63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1" name="Google Shape;11825;p65">
                <a:extLst>
                  <a:ext uri="{FF2B5EF4-FFF2-40B4-BE49-F238E27FC236}">
                    <a16:creationId xmlns:a16="http://schemas.microsoft.com/office/drawing/2014/main" id="{D013940C-537B-E1A2-2766-4924DBA772FD}"/>
                  </a:ext>
                </a:extLst>
              </p:cNvPr>
              <p:cNvGrpSpPr/>
              <p:nvPr/>
            </p:nvGrpSpPr>
            <p:grpSpPr>
              <a:xfrm>
                <a:off x="3866084" y="3412107"/>
                <a:ext cx="37776" cy="32357"/>
                <a:chOff x="3866084" y="3412107"/>
                <a:chExt cx="37776" cy="32357"/>
              </a:xfrm>
            </p:grpSpPr>
            <p:sp>
              <p:nvSpPr>
                <p:cNvPr id="2092" name="Google Shape;11826;p65">
                  <a:extLst>
                    <a:ext uri="{FF2B5EF4-FFF2-40B4-BE49-F238E27FC236}">
                      <a16:creationId xmlns:a16="http://schemas.microsoft.com/office/drawing/2014/main" id="{78BF9C68-2FA5-15FF-1388-C60B3A13DBA8}"/>
                    </a:ext>
                  </a:extLst>
                </p:cNvPr>
                <p:cNvSpPr/>
                <p:nvPr/>
              </p:nvSpPr>
              <p:spPr>
                <a:xfrm>
                  <a:off x="3866084" y="3412107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2" y="0"/>
                      </a:moveTo>
                      <a:cubicBezTo>
                        <a:pt x="2227" y="0"/>
                        <a:pt x="1713" y="187"/>
                        <a:pt x="1295" y="605"/>
                      </a:cubicBezTo>
                      <a:cubicBezTo>
                        <a:pt x="0" y="1900"/>
                        <a:pt x="920" y="4114"/>
                        <a:pt x="2746" y="4114"/>
                      </a:cubicBezTo>
                      <a:cubicBezTo>
                        <a:pt x="3883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93" name="Google Shape;11827;p65">
                  <a:extLst>
                    <a:ext uri="{FF2B5EF4-FFF2-40B4-BE49-F238E27FC236}">
                      <a16:creationId xmlns:a16="http://schemas.microsoft.com/office/drawing/2014/main" id="{89E1760B-971D-77BA-90B4-3C9013D2E8A4}"/>
                    </a:ext>
                  </a:extLst>
                </p:cNvPr>
                <p:cNvSpPr/>
                <p:nvPr/>
              </p:nvSpPr>
              <p:spPr>
                <a:xfrm>
                  <a:off x="3881208" y="3421812"/>
                  <a:ext cx="13048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9" h="1658" extrusionOk="0">
                      <a:moveTo>
                        <a:pt x="823" y="1"/>
                      </a:moveTo>
                      <a:cubicBezTo>
                        <a:pt x="364" y="1"/>
                        <a:pt x="1" y="363"/>
                        <a:pt x="1" y="823"/>
                      </a:cubicBezTo>
                      <a:cubicBezTo>
                        <a:pt x="1" y="1283"/>
                        <a:pt x="364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3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2" name="Google Shape;11828;p65">
                <a:extLst>
                  <a:ext uri="{FF2B5EF4-FFF2-40B4-BE49-F238E27FC236}">
                    <a16:creationId xmlns:a16="http://schemas.microsoft.com/office/drawing/2014/main" id="{23C13385-CEF5-06F9-8CAF-8EF833824E92}"/>
                  </a:ext>
                </a:extLst>
              </p:cNvPr>
              <p:cNvGrpSpPr/>
              <p:nvPr/>
            </p:nvGrpSpPr>
            <p:grpSpPr>
              <a:xfrm>
                <a:off x="4023919" y="3766409"/>
                <a:ext cx="37783" cy="32357"/>
                <a:chOff x="4023919" y="3766409"/>
                <a:chExt cx="37783" cy="32357"/>
              </a:xfrm>
            </p:grpSpPr>
            <p:sp>
              <p:nvSpPr>
                <p:cNvPr id="2090" name="Google Shape;11829;p65">
                  <a:extLst>
                    <a:ext uri="{FF2B5EF4-FFF2-40B4-BE49-F238E27FC236}">
                      <a16:creationId xmlns:a16="http://schemas.microsoft.com/office/drawing/2014/main" id="{B7473BB4-B17D-2DF8-0722-A26CF7470019}"/>
                    </a:ext>
                  </a:extLst>
                </p:cNvPr>
                <p:cNvSpPr/>
                <p:nvPr/>
              </p:nvSpPr>
              <p:spPr>
                <a:xfrm>
                  <a:off x="4023919" y="3766409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91" name="Google Shape;11830;p65">
                  <a:extLst>
                    <a:ext uri="{FF2B5EF4-FFF2-40B4-BE49-F238E27FC236}">
                      <a16:creationId xmlns:a16="http://schemas.microsoft.com/office/drawing/2014/main" id="{0A2AA3AE-6F55-DB56-9426-19BC8AC74289}"/>
                    </a:ext>
                  </a:extLst>
                </p:cNvPr>
                <p:cNvSpPr/>
                <p:nvPr/>
              </p:nvSpPr>
              <p:spPr>
                <a:xfrm>
                  <a:off x="4039051" y="3776115"/>
                  <a:ext cx="13040" cy="130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9" extrusionOk="0">
                      <a:moveTo>
                        <a:pt x="823" y="1"/>
                      </a:moveTo>
                      <a:cubicBezTo>
                        <a:pt x="363" y="1"/>
                        <a:pt x="0" y="376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76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3" name="Google Shape;11831;p65">
                <a:extLst>
                  <a:ext uri="{FF2B5EF4-FFF2-40B4-BE49-F238E27FC236}">
                    <a16:creationId xmlns:a16="http://schemas.microsoft.com/office/drawing/2014/main" id="{4E28E33C-5BD7-DE63-7262-E072832F9128}"/>
                  </a:ext>
                </a:extLst>
              </p:cNvPr>
              <p:cNvGrpSpPr/>
              <p:nvPr/>
            </p:nvGrpSpPr>
            <p:grpSpPr>
              <a:xfrm>
                <a:off x="3973882" y="3779449"/>
                <a:ext cx="37776" cy="32357"/>
                <a:chOff x="3973882" y="3779449"/>
                <a:chExt cx="37776" cy="32357"/>
              </a:xfrm>
            </p:grpSpPr>
            <p:sp>
              <p:nvSpPr>
                <p:cNvPr id="2088" name="Google Shape;11832;p65">
                  <a:extLst>
                    <a:ext uri="{FF2B5EF4-FFF2-40B4-BE49-F238E27FC236}">
                      <a16:creationId xmlns:a16="http://schemas.microsoft.com/office/drawing/2014/main" id="{B9395D4C-7C0A-5459-952A-B59FF3B1A76E}"/>
                    </a:ext>
                  </a:extLst>
                </p:cNvPr>
                <p:cNvSpPr/>
                <p:nvPr/>
              </p:nvSpPr>
              <p:spPr>
                <a:xfrm>
                  <a:off x="3973882" y="3779449"/>
                  <a:ext cx="37776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4" extrusionOk="0">
                      <a:moveTo>
                        <a:pt x="2730" y="0"/>
                      </a:moveTo>
                      <a:cubicBezTo>
                        <a:pt x="2226" y="0"/>
                        <a:pt x="1712" y="187"/>
                        <a:pt x="1294" y="605"/>
                      </a:cubicBezTo>
                      <a:cubicBezTo>
                        <a:pt x="0" y="1899"/>
                        <a:pt x="919" y="4113"/>
                        <a:pt x="2746" y="4113"/>
                      </a:cubicBezTo>
                      <a:cubicBezTo>
                        <a:pt x="3883" y="4113"/>
                        <a:pt x="4802" y="3194"/>
                        <a:pt x="4802" y="2069"/>
                      </a:cubicBezTo>
                      <a:cubicBezTo>
                        <a:pt x="4802" y="824"/>
                        <a:pt x="3787" y="0"/>
                        <a:pt x="2730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89" name="Google Shape;11833;p65">
                  <a:extLst>
                    <a:ext uri="{FF2B5EF4-FFF2-40B4-BE49-F238E27FC236}">
                      <a16:creationId xmlns:a16="http://schemas.microsoft.com/office/drawing/2014/main" id="{1106D89F-825E-A2A0-6483-2292EF53237D}"/>
                    </a:ext>
                  </a:extLst>
                </p:cNvPr>
                <p:cNvSpPr/>
                <p:nvPr/>
              </p:nvSpPr>
              <p:spPr>
                <a:xfrm>
                  <a:off x="3989006" y="3789155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0"/>
                      </a:moveTo>
                      <a:cubicBezTo>
                        <a:pt x="363" y="0"/>
                        <a:pt x="0" y="375"/>
                        <a:pt x="0" y="823"/>
                      </a:cubicBezTo>
                      <a:cubicBezTo>
                        <a:pt x="0" y="1282"/>
                        <a:pt x="363" y="1657"/>
                        <a:pt x="823" y="1657"/>
                      </a:cubicBezTo>
                      <a:cubicBezTo>
                        <a:pt x="1283" y="1657"/>
                        <a:pt x="1658" y="1282"/>
                        <a:pt x="1658" y="823"/>
                      </a:cubicBezTo>
                      <a:cubicBezTo>
                        <a:pt x="1658" y="375"/>
                        <a:pt x="1283" y="0"/>
                        <a:pt x="82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4" name="Google Shape;11834;p65">
                <a:extLst>
                  <a:ext uri="{FF2B5EF4-FFF2-40B4-BE49-F238E27FC236}">
                    <a16:creationId xmlns:a16="http://schemas.microsoft.com/office/drawing/2014/main" id="{7D2DDF54-4280-077D-4C19-75B28436C6A7}"/>
                  </a:ext>
                </a:extLst>
              </p:cNvPr>
              <p:cNvGrpSpPr/>
              <p:nvPr/>
            </p:nvGrpSpPr>
            <p:grpSpPr>
              <a:xfrm>
                <a:off x="4073398" y="3838028"/>
                <a:ext cx="37776" cy="32380"/>
                <a:chOff x="4073398" y="3838028"/>
                <a:chExt cx="37776" cy="32380"/>
              </a:xfrm>
            </p:grpSpPr>
            <p:sp>
              <p:nvSpPr>
                <p:cNvPr id="2086" name="Google Shape;11835;p65">
                  <a:extLst>
                    <a:ext uri="{FF2B5EF4-FFF2-40B4-BE49-F238E27FC236}">
                      <a16:creationId xmlns:a16="http://schemas.microsoft.com/office/drawing/2014/main" id="{602D8F04-5CFF-E868-34DA-94990F70FC65}"/>
                    </a:ext>
                  </a:extLst>
                </p:cNvPr>
                <p:cNvSpPr/>
                <p:nvPr/>
              </p:nvSpPr>
              <p:spPr>
                <a:xfrm>
                  <a:off x="4073398" y="3838028"/>
                  <a:ext cx="37776" cy="323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7" extrusionOk="0">
                      <a:moveTo>
                        <a:pt x="2737" y="1"/>
                      </a:moveTo>
                      <a:cubicBezTo>
                        <a:pt x="2231" y="1"/>
                        <a:pt x="1714" y="189"/>
                        <a:pt x="1295" y="609"/>
                      </a:cubicBezTo>
                      <a:cubicBezTo>
                        <a:pt x="0" y="1891"/>
                        <a:pt x="920" y="4105"/>
                        <a:pt x="2746" y="4117"/>
                      </a:cubicBezTo>
                      <a:cubicBezTo>
                        <a:pt x="3883" y="4105"/>
                        <a:pt x="4803" y="3185"/>
                        <a:pt x="4803" y="2060"/>
                      </a:cubicBezTo>
                      <a:cubicBezTo>
                        <a:pt x="4803" y="818"/>
                        <a:pt x="3792" y="1"/>
                        <a:pt x="273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87" name="Google Shape;11836;p65">
                  <a:extLst>
                    <a:ext uri="{FF2B5EF4-FFF2-40B4-BE49-F238E27FC236}">
                      <a16:creationId xmlns:a16="http://schemas.microsoft.com/office/drawing/2014/main" id="{6211BED1-A00E-D7FE-07CC-C8C9424CA992}"/>
                    </a:ext>
                  </a:extLst>
                </p:cNvPr>
                <p:cNvSpPr/>
                <p:nvPr/>
              </p:nvSpPr>
              <p:spPr>
                <a:xfrm>
                  <a:off x="4088428" y="3847663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35" y="1"/>
                      </a:moveTo>
                      <a:cubicBezTo>
                        <a:pt x="376" y="1"/>
                        <a:pt x="1" y="376"/>
                        <a:pt x="1" y="835"/>
                      </a:cubicBezTo>
                      <a:cubicBezTo>
                        <a:pt x="1" y="1283"/>
                        <a:pt x="376" y="1658"/>
                        <a:pt x="835" y="1658"/>
                      </a:cubicBezTo>
                      <a:cubicBezTo>
                        <a:pt x="1295" y="1658"/>
                        <a:pt x="1658" y="1283"/>
                        <a:pt x="1658" y="835"/>
                      </a:cubicBezTo>
                      <a:cubicBezTo>
                        <a:pt x="1658" y="376"/>
                        <a:pt x="1295" y="1"/>
                        <a:pt x="83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5" name="Google Shape;11837;p65">
                <a:extLst>
                  <a:ext uri="{FF2B5EF4-FFF2-40B4-BE49-F238E27FC236}">
                    <a16:creationId xmlns:a16="http://schemas.microsoft.com/office/drawing/2014/main" id="{BBB647D4-13EE-74B3-B77E-DC0AC8168D97}"/>
                  </a:ext>
                </a:extLst>
              </p:cNvPr>
              <p:cNvGrpSpPr/>
              <p:nvPr/>
            </p:nvGrpSpPr>
            <p:grpSpPr>
              <a:xfrm>
                <a:off x="4342672" y="4144496"/>
                <a:ext cx="37752" cy="32364"/>
                <a:chOff x="4342672" y="4144496"/>
                <a:chExt cx="37752" cy="32364"/>
              </a:xfrm>
            </p:grpSpPr>
            <p:sp>
              <p:nvSpPr>
                <p:cNvPr id="2084" name="Google Shape;11838;p65">
                  <a:extLst>
                    <a:ext uri="{FF2B5EF4-FFF2-40B4-BE49-F238E27FC236}">
                      <a16:creationId xmlns:a16="http://schemas.microsoft.com/office/drawing/2014/main" id="{4839167F-33C8-F5AC-3E0E-CD263BE338C4}"/>
                    </a:ext>
                  </a:extLst>
                </p:cNvPr>
                <p:cNvSpPr/>
                <p:nvPr/>
              </p:nvSpPr>
              <p:spPr>
                <a:xfrm>
                  <a:off x="4342672" y="4144496"/>
                  <a:ext cx="37752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0" h="4115" extrusionOk="0">
                      <a:moveTo>
                        <a:pt x="2729" y="1"/>
                      </a:moveTo>
                      <a:cubicBezTo>
                        <a:pt x="2224" y="1"/>
                        <a:pt x="1710" y="188"/>
                        <a:pt x="1291" y="606"/>
                      </a:cubicBezTo>
                      <a:cubicBezTo>
                        <a:pt x="1" y="1897"/>
                        <a:pt x="912" y="4114"/>
                        <a:pt x="2740" y="4114"/>
                      </a:cubicBezTo>
                      <a:cubicBezTo>
                        <a:pt x="2745" y="4114"/>
                        <a:pt x="2750" y="4114"/>
                        <a:pt x="2755" y="4114"/>
                      </a:cubicBezTo>
                      <a:cubicBezTo>
                        <a:pt x="3880" y="4114"/>
                        <a:pt x="4800" y="3195"/>
                        <a:pt x="4800" y="2058"/>
                      </a:cubicBezTo>
                      <a:cubicBezTo>
                        <a:pt x="4800" y="822"/>
                        <a:pt x="3785" y="1"/>
                        <a:pt x="2729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85" name="Google Shape;11839;p65">
                  <a:extLst>
                    <a:ext uri="{FF2B5EF4-FFF2-40B4-BE49-F238E27FC236}">
                      <a16:creationId xmlns:a16="http://schemas.microsoft.com/office/drawing/2014/main" id="{33CC8E0D-309D-3D32-8A30-CC923F25AD7D}"/>
                    </a:ext>
                  </a:extLst>
                </p:cNvPr>
                <p:cNvSpPr/>
                <p:nvPr/>
              </p:nvSpPr>
              <p:spPr>
                <a:xfrm>
                  <a:off x="4355586" y="4154209"/>
                  <a:ext cx="15227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8" extrusionOk="0">
                      <a:moveTo>
                        <a:pt x="1101" y="0"/>
                      </a:moveTo>
                      <a:cubicBezTo>
                        <a:pt x="363" y="0"/>
                        <a:pt x="0" y="895"/>
                        <a:pt x="520" y="1416"/>
                      </a:cubicBezTo>
                      <a:cubicBezTo>
                        <a:pt x="688" y="1583"/>
                        <a:pt x="893" y="1657"/>
                        <a:pt x="1096" y="1657"/>
                      </a:cubicBezTo>
                      <a:cubicBezTo>
                        <a:pt x="1523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0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6" name="Google Shape;11840;p65">
                <a:extLst>
                  <a:ext uri="{FF2B5EF4-FFF2-40B4-BE49-F238E27FC236}">
                    <a16:creationId xmlns:a16="http://schemas.microsoft.com/office/drawing/2014/main" id="{1D124D08-CEF7-E5B8-81D3-8FF929C5A074}"/>
                  </a:ext>
                </a:extLst>
              </p:cNvPr>
              <p:cNvGrpSpPr/>
              <p:nvPr/>
            </p:nvGrpSpPr>
            <p:grpSpPr>
              <a:xfrm>
                <a:off x="4406386" y="4056872"/>
                <a:ext cx="37783" cy="32364"/>
                <a:chOff x="4406386" y="4056872"/>
                <a:chExt cx="37783" cy="32364"/>
              </a:xfrm>
            </p:grpSpPr>
            <p:sp>
              <p:nvSpPr>
                <p:cNvPr id="2082" name="Google Shape;11841;p65">
                  <a:extLst>
                    <a:ext uri="{FF2B5EF4-FFF2-40B4-BE49-F238E27FC236}">
                      <a16:creationId xmlns:a16="http://schemas.microsoft.com/office/drawing/2014/main" id="{A4AD7CA5-790A-EBE3-3281-96083A921394}"/>
                    </a:ext>
                  </a:extLst>
                </p:cNvPr>
                <p:cNvSpPr/>
                <p:nvPr/>
              </p:nvSpPr>
              <p:spPr>
                <a:xfrm>
                  <a:off x="4406386" y="4056872"/>
                  <a:ext cx="37783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5" extrusionOk="0">
                      <a:moveTo>
                        <a:pt x="2733" y="1"/>
                      </a:moveTo>
                      <a:cubicBezTo>
                        <a:pt x="2228" y="1"/>
                        <a:pt x="1714" y="188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83" name="Google Shape;11842;p65">
                  <a:extLst>
                    <a:ext uri="{FF2B5EF4-FFF2-40B4-BE49-F238E27FC236}">
                      <a16:creationId xmlns:a16="http://schemas.microsoft.com/office/drawing/2014/main" id="{0849737E-A68B-046C-8229-98B7906BA739}"/>
                    </a:ext>
                  </a:extLst>
                </p:cNvPr>
                <p:cNvSpPr/>
                <p:nvPr/>
              </p:nvSpPr>
              <p:spPr>
                <a:xfrm>
                  <a:off x="4419332" y="4066577"/>
                  <a:ext cx="15227" cy="130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6" h="1655" extrusionOk="0">
                      <a:moveTo>
                        <a:pt x="1123" y="1"/>
                      </a:moveTo>
                      <a:cubicBezTo>
                        <a:pt x="1115" y="1"/>
                        <a:pt x="1108" y="1"/>
                        <a:pt x="1101" y="1"/>
                      </a:cubicBezTo>
                      <a:cubicBezTo>
                        <a:pt x="363" y="1"/>
                        <a:pt x="0" y="884"/>
                        <a:pt x="520" y="1404"/>
                      </a:cubicBezTo>
                      <a:cubicBezTo>
                        <a:pt x="689" y="1577"/>
                        <a:pt x="898" y="1655"/>
                        <a:pt x="1103" y="1655"/>
                      </a:cubicBezTo>
                      <a:cubicBezTo>
                        <a:pt x="1528" y="1655"/>
                        <a:pt x="1936" y="1322"/>
                        <a:pt x="1936" y="824"/>
                      </a:cubicBezTo>
                      <a:cubicBezTo>
                        <a:pt x="1936" y="371"/>
                        <a:pt x="1572" y="1"/>
                        <a:pt x="11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7" name="Google Shape;11843;p65">
                <a:extLst>
                  <a:ext uri="{FF2B5EF4-FFF2-40B4-BE49-F238E27FC236}">
                    <a16:creationId xmlns:a16="http://schemas.microsoft.com/office/drawing/2014/main" id="{8E157E8F-CBBA-4243-5316-2A740C662F4D}"/>
                  </a:ext>
                </a:extLst>
              </p:cNvPr>
              <p:cNvGrpSpPr/>
              <p:nvPr/>
            </p:nvGrpSpPr>
            <p:grpSpPr>
              <a:xfrm>
                <a:off x="4284416" y="4245254"/>
                <a:ext cx="37783" cy="32357"/>
                <a:chOff x="4284416" y="4245254"/>
                <a:chExt cx="37783" cy="32357"/>
              </a:xfrm>
            </p:grpSpPr>
            <p:sp>
              <p:nvSpPr>
                <p:cNvPr id="2080" name="Google Shape;11844;p65">
                  <a:extLst>
                    <a:ext uri="{FF2B5EF4-FFF2-40B4-BE49-F238E27FC236}">
                      <a16:creationId xmlns:a16="http://schemas.microsoft.com/office/drawing/2014/main" id="{17F515DF-3BD5-EB88-D491-F0BB3DDFE815}"/>
                    </a:ext>
                  </a:extLst>
                </p:cNvPr>
                <p:cNvSpPr/>
                <p:nvPr/>
              </p:nvSpPr>
              <p:spPr>
                <a:xfrm>
                  <a:off x="4284416" y="4245254"/>
                  <a:ext cx="37783" cy="323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4" h="4114" extrusionOk="0">
                      <a:moveTo>
                        <a:pt x="2732" y="0"/>
                      </a:moveTo>
                      <a:cubicBezTo>
                        <a:pt x="2228" y="0"/>
                        <a:pt x="1714" y="187"/>
                        <a:pt x="1295" y="606"/>
                      </a:cubicBezTo>
                      <a:cubicBezTo>
                        <a:pt x="1" y="1900"/>
                        <a:pt x="920" y="4114"/>
                        <a:pt x="2747" y="4114"/>
                      </a:cubicBezTo>
                      <a:cubicBezTo>
                        <a:pt x="3884" y="4114"/>
                        <a:pt x="4803" y="3194"/>
                        <a:pt x="4803" y="2057"/>
                      </a:cubicBezTo>
                      <a:cubicBezTo>
                        <a:pt x="4803" y="821"/>
                        <a:pt x="3789" y="0"/>
                        <a:pt x="273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81" name="Google Shape;11845;p65">
                  <a:extLst>
                    <a:ext uri="{FF2B5EF4-FFF2-40B4-BE49-F238E27FC236}">
                      <a16:creationId xmlns:a16="http://schemas.microsoft.com/office/drawing/2014/main" id="{5A904FC8-2A90-AD4B-FFE8-E53BA4FDAD0D}"/>
                    </a:ext>
                  </a:extLst>
                </p:cNvPr>
                <p:cNvSpPr/>
                <p:nvPr/>
              </p:nvSpPr>
              <p:spPr>
                <a:xfrm>
                  <a:off x="4299548" y="4254959"/>
                  <a:ext cx="13040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8" h="1658" extrusionOk="0">
                      <a:moveTo>
                        <a:pt x="823" y="1"/>
                      </a:moveTo>
                      <a:cubicBezTo>
                        <a:pt x="363" y="1"/>
                        <a:pt x="0" y="364"/>
                        <a:pt x="0" y="823"/>
                      </a:cubicBezTo>
                      <a:cubicBezTo>
                        <a:pt x="0" y="1283"/>
                        <a:pt x="363" y="1658"/>
                        <a:pt x="823" y="1658"/>
                      </a:cubicBezTo>
                      <a:cubicBezTo>
                        <a:pt x="1283" y="1658"/>
                        <a:pt x="1658" y="1283"/>
                        <a:pt x="1658" y="823"/>
                      </a:cubicBezTo>
                      <a:cubicBezTo>
                        <a:pt x="1658" y="364"/>
                        <a:pt x="1283" y="1"/>
                        <a:pt x="82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8" name="Google Shape;11846;p65">
                <a:extLst>
                  <a:ext uri="{FF2B5EF4-FFF2-40B4-BE49-F238E27FC236}">
                    <a16:creationId xmlns:a16="http://schemas.microsoft.com/office/drawing/2014/main" id="{ECF8F367-4203-852B-2E9C-67642A22D724}"/>
                  </a:ext>
                </a:extLst>
              </p:cNvPr>
              <p:cNvGrpSpPr/>
              <p:nvPr/>
            </p:nvGrpSpPr>
            <p:grpSpPr>
              <a:xfrm>
                <a:off x="4219057" y="4331258"/>
                <a:ext cx="37776" cy="32364"/>
                <a:chOff x="4219057" y="4331258"/>
                <a:chExt cx="37776" cy="32364"/>
              </a:xfrm>
            </p:grpSpPr>
            <p:sp>
              <p:nvSpPr>
                <p:cNvPr id="2078" name="Google Shape;11847;p65">
                  <a:extLst>
                    <a:ext uri="{FF2B5EF4-FFF2-40B4-BE49-F238E27FC236}">
                      <a16:creationId xmlns:a16="http://schemas.microsoft.com/office/drawing/2014/main" id="{8E9F7F70-9867-FC7F-8D9F-B6D3CFC0C5C8}"/>
                    </a:ext>
                  </a:extLst>
                </p:cNvPr>
                <p:cNvSpPr/>
                <p:nvPr/>
              </p:nvSpPr>
              <p:spPr>
                <a:xfrm>
                  <a:off x="4219057" y="4331258"/>
                  <a:ext cx="37776" cy="32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03" h="4115" extrusionOk="0">
                      <a:moveTo>
                        <a:pt x="2732" y="1"/>
                      </a:moveTo>
                      <a:cubicBezTo>
                        <a:pt x="2227" y="1"/>
                        <a:pt x="1713" y="188"/>
                        <a:pt x="1295" y="606"/>
                      </a:cubicBezTo>
                      <a:cubicBezTo>
                        <a:pt x="0" y="1901"/>
                        <a:pt x="920" y="4114"/>
                        <a:pt x="2746" y="4114"/>
                      </a:cubicBezTo>
                      <a:cubicBezTo>
                        <a:pt x="3883" y="4114"/>
                        <a:pt x="4803" y="3195"/>
                        <a:pt x="4803" y="2058"/>
                      </a:cubicBezTo>
                      <a:cubicBezTo>
                        <a:pt x="4803" y="821"/>
                        <a:pt x="3789" y="1"/>
                        <a:pt x="2732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79" name="Google Shape;11848;p65">
                  <a:extLst>
                    <a:ext uri="{FF2B5EF4-FFF2-40B4-BE49-F238E27FC236}">
                      <a16:creationId xmlns:a16="http://schemas.microsoft.com/office/drawing/2014/main" id="{AF7D25DE-0507-3719-DFFE-628A0B5E5D17}"/>
                    </a:ext>
                  </a:extLst>
                </p:cNvPr>
                <p:cNvSpPr/>
                <p:nvPr/>
              </p:nvSpPr>
              <p:spPr>
                <a:xfrm>
                  <a:off x="4231995" y="4340971"/>
                  <a:ext cx="15235" cy="130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7" h="1658" extrusionOk="0">
                      <a:moveTo>
                        <a:pt x="1113" y="0"/>
                      </a:moveTo>
                      <a:cubicBezTo>
                        <a:pt x="363" y="0"/>
                        <a:pt x="1" y="895"/>
                        <a:pt x="521" y="1416"/>
                      </a:cubicBezTo>
                      <a:cubicBezTo>
                        <a:pt x="688" y="1583"/>
                        <a:pt x="894" y="1657"/>
                        <a:pt x="1096" y="1657"/>
                      </a:cubicBezTo>
                      <a:cubicBezTo>
                        <a:pt x="1524" y="1657"/>
                        <a:pt x="1936" y="1324"/>
                        <a:pt x="1936" y="823"/>
                      </a:cubicBezTo>
                      <a:cubicBezTo>
                        <a:pt x="1936" y="375"/>
                        <a:pt x="1561" y="0"/>
                        <a:pt x="1113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09" name="Google Shape;11849;p65">
                <a:extLst>
                  <a:ext uri="{FF2B5EF4-FFF2-40B4-BE49-F238E27FC236}">
                    <a16:creationId xmlns:a16="http://schemas.microsoft.com/office/drawing/2014/main" id="{ACEFD819-EC89-9BC9-AC6D-7E66DA590651}"/>
                  </a:ext>
                </a:extLst>
              </p:cNvPr>
              <p:cNvGrpSpPr/>
              <p:nvPr/>
            </p:nvGrpSpPr>
            <p:grpSpPr>
              <a:xfrm>
                <a:off x="4204122" y="4141688"/>
                <a:ext cx="33497" cy="28699"/>
                <a:chOff x="4204122" y="4141688"/>
                <a:chExt cx="33497" cy="28699"/>
              </a:xfrm>
            </p:grpSpPr>
            <p:sp>
              <p:nvSpPr>
                <p:cNvPr id="2076" name="Google Shape;11850;p65">
                  <a:extLst>
                    <a:ext uri="{FF2B5EF4-FFF2-40B4-BE49-F238E27FC236}">
                      <a16:creationId xmlns:a16="http://schemas.microsoft.com/office/drawing/2014/main" id="{79E634CD-68BF-05BA-4BEC-7028D10AF60D}"/>
                    </a:ext>
                  </a:extLst>
                </p:cNvPr>
                <p:cNvSpPr/>
                <p:nvPr/>
              </p:nvSpPr>
              <p:spPr>
                <a:xfrm>
                  <a:off x="4204122" y="4141688"/>
                  <a:ext cx="33497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9" extrusionOk="0">
                      <a:moveTo>
                        <a:pt x="2427" y="1"/>
                      </a:moveTo>
                      <a:cubicBezTo>
                        <a:pt x="1979" y="1"/>
                        <a:pt x="1522" y="168"/>
                        <a:pt x="1149" y="540"/>
                      </a:cubicBezTo>
                      <a:cubicBezTo>
                        <a:pt x="0" y="1677"/>
                        <a:pt x="811" y="3649"/>
                        <a:pt x="2432" y="3649"/>
                      </a:cubicBezTo>
                      <a:cubicBezTo>
                        <a:pt x="3448" y="3649"/>
                        <a:pt x="4258" y="2826"/>
                        <a:pt x="4258" y="1822"/>
                      </a:cubicBezTo>
                      <a:cubicBezTo>
                        <a:pt x="4258" y="726"/>
                        <a:pt x="3363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77" name="Google Shape;11851;p65">
                  <a:extLst>
                    <a:ext uri="{FF2B5EF4-FFF2-40B4-BE49-F238E27FC236}">
                      <a16:creationId xmlns:a16="http://schemas.microsoft.com/office/drawing/2014/main" id="{BE460C58-A5DA-04E1-8534-37E7BE88D8B8}"/>
                    </a:ext>
                  </a:extLst>
                </p:cNvPr>
                <p:cNvSpPr/>
                <p:nvPr/>
              </p:nvSpPr>
              <p:spPr>
                <a:xfrm>
                  <a:off x="4216965" y="4151259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6" y="0"/>
                        <a:pt x="0" y="641"/>
                        <a:pt x="375" y="1016"/>
                      </a:cubicBezTo>
                      <a:cubicBezTo>
                        <a:pt x="498" y="1139"/>
                        <a:pt x="650" y="1195"/>
                        <a:pt x="799" y="1195"/>
                      </a:cubicBezTo>
                      <a:cubicBezTo>
                        <a:pt x="1103" y="1195"/>
                        <a:pt x="1395" y="963"/>
                        <a:pt x="1404" y="605"/>
                      </a:cubicBezTo>
                      <a:cubicBezTo>
                        <a:pt x="1404" y="278"/>
                        <a:pt x="1137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0" name="Google Shape;11852;p65">
                <a:extLst>
                  <a:ext uri="{FF2B5EF4-FFF2-40B4-BE49-F238E27FC236}">
                    <a16:creationId xmlns:a16="http://schemas.microsoft.com/office/drawing/2014/main" id="{CDE35430-6AF2-BC94-FC71-2CC5AAEDE102}"/>
                  </a:ext>
                </a:extLst>
              </p:cNvPr>
              <p:cNvGrpSpPr/>
              <p:nvPr/>
            </p:nvGrpSpPr>
            <p:grpSpPr>
              <a:xfrm>
                <a:off x="4301546" y="4003869"/>
                <a:ext cx="38916" cy="33324"/>
                <a:chOff x="4301546" y="4003869"/>
                <a:chExt cx="38916" cy="33324"/>
              </a:xfrm>
            </p:grpSpPr>
            <p:sp>
              <p:nvSpPr>
                <p:cNvPr id="2074" name="Google Shape;11853;p65">
                  <a:extLst>
                    <a:ext uri="{FF2B5EF4-FFF2-40B4-BE49-F238E27FC236}">
                      <a16:creationId xmlns:a16="http://schemas.microsoft.com/office/drawing/2014/main" id="{5CF95ABC-CDB2-8F72-9F61-49AE1A3E10C0}"/>
                    </a:ext>
                  </a:extLst>
                </p:cNvPr>
                <p:cNvSpPr/>
                <p:nvPr/>
              </p:nvSpPr>
              <p:spPr>
                <a:xfrm>
                  <a:off x="4301546" y="4003869"/>
                  <a:ext cx="38916" cy="333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8" h="4237" extrusionOk="0">
                      <a:moveTo>
                        <a:pt x="2818" y="1"/>
                      </a:moveTo>
                      <a:cubicBezTo>
                        <a:pt x="2295" y="1"/>
                        <a:pt x="1763" y="196"/>
                        <a:pt x="1331" y="631"/>
                      </a:cubicBezTo>
                      <a:cubicBezTo>
                        <a:pt x="0" y="1962"/>
                        <a:pt x="944" y="4236"/>
                        <a:pt x="2831" y="4236"/>
                      </a:cubicBezTo>
                      <a:cubicBezTo>
                        <a:pt x="3992" y="4236"/>
                        <a:pt x="4948" y="3293"/>
                        <a:pt x="4948" y="2119"/>
                      </a:cubicBezTo>
                      <a:cubicBezTo>
                        <a:pt x="4948" y="845"/>
                        <a:pt x="3905" y="1"/>
                        <a:pt x="2818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75" name="Google Shape;11854;p65">
                  <a:extLst>
                    <a:ext uri="{FF2B5EF4-FFF2-40B4-BE49-F238E27FC236}">
                      <a16:creationId xmlns:a16="http://schemas.microsoft.com/office/drawing/2014/main" id="{297A3DAD-C41A-EC38-CE43-E7FB71D1E9D5}"/>
                    </a:ext>
                  </a:extLst>
                </p:cNvPr>
                <p:cNvSpPr/>
                <p:nvPr/>
              </p:nvSpPr>
              <p:spPr>
                <a:xfrm>
                  <a:off x="4314389" y="4013590"/>
                  <a:ext cx="16469" cy="1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94" h="1780" extrusionOk="0">
                      <a:moveTo>
                        <a:pt x="1220" y="0"/>
                      </a:moveTo>
                      <a:cubicBezTo>
                        <a:pt x="1213" y="0"/>
                        <a:pt x="1205" y="0"/>
                        <a:pt x="1198" y="0"/>
                      </a:cubicBezTo>
                      <a:cubicBezTo>
                        <a:pt x="400" y="0"/>
                        <a:pt x="0" y="956"/>
                        <a:pt x="569" y="1512"/>
                      </a:cubicBezTo>
                      <a:cubicBezTo>
                        <a:pt x="750" y="1697"/>
                        <a:pt x="974" y="1780"/>
                        <a:pt x="1194" y="1780"/>
                      </a:cubicBezTo>
                      <a:cubicBezTo>
                        <a:pt x="1652" y="1780"/>
                        <a:pt x="2093" y="1422"/>
                        <a:pt x="2093" y="883"/>
                      </a:cubicBezTo>
                      <a:cubicBezTo>
                        <a:pt x="2093" y="395"/>
                        <a:pt x="1706" y="0"/>
                        <a:pt x="1220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1" name="Google Shape;11855;p65">
                <a:extLst>
                  <a:ext uri="{FF2B5EF4-FFF2-40B4-BE49-F238E27FC236}">
                    <a16:creationId xmlns:a16="http://schemas.microsoft.com/office/drawing/2014/main" id="{C7B466A3-DA4B-78C1-F4D3-43A85C39CAD7}"/>
                  </a:ext>
                </a:extLst>
              </p:cNvPr>
              <p:cNvGrpSpPr/>
              <p:nvPr/>
            </p:nvGrpSpPr>
            <p:grpSpPr>
              <a:xfrm>
                <a:off x="4210681" y="3924669"/>
                <a:ext cx="36549" cy="31366"/>
                <a:chOff x="4210681" y="3924669"/>
                <a:chExt cx="36549" cy="31366"/>
              </a:xfrm>
            </p:grpSpPr>
            <p:sp>
              <p:nvSpPr>
                <p:cNvPr id="2072" name="Google Shape;11856;p65">
                  <a:extLst>
                    <a:ext uri="{FF2B5EF4-FFF2-40B4-BE49-F238E27FC236}">
                      <a16:creationId xmlns:a16="http://schemas.microsoft.com/office/drawing/2014/main" id="{179DAFA5-7567-C092-6859-BF2C637AAB16}"/>
                    </a:ext>
                  </a:extLst>
                </p:cNvPr>
                <p:cNvSpPr/>
                <p:nvPr/>
              </p:nvSpPr>
              <p:spPr>
                <a:xfrm>
                  <a:off x="4210681" y="3924669"/>
                  <a:ext cx="36549" cy="3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7" h="3988" extrusionOk="0">
                      <a:moveTo>
                        <a:pt x="2642" y="0"/>
                      </a:moveTo>
                      <a:cubicBezTo>
                        <a:pt x="2152" y="0"/>
                        <a:pt x="1654" y="182"/>
                        <a:pt x="1247" y="589"/>
                      </a:cubicBezTo>
                      <a:cubicBezTo>
                        <a:pt x="1" y="1847"/>
                        <a:pt x="884" y="3988"/>
                        <a:pt x="2662" y="3988"/>
                      </a:cubicBezTo>
                      <a:cubicBezTo>
                        <a:pt x="3751" y="3976"/>
                        <a:pt x="4646" y="3093"/>
                        <a:pt x="4646" y="1992"/>
                      </a:cubicBezTo>
                      <a:cubicBezTo>
                        <a:pt x="4646" y="797"/>
                        <a:pt x="3665" y="0"/>
                        <a:pt x="264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73" name="Google Shape;11857;p65">
                  <a:extLst>
                    <a:ext uri="{FF2B5EF4-FFF2-40B4-BE49-F238E27FC236}">
                      <a16:creationId xmlns:a16="http://schemas.microsoft.com/office/drawing/2014/main" id="{F65CBBFE-732E-1F50-43D7-E0DF2AB26324}"/>
                    </a:ext>
                  </a:extLst>
                </p:cNvPr>
                <p:cNvSpPr/>
                <p:nvPr/>
              </p:nvSpPr>
              <p:spPr>
                <a:xfrm>
                  <a:off x="4225625" y="3934335"/>
                  <a:ext cx="11994" cy="119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25" h="1525" extrusionOk="0">
                      <a:moveTo>
                        <a:pt x="762" y="1"/>
                      </a:moveTo>
                      <a:cubicBezTo>
                        <a:pt x="339" y="1"/>
                        <a:pt x="0" y="339"/>
                        <a:pt x="0" y="763"/>
                      </a:cubicBezTo>
                      <a:cubicBezTo>
                        <a:pt x="0" y="1186"/>
                        <a:pt x="339" y="1525"/>
                        <a:pt x="762" y="1525"/>
                      </a:cubicBezTo>
                      <a:cubicBezTo>
                        <a:pt x="1173" y="1525"/>
                        <a:pt x="1524" y="1186"/>
                        <a:pt x="1524" y="763"/>
                      </a:cubicBezTo>
                      <a:cubicBezTo>
                        <a:pt x="1524" y="339"/>
                        <a:pt x="1173" y="1"/>
                        <a:pt x="762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2" name="Google Shape;11858;p65">
                <a:extLst>
                  <a:ext uri="{FF2B5EF4-FFF2-40B4-BE49-F238E27FC236}">
                    <a16:creationId xmlns:a16="http://schemas.microsoft.com/office/drawing/2014/main" id="{64C01BFD-BAD2-806D-CBC6-C82F3E2FE14B}"/>
                  </a:ext>
                </a:extLst>
              </p:cNvPr>
              <p:cNvGrpSpPr/>
              <p:nvPr/>
            </p:nvGrpSpPr>
            <p:grpSpPr>
              <a:xfrm>
                <a:off x="3987771" y="3628874"/>
                <a:ext cx="31499" cy="26993"/>
                <a:chOff x="3987771" y="3628874"/>
                <a:chExt cx="31499" cy="26993"/>
              </a:xfrm>
            </p:grpSpPr>
            <p:sp>
              <p:nvSpPr>
                <p:cNvPr id="2070" name="Google Shape;11859;p65">
                  <a:extLst>
                    <a:ext uri="{FF2B5EF4-FFF2-40B4-BE49-F238E27FC236}">
                      <a16:creationId xmlns:a16="http://schemas.microsoft.com/office/drawing/2014/main" id="{287BA67B-E5CA-960A-98FB-05B8645EA2A2}"/>
                    </a:ext>
                  </a:extLst>
                </p:cNvPr>
                <p:cNvSpPr/>
                <p:nvPr/>
              </p:nvSpPr>
              <p:spPr>
                <a:xfrm>
                  <a:off x="3987771" y="3628874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4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4" y="3432"/>
                        <a:pt x="2299" y="3432"/>
                      </a:cubicBezTo>
                      <a:cubicBezTo>
                        <a:pt x="3242" y="3419"/>
                        <a:pt x="4004" y="2657"/>
                        <a:pt x="4004" y="1714"/>
                      </a:cubicBezTo>
                      <a:cubicBezTo>
                        <a:pt x="4004" y="682"/>
                        <a:pt x="3162" y="0"/>
                        <a:pt x="2284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71" name="Google Shape;11860;p65">
                  <a:extLst>
                    <a:ext uri="{FF2B5EF4-FFF2-40B4-BE49-F238E27FC236}">
                      <a16:creationId xmlns:a16="http://schemas.microsoft.com/office/drawing/2014/main" id="{7E541A87-D5E1-FDB4-4BB3-00055DEE3A2A}"/>
                    </a:ext>
                  </a:extLst>
                </p:cNvPr>
                <p:cNvSpPr/>
                <p:nvPr/>
              </p:nvSpPr>
              <p:spPr>
                <a:xfrm>
                  <a:off x="4000709" y="3638540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41" y="1"/>
                      </a:moveTo>
                      <a:cubicBezTo>
                        <a:pt x="218" y="1"/>
                        <a:pt x="0" y="521"/>
                        <a:pt x="303" y="823"/>
                      </a:cubicBezTo>
                      <a:cubicBezTo>
                        <a:pt x="402" y="922"/>
                        <a:pt x="524" y="967"/>
                        <a:pt x="643" y="967"/>
                      </a:cubicBezTo>
                      <a:cubicBezTo>
                        <a:pt x="890" y="967"/>
                        <a:pt x="1125" y="778"/>
                        <a:pt x="1125" y="485"/>
                      </a:cubicBezTo>
                      <a:cubicBezTo>
                        <a:pt x="1125" y="219"/>
                        <a:pt x="908" y="1"/>
                        <a:pt x="641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3" name="Google Shape;11861;p65">
                <a:extLst>
                  <a:ext uri="{FF2B5EF4-FFF2-40B4-BE49-F238E27FC236}">
                    <a16:creationId xmlns:a16="http://schemas.microsoft.com/office/drawing/2014/main" id="{7E7D7C0B-5B3C-2B8D-84AA-0BF89A87FD4A}"/>
                  </a:ext>
                </a:extLst>
              </p:cNvPr>
              <p:cNvGrpSpPr/>
              <p:nvPr/>
            </p:nvGrpSpPr>
            <p:grpSpPr>
              <a:xfrm>
                <a:off x="4087382" y="3775674"/>
                <a:ext cx="31405" cy="26898"/>
                <a:chOff x="4087382" y="3775674"/>
                <a:chExt cx="31405" cy="26898"/>
              </a:xfrm>
            </p:grpSpPr>
            <p:sp>
              <p:nvSpPr>
                <p:cNvPr id="2068" name="Google Shape;11862;p65">
                  <a:extLst>
                    <a:ext uri="{FF2B5EF4-FFF2-40B4-BE49-F238E27FC236}">
                      <a16:creationId xmlns:a16="http://schemas.microsoft.com/office/drawing/2014/main" id="{7EDE7951-73B7-1F01-12E3-BCA1354B321D}"/>
                    </a:ext>
                  </a:extLst>
                </p:cNvPr>
                <p:cNvSpPr/>
                <p:nvPr/>
              </p:nvSpPr>
              <p:spPr>
                <a:xfrm>
                  <a:off x="4087382" y="3775674"/>
                  <a:ext cx="31405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0" extrusionOk="0">
                      <a:moveTo>
                        <a:pt x="2273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50" y="3420"/>
                        <a:pt x="2275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69" name="Google Shape;11863;p65">
                  <a:extLst>
                    <a:ext uri="{FF2B5EF4-FFF2-40B4-BE49-F238E27FC236}">
                      <a16:creationId xmlns:a16="http://schemas.microsoft.com/office/drawing/2014/main" id="{6C633351-BA87-D7F5-2B2E-7ADC3276A9EB}"/>
                    </a:ext>
                  </a:extLst>
                </p:cNvPr>
                <p:cNvSpPr/>
                <p:nvPr/>
              </p:nvSpPr>
              <p:spPr>
                <a:xfrm>
                  <a:off x="4101460" y="3785348"/>
                  <a:ext cx="7621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8" extrusionOk="0">
                      <a:moveTo>
                        <a:pt x="485" y="0"/>
                      </a:moveTo>
                      <a:cubicBezTo>
                        <a:pt x="219" y="0"/>
                        <a:pt x="1" y="218"/>
                        <a:pt x="1" y="484"/>
                      </a:cubicBezTo>
                      <a:cubicBezTo>
                        <a:pt x="1" y="750"/>
                        <a:pt x="219" y="968"/>
                        <a:pt x="485" y="968"/>
                      </a:cubicBezTo>
                      <a:cubicBezTo>
                        <a:pt x="751" y="968"/>
                        <a:pt x="969" y="750"/>
                        <a:pt x="969" y="484"/>
                      </a:cubicBezTo>
                      <a:cubicBezTo>
                        <a:pt x="969" y="218"/>
                        <a:pt x="751" y="0"/>
                        <a:pt x="485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4" name="Google Shape;11864;p65">
                <a:extLst>
                  <a:ext uri="{FF2B5EF4-FFF2-40B4-BE49-F238E27FC236}">
                    <a16:creationId xmlns:a16="http://schemas.microsoft.com/office/drawing/2014/main" id="{6ECE21E9-C608-C37E-35F6-F4B43D5CED4F}"/>
                  </a:ext>
                </a:extLst>
              </p:cNvPr>
              <p:cNvGrpSpPr/>
              <p:nvPr/>
            </p:nvGrpSpPr>
            <p:grpSpPr>
              <a:xfrm>
                <a:off x="4118873" y="3856637"/>
                <a:ext cx="31405" cy="26906"/>
                <a:chOff x="4118873" y="3856637"/>
                <a:chExt cx="31405" cy="26906"/>
              </a:xfrm>
            </p:grpSpPr>
            <p:sp>
              <p:nvSpPr>
                <p:cNvPr id="2066" name="Google Shape;11865;p65">
                  <a:extLst>
                    <a:ext uri="{FF2B5EF4-FFF2-40B4-BE49-F238E27FC236}">
                      <a16:creationId xmlns:a16="http://schemas.microsoft.com/office/drawing/2014/main" id="{2E759E4B-8327-5FA0-9B43-D7A737537FE8}"/>
                    </a:ext>
                  </a:extLst>
                </p:cNvPr>
                <p:cNvSpPr/>
                <p:nvPr/>
              </p:nvSpPr>
              <p:spPr>
                <a:xfrm>
                  <a:off x="4118873" y="3856637"/>
                  <a:ext cx="31405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1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1" y="1581"/>
                        <a:pt x="763" y="3420"/>
                        <a:pt x="2287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67" name="Google Shape;11866;p65">
                  <a:extLst>
                    <a:ext uri="{FF2B5EF4-FFF2-40B4-BE49-F238E27FC236}">
                      <a16:creationId xmlns:a16="http://schemas.microsoft.com/office/drawing/2014/main" id="{BC5BD30E-B9C9-838B-BDBA-9FA179987D65}"/>
                    </a:ext>
                  </a:extLst>
                </p:cNvPr>
                <p:cNvSpPr/>
                <p:nvPr/>
              </p:nvSpPr>
              <p:spPr>
                <a:xfrm>
                  <a:off x="4133046" y="3866310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4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4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5" name="Google Shape;11867;p65">
                <a:extLst>
                  <a:ext uri="{FF2B5EF4-FFF2-40B4-BE49-F238E27FC236}">
                    <a16:creationId xmlns:a16="http://schemas.microsoft.com/office/drawing/2014/main" id="{7DF557D0-2E7D-8FB4-06BC-983FAE18145A}"/>
                  </a:ext>
                </a:extLst>
              </p:cNvPr>
              <p:cNvGrpSpPr/>
              <p:nvPr/>
            </p:nvGrpSpPr>
            <p:grpSpPr>
              <a:xfrm>
                <a:off x="4168541" y="3639523"/>
                <a:ext cx="31499" cy="26906"/>
                <a:chOff x="4168541" y="3639523"/>
                <a:chExt cx="31499" cy="26906"/>
              </a:xfrm>
            </p:grpSpPr>
            <p:sp>
              <p:nvSpPr>
                <p:cNvPr id="2064" name="Google Shape;11868;p65">
                  <a:extLst>
                    <a:ext uri="{FF2B5EF4-FFF2-40B4-BE49-F238E27FC236}">
                      <a16:creationId xmlns:a16="http://schemas.microsoft.com/office/drawing/2014/main" id="{D9A58049-15F5-E7C2-3624-6FDB8A591BB4}"/>
                    </a:ext>
                  </a:extLst>
                </p:cNvPr>
                <p:cNvSpPr/>
                <p:nvPr/>
              </p:nvSpPr>
              <p:spPr>
                <a:xfrm>
                  <a:off x="4168541" y="3639523"/>
                  <a:ext cx="31499" cy="269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21" extrusionOk="0">
                      <a:moveTo>
                        <a:pt x="2284" y="1"/>
                      </a:moveTo>
                      <a:cubicBezTo>
                        <a:pt x="1865" y="1"/>
                        <a:pt x="1437" y="157"/>
                        <a:pt x="1089" y="505"/>
                      </a:cubicBezTo>
                      <a:cubicBezTo>
                        <a:pt x="0" y="1582"/>
                        <a:pt x="774" y="3420"/>
                        <a:pt x="2298" y="3420"/>
                      </a:cubicBezTo>
                      <a:cubicBezTo>
                        <a:pt x="3242" y="3420"/>
                        <a:pt x="4004" y="2658"/>
                        <a:pt x="4004" y="1715"/>
                      </a:cubicBezTo>
                      <a:cubicBezTo>
                        <a:pt x="4004" y="683"/>
                        <a:pt x="3162" y="1"/>
                        <a:pt x="2284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65" name="Google Shape;11869;p65">
                  <a:extLst>
                    <a:ext uri="{FF2B5EF4-FFF2-40B4-BE49-F238E27FC236}">
                      <a16:creationId xmlns:a16="http://schemas.microsoft.com/office/drawing/2014/main" id="{44ECEC7A-FD5B-621C-6DB4-1863204851FE}"/>
                    </a:ext>
                  </a:extLst>
                </p:cNvPr>
                <p:cNvSpPr/>
                <p:nvPr/>
              </p:nvSpPr>
              <p:spPr>
                <a:xfrm>
                  <a:off x="4182713" y="3649197"/>
                  <a:ext cx="7716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1" h="969" extrusionOk="0">
                      <a:moveTo>
                        <a:pt x="496" y="1"/>
                      </a:moveTo>
                      <a:cubicBezTo>
                        <a:pt x="218" y="1"/>
                        <a:pt x="0" y="218"/>
                        <a:pt x="0" y="485"/>
                      </a:cubicBezTo>
                      <a:cubicBezTo>
                        <a:pt x="0" y="751"/>
                        <a:pt x="218" y="968"/>
                        <a:pt x="496" y="968"/>
                      </a:cubicBezTo>
                      <a:cubicBezTo>
                        <a:pt x="763" y="968"/>
                        <a:pt x="980" y="751"/>
                        <a:pt x="980" y="485"/>
                      </a:cubicBezTo>
                      <a:cubicBezTo>
                        <a:pt x="980" y="218"/>
                        <a:pt x="763" y="1"/>
                        <a:pt x="496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6" name="Google Shape;11870;p65">
                <a:extLst>
                  <a:ext uri="{FF2B5EF4-FFF2-40B4-BE49-F238E27FC236}">
                    <a16:creationId xmlns:a16="http://schemas.microsoft.com/office/drawing/2014/main" id="{AC1F1983-3729-58CE-2772-2B98F8095FF7}"/>
                  </a:ext>
                </a:extLst>
              </p:cNvPr>
              <p:cNvGrpSpPr/>
              <p:nvPr/>
            </p:nvGrpSpPr>
            <p:grpSpPr>
              <a:xfrm>
                <a:off x="3965789" y="3393545"/>
                <a:ext cx="31405" cy="26945"/>
                <a:chOff x="3965789" y="3393545"/>
                <a:chExt cx="31405" cy="26945"/>
              </a:xfrm>
            </p:grpSpPr>
            <p:sp>
              <p:nvSpPr>
                <p:cNvPr id="2062" name="Google Shape;11871;p65">
                  <a:extLst>
                    <a:ext uri="{FF2B5EF4-FFF2-40B4-BE49-F238E27FC236}">
                      <a16:creationId xmlns:a16="http://schemas.microsoft.com/office/drawing/2014/main" id="{59275884-C50C-F95A-3899-6FBACCBF7855}"/>
                    </a:ext>
                  </a:extLst>
                </p:cNvPr>
                <p:cNvSpPr/>
                <p:nvPr/>
              </p:nvSpPr>
              <p:spPr>
                <a:xfrm>
                  <a:off x="3965789" y="3393545"/>
                  <a:ext cx="31405" cy="26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26" extrusionOk="0">
                      <a:moveTo>
                        <a:pt x="2273" y="0"/>
                      </a:moveTo>
                      <a:cubicBezTo>
                        <a:pt x="1854" y="0"/>
                        <a:pt x="1426" y="158"/>
                        <a:pt x="1077" y="510"/>
                      </a:cubicBezTo>
                      <a:cubicBezTo>
                        <a:pt x="1" y="1586"/>
                        <a:pt x="763" y="3425"/>
                        <a:pt x="2287" y="3425"/>
                      </a:cubicBezTo>
                      <a:cubicBezTo>
                        <a:pt x="3231" y="3425"/>
                        <a:pt x="3993" y="2663"/>
                        <a:pt x="3993" y="1720"/>
                      </a:cubicBezTo>
                      <a:cubicBezTo>
                        <a:pt x="3993" y="688"/>
                        <a:pt x="3151" y="0"/>
                        <a:pt x="227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63" name="Google Shape;11872;p65">
                  <a:extLst>
                    <a:ext uri="{FF2B5EF4-FFF2-40B4-BE49-F238E27FC236}">
                      <a16:creationId xmlns:a16="http://schemas.microsoft.com/office/drawing/2014/main" id="{1A0440E9-D687-EE43-BFA7-FEEE165B2801}"/>
                    </a:ext>
                  </a:extLst>
                </p:cNvPr>
                <p:cNvSpPr/>
                <p:nvPr/>
              </p:nvSpPr>
              <p:spPr>
                <a:xfrm>
                  <a:off x="3978632" y="3403259"/>
                  <a:ext cx="8950" cy="75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8" h="965" extrusionOk="0">
                      <a:moveTo>
                        <a:pt x="654" y="1"/>
                      </a:moveTo>
                      <a:cubicBezTo>
                        <a:pt x="219" y="1"/>
                        <a:pt x="1" y="509"/>
                        <a:pt x="315" y="823"/>
                      </a:cubicBezTo>
                      <a:cubicBezTo>
                        <a:pt x="413" y="921"/>
                        <a:pt x="533" y="964"/>
                        <a:pt x="651" y="964"/>
                      </a:cubicBezTo>
                      <a:cubicBezTo>
                        <a:pt x="899" y="964"/>
                        <a:pt x="1138" y="772"/>
                        <a:pt x="1138" y="485"/>
                      </a:cubicBezTo>
                      <a:cubicBezTo>
                        <a:pt x="1138" y="206"/>
                        <a:pt x="920" y="1"/>
                        <a:pt x="65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7" name="Google Shape;11873;p65">
                <a:extLst>
                  <a:ext uri="{FF2B5EF4-FFF2-40B4-BE49-F238E27FC236}">
                    <a16:creationId xmlns:a16="http://schemas.microsoft.com/office/drawing/2014/main" id="{D67FBEBB-A270-1C04-911D-97193B664AFF}"/>
                  </a:ext>
                </a:extLst>
              </p:cNvPr>
              <p:cNvGrpSpPr/>
              <p:nvPr/>
            </p:nvGrpSpPr>
            <p:grpSpPr>
              <a:xfrm>
                <a:off x="3925166" y="3491008"/>
                <a:ext cx="31405" cy="27001"/>
                <a:chOff x="3925166" y="3491008"/>
                <a:chExt cx="31405" cy="27001"/>
              </a:xfrm>
            </p:grpSpPr>
            <p:sp>
              <p:nvSpPr>
                <p:cNvPr id="2060" name="Google Shape;11874;p65">
                  <a:extLst>
                    <a:ext uri="{FF2B5EF4-FFF2-40B4-BE49-F238E27FC236}">
                      <a16:creationId xmlns:a16="http://schemas.microsoft.com/office/drawing/2014/main" id="{92DCDFF8-E13A-C0A9-FFE6-A41364B668F0}"/>
                    </a:ext>
                  </a:extLst>
                </p:cNvPr>
                <p:cNvSpPr/>
                <p:nvPr/>
              </p:nvSpPr>
              <p:spPr>
                <a:xfrm>
                  <a:off x="3925166" y="3491008"/>
                  <a:ext cx="31405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3" h="3433" extrusionOk="0">
                      <a:moveTo>
                        <a:pt x="2273" y="1"/>
                      </a:moveTo>
                      <a:cubicBezTo>
                        <a:pt x="1853" y="1"/>
                        <a:pt x="1425" y="157"/>
                        <a:pt x="1077" y="505"/>
                      </a:cubicBezTo>
                      <a:cubicBezTo>
                        <a:pt x="0" y="1582"/>
                        <a:pt x="763" y="3432"/>
                        <a:pt x="2287" y="3432"/>
                      </a:cubicBezTo>
                      <a:cubicBezTo>
                        <a:pt x="3230" y="3432"/>
                        <a:pt x="3992" y="2658"/>
                        <a:pt x="3992" y="1715"/>
                      </a:cubicBezTo>
                      <a:cubicBezTo>
                        <a:pt x="3992" y="683"/>
                        <a:pt x="3151" y="1"/>
                        <a:pt x="2273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61" name="Google Shape;11875;p65">
                  <a:extLst>
                    <a:ext uri="{FF2B5EF4-FFF2-40B4-BE49-F238E27FC236}">
                      <a16:creationId xmlns:a16="http://schemas.microsoft.com/office/drawing/2014/main" id="{877AEAD7-7D22-D47D-3338-E8A297A108E4}"/>
                    </a:ext>
                  </a:extLst>
                </p:cNvPr>
                <p:cNvSpPr/>
                <p:nvPr/>
              </p:nvSpPr>
              <p:spPr>
                <a:xfrm>
                  <a:off x="3939339" y="3500682"/>
                  <a:ext cx="7621" cy="76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9" h="969" extrusionOk="0">
                      <a:moveTo>
                        <a:pt x="485" y="1"/>
                      </a:moveTo>
                      <a:cubicBezTo>
                        <a:pt x="219" y="1"/>
                        <a:pt x="1" y="218"/>
                        <a:pt x="1" y="485"/>
                      </a:cubicBezTo>
                      <a:cubicBezTo>
                        <a:pt x="1" y="751"/>
                        <a:pt x="219" y="968"/>
                        <a:pt x="485" y="968"/>
                      </a:cubicBezTo>
                      <a:cubicBezTo>
                        <a:pt x="751" y="968"/>
                        <a:pt x="969" y="751"/>
                        <a:pt x="969" y="485"/>
                      </a:cubicBezTo>
                      <a:cubicBezTo>
                        <a:pt x="969" y="218"/>
                        <a:pt x="751" y="1"/>
                        <a:pt x="48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8" name="Google Shape;11876;p65">
                <a:extLst>
                  <a:ext uri="{FF2B5EF4-FFF2-40B4-BE49-F238E27FC236}">
                    <a16:creationId xmlns:a16="http://schemas.microsoft.com/office/drawing/2014/main" id="{8100860B-7664-3A75-0C61-A4F4ABAC6ACC}"/>
                  </a:ext>
                </a:extLst>
              </p:cNvPr>
              <p:cNvGrpSpPr/>
              <p:nvPr/>
            </p:nvGrpSpPr>
            <p:grpSpPr>
              <a:xfrm>
                <a:off x="3682845" y="3340976"/>
                <a:ext cx="31397" cy="26898"/>
                <a:chOff x="3682845" y="3340976"/>
                <a:chExt cx="31397" cy="26898"/>
              </a:xfrm>
            </p:grpSpPr>
            <p:sp>
              <p:nvSpPr>
                <p:cNvPr id="2058" name="Google Shape;11877;p65">
                  <a:extLst>
                    <a:ext uri="{FF2B5EF4-FFF2-40B4-BE49-F238E27FC236}">
                      <a16:creationId xmlns:a16="http://schemas.microsoft.com/office/drawing/2014/main" id="{93B2C4CF-8F8A-2513-6791-2AB97A47A0C1}"/>
                    </a:ext>
                  </a:extLst>
                </p:cNvPr>
                <p:cNvSpPr/>
                <p:nvPr/>
              </p:nvSpPr>
              <p:spPr>
                <a:xfrm>
                  <a:off x="3682845" y="3340976"/>
                  <a:ext cx="31397" cy="26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92" h="3420" extrusionOk="0">
                      <a:moveTo>
                        <a:pt x="2272" y="0"/>
                      </a:moveTo>
                      <a:cubicBezTo>
                        <a:pt x="1853" y="0"/>
                        <a:pt x="1425" y="156"/>
                        <a:pt x="1077" y="504"/>
                      </a:cubicBezTo>
                      <a:cubicBezTo>
                        <a:pt x="0" y="1581"/>
                        <a:pt x="762" y="3420"/>
                        <a:pt x="2286" y="3420"/>
                      </a:cubicBezTo>
                      <a:cubicBezTo>
                        <a:pt x="3230" y="3420"/>
                        <a:pt x="3992" y="2658"/>
                        <a:pt x="3992" y="1714"/>
                      </a:cubicBezTo>
                      <a:cubicBezTo>
                        <a:pt x="3992" y="683"/>
                        <a:pt x="3150" y="0"/>
                        <a:pt x="2272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59" name="Google Shape;11878;p65">
                  <a:extLst>
                    <a:ext uri="{FF2B5EF4-FFF2-40B4-BE49-F238E27FC236}">
                      <a16:creationId xmlns:a16="http://schemas.microsoft.com/office/drawing/2014/main" id="{FE219D37-C777-B458-600A-03D78F632B85}"/>
                    </a:ext>
                  </a:extLst>
                </p:cNvPr>
                <p:cNvSpPr/>
                <p:nvPr/>
              </p:nvSpPr>
              <p:spPr>
                <a:xfrm>
                  <a:off x="3695783" y="3350650"/>
                  <a:ext cx="8856" cy="7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72" extrusionOk="0">
                      <a:moveTo>
                        <a:pt x="641" y="0"/>
                      </a:moveTo>
                      <a:cubicBezTo>
                        <a:pt x="206" y="0"/>
                        <a:pt x="0" y="520"/>
                        <a:pt x="303" y="823"/>
                      </a:cubicBezTo>
                      <a:cubicBezTo>
                        <a:pt x="401" y="926"/>
                        <a:pt x="524" y="972"/>
                        <a:pt x="643" y="972"/>
                      </a:cubicBezTo>
                      <a:cubicBezTo>
                        <a:pt x="890" y="972"/>
                        <a:pt x="1125" y="777"/>
                        <a:pt x="1125" y="484"/>
                      </a:cubicBezTo>
                      <a:cubicBezTo>
                        <a:pt x="1125" y="218"/>
                        <a:pt x="907" y="0"/>
                        <a:pt x="641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19" name="Google Shape;11879;p65">
                <a:extLst>
                  <a:ext uri="{FF2B5EF4-FFF2-40B4-BE49-F238E27FC236}">
                    <a16:creationId xmlns:a16="http://schemas.microsoft.com/office/drawing/2014/main" id="{3369FEF4-C3AE-09FB-05F0-46040D70EF73}"/>
                  </a:ext>
                </a:extLst>
              </p:cNvPr>
              <p:cNvGrpSpPr/>
              <p:nvPr/>
            </p:nvGrpSpPr>
            <p:grpSpPr>
              <a:xfrm>
                <a:off x="3795393" y="3353725"/>
                <a:ext cx="31499" cy="26993"/>
                <a:chOff x="3795393" y="3353725"/>
                <a:chExt cx="31499" cy="26993"/>
              </a:xfrm>
            </p:grpSpPr>
            <p:sp>
              <p:nvSpPr>
                <p:cNvPr id="2056" name="Google Shape;11880;p65">
                  <a:extLst>
                    <a:ext uri="{FF2B5EF4-FFF2-40B4-BE49-F238E27FC236}">
                      <a16:creationId xmlns:a16="http://schemas.microsoft.com/office/drawing/2014/main" id="{EBE21F29-DE60-9D70-E64A-C3FAD0285BF0}"/>
                    </a:ext>
                  </a:extLst>
                </p:cNvPr>
                <p:cNvSpPr/>
                <p:nvPr/>
              </p:nvSpPr>
              <p:spPr>
                <a:xfrm>
                  <a:off x="3795393" y="3353725"/>
                  <a:ext cx="31499" cy="26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2" extrusionOk="0">
                      <a:moveTo>
                        <a:pt x="2285" y="0"/>
                      </a:moveTo>
                      <a:cubicBezTo>
                        <a:pt x="1865" y="0"/>
                        <a:pt x="1437" y="156"/>
                        <a:pt x="1089" y="504"/>
                      </a:cubicBezTo>
                      <a:cubicBezTo>
                        <a:pt x="0" y="1581"/>
                        <a:pt x="775" y="3432"/>
                        <a:pt x="2299" y="3432"/>
                      </a:cubicBezTo>
                      <a:cubicBezTo>
                        <a:pt x="3242" y="3432"/>
                        <a:pt x="4005" y="2658"/>
                        <a:pt x="4005" y="1714"/>
                      </a:cubicBezTo>
                      <a:cubicBezTo>
                        <a:pt x="4005" y="683"/>
                        <a:pt x="3163" y="0"/>
                        <a:pt x="2285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57" name="Google Shape;11881;p65">
                  <a:extLst>
                    <a:ext uri="{FF2B5EF4-FFF2-40B4-BE49-F238E27FC236}">
                      <a16:creationId xmlns:a16="http://schemas.microsoft.com/office/drawing/2014/main" id="{DC12D0A4-119D-F9AB-72E9-51E0786B77E8}"/>
                    </a:ext>
                  </a:extLst>
                </p:cNvPr>
                <p:cNvSpPr/>
                <p:nvPr/>
              </p:nvSpPr>
              <p:spPr>
                <a:xfrm>
                  <a:off x="3809668" y="3363399"/>
                  <a:ext cx="7613" cy="76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68" h="968" extrusionOk="0">
                      <a:moveTo>
                        <a:pt x="484" y="0"/>
                      </a:moveTo>
                      <a:cubicBezTo>
                        <a:pt x="206" y="0"/>
                        <a:pt x="0" y="218"/>
                        <a:pt x="0" y="484"/>
                      </a:cubicBezTo>
                      <a:cubicBezTo>
                        <a:pt x="0" y="750"/>
                        <a:pt x="206" y="968"/>
                        <a:pt x="484" y="968"/>
                      </a:cubicBezTo>
                      <a:cubicBezTo>
                        <a:pt x="750" y="968"/>
                        <a:pt x="968" y="750"/>
                        <a:pt x="968" y="484"/>
                      </a:cubicBezTo>
                      <a:cubicBezTo>
                        <a:pt x="968" y="218"/>
                        <a:pt x="750" y="0"/>
                        <a:pt x="484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0" name="Google Shape;11882;p65">
                <a:extLst>
                  <a:ext uri="{FF2B5EF4-FFF2-40B4-BE49-F238E27FC236}">
                    <a16:creationId xmlns:a16="http://schemas.microsoft.com/office/drawing/2014/main" id="{7C58961F-11F7-073A-B789-D40DCABF17D9}"/>
                  </a:ext>
                </a:extLst>
              </p:cNvPr>
              <p:cNvGrpSpPr/>
              <p:nvPr/>
            </p:nvGrpSpPr>
            <p:grpSpPr>
              <a:xfrm>
                <a:off x="4176909" y="4363221"/>
                <a:ext cx="38924" cy="33316"/>
                <a:chOff x="4176909" y="4363221"/>
                <a:chExt cx="38924" cy="33316"/>
              </a:xfrm>
            </p:grpSpPr>
            <p:sp>
              <p:nvSpPr>
                <p:cNvPr id="2054" name="Google Shape;11883;p65">
                  <a:extLst>
                    <a:ext uri="{FF2B5EF4-FFF2-40B4-BE49-F238E27FC236}">
                      <a16:creationId xmlns:a16="http://schemas.microsoft.com/office/drawing/2014/main" id="{8CC6E04A-4892-1BD4-DB45-A918D8C32130}"/>
                    </a:ext>
                  </a:extLst>
                </p:cNvPr>
                <p:cNvSpPr/>
                <p:nvPr/>
              </p:nvSpPr>
              <p:spPr>
                <a:xfrm>
                  <a:off x="4176909" y="4363221"/>
                  <a:ext cx="38924" cy="333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49" h="4236" extrusionOk="0">
                      <a:moveTo>
                        <a:pt x="2823" y="0"/>
                      </a:moveTo>
                      <a:cubicBezTo>
                        <a:pt x="2301" y="0"/>
                        <a:pt x="1767" y="195"/>
                        <a:pt x="1331" y="631"/>
                      </a:cubicBezTo>
                      <a:cubicBezTo>
                        <a:pt x="1" y="1961"/>
                        <a:pt x="944" y="4236"/>
                        <a:pt x="2831" y="4236"/>
                      </a:cubicBezTo>
                      <a:cubicBezTo>
                        <a:pt x="4005" y="4236"/>
                        <a:pt x="4948" y="3292"/>
                        <a:pt x="4948" y="2119"/>
                      </a:cubicBezTo>
                      <a:cubicBezTo>
                        <a:pt x="4948" y="844"/>
                        <a:pt x="3911" y="0"/>
                        <a:pt x="2823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55" name="Google Shape;11884;p65">
                  <a:extLst>
                    <a:ext uri="{FF2B5EF4-FFF2-40B4-BE49-F238E27FC236}">
                      <a16:creationId xmlns:a16="http://schemas.microsoft.com/office/drawing/2014/main" id="{C7275EFD-A113-FCCA-12C5-A302EE31EBED}"/>
                    </a:ext>
                  </a:extLst>
                </p:cNvPr>
                <p:cNvSpPr/>
                <p:nvPr/>
              </p:nvSpPr>
              <p:spPr>
                <a:xfrm>
                  <a:off x="4192230" y="4372934"/>
                  <a:ext cx="13897" cy="139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7" h="1779" extrusionOk="0">
                      <a:moveTo>
                        <a:pt x="883" y="1"/>
                      </a:moveTo>
                      <a:cubicBezTo>
                        <a:pt x="399" y="1"/>
                        <a:pt x="0" y="400"/>
                        <a:pt x="0" y="896"/>
                      </a:cubicBezTo>
                      <a:cubicBezTo>
                        <a:pt x="0" y="1380"/>
                        <a:pt x="399" y="1779"/>
                        <a:pt x="883" y="1779"/>
                      </a:cubicBezTo>
                      <a:cubicBezTo>
                        <a:pt x="1379" y="1779"/>
                        <a:pt x="1766" y="1380"/>
                        <a:pt x="1766" y="896"/>
                      </a:cubicBezTo>
                      <a:cubicBezTo>
                        <a:pt x="1766" y="400"/>
                        <a:pt x="1379" y="1"/>
                        <a:pt x="88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1" name="Google Shape;11885;p65">
                <a:extLst>
                  <a:ext uri="{FF2B5EF4-FFF2-40B4-BE49-F238E27FC236}">
                    <a16:creationId xmlns:a16="http://schemas.microsoft.com/office/drawing/2014/main" id="{107CC179-CD1F-CBAD-F025-9BD85C52C00C}"/>
                  </a:ext>
                </a:extLst>
              </p:cNvPr>
              <p:cNvGrpSpPr/>
              <p:nvPr/>
            </p:nvGrpSpPr>
            <p:grpSpPr>
              <a:xfrm>
                <a:off x="4226191" y="4007660"/>
                <a:ext cx="33560" cy="28770"/>
                <a:chOff x="4226191" y="4007660"/>
                <a:chExt cx="33560" cy="28770"/>
              </a:xfrm>
            </p:grpSpPr>
            <p:sp>
              <p:nvSpPr>
                <p:cNvPr id="2052" name="Google Shape;11886;p65">
                  <a:extLst>
                    <a:ext uri="{FF2B5EF4-FFF2-40B4-BE49-F238E27FC236}">
                      <a16:creationId xmlns:a16="http://schemas.microsoft.com/office/drawing/2014/main" id="{56DC254D-997F-5DB7-BBA4-EA402AE98ADB}"/>
                    </a:ext>
                  </a:extLst>
                </p:cNvPr>
                <p:cNvSpPr/>
                <p:nvPr/>
              </p:nvSpPr>
              <p:spPr>
                <a:xfrm>
                  <a:off x="4226191" y="4007660"/>
                  <a:ext cx="33560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67" h="3658" extrusionOk="0">
                      <a:moveTo>
                        <a:pt x="2427" y="1"/>
                      </a:moveTo>
                      <a:cubicBezTo>
                        <a:pt x="1980" y="1"/>
                        <a:pt x="1524" y="167"/>
                        <a:pt x="1150" y="537"/>
                      </a:cubicBezTo>
                      <a:cubicBezTo>
                        <a:pt x="1" y="1686"/>
                        <a:pt x="811" y="3645"/>
                        <a:pt x="2444" y="3658"/>
                      </a:cubicBezTo>
                      <a:cubicBezTo>
                        <a:pt x="3436" y="3645"/>
                        <a:pt x="4259" y="2835"/>
                        <a:pt x="4259" y="1843"/>
                      </a:cubicBezTo>
                      <a:cubicBezTo>
                        <a:pt x="4267" y="736"/>
                        <a:pt x="3369" y="1"/>
                        <a:pt x="2427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53" name="Google Shape;11887;p65">
                  <a:extLst>
                    <a:ext uri="{FF2B5EF4-FFF2-40B4-BE49-F238E27FC236}">
                      <a16:creationId xmlns:a16="http://schemas.microsoft.com/office/drawing/2014/main" id="{58CDEA3D-7E76-0789-13D9-36EE18B96190}"/>
                    </a:ext>
                  </a:extLst>
                </p:cNvPr>
                <p:cNvSpPr/>
                <p:nvPr/>
              </p:nvSpPr>
              <p:spPr>
                <a:xfrm>
                  <a:off x="4239129" y="4017397"/>
                  <a:ext cx="10948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2" h="1193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8"/>
                        <a:pt x="647" y="1192"/>
                        <a:pt x="794" y="1192"/>
                      </a:cubicBezTo>
                      <a:cubicBezTo>
                        <a:pt x="1099" y="1192"/>
                        <a:pt x="1392" y="957"/>
                        <a:pt x="1392" y="605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2" name="Google Shape;11888;p65">
                <a:extLst>
                  <a:ext uri="{FF2B5EF4-FFF2-40B4-BE49-F238E27FC236}">
                    <a16:creationId xmlns:a16="http://schemas.microsoft.com/office/drawing/2014/main" id="{ADEDFE8D-6028-0F72-B1E7-16D3FF510861}"/>
                  </a:ext>
                </a:extLst>
              </p:cNvPr>
              <p:cNvGrpSpPr/>
              <p:nvPr/>
            </p:nvGrpSpPr>
            <p:grpSpPr>
              <a:xfrm>
                <a:off x="3597785" y="3377045"/>
                <a:ext cx="33591" cy="28699"/>
                <a:chOff x="3597785" y="3377045"/>
                <a:chExt cx="33591" cy="28699"/>
              </a:xfrm>
            </p:grpSpPr>
            <p:sp>
              <p:nvSpPr>
                <p:cNvPr id="2050" name="Google Shape;11889;p65">
                  <a:extLst>
                    <a:ext uri="{FF2B5EF4-FFF2-40B4-BE49-F238E27FC236}">
                      <a16:creationId xmlns:a16="http://schemas.microsoft.com/office/drawing/2014/main" id="{48151E36-BA7C-0B47-4A8D-8632D6ADF51F}"/>
                    </a:ext>
                  </a:extLst>
                </p:cNvPr>
                <p:cNvSpPr/>
                <p:nvPr/>
              </p:nvSpPr>
              <p:spPr>
                <a:xfrm>
                  <a:off x="3597785" y="3377045"/>
                  <a:ext cx="33591" cy="286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9" extrusionOk="0">
                      <a:moveTo>
                        <a:pt x="2428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0" y="1676"/>
                        <a:pt x="811" y="3648"/>
                        <a:pt x="2444" y="3648"/>
                      </a:cubicBezTo>
                      <a:cubicBezTo>
                        <a:pt x="3448" y="3648"/>
                        <a:pt x="4259" y="2826"/>
                        <a:pt x="4271" y="1822"/>
                      </a:cubicBezTo>
                      <a:cubicBezTo>
                        <a:pt x="4262" y="726"/>
                        <a:pt x="3364" y="0"/>
                        <a:pt x="242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51" name="Google Shape;11890;p65">
                  <a:extLst>
                    <a:ext uri="{FF2B5EF4-FFF2-40B4-BE49-F238E27FC236}">
                      <a16:creationId xmlns:a16="http://schemas.microsoft.com/office/drawing/2014/main" id="{64BA3E44-54BA-0E83-4826-365BEC7B6C08}"/>
                    </a:ext>
                  </a:extLst>
                </p:cNvPr>
                <p:cNvSpPr/>
                <p:nvPr/>
              </p:nvSpPr>
              <p:spPr>
                <a:xfrm>
                  <a:off x="3612343" y="3386703"/>
                  <a:ext cx="9328" cy="93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6" h="1187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4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20" y="1186"/>
                        <a:pt x="1186" y="920"/>
                        <a:pt x="1186" y="594"/>
                      </a:cubicBezTo>
                      <a:cubicBezTo>
                        <a:pt x="1186" y="267"/>
                        <a:pt x="920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3" name="Google Shape;11891;p65">
                <a:extLst>
                  <a:ext uri="{FF2B5EF4-FFF2-40B4-BE49-F238E27FC236}">
                    <a16:creationId xmlns:a16="http://schemas.microsoft.com/office/drawing/2014/main" id="{0FAA1B05-00D6-09ED-A7FE-08D05AB5729A}"/>
                  </a:ext>
                </a:extLst>
              </p:cNvPr>
              <p:cNvGrpSpPr/>
              <p:nvPr/>
            </p:nvGrpSpPr>
            <p:grpSpPr>
              <a:xfrm>
                <a:off x="3887870" y="3669796"/>
                <a:ext cx="33591" cy="28692"/>
                <a:chOff x="3887870" y="3669796"/>
                <a:chExt cx="33591" cy="28692"/>
              </a:xfrm>
            </p:grpSpPr>
            <p:sp>
              <p:nvSpPr>
                <p:cNvPr id="2048" name="Google Shape;11892;p65">
                  <a:extLst>
                    <a:ext uri="{FF2B5EF4-FFF2-40B4-BE49-F238E27FC236}">
                      <a16:creationId xmlns:a16="http://schemas.microsoft.com/office/drawing/2014/main" id="{2F13C454-88BD-2A6A-F965-272BD638620F}"/>
                    </a:ext>
                  </a:extLst>
                </p:cNvPr>
                <p:cNvSpPr/>
                <p:nvPr/>
              </p:nvSpPr>
              <p:spPr>
                <a:xfrm>
                  <a:off x="3887870" y="3669796"/>
                  <a:ext cx="33591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1" h="3648" extrusionOk="0">
                      <a:moveTo>
                        <a:pt x="2431" y="0"/>
                      </a:moveTo>
                      <a:cubicBezTo>
                        <a:pt x="1981" y="0"/>
                        <a:pt x="1522" y="167"/>
                        <a:pt x="1150" y="539"/>
                      </a:cubicBezTo>
                      <a:cubicBezTo>
                        <a:pt x="1" y="1676"/>
                        <a:pt x="823" y="3648"/>
                        <a:pt x="2444" y="3648"/>
                      </a:cubicBezTo>
                      <a:cubicBezTo>
                        <a:pt x="3448" y="3648"/>
                        <a:pt x="4271" y="2825"/>
                        <a:pt x="4271" y="1821"/>
                      </a:cubicBezTo>
                      <a:cubicBezTo>
                        <a:pt x="4271" y="725"/>
                        <a:pt x="3370" y="0"/>
                        <a:pt x="243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49" name="Google Shape;11893;p65">
                  <a:extLst>
                    <a:ext uri="{FF2B5EF4-FFF2-40B4-BE49-F238E27FC236}">
                      <a16:creationId xmlns:a16="http://schemas.microsoft.com/office/drawing/2014/main" id="{A065661B-D3FA-B53B-423F-BAFF4FE7B445}"/>
                    </a:ext>
                  </a:extLst>
                </p:cNvPr>
                <p:cNvSpPr/>
                <p:nvPr/>
              </p:nvSpPr>
              <p:spPr>
                <a:xfrm>
                  <a:off x="3902428" y="3679454"/>
                  <a:ext cx="9422" cy="93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8" h="1186" extrusionOk="0">
                      <a:moveTo>
                        <a:pt x="593" y="1"/>
                      </a:moveTo>
                      <a:cubicBezTo>
                        <a:pt x="266" y="1"/>
                        <a:pt x="0" y="267"/>
                        <a:pt x="0" y="593"/>
                      </a:cubicBezTo>
                      <a:cubicBezTo>
                        <a:pt x="0" y="920"/>
                        <a:pt x="266" y="1186"/>
                        <a:pt x="593" y="1186"/>
                      </a:cubicBezTo>
                      <a:cubicBezTo>
                        <a:pt x="932" y="1186"/>
                        <a:pt x="1198" y="920"/>
                        <a:pt x="1198" y="593"/>
                      </a:cubicBezTo>
                      <a:cubicBezTo>
                        <a:pt x="1198" y="267"/>
                        <a:pt x="932" y="1"/>
                        <a:pt x="59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4" name="Google Shape;11894;p65">
                <a:extLst>
                  <a:ext uri="{FF2B5EF4-FFF2-40B4-BE49-F238E27FC236}">
                    <a16:creationId xmlns:a16="http://schemas.microsoft.com/office/drawing/2014/main" id="{B0FCAC3B-6922-6105-842A-5265F66F0ED6}"/>
                  </a:ext>
                </a:extLst>
              </p:cNvPr>
              <p:cNvGrpSpPr/>
              <p:nvPr/>
            </p:nvGrpSpPr>
            <p:grpSpPr>
              <a:xfrm>
                <a:off x="3818320" y="3481625"/>
                <a:ext cx="33497" cy="28770"/>
                <a:chOff x="3818320" y="3481625"/>
                <a:chExt cx="33497" cy="28770"/>
              </a:xfrm>
            </p:grpSpPr>
            <p:sp>
              <p:nvSpPr>
                <p:cNvPr id="2046" name="Google Shape;11895;p65">
                  <a:extLst>
                    <a:ext uri="{FF2B5EF4-FFF2-40B4-BE49-F238E27FC236}">
                      <a16:creationId xmlns:a16="http://schemas.microsoft.com/office/drawing/2014/main" id="{D97CC9FA-A51F-7F64-59FB-61AFB26B4A23}"/>
                    </a:ext>
                  </a:extLst>
                </p:cNvPr>
                <p:cNvSpPr/>
                <p:nvPr/>
              </p:nvSpPr>
              <p:spPr>
                <a:xfrm>
                  <a:off x="3818320" y="3481625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1"/>
                      </a:moveTo>
                      <a:cubicBezTo>
                        <a:pt x="1975" y="1"/>
                        <a:pt x="1520" y="166"/>
                        <a:pt x="1150" y="537"/>
                      </a:cubicBezTo>
                      <a:cubicBezTo>
                        <a:pt x="1" y="1686"/>
                        <a:pt x="811" y="3658"/>
                        <a:pt x="2432" y="3658"/>
                      </a:cubicBezTo>
                      <a:cubicBezTo>
                        <a:pt x="3448" y="3658"/>
                        <a:pt x="4259" y="2835"/>
                        <a:pt x="4259" y="1831"/>
                      </a:cubicBezTo>
                      <a:cubicBezTo>
                        <a:pt x="4259" y="732"/>
                        <a:pt x="3359" y="1"/>
                        <a:pt x="2421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47" name="Google Shape;11896;p65">
                  <a:extLst>
                    <a:ext uri="{FF2B5EF4-FFF2-40B4-BE49-F238E27FC236}">
                      <a16:creationId xmlns:a16="http://schemas.microsoft.com/office/drawing/2014/main" id="{A191C450-8783-3AF8-6AAC-B16E7C7C66D4}"/>
                    </a:ext>
                  </a:extLst>
                </p:cNvPr>
                <p:cNvSpPr/>
                <p:nvPr/>
              </p:nvSpPr>
              <p:spPr>
                <a:xfrm>
                  <a:off x="3831258" y="3491362"/>
                  <a:ext cx="10956" cy="9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2" extrusionOk="0">
                      <a:moveTo>
                        <a:pt x="787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7" y="1137"/>
                        <a:pt x="646" y="1192"/>
                        <a:pt x="792" y="1192"/>
                      </a:cubicBezTo>
                      <a:cubicBezTo>
                        <a:pt x="1098" y="1192"/>
                        <a:pt x="1392" y="953"/>
                        <a:pt x="1392" y="593"/>
                      </a:cubicBezTo>
                      <a:cubicBezTo>
                        <a:pt x="1392" y="266"/>
                        <a:pt x="1126" y="0"/>
                        <a:pt x="78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5" name="Google Shape;11897;p65">
                <a:extLst>
                  <a:ext uri="{FF2B5EF4-FFF2-40B4-BE49-F238E27FC236}">
                    <a16:creationId xmlns:a16="http://schemas.microsoft.com/office/drawing/2014/main" id="{3D6DDA56-7767-1484-0833-403E9CE1BEFE}"/>
                  </a:ext>
                </a:extLst>
              </p:cNvPr>
              <p:cNvGrpSpPr/>
              <p:nvPr/>
            </p:nvGrpSpPr>
            <p:grpSpPr>
              <a:xfrm>
                <a:off x="4278139" y="4120948"/>
                <a:ext cx="37492" cy="32129"/>
                <a:chOff x="4278139" y="4120948"/>
                <a:chExt cx="37492" cy="32129"/>
              </a:xfrm>
            </p:grpSpPr>
            <p:sp>
              <p:nvSpPr>
                <p:cNvPr id="2044" name="Google Shape;11898;p65">
                  <a:extLst>
                    <a:ext uri="{FF2B5EF4-FFF2-40B4-BE49-F238E27FC236}">
                      <a16:creationId xmlns:a16="http://schemas.microsoft.com/office/drawing/2014/main" id="{5C7BA9D1-0582-10D5-0A05-CCE757989797}"/>
                    </a:ext>
                  </a:extLst>
                </p:cNvPr>
                <p:cNvSpPr/>
                <p:nvPr/>
              </p:nvSpPr>
              <p:spPr>
                <a:xfrm>
                  <a:off x="4278139" y="4120948"/>
                  <a:ext cx="37492" cy="321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67" h="4085" extrusionOk="0">
                      <a:moveTo>
                        <a:pt x="2708" y="0"/>
                      </a:moveTo>
                      <a:cubicBezTo>
                        <a:pt x="2207" y="0"/>
                        <a:pt x="1697" y="186"/>
                        <a:pt x="1283" y="600"/>
                      </a:cubicBezTo>
                      <a:cubicBezTo>
                        <a:pt x="1" y="1895"/>
                        <a:pt x="908" y="4084"/>
                        <a:pt x="2722" y="4084"/>
                      </a:cubicBezTo>
                      <a:cubicBezTo>
                        <a:pt x="3847" y="4084"/>
                        <a:pt x="4755" y="3177"/>
                        <a:pt x="4767" y="2052"/>
                      </a:cubicBezTo>
                      <a:cubicBezTo>
                        <a:pt x="4767" y="815"/>
                        <a:pt x="3758" y="0"/>
                        <a:pt x="2708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45" name="Google Shape;11899;p65">
                  <a:extLst>
                    <a:ext uri="{FF2B5EF4-FFF2-40B4-BE49-F238E27FC236}">
                      <a16:creationId xmlns:a16="http://schemas.microsoft.com/office/drawing/2014/main" id="{052150BE-212E-4B6B-E8EC-F92B8CDCB8D6}"/>
                    </a:ext>
                  </a:extLst>
                </p:cNvPr>
                <p:cNvSpPr/>
                <p:nvPr/>
              </p:nvSpPr>
              <p:spPr>
                <a:xfrm>
                  <a:off x="4290983" y="4130614"/>
                  <a:ext cx="14943" cy="128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0" h="1629" extrusionOk="0">
                      <a:moveTo>
                        <a:pt x="1089" y="0"/>
                      </a:moveTo>
                      <a:cubicBezTo>
                        <a:pt x="363" y="0"/>
                        <a:pt x="1" y="883"/>
                        <a:pt x="509" y="1391"/>
                      </a:cubicBezTo>
                      <a:cubicBezTo>
                        <a:pt x="673" y="1555"/>
                        <a:pt x="876" y="1629"/>
                        <a:pt x="1076" y="1629"/>
                      </a:cubicBezTo>
                      <a:cubicBezTo>
                        <a:pt x="1495" y="1629"/>
                        <a:pt x="1900" y="1306"/>
                        <a:pt x="1900" y="823"/>
                      </a:cubicBezTo>
                      <a:cubicBezTo>
                        <a:pt x="1900" y="363"/>
                        <a:pt x="1537" y="0"/>
                        <a:pt x="108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6" name="Google Shape;11900;p65">
                <a:extLst>
                  <a:ext uri="{FF2B5EF4-FFF2-40B4-BE49-F238E27FC236}">
                    <a16:creationId xmlns:a16="http://schemas.microsoft.com/office/drawing/2014/main" id="{12326194-623C-2466-759A-AC609ABBC8B5}"/>
                  </a:ext>
                </a:extLst>
              </p:cNvPr>
              <p:cNvGrpSpPr/>
              <p:nvPr/>
            </p:nvGrpSpPr>
            <p:grpSpPr>
              <a:xfrm>
                <a:off x="4419898" y="3977388"/>
                <a:ext cx="33497" cy="28692"/>
                <a:chOff x="4419898" y="3977388"/>
                <a:chExt cx="33497" cy="28692"/>
              </a:xfrm>
            </p:grpSpPr>
            <p:sp>
              <p:nvSpPr>
                <p:cNvPr id="2042" name="Google Shape;11901;p65">
                  <a:extLst>
                    <a:ext uri="{FF2B5EF4-FFF2-40B4-BE49-F238E27FC236}">
                      <a16:creationId xmlns:a16="http://schemas.microsoft.com/office/drawing/2014/main" id="{DCB8DC50-1B5E-66F2-0B1A-D17F62402CB6}"/>
                    </a:ext>
                  </a:extLst>
                </p:cNvPr>
                <p:cNvSpPr/>
                <p:nvPr/>
              </p:nvSpPr>
              <p:spPr>
                <a:xfrm>
                  <a:off x="4419898" y="3977388"/>
                  <a:ext cx="33497" cy="28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48" extrusionOk="0">
                      <a:moveTo>
                        <a:pt x="2426" y="0"/>
                      </a:moveTo>
                      <a:cubicBezTo>
                        <a:pt x="1979" y="0"/>
                        <a:pt x="1522" y="167"/>
                        <a:pt x="1150" y="539"/>
                      </a:cubicBezTo>
                      <a:cubicBezTo>
                        <a:pt x="1" y="1688"/>
                        <a:pt x="811" y="3648"/>
                        <a:pt x="2432" y="3648"/>
                      </a:cubicBezTo>
                      <a:cubicBezTo>
                        <a:pt x="3448" y="3648"/>
                        <a:pt x="4259" y="2837"/>
                        <a:pt x="4259" y="1833"/>
                      </a:cubicBezTo>
                      <a:cubicBezTo>
                        <a:pt x="4259" y="729"/>
                        <a:pt x="3362" y="0"/>
                        <a:pt x="2426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43" name="Google Shape;11902;p65">
                  <a:extLst>
                    <a:ext uri="{FF2B5EF4-FFF2-40B4-BE49-F238E27FC236}">
                      <a16:creationId xmlns:a16="http://schemas.microsoft.com/office/drawing/2014/main" id="{FE8DADF3-69FF-4DB8-A787-9A359B3DFE31}"/>
                    </a:ext>
                  </a:extLst>
                </p:cNvPr>
                <p:cNvSpPr/>
                <p:nvPr/>
              </p:nvSpPr>
              <p:spPr>
                <a:xfrm>
                  <a:off x="4432742" y="3987046"/>
                  <a:ext cx="11042" cy="93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04" h="1195" extrusionOk="0">
                      <a:moveTo>
                        <a:pt x="799" y="0"/>
                      </a:moveTo>
                      <a:cubicBezTo>
                        <a:pt x="267" y="0"/>
                        <a:pt x="1" y="641"/>
                        <a:pt x="376" y="1016"/>
                      </a:cubicBezTo>
                      <a:cubicBezTo>
                        <a:pt x="499" y="1139"/>
                        <a:pt x="650" y="1195"/>
                        <a:pt x="799" y="1195"/>
                      </a:cubicBezTo>
                      <a:cubicBezTo>
                        <a:pt x="1104" y="1195"/>
                        <a:pt x="1396" y="963"/>
                        <a:pt x="1404" y="605"/>
                      </a:cubicBezTo>
                      <a:cubicBezTo>
                        <a:pt x="1404" y="266"/>
                        <a:pt x="1138" y="0"/>
                        <a:pt x="799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7" name="Google Shape;11903;p65">
                <a:extLst>
                  <a:ext uri="{FF2B5EF4-FFF2-40B4-BE49-F238E27FC236}">
                    <a16:creationId xmlns:a16="http://schemas.microsoft.com/office/drawing/2014/main" id="{5F036AB7-F0E4-1333-1512-F7DF8521E081}"/>
                  </a:ext>
                </a:extLst>
              </p:cNvPr>
              <p:cNvGrpSpPr/>
              <p:nvPr/>
            </p:nvGrpSpPr>
            <p:grpSpPr>
              <a:xfrm>
                <a:off x="4158930" y="4034684"/>
                <a:ext cx="33497" cy="28762"/>
                <a:chOff x="4158930" y="4034684"/>
                <a:chExt cx="33497" cy="28762"/>
              </a:xfrm>
            </p:grpSpPr>
            <p:sp>
              <p:nvSpPr>
                <p:cNvPr id="2040" name="Google Shape;11904;p65">
                  <a:extLst>
                    <a:ext uri="{FF2B5EF4-FFF2-40B4-BE49-F238E27FC236}">
                      <a16:creationId xmlns:a16="http://schemas.microsoft.com/office/drawing/2014/main" id="{AEADD9FB-7B8A-DE0F-BDD8-DA1799986193}"/>
                    </a:ext>
                  </a:extLst>
                </p:cNvPr>
                <p:cNvSpPr/>
                <p:nvPr/>
              </p:nvSpPr>
              <p:spPr>
                <a:xfrm>
                  <a:off x="4158930" y="4034684"/>
                  <a:ext cx="33497" cy="287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7" extrusionOk="0">
                      <a:moveTo>
                        <a:pt x="2421" y="0"/>
                      </a:moveTo>
                      <a:cubicBezTo>
                        <a:pt x="1974" y="0"/>
                        <a:pt x="1520" y="166"/>
                        <a:pt x="1149" y="536"/>
                      </a:cubicBezTo>
                      <a:cubicBezTo>
                        <a:pt x="0" y="1685"/>
                        <a:pt x="811" y="3645"/>
                        <a:pt x="2432" y="3657"/>
                      </a:cubicBezTo>
                      <a:cubicBezTo>
                        <a:pt x="3436" y="3645"/>
                        <a:pt x="4258" y="2834"/>
                        <a:pt x="4258" y="1830"/>
                      </a:cubicBezTo>
                      <a:cubicBezTo>
                        <a:pt x="4258" y="732"/>
                        <a:pt x="3358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41" name="Google Shape;11905;p65">
                  <a:extLst>
                    <a:ext uri="{FF2B5EF4-FFF2-40B4-BE49-F238E27FC236}">
                      <a16:creationId xmlns:a16="http://schemas.microsoft.com/office/drawing/2014/main" id="{B65BD5EF-38E0-7938-8954-31AD9F6EB042}"/>
                    </a:ext>
                  </a:extLst>
                </p:cNvPr>
                <p:cNvSpPr/>
                <p:nvPr/>
              </p:nvSpPr>
              <p:spPr>
                <a:xfrm>
                  <a:off x="4173385" y="4044319"/>
                  <a:ext cx="9336" cy="9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7" h="1199" extrusionOk="0">
                      <a:moveTo>
                        <a:pt x="594" y="1"/>
                      </a:moveTo>
                      <a:cubicBezTo>
                        <a:pt x="267" y="1"/>
                        <a:pt x="1" y="279"/>
                        <a:pt x="1" y="605"/>
                      </a:cubicBezTo>
                      <a:cubicBezTo>
                        <a:pt x="1" y="932"/>
                        <a:pt x="267" y="1198"/>
                        <a:pt x="594" y="1198"/>
                      </a:cubicBezTo>
                      <a:cubicBezTo>
                        <a:pt x="920" y="1198"/>
                        <a:pt x="1186" y="932"/>
                        <a:pt x="1186" y="605"/>
                      </a:cubicBezTo>
                      <a:cubicBezTo>
                        <a:pt x="1186" y="279"/>
                        <a:pt x="920" y="1"/>
                        <a:pt x="594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8" name="Google Shape;11906;p65">
                <a:extLst>
                  <a:ext uri="{FF2B5EF4-FFF2-40B4-BE49-F238E27FC236}">
                    <a16:creationId xmlns:a16="http://schemas.microsoft.com/office/drawing/2014/main" id="{38869221-1FC2-B15B-180D-8641BD679B53}"/>
                  </a:ext>
                </a:extLst>
              </p:cNvPr>
              <p:cNvGrpSpPr/>
              <p:nvPr/>
            </p:nvGrpSpPr>
            <p:grpSpPr>
              <a:xfrm>
                <a:off x="4134949" y="3957049"/>
                <a:ext cx="33497" cy="28770"/>
                <a:chOff x="4134949" y="3957049"/>
                <a:chExt cx="33497" cy="28770"/>
              </a:xfrm>
            </p:grpSpPr>
            <p:sp>
              <p:nvSpPr>
                <p:cNvPr id="2038" name="Google Shape;11907;p65">
                  <a:extLst>
                    <a:ext uri="{FF2B5EF4-FFF2-40B4-BE49-F238E27FC236}">
                      <a16:creationId xmlns:a16="http://schemas.microsoft.com/office/drawing/2014/main" id="{BEDBC7F5-D4F9-5078-57BF-D2CB5E9E62C2}"/>
                    </a:ext>
                  </a:extLst>
                </p:cNvPr>
                <p:cNvSpPr/>
                <p:nvPr/>
              </p:nvSpPr>
              <p:spPr>
                <a:xfrm>
                  <a:off x="4134949" y="3957049"/>
                  <a:ext cx="33497" cy="287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9" h="3658" extrusionOk="0">
                      <a:moveTo>
                        <a:pt x="2421" y="0"/>
                      </a:moveTo>
                      <a:cubicBezTo>
                        <a:pt x="1975" y="0"/>
                        <a:pt x="1520" y="166"/>
                        <a:pt x="1150" y="536"/>
                      </a:cubicBezTo>
                      <a:cubicBezTo>
                        <a:pt x="1" y="1685"/>
                        <a:pt x="811" y="3657"/>
                        <a:pt x="2432" y="3657"/>
                      </a:cubicBezTo>
                      <a:cubicBezTo>
                        <a:pt x="3436" y="3657"/>
                        <a:pt x="4259" y="2834"/>
                        <a:pt x="4259" y="1830"/>
                      </a:cubicBezTo>
                      <a:cubicBezTo>
                        <a:pt x="4259" y="732"/>
                        <a:pt x="3359" y="0"/>
                        <a:pt x="2421" y="0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39" name="Google Shape;11908;p65">
                  <a:extLst>
                    <a:ext uri="{FF2B5EF4-FFF2-40B4-BE49-F238E27FC236}">
                      <a16:creationId xmlns:a16="http://schemas.microsoft.com/office/drawing/2014/main" id="{95580850-A89B-E69C-4954-28E410786EA7}"/>
                    </a:ext>
                  </a:extLst>
                </p:cNvPr>
                <p:cNvSpPr/>
                <p:nvPr/>
              </p:nvSpPr>
              <p:spPr>
                <a:xfrm>
                  <a:off x="4147793" y="3966778"/>
                  <a:ext cx="10956" cy="93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3" h="1193" extrusionOk="0">
                      <a:moveTo>
                        <a:pt x="799" y="1"/>
                      </a:moveTo>
                      <a:cubicBezTo>
                        <a:pt x="267" y="1"/>
                        <a:pt x="1" y="642"/>
                        <a:pt x="376" y="1017"/>
                      </a:cubicBezTo>
                      <a:cubicBezTo>
                        <a:pt x="497" y="1138"/>
                        <a:pt x="646" y="1192"/>
                        <a:pt x="792" y="1192"/>
                      </a:cubicBezTo>
                      <a:cubicBezTo>
                        <a:pt x="1098" y="1192"/>
                        <a:pt x="1392" y="954"/>
                        <a:pt x="1392" y="593"/>
                      </a:cubicBezTo>
                      <a:cubicBezTo>
                        <a:pt x="1392" y="267"/>
                        <a:pt x="1126" y="1"/>
                        <a:pt x="799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29" name="Google Shape;11909;p65">
                <a:extLst>
                  <a:ext uri="{FF2B5EF4-FFF2-40B4-BE49-F238E27FC236}">
                    <a16:creationId xmlns:a16="http://schemas.microsoft.com/office/drawing/2014/main" id="{2F7FAD8E-6119-14C7-B885-184051A46950}"/>
                  </a:ext>
                </a:extLst>
              </p:cNvPr>
              <p:cNvGrpSpPr/>
              <p:nvPr/>
            </p:nvGrpSpPr>
            <p:grpSpPr>
              <a:xfrm>
                <a:off x="4193653" y="4184403"/>
                <a:ext cx="43580" cy="37264"/>
                <a:chOff x="4193653" y="4184403"/>
                <a:chExt cx="43580" cy="37264"/>
              </a:xfrm>
            </p:grpSpPr>
            <p:sp>
              <p:nvSpPr>
                <p:cNvPr id="2036" name="Google Shape;11910;p65">
                  <a:extLst>
                    <a:ext uri="{FF2B5EF4-FFF2-40B4-BE49-F238E27FC236}">
                      <a16:creationId xmlns:a16="http://schemas.microsoft.com/office/drawing/2014/main" id="{1DB87DF4-39F1-8E6B-A728-2D3F220BE531}"/>
                    </a:ext>
                  </a:extLst>
                </p:cNvPr>
                <p:cNvSpPr/>
                <p:nvPr/>
              </p:nvSpPr>
              <p:spPr>
                <a:xfrm>
                  <a:off x="4193653" y="4184403"/>
                  <a:ext cx="43580" cy="3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38" extrusionOk="0">
                      <a:moveTo>
                        <a:pt x="3156" y="1"/>
                      </a:moveTo>
                      <a:cubicBezTo>
                        <a:pt x="2575" y="1"/>
                        <a:pt x="1982" y="216"/>
                        <a:pt x="1501" y="698"/>
                      </a:cubicBezTo>
                      <a:cubicBezTo>
                        <a:pt x="1" y="2185"/>
                        <a:pt x="1065" y="4738"/>
                        <a:pt x="3170" y="4738"/>
                      </a:cubicBezTo>
                      <a:cubicBezTo>
                        <a:pt x="4476" y="4738"/>
                        <a:pt x="5529" y="3673"/>
                        <a:pt x="5541" y="2367"/>
                      </a:cubicBezTo>
                      <a:cubicBezTo>
                        <a:pt x="5541" y="943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37" name="Google Shape;11911;p65">
                  <a:extLst>
                    <a:ext uri="{FF2B5EF4-FFF2-40B4-BE49-F238E27FC236}">
                      <a16:creationId xmlns:a16="http://schemas.microsoft.com/office/drawing/2014/main" id="{E6083333-61BB-93D5-0188-F960B09A794D}"/>
                    </a:ext>
                  </a:extLst>
                </p:cNvPr>
                <p:cNvSpPr/>
                <p:nvPr/>
              </p:nvSpPr>
              <p:spPr>
                <a:xfrm>
                  <a:off x="4206591" y="4194069"/>
                  <a:ext cx="20944" cy="17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3" h="2282" extrusionOk="0">
                      <a:moveTo>
                        <a:pt x="1525" y="1"/>
                      </a:moveTo>
                      <a:cubicBezTo>
                        <a:pt x="509" y="1"/>
                        <a:pt x="1" y="1223"/>
                        <a:pt x="714" y="1948"/>
                      </a:cubicBezTo>
                      <a:cubicBezTo>
                        <a:pt x="948" y="2179"/>
                        <a:pt x="1234" y="2282"/>
                        <a:pt x="1514" y="2282"/>
                      </a:cubicBezTo>
                      <a:cubicBezTo>
                        <a:pt x="2101" y="2282"/>
                        <a:pt x="2662" y="1826"/>
                        <a:pt x="2662" y="1138"/>
                      </a:cubicBezTo>
                      <a:cubicBezTo>
                        <a:pt x="2662" y="509"/>
                        <a:pt x="2154" y="1"/>
                        <a:pt x="1525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30" name="Google Shape;11912;p65">
                <a:extLst>
                  <a:ext uri="{FF2B5EF4-FFF2-40B4-BE49-F238E27FC236}">
                    <a16:creationId xmlns:a16="http://schemas.microsoft.com/office/drawing/2014/main" id="{E730ECF3-3F93-5760-CA50-3C8969D9D79C}"/>
                  </a:ext>
                </a:extLst>
              </p:cNvPr>
              <p:cNvGrpSpPr/>
              <p:nvPr/>
            </p:nvGrpSpPr>
            <p:grpSpPr>
              <a:xfrm>
                <a:off x="4343600" y="3943844"/>
                <a:ext cx="43580" cy="37312"/>
                <a:chOff x="4343600" y="3943844"/>
                <a:chExt cx="43580" cy="37312"/>
              </a:xfrm>
            </p:grpSpPr>
            <p:sp>
              <p:nvSpPr>
                <p:cNvPr id="2034" name="Google Shape;11913;p65">
                  <a:extLst>
                    <a:ext uri="{FF2B5EF4-FFF2-40B4-BE49-F238E27FC236}">
                      <a16:creationId xmlns:a16="http://schemas.microsoft.com/office/drawing/2014/main" id="{B0BF0CA7-CB55-131D-956C-71EA034E5BEA}"/>
                    </a:ext>
                  </a:extLst>
                </p:cNvPr>
                <p:cNvSpPr/>
                <p:nvPr/>
              </p:nvSpPr>
              <p:spPr>
                <a:xfrm>
                  <a:off x="4343600" y="3943844"/>
                  <a:ext cx="43580" cy="37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41" h="4744" extrusionOk="0">
                      <a:moveTo>
                        <a:pt x="3156" y="1"/>
                      </a:moveTo>
                      <a:cubicBezTo>
                        <a:pt x="2574" y="1"/>
                        <a:pt x="1982" y="218"/>
                        <a:pt x="1500" y="703"/>
                      </a:cubicBezTo>
                      <a:cubicBezTo>
                        <a:pt x="0" y="2191"/>
                        <a:pt x="1065" y="4743"/>
                        <a:pt x="3169" y="4743"/>
                      </a:cubicBezTo>
                      <a:cubicBezTo>
                        <a:pt x="4476" y="4731"/>
                        <a:pt x="5528" y="3679"/>
                        <a:pt x="5540" y="2372"/>
                      </a:cubicBezTo>
                      <a:cubicBezTo>
                        <a:pt x="5540" y="949"/>
                        <a:pt x="4373" y="1"/>
                        <a:pt x="3156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35" name="Google Shape;11914;p65">
                  <a:extLst>
                    <a:ext uri="{FF2B5EF4-FFF2-40B4-BE49-F238E27FC236}">
                      <a16:creationId xmlns:a16="http://schemas.microsoft.com/office/drawing/2014/main" id="{85A16D65-5C7F-59AB-0A41-190626FAA285}"/>
                    </a:ext>
                  </a:extLst>
                </p:cNvPr>
                <p:cNvSpPr/>
                <p:nvPr/>
              </p:nvSpPr>
              <p:spPr>
                <a:xfrm>
                  <a:off x="4359581" y="3953557"/>
                  <a:ext cx="17893" cy="17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75" h="2275" extrusionOk="0">
                      <a:moveTo>
                        <a:pt x="1137" y="0"/>
                      </a:moveTo>
                      <a:cubicBezTo>
                        <a:pt x="508" y="0"/>
                        <a:pt x="0" y="508"/>
                        <a:pt x="0" y="1137"/>
                      </a:cubicBezTo>
                      <a:cubicBezTo>
                        <a:pt x="0" y="1766"/>
                        <a:pt x="508" y="2274"/>
                        <a:pt x="1137" y="2274"/>
                      </a:cubicBezTo>
                      <a:cubicBezTo>
                        <a:pt x="1766" y="2274"/>
                        <a:pt x="2275" y="1766"/>
                        <a:pt x="2275" y="1137"/>
                      </a:cubicBezTo>
                      <a:cubicBezTo>
                        <a:pt x="2275" y="508"/>
                        <a:pt x="1766" y="0"/>
                        <a:pt x="1137" y="0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grpSp>
            <p:nvGrpSpPr>
              <p:cNvPr id="2031" name="Google Shape;11915;p65">
                <a:extLst>
                  <a:ext uri="{FF2B5EF4-FFF2-40B4-BE49-F238E27FC236}">
                    <a16:creationId xmlns:a16="http://schemas.microsoft.com/office/drawing/2014/main" id="{1B172C33-70DF-2770-4B4C-5A906C089927}"/>
                  </a:ext>
                </a:extLst>
              </p:cNvPr>
              <p:cNvGrpSpPr/>
              <p:nvPr/>
            </p:nvGrpSpPr>
            <p:grpSpPr>
              <a:xfrm>
                <a:off x="4172339" y="3381693"/>
                <a:ext cx="31499" cy="27001"/>
                <a:chOff x="4172339" y="3381693"/>
                <a:chExt cx="31499" cy="27001"/>
              </a:xfrm>
            </p:grpSpPr>
            <p:sp>
              <p:nvSpPr>
                <p:cNvPr id="2032" name="Google Shape;11916;p65">
                  <a:extLst>
                    <a:ext uri="{FF2B5EF4-FFF2-40B4-BE49-F238E27FC236}">
                      <a16:creationId xmlns:a16="http://schemas.microsoft.com/office/drawing/2014/main" id="{DCFEE123-08F2-EAF7-52E3-1A25FB5C9B22}"/>
                    </a:ext>
                  </a:extLst>
                </p:cNvPr>
                <p:cNvSpPr/>
                <p:nvPr/>
              </p:nvSpPr>
              <p:spPr>
                <a:xfrm>
                  <a:off x="4172339" y="3381693"/>
                  <a:ext cx="31499" cy="2700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5" h="3433" extrusionOk="0">
                      <a:moveTo>
                        <a:pt x="2285" y="1"/>
                      </a:moveTo>
                      <a:cubicBezTo>
                        <a:pt x="1866" y="1"/>
                        <a:pt x="1438" y="157"/>
                        <a:pt x="1090" y="505"/>
                      </a:cubicBezTo>
                      <a:cubicBezTo>
                        <a:pt x="1" y="1581"/>
                        <a:pt x="775" y="3420"/>
                        <a:pt x="2299" y="3432"/>
                      </a:cubicBezTo>
                      <a:cubicBezTo>
                        <a:pt x="3243" y="3420"/>
                        <a:pt x="4005" y="2658"/>
                        <a:pt x="4005" y="1714"/>
                      </a:cubicBezTo>
                      <a:cubicBezTo>
                        <a:pt x="4005" y="683"/>
                        <a:pt x="3163" y="1"/>
                        <a:pt x="2285" y="1"/>
                      </a:cubicBez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2033" name="Google Shape;11917;p65">
                  <a:extLst>
                    <a:ext uri="{FF2B5EF4-FFF2-40B4-BE49-F238E27FC236}">
                      <a16:creationId xmlns:a16="http://schemas.microsoft.com/office/drawing/2014/main" id="{C579C1FC-57F8-EC7B-7E0E-67A3E6F109D1}"/>
                    </a:ext>
                  </a:extLst>
                </p:cNvPr>
                <p:cNvSpPr/>
                <p:nvPr/>
              </p:nvSpPr>
              <p:spPr>
                <a:xfrm>
                  <a:off x="4185285" y="3391367"/>
                  <a:ext cx="8856" cy="7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6" h="967" extrusionOk="0">
                      <a:moveTo>
                        <a:pt x="653" y="1"/>
                      </a:moveTo>
                      <a:cubicBezTo>
                        <a:pt x="218" y="1"/>
                        <a:pt x="0" y="521"/>
                        <a:pt x="302" y="823"/>
                      </a:cubicBezTo>
                      <a:cubicBezTo>
                        <a:pt x="401" y="922"/>
                        <a:pt x="523" y="967"/>
                        <a:pt x="643" y="967"/>
                      </a:cubicBezTo>
                      <a:cubicBezTo>
                        <a:pt x="889" y="967"/>
                        <a:pt x="1125" y="778"/>
                        <a:pt x="1125" y="484"/>
                      </a:cubicBezTo>
                      <a:cubicBezTo>
                        <a:pt x="1125" y="218"/>
                        <a:pt x="919" y="1"/>
                        <a:pt x="653" y="1"/>
                      </a:cubicBezTo>
                      <a:close/>
                    </a:path>
                  </a:pathLst>
                </a:custGeom>
                <a:solidFill>
                  <a:srgbClr val="869FB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1219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sz="186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841396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DBBB8C5-3695-4C9C-B8CF-F8151386D8B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1" y="0"/>
            <a:ext cx="5482004" cy="6858000"/>
          </a:xfrm>
          <a:prstGeom prst="rect">
            <a:avLst/>
          </a:prstGeom>
        </p:spPr>
      </p:pic>
      <p:sp>
        <p:nvSpPr>
          <p:cNvPr id="31" name="Shape 4938">
            <a:extLst>
              <a:ext uri="{FF2B5EF4-FFF2-40B4-BE49-F238E27FC236}">
                <a16:creationId xmlns:a16="http://schemas.microsoft.com/office/drawing/2014/main" id="{0CB638FB-630B-4FFC-B341-778C344B520C}"/>
              </a:ext>
            </a:extLst>
          </p:cNvPr>
          <p:cNvSpPr/>
          <p:nvPr/>
        </p:nvSpPr>
        <p:spPr>
          <a:xfrm>
            <a:off x="3305177" y="1896058"/>
            <a:ext cx="3270746" cy="3065884"/>
          </a:xfrm>
          <a:prstGeom prst="rect">
            <a:avLst/>
          </a:prstGeom>
          <a:solidFill>
            <a:srgbClr val="FFFFFF">
              <a:alpha val="90000"/>
            </a:srgb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>
                <a:solidFill>
                  <a:srgbClr val="FFFFFF"/>
                </a:solidFill>
              </a:defRPr>
            </a:pPr>
            <a:endParaRPr sz="1600">
              <a:cs typeface="+mn-ea"/>
              <a:sym typeface="+mn-lt"/>
            </a:endParaRPr>
          </a:p>
        </p:txBody>
      </p:sp>
      <p:grpSp>
        <p:nvGrpSpPr>
          <p:cNvPr id="32" name="Group 4942">
            <a:extLst>
              <a:ext uri="{FF2B5EF4-FFF2-40B4-BE49-F238E27FC236}">
                <a16:creationId xmlns:a16="http://schemas.microsoft.com/office/drawing/2014/main" id="{9ABAB740-36AD-4CE9-9005-6940B5125EF2}"/>
              </a:ext>
            </a:extLst>
          </p:cNvPr>
          <p:cNvGrpSpPr/>
          <p:nvPr/>
        </p:nvGrpSpPr>
        <p:grpSpPr>
          <a:xfrm>
            <a:off x="3305177" y="1896058"/>
            <a:ext cx="3270746" cy="63501"/>
            <a:chOff x="0" y="0"/>
            <a:chExt cx="4185315" cy="127000"/>
          </a:xfrm>
        </p:grpSpPr>
        <p:sp>
          <p:nvSpPr>
            <p:cNvPr id="33" name="Shape 4939">
              <a:extLst>
                <a:ext uri="{FF2B5EF4-FFF2-40B4-BE49-F238E27FC236}">
                  <a16:creationId xmlns:a16="http://schemas.microsoft.com/office/drawing/2014/main" id="{0CA752AA-41EA-4284-BA5C-FD78FE5987B8}"/>
                </a:ext>
              </a:extLst>
            </p:cNvPr>
            <p:cNvSpPr/>
            <p:nvPr/>
          </p:nvSpPr>
          <p:spPr>
            <a:xfrm>
              <a:off x="0" y="0"/>
              <a:ext cx="1391316" cy="127001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  <p:sp>
          <p:nvSpPr>
            <p:cNvPr id="34" name="Shape 4940">
              <a:extLst>
                <a:ext uri="{FF2B5EF4-FFF2-40B4-BE49-F238E27FC236}">
                  <a16:creationId xmlns:a16="http://schemas.microsoft.com/office/drawing/2014/main" id="{B0D4CE4E-ADD7-4BBA-8DDC-A880D57C1611}"/>
                </a:ext>
              </a:extLst>
            </p:cNvPr>
            <p:cNvSpPr/>
            <p:nvPr/>
          </p:nvSpPr>
          <p:spPr>
            <a:xfrm>
              <a:off x="1397000" y="0"/>
              <a:ext cx="1391316" cy="127000"/>
            </a:xfrm>
            <a:prstGeom prst="rect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  <p:sp>
          <p:nvSpPr>
            <p:cNvPr id="35" name="Shape 4941">
              <a:extLst>
                <a:ext uri="{FF2B5EF4-FFF2-40B4-BE49-F238E27FC236}">
                  <a16:creationId xmlns:a16="http://schemas.microsoft.com/office/drawing/2014/main" id="{26F20749-6335-48AE-851B-0D11D13C15BB}"/>
                </a:ext>
              </a:extLst>
            </p:cNvPr>
            <p:cNvSpPr/>
            <p:nvPr/>
          </p:nvSpPr>
          <p:spPr>
            <a:xfrm>
              <a:off x="2794000" y="0"/>
              <a:ext cx="1391316" cy="127000"/>
            </a:xfrm>
            <a:prstGeom prst="rect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</p:grpSp>
      <p:grpSp>
        <p:nvGrpSpPr>
          <p:cNvPr id="36" name="Group 4948">
            <a:extLst>
              <a:ext uri="{FF2B5EF4-FFF2-40B4-BE49-F238E27FC236}">
                <a16:creationId xmlns:a16="http://schemas.microsoft.com/office/drawing/2014/main" id="{E5E71CD3-7B96-4FD5-B9D9-FE1854432237}"/>
              </a:ext>
            </a:extLst>
          </p:cNvPr>
          <p:cNvGrpSpPr/>
          <p:nvPr/>
        </p:nvGrpSpPr>
        <p:grpSpPr>
          <a:xfrm>
            <a:off x="3305177" y="4898441"/>
            <a:ext cx="3270746" cy="63501"/>
            <a:chOff x="0" y="0"/>
            <a:chExt cx="4185315" cy="127000"/>
          </a:xfrm>
        </p:grpSpPr>
        <p:sp>
          <p:nvSpPr>
            <p:cNvPr id="37" name="Shape 4945">
              <a:extLst>
                <a:ext uri="{FF2B5EF4-FFF2-40B4-BE49-F238E27FC236}">
                  <a16:creationId xmlns:a16="http://schemas.microsoft.com/office/drawing/2014/main" id="{40403DDD-C63C-4A4A-A1D4-5BB2B718E28B}"/>
                </a:ext>
              </a:extLst>
            </p:cNvPr>
            <p:cNvSpPr/>
            <p:nvPr/>
          </p:nvSpPr>
          <p:spPr>
            <a:xfrm>
              <a:off x="0" y="0"/>
              <a:ext cx="1391316" cy="127001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  <p:sp>
          <p:nvSpPr>
            <p:cNvPr id="38" name="Shape 4946">
              <a:extLst>
                <a:ext uri="{FF2B5EF4-FFF2-40B4-BE49-F238E27FC236}">
                  <a16:creationId xmlns:a16="http://schemas.microsoft.com/office/drawing/2014/main" id="{2C4EC810-4859-49D3-B349-38821654723B}"/>
                </a:ext>
              </a:extLst>
            </p:cNvPr>
            <p:cNvSpPr/>
            <p:nvPr/>
          </p:nvSpPr>
          <p:spPr>
            <a:xfrm>
              <a:off x="1397000" y="0"/>
              <a:ext cx="1391316" cy="127000"/>
            </a:xfrm>
            <a:prstGeom prst="rect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  <p:sp>
          <p:nvSpPr>
            <p:cNvPr id="39" name="Shape 4947">
              <a:extLst>
                <a:ext uri="{FF2B5EF4-FFF2-40B4-BE49-F238E27FC236}">
                  <a16:creationId xmlns:a16="http://schemas.microsoft.com/office/drawing/2014/main" id="{9CA5625C-39C4-4C1D-B56A-0390A524EFAE}"/>
                </a:ext>
              </a:extLst>
            </p:cNvPr>
            <p:cNvSpPr/>
            <p:nvPr/>
          </p:nvSpPr>
          <p:spPr>
            <a:xfrm>
              <a:off x="2794000" y="0"/>
              <a:ext cx="1391316" cy="127000"/>
            </a:xfrm>
            <a:prstGeom prst="rect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</p:grpSp>
      <p:sp>
        <p:nvSpPr>
          <p:cNvPr id="40" name="Shape 4944">
            <a:extLst>
              <a:ext uri="{FF2B5EF4-FFF2-40B4-BE49-F238E27FC236}">
                <a16:creationId xmlns:a16="http://schemas.microsoft.com/office/drawing/2014/main" id="{4603D657-6416-471A-88A4-CE78585E1DAA}"/>
              </a:ext>
            </a:extLst>
          </p:cNvPr>
          <p:cNvSpPr/>
          <p:nvPr/>
        </p:nvSpPr>
        <p:spPr>
          <a:xfrm>
            <a:off x="4734895" y="2410899"/>
            <a:ext cx="411310" cy="3480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8657"/>
                </a:moveTo>
                <a:cubicBezTo>
                  <a:pt x="21600" y="20280"/>
                  <a:pt x="20483" y="21600"/>
                  <a:pt x="19108" y="21600"/>
                </a:cubicBezTo>
                <a:lnTo>
                  <a:pt x="14124" y="21600"/>
                </a:lnTo>
                <a:cubicBezTo>
                  <a:pt x="12747" y="21600"/>
                  <a:pt x="11632" y="20280"/>
                  <a:pt x="11632" y="18657"/>
                </a:cubicBezTo>
                <a:lnTo>
                  <a:pt x="11632" y="7854"/>
                </a:lnTo>
                <a:cubicBezTo>
                  <a:pt x="11632" y="3528"/>
                  <a:pt x="14616" y="0"/>
                  <a:pt x="18277" y="0"/>
                </a:cubicBezTo>
                <a:lnTo>
                  <a:pt x="19108" y="0"/>
                </a:lnTo>
                <a:cubicBezTo>
                  <a:pt x="19562" y="0"/>
                  <a:pt x="19938" y="447"/>
                  <a:pt x="19938" y="984"/>
                </a:cubicBezTo>
                <a:lnTo>
                  <a:pt x="19938" y="2947"/>
                </a:lnTo>
                <a:cubicBezTo>
                  <a:pt x="19938" y="3484"/>
                  <a:pt x="19562" y="3927"/>
                  <a:pt x="19108" y="3927"/>
                </a:cubicBezTo>
                <a:lnTo>
                  <a:pt x="18277" y="3927"/>
                </a:lnTo>
                <a:cubicBezTo>
                  <a:pt x="16447" y="3927"/>
                  <a:pt x="14954" y="5694"/>
                  <a:pt x="14954" y="7854"/>
                </a:cubicBezTo>
                <a:lnTo>
                  <a:pt x="14954" y="8347"/>
                </a:lnTo>
                <a:cubicBezTo>
                  <a:pt x="14954" y="9160"/>
                  <a:pt x="15512" y="9818"/>
                  <a:pt x="16200" y="9818"/>
                </a:cubicBezTo>
                <a:lnTo>
                  <a:pt x="19108" y="9818"/>
                </a:lnTo>
                <a:cubicBezTo>
                  <a:pt x="20483" y="9818"/>
                  <a:pt x="21600" y="11137"/>
                  <a:pt x="21600" y="12766"/>
                </a:cubicBezTo>
                <a:cubicBezTo>
                  <a:pt x="21600" y="12766"/>
                  <a:pt x="21600" y="18657"/>
                  <a:pt x="21600" y="18657"/>
                </a:cubicBezTo>
                <a:close/>
                <a:moveTo>
                  <a:pt x="9969" y="18657"/>
                </a:moveTo>
                <a:cubicBezTo>
                  <a:pt x="9969" y="20280"/>
                  <a:pt x="8853" y="21600"/>
                  <a:pt x="7477" y="21600"/>
                </a:cubicBezTo>
                <a:lnTo>
                  <a:pt x="2493" y="21600"/>
                </a:lnTo>
                <a:cubicBezTo>
                  <a:pt x="1117" y="21600"/>
                  <a:pt x="0" y="20280"/>
                  <a:pt x="0" y="18657"/>
                </a:cubicBezTo>
                <a:lnTo>
                  <a:pt x="0" y="7854"/>
                </a:lnTo>
                <a:cubicBezTo>
                  <a:pt x="0" y="3528"/>
                  <a:pt x="2986" y="0"/>
                  <a:pt x="6647" y="0"/>
                </a:cubicBezTo>
                <a:lnTo>
                  <a:pt x="7477" y="0"/>
                </a:lnTo>
                <a:cubicBezTo>
                  <a:pt x="7931" y="0"/>
                  <a:pt x="8308" y="447"/>
                  <a:pt x="8308" y="984"/>
                </a:cubicBezTo>
                <a:lnTo>
                  <a:pt x="8308" y="2947"/>
                </a:lnTo>
                <a:cubicBezTo>
                  <a:pt x="8308" y="3484"/>
                  <a:pt x="7931" y="3927"/>
                  <a:pt x="7477" y="3927"/>
                </a:cubicBezTo>
                <a:lnTo>
                  <a:pt x="6647" y="3927"/>
                </a:lnTo>
                <a:cubicBezTo>
                  <a:pt x="4816" y="3927"/>
                  <a:pt x="3324" y="5694"/>
                  <a:pt x="3324" y="7854"/>
                </a:cubicBezTo>
                <a:lnTo>
                  <a:pt x="3324" y="8347"/>
                </a:lnTo>
                <a:cubicBezTo>
                  <a:pt x="3324" y="9160"/>
                  <a:pt x="3882" y="9818"/>
                  <a:pt x="4570" y="9818"/>
                </a:cubicBezTo>
                <a:lnTo>
                  <a:pt x="7477" y="9818"/>
                </a:lnTo>
                <a:cubicBezTo>
                  <a:pt x="8853" y="9818"/>
                  <a:pt x="9969" y="11137"/>
                  <a:pt x="9969" y="12766"/>
                </a:cubicBezTo>
                <a:cubicBezTo>
                  <a:pt x="9969" y="12766"/>
                  <a:pt x="9969" y="18657"/>
                  <a:pt x="9969" y="18657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19050" tIns="19050" rIns="19050" bIns="19050" numCol="1" anchor="ctr">
            <a:noAutofit/>
          </a:bodyPr>
          <a:lstStyle/>
          <a:p>
            <a:pPr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cs typeface="+mn-ea"/>
              <a:sym typeface="+mn-lt"/>
            </a:endParaRPr>
          </a:p>
        </p:txBody>
      </p:sp>
      <p:sp>
        <p:nvSpPr>
          <p:cNvPr id="41" name="Shape 468">
            <a:extLst>
              <a:ext uri="{FF2B5EF4-FFF2-40B4-BE49-F238E27FC236}">
                <a16:creationId xmlns:a16="http://schemas.microsoft.com/office/drawing/2014/main" id="{25C557DA-C33E-4A33-BDDC-C8D1196CF9A6}"/>
              </a:ext>
            </a:extLst>
          </p:cNvPr>
          <p:cNvSpPr/>
          <p:nvPr/>
        </p:nvSpPr>
        <p:spPr>
          <a:xfrm>
            <a:off x="3422256" y="3027819"/>
            <a:ext cx="3036588" cy="13393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800" b="1" dirty="0">
                <a:solidFill>
                  <a:schemeClr val="accent1"/>
                </a:solidFill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600" dirty="0">
                <a:solidFill>
                  <a:schemeClr val="tx2">
                    <a:lumMod val="10000"/>
                  </a:schemeClr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>
                  <a:lumMod val="1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Shape 4913">
            <a:extLst>
              <a:ext uri="{FF2B5EF4-FFF2-40B4-BE49-F238E27FC236}">
                <a16:creationId xmlns:a16="http://schemas.microsoft.com/office/drawing/2014/main" id="{4A58F72F-6070-4FC1-BE0B-371807681096}"/>
              </a:ext>
            </a:extLst>
          </p:cNvPr>
          <p:cNvSpPr/>
          <p:nvPr/>
        </p:nvSpPr>
        <p:spPr>
          <a:xfrm flipV="1">
            <a:off x="7454900" y="4895160"/>
            <a:ext cx="1" cy="749638"/>
          </a:xfrm>
          <a:prstGeom prst="line">
            <a:avLst/>
          </a:prstGeom>
          <a:ln w="25400" cap="rnd">
            <a:solidFill>
              <a:schemeClr val="accent3"/>
            </a:solidFill>
            <a:custDash>
              <a:ds d="100000" sp="200000"/>
            </a:custDash>
            <a:round/>
          </a:ln>
        </p:spPr>
        <p:txBody>
          <a:bodyPr lIns="0" tIns="0" rIns="0" bIns="0" anchor="ctr"/>
          <a:lstStyle/>
          <a:p>
            <a:pPr lvl="0">
              <a:defRPr sz="3200"/>
            </a:pPr>
            <a:endParaRPr sz="1600">
              <a:cs typeface="+mn-ea"/>
              <a:sym typeface="+mn-lt"/>
            </a:endParaRPr>
          </a:p>
        </p:txBody>
      </p:sp>
      <p:sp>
        <p:nvSpPr>
          <p:cNvPr id="43" name="Shape 4914">
            <a:extLst>
              <a:ext uri="{FF2B5EF4-FFF2-40B4-BE49-F238E27FC236}">
                <a16:creationId xmlns:a16="http://schemas.microsoft.com/office/drawing/2014/main" id="{5339EA25-6231-47C6-8AB0-59573B7A8B5B}"/>
              </a:ext>
            </a:extLst>
          </p:cNvPr>
          <p:cNvSpPr/>
          <p:nvPr/>
        </p:nvSpPr>
        <p:spPr>
          <a:xfrm flipV="1">
            <a:off x="7454900" y="3677377"/>
            <a:ext cx="1" cy="749637"/>
          </a:xfrm>
          <a:prstGeom prst="line">
            <a:avLst/>
          </a:prstGeom>
          <a:ln w="25400" cap="rnd">
            <a:solidFill>
              <a:schemeClr val="accent2"/>
            </a:solidFill>
            <a:custDash>
              <a:ds d="100000" sp="200000"/>
            </a:custDash>
            <a:round/>
          </a:ln>
        </p:spPr>
        <p:txBody>
          <a:bodyPr lIns="0" tIns="0" rIns="0" bIns="0" anchor="ctr"/>
          <a:lstStyle/>
          <a:p>
            <a:pPr lvl="0">
              <a:defRPr sz="3200"/>
            </a:pPr>
            <a:endParaRPr sz="1600">
              <a:cs typeface="+mn-ea"/>
              <a:sym typeface="+mn-lt"/>
            </a:endParaRPr>
          </a:p>
        </p:txBody>
      </p:sp>
      <p:sp>
        <p:nvSpPr>
          <p:cNvPr id="44" name="Shape 4915">
            <a:extLst>
              <a:ext uri="{FF2B5EF4-FFF2-40B4-BE49-F238E27FC236}">
                <a16:creationId xmlns:a16="http://schemas.microsoft.com/office/drawing/2014/main" id="{554DD1E5-697B-4689-9508-0FBC2FCEA9C1}"/>
              </a:ext>
            </a:extLst>
          </p:cNvPr>
          <p:cNvSpPr/>
          <p:nvPr/>
        </p:nvSpPr>
        <p:spPr>
          <a:xfrm flipV="1">
            <a:off x="7454900" y="2465943"/>
            <a:ext cx="1" cy="749638"/>
          </a:xfrm>
          <a:prstGeom prst="line">
            <a:avLst/>
          </a:prstGeom>
          <a:ln w="25400" cap="rnd">
            <a:solidFill>
              <a:schemeClr val="accent1"/>
            </a:solidFill>
            <a:custDash>
              <a:ds d="100000" sp="200000"/>
            </a:custDash>
            <a:round/>
          </a:ln>
        </p:spPr>
        <p:txBody>
          <a:bodyPr lIns="0" tIns="0" rIns="0" bIns="0" anchor="ctr"/>
          <a:lstStyle/>
          <a:p>
            <a:pPr lvl="0">
              <a:defRPr sz="3200"/>
            </a:pPr>
            <a:endParaRPr sz="1600">
              <a:cs typeface="+mn-ea"/>
              <a:sym typeface="+mn-lt"/>
            </a:endParaRPr>
          </a:p>
        </p:txBody>
      </p:sp>
      <p:grpSp>
        <p:nvGrpSpPr>
          <p:cNvPr id="45" name="Group 4928">
            <a:extLst>
              <a:ext uri="{FF2B5EF4-FFF2-40B4-BE49-F238E27FC236}">
                <a16:creationId xmlns:a16="http://schemas.microsoft.com/office/drawing/2014/main" id="{07EE4FF8-D12D-4F59-8201-67DADEF641A6}"/>
              </a:ext>
            </a:extLst>
          </p:cNvPr>
          <p:cNvGrpSpPr/>
          <p:nvPr/>
        </p:nvGrpSpPr>
        <p:grpSpPr>
          <a:xfrm>
            <a:off x="7132253" y="1913448"/>
            <a:ext cx="644122" cy="651645"/>
            <a:chOff x="0" y="0"/>
            <a:chExt cx="1288242" cy="1303287"/>
          </a:xfrm>
        </p:grpSpPr>
        <p:sp>
          <p:nvSpPr>
            <p:cNvPr id="74" name="Shape 4926">
              <a:extLst>
                <a:ext uri="{FF2B5EF4-FFF2-40B4-BE49-F238E27FC236}">
                  <a16:creationId xmlns:a16="http://schemas.microsoft.com/office/drawing/2014/main" id="{93959CC8-8E2F-41D9-BA1E-3F591A071947}"/>
                </a:ext>
              </a:extLst>
            </p:cNvPr>
            <p:cNvSpPr/>
            <p:nvPr/>
          </p:nvSpPr>
          <p:spPr>
            <a:xfrm>
              <a:off x="0" y="0"/>
              <a:ext cx="1288242" cy="13032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  <p:sp>
          <p:nvSpPr>
            <p:cNvPr id="75" name="Shape 4927">
              <a:extLst>
                <a:ext uri="{FF2B5EF4-FFF2-40B4-BE49-F238E27FC236}">
                  <a16:creationId xmlns:a16="http://schemas.microsoft.com/office/drawing/2014/main" id="{3338FA40-C1A4-4C07-820A-FD54F93A42DA}"/>
                </a:ext>
              </a:extLst>
            </p:cNvPr>
            <p:cNvSpPr/>
            <p:nvPr/>
          </p:nvSpPr>
          <p:spPr>
            <a:xfrm>
              <a:off x="352838" y="217121"/>
              <a:ext cx="575754" cy="8636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849" y="6749"/>
                  </a:moveTo>
                  <a:cubicBezTo>
                    <a:pt x="14492" y="6749"/>
                    <a:pt x="14174" y="6540"/>
                    <a:pt x="14174" y="6298"/>
                  </a:cubicBezTo>
                  <a:cubicBezTo>
                    <a:pt x="14174" y="5330"/>
                    <a:pt x="11918" y="4949"/>
                    <a:pt x="10800" y="4949"/>
                  </a:cubicBezTo>
                  <a:cubicBezTo>
                    <a:pt x="10442" y="4949"/>
                    <a:pt x="10126" y="4740"/>
                    <a:pt x="10126" y="4498"/>
                  </a:cubicBezTo>
                  <a:cubicBezTo>
                    <a:pt x="10126" y="4261"/>
                    <a:pt x="10442" y="4051"/>
                    <a:pt x="10800" y="4051"/>
                  </a:cubicBezTo>
                  <a:cubicBezTo>
                    <a:pt x="12762" y="4051"/>
                    <a:pt x="15526" y="4740"/>
                    <a:pt x="15526" y="6298"/>
                  </a:cubicBezTo>
                  <a:cubicBezTo>
                    <a:pt x="15526" y="6540"/>
                    <a:pt x="15207" y="6749"/>
                    <a:pt x="14849" y="6749"/>
                  </a:cubicBezTo>
                  <a:close/>
                  <a:moveTo>
                    <a:pt x="10800" y="1800"/>
                  </a:moveTo>
                  <a:cubicBezTo>
                    <a:pt x="6982" y="1800"/>
                    <a:pt x="2701" y="3485"/>
                    <a:pt x="2701" y="6298"/>
                  </a:cubicBezTo>
                  <a:cubicBezTo>
                    <a:pt x="2701" y="7201"/>
                    <a:pt x="3249" y="8143"/>
                    <a:pt x="4134" y="8832"/>
                  </a:cubicBezTo>
                  <a:cubicBezTo>
                    <a:pt x="4536" y="9139"/>
                    <a:pt x="4999" y="9435"/>
                    <a:pt x="5422" y="9759"/>
                  </a:cubicBezTo>
                  <a:cubicBezTo>
                    <a:pt x="6920" y="10952"/>
                    <a:pt x="8185" y="12359"/>
                    <a:pt x="8395" y="13949"/>
                  </a:cubicBezTo>
                  <a:lnTo>
                    <a:pt x="13205" y="13949"/>
                  </a:lnTo>
                  <a:cubicBezTo>
                    <a:pt x="13417" y="12359"/>
                    <a:pt x="14681" y="10952"/>
                    <a:pt x="16179" y="9759"/>
                  </a:cubicBezTo>
                  <a:cubicBezTo>
                    <a:pt x="16602" y="9435"/>
                    <a:pt x="17065" y="9139"/>
                    <a:pt x="17465" y="8832"/>
                  </a:cubicBezTo>
                  <a:cubicBezTo>
                    <a:pt x="18351" y="8143"/>
                    <a:pt x="18899" y="7201"/>
                    <a:pt x="18899" y="6298"/>
                  </a:cubicBezTo>
                  <a:cubicBezTo>
                    <a:pt x="18899" y="3485"/>
                    <a:pt x="14618" y="1800"/>
                    <a:pt x="10800" y="1800"/>
                  </a:cubicBezTo>
                  <a:close/>
                  <a:moveTo>
                    <a:pt x="19428" y="10067"/>
                  </a:moveTo>
                  <a:cubicBezTo>
                    <a:pt x="17972" y="11136"/>
                    <a:pt x="16052" y="12641"/>
                    <a:pt x="15882" y="14145"/>
                  </a:cubicBezTo>
                  <a:cubicBezTo>
                    <a:pt x="16496" y="14384"/>
                    <a:pt x="16875" y="14835"/>
                    <a:pt x="16875" y="15298"/>
                  </a:cubicBezTo>
                  <a:cubicBezTo>
                    <a:pt x="16875" y="15638"/>
                    <a:pt x="16685" y="15959"/>
                    <a:pt x="16347" y="16200"/>
                  </a:cubicBezTo>
                  <a:cubicBezTo>
                    <a:pt x="16685" y="16438"/>
                    <a:pt x="16875" y="16761"/>
                    <a:pt x="16875" y="17098"/>
                  </a:cubicBezTo>
                  <a:cubicBezTo>
                    <a:pt x="16875" y="17561"/>
                    <a:pt x="16517" y="17984"/>
                    <a:pt x="15926" y="18237"/>
                  </a:cubicBezTo>
                  <a:cubicBezTo>
                    <a:pt x="16096" y="18435"/>
                    <a:pt x="16201" y="18673"/>
                    <a:pt x="16201" y="18898"/>
                  </a:cubicBezTo>
                  <a:cubicBezTo>
                    <a:pt x="16201" y="19813"/>
                    <a:pt x="15124" y="20251"/>
                    <a:pt x="13901" y="20251"/>
                  </a:cubicBezTo>
                  <a:cubicBezTo>
                    <a:pt x="13354" y="21063"/>
                    <a:pt x="12129" y="21600"/>
                    <a:pt x="10800" y="21600"/>
                  </a:cubicBezTo>
                  <a:cubicBezTo>
                    <a:pt x="9472" y="21600"/>
                    <a:pt x="8248" y="21063"/>
                    <a:pt x="7699" y="20251"/>
                  </a:cubicBezTo>
                  <a:cubicBezTo>
                    <a:pt x="6477" y="20251"/>
                    <a:pt x="5400" y="19813"/>
                    <a:pt x="5400" y="18898"/>
                  </a:cubicBezTo>
                  <a:cubicBezTo>
                    <a:pt x="5400" y="18673"/>
                    <a:pt x="5507" y="18435"/>
                    <a:pt x="5674" y="18237"/>
                  </a:cubicBezTo>
                  <a:cubicBezTo>
                    <a:pt x="5083" y="17984"/>
                    <a:pt x="4725" y="17561"/>
                    <a:pt x="4725" y="17098"/>
                  </a:cubicBezTo>
                  <a:cubicBezTo>
                    <a:pt x="4725" y="16761"/>
                    <a:pt x="4915" y="16438"/>
                    <a:pt x="5253" y="16200"/>
                  </a:cubicBezTo>
                  <a:cubicBezTo>
                    <a:pt x="4915" y="15959"/>
                    <a:pt x="4725" y="15638"/>
                    <a:pt x="4725" y="15298"/>
                  </a:cubicBezTo>
                  <a:cubicBezTo>
                    <a:pt x="4725" y="14835"/>
                    <a:pt x="5106" y="14384"/>
                    <a:pt x="5717" y="14145"/>
                  </a:cubicBezTo>
                  <a:cubicBezTo>
                    <a:pt x="5548" y="12641"/>
                    <a:pt x="3628" y="11136"/>
                    <a:pt x="2172" y="10067"/>
                  </a:cubicBezTo>
                  <a:cubicBezTo>
                    <a:pt x="717" y="9000"/>
                    <a:pt x="0" y="7749"/>
                    <a:pt x="0" y="6298"/>
                  </a:cubicBezTo>
                  <a:cubicBezTo>
                    <a:pt x="0" y="2472"/>
                    <a:pt x="5463" y="0"/>
                    <a:pt x="10800" y="0"/>
                  </a:cubicBezTo>
                  <a:cubicBezTo>
                    <a:pt x="16137" y="0"/>
                    <a:pt x="21600" y="2472"/>
                    <a:pt x="21600" y="6298"/>
                  </a:cubicBezTo>
                  <a:cubicBezTo>
                    <a:pt x="21600" y="7749"/>
                    <a:pt x="20884" y="9000"/>
                    <a:pt x="19428" y="1006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cs typeface="+mn-ea"/>
                <a:sym typeface="+mn-lt"/>
              </a:endParaRPr>
            </a:p>
          </p:txBody>
        </p:sp>
      </p:grpSp>
      <p:grpSp>
        <p:nvGrpSpPr>
          <p:cNvPr id="76" name="Group 4931">
            <a:extLst>
              <a:ext uri="{FF2B5EF4-FFF2-40B4-BE49-F238E27FC236}">
                <a16:creationId xmlns:a16="http://schemas.microsoft.com/office/drawing/2014/main" id="{39046775-F2A8-4321-8F62-8E45111B7EE2}"/>
              </a:ext>
            </a:extLst>
          </p:cNvPr>
          <p:cNvGrpSpPr/>
          <p:nvPr/>
        </p:nvGrpSpPr>
        <p:grpSpPr>
          <a:xfrm>
            <a:off x="7132253" y="3145348"/>
            <a:ext cx="644122" cy="651645"/>
            <a:chOff x="0" y="0"/>
            <a:chExt cx="1288242" cy="1303287"/>
          </a:xfrm>
        </p:grpSpPr>
        <p:sp>
          <p:nvSpPr>
            <p:cNvPr id="77" name="Shape 4929">
              <a:extLst>
                <a:ext uri="{FF2B5EF4-FFF2-40B4-BE49-F238E27FC236}">
                  <a16:creationId xmlns:a16="http://schemas.microsoft.com/office/drawing/2014/main" id="{99F5C9BA-B215-4CFA-9A4E-9B9CD8FC723C}"/>
                </a:ext>
              </a:extLst>
            </p:cNvPr>
            <p:cNvSpPr/>
            <p:nvPr/>
          </p:nvSpPr>
          <p:spPr>
            <a:xfrm>
              <a:off x="0" y="0"/>
              <a:ext cx="1288242" cy="13032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  <p:sp>
          <p:nvSpPr>
            <p:cNvPr id="78" name="Shape 4930">
              <a:extLst>
                <a:ext uri="{FF2B5EF4-FFF2-40B4-BE49-F238E27FC236}">
                  <a16:creationId xmlns:a16="http://schemas.microsoft.com/office/drawing/2014/main" id="{BD73F2E2-0589-40A1-8DFA-7F6398256BC8}"/>
                </a:ext>
              </a:extLst>
            </p:cNvPr>
            <p:cNvSpPr/>
            <p:nvPr/>
          </p:nvSpPr>
          <p:spPr>
            <a:xfrm>
              <a:off x="320761" y="312842"/>
              <a:ext cx="655019" cy="655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7201"/>
                  </a:moveTo>
                  <a:cubicBezTo>
                    <a:pt x="8817" y="7201"/>
                    <a:pt x="7200" y="8816"/>
                    <a:pt x="7200" y="10800"/>
                  </a:cubicBezTo>
                  <a:cubicBezTo>
                    <a:pt x="7200" y="12781"/>
                    <a:pt x="8817" y="14400"/>
                    <a:pt x="10800" y="14400"/>
                  </a:cubicBezTo>
                  <a:cubicBezTo>
                    <a:pt x="12783" y="14400"/>
                    <a:pt x="14400" y="12781"/>
                    <a:pt x="14400" y="10800"/>
                  </a:cubicBezTo>
                  <a:cubicBezTo>
                    <a:pt x="14400" y="8816"/>
                    <a:pt x="12783" y="7201"/>
                    <a:pt x="10800" y="7201"/>
                  </a:cubicBezTo>
                  <a:close/>
                  <a:moveTo>
                    <a:pt x="21600" y="12387"/>
                  </a:moveTo>
                  <a:cubicBezTo>
                    <a:pt x="21600" y="12600"/>
                    <a:pt x="21431" y="12851"/>
                    <a:pt x="21206" y="12896"/>
                  </a:cubicBezTo>
                  <a:lnTo>
                    <a:pt x="18605" y="13290"/>
                  </a:lnTo>
                  <a:cubicBezTo>
                    <a:pt x="18450" y="13740"/>
                    <a:pt x="18280" y="14159"/>
                    <a:pt x="18056" y="14568"/>
                  </a:cubicBezTo>
                  <a:cubicBezTo>
                    <a:pt x="18534" y="15258"/>
                    <a:pt x="19041" y="15876"/>
                    <a:pt x="19561" y="16508"/>
                  </a:cubicBezTo>
                  <a:cubicBezTo>
                    <a:pt x="19646" y="16606"/>
                    <a:pt x="19702" y="16734"/>
                    <a:pt x="19702" y="16861"/>
                  </a:cubicBezTo>
                  <a:cubicBezTo>
                    <a:pt x="19702" y="16988"/>
                    <a:pt x="19660" y="17086"/>
                    <a:pt x="19575" y="17184"/>
                  </a:cubicBezTo>
                  <a:cubicBezTo>
                    <a:pt x="19238" y="17636"/>
                    <a:pt x="17338" y="19702"/>
                    <a:pt x="16862" y="19702"/>
                  </a:cubicBezTo>
                  <a:cubicBezTo>
                    <a:pt x="16734" y="19702"/>
                    <a:pt x="16608" y="19644"/>
                    <a:pt x="16495" y="19575"/>
                  </a:cubicBezTo>
                  <a:lnTo>
                    <a:pt x="14555" y="18054"/>
                  </a:lnTo>
                  <a:cubicBezTo>
                    <a:pt x="14147" y="18267"/>
                    <a:pt x="13712" y="18452"/>
                    <a:pt x="13275" y="18591"/>
                  </a:cubicBezTo>
                  <a:cubicBezTo>
                    <a:pt x="13177" y="19448"/>
                    <a:pt x="13092" y="20362"/>
                    <a:pt x="12868" y="21207"/>
                  </a:cubicBezTo>
                  <a:cubicBezTo>
                    <a:pt x="12812" y="21433"/>
                    <a:pt x="12614" y="21600"/>
                    <a:pt x="12361" y="21600"/>
                  </a:cubicBezTo>
                  <a:lnTo>
                    <a:pt x="9239" y="21600"/>
                  </a:lnTo>
                  <a:cubicBezTo>
                    <a:pt x="8986" y="21600"/>
                    <a:pt x="8761" y="21416"/>
                    <a:pt x="8732" y="21179"/>
                  </a:cubicBezTo>
                  <a:lnTo>
                    <a:pt x="8338" y="18591"/>
                  </a:lnTo>
                  <a:cubicBezTo>
                    <a:pt x="7903" y="18452"/>
                    <a:pt x="7480" y="18280"/>
                    <a:pt x="7073" y="18070"/>
                  </a:cubicBezTo>
                  <a:lnTo>
                    <a:pt x="5090" y="19575"/>
                  </a:lnTo>
                  <a:cubicBezTo>
                    <a:pt x="4992" y="19657"/>
                    <a:pt x="4865" y="19702"/>
                    <a:pt x="4738" y="19702"/>
                  </a:cubicBezTo>
                  <a:cubicBezTo>
                    <a:pt x="4613" y="19702"/>
                    <a:pt x="4486" y="19644"/>
                    <a:pt x="4388" y="19546"/>
                  </a:cubicBezTo>
                  <a:cubicBezTo>
                    <a:pt x="3642" y="18870"/>
                    <a:pt x="2657" y="18000"/>
                    <a:pt x="2067" y="17184"/>
                  </a:cubicBezTo>
                  <a:cubicBezTo>
                    <a:pt x="1996" y="17086"/>
                    <a:pt x="1969" y="16972"/>
                    <a:pt x="1969" y="16861"/>
                  </a:cubicBezTo>
                  <a:cubicBezTo>
                    <a:pt x="1969" y="16734"/>
                    <a:pt x="2011" y="16636"/>
                    <a:pt x="2080" y="16537"/>
                  </a:cubicBezTo>
                  <a:cubicBezTo>
                    <a:pt x="2559" y="15890"/>
                    <a:pt x="3079" y="15270"/>
                    <a:pt x="3558" y="14610"/>
                  </a:cubicBezTo>
                  <a:cubicBezTo>
                    <a:pt x="3319" y="14159"/>
                    <a:pt x="3122" y="13695"/>
                    <a:pt x="2981" y="13220"/>
                  </a:cubicBezTo>
                  <a:lnTo>
                    <a:pt x="408" y="12838"/>
                  </a:lnTo>
                  <a:cubicBezTo>
                    <a:pt x="169" y="12798"/>
                    <a:pt x="0" y="12572"/>
                    <a:pt x="0" y="12334"/>
                  </a:cubicBezTo>
                  <a:lnTo>
                    <a:pt x="0" y="9210"/>
                  </a:lnTo>
                  <a:cubicBezTo>
                    <a:pt x="0" y="9000"/>
                    <a:pt x="169" y="8746"/>
                    <a:pt x="379" y="8705"/>
                  </a:cubicBezTo>
                  <a:lnTo>
                    <a:pt x="2995" y="8312"/>
                  </a:lnTo>
                  <a:cubicBezTo>
                    <a:pt x="3136" y="7861"/>
                    <a:pt x="3319" y="7439"/>
                    <a:pt x="3544" y="7016"/>
                  </a:cubicBezTo>
                  <a:cubicBezTo>
                    <a:pt x="3066" y="6343"/>
                    <a:pt x="2559" y="5708"/>
                    <a:pt x="2038" y="5077"/>
                  </a:cubicBezTo>
                  <a:cubicBezTo>
                    <a:pt x="1954" y="4978"/>
                    <a:pt x="1898" y="4863"/>
                    <a:pt x="1898" y="4740"/>
                  </a:cubicBezTo>
                  <a:cubicBezTo>
                    <a:pt x="1898" y="4613"/>
                    <a:pt x="1954" y="4515"/>
                    <a:pt x="2025" y="4416"/>
                  </a:cubicBezTo>
                  <a:cubicBezTo>
                    <a:pt x="2363" y="3949"/>
                    <a:pt x="4261" y="1899"/>
                    <a:pt x="4738" y="1899"/>
                  </a:cubicBezTo>
                  <a:cubicBezTo>
                    <a:pt x="4865" y="1899"/>
                    <a:pt x="4992" y="1952"/>
                    <a:pt x="5105" y="2039"/>
                  </a:cubicBezTo>
                  <a:lnTo>
                    <a:pt x="7045" y="3543"/>
                  </a:lnTo>
                  <a:cubicBezTo>
                    <a:pt x="7453" y="3334"/>
                    <a:pt x="7888" y="3149"/>
                    <a:pt x="8325" y="3010"/>
                  </a:cubicBezTo>
                  <a:cubicBezTo>
                    <a:pt x="8424" y="2149"/>
                    <a:pt x="8508" y="1239"/>
                    <a:pt x="8732" y="394"/>
                  </a:cubicBezTo>
                  <a:cubicBezTo>
                    <a:pt x="8788" y="169"/>
                    <a:pt x="8986" y="0"/>
                    <a:pt x="9239" y="0"/>
                  </a:cubicBezTo>
                  <a:lnTo>
                    <a:pt x="12361" y="0"/>
                  </a:lnTo>
                  <a:cubicBezTo>
                    <a:pt x="12614" y="0"/>
                    <a:pt x="12839" y="181"/>
                    <a:pt x="12868" y="423"/>
                  </a:cubicBezTo>
                  <a:lnTo>
                    <a:pt x="13262" y="3010"/>
                  </a:lnTo>
                  <a:cubicBezTo>
                    <a:pt x="13696" y="3149"/>
                    <a:pt x="14120" y="3318"/>
                    <a:pt x="14527" y="3531"/>
                  </a:cubicBezTo>
                  <a:lnTo>
                    <a:pt x="16524" y="2026"/>
                  </a:lnTo>
                  <a:cubicBezTo>
                    <a:pt x="16608" y="1940"/>
                    <a:pt x="16734" y="1899"/>
                    <a:pt x="16862" y="1899"/>
                  </a:cubicBezTo>
                  <a:cubicBezTo>
                    <a:pt x="16988" y="1899"/>
                    <a:pt x="17114" y="1952"/>
                    <a:pt x="17213" y="2039"/>
                  </a:cubicBezTo>
                  <a:cubicBezTo>
                    <a:pt x="17958" y="2727"/>
                    <a:pt x="18942" y="3601"/>
                    <a:pt x="19533" y="4429"/>
                  </a:cubicBezTo>
                  <a:cubicBezTo>
                    <a:pt x="19603" y="4515"/>
                    <a:pt x="19631" y="4625"/>
                    <a:pt x="19631" y="4740"/>
                  </a:cubicBezTo>
                  <a:cubicBezTo>
                    <a:pt x="19631" y="4863"/>
                    <a:pt x="19589" y="4962"/>
                    <a:pt x="19520" y="5060"/>
                  </a:cubicBezTo>
                  <a:cubicBezTo>
                    <a:pt x="19041" y="5708"/>
                    <a:pt x="18521" y="6327"/>
                    <a:pt x="18042" y="6987"/>
                  </a:cubicBezTo>
                  <a:cubicBezTo>
                    <a:pt x="18280" y="7439"/>
                    <a:pt x="18478" y="7901"/>
                    <a:pt x="18619" y="8365"/>
                  </a:cubicBezTo>
                  <a:lnTo>
                    <a:pt x="21192" y="8758"/>
                  </a:lnTo>
                  <a:cubicBezTo>
                    <a:pt x="21431" y="8803"/>
                    <a:pt x="21600" y="9029"/>
                    <a:pt x="21600" y="9267"/>
                  </a:cubicBezTo>
                  <a:cubicBezTo>
                    <a:pt x="21600" y="9267"/>
                    <a:pt x="21600" y="12387"/>
                    <a:pt x="21600" y="1238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cs typeface="+mn-ea"/>
                <a:sym typeface="+mn-lt"/>
              </a:endParaRPr>
            </a:p>
          </p:txBody>
        </p:sp>
      </p:grpSp>
      <p:grpSp>
        <p:nvGrpSpPr>
          <p:cNvPr id="79" name="Group 4934">
            <a:extLst>
              <a:ext uri="{FF2B5EF4-FFF2-40B4-BE49-F238E27FC236}">
                <a16:creationId xmlns:a16="http://schemas.microsoft.com/office/drawing/2014/main" id="{F741CFED-6435-4308-85A1-A96111C67141}"/>
              </a:ext>
            </a:extLst>
          </p:cNvPr>
          <p:cNvGrpSpPr/>
          <p:nvPr/>
        </p:nvGrpSpPr>
        <p:grpSpPr>
          <a:xfrm>
            <a:off x="7132253" y="5609148"/>
            <a:ext cx="644122" cy="651645"/>
            <a:chOff x="0" y="0"/>
            <a:chExt cx="1288242" cy="1303287"/>
          </a:xfrm>
        </p:grpSpPr>
        <p:sp>
          <p:nvSpPr>
            <p:cNvPr id="80" name="Shape 4932">
              <a:extLst>
                <a:ext uri="{FF2B5EF4-FFF2-40B4-BE49-F238E27FC236}">
                  <a16:creationId xmlns:a16="http://schemas.microsoft.com/office/drawing/2014/main" id="{2B2345B9-1E03-43C6-A61E-5C9188F0BAAA}"/>
                </a:ext>
              </a:extLst>
            </p:cNvPr>
            <p:cNvSpPr/>
            <p:nvPr/>
          </p:nvSpPr>
          <p:spPr>
            <a:xfrm>
              <a:off x="0" y="0"/>
              <a:ext cx="1288242" cy="13032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  <p:sp>
          <p:nvSpPr>
            <p:cNvPr id="81" name="Shape 4933">
              <a:extLst>
                <a:ext uri="{FF2B5EF4-FFF2-40B4-BE49-F238E27FC236}">
                  <a16:creationId xmlns:a16="http://schemas.microsoft.com/office/drawing/2014/main" id="{C982DC9A-64C6-4067-9BD6-28476BBF65CB}"/>
                </a:ext>
              </a:extLst>
            </p:cNvPr>
            <p:cNvSpPr/>
            <p:nvPr/>
          </p:nvSpPr>
          <p:spPr>
            <a:xfrm>
              <a:off x="295361" y="306257"/>
              <a:ext cx="696033" cy="6960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3" h="21600" extrusionOk="0">
                  <a:moveTo>
                    <a:pt x="17336" y="2965"/>
                  </a:moveTo>
                  <a:cubicBezTo>
                    <a:pt x="16635" y="2965"/>
                    <a:pt x="16068" y="3533"/>
                    <a:pt x="16068" y="4234"/>
                  </a:cubicBezTo>
                  <a:cubicBezTo>
                    <a:pt x="16068" y="4937"/>
                    <a:pt x="16635" y="5505"/>
                    <a:pt x="17336" y="5505"/>
                  </a:cubicBezTo>
                  <a:cubicBezTo>
                    <a:pt x="18035" y="5505"/>
                    <a:pt x="18604" y="4937"/>
                    <a:pt x="18604" y="4234"/>
                  </a:cubicBezTo>
                  <a:cubicBezTo>
                    <a:pt x="18604" y="3533"/>
                    <a:pt x="18035" y="2965"/>
                    <a:pt x="17336" y="2965"/>
                  </a:cubicBezTo>
                  <a:close/>
                  <a:moveTo>
                    <a:pt x="17217" y="10891"/>
                  </a:moveTo>
                  <a:cubicBezTo>
                    <a:pt x="16451" y="11647"/>
                    <a:pt x="15578" y="12427"/>
                    <a:pt x="14640" y="13222"/>
                  </a:cubicBezTo>
                  <a:lnTo>
                    <a:pt x="14377" y="18237"/>
                  </a:lnTo>
                  <a:cubicBezTo>
                    <a:pt x="14363" y="18370"/>
                    <a:pt x="14284" y="18501"/>
                    <a:pt x="14165" y="18582"/>
                  </a:cubicBezTo>
                  <a:lnTo>
                    <a:pt x="9092" y="21545"/>
                  </a:lnTo>
                  <a:cubicBezTo>
                    <a:pt x="9025" y="21583"/>
                    <a:pt x="8959" y="21600"/>
                    <a:pt x="8880" y="21600"/>
                  </a:cubicBezTo>
                  <a:cubicBezTo>
                    <a:pt x="8774" y="21600"/>
                    <a:pt x="8668" y="21559"/>
                    <a:pt x="8576" y="21480"/>
                  </a:cubicBezTo>
                  <a:lnTo>
                    <a:pt x="7730" y="20633"/>
                  </a:lnTo>
                  <a:cubicBezTo>
                    <a:pt x="7625" y="20513"/>
                    <a:pt x="7585" y="20353"/>
                    <a:pt x="7625" y="20210"/>
                  </a:cubicBezTo>
                  <a:lnTo>
                    <a:pt x="8748" y="16556"/>
                  </a:lnTo>
                  <a:lnTo>
                    <a:pt x="5036" y="12837"/>
                  </a:lnTo>
                  <a:lnTo>
                    <a:pt x="1389" y="13962"/>
                  </a:lnTo>
                  <a:cubicBezTo>
                    <a:pt x="1350" y="13975"/>
                    <a:pt x="1310" y="13975"/>
                    <a:pt x="1270" y="13975"/>
                  </a:cubicBezTo>
                  <a:cubicBezTo>
                    <a:pt x="1164" y="13975"/>
                    <a:pt x="1045" y="13937"/>
                    <a:pt x="967" y="13857"/>
                  </a:cubicBezTo>
                  <a:lnTo>
                    <a:pt x="121" y="13010"/>
                  </a:lnTo>
                  <a:cubicBezTo>
                    <a:pt x="-12" y="12863"/>
                    <a:pt x="-37" y="12651"/>
                    <a:pt x="55" y="12493"/>
                  </a:cubicBezTo>
                  <a:lnTo>
                    <a:pt x="3015" y="7410"/>
                  </a:lnTo>
                  <a:cubicBezTo>
                    <a:pt x="3093" y="7291"/>
                    <a:pt x="3225" y="7214"/>
                    <a:pt x="3358" y="7198"/>
                  </a:cubicBezTo>
                  <a:lnTo>
                    <a:pt x="8365" y="6936"/>
                  </a:lnTo>
                  <a:cubicBezTo>
                    <a:pt x="9157" y="5995"/>
                    <a:pt x="9938" y="5122"/>
                    <a:pt x="10690" y="4355"/>
                  </a:cubicBezTo>
                  <a:cubicBezTo>
                    <a:pt x="13993" y="1059"/>
                    <a:pt x="16516" y="0"/>
                    <a:pt x="21114" y="0"/>
                  </a:cubicBezTo>
                  <a:cubicBezTo>
                    <a:pt x="21351" y="0"/>
                    <a:pt x="21563" y="185"/>
                    <a:pt x="21563" y="422"/>
                  </a:cubicBezTo>
                  <a:cubicBezTo>
                    <a:pt x="21563" y="4818"/>
                    <a:pt x="20348" y="7742"/>
                    <a:pt x="17217" y="1089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cs typeface="+mn-ea"/>
                <a:sym typeface="+mn-lt"/>
              </a:endParaRPr>
            </a:p>
          </p:txBody>
        </p:sp>
      </p:grpSp>
      <p:grpSp>
        <p:nvGrpSpPr>
          <p:cNvPr id="82" name="Group 4937">
            <a:extLst>
              <a:ext uri="{FF2B5EF4-FFF2-40B4-BE49-F238E27FC236}">
                <a16:creationId xmlns:a16="http://schemas.microsoft.com/office/drawing/2014/main" id="{5B5F00EA-6FC2-4F84-ACA7-E5BF95D6B1F2}"/>
              </a:ext>
            </a:extLst>
          </p:cNvPr>
          <p:cNvGrpSpPr/>
          <p:nvPr/>
        </p:nvGrpSpPr>
        <p:grpSpPr>
          <a:xfrm>
            <a:off x="7132253" y="4377248"/>
            <a:ext cx="644122" cy="651645"/>
            <a:chOff x="0" y="0"/>
            <a:chExt cx="1288242" cy="1303287"/>
          </a:xfrm>
        </p:grpSpPr>
        <p:sp>
          <p:nvSpPr>
            <p:cNvPr id="83" name="Shape 4935">
              <a:extLst>
                <a:ext uri="{FF2B5EF4-FFF2-40B4-BE49-F238E27FC236}">
                  <a16:creationId xmlns:a16="http://schemas.microsoft.com/office/drawing/2014/main" id="{6CD5C579-D20D-4CC9-8B9A-F168394473B5}"/>
                </a:ext>
              </a:extLst>
            </p:cNvPr>
            <p:cNvSpPr/>
            <p:nvPr/>
          </p:nvSpPr>
          <p:spPr>
            <a:xfrm>
              <a:off x="0" y="0"/>
              <a:ext cx="1288242" cy="13032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</a:defRPr>
              </a:pPr>
              <a:endParaRPr sz="1600">
                <a:cs typeface="+mn-ea"/>
                <a:sym typeface="+mn-lt"/>
              </a:endParaRPr>
            </a:p>
          </p:txBody>
        </p:sp>
        <p:sp>
          <p:nvSpPr>
            <p:cNvPr id="84" name="Shape 4936">
              <a:extLst>
                <a:ext uri="{FF2B5EF4-FFF2-40B4-BE49-F238E27FC236}">
                  <a16:creationId xmlns:a16="http://schemas.microsoft.com/office/drawing/2014/main" id="{2A41FC3C-82AC-4D8A-8AB7-3BB5C0AA9394}"/>
                </a:ext>
              </a:extLst>
            </p:cNvPr>
            <p:cNvSpPr/>
            <p:nvPr/>
          </p:nvSpPr>
          <p:spPr>
            <a:xfrm>
              <a:off x="295361" y="288608"/>
              <a:ext cx="699865" cy="700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96" y="7820"/>
                  </a:moveTo>
                  <a:cubicBezTo>
                    <a:pt x="20468" y="10162"/>
                    <a:pt x="18215" y="11780"/>
                    <a:pt x="15728" y="11780"/>
                  </a:cubicBezTo>
                  <a:cubicBezTo>
                    <a:pt x="12478" y="11780"/>
                    <a:pt x="9832" y="9134"/>
                    <a:pt x="9832" y="5889"/>
                  </a:cubicBezTo>
                  <a:cubicBezTo>
                    <a:pt x="9832" y="2640"/>
                    <a:pt x="12478" y="0"/>
                    <a:pt x="15728" y="0"/>
                  </a:cubicBezTo>
                  <a:cubicBezTo>
                    <a:pt x="16688" y="0"/>
                    <a:pt x="17939" y="287"/>
                    <a:pt x="18743" y="828"/>
                  </a:cubicBezTo>
                  <a:cubicBezTo>
                    <a:pt x="18875" y="920"/>
                    <a:pt x="18952" y="1038"/>
                    <a:pt x="18952" y="1196"/>
                  </a:cubicBezTo>
                  <a:cubicBezTo>
                    <a:pt x="18952" y="1340"/>
                    <a:pt x="18859" y="1483"/>
                    <a:pt x="18743" y="1564"/>
                  </a:cubicBezTo>
                  <a:lnTo>
                    <a:pt x="14886" y="3787"/>
                  </a:lnTo>
                  <a:lnTo>
                    <a:pt x="14886" y="6731"/>
                  </a:lnTo>
                  <a:lnTo>
                    <a:pt x="17426" y="8138"/>
                  </a:lnTo>
                  <a:cubicBezTo>
                    <a:pt x="17860" y="7889"/>
                    <a:pt x="20913" y="5967"/>
                    <a:pt x="21178" y="5967"/>
                  </a:cubicBezTo>
                  <a:cubicBezTo>
                    <a:pt x="21441" y="5967"/>
                    <a:pt x="21600" y="6164"/>
                    <a:pt x="21600" y="6427"/>
                  </a:cubicBezTo>
                  <a:cubicBezTo>
                    <a:pt x="21600" y="6862"/>
                    <a:pt x="21441" y="7402"/>
                    <a:pt x="21296" y="7820"/>
                  </a:cubicBezTo>
                  <a:close/>
                  <a:moveTo>
                    <a:pt x="3935" y="16829"/>
                  </a:moveTo>
                  <a:cubicBezTo>
                    <a:pt x="3475" y="16829"/>
                    <a:pt x="3093" y="17209"/>
                    <a:pt x="3093" y="17668"/>
                  </a:cubicBezTo>
                  <a:cubicBezTo>
                    <a:pt x="3093" y="18127"/>
                    <a:pt x="3475" y="18511"/>
                    <a:pt x="3935" y="18511"/>
                  </a:cubicBezTo>
                  <a:cubicBezTo>
                    <a:pt x="4396" y="18511"/>
                    <a:pt x="4777" y="18127"/>
                    <a:pt x="4777" y="17668"/>
                  </a:cubicBezTo>
                  <a:cubicBezTo>
                    <a:pt x="4777" y="17209"/>
                    <a:pt x="4396" y="16829"/>
                    <a:pt x="3935" y="16829"/>
                  </a:cubicBezTo>
                  <a:close/>
                  <a:moveTo>
                    <a:pt x="4277" y="21114"/>
                  </a:moveTo>
                  <a:cubicBezTo>
                    <a:pt x="3974" y="21416"/>
                    <a:pt x="3540" y="21600"/>
                    <a:pt x="3093" y="21600"/>
                  </a:cubicBezTo>
                  <a:cubicBezTo>
                    <a:pt x="2645" y="21600"/>
                    <a:pt x="2212" y="21416"/>
                    <a:pt x="1896" y="21114"/>
                  </a:cubicBezTo>
                  <a:lnTo>
                    <a:pt x="500" y="19692"/>
                  </a:lnTo>
                  <a:cubicBezTo>
                    <a:pt x="184" y="19392"/>
                    <a:pt x="0" y="18956"/>
                    <a:pt x="0" y="18511"/>
                  </a:cubicBezTo>
                  <a:cubicBezTo>
                    <a:pt x="0" y="18061"/>
                    <a:pt x="184" y="17629"/>
                    <a:pt x="500" y="17314"/>
                  </a:cubicBezTo>
                  <a:lnTo>
                    <a:pt x="9463" y="8360"/>
                  </a:lnTo>
                  <a:cubicBezTo>
                    <a:pt x="10149" y="10081"/>
                    <a:pt x="11530" y="11461"/>
                    <a:pt x="13252" y="12147"/>
                  </a:cubicBezTo>
                  <a:cubicBezTo>
                    <a:pt x="13252" y="12147"/>
                    <a:pt x="4277" y="21114"/>
                    <a:pt x="4277" y="21114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>
                <a:cs typeface="+mn-ea"/>
                <a:sym typeface="+mn-lt"/>
              </a:endParaRPr>
            </a:p>
          </p:txBody>
        </p:sp>
      </p:grpSp>
      <p:sp>
        <p:nvSpPr>
          <p:cNvPr id="85" name="添加标题">
            <a:extLst>
              <a:ext uri="{FF2B5EF4-FFF2-40B4-BE49-F238E27FC236}">
                <a16:creationId xmlns:a16="http://schemas.microsoft.com/office/drawing/2014/main" id="{1ED73E80-5649-465C-808C-0A0CA28C4F78}"/>
              </a:ext>
            </a:extLst>
          </p:cNvPr>
          <p:cNvSpPr txBox="1"/>
          <p:nvPr/>
        </p:nvSpPr>
        <p:spPr>
          <a:xfrm>
            <a:off x="7962123" y="1775962"/>
            <a:ext cx="2887002" cy="1068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600" b="1" dirty="0">
                <a:solidFill>
                  <a:schemeClr val="accent1"/>
                </a:solidFill>
                <a:cs typeface="+mn-ea"/>
                <a:sym typeface="+mn-lt"/>
              </a:rPr>
              <a:t>Add title text</a:t>
            </a:r>
          </a:p>
          <a:p>
            <a:pPr algn="just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1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6" name="添加标题">
            <a:extLst>
              <a:ext uri="{FF2B5EF4-FFF2-40B4-BE49-F238E27FC236}">
                <a16:creationId xmlns:a16="http://schemas.microsoft.com/office/drawing/2014/main" id="{75AB71C9-105E-4E20-B860-96E161FA393A}"/>
              </a:ext>
            </a:extLst>
          </p:cNvPr>
          <p:cNvSpPr txBox="1"/>
          <p:nvPr/>
        </p:nvSpPr>
        <p:spPr>
          <a:xfrm>
            <a:off x="7962123" y="3005150"/>
            <a:ext cx="2887002" cy="1068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600" b="1" dirty="0">
                <a:solidFill>
                  <a:schemeClr val="accent2"/>
                </a:solidFill>
                <a:cs typeface="+mn-ea"/>
                <a:sym typeface="+mn-lt"/>
              </a:rPr>
              <a:t>Add title text</a:t>
            </a:r>
          </a:p>
          <a:p>
            <a:pPr algn="just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1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7" name="添加标题">
            <a:extLst>
              <a:ext uri="{FF2B5EF4-FFF2-40B4-BE49-F238E27FC236}">
                <a16:creationId xmlns:a16="http://schemas.microsoft.com/office/drawing/2014/main" id="{31F7DF8C-1D0E-4648-BCB5-65EEA9F19224}"/>
              </a:ext>
            </a:extLst>
          </p:cNvPr>
          <p:cNvSpPr txBox="1"/>
          <p:nvPr/>
        </p:nvSpPr>
        <p:spPr>
          <a:xfrm>
            <a:off x="7962123" y="4234338"/>
            <a:ext cx="2887002" cy="1068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600" b="1" dirty="0">
                <a:solidFill>
                  <a:schemeClr val="accent3"/>
                </a:solidFill>
                <a:cs typeface="+mn-ea"/>
                <a:sym typeface="+mn-lt"/>
              </a:rPr>
              <a:t>Add title text</a:t>
            </a:r>
          </a:p>
          <a:p>
            <a:pPr algn="just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8" name="添加标题">
            <a:extLst>
              <a:ext uri="{FF2B5EF4-FFF2-40B4-BE49-F238E27FC236}">
                <a16:creationId xmlns:a16="http://schemas.microsoft.com/office/drawing/2014/main" id="{937B6C6C-E280-4C98-99AB-3D858B18D460}"/>
              </a:ext>
            </a:extLst>
          </p:cNvPr>
          <p:cNvSpPr txBox="1"/>
          <p:nvPr/>
        </p:nvSpPr>
        <p:spPr>
          <a:xfrm>
            <a:off x="7962123" y="5463527"/>
            <a:ext cx="2887002" cy="1068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600" b="1" dirty="0">
                <a:solidFill>
                  <a:schemeClr val="accent4"/>
                </a:solidFill>
                <a:cs typeface="+mn-ea"/>
                <a:sym typeface="+mn-lt"/>
              </a:rPr>
              <a:t>Add title text</a:t>
            </a:r>
          </a:p>
          <a:p>
            <a:pPr algn="just"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89" name="Shape 1938">
            <a:extLst>
              <a:ext uri="{FF2B5EF4-FFF2-40B4-BE49-F238E27FC236}">
                <a16:creationId xmlns:a16="http://schemas.microsoft.com/office/drawing/2014/main" id="{767E9381-7EC0-4FDD-A507-4D6603D8A85E}"/>
              </a:ext>
            </a:extLst>
          </p:cNvPr>
          <p:cNvSpPr/>
          <p:nvPr/>
        </p:nvSpPr>
        <p:spPr>
          <a:xfrm>
            <a:off x="7962123" y="1553160"/>
            <a:ext cx="2887002" cy="0"/>
          </a:xfrm>
          <a:prstGeom prst="line">
            <a:avLst/>
          </a:prstGeom>
          <a:noFill/>
          <a:ln w="12700" cap="flat">
            <a:solidFill>
              <a:srgbClr val="000000"/>
            </a:solidFill>
            <a:prstDash val="solid"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3200"/>
            </a:pPr>
            <a:endParaRPr sz="1600">
              <a:cs typeface="+mn-ea"/>
              <a:sym typeface="+mn-lt"/>
            </a:endParaRPr>
          </a:p>
        </p:txBody>
      </p:sp>
      <p:sp>
        <p:nvSpPr>
          <p:cNvPr id="90" name="Shape 1787">
            <a:extLst>
              <a:ext uri="{FF2B5EF4-FFF2-40B4-BE49-F238E27FC236}">
                <a16:creationId xmlns:a16="http://schemas.microsoft.com/office/drawing/2014/main" id="{456BE854-BEC7-4942-9269-3F89036DBDCE}"/>
              </a:ext>
            </a:extLst>
          </p:cNvPr>
          <p:cNvSpPr/>
          <p:nvPr/>
        </p:nvSpPr>
        <p:spPr>
          <a:xfrm>
            <a:off x="7974823" y="853460"/>
            <a:ext cx="2606091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r>
              <a:rPr lang="en-US" altLang="zh-CN" sz="2800" b="1" dirty="0">
                <a:solidFill>
                  <a:schemeClr val="accent1"/>
                </a:solidFill>
                <a:cs typeface="+mn-ea"/>
                <a:sym typeface="+mn-lt"/>
              </a:rPr>
              <a:t>Add title text</a:t>
            </a:r>
          </a:p>
        </p:txBody>
      </p:sp>
    </p:spTree>
    <p:extLst>
      <p:ext uri="{BB962C8B-B14F-4D97-AF65-F5344CB8AC3E}">
        <p14:creationId xmlns:p14="http://schemas.microsoft.com/office/powerpoint/2010/main" val="151519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000">
        <p:fade/>
      </p:transition>
    </mc:Choice>
    <mc:Fallback xmlns="">
      <p:transition spd="med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42" grpId="0" animBg="1"/>
      <p:bldP spid="43" grpId="0" animBg="1"/>
      <p:bldP spid="44" grpId="0" animBg="1"/>
      <p:bldP spid="85" grpId="0"/>
      <p:bldP spid="86" grpId="0"/>
      <p:bldP spid="87" grpId="0"/>
      <p:bldP spid="88" grpId="0"/>
      <p:bldP spid="89" grpId="0" animBg="1"/>
      <p:bldP spid="9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74545A-610C-47B9-850E-6356311417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sp>
        <p:nvSpPr>
          <p:cNvPr id="38" name="Diagonal Stripe 4">
            <a:extLst>
              <a:ext uri="{FF2B5EF4-FFF2-40B4-BE49-F238E27FC236}">
                <a16:creationId xmlns:a16="http://schemas.microsoft.com/office/drawing/2014/main" id="{719C85DA-C6C8-4257-BE7C-310829BF9CCD}"/>
              </a:ext>
            </a:extLst>
          </p:cNvPr>
          <p:cNvSpPr/>
          <p:nvPr/>
        </p:nvSpPr>
        <p:spPr>
          <a:xfrm rot="2699999">
            <a:off x="9537787" y="3510187"/>
            <a:ext cx="1583473" cy="1583473"/>
          </a:xfrm>
          <a:prstGeom prst="diagStripe">
            <a:avLst>
              <a:gd name="adj" fmla="val 63445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9" name="Diagonal Stripe 5">
            <a:extLst>
              <a:ext uri="{FF2B5EF4-FFF2-40B4-BE49-F238E27FC236}">
                <a16:creationId xmlns:a16="http://schemas.microsoft.com/office/drawing/2014/main" id="{57D73B5E-2E0F-428F-AA84-0FB82D589F58}"/>
              </a:ext>
            </a:extLst>
          </p:cNvPr>
          <p:cNvSpPr/>
          <p:nvPr/>
        </p:nvSpPr>
        <p:spPr>
          <a:xfrm rot="2699999">
            <a:off x="1121751" y="3510187"/>
            <a:ext cx="1583473" cy="1583473"/>
          </a:xfrm>
          <a:prstGeom prst="diagStripe">
            <a:avLst>
              <a:gd name="adj" fmla="val 6344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0" name="Diagonal Stripe 6">
            <a:extLst>
              <a:ext uri="{FF2B5EF4-FFF2-40B4-BE49-F238E27FC236}">
                <a16:creationId xmlns:a16="http://schemas.microsoft.com/office/drawing/2014/main" id="{666998EC-F94A-41C3-8A30-3E5914027971}"/>
              </a:ext>
            </a:extLst>
          </p:cNvPr>
          <p:cNvSpPr/>
          <p:nvPr/>
        </p:nvSpPr>
        <p:spPr>
          <a:xfrm rot="2699999">
            <a:off x="5329769" y="3510187"/>
            <a:ext cx="1583473" cy="1583473"/>
          </a:xfrm>
          <a:prstGeom prst="diagStripe">
            <a:avLst>
              <a:gd name="adj" fmla="val 6344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1" name="Diagonal Stripe 7">
            <a:extLst>
              <a:ext uri="{FF2B5EF4-FFF2-40B4-BE49-F238E27FC236}">
                <a16:creationId xmlns:a16="http://schemas.microsoft.com/office/drawing/2014/main" id="{973AF1DD-71F5-4348-B915-2821AAD0AAFF}"/>
              </a:ext>
            </a:extLst>
          </p:cNvPr>
          <p:cNvSpPr/>
          <p:nvPr/>
        </p:nvSpPr>
        <p:spPr>
          <a:xfrm rot="13499999">
            <a:off x="3213007" y="3098891"/>
            <a:ext cx="1583473" cy="1583473"/>
          </a:xfrm>
          <a:prstGeom prst="diagStripe">
            <a:avLst>
              <a:gd name="adj" fmla="val 6344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2" name="Diagonal Stripe 8">
            <a:extLst>
              <a:ext uri="{FF2B5EF4-FFF2-40B4-BE49-F238E27FC236}">
                <a16:creationId xmlns:a16="http://schemas.microsoft.com/office/drawing/2014/main" id="{1686A381-B0D1-43DB-91B4-464D3DCB7528}"/>
              </a:ext>
            </a:extLst>
          </p:cNvPr>
          <p:cNvSpPr/>
          <p:nvPr/>
        </p:nvSpPr>
        <p:spPr>
          <a:xfrm rot="13499999">
            <a:off x="7421025" y="3098891"/>
            <a:ext cx="1583473" cy="1583473"/>
          </a:xfrm>
          <a:prstGeom prst="diagStripe">
            <a:avLst>
              <a:gd name="adj" fmla="val 63445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3" name="TextBox 12">
            <a:extLst>
              <a:ext uri="{FF2B5EF4-FFF2-40B4-BE49-F238E27FC236}">
                <a16:creationId xmlns:a16="http://schemas.microsoft.com/office/drawing/2014/main" id="{3699022B-E484-4DBC-B567-B8E5E1548BB9}"/>
              </a:ext>
            </a:extLst>
          </p:cNvPr>
          <p:cNvSpPr txBox="1"/>
          <p:nvPr/>
        </p:nvSpPr>
        <p:spPr>
          <a:xfrm>
            <a:off x="10022387" y="3932210"/>
            <a:ext cx="614271" cy="32316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cs typeface="+mn-ea"/>
                <a:sym typeface="+mn-lt"/>
              </a:rPr>
              <a:t>2030</a:t>
            </a:r>
          </a:p>
        </p:txBody>
      </p:sp>
      <p:sp>
        <p:nvSpPr>
          <p:cNvPr id="44" name="TextBox 13">
            <a:extLst>
              <a:ext uri="{FF2B5EF4-FFF2-40B4-BE49-F238E27FC236}">
                <a16:creationId xmlns:a16="http://schemas.microsoft.com/office/drawing/2014/main" id="{77A2667B-0E1A-407C-8615-1A395CB715AC}"/>
              </a:ext>
            </a:extLst>
          </p:cNvPr>
          <p:cNvSpPr txBox="1"/>
          <p:nvPr/>
        </p:nvSpPr>
        <p:spPr>
          <a:xfrm>
            <a:off x="1614063" y="3932210"/>
            <a:ext cx="614271" cy="32316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cs typeface="+mn-ea"/>
                <a:sym typeface="+mn-lt"/>
              </a:rPr>
              <a:t>1990</a:t>
            </a:r>
          </a:p>
        </p:txBody>
      </p:sp>
      <p:sp>
        <p:nvSpPr>
          <p:cNvPr id="45" name="TextBox 14">
            <a:extLst>
              <a:ext uri="{FF2B5EF4-FFF2-40B4-BE49-F238E27FC236}">
                <a16:creationId xmlns:a16="http://schemas.microsoft.com/office/drawing/2014/main" id="{B2CD8DA8-A0A1-4859-B34D-44E9081221F4}"/>
              </a:ext>
            </a:extLst>
          </p:cNvPr>
          <p:cNvSpPr txBox="1"/>
          <p:nvPr/>
        </p:nvSpPr>
        <p:spPr>
          <a:xfrm>
            <a:off x="3726053" y="3932210"/>
            <a:ext cx="614271" cy="32316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cs typeface="+mn-ea"/>
                <a:sym typeface="+mn-lt"/>
              </a:rPr>
              <a:t>2001</a:t>
            </a:r>
          </a:p>
        </p:txBody>
      </p:sp>
      <p:sp>
        <p:nvSpPr>
          <p:cNvPr id="46" name="TextBox 15">
            <a:extLst>
              <a:ext uri="{FF2B5EF4-FFF2-40B4-BE49-F238E27FC236}">
                <a16:creationId xmlns:a16="http://schemas.microsoft.com/office/drawing/2014/main" id="{F1DB11FC-8852-4BEB-ADF6-BDA03EB47877}"/>
              </a:ext>
            </a:extLst>
          </p:cNvPr>
          <p:cNvSpPr txBox="1"/>
          <p:nvPr/>
        </p:nvSpPr>
        <p:spPr>
          <a:xfrm>
            <a:off x="5814605" y="3932210"/>
            <a:ext cx="614271" cy="32316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cs typeface="+mn-ea"/>
                <a:sym typeface="+mn-lt"/>
              </a:rPr>
              <a:t>2007</a:t>
            </a:r>
          </a:p>
        </p:txBody>
      </p:sp>
      <p:sp>
        <p:nvSpPr>
          <p:cNvPr id="47" name="TextBox 16">
            <a:extLst>
              <a:ext uri="{FF2B5EF4-FFF2-40B4-BE49-F238E27FC236}">
                <a16:creationId xmlns:a16="http://schemas.microsoft.com/office/drawing/2014/main" id="{CE0E5658-55E4-4F59-AB38-117398D29DE3}"/>
              </a:ext>
            </a:extLst>
          </p:cNvPr>
          <p:cNvSpPr txBox="1"/>
          <p:nvPr/>
        </p:nvSpPr>
        <p:spPr>
          <a:xfrm>
            <a:off x="7935681" y="3932210"/>
            <a:ext cx="614271" cy="32316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cs typeface="+mn-ea"/>
                <a:sym typeface="+mn-lt"/>
              </a:rPr>
              <a:t>2022</a:t>
            </a: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057795E8-3922-4C60-A056-3EC08530F500}"/>
              </a:ext>
            </a:extLst>
          </p:cNvPr>
          <p:cNvGrpSpPr/>
          <p:nvPr/>
        </p:nvGrpSpPr>
        <p:grpSpPr>
          <a:xfrm>
            <a:off x="1465067" y="1630809"/>
            <a:ext cx="896839" cy="2124706"/>
            <a:chOff x="1465067" y="1507521"/>
            <a:chExt cx="896839" cy="2124706"/>
          </a:xfrm>
        </p:grpSpPr>
        <p:cxnSp>
          <p:nvCxnSpPr>
            <p:cNvPr id="49" name="Straight Connector 27">
              <a:extLst>
                <a:ext uri="{FF2B5EF4-FFF2-40B4-BE49-F238E27FC236}">
                  <a16:creationId xmlns:a16="http://schemas.microsoft.com/office/drawing/2014/main" id="{B2510D67-18FC-42AC-BE41-21CEF70098F1}"/>
                </a:ext>
              </a:extLst>
            </p:cNvPr>
            <p:cNvCxnSpPr/>
            <p:nvPr/>
          </p:nvCxnSpPr>
          <p:spPr>
            <a:xfrm flipV="1">
              <a:off x="1921199" y="2759169"/>
              <a:ext cx="0" cy="873058"/>
            </a:xfrm>
            <a:prstGeom prst="line">
              <a:avLst/>
            </a:prstGeom>
            <a:ln w="28575"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" name="Group 31">
              <a:extLst>
                <a:ext uri="{FF2B5EF4-FFF2-40B4-BE49-F238E27FC236}">
                  <a16:creationId xmlns:a16="http://schemas.microsoft.com/office/drawing/2014/main" id="{2931CD66-7E73-4B20-B20D-72DD85AD263F}"/>
                </a:ext>
              </a:extLst>
            </p:cNvPr>
            <p:cNvGrpSpPr/>
            <p:nvPr/>
          </p:nvGrpSpPr>
          <p:grpSpPr>
            <a:xfrm>
              <a:off x="1465067" y="1507521"/>
              <a:ext cx="896839" cy="897188"/>
              <a:chOff x="2151757" y="1214995"/>
              <a:chExt cx="896839" cy="897188"/>
            </a:xfrm>
          </p:grpSpPr>
          <p:sp>
            <p:nvSpPr>
              <p:cNvPr id="51" name="Shape 117">
                <a:extLst>
                  <a:ext uri="{FF2B5EF4-FFF2-40B4-BE49-F238E27FC236}">
                    <a16:creationId xmlns:a16="http://schemas.microsoft.com/office/drawing/2014/main" id="{81EE3DE8-FD75-4B03-ACBA-F078E24291BE}"/>
                  </a:ext>
                </a:extLst>
              </p:cNvPr>
              <p:cNvSpPr/>
              <p:nvPr/>
            </p:nvSpPr>
            <p:spPr>
              <a:xfrm>
                <a:off x="2151757" y="1214995"/>
                <a:ext cx="896839" cy="89718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lIns="91425" tIns="0" rIns="91425" bIns="640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2800"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2" name="Shape 120">
                <a:extLst>
                  <a:ext uri="{FF2B5EF4-FFF2-40B4-BE49-F238E27FC236}">
                    <a16:creationId xmlns:a16="http://schemas.microsoft.com/office/drawing/2014/main" id="{03413720-9535-4500-AE45-D96ADC7E7263}"/>
                  </a:ext>
                </a:extLst>
              </p:cNvPr>
              <p:cNvSpPr/>
              <p:nvPr/>
            </p:nvSpPr>
            <p:spPr>
              <a:xfrm>
                <a:off x="2397437" y="1425992"/>
                <a:ext cx="425283" cy="451737"/>
              </a:xfrm>
              <a:custGeom>
                <a:avLst/>
                <a:gdLst>
                  <a:gd name="connsiteX0" fmla="*/ 348057 w 558222"/>
                  <a:gd name="connsiteY0" fmla="*/ 234645 h 592945"/>
                  <a:gd name="connsiteX1" fmla="*/ 301597 w 558222"/>
                  <a:gd name="connsiteY1" fmla="*/ 294424 h 592945"/>
                  <a:gd name="connsiteX2" fmla="*/ 348057 w 558222"/>
                  <a:gd name="connsiteY2" fmla="*/ 294424 h 592945"/>
                  <a:gd name="connsiteX3" fmla="*/ 350122 w 558222"/>
                  <a:gd name="connsiteY3" fmla="*/ 217123 h 592945"/>
                  <a:gd name="connsiteX4" fmla="*/ 353735 w 558222"/>
                  <a:gd name="connsiteY4" fmla="*/ 217123 h 592945"/>
                  <a:gd name="connsiteX5" fmla="*/ 364060 w 558222"/>
                  <a:gd name="connsiteY5" fmla="*/ 226915 h 592945"/>
                  <a:gd name="connsiteX6" fmla="*/ 364060 w 558222"/>
                  <a:gd name="connsiteY6" fmla="*/ 294424 h 592945"/>
                  <a:gd name="connsiteX7" fmla="*/ 376965 w 558222"/>
                  <a:gd name="connsiteY7" fmla="*/ 294424 h 592945"/>
                  <a:gd name="connsiteX8" fmla="*/ 384192 w 558222"/>
                  <a:gd name="connsiteY8" fmla="*/ 301638 h 592945"/>
                  <a:gd name="connsiteX9" fmla="*/ 376965 w 558222"/>
                  <a:gd name="connsiteY9" fmla="*/ 308338 h 592945"/>
                  <a:gd name="connsiteX10" fmla="*/ 364060 w 558222"/>
                  <a:gd name="connsiteY10" fmla="*/ 308338 h 592945"/>
                  <a:gd name="connsiteX11" fmla="*/ 364060 w 558222"/>
                  <a:gd name="connsiteY11" fmla="*/ 332043 h 592945"/>
                  <a:gd name="connsiteX12" fmla="*/ 355800 w 558222"/>
                  <a:gd name="connsiteY12" fmla="*/ 339773 h 592945"/>
                  <a:gd name="connsiteX13" fmla="*/ 348057 w 558222"/>
                  <a:gd name="connsiteY13" fmla="*/ 332043 h 592945"/>
                  <a:gd name="connsiteX14" fmla="*/ 348057 w 558222"/>
                  <a:gd name="connsiteY14" fmla="*/ 308338 h 592945"/>
                  <a:gd name="connsiteX15" fmla="*/ 294886 w 558222"/>
                  <a:gd name="connsiteY15" fmla="*/ 308338 h 592945"/>
                  <a:gd name="connsiteX16" fmla="*/ 285078 w 558222"/>
                  <a:gd name="connsiteY16" fmla="*/ 298546 h 592945"/>
                  <a:gd name="connsiteX17" fmla="*/ 285078 w 558222"/>
                  <a:gd name="connsiteY17" fmla="*/ 297000 h 592945"/>
                  <a:gd name="connsiteX18" fmla="*/ 287143 w 558222"/>
                  <a:gd name="connsiteY18" fmla="*/ 290816 h 592945"/>
                  <a:gd name="connsiteX19" fmla="*/ 341346 w 558222"/>
                  <a:gd name="connsiteY19" fmla="*/ 221246 h 592945"/>
                  <a:gd name="connsiteX20" fmla="*/ 350122 w 558222"/>
                  <a:gd name="connsiteY20" fmla="*/ 217123 h 592945"/>
                  <a:gd name="connsiteX21" fmla="*/ 227744 w 558222"/>
                  <a:gd name="connsiteY21" fmla="*/ 216046 h 592945"/>
                  <a:gd name="connsiteX22" fmla="*/ 267509 w 558222"/>
                  <a:gd name="connsiteY22" fmla="*/ 251108 h 592945"/>
                  <a:gd name="connsiteX23" fmla="*/ 198307 w 558222"/>
                  <a:gd name="connsiteY23" fmla="*/ 324324 h 592945"/>
                  <a:gd name="connsiteX24" fmla="*/ 259246 w 558222"/>
                  <a:gd name="connsiteY24" fmla="*/ 324324 h 592945"/>
                  <a:gd name="connsiteX25" fmla="*/ 266476 w 558222"/>
                  <a:gd name="connsiteY25" fmla="*/ 331542 h 592945"/>
                  <a:gd name="connsiteX26" fmla="*/ 259246 w 558222"/>
                  <a:gd name="connsiteY26" fmla="*/ 339276 h 592945"/>
                  <a:gd name="connsiteX27" fmla="*/ 191593 w 558222"/>
                  <a:gd name="connsiteY27" fmla="*/ 339276 h 592945"/>
                  <a:gd name="connsiteX28" fmla="*/ 182814 w 558222"/>
                  <a:gd name="connsiteY28" fmla="*/ 329995 h 592945"/>
                  <a:gd name="connsiteX29" fmla="*/ 252016 w 558222"/>
                  <a:gd name="connsiteY29" fmla="*/ 252654 h 592945"/>
                  <a:gd name="connsiteX30" fmla="*/ 224645 w 558222"/>
                  <a:gd name="connsiteY30" fmla="*/ 230999 h 592945"/>
                  <a:gd name="connsiteX31" fmla="*/ 195208 w 558222"/>
                  <a:gd name="connsiteY31" fmla="*/ 237186 h 592945"/>
                  <a:gd name="connsiteX32" fmla="*/ 191593 w 558222"/>
                  <a:gd name="connsiteY32" fmla="*/ 238217 h 592945"/>
                  <a:gd name="connsiteX33" fmla="*/ 184880 w 558222"/>
                  <a:gd name="connsiteY33" fmla="*/ 231514 h 592945"/>
                  <a:gd name="connsiteX34" fmla="*/ 189011 w 558222"/>
                  <a:gd name="connsiteY34" fmla="*/ 224812 h 592945"/>
                  <a:gd name="connsiteX35" fmla="*/ 227744 w 558222"/>
                  <a:gd name="connsiteY35" fmla="*/ 216046 h 592945"/>
                  <a:gd name="connsiteX36" fmla="*/ 275238 w 558222"/>
                  <a:gd name="connsiteY36" fmla="*/ 104667 h 592945"/>
                  <a:gd name="connsiteX37" fmla="*/ 451318 w 558222"/>
                  <a:gd name="connsiteY37" fmla="*/ 280493 h 592945"/>
                  <a:gd name="connsiteX38" fmla="*/ 438925 w 558222"/>
                  <a:gd name="connsiteY38" fmla="*/ 292868 h 592945"/>
                  <a:gd name="connsiteX39" fmla="*/ 426533 w 558222"/>
                  <a:gd name="connsiteY39" fmla="*/ 280493 h 592945"/>
                  <a:gd name="connsiteX40" fmla="*/ 275238 w 558222"/>
                  <a:gd name="connsiteY40" fmla="*/ 129417 h 592945"/>
                  <a:gd name="connsiteX41" fmla="*/ 175579 w 558222"/>
                  <a:gd name="connsiteY41" fmla="*/ 166542 h 592945"/>
                  <a:gd name="connsiteX42" fmla="*/ 158023 w 558222"/>
                  <a:gd name="connsiteY42" fmla="*/ 165510 h 592945"/>
                  <a:gd name="connsiteX43" fmla="*/ 159572 w 558222"/>
                  <a:gd name="connsiteY43" fmla="*/ 147979 h 592945"/>
                  <a:gd name="connsiteX44" fmla="*/ 275238 w 558222"/>
                  <a:gd name="connsiteY44" fmla="*/ 104667 h 592945"/>
                  <a:gd name="connsiteX45" fmla="*/ 126775 w 558222"/>
                  <a:gd name="connsiteY45" fmla="*/ 52955 h 592945"/>
                  <a:gd name="connsiteX46" fmla="*/ 143558 w 558222"/>
                  <a:gd name="connsiteY46" fmla="*/ 62367 h 592945"/>
                  <a:gd name="connsiteX47" fmla="*/ 138910 w 558222"/>
                  <a:gd name="connsiteY47" fmla="*/ 97438 h 592945"/>
                  <a:gd name="connsiteX48" fmla="*/ 49574 w 558222"/>
                  <a:gd name="connsiteY48" fmla="*/ 278463 h 592945"/>
                  <a:gd name="connsiteX49" fmla="*/ 64549 w 558222"/>
                  <a:gd name="connsiteY49" fmla="*/ 359950 h 592945"/>
                  <a:gd name="connsiteX50" fmla="*/ 50090 w 558222"/>
                  <a:gd name="connsiteY50" fmla="*/ 391926 h 592945"/>
                  <a:gd name="connsiteX51" fmla="*/ 41312 w 558222"/>
                  <a:gd name="connsiteY51" fmla="*/ 393473 h 592945"/>
                  <a:gd name="connsiteX52" fmla="*/ 18074 w 558222"/>
                  <a:gd name="connsiteY52" fmla="*/ 377485 h 592945"/>
                  <a:gd name="connsiteX53" fmla="*/ 0 w 558222"/>
                  <a:gd name="connsiteY53" fmla="*/ 278463 h 592945"/>
                  <a:gd name="connsiteX54" fmla="*/ 108443 w 558222"/>
                  <a:gd name="connsiteY54" fmla="*/ 58241 h 592945"/>
                  <a:gd name="connsiteX55" fmla="*/ 126775 w 558222"/>
                  <a:gd name="connsiteY55" fmla="*/ 52955 h 592945"/>
                  <a:gd name="connsiteX56" fmla="*/ 278832 w 558222"/>
                  <a:gd name="connsiteY56" fmla="*/ 0 h 592945"/>
                  <a:gd name="connsiteX57" fmla="*/ 558222 w 558222"/>
                  <a:gd name="connsiteY57" fmla="*/ 278427 h 592945"/>
                  <a:gd name="connsiteX58" fmla="*/ 278832 w 558222"/>
                  <a:gd name="connsiteY58" fmla="*/ 557369 h 592945"/>
                  <a:gd name="connsiteX59" fmla="*/ 185875 w 558222"/>
                  <a:gd name="connsiteY59" fmla="*/ 541385 h 592945"/>
                  <a:gd name="connsiteX60" fmla="*/ 194138 w 558222"/>
                  <a:gd name="connsiteY60" fmla="*/ 556853 h 592945"/>
                  <a:gd name="connsiteX61" fmla="*/ 183809 w 558222"/>
                  <a:gd name="connsiteY61" fmla="*/ 590367 h 592945"/>
                  <a:gd name="connsiteX62" fmla="*/ 171931 w 558222"/>
                  <a:gd name="connsiteY62" fmla="*/ 592945 h 592945"/>
                  <a:gd name="connsiteX63" fmla="*/ 150241 w 558222"/>
                  <a:gd name="connsiteY63" fmla="*/ 580055 h 592945"/>
                  <a:gd name="connsiteX64" fmla="*/ 104278 w 558222"/>
                  <a:gd name="connsiteY64" fmla="*/ 493434 h 592945"/>
                  <a:gd name="connsiteX65" fmla="*/ 101696 w 558222"/>
                  <a:gd name="connsiteY65" fmla="*/ 482606 h 592945"/>
                  <a:gd name="connsiteX66" fmla="*/ 100663 w 558222"/>
                  <a:gd name="connsiteY66" fmla="*/ 478997 h 592945"/>
                  <a:gd name="connsiteX67" fmla="*/ 122353 w 558222"/>
                  <a:gd name="connsiteY67" fmla="*/ 451154 h 592945"/>
                  <a:gd name="connsiteX68" fmla="*/ 217893 w 558222"/>
                  <a:gd name="connsiteY68" fmla="*/ 438264 h 592945"/>
                  <a:gd name="connsiteX69" fmla="*/ 245781 w 558222"/>
                  <a:gd name="connsiteY69" fmla="*/ 459404 h 592945"/>
                  <a:gd name="connsiteX70" fmla="*/ 224091 w 558222"/>
                  <a:gd name="connsiteY70" fmla="*/ 487246 h 592945"/>
                  <a:gd name="connsiteX71" fmla="*/ 194138 w 558222"/>
                  <a:gd name="connsiteY71" fmla="*/ 491371 h 592945"/>
                  <a:gd name="connsiteX72" fmla="*/ 278832 w 558222"/>
                  <a:gd name="connsiteY72" fmla="*/ 507871 h 592945"/>
                  <a:gd name="connsiteX73" fmla="*/ 508128 w 558222"/>
                  <a:gd name="connsiteY73" fmla="*/ 278427 h 592945"/>
                  <a:gd name="connsiteX74" fmla="*/ 278832 w 558222"/>
                  <a:gd name="connsiteY74" fmla="*/ 49498 h 592945"/>
                  <a:gd name="connsiteX75" fmla="*/ 207048 w 558222"/>
                  <a:gd name="connsiteY75" fmla="*/ 61357 h 592945"/>
                  <a:gd name="connsiteX76" fmla="*/ 175546 w 558222"/>
                  <a:gd name="connsiteY76" fmla="*/ 45373 h 592945"/>
                  <a:gd name="connsiteX77" fmla="*/ 191039 w 558222"/>
                  <a:gd name="connsiteY77" fmla="*/ 13921 h 592945"/>
                  <a:gd name="connsiteX78" fmla="*/ 278832 w 558222"/>
                  <a:gd name="connsiteY78" fmla="*/ 0 h 592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58222" h="592945">
                    <a:moveTo>
                      <a:pt x="348057" y="234645"/>
                    </a:moveTo>
                    <a:lnTo>
                      <a:pt x="301597" y="294424"/>
                    </a:lnTo>
                    <a:lnTo>
                      <a:pt x="348057" y="294424"/>
                    </a:lnTo>
                    <a:close/>
                    <a:moveTo>
                      <a:pt x="350122" y="217123"/>
                    </a:moveTo>
                    <a:lnTo>
                      <a:pt x="353735" y="217123"/>
                    </a:lnTo>
                    <a:cubicBezTo>
                      <a:pt x="359930" y="217123"/>
                      <a:pt x="364060" y="221246"/>
                      <a:pt x="364060" y="226915"/>
                    </a:cubicBezTo>
                    <a:lnTo>
                      <a:pt x="364060" y="294424"/>
                    </a:lnTo>
                    <a:lnTo>
                      <a:pt x="376965" y="294424"/>
                    </a:lnTo>
                    <a:cubicBezTo>
                      <a:pt x="381095" y="294424"/>
                      <a:pt x="384192" y="297516"/>
                      <a:pt x="384192" y="301638"/>
                    </a:cubicBezTo>
                    <a:cubicBezTo>
                      <a:pt x="384192" y="305246"/>
                      <a:pt x="381095" y="308338"/>
                      <a:pt x="376965" y="308338"/>
                    </a:cubicBezTo>
                    <a:lnTo>
                      <a:pt x="364060" y="308338"/>
                    </a:lnTo>
                    <a:lnTo>
                      <a:pt x="364060" y="332043"/>
                    </a:lnTo>
                    <a:cubicBezTo>
                      <a:pt x="364060" y="336166"/>
                      <a:pt x="360446" y="339773"/>
                      <a:pt x="355800" y="339773"/>
                    </a:cubicBezTo>
                    <a:cubicBezTo>
                      <a:pt x="351670" y="339773"/>
                      <a:pt x="348057" y="336166"/>
                      <a:pt x="348057" y="332043"/>
                    </a:cubicBezTo>
                    <a:lnTo>
                      <a:pt x="348057" y="308338"/>
                    </a:lnTo>
                    <a:lnTo>
                      <a:pt x="294886" y="308338"/>
                    </a:lnTo>
                    <a:cubicBezTo>
                      <a:pt x="289208" y="308338"/>
                      <a:pt x="285078" y="304215"/>
                      <a:pt x="285078" y="298546"/>
                    </a:cubicBezTo>
                    <a:lnTo>
                      <a:pt x="285078" y="297000"/>
                    </a:lnTo>
                    <a:cubicBezTo>
                      <a:pt x="285078" y="294939"/>
                      <a:pt x="285594" y="292362"/>
                      <a:pt x="287143" y="290816"/>
                    </a:cubicBezTo>
                    <a:lnTo>
                      <a:pt x="341346" y="221246"/>
                    </a:lnTo>
                    <a:cubicBezTo>
                      <a:pt x="343411" y="218669"/>
                      <a:pt x="347024" y="217123"/>
                      <a:pt x="350122" y="217123"/>
                    </a:cubicBezTo>
                    <a:close/>
                    <a:moveTo>
                      <a:pt x="227744" y="216046"/>
                    </a:moveTo>
                    <a:cubicBezTo>
                      <a:pt x="249950" y="216046"/>
                      <a:pt x="267509" y="229968"/>
                      <a:pt x="267509" y="251108"/>
                    </a:cubicBezTo>
                    <a:cubicBezTo>
                      <a:pt x="267509" y="287200"/>
                      <a:pt x="207603" y="303699"/>
                      <a:pt x="198307" y="324324"/>
                    </a:cubicBezTo>
                    <a:lnTo>
                      <a:pt x="259246" y="324324"/>
                    </a:lnTo>
                    <a:cubicBezTo>
                      <a:pt x="263378" y="324324"/>
                      <a:pt x="266476" y="327417"/>
                      <a:pt x="266476" y="331542"/>
                    </a:cubicBezTo>
                    <a:cubicBezTo>
                      <a:pt x="266476" y="335667"/>
                      <a:pt x="263378" y="339276"/>
                      <a:pt x="259246" y="339276"/>
                    </a:cubicBezTo>
                    <a:lnTo>
                      <a:pt x="191593" y="339276"/>
                    </a:lnTo>
                    <a:cubicBezTo>
                      <a:pt x="186429" y="339276"/>
                      <a:pt x="182814" y="335151"/>
                      <a:pt x="182814" y="329995"/>
                    </a:cubicBezTo>
                    <a:cubicBezTo>
                      <a:pt x="182814" y="293387"/>
                      <a:pt x="252016" y="281013"/>
                      <a:pt x="252016" y="252654"/>
                    </a:cubicBezTo>
                    <a:cubicBezTo>
                      <a:pt x="252016" y="240280"/>
                      <a:pt x="244786" y="230999"/>
                      <a:pt x="224645" y="230999"/>
                    </a:cubicBezTo>
                    <a:cubicBezTo>
                      <a:pt x="212767" y="230999"/>
                      <a:pt x="202955" y="233577"/>
                      <a:pt x="195208" y="237186"/>
                    </a:cubicBezTo>
                    <a:cubicBezTo>
                      <a:pt x="194692" y="237186"/>
                      <a:pt x="193143" y="238217"/>
                      <a:pt x="191593" y="238217"/>
                    </a:cubicBezTo>
                    <a:cubicBezTo>
                      <a:pt x="187978" y="238217"/>
                      <a:pt x="184880" y="235124"/>
                      <a:pt x="184880" y="231514"/>
                    </a:cubicBezTo>
                    <a:cubicBezTo>
                      <a:pt x="184880" y="228421"/>
                      <a:pt x="186429" y="226358"/>
                      <a:pt x="189011" y="224812"/>
                    </a:cubicBezTo>
                    <a:cubicBezTo>
                      <a:pt x="198823" y="220171"/>
                      <a:pt x="211734" y="216046"/>
                      <a:pt x="227744" y="216046"/>
                    </a:cubicBezTo>
                    <a:close/>
                    <a:moveTo>
                      <a:pt x="275238" y="104667"/>
                    </a:moveTo>
                    <a:cubicBezTo>
                      <a:pt x="372314" y="104667"/>
                      <a:pt x="451318" y="183557"/>
                      <a:pt x="451318" y="280493"/>
                    </a:cubicBezTo>
                    <a:cubicBezTo>
                      <a:pt x="451318" y="287196"/>
                      <a:pt x="445638" y="292868"/>
                      <a:pt x="438925" y="292868"/>
                    </a:cubicBezTo>
                    <a:cubicBezTo>
                      <a:pt x="431696" y="292868"/>
                      <a:pt x="426533" y="287196"/>
                      <a:pt x="426533" y="280493"/>
                    </a:cubicBezTo>
                    <a:cubicBezTo>
                      <a:pt x="426533" y="197479"/>
                      <a:pt x="358372" y="129417"/>
                      <a:pt x="275238" y="129417"/>
                    </a:cubicBezTo>
                    <a:cubicBezTo>
                      <a:pt x="238576" y="129417"/>
                      <a:pt x="203463" y="142823"/>
                      <a:pt x="175579" y="166542"/>
                    </a:cubicBezTo>
                    <a:cubicBezTo>
                      <a:pt x="170416" y="171182"/>
                      <a:pt x="162670" y="170667"/>
                      <a:pt x="158023" y="165510"/>
                    </a:cubicBezTo>
                    <a:cubicBezTo>
                      <a:pt x="153892" y="160354"/>
                      <a:pt x="154408" y="152620"/>
                      <a:pt x="159572" y="147979"/>
                    </a:cubicBezTo>
                    <a:cubicBezTo>
                      <a:pt x="191587" y="120136"/>
                      <a:pt x="232379" y="104667"/>
                      <a:pt x="275238" y="104667"/>
                    </a:cubicBezTo>
                    <a:close/>
                    <a:moveTo>
                      <a:pt x="126775" y="52955"/>
                    </a:moveTo>
                    <a:cubicBezTo>
                      <a:pt x="133101" y="53729"/>
                      <a:pt x="139168" y="56952"/>
                      <a:pt x="143558" y="62367"/>
                    </a:cubicBezTo>
                    <a:cubicBezTo>
                      <a:pt x="151820" y="73198"/>
                      <a:pt x="149754" y="88670"/>
                      <a:pt x="138910" y="97438"/>
                    </a:cubicBezTo>
                    <a:cubicBezTo>
                      <a:pt x="82107" y="141276"/>
                      <a:pt x="49574" y="207291"/>
                      <a:pt x="49574" y="278463"/>
                    </a:cubicBezTo>
                    <a:cubicBezTo>
                      <a:pt x="49574" y="306829"/>
                      <a:pt x="54738" y="334163"/>
                      <a:pt x="64549" y="359950"/>
                    </a:cubicBezTo>
                    <a:cubicBezTo>
                      <a:pt x="69197" y="372844"/>
                      <a:pt x="63000" y="387284"/>
                      <a:pt x="50090" y="391926"/>
                    </a:cubicBezTo>
                    <a:cubicBezTo>
                      <a:pt x="46992" y="392957"/>
                      <a:pt x="44410" y="393473"/>
                      <a:pt x="41312" y="393473"/>
                    </a:cubicBezTo>
                    <a:cubicBezTo>
                      <a:pt x="31500" y="393473"/>
                      <a:pt x="21689" y="387800"/>
                      <a:pt x="18074" y="377485"/>
                    </a:cubicBezTo>
                    <a:cubicBezTo>
                      <a:pt x="6197" y="346025"/>
                      <a:pt x="0" y="313018"/>
                      <a:pt x="0" y="278463"/>
                    </a:cubicBezTo>
                    <a:cubicBezTo>
                      <a:pt x="0" y="191819"/>
                      <a:pt x="39246" y="111363"/>
                      <a:pt x="108443" y="58241"/>
                    </a:cubicBezTo>
                    <a:cubicBezTo>
                      <a:pt x="113865" y="53858"/>
                      <a:pt x="120449" y="52181"/>
                      <a:pt x="126775" y="52955"/>
                    </a:cubicBezTo>
                    <a:close/>
                    <a:moveTo>
                      <a:pt x="278832" y="0"/>
                    </a:moveTo>
                    <a:cubicBezTo>
                      <a:pt x="432729" y="0"/>
                      <a:pt x="558222" y="124776"/>
                      <a:pt x="558222" y="278427"/>
                    </a:cubicBezTo>
                    <a:cubicBezTo>
                      <a:pt x="558222" y="432077"/>
                      <a:pt x="432729" y="557369"/>
                      <a:pt x="278832" y="557369"/>
                    </a:cubicBezTo>
                    <a:cubicBezTo>
                      <a:pt x="246814" y="557369"/>
                      <a:pt x="215311" y="551697"/>
                      <a:pt x="185875" y="541385"/>
                    </a:cubicBezTo>
                    <a:lnTo>
                      <a:pt x="194138" y="556853"/>
                    </a:lnTo>
                    <a:cubicBezTo>
                      <a:pt x="200335" y="568712"/>
                      <a:pt x="195687" y="584180"/>
                      <a:pt x="183809" y="590367"/>
                    </a:cubicBezTo>
                    <a:cubicBezTo>
                      <a:pt x="179677" y="592430"/>
                      <a:pt x="176062" y="592945"/>
                      <a:pt x="171931" y="592945"/>
                    </a:cubicBezTo>
                    <a:cubicBezTo>
                      <a:pt x="163152" y="592945"/>
                      <a:pt x="154372" y="588305"/>
                      <a:pt x="150241" y="580055"/>
                    </a:cubicBezTo>
                    <a:lnTo>
                      <a:pt x="104278" y="493434"/>
                    </a:lnTo>
                    <a:cubicBezTo>
                      <a:pt x="102729" y="489824"/>
                      <a:pt x="101696" y="486215"/>
                      <a:pt x="101696" y="482606"/>
                    </a:cubicBezTo>
                    <a:cubicBezTo>
                      <a:pt x="101180" y="481059"/>
                      <a:pt x="101180" y="480028"/>
                      <a:pt x="100663" y="478997"/>
                    </a:cubicBezTo>
                    <a:cubicBezTo>
                      <a:pt x="99114" y="465075"/>
                      <a:pt x="108410" y="452701"/>
                      <a:pt x="122353" y="451154"/>
                    </a:cubicBezTo>
                    <a:lnTo>
                      <a:pt x="217893" y="438264"/>
                    </a:lnTo>
                    <a:cubicBezTo>
                      <a:pt x="231321" y="436717"/>
                      <a:pt x="243715" y="445998"/>
                      <a:pt x="245781" y="459404"/>
                    </a:cubicBezTo>
                    <a:cubicBezTo>
                      <a:pt x="247330" y="473325"/>
                      <a:pt x="238034" y="485700"/>
                      <a:pt x="224091" y="487246"/>
                    </a:cubicBezTo>
                    <a:lnTo>
                      <a:pt x="194138" y="491371"/>
                    </a:lnTo>
                    <a:cubicBezTo>
                      <a:pt x="220992" y="502199"/>
                      <a:pt x="249396" y="507871"/>
                      <a:pt x="278832" y="507871"/>
                    </a:cubicBezTo>
                    <a:cubicBezTo>
                      <a:pt x="405358" y="507871"/>
                      <a:pt x="508128" y="404750"/>
                      <a:pt x="508128" y="278427"/>
                    </a:cubicBezTo>
                    <a:cubicBezTo>
                      <a:pt x="508128" y="152104"/>
                      <a:pt x="405358" y="49498"/>
                      <a:pt x="278832" y="49498"/>
                    </a:cubicBezTo>
                    <a:cubicBezTo>
                      <a:pt x="254044" y="49498"/>
                      <a:pt x="229771" y="53623"/>
                      <a:pt x="207048" y="61357"/>
                    </a:cubicBezTo>
                    <a:cubicBezTo>
                      <a:pt x="193621" y="65482"/>
                      <a:pt x="179677" y="58263"/>
                      <a:pt x="175546" y="45373"/>
                    </a:cubicBezTo>
                    <a:cubicBezTo>
                      <a:pt x="170898" y="32483"/>
                      <a:pt x="178128" y="18562"/>
                      <a:pt x="191039" y="13921"/>
                    </a:cubicBezTo>
                    <a:cubicBezTo>
                      <a:pt x="219443" y="4640"/>
                      <a:pt x="248879" y="0"/>
                      <a:pt x="278832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3600">
                  <a:solidFill>
                    <a:schemeClr val="dk1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53" name="组合 52">
            <a:extLst>
              <a:ext uri="{FF2B5EF4-FFF2-40B4-BE49-F238E27FC236}">
                <a16:creationId xmlns:a16="http://schemas.microsoft.com/office/drawing/2014/main" id="{48A53642-4788-4651-907F-C33CD6504677}"/>
              </a:ext>
            </a:extLst>
          </p:cNvPr>
          <p:cNvGrpSpPr/>
          <p:nvPr/>
        </p:nvGrpSpPr>
        <p:grpSpPr>
          <a:xfrm>
            <a:off x="3581831" y="4496141"/>
            <a:ext cx="896839" cy="1962964"/>
            <a:chOff x="3581831" y="4372853"/>
            <a:chExt cx="896839" cy="1962964"/>
          </a:xfrm>
        </p:grpSpPr>
        <p:cxnSp>
          <p:nvCxnSpPr>
            <p:cNvPr id="54" name="Straight Connector 30">
              <a:extLst>
                <a:ext uri="{FF2B5EF4-FFF2-40B4-BE49-F238E27FC236}">
                  <a16:creationId xmlns:a16="http://schemas.microsoft.com/office/drawing/2014/main" id="{A301B50F-69AD-441A-978E-B54D950C0CC5}"/>
                </a:ext>
              </a:extLst>
            </p:cNvPr>
            <p:cNvCxnSpPr/>
            <p:nvPr/>
          </p:nvCxnSpPr>
          <p:spPr>
            <a:xfrm flipH="1">
              <a:off x="4033188" y="4372853"/>
              <a:ext cx="1" cy="847410"/>
            </a:xfrm>
            <a:prstGeom prst="line">
              <a:avLst/>
            </a:prstGeom>
            <a:ln w="28575">
              <a:solidFill>
                <a:schemeClr val="accent2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oup 34">
              <a:extLst>
                <a:ext uri="{FF2B5EF4-FFF2-40B4-BE49-F238E27FC236}">
                  <a16:creationId xmlns:a16="http://schemas.microsoft.com/office/drawing/2014/main" id="{6364EDE0-77CF-4243-9722-187CB306EE73}"/>
                </a:ext>
              </a:extLst>
            </p:cNvPr>
            <p:cNvGrpSpPr/>
            <p:nvPr/>
          </p:nvGrpSpPr>
          <p:grpSpPr>
            <a:xfrm>
              <a:off x="3581831" y="5438629"/>
              <a:ext cx="896839" cy="897188"/>
              <a:chOff x="2151757" y="1214995"/>
              <a:chExt cx="896839" cy="897188"/>
            </a:xfrm>
          </p:grpSpPr>
          <p:sp>
            <p:nvSpPr>
              <p:cNvPr id="56" name="Shape 117">
                <a:extLst>
                  <a:ext uri="{FF2B5EF4-FFF2-40B4-BE49-F238E27FC236}">
                    <a16:creationId xmlns:a16="http://schemas.microsoft.com/office/drawing/2014/main" id="{9A8E07D7-B205-451D-B245-9EB4821258F7}"/>
                  </a:ext>
                </a:extLst>
              </p:cNvPr>
              <p:cNvSpPr/>
              <p:nvPr/>
            </p:nvSpPr>
            <p:spPr>
              <a:xfrm>
                <a:off x="2151757" y="1214995"/>
                <a:ext cx="896839" cy="89718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lIns="91425" tIns="0" rIns="91425" bIns="640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2800"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7" name="Shape 120">
                <a:extLst>
                  <a:ext uri="{FF2B5EF4-FFF2-40B4-BE49-F238E27FC236}">
                    <a16:creationId xmlns:a16="http://schemas.microsoft.com/office/drawing/2014/main" id="{904496E9-FC32-406E-8F93-999FAFC4215B}"/>
                  </a:ext>
                </a:extLst>
              </p:cNvPr>
              <p:cNvSpPr/>
              <p:nvPr/>
            </p:nvSpPr>
            <p:spPr>
              <a:xfrm>
                <a:off x="2384211" y="1426317"/>
                <a:ext cx="451737" cy="451087"/>
              </a:xfrm>
              <a:custGeom>
                <a:avLst/>
                <a:gdLst>
                  <a:gd name="connsiteX0" fmla="*/ 254070 w 607524"/>
                  <a:gd name="connsiteY0" fmla="*/ 48695 h 606651"/>
                  <a:gd name="connsiteX1" fmla="*/ 272191 w 607524"/>
                  <a:gd name="connsiteY1" fmla="*/ 54818 h 606651"/>
                  <a:gd name="connsiteX2" fmla="*/ 279971 w 607524"/>
                  <a:gd name="connsiteY2" fmla="*/ 72274 h 606651"/>
                  <a:gd name="connsiteX3" fmla="*/ 279971 w 607524"/>
                  <a:gd name="connsiteY3" fmla="*/ 303408 h 606651"/>
                  <a:gd name="connsiteX4" fmla="*/ 303675 w 607524"/>
                  <a:gd name="connsiteY4" fmla="*/ 327079 h 606651"/>
                  <a:gd name="connsiteX5" fmla="*/ 535139 w 607524"/>
                  <a:gd name="connsiteY5" fmla="*/ 327079 h 606651"/>
                  <a:gd name="connsiteX6" fmla="*/ 552620 w 607524"/>
                  <a:gd name="connsiteY6" fmla="*/ 334847 h 606651"/>
                  <a:gd name="connsiteX7" fmla="*/ 558752 w 607524"/>
                  <a:gd name="connsiteY7" fmla="*/ 352943 h 606651"/>
                  <a:gd name="connsiteX8" fmla="*/ 279971 w 607524"/>
                  <a:gd name="connsiteY8" fmla="*/ 606651 h 606651"/>
                  <a:gd name="connsiteX9" fmla="*/ 0 w 607524"/>
                  <a:gd name="connsiteY9" fmla="*/ 327079 h 606651"/>
                  <a:gd name="connsiteX10" fmla="*/ 254070 w 607524"/>
                  <a:gd name="connsiteY10" fmla="*/ 48695 h 606651"/>
                  <a:gd name="connsiteX11" fmla="*/ 369782 w 607524"/>
                  <a:gd name="connsiteY11" fmla="*/ 43408 h 606651"/>
                  <a:gd name="connsiteX12" fmla="*/ 369782 w 607524"/>
                  <a:gd name="connsiteY12" fmla="*/ 237419 h 606651"/>
                  <a:gd name="connsiteX13" fmla="*/ 564065 w 607524"/>
                  <a:gd name="connsiteY13" fmla="*/ 237419 h 606651"/>
                  <a:gd name="connsiteX14" fmla="*/ 369782 w 607524"/>
                  <a:gd name="connsiteY14" fmla="*/ 43408 h 606651"/>
                  <a:gd name="connsiteX15" fmla="*/ 352395 w 607524"/>
                  <a:gd name="connsiteY15" fmla="*/ 0 h 606651"/>
                  <a:gd name="connsiteX16" fmla="*/ 354591 w 607524"/>
                  <a:gd name="connsiteY16" fmla="*/ 91 h 606651"/>
                  <a:gd name="connsiteX17" fmla="*/ 607442 w 607524"/>
                  <a:gd name="connsiteY17" fmla="*/ 252589 h 606651"/>
                  <a:gd name="connsiteX18" fmla="*/ 601311 w 607524"/>
                  <a:gd name="connsiteY18" fmla="*/ 270683 h 606651"/>
                  <a:gd name="connsiteX19" fmla="*/ 583832 w 607524"/>
                  <a:gd name="connsiteY19" fmla="*/ 278451 h 606651"/>
                  <a:gd name="connsiteX20" fmla="*/ 352395 w 607524"/>
                  <a:gd name="connsiteY20" fmla="*/ 278451 h 606651"/>
                  <a:gd name="connsiteX21" fmla="*/ 328693 w 607524"/>
                  <a:gd name="connsiteY21" fmla="*/ 254782 h 606651"/>
                  <a:gd name="connsiteX22" fmla="*/ 328693 w 607524"/>
                  <a:gd name="connsiteY22" fmla="*/ 23669 h 606651"/>
                  <a:gd name="connsiteX23" fmla="*/ 336380 w 607524"/>
                  <a:gd name="connsiteY23" fmla="*/ 6214 h 606651"/>
                  <a:gd name="connsiteX24" fmla="*/ 352395 w 607524"/>
                  <a:gd name="connsiteY24" fmla="*/ 0 h 606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07524" h="606651">
                    <a:moveTo>
                      <a:pt x="254070" y="48695"/>
                    </a:moveTo>
                    <a:cubicBezTo>
                      <a:pt x="260659" y="48055"/>
                      <a:pt x="267249" y="50248"/>
                      <a:pt x="272191" y="54818"/>
                    </a:cubicBezTo>
                    <a:cubicBezTo>
                      <a:pt x="277134" y="59296"/>
                      <a:pt x="279971" y="65603"/>
                      <a:pt x="279971" y="72274"/>
                    </a:cubicBezTo>
                    <a:lnTo>
                      <a:pt x="279971" y="303408"/>
                    </a:lnTo>
                    <a:cubicBezTo>
                      <a:pt x="279971" y="316477"/>
                      <a:pt x="290588" y="327079"/>
                      <a:pt x="303675" y="327079"/>
                    </a:cubicBezTo>
                    <a:lnTo>
                      <a:pt x="535139" y="327079"/>
                    </a:lnTo>
                    <a:cubicBezTo>
                      <a:pt x="541820" y="327079"/>
                      <a:pt x="548135" y="329912"/>
                      <a:pt x="552620" y="334847"/>
                    </a:cubicBezTo>
                    <a:cubicBezTo>
                      <a:pt x="557104" y="339783"/>
                      <a:pt x="559301" y="346363"/>
                      <a:pt x="558752" y="352943"/>
                    </a:cubicBezTo>
                    <a:cubicBezTo>
                      <a:pt x="545664" y="495243"/>
                      <a:pt x="425860" y="606651"/>
                      <a:pt x="279971" y="606651"/>
                    </a:cubicBezTo>
                    <a:cubicBezTo>
                      <a:pt x="125387" y="606651"/>
                      <a:pt x="0" y="481442"/>
                      <a:pt x="0" y="327079"/>
                    </a:cubicBezTo>
                    <a:cubicBezTo>
                      <a:pt x="0" y="181398"/>
                      <a:pt x="111567" y="61764"/>
                      <a:pt x="254070" y="48695"/>
                    </a:cubicBezTo>
                    <a:close/>
                    <a:moveTo>
                      <a:pt x="369782" y="43408"/>
                    </a:moveTo>
                    <a:lnTo>
                      <a:pt x="369782" y="237419"/>
                    </a:lnTo>
                    <a:lnTo>
                      <a:pt x="564065" y="237419"/>
                    </a:lnTo>
                    <a:cubicBezTo>
                      <a:pt x="546860" y="138357"/>
                      <a:pt x="468891" y="60497"/>
                      <a:pt x="369782" y="43408"/>
                    </a:cubicBezTo>
                    <a:close/>
                    <a:moveTo>
                      <a:pt x="352395" y="0"/>
                    </a:moveTo>
                    <a:cubicBezTo>
                      <a:pt x="353127" y="0"/>
                      <a:pt x="353859" y="0"/>
                      <a:pt x="354591" y="91"/>
                    </a:cubicBezTo>
                    <a:cubicBezTo>
                      <a:pt x="488475" y="12337"/>
                      <a:pt x="595088" y="118892"/>
                      <a:pt x="607442" y="252589"/>
                    </a:cubicBezTo>
                    <a:cubicBezTo>
                      <a:pt x="607991" y="259169"/>
                      <a:pt x="605795" y="265840"/>
                      <a:pt x="601311" y="270683"/>
                    </a:cubicBezTo>
                    <a:cubicBezTo>
                      <a:pt x="596826" y="275618"/>
                      <a:pt x="590512" y="278451"/>
                      <a:pt x="583832" y="278451"/>
                    </a:cubicBezTo>
                    <a:lnTo>
                      <a:pt x="352395" y="278451"/>
                    </a:lnTo>
                    <a:cubicBezTo>
                      <a:pt x="339309" y="278451"/>
                      <a:pt x="328693" y="267850"/>
                      <a:pt x="328693" y="254782"/>
                    </a:cubicBezTo>
                    <a:lnTo>
                      <a:pt x="328693" y="23669"/>
                    </a:lnTo>
                    <a:cubicBezTo>
                      <a:pt x="328693" y="16998"/>
                      <a:pt x="331530" y="10692"/>
                      <a:pt x="336380" y="6214"/>
                    </a:cubicBezTo>
                    <a:cubicBezTo>
                      <a:pt x="340864" y="2193"/>
                      <a:pt x="346538" y="0"/>
                      <a:pt x="352395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3600">
                  <a:solidFill>
                    <a:schemeClr val="dk1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F5F97EB0-78BE-4CFC-A0D4-6C553114823E}"/>
              </a:ext>
            </a:extLst>
          </p:cNvPr>
          <p:cNvGrpSpPr/>
          <p:nvPr/>
        </p:nvGrpSpPr>
        <p:grpSpPr>
          <a:xfrm>
            <a:off x="5647579" y="1630809"/>
            <a:ext cx="896839" cy="2124706"/>
            <a:chOff x="5647579" y="1507521"/>
            <a:chExt cx="896839" cy="2124706"/>
          </a:xfrm>
        </p:grpSpPr>
        <p:cxnSp>
          <p:nvCxnSpPr>
            <p:cNvPr id="59" name="Straight Connector 11">
              <a:extLst>
                <a:ext uri="{FF2B5EF4-FFF2-40B4-BE49-F238E27FC236}">
                  <a16:creationId xmlns:a16="http://schemas.microsoft.com/office/drawing/2014/main" id="{2C61863C-598A-45EE-B415-36F1BEA60AA9}"/>
                </a:ext>
              </a:extLst>
            </p:cNvPr>
            <p:cNvCxnSpPr/>
            <p:nvPr/>
          </p:nvCxnSpPr>
          <p:spPr>
            <a:xfrm flipV="1">
              <a:off x="6108752" y="2759169"/>
              <a:ext cx="0" cy="873058"/>
            </a:xfrm>
            <a:prstGeom prst="line">
              <a:avLst/>
            </a:prstGeom>
            <a:ln w="28575">
              <a:solidFill>
                <a:schemeClr val="accent3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0" name="Group 37">
              <a:extLst>
                <a:ext uri="{FF2B5EF4-FFF2-40B4-BE49-F238E27FC236}">
                  <a16:creationId xmlns:a16="http://schemas.microsoft.com/office/drawing/2014/main" id="{542D8F15-856B-4926-9EE9-E553B043486F}"/>
                </a:ext>
              </a:extLst>
            </p:cNvPr>
            <p:cNvGrpSpPr/>
            <p:nvPr/>
          </p:nvGrpSpPr>
          <p:grpSpPr>
            <a:xfrm>
              <a:off x="5647579" y="1507521"/>
              <a:ext cx="896839" cy="897188"/>
              <a:chOff x="2151757" y="1214995"/>
              <a:chExt cx="896839" cy="897188"/>
            </a:xfrm>
          </p:grpSpPr>
          <p:sp>
            <p:nvSpPr>
              <p:cNvPr id="61" name="Shape 117">
                <a:extLst>
                  <a:ext uri="{FF2B5EF4-FFF2-40B4-BE49-F238E27FC236}">
                    <a16:creationId xmlns:a16="http://schemas.microsoft.com/office/drawing/2014/main" id="{F860130B-8F37-4AE8-A0BF-0FB313A081FB}"/>
                  </a:ext>
                </a:extLst>
              </p:cNvPr>
              <p:cNvSpPr/>
              <p:nvPr/>
            </p:nvSpPr>
            <p:spPr>
              <a:xfrm>
                <a:off x="2151757" y="1214995"/>
                <a:ext cx="896839" cy="89718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lIns="91425" tIns="0" rIns="91425" bIns="640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2800"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2" name="Shape 120">
                <a:extLst>
                  <a:ext uri="{FF2B5EF4-FFF2-40B4-BE49-F238E27FC236}">
                    <a16:creationId xmlns:a16="http://schemas.microsoft.com/office/drawing/2014/main" id="{7DD28F99-E721-448F-A3F2-218404C17076}"/>
                  </a:ext>
                </a:extLst>
              </p:cNvPr>
              <p:cNvSpPr/>
              <p:nvPr/>
            </p:nvSpPr>
            <p:spPr>
              <a:xfrm>
                <a:off x="2384211" y="1464448"/>
                <a:ext cx="451737" cy="374825"/>
              </a:xfrm>
              <a:custGeom>
                <a:avLst/>
                <a:gdLst>
                  <a:gd name="T0" fmla="*/ 2077 w 4154"/>
                  <a:gd name="T1" fmla="*/ 0 h 3452"/>
                  <a:gd name="T2" fmla="*/ 0 w 4154"/>
                  <a:gd name="T3" fmla="*/ 2077 h 3452"/>
                  <a:gd name="T4" fmla="*/ 471 w 4154"/>
                  <a:gd name="T5" fmla="*/ 3394 h 3452"/>
                  <a:gd name="T6" fmla="*/ 1388 w 4154"/>
                  <a:gd name="T7" fmla="*/ 2578 h 3452"/>
                  <a:gd name="T8" fmla="*/ 2077 w 4154"/>
                  <a:gd name="T9" fmla="*/ 2856 h 3452"/>
                  <a:gd name="T10" fmla="*/ 2753 w 4154"/>
                  <a:gd name="T11" fmla="*/ 2590 h 3452"/>
                  <a:gd name="T12" fmla="*/ 3633 w 4154"/>
                  <a:gd name="T13" fmla="*/ 3452 h 3452"/>
                  <a:gd name="T14" fmla="*/ 4154 w 4154"/>
                  <a:gd name="T15" fmla="*/ 2077 h 3452"/>
                  <a:gd name="T16" fmla="*/ 2077 w 4154"/>
                  <a:gd name="T17" fmla="*/ 0 h 3452"/>
                  <a:gd name="T18" fmla="*/ 2077 w 4154"/>
                  <a:gd name="T19" fmla="*/ 2610 h 3452"/>
                  <a:gd name="T20" fmla="*/ 1708 w 4154"/>
                  <a:gd name="T21" fmla="*/ 2510 h 3452"/>
                  <a:gd name="T22" fmla="*/ 1257 w 4154"/>
                  <a:gd name="T23" fmla="*/ 1688 h 3452"/>
                  <a:gd name="T24" fmla="*/ 2077 w 4154"/>
                  <a:gd name="T25" fmla="*/ 765 h 3452"/>
                  <a:gd name="T26" fmla="*/ 2897 w 4154"/>
                  <a:gd name="T27" fmla="*/ 1688 h 3452"/>
                  <a:gd name="T28" fmla="*/ 2433 w 4154"/>
                  <a:gd name="T29" fmla="*/ 2517 h 3452"/>
                  <a:gd name="T30" fmla="*/ 2077 w 4154"/>
                  <a:gd name="T31" fmla="*/ 2610 h 3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154" h="3452">
                    <a:moveTo>
                      <a:pt x="2077" y="0"/>
                    </a:moveTo>
                    <a:cubicBezTo>
                      <a:pt x="930" y="0"/>
                      <a:pt x="0" y="930"/>
                      <a:pt x="0" y="2077"/>
                    </a:cubicBezTo>
                    <a:cubicBezTo>
                      <a:pt x="0" y="2577"/>
                      <a:pt x="177" y="3035"/>
                      <a:pt x="471" y="3394"/>
                    </a:cubicBezTo>
                    <a:cubicBezTo>
                      <a:pt x="516" y="3030"/>
                      <a:pt x="879" y="2723"/>
                      <a:pt x="1388" y="2578"/>
                    </a:cubicBezTo>
                    <a:cubicBezTo>
                      <a:pt x="1574" y="2751"/>
                      <a:pt x="1814" y="2856"/>
                      <a:pt x="2077" y="2856"/>
                    </a:cubicBezTo>
                    <a:cubicBezTo>
                      <a:pt x="2333" y="2856"/>
                      <a:pt x="2569" y="2756"/>
                      <a:pt x="2753" y="2590"/>
                    </a:cubicBezTo>
                    <a:cubicBezTo>
                      <a:pt x="3266" y="2748"/>
                      <a:pt x="3621" y="3074"/>
                      <a:pt x="3633" y="3452"/>
                    </a:cubicBezTo>
                    <a:cubicBezTo>
                      <a:pt x="3957" y="3086"/>
                      <a:pt x="4154" y="2604"/>
                      <a:pt x="4154" y="2077"/>
                    </a:cubicBezTo>
                    <a:cubicBezTo>
                      <a:pt x="4154" y="930"/>
                      <a:pt x="3224" y="0"/>
                      <a:pt x="2077" y="0"/>
                    </a:cubicBezTo>
                    <a:close/>
                    <a:moveTo>
                      <a:pt x="2077" y="2610"/>
                    </a:moveTo>
                    <a:cubicBezTo>
                      <a:pt x="1944" y="2610"/>
                      <a:pt x="1819" y="2573"/>
                      <a:pt x="1708" y="2510"/>
                    </a:cubicBezTo>
                    <a:cubicBezTo>
                      <a:pt x="1441" y="2358"/>
                      <a:pt x="1257" y="2047"/>
                      <a:pt x="1257" y="1688"/>
                    </a:cubicBezTo>
                    <a:cubicBezTo>
                      <a:pt x="1257" y="1179"/>
                      <a:pt x="1625" y="765"/>
                      <a:pt x="2077" y="765"/>
                    </a:cubicBezTo>
                    <a:cubicBezTo>
                      <a:pt x="2529" y="765"/>
                      <a:pt x="2897" y="1179"/>
                      <a:pt x="2897" y="1688"/>
                    </a:cubicBezTo>
                    <a:cubicBezTo>
                      <a:pt x="2897" y="2053"/>
                      <a:pt x="2707" y="2368"/>
                      <a:pt x="2433" y="2517"/>
                    </a:cubicBezTo>
                    <a:cubicBezTo>
                      <a:pt x="2325" y="2576"/>
                      <a:pt x="2205" y="2610"/>
                      <a:pt x="2077" y="261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3600">
                  <a:solidFill>
                    <a:schemeClr val="dk1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63" name="组合 62">
            <a:extLst>
              <a:ext uri="{FF2B5EF4-FFF2-40B4-BE49-F238E27FC236}">
                <a16:creationId xmlns:a16="http://schemas.microsoft.com/office/drawing/2014/main" id="{D9D6EC79-7029-4BC9-BBFF-F431DA754DFF}"/>
              </a:ext>
            </a:extLst>
          </p:cNvPr>
          <p:cNvGrpSpPr/>
          <p:nvPr/>
        </p:nvGrpSpPr>
        <p:grpSpPr>
          <a:xfrm>
            <a:off x="7772515" y="4496141"/>
            <a:ext cx="896839" cy="1962964"/>
            <a:chOff x="7772515" y="4372853"/>
            <a:chExt cx="896839" cy="1962964"/>
          </a:xfrm>
        </p:grpSpPr>
        <p:cxnSp>
          <p:nvCxnSpPr>
            <p:cNvPr id="64" name="Straight Connector 20">
              <a:extLst>
                <a:ext uri="{FF2B5EF4-FFF2-40B4-BE49-F238E27FC236}">
                  <a16:creationId xmlns:a16="http://schemas.microsoft.com/office/drawing/2014/main" id="{04FBEF12-FED2-4903-BCDD-B2C28E8758E1}"/>
                </a:ext>
              </a:extLst>
            </p:cNvPr>
            <p:cNvCxnSpPr/>
            <p:nvPr/>
          </p:nvCxnSpPr>
          <p:spPr>
            <a:xfrm flipH="1">
              <a:off x="8220935" y="4372853"/>
              <a:ext cx="1" cy="847410"/>
            </a:xfrm>
            <a:prstGeom prst="line">
              <a:avLst/>
            </a:prstGeom>
            <a:ln w="28575">
              <a:solidFill>
                <a:schemeClr val="accent4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5" name="Group 40">
              <a:extLst>
                <a:ext uri="{FF2B5EF4-FFF2-40B4-BE49-F238E27FC236}">
                  <a16:creationId xmlns:a16="http://schemas.microsoft.com/office/drawing/2014/main" id="{7DBABA60-1556-49EE-9EC8-8A7BA540768D}"/>
                </a:ext>
              </a:extLst>
            </p:cNvPr>
            <p:cNvGrpSpPr/>
            <p:nvPr/>
          </p:nvGrpSpPr>
          <p:grpSpPr>
            <a:xfrm>
              <a:off x="7772515" y="5438629"/>
              <a:ext cx="896839" cy="897188"/>
              <a:chOff x="2151757" y="1214995"/>
              <a:chExt cx="896839" cy="897188"/>
            </a:xfrm>
          </p:grpSpPr>
          <p:sp>
            <p:nvSpPr>
              <p:cNvPr id="66" name="Shape 117">
                <a:extLst>
                  <a:ext uri="{FF2B5EF4-FFF2-40B4-BE49-F238E27FC236}">
                    <a16:creationId xmlns:a16="http://schemas.microsoft.com/office/drawing/2014/main" id="{B7FE448F-E92F-45E7-97E9-3D31FD6B4351}"/>
                  </a:ext>
                </a:extLst>
              </p:cNvPr>
              <p:cNvSpPr/>
              <p:nvPr/>
            </p:nvSpPr>
            <p:spPr>
              <a:xfrm>
                <a:off x="2151757" y="1214995"/>
                <a:ext cx="896839" cy="897188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lIns="91425" tIns="0" rIns="91425" bIns="640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2800"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7" name="Shape 120">
                <a:extLst>
                  <a:ext uri="{FF2B5EF4-FFF2-40B4-BE49-F238E27FC236}">
                    <a16:creationId xmlns:a16="http://schemas.microsoft.com/office/drawing/2014/main" id="{43501C1E-56A1-45EA-A9A8-9ACD48B7C425}"/>
                  </a:ext>
                </a:extLst>
              </p:cNvPr>
              <p:cNvSpPr/>
              <p:nvPr/>
            </p:nvSpPr>
            <p:spPr>
              <a:xfrm>
                <a:off x="2394223" y="1425992"/>
                <a:ext cx="431712" cy="451737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577669" h="604464">
                    <a:moveTo>
                      <a:pt x="288905" y="148964"/>
                    </a:moveTo>
                    <a:cubicBezTo>
                      <a:pt x="373650" y="148964"/>
                      <a:pt x="442350" y="217584"/>
                      <a:pt x="442350" y="302232"/>
                    </a:cubicBezTo>
                    <a:cubicBezTo>
                      <a:pt x="442350" y="386880"/>
                      <a:pt x="373650" y="455500"/>
                      <a:pt x="288905" y="455500"/>
                    </a:cubicBezTo>
                    <a:cubicBezTo>
                      <a:pt x="204160" y="455500"/>
                      <a:pt x="135460" y="386880"/>
                      <a:pt x="135460" y="302232"/>
                    </a:cubicBezTo>
                    <a:cubicBezTo>
                      <a:pt x="135460" y="217584"/>
                      <a:pt x="204160" y="148964"/>
                      <a:pt x="288905" y="148964"/>
                    </a:cubicBezTo>
                    <a:close/>
                    <a:moveTo>
                      <a:pt x="288883" y="109335"/>
                    </a:moveTo>
                    <a:cubicBezTo>
                      <a:pt x="182356" y="109335"/>
                      <a:pt x="95685" y="195871"/>
                      <a:pt x="95685" y="302232"/>
                    </a:cubicBezTo>
                    <a:cubicBezTo>
                      <a:pt x="95685" y="408593"/>
                      <a:pt x="182356" y="495129"/>
                      <a:pt x="288883" y="495129"/>
                    </a:cubicBezTo>
                    <a:cubicBezTo>
                      <a:pt x="395410" y="495129"/>
                      <a:pt x="482082" y="408593"/>
                      <a:pt x="482082" y="302232"/>
                    </a:cubicBezTo>
                    <a:cubicBezTo>
                      <a:pt x="482082" y="195871"/>
                      <a:pt x="395410" y="109335"/>
                      <a:pt x="288883" y="109335"/>
                    </a:cubicBezTo>
                    <a:close/>
                    <a:moveTo>
                      <a:pt x="288883" y="0"/>
                    </a:moveTo>
                    <a:cubicBezTo>
                      <a:pt x="295336" y="0"/>
                      <a:pt x="301293" y="3073"/>
                      <a:pt x="305066" y="8327"/>
                    </a:cubicBezTo>
                    <a:lnTo>
                      <a:pt x="359570" y="85049"/>
                    </a:lnTo>
                    <a:lnTo>
                      <a:pt x="448724" y="55014"/>
                    </a:lnTo>
                    <a:cubicBezTo>
                      <a:pt x="454879" y="52933"/>
                      <a:pt x="461531" y="53924"/>
                      <a:pt x="466793" y="57691"/>
                    </a:cubicBezTo>
                    <a:cubicBezTo>
                      <a:pt x="471955" y="61457"/>
                      <a:pt x="475033" y="67603"/>
                      <a:pt x="474934" y="73947"/>
                    </a:cubicBezTo>
                    <a:lnTo>
                      <a:pt x="473842" y="168017"/>
                    </a:lnTo>
                    <a:lnTo>
                      <a:pt x="563789" y="196069"/>
                    </a:lnTo>
                    <a:cubicBezTo>
                      <a:pt x="569944" y="197953"/>
                      <a:pt x="574710" y="202711"/>
                      <a:pt x="576695" y="208856"/>
                    </a:cubicBezTo>
                    <a:cubicBezTo>
                      <a:pt x="578681" y="214903"/>
                      <a:pt x="577589" y="221643"/>
                      <a:pt x="573816" y="226798"/>
                    </a:cubicBezTo>
                    <a:lnTo>
                      <a:pt x="517525" y="302232"/>
                    </a:lnTo>
                    <a:lnTo>
                      <a:pt x="573816" y="377666"/>
                    </a:lnTo>
                    <a:cubicBezTo>
                      <a:pt x="577589" y="382821"/>
                      <a:pt x="578681" y="389462"/>
                      <a:pt x="576695" y="395608"/>
                    </a:cubicBezTo>
                    <a:cubicBezTo>
                      <a:pt x="574710" y="401753"/>
                      <a:pt x="569944" y="406511"/>
                      <a:pt x="563789" y="408395"/>
                    </a:cubicBezTo>
                    <a:lnTo>
                      <a:pt x="473842" y="436447"/>
                    </a:lnTo>
                    <a:lnTo>
                      <a:pt x="474934" y="530418"/>
                    </a:lnTo>
                    <a:cubicBezTo>
                      <a:pt x="475033" y="536861"/>
                      <a:pt x="471955" y="542907"/>
                      <a:pt x="466793" y="546674"/>
                    </a:cubicBezTo>
                    <a:cubicBezTo>
                      <a:pt x="461531" y="550441"/>
                      <a:pt x="454879" y="551531"/>
                      <a:pt x="448724" y="549450"/>
                    </a:cubicBezTo>
                    <a:lnTo>
                      <a:pt x="359570" y="519415"/>
                    </a:lnTo>
                    <a:lnTo>
                      <a:pt x="305066" y="596038"/>
                    </a:lnTo>
                    <a:cubicBezTo>
                      <a:pt x="301293" y="601292"/>
                      <a:pt x="295336" y="604464"/>
                      <a:pt x="288883" y="604464"/>
                    </a:cubicBezTo>
                    <a:cubicBezTo>
                      <a:pt x="282430" y="604464"/>
                      <a:pt x="276374" y="601292"/>
                      <a:pt x="272701" y="596038"/>
                    </a:cubicBezTo>
                    <a:lnTo>
                      <a:pt x="218196" y="519415"/>
                    </a:lnTo>
                    <a:lnTo>
                      <a:pt x="128943" y="549450"/>
                    </a:lnTo>
                    <a:cubicBezTo>
                      <a:pt x="122887" y="551531"/>
                      <a:pt x="116136" y="550441"/>
                      <a:pt x="110974" y="546674"/>
                    </a:cubicBezTo>
                    <a:cubicBezTo>
                      <a:pt x="105712" y="542907"/>
                      <a:pt x="102733" y="536861"/>
                      <a:pt x="102733" y="530418"/>
                    </a:cubicBezTo>
                    <a:lnTo>
                      <a:pt x="103826" y="436447"/>
                    </a:lnTo>
                    <a:lnTo>
                      <a:pt x="13977" y="408395"/>
                    </a:lnTo>
                    <a:cubicBezTo>
                      <a:pt x="7822" y="406511"/>
                      <a:pt x="2957" y="401753"/>
                      <a:pt x="972" y="395608"/>
                    </a:cubicBezTo>
                    <a:cubicBezTo>
                      <a:pt x="-1014" y="389462"/>
                      <a:pt x="78" y="382821"/>
                      <a:pt x="3950" y="377666"/>
                    </a:cubicBezTo>
                    <a:lnTo>
                      <a:pt x="60142" y="302232"/>
                    </a:lnTo>
                    <a:lnTo>
                      <a:pt x="3950" y="226798"/>
                    </a:lnTo>
                    <a:cubicBezTo>
                      <a:pt x="78" y="221643"/>
                      <a:pt x="-1014" y="214903"/>
                      <a:pt x="972" y="208856"/>
                    </a:cubicBezTo>
                    <a:cubicBezTo>
                      <a:pt x="2957" y="202711"/>
                      <a:pt x="7822" y="197953"/>
                      <a:pt x="13977" y="196069"/>
                    </a:cubicBezTo>
                    <a:lnTo>
                      <a:pt x="103826" y="168017"/>
                    </a:lnTo>
                    <a:lnTo>
                      <a:pt x="102733" y="73947"/>
                    </a:lnTo>
                    <a:cubicBezTo>
                      <a:pt x="102733" y="67603"/>
                      <a:pt x="105712" y="61457"/>
                      <a:pt x="110974" y="57691"/>
                    </a:cubicBezTo>
                    <a:cubicBezTo>
                      <a:pt x="116136" y="53924"/>
                      <a:pt x="122887" y="52933"/>
                      <a:pt x="128943" y="55014"/>
                    </a:cubicBezTo>
                    <a:lnTo>
                      <a:pt x="218196" y="85049"/>
                    </a:lnTo>
                    <a:lnTo>
                      <a:pt x="272701" y="8327"/>
                    </a:lnTo>
                    <a:cubicBezTo>
                      <a:pt x="276374" y="3073"/>
                      <a:pt x="282430" y="0"/>
                      <a:pt x="288883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3600">
                  <a:solidFill>
                    <a:schemeClr val="dk1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4A4E944F-4845-4C78-B2B8-C9421A721BE7}"/>
              </a:ext>
            </a:extLst>
          </p:cNvPr>
          <p:cNvGrpSpPr/>
          <p:nvPr/>
        </p:nvGrpSpPr>
        <p:grpSpPr>
          <a:xfrm>
            <a:off x="9830091" y="1630809"/>
            <a:ext cx="896839" cy="2124706"/>
            <a:chOff x="9830091" y="1507521"/>
            <a:chExt cx="896839" cy="2124706"/>
          </a:xfrm>
        </p:grpSpPr>
        <p:cxnSp>
          <p:nvCxnSpPr>
            <p:cNvPr id="69" name="Straight Connector 24">
              <a:extLst>
                <a:ext uri="{FF2B5EF4-FFF2-40B4-BE49-F238E27FC236}">
                  <a16:creationId xmlns:a16="http://schemas.microsoft.com/office/drawing/2014/main" id="{EEDA1543-D072-4C5F-9BAC-6CF41014FE71}"/>
                </a:ext>
              </a:extLst>
            </p:cNvPr>
            <p:cNvCxnSpPr/>
            <p:nvPr/>
          </p:nvCxnSpPr>
          <p:spPr>
            <a:xfrm flipV="1">
              <a:off x="10329218" y="2759169"/>
              <a:ext cx="0" cy="873058"/>
            </a:xfrm>
            <a:prstGeom prst="line">
              <a:avLst/>
            </a:prstGeom>
            <a:ln w="28575">
              <a:solidFill>
                <a:schemeClr val="accent5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0" name="Group 43">
              <a:extLst>
                <a:ext uri="{FF2B5EF4-FFF2-40B4-BE49-F238E27FC236}">
                  <a16:creationId xmlns:a16="http://schemas.microsoft.com/office/drawing/2014/main" id="{C6A39DD0-758C-400D-B4DA-3BBDD548DCEA}"/>
                </a:ext>
              </a:extLst>
            </p:cNvPr>
            <p:cNvGrpSpPr/>
            <p:nvPr/>
          </p:nvGrpSpPr>
          <p:grpSpPr>
            <a:xfrm>
              <a:off x="9830091" y="1507521"/>
              <a:ext cx="896839" cy="897188"/>
              <a:chOff x="2151757" y="1214995"/>
              <a:chExt cx="896839" cy="897188"/>
            </a:xfrm>
          </p:grpSpPr>
          <p:sp>
            <p:nvSpPr>
              <p:cNvPr id="71" name="Shape 117">
                <a:extLst>
                  <a:ext uri="{FF2B5EF4-FFF2-40B4-BE49-F238E27FC236}">
                    <a16:creationId xmlns:a16="http://schemas.microsoft.com/office/drawing/2014/main" id="{04E5E485-EFB4-4BC9-9552-351D939DA920}"/>
                  </a:ext>
                </a:extLst>
              </p:cNvPr>
              <p:cNvSpPr/>
              <p:nvPr/>
            </p:nvSpPr>
            <p:spPr>
              <a:xfrm>
                <a:off x="2151757" y="1214995"/>
                <a:ext cx="896839" cy="897188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lIns="91425" tIns="0" rIns="91425" bIns="640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buNone/>
                </a:pPr>
                <a:endParaRPr sz="2800">
                  <a:solidFill>
                    <a:schemeClr val="l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2" name="Shape 120">
                <a:extLst>
                  <a:ext uri="{FF2B5EF4-FFF2-40B4-BE49-F238E27FC236}">
                    <a16:creationId xmlns:a16="http://schemas.microsoft.com/office/drawing/2014/main" id="{F97E10D1-6459-4565-8AC0-B885365E6307}"/>
                  </a:ext>
                </a:extLst>
              </p:cNvPr>
              <p:cNvSpPr/>
              <p:nvPr/>
            </p:nvSpPr>
            <p:spPr>
              <a:xfrm>
                <a:off x="2384211" y="1463568"/>
                <a:ext cx="451737" cy="376585"/>
              </a:xfrm>
              <a:custGeom>
                <a:avLst/>
                <a:gdLst>
                  <a:gd name="connsiteX0" fmla="*/ 518754 w 607681"/>
                  <a:gd name="connsiteY0" fmla="*/ 0 h 506587"/>
                  <a:gd name="connsiteX1" fmla="*/ 533573 w 607681"/>
                  <a:gd name="connsiteY1" fmla="*/ 955 h 506587"/>
                  <a:gd name="connsiteX2" fmla="*/ 544568 w 607681"/>
                  <a:gd name="connsiteY2" fmla="*/ 8117 h 506587"/>
                  <a:gd name="connsiteX3" fmla="*/ 546481 w 607681"/>
                  <a:gd name="connsiteY3" fmla="*/ 21009 h 506587"/>
                  <a:gd name="connsiteX4" fmla="*/ 532139 w 607681"/>
                  <a:gd name="connsiteY4" fmla="*/ 73529 h 506587"/>
                  <a:gd name="connsiteX5" fmla="*/ 519232 w 607681"/>
                  <a:gd name="connsiteY5" fmla="*/ 84988 h 506587"/>
                  <a:gd name="connsiteX6" fmla="*/ 404025 w 607681"/>
                  <a:gd name="connsiteY6" fmla="*/ 234434 h 506587"/>
                  <a:gd name="connsiteX7" fmla="*/ 459955 w 607681"/>
                  <a:gd name="connsiteY7" fmla="*/ 222975 h 506587"/>
                  <a:gd name="connsiteX8" fmla="*/ 504413 w 607681"/>
                  <a:gd name="connsiteY8" fmla="*/ 229659 h 506587"/>
                  <a:gd name="connsiteX9" fmla="*/ 589504 w 607681"/>
                  <a:gd name="connsiteY9" fmla="*/ 296504 h 506587"/>
                  <a:gd name="connsiteX10" fmla="*/ 602411 w 607681"/>
                  <a:gd name="connsiteY10" fmla="*/ 403455 h 506587"/>
                  <a:gd name="connsiteX11" fmla="*/ 466170 w 607681"/>
                  <a:gd name="connsiteY11" fmla="*/ 506587 h 506587"/>
                  <a:gd name="connsiteX12" fmla="*/ 465692 w 607681"/>
                  <a:gd name="connsiteY12" fmla="*/ 506587 h 506587"/>
                  <a:gd name="connsiteX13" fmla="*/ 347616 w 607681"/>
                  <a:gd name="connsiteY13" fmla="*/ 447382 h 506587"/>
                  <a:gd name="connsiteX14" fmla="*/ 324670 w 607681"/>
                  <a:gd name="connsiteY14" fmla="*/ 203876 h 506587"/>
                  <a:gd name="connsiteX15" fmla="*/ 518754 w 607681"/>
                  <a:gd name="connsiteY15" fmla="*/ 0 h 506587"/>
                  <a:gd name="connsiteX16" fmla="*/ 208498 w 607681"/>
                  <a:gd name="connsiteY16" fmla="*/ 0 h 506587"/>
                  <a:gd name="connsiteX17" fmla="*/ 223799 w 607681"/>
                  <a:gd name="connsiteY17" fmla="*/ 955 h 506587"/>
                  <a:gd name="connsiteX18" fmla="*/ 234797 w 607681"/>
                  <a:gd name="connsiteY18" fmla="*/ 8117 h 506587"/>
                  <a:gd name="connsiteX19" fmla="*/ 236709 w 607681"/>
                  <a:gd name="connsiteY19" fmla="*/ 21009 h 506587"/>
                  <a:gd name="connsiteX20" fmla="*/ 221886 w 607681"/>
                  <a:gd name="connsiteY20" fmla="*/ 73529 h 506587"/>
                  <a:gd name="connsiteX21" fmla="*/ 208976 w 607681"/>
                  <a:gd name="connsiteY21" fmla="*/ 84988 h 506587"/>
                  <a:gd name="connsiteX22" fmla="*/ 94219 w 607681"/>
                  <a:gd name="connsiteY22" fmla="*/ 234434 h 506587"/>
                  <a:gd name="connsiteX23" fmla="*/ 150163 w 607681"/>
                  <a:gd name="connsiteY23" fmla="*/ 222975 h 506587"/>
                  <a:gd name="connsiteX24" fmla="*/ 194632 w 607681"/>
                  <a:gd name="connsiteY24" fmla="*/ 229659 h 506587"/>
                  <a:gd name="connsiteX25" fmla="*/ 279743 w 607681"/>
                  <a:gd name="connsiteY25" fmla="*/ 296027 h 506587"/>
                  <a:gd name="connsiteX26" fmla="*/ 292654 w 607681"/>
                  <a:gd name="connsiteY26" fmla="*/ 403455 h 506587"/>
                  <a:gd name="connsiteX27" fmla="*/ 156379 w 607681"/>
                  <a:gd name="connsiteY27" fmla="*/ 506587 h 506587"/>
                  <a:gd name="connsiteX28" fmla="*/ 155901 w 607681"/>
                  <a:gd name="connsiteY28" fmla="*/ 506587 h 506587"/>
                  <a:gd name="connsiteX29" fmla="*/ 37796 w 607681"/>
                  <a:gd name="connsiteY29" fmla="*/ 447382 h 506587"/>
                  <a:gd name="connsiteX30" fmla="*/ 14366 w 607681"/>
                  <a:gd name="connsiteY30" fmla="*/ 203876 h 506587"/>
                  <a:gd name="connsiteX31" fmla="*/ 208498 w 607681"/>
                  <a:gd name="connsiteY31" fmla="*/ 0 h 506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607681" h="506587">
                    <a:moveTo>
                      <a:pt x="518754" y="0"/>
                    </a:moveTo>
                    <a:cubicBezTo>
                      <a:pt x="523535" y="0"/>
                      <a:pt x="528793" y="0"/>
                      <a:pt x="533573" y="955"/>
                    </a:cubicBezTo>
                    <a:cubicBezTo>
                      <a:pt x="537876" y="1433"/>
                      <a:pt x="542178" y="4297"/>
                      <a:pt x="544568" y="8117"/>
                    </a:cubicBezTo>
                    <a:cubicBezTo>
                      <a:pt x="547437" y="11937"/>
                      <a:pt x="547915" y="16711"/>
                      <a:pt x="546481" y="21009"/>
                    </a:cubicBezTo>
                    <a:lnTo>
                      <a:pt x="532139" y="73529"/>
                    </a:lnTo>
                    <a:cubicBezTo>
                      <a:pt x="530227" y="79259"/>
                      <a:pt x="525447" y="84034"/>
                      <a:pt x="519232" y="84988"/>
                    </a:cubicBezTo>
                    <a:cubicBezTo>
                      <a:pt x="451829" y="94538"/>
                      <a:pt x="418366" y="183346"/>
                      <a:pt x="404025" y="234434"/>
                    </a:cubicBezTo>
                    <a:cubicBezTo>
                      <a:pt x="418844" y="228227"/>
                      <a:pt x="437488" y="222975"/>
                      <a:pt x="459955" y="222975"/>
                    </a:cubicBezTo>
                    <a:cubicBezTo>
                      <a:pt x="474775" y="222975"/>
                      <a:pt x="489594" y="225362"/>
                      <a:pt x="504413" y="229659"/>
                    </a:cubicBezTo>
                    <a:cubicBezTo>
                      <a:pt x="540744" y="240164"/>
                      <a:pt x="571339" y="263559"/>
                      <a:pt x="589504" y="296504"/>
                    </a:cubicBezTo>
                    <a:cubicBezTo>
                      <a:pt x="608148" y="328971"/>
                      <a:pt x="612450" y="367168"/>
                      <a:pt x="602411" y="403455"/>
                    </a:cubicBezTo>
                    <a:cubicBezTo>
                      <a:pt x="585202" y="464093"/>
                      <a:pt x="529271" y="506587"/>
                      <a:pt x="466170" y="506587"/>
                    </a:cubicBezTo>
                    <a:cubicBezTo>
                      <a:pt x="466170" y="506587"/>
                      <a:pt x="466170" y="506587"/>
                      <a:pt x="465692" y="506587"/>
                    </a:cubicBezTo>
                    <a:cubicBezTo>
                      <a:pt x="414542" y="504677"/>
                      <a:pt x="374864" y="484624"/>
                      <a:pt x="347616" y="447382"/>
                    </a:cubicBezTo>
                    <a:cubicBezTo>
                      <a:pt x="298856" y="380537"/>
                      <a:pt x="304592" y="274541"/>
                      <a:pt x="324670" y="203876"/>
                    </a:cubicBezTo>
                    <a:cubicBezTo>
                      <a:pt x="358133" y="84034"/>
                      <a:pt x="437966" y="0"/>
                      <a:pt x="518754" y="0"/>
                    </a:cubicBezTo>
                    <a:close/>
                    <a:moveTo>
                      <a:pt x="208498" y="0"/>
                    </a:moveTo>
                    <a:cubicBezTo>
                      <a:pt x="213758" y="0"/>
                      <a:pt x="218539" y="0"/>
                      <a:pt x="223799" y="955"/>
                    </a:cubicBezTo>
                    <a:cubicBezTo>
                      <a:pt x="228102" y="1433"/>
                      <a:pt x="232406" y="4297"/>
                      <a:pt x="234797" y="8117"/>
                    </a:cubicBezTo>
                    <a:cubicBezTo>
                      <a:pt x="237187" y="11937"/>
                      <a:pt x="238144" y="16711"/>
                      <a:pt x="236709" y="21009"/>
                    </a:cubicBezTo>
                    <a:lnTo>
                      <a:pt x="221886" y="73529"/>
                    </a:lnTo>
                    <a:cubicBezTo>
                      <a:pt x="220452" y="79259"/>
                      <a:pt x="215192" y="84034"/>
                      <a:pt x="208976" y="84988"/>
                    </a:cubicBezTo>
                    <a:cubicBezTo>
                      <a:pt x="142034" y="94538"/>
                      <a:pt x="108085" y="183346"/>
                      <a:pt x="94219" y="234434"/>
                    </a:cubicBezTo>
                    <a:cubicBezTo>
                      <a:pt x="108563" y="228227"/>
                      <a:pt x="127690" y="222975"/>
                      <a:pt x="150163" y="222975"/>
                    </a:cubicBezTo>
                    <a:cubicBezTo>
                      <a:pt x="164508" y="222975"/>
                      <a:pt x="179809" y="225362"/>
                      <a:pt x="194632" y="229659"/>
                    </a:cubicBezTo>
                    <a:cubicBezTo>
                      <a:pt x="230971" y="240164"/>
                      <a:pt x="261095" y="263559"/>
                      <a:pt x="279743" y="296027"/>
                    </a:cubicBezTo>
                    <a:cubicBezTo>
                      <a:pt x="297913" y="328971"/>
                      <a:pt x="302695" y="367168"/>
                      <a:pt x="292654" y="403455"/>
                    </a:cubicBezTo>
                    <a:cubicBezTo>
                      <a:pt x="275440" y="464093"/>
                      <a:pt x="219496" y="506587"/>
                      <a:pt x="156379" y="506587"/>
                    </a:cubicBezTo>
                    <a:cubicBezTo>
                      <a:pt x="156379" y="506587"/>
                      <a:pt x="155901" y="506587"/>
                      <a:pt x="155901" y="506587"/>
                    </a:cubicBezTo>
                    <a:cubicBezTo>
                      <a:pt x="104738" y="504677"/>
                      <a:pt x="65051" y="484624"/>
                      <a:pt x="37796" y="447382"/>
                    </a:cubicBezTo>
                    <a:cubicBezTo>
                      <a:pt x="-10976" y="380537"/>
                      <a:pt x="-5238" y="274541"/>
                      <a:pt x="14366" y="203876"/>
                    </a:cubicBezTo>
                    <a:cubicBezTo>
                      <a:pt x="48315" y="84034"/>
                      <a:pt x="128168" y="0"/>
                      <a:pt x="208498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lIns="91425" tIns="45700" rIns="91425" bIns="4570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rtl="0">
                  <a:spcBef>
                    <a:spcPts val="0"/>
                  </a:spcBef>
                  <a:buNone/>
                </a:pPr>
                <a:endParaRPr sz="3600">
                  <a:solidFill>
                    <a:schemeClr val="dk1"/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73" name="郑少PPT">
            <a:extLst>
              <a:ext uri="{FF2B5EF4-FFF2-40B4-BE49-F238E27FC236}">
                <a16:creationId xmlns:a16="http://schemas.microsoft.com/office/drawing/2014/main" id="{37D9F984-1450-4B6F-BA78-E367670851ED}"/>
              </a:ext>
            </a:extLst>
          </p:cNvPr>
          <p:cNvSpPr txBox="1"/>
          <p:nvPr/>
        </p:nvSpPr>
        <p:spPr>
          <a:xfrm>
            <a:off x="879112" y="4700729"/>
            <a:ext cx="2068748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74" name="郑少PPT">
            <a:extLst>
              <a:ext uri="{FF2B5EF4-FFF2-40B4-BE49-F238E27FC236}">
                <a16:creationId xmlns:a16="http://schemas.microsoft.com/office/drawing/2014/main" id="{72C7497A-F79F-42E7-A255-D6DD94BDE94D}"/>
              </a:ext>
            </a:extLst>
          </p:cNvPr>
          <p:cNvSpPr txBox="1"/>
          <p:nvPr/>
        </p:nvSpPr>
        <p:spPr>
          <a:xfrm>
            <a:off x="2970369" y="2257043"/>
            <a:ext cx="2068748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75" name="郑少PPT">
            <a:extLst>
              <a:ext uri="{FF2B5EF4-FFF2-40B4-BE49-F238E27FC236}">
                <a16:creationId xmlns:a16="http://schemas.microsoft.com/office/drawing/2014/main" id="{C17E1C04-5BE5-42E2-9413-2AF67386E8DC}"/>
              </a:ext>
            </a:extLst>
          </p:cNvPr>
          <p:cNvSpPr txBox="1"/>
          <p:nvPr/>
        </p:nvSpPr>
        <p:spPr>
          <a:xfrm>
            <a:off x="5061626" y="4700729"/>
            <a:ext cx="2068748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76" name="郑少PPT">
            <a:extLst>
              <a:ext uri="{FF2B5EF4-FFF2-40B4-BE49-F238E27FC236}">
                <a16:creationId xmlns:a16="http://schemas.microsoft.com/office/drawing/2014/main" id="{2077DD23-A68F-4493-8029-E88174F76A79}"/>
              </a:ext>
            </a:extLst>
          </p:cNvPr>
          <p:cNvSpPr txBox="1"/>
          <p:nvPr/>
        </p:nvSpPr>
        <p:spPr>
          <a:xfrm>
            <a:off x="7152883" y="2257043"/>
            <a:ext cx="2068748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77" name="郑少PPT">
            <a:extLst>
              <a:ext uri="{FF2B5EF4-FFF2-40B4-BE49-F238E27FC236}">
                <a16:creationId xmlns:a16="http://schemas.microsoft.com/office/drawing/2014/main" id="{6776BD83-4AAF-4674-8200-273409F39870}"/>
              </a:ext>
            </a:extLst>
          </p:cNvPr>
          <p:cNvSpPr txBox="1"/>
          <p:nvPr/>
        </p:nvSpPr>
        <p:spPr>
          <a:xfrm>
            <a:off x="9244140" y="4700729"/>
            <a:ext cx="2068748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873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 advTm="2000">
        <p14:pan dir="u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0" grpId="0" animBg="1"/>
      <p:bldP spid="41" grpId="0" animBg="1"/>
      <p:bldP spid="42" grpId="0" animBg="1"/>
      <p:bldP spid="73" grpId="0"/>
      <p:bldP spid="74" grpId="0"/>
      <p:bldP spid="75" grpId="0"/>
      <p:bldP spid="76" grpId="0"/>
      <p:bldP spid="7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279020-E852-44B0-B00A-B5DACAFD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sp>
        <p:nvSpPr>
          <p:cNvPr id="32" name="Rectangle 2">
            <a:extLst>
              <a:ext uri="{FF2B5EF4-FFF2-40B4-BE49-F238E27FC236}">
                <a16:creationId xmlns:a16="http://schemas.microsoft.com/office/drawing/2014/main" id="{56528440-F8B8-45AB-96F9-9BF0EC8FE89A}"/>
              </a:ext>
            </a:extLst>
          </p:cNvPr>
          <p:cNvSpPr/>
          <p:nvPr/>
        </p:nvSpPr>
        <p:spPr>
          <a:xfrm>
            <a:off x="1588" y="5180288"/>
            <a:ext cx="12188825" cy="16777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cs typeface="+mn-ea"/>
              <a:sym typeface="+mn-lt"/>
            </a:endParaRPr>
          </a:p>
        </p:txBody>
      </p:sp>
      <p:grpSp>
        <p:nvGrpSpPr>
          <p:cNvPr id="34" name="Group 48">
            <a:extLst>
              <a:ext uri="{FF2B5EF4-FFF2-40B4-BE49-F238E27FC236}">
                <a16:creationId xmlns:a16="http://schemas.microsoft.com/office/drawing/2014/main" id="{2B682102-4F56-4808-BF2D-6CEE8F68366E}"/>
              </a:ext>
            </a:extLst>
          </p:cNvPr>
          <p:cNvGrpSpPr/>
          <p:nvPr/>
        </p:nvGrpSpPr>
        <p:grpSpPr>
          <a:xfrm>
            <a:off x="4443776" y="2165131"/>
            <a:ext cx="3304448" cy="4692869"/>
            <a:chOff x="8099434" y="2121218"/>
            <a:chExt cx="1322388" cy="1878013"/>
          </a:xfrm>
          <a:effectLst/>
        </p:grpSpPr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7AB30905-43D2-49A2-B1CC-621D2F5DC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9434" y="2121218"/>
              <a:ext cx="1322388" cy="1878013"/>
            </a:xfrm>
            <a:custGeom>
              <a:avLst/>
              <a:gdLst>
                <a:gd name="T0" fmla="*/ 834 w 834"/>
                <a:gd name="T1" fmla="*/ 1133 h 1183"/>
                <a:gd name="T2" fmla="*/ 785 w 834"/>
                <a:gd name="T3" fmla="*/ 1183 h 1183"/>
                <a:gd name="T4" fmla="*/ 50 w 834"/>
                <a:gd name="T5" fmla="*/ 1183 h 1183"/>
                <a:gd name="T6" fmla="*/ 0 w 834"/>
                <a:gd name="T7" fmla="*/ 1133 h 1183"/>
                <a:gd name="T8" fmla="*/ 0 w 834"/>
                <a:gd name="T9" fmla="*/ 49 h 1183"/>
                <a:gd name="T10" fmla="*/ 50 w 834"/>
                <a:gd name="T11" fmla="*/ 0 h 1183"/>
                <a:gd name="T12" fmla="*/ 785 w 834"/>
                <a:gd name="T13" fmla="*/ 0 h 1183"/>
                <a:gd name="T14" fmla="*/ 834 w 834"/>
                <a:gd name="T15" fmla="*/ 49 h 1183"/>
                <a:gd name="T16" fmla="*/ 834 w 834"/>
                <a:gd name="T17" fmla="*/ 1133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4" h="1183">
                  <a:moveTo>
                    <a:pt x="834" y="1133"/>
                  </a:moveTo>
                  <a:cubicBezTo>
                    <a:pt x="834" y="1160"/>
                    <a:pt x="812" y="1183"/>
                    <a:pt x="785" y="1183"/>
                  </a:cubicBezTo>
                  <a:cubicBezTo>
                    <a:pt x="50" y="1183"/>
                    <a:pt x="50" y="1183"/>
                    <a:pt x="50" y="1183"/>
                  </a:cubicBezTo>
                  <a:cubicBezTo>
                    <a:pt x="22" y="1183"/>
                    <a:pt x="0" y="1160"/>
                    <a:pt x="0" y="113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85" y="0"/>
                    <a:pt x="785" y="0"/>
                    <a:pt x="785" y="0"/>
                  </a:cubicBezTo>
                  <a:cubicBezTo>
                    <a:pt x="812" y="0"/>
                    <a:pt x="834" y="22"/>
                    <a:pt x="834" y="49"/>
                  </a:cubicBezTo>
                  <a:cubicBezTo>
                    <a:pt x="834" y="1133"/>
                    <a:pt x="834" y="1133"/>
                    <a:pt x="834" y="1133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1C3717FA-5436-4548-9304-1FA83D764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7372" y="2127568"/>
              <a:ext cx="1308100" cy="1863725"/>
            </a:xfrm>
            <a:custGeom>
              <a:avLst/>
              <a:gdLst>
                <a:gd name="T0" fmla="*/ 45 w 825"/>
                <a:gd name="T1" fmla="*/ 1174 h 1174"/>
                <a:gd name="T2" fmla="*/ 0 w 825"/>
                <a:gd name="T3" fmla="*/ 1129 h 1174"/>
                <a:gd name="T4" fmla="*/ 0 w 825"/>
                <a:gd name="T5" fmla="*/ 45 h 1174"/>
                <a:gd name="T6" fmla="*/ 45 w 825"/>
                <a:gd name="T7" fmla="*/ 0 h 1174"/>
                <a:gd name="T8" fmla="*/ 780 w 825"/>
                <a:gd name="T9" fmla="*/ 0 h 1174"/>
                <a:gd name="T10" fmla="*/ 825 w 825"/>
                <a:gd name="T11" fmla="*/ 45 h 1174"/>
                <a:gd name="T12" fmla="*/ 825 w 825"/>
                <a:gd name="T13" fmla="*/ 1129 h 1174"/>
                <a:gd name="T14" fmla="*/ 780 w 825"/>
                <a:gd name="T15" fmla="*/ 1174 h 1174"/>
                <a:gd name="T16" fmla="*/ 45 w 825"/>
                <a:gd name="T17" fmla="*/ 1174 h 1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5" h="1174">
                  <a:moveTo>
                    <a:pt x="45" y="1174"/>
                  </a:moveTo>
                  <a:cubicBezTo>
                    <a:pt x="20" y="1174"/>
                    <a:pt x="0" y="1154"/>
                    <a:pt x="0" y="112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1"/>
                    <a:pt x="20" y="0"/>
                    <a:pt x="45" y="0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805" y="0"/>
                    <a:pt x="825" y="21"/>
                    <a:pt x="825" y="45"/>
                  </a:cubicBezTo>
                  <a:cubicBezTo>
                    <a:pt x="825" y="1129"/>
                    <a:pt x="825" y="1129"/>
                    <a:pt x="825" y="1129"/>
                  </a:cubicBezTo>
                  <a:cubicBezTo>
                    <a:pt x="825" y="1154"/>
                    <a:pt x="805" y="1174"/>
                    <a:pt x="780" y="1174"/>
                  </a:cubicBezTo>
                  <a:cubicBezTo>
                    <a:pt x="45" y="1174"/>
                    <a:pt x="45" y="1174"/>
                    <a:pt x="45" y="1174"/>
                  </a:cubicBezTo>
                </a:path>
              </a:pathLst>
            </a:custGeom>
            <a:solidFill>
              <a:srgbClr val="181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38" name="Oval 35">
              <a:extLst>
                <a:ext uri="{FF2B5EF4-FFF2-40B4-BE49-F238E27FC236}">
                  <a16:creationId xmlns:a16="http://schemas.microsoft.com/office/drawing/2014/main" id="{57B6E313-7F02-4865-BF14-58C6F022C0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8722" y="2197418"/>
              <a:ext cx="23813" cy="23813"/>
            </a:xfrm>
            <a:prstGeom prst="ellipse">
              <a:avLst/>
            </a:prstGeom>
            <a:solidFill>
              <a:srgbClr val="2C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39" name="Oval 36">
              <a:extLst>
                <a:ext uri="{FF2B5EF4-FFF2-40B4-BE49-F238E27FC236}">
                  <a16:creationId xmlns:a16="http://schemas.microsoft.com/office/drawing/2014/main" id="{3F27CD32-C694-417B-8763-FDDF16EB45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8722" y="2195831"/>
              <a:ext cx="23813" cy="23813"/>
            </a:xfrm>
            <a:prstGeom prst="ellipse">
              <a:avLst/>
            </a:prstGeom>
            <a:solidFill>
              <a:srgbClr val="0A0A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40" name="Oval 37">
              <a:extLst>
                <a:ext uri="{FF2B5EF4-FFF2-40B4-BE49-F238E27FC236}">
                  <a16:creationId xmlns:a16="http://schemas.microsoft.com/office/drawing/2014/main" id="{63031E0C-B31A-4D29-8AF2-6271B26C5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3484" y="2200593"/>
              <a:ext cx="14288" cy="14288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41" name="Oval 38">
              <a:extLst>
                <a:ext uri="{FF2B5EF4-FFF2-40B4-BE49-F238E27FC236}">
                  <a16:creationId xmlns:a16="http://schemas.microsoft.com/office/drawing/2014/main" id="{4D676390-F838-4515-BA2C-9DD18C254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6659" y="2203768"/>
              <a:ext cx="7938" cy="7938"/>
            </a:xfrm>
            <a:prstGeom prst="ellipse">
              <a:avLst/>
            </a:prstGeom>
            <a:solidFill>
              <a:srgbClr val="2C99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8DF1E779-B12C-4189-B4C9-53D611DAE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9834" y="2206943"/>
              <a:ext cx="1588" cy="158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43" name="Rectangle 40">
              <a:extLst>
                <a:ext uri="{FF2B5EF4-FFF2-40B4-BE49-F238E27FC236}">
                  <a16:creationId xmlns:a16="http://schemas.microsoft.com/office/drawing/2014/main" id="{84B429EF-AEE5-467E-BF1A-838E4CC8B9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3322" y="2203768"/>
              <a:ext cx="11113" cy="1111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44" name="Rectangle 41">
              <a:extLst>
                <a:ext uri="{FF2B5EF4-FFF2-40B4-BE49-F238E27FC236}">
                  <a16:creationId xmlns:a16="http://schemas.microsoft.com/office/drawing/2014/main" id="{676EA63D-0B8D-4F2D-8255-ECC96CC7E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78809" y="2278381"/>
              <a:ext cx="1165225" cy="1554163"/>
            </a:xfrm>
            <a:prstGeom prst="rect">
              <a:avLst/>
            </a:prstGeom>
            <a:solidFill>
              <a:srgbClr val="0C0D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45" name="Rectangle 42">
              <a:extLst>
                <a:ext uri="{FF2B5EF4-FFF2-40B4-BE49-F238E27FC236}">
                  <a16:creationId xmlns:a16="http://schemas.microsoft.com/office/drawing/2014/main" id="{250E2301-58FA-496C-A2DD-062633ACEA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5159" y="2284731"/>
              <a:ext cx="1152525" cy="1541463"/>
            </a:xfrm>
            <a:prstGeom prst="rect">
              <a:avLst/>
            </a:prstGeom>
            <a:solidFill>
              <a:srgbClr val="7E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46" name="Oval 43">
              <a:extLst>
                <a:ext uri="{FF2B5EF4-FFF2-40B4-BE49-F238E27FC236}">
                  <a16:creationId xmlns:a16="http://schemas.microsoft.com/office/drawing/2014/main" id="{7F7173DB-1396-4AA0-8453-3814B5DBE4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2209" y="3865881"/>
              <a:ext cx="98425" cy="100013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  <p:sp>
          <p:nvSpPr>
            <p:cNvPr id="47" name="Freeform 44">
              <a:extLst>
                <a:ext uri="{FF2B5EF4-FFF2-40B4-BE49-F238E27FC236}">
                  <a16:creationId xmlns:a16="http://schemas.microsoft.com/office/drawing/2014/main" id="{D803177A-A9BF-498B-A36D-014288C38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6022" y="3889693"/>
              <a:ext cx="50800" cy="50800"/>
            </a:xfrm>
            <a:custGeom>
              <a:avLst/>
              <a:gdLst>
                <a:gd name="T0" fmla="*/ 30 w 32"/>
                <a:gd name="T1" fmla="*/ 21 h 32"/>
                <a:gd name="T2" fmla="*/ 28 w 32"/>
                <a:gd name="T3" fmla="*/ 21 h 32"/>
                <a:gd name="T4" fmla="*/ 21 w 32"/>
                <a:gd name="T5" fmla="*/ 28 h 32"/>
                <a:gd name="T6" fmla="*/ 11 w 32"/>
                <a:gd name="T7" fmla="*/ 28 h 32"/>
                <a:gd name="T8" fmla="*/ 4 w 32"/>
                <a:gd name="T9" fmla="*/ 21 h 32"/>
                <a:gd name="T10" fmla="*/ 4 w 32"/>
                <a:gd name="T11" fmla="*/ 11 h 32"/>
                <a:gd name="T12" fmla="*/ 11 w 32"/>
                <a:gd name="T13" fmla="*/ 4 h 32"/>
                <a:gd name="T14" fmla="*/ 21 w 32"/>
                <a:gd name="T15" fmla="*/ 4 h 32"/>
                <a:gd name="T16" fmla="*/ 28 w 32"/>
                <a:gd name="T17" fmla="*/ 11 h 32"/>
                <a:gd name="T18" fmla="*/ 28 w 32"/>
                <a:gd name="T19" fmla="*/ 21 h 32"/>
                <a:gd name="T20" fmla="*/ 30 w 32"/>
                <a:gd name="T21" fmla="*/ 21 h 32"/>
                <a:gd name="T22" fmla="*/ 32 w 32"/>
                <a:gd name="T23" fmla="*/ 21 h 32"/>
                <a:gd name="T24" fmla="*/ 32 w 32"/>
                <a:gd name="T25" fmla="*/ 11 h 32"/>
                <a:gd name="T26" fmla="*/ 21 w 32"/>
                <a:gd name="T27" fmla="*/ 0 h 32"/>
                <a:gd name="T28" fmla="*/ 11 w 32"/>
                <a:gd name="T29" fmla="*/ 0 h 32"/>
                <a:gd name="T30" fmla="*/ 0 w 32"/>
                <a:gd name="T31" fmla="*/ 11 h 32"/>
                <a:gd name="T32" fmla="*/ 0 w 32"/>
                <a:gd name="T33" fmla="*/ 21 h 32"/>
                <a:gd name="T34" fmla="*/ 11 w 32"/>
                <a:gd name="T35" fmla="*/ 32 h 32"/>
                <a:gd name="T36" fmla="*/ 21 w 32"/>
                <a:gd name="T37" fmla="*/ 32 h 32"/>
                <a:gd name="T38" fmla="*/ 32 w 32"/>
                <a:gd name="T39" fmla="*/ 21 h 32"/>
                <a:gd name="T40" fmla="*/ 30 w 32"/>
                <a:gd name="T41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32">
                  <a:moveTo>
                    <a:pt x="30" y="21"/>
                  </a:moveTo>
                  <a:cubicBezTo>
                    <a:pt x="28" y="21"/>
                    <a:pt x="28" y="21"/>
                    <a:pt x="28" y="21"/>
                  </a:cubicBezTo>
                  <a:cubicBezTo>
                    <a:pt x="28" y="25"/>
                    <a:pt x="25" y="28"/>
                    <a:pt x="2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7" y="28"/>
                    <a:pt x="4" y="25"/>
                    <a:pt x="4" y="2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7"/>
                    <a:pt x="7" y="4"/>
                    <a:pt x="1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5" y="4"/>
                    <a:pt x="28" y="7"/>
                    <a:pt x="28" y="1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5"/>
                    <a:pt x="28" y="0"/>
                    <a:pt x="2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8"/>
                    <a:pt x="5" y="32"/>
                    <a:pt x="1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8" y="32"/>
                    <a:pt x="32" y="28"/>
                    <a:pt x="32" y="21"/>
                  </a:cubicBezTo>
                  <a:lnTo>
                    <a:pt x="30" y="21"/>
                  </a:lnTo>
                  <a:close/>
                </a:path>
              </a:pathLst>
            </a:custGeom>
            <a:solidFill>
              <a:srgbClr val="181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>
                <a:cs typeface="+mn-ea"/>
                <a:sym typeface="+mn-lt"/>
              </a:endParaRPr>
            </a:p>
          </p:txBody>
        </p:sp>
      </p:grp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13903C63-DB11-47F3-9E3C-7917DCEF0121}"/>
              </a:ext>
            </a:extLst>
          </p:cNvPr>
          <p:cNvGrpSpPr/>
          <p:nvPr/>
        </p:nvGrpSpPr>
        <p:grpSpPr>
          <a:xfrm>
            <a:off x="756218" y="2186601"/>
            <a:ext cx="896839" cy="897188"/>
            <a:chOff x="2151757" y="1214995"/>
            <a:chExt cx="896839" cy="897188"/>
          </a:xfrm>
        </p:grpSpPr>
        <p:sp>
          <p:nvSpPr>
            <p:cNvPr id="49" name="Shape 117">
              <a:extLst>
                <a:ext uri="{FF2B5EF4-FFF2-40B4-BE49-F238E27FC236}">
                  <a16:creationId xmlns:a16="http://schemas.microsoft.com/office/drawing/2014/main" id="{0FBD65AF-3BC9-49B2-9650-EBCC36579A35}"/>
                </a:ext>
              </a:extLst>
            </p:cNvPr>
            <p:cNvSpPr/>
            <p:nvPr/>
          </p:nvSpPr>
          <p:spPr>
            <a:xfrm>
              <a:off x="2151757" y="1214995"/>
              <a:ext cx="896839" cy="8971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lIns="91425" tIns="0" rIns="91425" bIns="6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280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50" name="Shape 120">
              <a:extLst>
                <a:ext uri="{FF2B5EF4-FFF2-40B4-BE49-F238E27FC236}">
                  <a16:creationId xmlns:a16="http://schemas.microsoft.com/office/drawing/2014/main" id="{FAA7A529-0E43-4A67-9E0C-5DC437446FB6}"/>
                </a:ext>
              </a:extLst>
            </p:cNvPr>
            <p:cNvSpPr/>
            <p:nvPr/>
          </p:nvSpPr>
          <p:spPr>
            <a:xfrm>
              <a:off x="2384211" y="1495196"/>
              <a:ext cx="451737" cy="31333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1495" y="119712"/>
                  </a:moveTo>
                  <a:lnTo>
                    <a:pt x="91495" y="119712"/>
                  </a:lnTo>
                  <a:cubicBezTo>
                    <a:pt x="28106" y="119712"/>
                    <a:pt x="28106" y="119712"/>
                    <a:pt x="28106" y="119712"/>
                  </a:cubicBezTo>
                  <a:cubicBezTo>
                    <a:pt x="12757" y="119712"/>
                    <a:pt x="0" y="101339"/>
                    <a:pt x="0" y="79234"/>
                  </a:cubicBezTo>
                  <a:cubicBezTo>
                    <a:pt x="0" y="60861"/>
                    <a:pt x="8372" y="44497"/>
                    <a:pt x="19734" y="40478"/>
                  </a:cubicBezTo>
                  <a:cubicBezTo>
                    <a:pt x="26710" y="16076"/>
                    <a:pt x="42259" y="0"/>
                    <a:pt x="60598" y="0"/>
                  </a:cubicBezTo>
                  <a:cubicBezTo>
                    <a:pt x="78936" y="0"/>
                    <a:pt x="94485" y="16076"/>
                    <a:pt x="100066" y="40478"/>
                  </a:cubicBezTo>
                  <a:cubicBezTo>
                    <a:pt x="111229" y="44497"/>
                    <a:pt x="119800" y="60861"/>
                    <a:pt x="119800" y="79234"/>
                  </a:cubicBezTo>
                  <a:cubicBezTo>
                    <a:pt x="119800" y="101339"/>
                    <a:pt x="107043" y="119712"/>
                    <a:pt x="91495" y="119712"/>
                  </a:cubicBezTo>
                  <a:close/>
                  <a:moveTo>
                    <a:pt x="102857" y="60861"/>
                  </a:moveTo>
                  <a:lnTo>
                    <a:pt x="102857" y="60861"/>
                  </a:lnTo>
                  <a:cubicBezTo>
                    <a:pt x="102857" y="60861"/>
                    <a:pt x="102857" y="60861"/>
                    <a:pt x="101461" y="58851"/>
                  </a:cubicBezTo>
                  <a:cubicBezTo>
                    <a:pt x="100066" y="58851"/>
                    <a:pt x="100066" y="56842"/>
                    <a:pt x="100066" y="56842"/>
                  </a:cubicBezTo>
                  <a:cubicBezTo>
                    <a:pt x="100066" y="56842"/>
                    <a:pt x="100066" y="56842"/>
                    <a:pt x="98671" y="56842"/>
                  </a:cubicBezTo>
                  <a:cubicBezTo>
                    <a:pt x="98671" y="56842"/>
                    <a:pt x="98671" y="56842"/>
                    <a:pt x="97275" y="56842"/>
                  </a:cubicBezTo>
                  <a:cubicBezTo>
                    <a:pt x="97275" y="56842"/>
                    <a:pt x="97275" y="56842"/>
                    <a:pt x="97275" y="54832"/>
                  </a:cubicBezTo>
                  <a:lnTo>
                    <a:pt x="95880" y="54832"/>
                  </a:lnTo>
                  <a:cubicBezTo>
                    <a:pt x="94485" y="54832"/>
                    <a:pt x="94485" y="54832"/>
                    <a:pt x="94485" y="54832"/>
                  </a:cubicBezTo>
                  <a:cubicBezTo>
                    <a:pt x="93089" y="54832"/>
                    <a:pt x="93089" y="54832"/>
                    <a:pt x="91495" y="54832"/>
                  </a:cubicBezTo>
                  <a:cubicBezTo>
                    <a:pt x="91495" y="52822"/>
                    <a:pt x="91495" y="52822"/>
                    <a:pt x="91495" y="50813"/>
                  </a:cubicBezTo>
                  <a:cubicBezTo>
                    <a:pt x="90099" y="50813"/>
                    <a:pt x="90099" y="50813"/>
                    <a:pt x="90099" y="50813"/>
                  </a:cubicBezTo>
                  <a:cubicBezTo>
                    <a:pt x="90099" y="48516"/>
                    <a:pt x="90099" y="48516"/>
                    <a:pt x="90099" y="46507"/>
                  </a:cubicBezTo>
                  <a:cubicBezTo>
                    <a:pt x="88704" y="44497"/>
                    <a:pt x="88704" y="44497"/>
                    <a:pt x="88704" y="42488"/>
                  </a:cubicBezTo>
                  <a:cubicBezTo>
                    <a:pt x="88704" y="40478"/>
                    <a:pt x="87308" y="40478"/>
                    <a:pt x="87308" y="38468"/>
                  </a:cubicBezTo>
                  <a:cubicBezTo>
                    <a:pt x="81727" y="26411"/>
                    <a:pt x="71960" y="16076"/>
                    <a:pt x="60598" y="16076"/>
                  </a:cubicBezTo>
                  <a:cubicBezTo>
                    <a:pt x="47840" y="16076"/>
                    <a:pt x="38073" y="26411"/>
                    <a:pt x="32491" y="38468"/>
                  </a:cubicBezTo>
                  <a:cubicBezTo>
                    <a:pt x="32491" y="40478"/>
                    <a:pt x="32491" y="40478"/>
                    <a:pt x="31096" y="42488"/>
                  </a:cubicBezTo>
                  <a:cubicBezTo>
                    <a:pt x="31096" y="44497"/>
                    <a:pt x="31096" y="44497"/>
                    <a:pt x="31096" y="46507"/>
                  </a:cubicBezTo>
                  <a:cubicBezTo>
                    <a:pt x="31096" y="46507"/>
                    <a:pt x="31096" y="46507"/>
                    <a:pt x="29501" y="46507"/>
                  </a:cubicBezTo>
                  <a:cubicBezTo>
                    <a:pt x="29501" y="48516"/>
                    <a:pt x="29501" y="48516"/>
                    <a:pt x="29501" y="50813"/>
                  </a:cubicBezTo>
                  <a:cubicBezTo>
                    <a:pt x="29501" y="52822"/>
                    <a:pt x="28106" y="52822"/>
                    <a:pt x="28106" y="54832"/>
                  </a:cubicBezTo>
                  <a:lnTo>
                    <a:pt x="26710" y="54832"/>
                  </a:lnTo>
                  <a:cubicBezTo>
                    <a:pt x="26710" y="54832"/>
                    <a:pt x="26710" y="54832"/>
                    <a:pt x="25315" y="54832"/>
                  </a:cubicBezTo>
                  <a:cubicBezTo>
                    <a:pt x="23920" y="54832"/>
                    <a:pt x="23920" y="54832"/>
                    <a:pt x="23920" y="54832"/>
                  </a:cubicBezTo>
                  <a:cubicBezTo>
                    <a:pt x="22524" y="56842"/>
                    <a:pt x="22524" y="56842"/>
                    <a:pt x="22524" y="56842"/>
                  </a:cubicBezTo>
                  <a:cubicBezTo>
                    <a:pt x="21129" y="56842"/>
                    <a:pt x="21129" y="56842"/>
                    <a:pt x="21129" y="56842"/>
                  </a:cubicBezTo>
                  <a:cubicBezTo>
                    <a:pt x="19734" y="56842"/>
                    <a:pt x="19734" y="58851"/>
                    <a:pt x="19734" y="58851"/>
                  </a:cubicBezTo>
                  <a:cubicBezTo>
                    <a:pt x="18338" y="58851"/>
                    <a:pt x="18338" y="58851"/>
                    <a:pt x="18338" y="58851"/>
                  </a:cubicBezTo>
                  <a:cubicBezTo>
                    <a:pt x="18338" y="60861"/>
                    <a:pt x="16943" y="60861"/>
                    <a:pt x="16943" y="60861"/>
                  </a:cubicBezTo>
                  <a:cubicBezTo>
                    <a:pt x="14152" y="64880"/>
                    <a:pt x="11362" y="70909"/>
                    <a:pt x="11362" y="79234"/>
                  </a:cubicBezTo>
                  <a:cubicBezTo>
                    <a:pt x="11362" y="93301"/>
                    <a:pt x="18338" y="103349"/>
                    <a:pt x="28106" y="103349"/>
                  </a:cubicBezTo>
                  <a:cubicBezTo>
                    <a:pt x="91495" y="103349"/>
                    <a:pt x="91495" y="103349"/>
                    <a:pt x="91495" y="103349"/>
                  </a:cubicBezTo>
                  <a:cubicBezTo>
                    <a:pt x="101461" y="103349"/>
                    <a:pt x="108438" y="93301"/>
                    <a:pt x="108438" y="79234"/>
                  </a:cubicBezTo>
                  <a:cubicBezTo>
                    <a:pt x="108438" y="70909"/>
                    <a:pt x="107043" y="64880"/>
                    <a:pt x="102857" y="6086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3600"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1" name="添加标题">
            <a:extLst>
              <a:ext uri="{FF2B5EF4-FFF2-40B4-BE49-F238E27FC236}">
                <a16:creationId xmlns:a16="http://schemas.microsoft.com/office/drawing/2014/main" id="{719A690E-62F3-4149-899E-2431BFEA305F}"/>
              </a:ext>
            </a:extLst>
          </p:cNvPr>
          <p:cNvSpPr txBox="1"/>
          <p:nvPr/>
        </p:nvSpPr>
        <p:spPr>
          <a:xfrm>
            <a:off x="1850664" y="1981491"/>
            <a:ext cx="2091708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512300F3-0BA7-4838-98DD-C4E4A3D58848}"/>
              </a:ext>
            </a:extLst>
          </p:cNvPr>
          <p:cNvGrpSpPr/>
          <p:nvPr/>
        </p:nvGrpSpPr>
        <p:grpSpPr>
          <a:xfrm>
            <a:off x="8262252" y="2186601"/>
            <a:ext cx="896839" cy="897188"/>
            <a:chOff x="2151757" y="3576749"/>
            <a:chExt cx="896839" cy="897188"/>
          </a:xfrm>
        </p:grpSpPr>
        <p:sp>
          <p:nvSpPr>
            <p:cNvPr id="53" name="Shape 111">
              <a:extLst>
                <a:ext uri="{FF2B5EF4-FFF2-40B4-BE49-F238E27FC236}">
                  <a16:creationId xmlns:a16="http://schemas.microsoft.com/office/drawing/2014/main" id="{CD90896B-C2BB-415B-BD39-7697AE8EBACD}"/>
                </a:ext>
              </a:extLst>
            </p:cNvPr>
            <p:cNvSpPr/>
            <p:nvPr/>
          </p:nvSpPr>
          <p:spPr>
            <a:xfrm>
              <a:off x="2151757" y="3576749"/>
              <a:ext cx="896839" cy="8971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lIns="91425" tIns="0" rIns="91425" bIns="6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280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54" name="Shape 122">
              <a:extLst>
                <a:ext uri="{FF2B5EF4-FFF2-40B4-BE49-F238E27FC236}">
                  <a16:creationId xmlns:a16="http://schemas.microsoft.com/office/drawing/2014/main" id="{CED8303F-C42A-4EF1-9B41-F675B40C6CCD}"/>
                </a:ext>
              </a:extLst>
            </p:cNvPr>
            <p:cNvSpPr/>
            <p:nvPr/>
          </p:nvSpPr>
          <p:spPr>
            <a:xfrm>
              <a:off x="2409560" y="3896458"/>
              <a:ext cx="385289" cy="2350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1991" y="59801"/>
                  </a:moveTo>
                  <a:lnTo>
                    <a:pt x="91991" y="59801"/>
                  </a:lnTo>
                  <a:cubicBezTo>
                    <a:pt x="91991" y="35643"/>
                    <a:pt x="100684" y="17821"/>
                    <a:pt x="104788" y="17821"/>
                  </a:cubicBezTo>
                  <a:cubicBezTo>
                    <a:pt x="106961" y="17821"/>
                    <a:pt x="113480" y="17821"/>
                    <a:pt x="113480" y="17821"/>
                  </a:cubicBezTo>
                  <a:cubicBezTo>
                    <a:pt x="109134" y="7128"/>
                    <a:pt x="106961" y="0"/>
                    <a:pt x="91991" y="0"/>
                  </a:cubicBezTo>
                  <a:cubicBezTo>
                    <a:pt x="32112" y="0"/>
                    <a:pt x="32112" y="0"/>
                    <a:pt x="32112" y="0"/>
                  </a:cubicBezTo>
                  <a:cubicBezTo>
                    <a:pt x="8692" y="0"/>
                    <a:pt x="0" y="35643"/>
                    <a:pt x="0" y="59801"/>
                  </a:cubicBezTo>
                  <a:cubicBezTo>
                    <a:pt x="0" y="84356"/>
                    <a:pt x="8692" y="119603"/>
                    <a:pt x="32112" y="119603"/>
                  </a:cubicBezTo>
                  <a:cubicBezTo>
                    <a:pt x="91991" y="119603"/>
                    <a:pt x="91991" y="119603"/>
                    <a:pt x="91991" y="119603"/>
                  </a:cubicBezTo>
                  <a:cubicBezTo>
                    <a:pt x="106961" y="119603"/>
                    <a:pt x="109134" y="112475"/>
                    <a:pt x="113480" y="101782"/>
                  </a:cubicBezTo>
                  <a:cubicBezTo>
                    <a:pt x="113480" y="101782"/>
                    <a:pt x="111307" y="101782"/>
                    <a:pt x="104788" y="101782"/>
                  </a:cubicBezTo>
                  <a:cubicBezTo>
                    <a:pt x="100684" y="101782"/>
                    <a:pt x="91991" y="87920"/>
                    <a:pt x="91991" y="59801"/>
                  </a:cubicBezTo>
                  <a:close/>
                  <a:moveTo>
                    <a:pt x="74849" y="77623"/>
                  </a:moveTo>
                  <a:lnTo>
                    <a:pt x="74849" y="77623"/>
                  </a:lnTo>
                  <a:cubicBezTo>
                    <a:pt x="74849" y="80792"/>
                    <a:pt x="72917" y="77623"/>
                    <a:pt x="72917" y="77623"/>
                  </a:cubicBezTo>
                  <a:cubicBezTo>
                    <a:pt x="53360" y="66930"/>
                    <a:pt x="53360" y="66930"/>
                    <a:pt x="53360" y="66930"/>
                  </a:cubicBezTo>
                  <a:cubicBezTo>
                    <a:pt x="53360" y="66930"/>
                    <a:pt x="53360" y="70495"/>
                    <a:pt x="51187" y="77623"/>
                  </a:cubicBezTo>
                  <a:cubicBezTo>
                    <a:pt x="49255" y="80792"/>
                    <a:pt x="49255" y="87920"/>
                    <a:pt x="44909" y="80792"/>
                  </a:cubicBezTo>
                  <a:cubicBezTo>
                    <a:pt x="38390" y="74059"/>
                    <a:pt x="23661" y="49504"/>
                    <a:pt x="23661" y="49504"/>
                  </a:cubicBezTo>
                  <a:cubicBezTo>
                    <a:pt x="23661" y="49504"/>
                    <a:pt x="21488" y="45940"/>
                    <a:pt x="21488" y="42376"/>
                  </a:cubicBezTo>
                  <a:cubicBezTo>
                    <a:pt x="23661" y="42376"/>
                    <a:pt x="25593" y="42376"/>
                    <a:pt x="25593" y="42376"/>
                  </a:cubicBezTo>
                  <a:cubicBezTo>
                    <a:pt x="42736" y="56633"/>
                    <a:pt x="42736" y="56633"/>
                    <a:pt x="42736" y="56633"/>
                  </a:cubicBezTo>
                  <a:cubicBezTo>
                    <a:pt x="42736" y="56633"/>
                    <a:pt x="44909" y="49504"/>
                    <a:pt x="47082" y="45940"/>
                  </a:cubicBezTo>
                  <a:cubicBezTo>
                    <a:pt x="47082" y="38811"/>
                    <a:pt x="49255" y="35643"/>
                    <a:pt x="53360" y="42376"/>
                  </a:cubicBezTo>
                  <a:cubicBezTo>
                    <a:pt x="57706" y="45940"/>
                    <a:pt x="74849" y="74059"/>
                    <a:pt x="74849" y="74059"/>
                  </a:cubicBezTo>
                  <a:cubicBezTo>
                    <a:pt x="74849" y="74059"/>
                    <a:pt x="77022" y="77623"/>
                    <a:pt x="74849" y="77623"/>
                  </a:cubicBezTo>
                  <a:close/>
                  <a:moveTo>
                    <a:pt x="113480" y="38811"/>
                  </a:moveTo>
                  <a:lnTo>
                    <a:pt x="113480" y="38811"/>
                  </a:lnTo>
                  <a:cubicBezTo>
                    <a:pt x="109134" y="38811"/>
                    <a:pt x="109134" y="38811"/>
                    <a:pt x="109134" y="38811"/>
                  </a:cubicBezTo>
                  <a:cubicBezTo>
                    <a:pt x="104788" y="38811"/>
                    <a:pt x="102615" y="49504"/>
                    <a:pt x="102615" y="59801"/>
                  </a:cubicBezTo>
                  <a:cubicBezTo>
                    <a:pt x="102615" y="70495"/>
                    <a:pt x="104788" y="80792"/>
                    <a:pt x="109134" y="80792"/>
                  </a:cubicBezTo>
                  <a:cubicBezTo>
                    <a:pt x="113480" y="80792"/>
                    <a:pt x="113480" y="80792"/>
                    <a:pt x="113480" y="80792"/>
                  </a:cubicBezTo>
                  <a:cubicBezTo>
                    <a:pt x="115412" y="80792"/>
                    <a:pt x="119758" y="70495"/>
                    <a:pt x="119758" y="59801"/>
                  </a:cubicBezTo>
                  <a:cubicBezTo>
                    <a:pt x="119758" y="49504"/>
                    <a:pt x="115412" y="38811"/>
                    <a:pt x="113480" y="3881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00" tIns="45700" rIns="91400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3600"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5" name="添加标题">
            <a:extLst>
              <a:ext uri="{FF2B5EF4-FFF2-40B4-BE49-F238E27FC236}">
                <a16:creationId xmlns:a16="http://schemas.microsoft.com/office/drawing/2014/main" id="{6BD54368-D3D9-462C-ABB1-97D997EE49D9}"/>
              </a:ext>
            </a:extLst>
          </p:cNvPr>
          <p:cNvSpPr txBox="1"/>
          <p:nvPr/>
        </p:nvSpPr>
        <p:spPr>
          <a:xfrm>
            <a:off x="9356698" y="1981491"/>
            <a:ext cx="2079085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5AE84F8B-E618-4289-B403-0499191B6169}"/>
              </a:ext>
            </a:extLst>
          </p:cNvPr>
          <p:cNvGrpSpPr/>
          <p:nvPr/>
        </p:nvGrpSpPr>
        <p:grpSpPr>
          <a:xfrm>
            <a:off x="756218" y="3774211"/>
            <a:ext cx="896839" cy="897188"/>
            <a:chOff x="2151757" y="2395872"/>
            <a:chExt cx="896839" cy="897188"/>
          </a:xfrm>
        </p:grpSpPr>
        <p:sp>
          <p:nvSpPr>
            <p:cNvPr id="57" name="Shape 108">
              <a:extLst>
                <a:ext uri="{FF2B5EF4-FFF2-40B4-BE49-F238E27FC236}">
                  <a16:creationId xmlns:a16="http://schemas.microsoft.com/office/drawing/2014/main" id="{01B6A0B9-BE18-49F3-9A3F-14C5558B5A06}"/>
                </a:ext>
              </a:extLst>
            </p:cNvPr>
            <p:cNvSpPr/>
            <p:nvPr/>
          </p:nvSpPr>
          <p:spPr>
            <a:xfrm>
              <a:off x="2151757" y="2395872"/>
              <a:ext cx="896839" cy="89718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lIns="91425" tIns="0" rIns="91425" bIns="6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280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58" name="Shape 123">
              <a:extLst>
                <a:ext uri="{FF2B5EF4-FFF2-40B4-BE49-F238E27FC236}">
                  <a16:creationId xmlns:a16="http://schemas.microsoft.com/office/drawing/2014/main" id="{8F4816D2-6A96-4E35-B608-0D95A2CF5898}"/>
                </a:ext>
              </a:extLst>
            </p:cNvPr>
            <p:cNvSpPr/>
            <p:nvPr/>
          </p:nvSpPr>
          <p:spPr>
            <a:xfrm>
              <a:off x="2384211" y="2600427"/>
              <a:ext cx="434681" cy="4485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865" y="41298"/>
                  </a:moveTo>
                  <a:lnTo>
                    <a:pt x="107865" y="41298"/>
                  </a:lnTo>
                  <a:cubicBezTo>
                    <a:pt x="98157" y="18441"/>
                    <a:pt x="81438" y="0"/>
                    <a:pt x="71730" y="2077"/>
                  </a:cubicBezTo>
                  <a:cubicBezTo>
                    <a:pt x="57438" y="9350"/>
                    <a:pt x="81438" y="36883"/>
                    <a:pt x="9707" y="64415"/>
                  </a:cubicBezTo>
                  <a:cubicBezTo>
                    <a:pt x="2426" y="66753"/>
                    <a:pt x="0" y="75844"/>
                    <a:pt x="2426" y="82857"/>
                  </a:cubicBezTo>
                  <a:cubicBezTo>
                    <a:pt x="4853" y="87532"/>
                    <a:pt x="14292" y="94285"/>
                    <a:pt x="21842" y="92207"/>
                  </a:cubicBezTo>
                  <a:lnTo>
                    <a:pt x="26426" y="89870"/>
                  </a:lnTo>
                  <a:cubicBezTo>
                    <a:pt x="31280" y="96623"/>
                    <a:pt x="36134" y="92207"/>
                    <a:pt x="36134" y="96623"/>
                  </a:cubicBezTo>
                  <a:cubicBezTo>
                    <a:pt x="38561" y="101298"/>
                    <a:pt x="43146" y="110389"/>
                    <a:pt x="43146" y="112727"/>
                  </a:cubicBezTo>
                  <a:cubicBezTo>
                    <a:pt x="45573" y="115064"/>
                    <a:pt x="48000" y="119740"/>
                    <a:pt x="50426" y="117402"/>
                  </a:cubicBezTo>
                  <a:cubicBezTo>
                    <a:pt x="52853" y="117402"/>
                    <a:pt x="62292" y="115064"/>
                    <a:pt x="64719" y="112727"/>
                  </a:cubicBezTo>
                  <a:cubicBezTo>
                    <a:pt x="69303" y="112727"/>
                    <a:pt x="69303" y="110389"/>
                    <a:pt x="67146" y="108051"/>
                  </a:cubicBezTo>
                  <a:cubicBezTo>
                    <a:pt x="67146" y="105974"/>
                    <a:pt x="62292" y="103636"/>
                    <a:pt x="62292" y="101298"/>
                  </a:cubicBezTo>
                  <a:cubicBezTo>
                    <a:pt x="59865" y="98961"/>
                    <a:pt x="57438" y="89870"/>
                    <a:pt x="55011" y="87532"/>
                  </a:cubicBezTo>
                  <a:cubicBezTo>
                    <a:pt x="52853" y="85194"/>
                    <a:pt x="57438" y="80519"/>
                    <a:pt x="62292" y="80519"/>
                  </a:cubicBezTo>
                  <a:cubicBezTo>
                    <a:pt x="95730" y="78441"/>
                    <a:pt x="100584" y="96623"/>
                    <a:pt x="112449" y="92207"/>
                  </a:cubicBezTo>
                  <a:cubicBezTo>
                    <a:pt x="119730" y="89870"/>
                    <a:pt x="119730" y="64415"/>
                    <a:pt x="107865" y="41298"/>
                  </a:cubicBezTo>
                  <a:close/>
                  <a:moveTo>
                    <a:pt x="105168" y="80519"/>
                  </a:moveTo>
                  <a:lnTo>
                    <a:pt x="105168" y="80519"/>
                  </a:lnTo>
                  <a:cubicBezTo>
                    <a:pt x="102741" y="80519"/>
                    <a:pt x="88449" y="71428"/>
                    <a:pt x="81438" y="52987"/>
                  </a:cubicBezTo>
                  <a:cubicBezTo>
                    <a:pt x="74157" y="34545"/>
                    <a:pt x="74157" y="16103"/>
                    <a:pt x="76584" y="16103"/>
                  </a:cubicBezTo>
                  <a:cubicBezTo>
                    <a:pt x="79011" y="16103"/>
                    <a:pt x="90876" y="27532"/>
                    <a:pt x="98157" y="45974"/>
                  </a:cubicBezTo>
                  <a:cubicBezTo>
                    <a:pt x="107865" y="64415"/>
                    <a:pt x="105168" y="78441"/>
                    <a:pt x="105168" y="805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00" tIns="45700" rIns="91400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3600"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9" name="添加标题">
            <a:extLst>
              <a:ext uri="{FF2B5EF4-FFF2-40B4-BE49-F238E27FC236}">
                <a16:creationId xmlns:a16="http://schemas.microsoft.com/office/drawing/2014/main" id="{49D908B2-1A89-466F-846F-2D2D738A9658}"/>
              </a:ext>
            </a:extLst>
          </p:cNvPr>
          <p:cNvSpPr txBox="1"/>
          <p:nvPr/>
        </p:nvSpPr>
        <p:spPr>
          <a:xfrm>
            <a:off x="1850664" y="3569101"/>
            <a:ext cx="2091708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8C524C35-3226-4250-93F8-BE9C63BDD282}"/>
              </a:ext>
            </a:extLst>
          </p:cNvPr>
          <p:cNvGrpSpPr/>
          <p:nvPr/>
        </p:nvGrpSpPr>
        <p:grpSpPr>
          <a:xfrm>
            <a:off x="8262252" y="3774211"/>
            <a:ext cx="896839" cy="897188"/>
            <a:chOff x="2151757" y="4745817"/>
            <a:chExt cx="896839" cy="897188"/>
          </a:xfrm>
        </p:grpSpPr>
        <p:sp>
          <p:nvSpPr>
            <p:cNvPr id="61" name="Shape 114">
              <a:extLst>
                <a:ext uri="{FF2B5EF4-FFF2-40B4-BE49-F238E27FC236}">
                  <a16:creationId xmlns:a16="http://schemas.microsoft.com/office/drawing/2014/main" id="{06B53515-286A-4F89-B87B-42F4499E51C6}"/>
                </a:ext>
              </a:extLst>
            </p:cNvPr>
            <p:cNvSpPr/>
            <p:nvPr/>
          </p:nvSpPr>
          <p:spPr>
            <a:xfrm>
              <a:off x="2151757" y="4745817"/>
              <a:ext cx="896839" cy="89718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lIns="91425" tIns="0" rIns="91425" bIns="64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buNone/>
              </a:pPr>
              <a:endParaRPr sz="280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62" name="Shape 121">
              <a:extLst>
                <a:ext uri="{FF2B5EF4-FFF2-40B4-BE49-F238E27FC236}">
                  <a16:creationId xmlns:a16="http://schemas.microsoft.com/office/drawing/2014/main" id="{320E3F77-1556-4870-84F6-FAAD93BCFD07}"/>
                </a:ext>
              </a:extLst>
            </p:cNvPr>
            <p:cNvSpPr/>
            <p:nvPr/>
          </p:nvSpPr>
          <p:spPr>
            <a:xfrm>
              <a:off x="2380221" y="5028603"/>
              <a:ext cx="441555" cy="35396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7585" y="21300"/>
                  </a:moveTo>
                  <a:lnTo>
                    <a:pt x="117585" y="21300"/>
                  </a:lnTo>
                  <a:cubicBezTo>
                    <a:pt x="89818" y="0"/>
                    <a:pt x="89818" y="0"/>
                    <a:pt x="89818" y="0"/>
                  </a:cubicBezTo>
                  <a:cubicBezTo>
                    <a:pt x="87645" y="0"/>
                    <a:pt x="87645" y="0"/>
                    <a:pt x="85472" y="0"/>
                  </a:cubicBezTo>
                  <a:cubicBezTo>
                    <a:pt x="59879" y="21300"/>
                    <a:pt x="59879" y="21300"/>
                    <a:pt x="59879" y="21300"/>
                  </a:cubicBezTo>
                  <a:cubicBezTo>
                    <a:pt x="34285" y="0"/>
                    <a:pt x="34285" y="0"/>
                    <a:pt x="34285" y="0"/>
                  </a:cubicBezTo>
                  <a:cubicBezTo>
                    <a:pt x="31871" y="0"/>
                    <a:pt x="31871" y="0"/>
                    <a:pt x="29698" y="0"/>
                  </a:cubicBezTo>
                  <a:cubicBezTo>
                    <a:pt x="1931" y="21300"/>
                    <a:pt x="1931" y="21300"/>
                    <a:pt x="1931" y="21300"/>
                  </a:cubicBezTo>
                  <a:cubicBezTo>
                    <a:pt x="0" y="24000"/>
                    <a:pt x="0" y="24000"/>
                    <a:pt x="0" y="26700"/>
                  </a:cubicBezTo>
                  <a:cubicBezTo>
                    <a:pt x="0" y="114600"/>
                    <a:pt x="0" y="114600"/>
                    <a:pt x="0" y="114600"/>
                  </a:cubicBezTo>
                  <a:cubicBezTo>
                    <a:pt x="0" y="114600"/>
                    <a:pt x="0" y="117000"/>
                    <a:pt x="1931" y="117000"/>
                  </a:cubicBezTo>
                  <a:cubicBezTo>
                    <a:pt x="1931" y="119700"/>
                    <a:pt x="4104" y="119700"/>
                    <a:pt x="6277" y="117000"/>
                  </a:cubicBezTo>
                  <a:cubicBezTo>
                    <a:pt x="31871" y="98400"/>
                    <a:pt x="31871" y="98400"/>
                    <a:pt x="31871" y="98400"/>
                  </a:cubicBezTo>
                  <a:cubicBezTo>
                    <a:pt x="57706" y="117000"/>
                    <a:pt x="57706" y="117000"/>
                    <a:pt x="57706" y="117000"/>
                  </a:cubicBezTo>
                  <a:cubicBezTo>
                    <a:pt x="59879" y="119700"/>
                    <a:pt x="59879" y="119700"/>
                    <a:pt x="62052" y="117000"/>
                  </a:cubicBezTo>
                  <a:cubicBezTo>
                    <a:pt x="87645" y="98400"/>
                    <a:pt x="87645" y="98400"/>
                    <a:pt x="87645" y="98400"/>
                  </a:cubicBezTo>
                  <a:cubicBezTo>
                    <a:pt x="113480" y="117000"/>
                    <a:pt x="113480" y="117000"/>
                    <a:pt x="113480" y="117000"/>
                  </a:cubicBezTo>
                  <a:cubicBezTo>
                    <a:pt x="113480" y="119700"/>
                    <a:pt x="115412" y="119700"/>
                    <a:pt x="115412" y="119700"/>
                  </a:cubicBezTo>
                  <a:cubicBezTo>
                    <a:pt x="115412" y="119700"/>
                    <a:pt x="117585" y="119700"/>
                    <a:pt x="117585" y="117000"/>
                  </a:cubicBezTo>
                  <a:cubicBezTo>
                    <a:pt x="119758" y="117000"/>
                    <a:pt x="119758" y="114600"/>
                    <a:pt x="119758" y="114600"/>
                  </a:cubicBezTo>
                  <a:cubicBezTo>
                    <a:pt x="119758" y="26700"/>
                    <a:pt x="119758" y="26700"/>
                    <a:pt x="119758" y="26700"/>
                  </a:cubicBezTo>
                  <a:cubicBezTo>
                    <a:pt x="119758" y="24000"/>
                    <a:pt x="119758" y="24000"/>
                    <a:pt x="117585" y="21300"/>
                  </a:cubicBezTo>
                  <a:close/>
                  <a:moveTo>
                    <a:pt x="27766" y="87900"/>
                  </a:moveTo>
                  <a:lnTo>
                    <a:pt x="27766" y="87900"/>
                  </a:lnTo>
                  <a:cubicBezTo>
                    <a:pt x="8450" y="103800"/>
                    <a:pt x="8450" y="103800"/>
                    <a:pt x="8450" y="103800"/>
                  </a:cubicBezTo>
                  <a:cubicBezTo>
                    <a:pt x="8450" y="29400"/>
                    <a:pt x="8450" y="29400"/>
                    <a:pt x="8450" y="29400"/>
                  </a:cubicBezTo>
                  <a:cubicBezTo>
                    <a:pt x="27766" y="13200"/>
                    <a:pt x="27766" y="13200"/>
                    <a:pt x="27766" y="13200"/>
                  </a:cubicBezTo>
                  <a:lnTo>
                    <a:pt x="27766" y="87900"/>
                  </a:lnTo>
                  <a:close/>
                  <a:moveTo>
                    <a:pt x="55533" y="103800"/>
                  </a:moveTo>
                  <a:lnTo>
                    <a:pt x="55533" y="103800"/>
                  </a:lnTo>
                  <a:cubicBezTo>
                    <a:pt x="36217" y="87900"/>
                    <a:pt x="36217" y="87900"/>
                    <a:pt x="36217" y="87900"/>
                  </a:cubicBezTo>
                  <a:cubicBezTo>
                    <a:pt x="36217" y="13200"/>
                    <a:pt x="36217" y="13200"/>
                    <a:pt x="36217" y="13200"/>
                  </a:cubicBezTo>
                  <a:cubicBezTo>
                    <a:pt x="55533" y="29400"/>
                    <a:pt x="55533" y="29400"/>
                    <a:pt x="55533" y="29400"/>
                  </a:cubicBezTo>
                  <a:lnTo>
                    <a:pt x="55533" y="103800"/>
                  </a:lnTo>
                  <a:close/>
                  <a:moveTo>
                    <a:pt x="83299" y="87900"/>
                  </a:moveTo>
                  <a:lnTo>
                    <a:pt x="83299" y="87900"/>
                  </a:lnTo>
                  <a:cubicBezTo>
                    <a:pt x="64225" y="103800"/>
                    <a:pt x="64225" y="103800"/>
                    <a:pt x="64225" y="103800"/>
                  </a:cubicBezTo>
                  <a:cubicBezTo>
                    <a:pt x="64225" y="29400"/>
                    <a:pt x="64225" y="29400"/>
                    <a:pt x="64225" y="29400"/>
                  </a:cubicBezTo>
                  <a:cubicBezTo>
                    <a:pt x="83299" y="13200"/>
                    <a:pt x="83299" y="13200"/>
                    <a:pt x="83299" y="13200"/>
                  </a:cubicBezTo>
                  <a:lnTo>
                    <a:pt x="83299" y="87900"/>
                  </a:lnTo>
                  <a:close/>
                  <a:moveTo>
                    <a:pt x="111307" y="103800"/>
                  </a:moveTo>
                  <a:lnTo>
                    <a:pt x="111307" y="103800"/>
                  </a:lnTo>
                  <a:cubicBezTo>
                    <a:pt x="91750" y="87900"/>
                    <a:pt x="91750" y="87900"/>
                    <a:pt x="91750" y="87900"/>
                  </a:cubicBezTo>
                  <a:cubicBezTo>
                    <a:pt x="91750" y="13200"/>
                    <a:pt x="91750" y="13200"/>
                    <a:pt x="91750" y="13200"/>
                  </a:cubicBezTo>
                  <a:cubicBezTo>
                    <a:pt x="111307" y="29400"/>
                    <a:pt x="111307" y="29400"/>
                    <a:pt x="111307" y="29400"/>
                  </a:cubicBezTo>
                  <a:lnTo>
                    <a:pt x="111307" y="1038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lIns="91400" tIns="45700" rIns="91400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3600">
                <a:solidFill>
                  <a:schemeClr val="dk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63" name="添加标题">
            <a:extLst>
              <a:ext uri="{FF2B5EF4-FFF2-40B4-BE49-F238E27FC236}">
                <a16:creationId xmlns:a16="http://schemas.microsoft.com/office/drawing/2014/main" id="{2789AE84-8B47-4368-B904-D82BDDBED444}"/>
              </a:ext>
            </a:extLst>
          </p:cNvPr>
          <p:cNvSpPr txBox="1"/>
          <p:nvPr/>
        </p:nvSpPr>
        <p:spPr>
          <a:xfrm>
            <a:off x="9356698" y="3569101"/>
            <a:ext cx="2079085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8C7081F-E820-43FE-BD15-EC2D5401075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2122" y="2506310"/>
            <a:ext cx="2911721" cy="3935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10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2000">
        <p14:gallery dir="l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51" grpId="0"/>
      <p:bldP spid="55" grpId="0"/>
      <p:bldP spid="59" grpId="0"/>
      <p:bldP spid="6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279020-E852-44B0-B00A-B5DACAFD1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415" y="541896"/>
            <a:ext cx="5635171" cy="547842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dd title text</a:t>
            </a:r>
          </a:p>
        </p:txBody>
      </p:sp>
      <p:sp>
        <p:nvSpPr>
          <p:cNvPr id="28" name="Freeform 240">
            <a:extLst>
              <a:ext uri="{FF2B5EF4-FFF2-40B4-BE49-F238E27FC236}">
                <a16:creationId xmlns:a16="http://schemas.microsoft.com/office/drawing/2014/main" id="{A8C8D486-1272-4651-8629-6BE0891AAE58}"/>
              </a:ext>
            </a:extLst>
          </p:cNvPr>
          <p:cNvSpPr>
            <a:spLocks noEditPoints="1"/>
          </p:cNvSpPr>
          <p:nvPr/>
        </p:nvSpPr>
        <p:spPr bwMode="auto">
          <a:xfrm>
            <a:off x="2936709" y="3529971"/>
            <a:ext cx="2319338" cy="2319337"/>
          </a:xfrm>
          <a:custGeom>
            <a:avLst/>
            <a:gdLst>
              <a:gd name="T0" fmla="*/ 1840 w 1840"/>
              <a:gd name="T1" fmla="*/ 964 h 1840"/>
              <a:gd name="T2" fmla="*/ 1682 w 1840"/>
              <a:gd name="T3" fmla="*/ 808 h 1840"/>
              <a:gd name="T4" fmla="*/ 1791 w 1840"/>
              <a:gd name="T5" fmla="*/ 614 h 1840"/>
              <a:gd name="T6" fmla="*/ 1578 w 1840"/>
              <a:gd name="T7" fmla="*/ 521 h 1840"/>
              <a:gd name="T8" fmla="*/ 1602 w 1840"/>
              <a:gd name="T9" fmla="*/ 301 h 1840"/>
              <a:gd name="T10" fmla="*/ 1379 w 1840"/>
              <a:gd name="T11" fmla="*/ 303 h 1840"/>
              <a:gd name="T12" fmla="*/ 1318 w 1840"/>
              <a:gd name="T13" fmla="*/ 90 h 1840"/>
              <a:gd name="T14" fmla="*/ 1103 w 1840"/>
              <a:gd name="T15" fmla="*/ 173 h 1840"/>
              <a:gd name="T16" fmla="*/ 964 w 1840"/>
              <a:gd name="T17" fmla="*/ 0 h 1840"/>
              <a:gd name="T18" fmla="*/ 808 w 1840"/>
              <a:gd name="T19" fmla="*/ 159 h 1840"/>
              <a:gd name="T20" fmla="*/ 613 w 1840"/>
              <a:gd name="T21" fmla="*/ 49 h 1840"/>
              <a:gd name="T22" fmla="*/ 521 w 1840"/>
              <a:gd name="T23" fmla="*/ 262 h 1840"/>
              <a:gd name="T24" fmla="*/ 301 w 1840"/>
              <a:gd name="T25" fmla="*/ 239 h 1840"/>
              <a:gd name="T26" fmla="*/ 303 w 1840"/>
              <a:gd name="T27" fmla="*/ 461 h 1840"/>
              <a:gd name="T28" fmla="*/ 89 w 1840"/>
              <a:gd name="T29" fmla="*/ 522 h 1840"/>
              <a:gd name="T30" fmla="*/ 173 w 1840"/>
              <a:gd name="T31" fmla="*/ 737 h 1840"/>
              <a:gd name="T32" fmla="*/ 0 w 1840"/>
              <a:gd name="T33" fmla="*/ 877 h 1840"/>
              <a:gd name="T34" fmla="*/ 159 w 1840"/>
              <a:gd name="T35" fmla="*/ 1032 h 1840"/>
              <a:gd name="T36" fmla="*/ 49 w 1840"/>
              <a:gd name="T37" fmla="*/ 1227 h 1840"/>
              <a:gd name="T38" fmla="*/ 262 w 1840"/>
              <a:gd name="T39" fmla="*/ 1320 h 1840"/>
              <a:gd name="T40" fmla="*/ 239 w 1840"/>
              <a:gd name="T41" fmla="*/ 1540 h 1840"/>
              <a:gd name="T42" fmla="*/ 461 w 1840"/>
              <a:gd name="T43" fmla="*/ 1538 h 1840"/>
              <a:gd name="T44" fmla="*/ 522 w 1840"/>
              <a:gd name="T45" fmla="*/ 1751 h 1840"/>
              <a:gd name="T46" fmla="*/ 737 w 1840"/>
              <a:gd name="T47" fmla="*/ 1668 h 1840"/>
              <a:gd name="T48" fmla="*/ 876 w 1840"/>
              <a:gd name="T49" fmla="*/ 1840 h 1840"/>
              <a:gd name="T50" fmla="*/ 1032 w 1840"/>
              <a:gd name="T51" fmla="*/ 1682 h 1840"/>
              <a:gd name="T52" fmla="*/ 1227 w 1840"/>
              <a:gd name="T53" fmla="*/ 1791 h 1840"/>
              <a:gd name="T54" fmla="*/ 1319 w 1840"/>
              <a:gd name="T55" fmla="*/ 1579 h 1840"/>
              <a:gd name="T56" fmla="*/ 1540 w 1840"/>
              <a:gd name="T57" fmla="*/ 1602 h 1840"/>
              <a:gd name="T58" fmla="*/ 1538 w 1840"/>
              <a:gd name="T59" fmla="*/ 1380 h 1840"/>
              <a:gd name="T60" fmla="*/ 1751 w 1840"/>
              <a:gd name="T61" fmla="*/ 1318 h 1840"/>
              <a:gd name="T62" fmla="*/ 1668 w 1840"/>
              <a:gd name="T63" fmla="*/ 1104 h 1840"/>
              <a:gd name="T64" fmla="*/ 1081 w 1840"/>
              <a:gd name="T65" fmla="*/ 1490 h 1840"/>
              <a:gd name="T66" fmla="*/ 759 w 1840"/>
              <a:gd name="T67" fmla="*/ 351 h 1840"/>
              <a:gd name="T68" fmla="*/ 1081 w 1840"/>
              <a:gd name="T69" fmla="*/ 149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40" h="1840">
                <a:moveTo>
                  <a:pt x="1827" y="1080"/>
                </a:moveTo>
                <a:cubicBezTo>
                  <a:pt x="1840" y="964"/>
                  <a:pt x="1840" y="964"/>
                  <a:pt x="1840" y="964"/>
                </a:cubicBezTo>
                <a:cubicBezTo>
                  <a:pt x="1690" y="906"/>
                  <a:pt x="1690" y="906"/>
                  <a:pt x="1690" y="906"/>
                </a:cubicBezTo>
                <a:cubicBezTo>
                  <a:pt x="1689" y="874"/>
                  <a:pt x="1687" y="841"/>
                  <a:pt x="1682" y="808"/>
                </a:cubicBezTo>
                <a:cubicBezTo>
                  <a:pt x="1823" y="726"/>
                  <a:pt x="1823" y="726"/>
                  <a:pt x="1823" y="726"/>
                </a:cubicBezTo>
                <a:cubicBezTo>
                  <a:pt x="1791" y="614"/>
                  <a:pt x="1791" y="614"/>
                  <a:pt x="1791" y="614"/>
                </a:cubicBezTo>
                <a:cubicBezTo>
                  <a:pt x="1628" y="618"/>
                  <a:pt x="1628" y="618"/>
                  <a:pt x="1628" y="618"/>
                </a:cubicBezTo>
                <a:cubicBezTo>
                  <a:pt x="1614" y="584"/>
                  <a:pt x="1597" y="552"/>
                  <a:pt x="1578" y="521"/>
                </a:cubicBezTo>
                <a:cubicBezTo>
                  <a:pt x="1675" y="392"/>
                  <a:pt x="1675" y="392"/>
                  <a:pt x="1675" y="392"/>
                </a:cubicBezTo>
                <a:cubicBezTo>
                  <a:pt x="1602" y="301"/>
                  <a:pt x="1602" y="301"/>
                  <a:pt x="1602" y="301"/>
                </a:cubicBezTo>
                <a:cubicBezTo>
                  <a:pt x="1455" y="366"/>
                  <a:pt x="1455" y="366"/>
                  <a:pt x="1455" y="366"/>
                </a:cubicBezTo>
                <a:cubicBezTo>
                  <a:pt x="1431" y="344"/>
                  <a:pt x="1406" y="322"/>
                  <a:pt x="1379" y="303"/>
                </a:cubicBezTo>
                <a:cubicBezTo>
                  <a:pt x="1420" y="147"/>
                  <a:pt x="1420" y="147"/>
                  <a:pt x="1420" y="147"/>
                </a:cubicBezTo>
                <a:cubicBezTo>
                  <a:pt x="1318" y="90"/>
                  <a:pt x="1318" y="90"/>
                  <a:pt x="1318" y="90"/>
                </a:cubicBezTo>
                <a:cubicBezTo>
                  <a:pt x="1206" y="206"/>
                  <a:pt x="1206" y="206"/>
                  <a:pt x="1206" y="206"/>
                </a:cubicBezTo>
                <a:cubicBezTo>
                  <a:pt x="1173" y="193"/>
                  <a:pt x="1139" y="181"/>
                  <a:pt x="1103" y="173"/>
                </a:cubicBezTo>
                <a:cubicBezTo>
                  <a:pt x="1080" y="13"/>
                  <a:pt x="1080" y="13"/>
                  <a:pt x="1080" y="13"/>
                </a:cubicBezTo>
                <a:cubicBezTo>
                  <a:pt x="964" y="0"/>
                  <a:pt x="964" y="0"/>
                  <a:pt x="964" y="0"/>
                </a:cubicBezTo>
                <a:cubicBezTo>
                  <a:pt x="906" y="151"/>
                  <a:pt x="906" y="151"/>
                  <a:pt x="906" y="151"/>
                </a:cubicBezTo>
                <a:cubicBezTo>
                  <a:pt x="874" y="151"/>
                  <a:pt x="841" y="154"/>
                  <a:pt x="808" y="159"/>
                </a:cubicBezTo>
                <a:cubicBezTo>
                  <a:pt x="726" y="17"/>
                  <a:pt x="726" y="17"/>
                  <a:pt x="726" y="17"/>
                </a:cubicBezTo>
                <a:cubicBezTo>
                  <a:pt x="613" y="49"/>
                  <a:pt x="613" y="49"/>
                  <a:pt x="613" y="49"/>
                </a:cubicBezTo>
                <a:cubicBezTo>
                  <a:pt x="617" y="213"/>
                  <a:pt x="617" y="213"/>
                  <a:pt x="617" y="213"/>
                </a:cubicBezTo>
                <a:cubicBezTo>
                  <a:pt x="584" y="227"/>
                  <a:pt x="552" y="244"/>
                  <a:pt x="521" y="262"/>
                </a:cubicBezTo>
                <a:cubicBezTo>
                  <a:pt x="392" y="166"/>
                  <a:pt x="392" y="166"/>
                  <a:pt x="392" y="166"/>
                </a:cubicBezTo>
                <a:cubicBezTo>
                  <a:pt x="301" y="239"/>
                  <a:pt x="301" y="239"/>
                  <a:pt x="301" y="239"/>
                </a:cubicBezTo>
                <a:cubicBezTo>
                  <a:pt x="366" y="386"/>
                  <a:pt x="366" y="386"/>
                  <a:pt x="366" y="386"/>
                </a:cubicBezTo>
                <a:cubicBezTo>
                  <a:pt x="343" y="410"/>
                  <a:pt x="322" y="435"/>
                  <a:pt x="303" y="461"/>
                </a:cubicBezTo>
                <a:cubicBezTo>
                  <a:pt x="147" y="420"/>
                  <a:pt x="147" y="420"/>
                  <a:pt x="147" y="420"/>
                </a:cubicBezTo>
                <a:cubicBezTo>
                  <a:pt x="89" y="522"/>
                  <a:pt x="89" y="522"/>
                  <a:pt x="89" y="522"/>
                </a:cubicBezTo>
                <a:cubicBezTo>
                  <a:pt x="206" y="634"/>
                  <a:pt x="206" y="634"/>
                  <a:pt x="206" y="634"/>
                </a:cubicBezTo>
                <a:cubicBezTo>
                  <a:pt x="192" y="668"/>
                  <a:pt x="181" y="702"/>
                  <a:pt x="173" y="737"/>
                </a:cubicBezTo>
                <a:cubicBezTo>
                  <a:pt x="13" y="760"/>
                  <a:pt x="13" y="760"/>
                  <a:pt x="13" y="760"/>
                </a:cubicBezTo>
                <a:cubicBezTo>
                  <a:pt x="0" y="877"/>
                  <a:pt x="0" y="877"/>
                  <a:pt x="0" y="877"/>
                </a:cubicBezTo>
                <a:cubicBezTo>
                  <a:pt x="151" y="934"/>
                  <a:pt x="151" y="934"/>
                  <a:pt x="151" y="934"/>
                </a:cubicBezTo>
                <a:cubicBezTo>
                  <a:pt x="151" y="967"/>
                  <a:pt x="154" y="1000"/>
                  <a:pt x="159" y="1032"/>
                </a:cubicBezTo>
                <a:cubicBezTo>
                  <a:pt x="17" y="1115"/>
                  <a:pt x="17" y="1115"/>
                  <a:pt x="17" y="1115"/>
                </a:cubicBezTo>
                <a:cubicBezTo>
                  <a:pt x="49" y="1227"/>
                  <a:pt x="49" y="1227"/>
                  <a:pt x="49" y="1227"/>
                </a:cubicBezTo>
                <a:cubicBezTo>
                  <a:pt x="212" y="1223"/>
                  <a:pt x="212" y="1223"/>
                  <a:pt x="212" y="1223"/>
                </a:cubicBezTo>
                <a:cubicBezTo>
                  <a:pt x="227" y="1257"/>
                  <a:pt x="243" y="1289"/>
                  <a:pt x="262" y="1320"/>
                </a:cubicBezTo>
                <a:cubicBezTo>
                  <a:pt x="166" y="1449"/>
                  <a:pt x="166" y="1449"/>
                  <a:pt x="166" y="1449"/>
                </a:cubicBezTo>
                <a:cubicBezTo>
                  <a:pt x="239" y="1540"/>
                  <a:pt x="239" y="1540"/>
                  <a:pt x="239" y="1540"/>
                </a:cubicBezTo>
                <a:cubicBezTo>
                  <a:pt x="386" y="1474"/>
                  <a:pt x="386" y="1474"/>
                  <a:pt x="386" y="1474"/>
                </a:cubicBezTo>
                <a:cubicBezTo>
                  <a:pt x="410" y="1497"/>
                  <a:pt x="435" y="1518"/>
                  <a:pt x="461" y="1538"/>
                </a:cubicBezTo>
                <a:cubicBezTo>
                  <a:pt x="420" y="1694"/>
                  <a:pt x="420" y="1694"/>
                  <a:pt x="420" y="1694"/>
                </a:cubicBezTo>
                <a:cubicBezTo>
                  <a:pt x="522" y="1751"/>
                  <a:pt x="522" y="1751"/>
                  <a:pt x="522" y="1751"/>
                </a:cubicBezTo>
                <a:cubicBezTo>
                  <a:pt x="634" y="1635"/>
                  <a:pt x="634" y="1635"/>
                  <a:pt x="634" y="1635"/>
                </a:cubicBezTo>
                <a:cubicBezTo>
                  <a:pt x="667" y="1648"/>
                  <a:pt x="702" y="1659"/>
                  <a:pt x="737" y="1668"/>
                </a:cubicBezTo>
                <a:cubicBezTo>
                  <a:pt x="760" y="1827"/>
                  <a:pt x="760" y="1827"/>
                  <a:pt x="760" y="1827"/>
                </a:cubicBezTo>
                <a:cubicBezTo>
                  <a:pt x="876" y="1840"/>
                  <a:pt x="876" y="1840"/>
                  <a:pt x="876" y="1840"/>
                </a:cubicBezTo>
                <a:cubicBezTo>
                  <a:pt x="934" y="1690"/>
                  <a:pt x="934" y="1690"/>
                  <a:pt x="934" y="1690"/>
                </a:cubicBezTo>
                <a:cubicBezTo>
                  <a:pt x="967" y="1689"/>
                  <a:pt x="1000" y="1687"/>
                  <a:pt x="1032" y="1682"/>
                </a:cubicBezTo>
                <a:cubicBezTo>
                  <a:pt x="1114" y="1823"/>
                  <a:pt x="1114" y="1823"/>
                  <a:pt x="1114" y="1823"/>
                </a:cubicBezTo>
                <a:cubicBezTo>
                  <a:pt x="1227" y="1791"/>
                  <a:pt x="1227" y="1791"/>
                  <a:pt x="1227" y="1791"/>
                </a:cubicBezTo>
                <a:cubicBezTo>
                  <a:pt x="1223" y="1628"/>
                  <a:pt x="1223" y="1628"/>
                  <a:pt x="1223" y="1628"/>
                </a:cubicBezTo>
                <a:cubicBezTo>
                  <a:pt x="1256" y="1614"/>
                  <a:pt x="1289" y="1597"/>
                  <a:pt x="1319" y="1579"/>
                </a:cubicBezTo>
                <a:cubicBezTo>
                  <a:pt x="1448" y="1675"/>
                  <a:pt x="1448" y="1675"/>
                  <a:pt x="1448" y="1675"/>
                </a:cubicBezTo>
                <a:cubicBezTo>
                  <a:pt x="1540" y="1602"/>
                  <a:pt x="1540" y="1602"/>
                  <a:pt x="1540" y="1602"/>
                </a:cubicBezTo>
                <a:cubicBezTo>
                  <a:pt x="1474" y="1455"/>
                  <a:pt x="1474" y="1455"/>
                  <a:pt x="1474" y="1455"/>
                </a:cubicBezTo>
                <a:cubicBezTo>
                  <a:pt x="1497" y="1431"/>
                  <a:pt x="1518" y="1406"/>
                  <a:pt x="1538" y="1380"/>
                </a:cubicBezTo>
                <a:cubicBezTo>
                  <a:pt x="1694" y="1420"/>
                  <a:pt x="1694" y="1420"/>
                  <a:pt x="1694" y="1420"/>
                </a:cubicBezTo>
                <a:cubicBezTo>
                  <a:pt x="1751" y="1318"/>
                  <a:pt x="1751" y="1318"/>
                  <a:pt x="1751" y="1318"/>
                </a:cubicBezTo>
                <a:cubicBezTo>
                  <a:pt x="1635" y="1207"/>
                  <a:pt x="1635" y="1207"/>
                  <a:pt x="1635" y="1207"/>
                </a:cubicBezTo>
                <a:cubicBezTo>
                  <a:pt x="1648" y="1173"/>
                  <a:pt x="1659" y="1139"/>
                  <a:pt x="1668" y="1104"/>
                </a:cubicBezTo>
                <a:lnTo>
                  <a:pt x="1827" y="1080"/>
                </a:lnTo>
                <a:close/>
                <a:moveTo>
                  <a:pt x="1081" y="1490"/>
                </a:moveTo>
                <a:cubicBezTo>
                  <a:pt x="766" y="1579"/>
                  <a:pt x="439" y="1396"/>
                  <a:pt x="350" y="1081"/>
                </a:cubicBezTo>
                <a:cubicBezTo>
                  <a:pt x="262" y="767"/>
                  <a:pt x="445" y="439"/>
                  <a:pt x="759" y="351"/>
                </a:cubicBezTo>
                <a:cubicBezTo>
                  <a:pt x="1074" y="262"/>
                  <a:pt x="1401" y="445"/>
                  <a:pt x="1490" y="760"/>
                </a:cubicBezTo>
                <a:cubicBezTo>
                  <a:pt x="1579" y="1074"/>
                  <a:pt x="1396" y="1401"/>
                  <a:pt x="1081" y="149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29" name="Freeform 241">
            <a:extLst>
              <a:ext uri="{FF2B5EF4-FFF2-40B4-BE49-F238E27FC236}">
                <a16:creationId xmlns:a16="http://schemas.microsoft.com/office/drawing/2014/main" id="{FB960743-4854-4387-AB02-AD1D91DB4926}"/>
              </a:ext>
            </a:extLst>
          </p:cNvPr>
          <p:cNvSpPr>
            <a:spLocks noEditPoints="1"/>
          </p:cNvSpPr>
          <p:nvPr/>
        </p:nvSpPr>
        <p:spPr bwMode="auto">
          <a:xfrm>
            <a:off x="1472066" y="3040136"/>
            <a:ext cx="1682750" cy="1682750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0" name="Freeform 241">
            <a:extLst>
              <a:ext uri="{FF2B5EF4-FFF2-40B4-BE49-F238E27FC236}">
                <a16:creationId xmlns:a16="http://schemas.microsoft.com/office/drawing/2014/main" id="{FE045C90-1295-4CA3-8AEA-97830FFF4790}"/>
              </a:ext>
            </a:extLst>
          </p:cNvPr>
          <p:cNvSpPr>
            <a:spLocks noEditPoints="1"/>
          </p:cNvSpPr>
          <p:nvPr/>
        </p:nvSpPr>
        <p:spPr bwMode="auto">
          <a:xfrm rot="21321938">
            <a:off x="2614062" y="1857648"/>
            <a:ext cx="1682750" cy="1682750"/>
          </a:xfrm>
          <a:custGeom>
            <a:avLst/>
            <a:gdLst>
              <a:gd name="T0" fmla="*/ 1335 w 1335"/>
              <a:gd name="T1" fmla="*/ 699 h 1335"/>
              <a:gd name="T2" fmla="*/ 1220 w 1335"/>
              <a:gd name="T3" fmla="*/ 586 h 1335"/>
              <a:gd name="T4" fmla="*/ 1300 w 1335"/>
              <a:gd name="T5" fmla="*/ 445 h 1335"/>
              <a:gd name="T6" fmla="*/ 1145 w 1335"/>
              <a:gd name="T7" fmla="*/ 378 h 1335"/>
              <a:gd name="T8" fmla="*/ 1162 w 1335"/>
              <a:gd name="T9" fmla="*/ 218 h 1335"/>
              <a:gd name="T10" fmla="*/ 1001 w 1335"/>
              <a:gd name="T11" fmla="*/ 219 h 1335"/>
              <a:gd name="T12" fmla="*/ 956 w 1335"/>
              <a:gd name="T13" fmla="*/ 65 h 1335"/>
              <a:gd name="T14" fmla="*/ 801 w 1335"/>
              <a:gd name="T15" fmla="*/ 125 h 1335"/>
              <a:gd name="T16" fmla="*/ 699 w 1335"/>
              <a:gd name="T17" fmla="*/ 0 h 1335"/>
              <a:gd name="T18" fmla="*/ 586 w 1335"/>
              <a:gd name="T19" fmla="*/ 115 h 1335"/>
              <a:gd name="T20" fmla="*/ 445 w 1335"/>
              <a:gd name="T21" fmla="*/ 35 h 1335"/>
              <a:gd name="T22" fmla="*/ 378 w 1335"/>
              <a:gd name="T23" fmla="*/ 190 h 1335"/>
              <a:gd name="T24" fmla="*/ 218 w 1335"/>
              <a:gd name="T25" fmla="*/ 173 h 1335"/>
              <a:gd name="T26" fmla="*/ 220 w 1335"/>
              <a:gd name="T27" fmla="*/ 334 h 1335"/>
              <a:gd name="T28" fmla="*/ 65 w 1335"/>
              <a:gd name="T29" fmla="*/ 379 h 1335"/>
              <a:gd name="T30" fmla="*/ 125 w 1335"/>
              <a:gd name="T31" fmla="*/ 535 h 1335"/>
              <a:gd name="T32" fmla="*/ 0 w 1335"/>
              <a:gd name="T33" fmla="*/ 636 h 1335"/>
              <a:gd name="T34" fmla="*/ 115 w 1335"/>
              <a:gd name="T35" fmla="*/ 749 h 1335"/>
              <a:gd name="T36" fmla="*/ 35 w 1335"/>
              <a:gd name="T37" fmla="*/ 890 h 1335"/>
              <a:gd name="T38" fmla="*/ 190 w 1335"/>
              <a:gd name="T39" fmla="*/ 957 h 1335"/>
              <a:gd name="T40" fmla="*/ 173 w 1335"/>
              <a:gd name="T41" fmla="*/ 1117 h 1335"/>
              <a:gd name="T42" fmla="*/ 334 w 1335"/>
              <a:gd name="T43" fmla="*/ 1116 h 1335"/>
              <a:gd name="T44" fmla="*/ 379 w 1335"/>
              <a:gd name="T45" fmla="*/ 1270 h 1335"/>
              <a:gd name="T46" fmla="*/ 535 w 1335"/>
              <a:gd name="T47" fmla="*/ 1210 h 1335"/>
              <a:gd name="T48" fmla="*/ 636 w 1335"/>
              <a:gd name="T49" fmla="*/ 1335 h 1335"/>
              <a:gd name="T50" fmla="*/ 749 w 1335"/>
              <a:gd name="T51" fmla="*/ 1220 h 1335"/>
              <a:gd name="T52" fmla="*/ 890 w 1335"/>
              <a:gd name="T53" fmla="*/ 1299 h 1335"/>
              <a:gd name="T54" fmla="*/ 957 w 1335"/>
              <a:gd name="T55" fmla="*/ 1145 h 1335"/>
              <a:gd name="T56" fmla="*/ 1117 w 1335"/>
              <a:gd name="T57" fmla="*/ 1162 h 1335"/>
              <a:gd name="T58" fmla="*/ 1116 w 1335"/>
              <a:gd name="T59" fmla="*/ 1001 h 1335"/>
              <a:gd name="T60" fmla="*/ 1271 w 1335"/>
              <a:gd name="T61" fmla="*/ 956 h 1335"/>
              <a:gd name="T62" fmla="*/ 1210 w 1335"/>
              <a:gd name="T63" fmla="*/ 801 h 1335"/>
              <a:gd name="T64" fmla="*/ 776 w 1335"/>
              <a:gd name="T65" fmla="*/ 1050 h 1335"/>
              <a:gd name="T66" fmla="*/ 560 w 1335"/>
              <a:gd name="T67" fmla="*/ 286 h 1335"/>
              <a:gd name="T68" fmla="*/ 776 w 1335"/>
              <a:gd name="T69" fmla="*/ 105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5" h="1335">
                <a:moveTo>
                  <a:pt x="1326" y="784"/>
                </a:moveTo>
                <a:cubicBezTo>
                  <a:pt x="1335" y="699"/>
                  <a:pt x="1335" y="699"/>
                  <a:pt x="1335" y="699"/>
                </a:cubicBezTo>
                <a:cubicBezTo>
                  <a:pt x="1226" y="658"/>
                  <a:pt x="1226" y="658"/>
                  <a:pt x="1226" y="658"/>
                </a:cubicBezTo>
                <a:cubicBezTo>
                  <a:pt x="1226" y="634"/>
                  <a:pt x="1224" y="610"/>
                  <a:pt x="1220" y="586"/>
                </a:cubicBezTo>
                <a:cubicBezTo>
                  <a:pt x="1323" y="527"/>
                  <a:pt x="1323" y="527"/>
                  <a:pt x="1323" y="527"/>
                </a:cubicBezTo>
                <a:cubicBezTo>
                  <a:pt x="1300" y="445"/>
                  <a:pt x="1300" y="445"/>
                  <a:pt x="1300" y="445"/>
                </a:cubicBezTo>
                <a:cubicBezTo>
                  <a:pt x="1181" y="448"/>
                  <a:pt x="1181" y="448"/>
                  <a:pt x="1181" y="448"/>
                </a:cubicBezTo>
                <a:cubicBezTo>
                  <a:pt x="1171" y="424"/>
                  <a:pt x="1159" y="400"/>
                  <a:pt x="1145" y="378"/>
                </a:cubicBezTo>
                <a:cubicBezTo>
                  <a:pt x="1215" y="284"/>
                  <a:pt x="1215" y="284"/>
                  <a:pt x="1215" y="284"/>
                </a:cubicBezTo>
                <a:cubicBezTo>
                  <a:pt x="1162" y="218"/>
                  <a:pt x="1162" y="218"/>
                  <a:pt x="1162" y="218"/>
                </a:cubicBezTo>
                <a:cubicBezTo>
                  <a:pt x="1055" y="266"/>
                  <a:pt x="1055" y="266"/>
                  <a:pt x="1055" y="266"/>
                </a:cubicBezTo>
                <a:cubicBezTo>
                  <a:pt x="1038" y="249"/>
                  <a:pt x="1020" y="234"/>
                  <a:pt x="1001" y="219"/>
                </a:cubicBezTo>
                <a:cubicBezTo>
                  <a:pt x="1031" y="106"/>
                  <a:pt x="1031" y="106"/>
                  <a:pt x="1031" y="106"/>
                </a:cubicBezTo>
                <a:cubicBezTo>
                  <a:pt x="956" y="65"/>
                  <a:pt x="956" y="65"/>
                  <a:pt x="956" y="65"/>
                </a:cubicBezTo>
                <a:cubicBezTo>
                  <a:pt x="875" y="149"/>
                  <a:pt x="875" y="149"/>
                  <a:pt x="875" y="149"/>
                </a:cubicBezTo>
                <a:cubicBezTo>
                  <a:pt x="851" y="139"/>
                  <a:pt x="826" y="131"/>
                  <a:pt x="801" y="125"/>
                </a:cubicBezTo>
                <a:cubicBezTo>
                  <a:pt x="784" y="9"/>
                  <a:pt x="784" y="9"/>
                  <a:pt x="784" y="9"/>
                </a:cubicBezTo>
                <a:cubicBezTo>
                  <a:pt x="699" y="0"/>
                  <a:pt x="699" y="0"/>
                  <a:pt x="699" y="0"/>
                </a:cubicBezTo>
                <a:cubicBezTo>
                  <a:pt x="658" y="109"/>
                  <a:pt x="658" y="109"/>
                  <a:pt x="658" y="109"/>
                </a:cubicBezTo>
                <a:cubicBezTo>
                  <a:pt x="634" y="109"/>
                  <a:pt x="610" y="111"/>
                  <a:pt x="586" y="115"/>
                </a:cubicBezTo>
                <a:cubicBezTo>
                  <a:pt x="527" y="12"/>
                  <a:pt x="527" y="12"/>
                  <a:pt x="527" y="12"/>
                </a:cubicBezTo>
                <a:cubicBezTo>
                  <a:pt x="445" y="35"/>
                  <a:pt x="445" y="35"/>
                  <a:pt x="445" y="35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24" y="164"/>
                  <a:pt x="400" y="176"/>
                  <a:pt x="378" y="190"/>
                </a:cubicBezTo>
                <a:cubicBezTo>
                  <a:pt x="284" y="120"/>
                  <a:pt x="284" y="120"/>
                  <a:pt x="284" y="120"/>
                </a:cubicBezTo>
                <a:cubicBezTo>
                  <a:pt x="218" y="173"/>
                  <a:pt x="218" y="173"/>
                  <a:pt x="218" y="173"/>
                </a:cubicBezTo>
                <a:cubicBezTo>
                  <a:pt x="266" y="280"/>
                  <a:pt x="266" y="280"/>
                  <a:pt x="266" y="280"/>
                </a:cubicBezTo>
                <a:cubicBezTo>
                  <a:pt x="249" y="297"/>
                  <a:pt x="234" y="315"/>
                  <a:pt x="220" y="334"/>
                </a:cubicBezTo>
                <a:cubicBezTo>
                  <a:pt x="106" y="305"/>
                  <a:pt x="106" y="305"/>
                  <a:pt x="106" y="305"/>
                </a:cubicBezTo>
                <a:cubicBezTo>
                  <a:pt x="65" y="379"/>
                  <a:pt x="65" y="379"/>
                  <a:pt x="65" y="379"/>
                </a:cubicBezTo>
                <a:cubicBezTo>
                  <a:pt x="149" y="460"/>
                  <a:pt x="149" y="460"/>
                  <a:pt x="149" y="460"/>
                </a:cubicBezTo>
                <a:cubicBezTo>
                  <a:pt x="139" y="484"/>
                  <a:pt x="131" y="509"/>
                  <a:pt x="125" y="535"/>
                </a:cubicBezTo>
                <a:cubicBezTo>
                  <a:pt x="9" y="551"/>
                  <a:pt x="9" y="551"/>
                  <a:pt x="9" y="551"/>
                </a:cubicBezTo>
                <a:cubicBezTo>
                  <a:pt x="0" y="636"/>
                  <a:pt x="0" y="636"/>
                  <a:pt x="0" y="636"/>
                </a:cubicBezTo>
                <a:cubicBezTo>
                  <a:pt x="109" y="678"/>
                  <a:pt x="109" y="678"/>
                  <a:pt x="109" y="678"/>
                </a:cubicBezTo>
                <a:cubicBezTo>
                  <a:pt x="110" y="701"/>
                  <a:pt x="111" y="725"/>
                  <a:pt x="115" y="749"/>
                </a:cubicBezTo>
                <a:cubicBezTo>
                  <a:pt x="12" y="809"/>
                  <a:pt x="12" y="809"/>
                  <a:pt x="12" y="809"/>
                </a:cubicBezTo>
                <a:cubicBezTo>
                  <a:pt x="35" y="890"/>
                  <a:pt x="35" y="890"/>
                  <a:pt x="35" y="890"/>
                </a:cubicBezTo>
                <a:cubicBezTo>
                  <a:pt x="154" y="887"/>
                  <a:pt x="154" y="887"/>
                  <a:pt x="154" y="887"/>
                </a:cubicBezTo>
                <a:cubicBezTo>
                  <a:pt x="164" y="912"/>
                  <a:pt x="177" y="935"/>
                  <a:pt x="190" y="957"/>
                </a:cubicBezTo>
                <a:cubicBezTo>
                  <a:pt x="120" y="1051"/>
                  <a:pt x="120" y="1051"/>
                  <a:pt x="120" y="1051"/>
                </a:cubicBezTo>
                <a:cubicBezTo>
                  <a:pt x="173" y="1117"/>
                  <a:pt x="173" y="1117"/>
                  <a:pt x="173" y="1117"/>
                </a:cubicBezTo>
                <a:cubicBezTo>
                  <a:pt x="280" y="1070"/>
                  <a:pt x="280" y="1070"/>
                  <a:pt x="280" y="1070"/>
                </a:cubicBezTo>
                <a:cubicBezTo>
                  <a:pt x="297" y="1086"/>
                  <a:pt x="315" y="1102"/>
                  <a:pt x="334" y="1116"/>
                </a:cubicBezTo>
                <a:cubicBezTo>
                  <a:pt x="305" y="1229"/>
                  <a:pt x="305" y="1229"/>
                  <a:pt x="305" y="1229"/>
                </a:cubicBezTo>
                <a:cubicBezTo>
                  <a:pt x="379" y="1270"/>
                  <a:pt x="379" y="1270"/>
                  <a:pt x="379" y="1270"/>
                </a:cubicBezTo>
                <a:cubicBezTo>
                  <a:pt x="460" y="1186"/>
                  <a:pt x="460" y="1186"/>
                  <a:pt x="460" y="1186"/>
                </a:cubicBezTo>
                <a:cubicBezTo>
                  <a:pt x="484" y="1196"/>
                  <a:pt x="509" y="1204"/>
                  <a:pt x="535" y="1210"/>
                </a:cubicBezTo>
                <a:cubicBezTo>
                  <a:pt x="551" y="1326"/>
                  <a:pt x="551" y="1326"/>
                  <a:pt x="551" y="1326"/>
                </a:cubicBezTo>
                <a:cubicBezTo>
                  <a:pt x="636" y="1335"/>
                  <a:pt x="636" y="1335"/>
                  <a:pt x="636" y="1335"/>
                </a:cubicBezTo>
                <a:cubicBezTo>
                  <a:pt x="678" y="1226"/>
                  <a:pt x="678" y="1226"/>
                  <a:pt x="678" y="1226"/>
                </a:cubicBezTo>
                <a:cubicBezTo>
                  <a:pt x="701" y="1226"/>
                  <a:pt x="725" y="1224"/>
                  <a:pt x="749" y="1220"/>
                </a:cubicBezTo>
                <a:cubicBezTo>
                  <a:pt x="808" y="1323"/>
                  <a:pt x="808" y="1323"/>
                  <a:pt x="808" y="1323"/>
                </a:cubicBezTo>
                <a:cubicBezTo>
                  <a:pt x="890" y="1299"/>
                  <a:pt x="890" y="1299"/>
                  <a:pt x="890" y="1299"/>
                </a:cubicBezTo>
                <a:cubicBezTo>
                  <a:pt x="887" y="1181"/>
                  <a:pt x="887" y="1181"/>
                  <a:pt x="887" y="1181"/>
                </a:cubicBezTo>
                <a:cubicBezTo>
                  <a:pt x="912" y="1171"/>
                  <a:pt x="935" y="1159"/>
                  <a:pt x="957" y="1145"/>
                </a:cubicBezTo>
                <a:cubicBezTo>
                  <a:pt x="1051" y="1215"/>
                  <a:pt x="1051" y="1215"/>
                  <a:pt x="1051" y="1215"/>
                </a:cubicBezTo>
                <a:cubicBezTo>
                  <a:pt x="1117" y="1162"/>
                  <a:pt x="1117" y="1162"/>
                  <a:pt x="1117" y="1162"/>
                </a:cubicBezTo>
                <a:cubicBezTo>
                  <a:pt x="1070" y="1055"/>
                  <a:pt x="1070" y="1055"/>
                  <a:pt x="1070" y="1055"/>
                </a:cubicBezTo>
                <a:cubicBezTo>
                  <a:pt x="1086" y="1038"/>
                  <a:pt x="1102" y="1020"/>
                  <a:pt x="1116" y="1001"/>
                </a:cubicBezTo>
                <a:cubicBezTo>
                  <a:pt x="1229" y="1031"/>
                  <a:pt x="1229" y="1031"/>
                  <a:pt x="1229" y="1031"/>
                </a:cubicBezTo>
                <a:cubicBezTo>
                  <a:pt x="1271" y="956"/>
                  <a:pt x="1271" y="956"/>
                  <a:pt x="1271" y="956"/>
                </a:cubicBezTo>
                <a:cubicBezTo>
                  <a:pt x="1186" y="875"/>
                  <a:pt x="1186" y="875"/>
                  <a:pt x="1186" y="875"/>
                </a:cubicBezTo>
                <a:cubicBezTo>
                  <a:pt x="1196" y="851"/>
                  <a:pt x="1204" y="826"/>
                  <a:pt x="1210" y="801"/>
                </a:cubicBezTo>
                <a:lnTo>
                  <a:pt x="1326" y="784"/>
                </a:lnTo>
                <a:close/>
                <a:moveTo>
                  <a:pt x="776" y="1050"/>
                </a:moveTo>
                <a:cubicBezTo>
                  <a:pt x="565" y="1109"/>
                  <a:pt x="345" y="986"/>
                  <a:pt x="286" y="775"/>
                </a:cubicBezTo>
                <a:cubicBezTo>
                  <a:pt x="226" y="564"/>
                  <a:pt x="349" y="345"/>
                  <a:pt x="560" y="286"/>
                </a:cubicBezTo>
                <a:cubicBezTo>
                  <a:pt x="771" y="226"/>
                  <a:pt x="990" y="349"/>
                  <a:pt x="1050" y="560"/>
                </a:cubicBezTo>
                <a:cubicBezTo>
                  <a:pt x="1109" y="771"/>
                  <a:pt x="987" y="990"/>
                  <a:pt x="776" y="105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1" name="Freeform 9">
            <a:extLst>
              <a:ext uri="{FF2B5EF4-FFF2-40B4-BE49-F238E27FC236}">
                <a16:creationId xmlns:a16="http://schemas.microsoft.com/office/drawing/2014/main" id="{85E1671E-FC6D-4B74-8470-12307B0E7134}"/>
              </a:ext>
            </a:extLst>
          </p:cNvPr>
          <p:cNvSpPr>
            <a:spLocks/>
          </p:cNvSpPr>
          <p:nvPr/>
        </p:nvSpPr>
        <p:spPr bwMode="auto">
          <a:xfrm rot="3456646">
            <a:off x="4534993" y="3161954"/>
            <a:ext cx="838199" cy="694358"/>
          </a:xfrm>
          <a:custGeom>
            <a:avLst/>
            <a:gdLst>
              <a:gd name="T0" fmla="*/ 540 w 540"/>
              <a:gd name="T1" fmla="*/ 127 h 447"/>
              <a:gd name="T2" fmla="*/ 531 w 540"/>
              <a:gd name="T3" fmla="*/ 120 h 447"/>
              <a:gd name="T4" fmla="*/ 506 w 540"/>
              <a:gd name="T5" fmla="*/ 103 h 447"/>
              <a:gd name="T6" fmla="*/ 425 w 540"/>
              <a:gd name="T7" fmla="*/ 55 h 447"/>
              <a:gd name="T8" fmla="*/ 335 w 540"/>
              <a:gd name="T9" fmla="*/ 14 h 447"/>
              <a:gd name="T10" fmla="*/ 302 w 540"/>
              <a:gd name="T11" fmla="*/ 4 h 447"/>
              <a:gd name="T12" fmla="*/ 289 w 540"/>
              <a:gd name="T13" fmla="*/ 0 h 447"/>
              <a:gd name="T14" fmla="*/ 295 w 540"/>
              <a:gd name="T15" fmla="*/ 4 h 447"/>
              <a:gd name="T16" fmla="*/ 310 w 540"/>
              <a:gd name="T17" fmla="*/ 15 h 447"/>
              <a:gd name="T18" fmla="*/ 354 w 540"/>
              <a:gd name="T19" fmla="*/ 50 h 447"/>
              <a:gd name="T20" fmla="*/ 375 w 540"/>
              <a:gd name="T21" fmla="*/ 70 h 447"/>
              <a:gd name="T22" fmla="*/ 393 w 540"/>
              <a:gd name="T23" fmla="*/ 88 h 447"/>
              <a:gd name="T24" fmla="*/ 406 w 540"/>
              <a:gd name="T25" fmla="*/ 100 h 447"/>
              <a:gd name="T26" fmla="*/ 410 w 540"/>
              <a:gd name="T27" fmla="*/ 105 h 447"/>
              <a:gd name="T28" fmla="*/ 404 w 540"/>
              <a:gd name="T29" fmla="*/ 106 h 447"/>
              <a:gd name="T30" fmla="*/ 386 w 540"/>
              <a:gd name="T31" fmla="*/ 110 h 447"/>
              <a:gd name="T32" fmla="*/ 359 w 540"/>
              <a:gd name="T33" fmla="*/ 117 h 447"/>
              <a:gd name="T34" fmla="*/ 324 w 540"/>
              <a:gd name="T35" fmla="*/ 127 h 447"/>
              <a:gd name="T36" fmla="*/ 240 w 540"/>
              <a:gd name="T37" fmla="*/ 162 h 447"/>
              <a:gd name="T38" fmla="*/ 195 w 540"/>
              <a:gd name="T39" fmla="*/ 187 h 447"/>
              <a:gd name="T40" fmla="*/ 173 w 540"/>
              <a:gd name="T41" fmla="*/ 202 h 447"/>
              <a:gd name="T42" fmla="*/ 163 w 540"/>
              <a:gd name="T43" fmla="*/ 210 h 447"/>
              <a:gd name="T44" fmla="*/ 152 w 540"/>
              <a:gd name="T45" fmla="*/ 218 h 447"/>
              <a:gd name="T46" fmla="*/ 80 w 540"/>
              <a:gd name="T47" fmla="*/ 292 h 447"/>
              <a:gd name="T48" fmla="*/ 33 w 540"/>
              <a:gd name="T49" fmla="*/ 368 h 447"/>
              <a:gd name="T50" fmla="*/ 8 w 540"/>
              <a:gd name="T51" fmla="*/ 425 h 447"/>
              <a:gd name="T52" fmla="*/ 2 w 540"/>
              <a:gd name="T53" fmla="*/ 441 h 447"/>
              <a:gd name="T54" fmla="*/ 0 w 540"/>
              <a:gd name="T55" fmla="*/ 447 h 447"/>
              <a:gd name="T56" fmla="*/ 3 w 540"/>
              <a:gd name="T57" fmla="*/ 441 h 447"/>
              <a:gd name="T58" fmla="*/ 10 w 540"/>
              <a:gd name="T59" fmla="*/ 426 h 447"/>
              <a:gd name="T60" fmla="*/ 41 w 540"/>
              <a:gd name="T61" fmla="*/ 373 h 447"/>
              <a:gd name="T62" fmla="*/ 95 w 540"/>
              <a:gd name="T63" fmla="*/ 305 h 447"/>
              <a:gd name="T64" fmla="*/ 170 w 540"/>
              <a:gd name="T65" fmla="*/ 243 h 447"/>
              <a:gd name="T66" fmla="*/ 180 w 540"/>
              <a:gd name="T67" fmla="*/ 236 h 447"/>
              <a:gd name="T68" fmla="*/ 191 w 540"/>
              <a:gd name="T69" fmla="*/ 230 h 447"/>
              <a:gd name="T70" fmla="*/ 213 w 540"/>
              <a:gd name="T71" fmla="*/ 218 h 447"/>
              <a:gd name="T72" fmla="*/ 256 w 540"/>
              <a:gd name="T73" fmla="*/ 199 h 447"/>
              <a:gd name="T74" fmla="*/ 337 w 540"/>
              <a:gd name="T75" fmla="*/ 176 h 447"/>
              <a:gd name="T76" fmla="*/ 370 w 540"/>
              <a:gd name="T77" fmla="*/ 170 h 447"/>
              <a:gd name="T78" fmla="*/ 396 w 540"/>
              <a:gd name="T79" fmla="*/ 167 h 447"/>
              <a:gd name="T80" fmla="*/ 413 w 540"/>
              <a:gd name="T81" fmla="*/ 165 h 447"/>
              <a:gd name="T82" fmla="*/ 418 w 540"/>
              <a:gd name="T83" fmla="*/ 165 h 447"/>
              <a:gd name="T84" fmla="*/ 416 w 540"/>
              <a:gd name="T85" fmla="*/ 171 h 447"/>
              <a:gd name="T86" fmla="*/ 409 w 540"/>
              <a:gd name="T87" fmla="*/ 187 h 447"/>
              <a:gd name="T88" fmla="*/ 399 w 540"/>
              <a:gd name="T89" fmla="*/ 209 h 447"/>
              <a:gd name="T90" fmla="*/ 390 w 540"/>
              <a:gd name="T91" fmla="*/ 234 h 447"/>
              <a:gd name="T92" fmla="*/ 375 w 540"/>
              <a:gd name="T93" fmla="*/ 282 h 447"/>
              <a:gd name="T94" fmla="*/ 372 w 540"/>
              <a:gd name="T95" fmla="*/ 298 h 447"/>
              <a:gd name="T96" fmla="*/ 370 w 540"/>
              <a:gd name="T97" fmla="*/ 304 h 447"/>
              <a:gd name="T98" fmla="*/ 375 w 540"/>
              <a:gd name="T99" fmla="*/ 295 h 447"/>
              <a:gd name="T100" fmla="*/ 390 w 540"/>
              <a:gd name="T101" fmla="*/ 274 h 447"/>
              <a:gd name="T102" fmla="*/ 443 w 540"/>
              <a:gd name="T103" fmla="*/ 211 h 447"/>
              <a:gd name="T104" fmla="*/ 508 w 540"/>
              <a:gd name="T105" fmla="*/ 152 h 447"/>
              <a:gd name="T106" fmla="*/ 531 w 540"/>
              <a:gd name="T107" fmla="*/ 134 h 447"/>
              <a:gd name="T108" fmla="*/ 540 w 540"/>
              <a:gd name="T109" fmla="*/ 127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0" h="447">
                <a:moveTo>
                  <a:pt x="540" y="127"/>
                </a:moveTo>
                <a:cubicBezTo>
                  <a:pt x="540" y="127"/>
                  <a:pt x="537" y="125"/>
                  <a:pt x="531" y="120"/>
                </a:cubicBezTo>
                <a:cubicBezTo>
                  <a:pt x="525" y="116"/>
                  <a:pt x="516" y="110"/>
                  <a:pt x="506" y="103"/>
                </a:cubicBezTo>
                <a:cubicBezTo>
                  <a:pt x="485" y="89"/>
                  <a:pt x="456" y="71"/>
                  <a:pt x="425" y="55"/>
                </a:cubicBezTo>
                <a:cubicBezTo>
                  <a:pt x="394" y="38"/>
                  <a:pt x="361" y="24"/>
                  <a:pt x="335" y="14"/>
                </a:cubicBezTo>
                <a:cubicBezTo>
                  <a:pt x="321" y="10"/>
                  <a:pt x="310" y="6"/>
                  <a:pt x="302" y="4"/>
                </a:cubicBezTo>
                <a:cubicBezTo>
                  <a:pt x="294" y="1"/>
                  <a:pt x="289" y="0"/>
                  <a:pt x="289" y="0"/>
                </a:cubicBezTo>
                <a:cubicBezTo>
                  <a:pt x="289" y="0"/>
                  <a:pt x="292" y="2"/>
                  <a:pt x="295" y="4"/>
                </a:cubicBezTo>
                <a:cubicBezTo>
                  <a:pt x="299" y="7"/>
                  <a:pt x="304" y="10"/>
                  <a:pt x="310" y="15"/>
                </a:cubicBezTo>
                <a:cubicBezTo>
                  <a:pt x="323" y="25"/>
                  <a:pt x="339" y="37"/>
                  <a:pt x="354" y="50"/>
                </a:cubicBezTo>
                <a:cubicBezTo>
                  <a:pt x="361" y="57"/>
                  <a:pt x="369" y="64"/>
                  <a:pt x="375" y="70"/>
                </a:cubicBezTo>
                <a:cubicBezTo>
                  <a:pt x="382" y="76"/>
                  <a:pt x="388" y="82"/>
                  <a:pt x="393" y="88"/>
                </a:cubicBezTo>
                <a:cubicBezTo>
                  <a:pt x="399" y="93"/>
                  <a:pt x="403" y="97"/>
                  <a:pt x="406" y="100"/>
                </a:cubicBezTo>
                <a:cubicBezTo>
                  <a:pt x="409" y="103"/>
                  <a:pt x="410" y="105"/>
                  <a:pt x="410" y="105"/>
                </a:cubicBezTo>
                <a:cubicBezTo>
                  <a:pt x="410" y="105"/>
                  <a:pt x="408" y="105"/>
                  <a:pt x="404" y="106"/>
                </a:cubicBezTo>
                <a:cubicBezTo>
                  <a:pt x="400" y="107"/>
                  <a:pt x="394" y="108"/>
                  <a:pt x="386" y="110"/>
                </a:cubicBezTo>
                <a:cubicBezTo>
                  <a:pt x="379" y="112"/>
                  <a:pt x="370" y="114"/>
                  <a:pt x="359" y="117"/>
                </a:cubicBezTo>
                <a:cubicBezTo>
                  <a:pt x="349" y="120"/>
                  <a:pt x="337" y="123"/>
                  <a:pt x="324" y="127"/>
                </a:cubicBezTo>
                <a:cubicBezTo>
                  <a:pt x="299" y="135"/>
                  <a:pt x="269" y="146"/>
                  <a:pt x="240" y="162"/>
                </a:cubicBezTo>
                <a:cubicBezTo>
                  <a:pt x="225" y="169"/>
                  <a:pt x="210" y="178"/>
                  <a:pt x="195" y="187"/>
                </a:cubicBezTo>
                <a:cubicBezTo>
                  <a:pt x="188" y="192"/>
                  <a:pt x="180" y="197"/>
                  <a:pt x="173" y="202"/>
                </a:cubicBezTo>
                <a:cubicBezTo>
                  <a:pt x="163" y="210"/>
                  <a:pt x="163" y="210"/>
                  <a:pt x="163" y="210"/>
                </a:cubicBezTo>
                <a:cubicBezTo>
                  <a:pt x="152" y="218"/>
                  <a:pt x="152" y="218"/>
                  <a:pt x="152" y="218"/>
                </a:cubicBezTo>
                <a:cubicBezTo>
                  <a:pt x="125" y="241"/>
                  <a:pt x="100" y="267"/>
                  <a:pt x="80" y="292"/>
                </a:cubicBezTo>
                <a:cubicBezTo>
                  <a:pt x="61" y="319"/>
                  <a:pt x="45" y="345"/>
                  <a:pt x="33" y="368"/>
                </a:cubicBezTo>
                <a:cubicBezTo>
                  <a:pt x="21" y="391"/>
                  <a:pt x="13" y="411"/>
                  <a:pt x="8" y="425"/>
                </a:cubicBezTo>
                <a:cubicBezTo>
                  <a:pt x="5" y="432"/>
                  <a:pt x="3" y="437"/>
                  <a:pt x="2" y="441"/>
                </a:cubicBezTo>
                <a:cubicBezTo>
                  <a:pt x="1" y="445"/>
                  <a:pt x="0" y="447"/>
                  <a:pt x="0" y="447"/>
                </a:cubicBezTo>
                <a:cubicBezTo>
                  <a:pt x="0" y="447"/>
                  <a:pt x="1" y="445"/>
                  <a:pt x="3" y="441"/>
                </a:cubicBezTo>
                <a:cubicBezTo>
                  <a:pt x="4" y="438"/>
                  <a:pt x="7" y="433"/>
                  <a:pt x="10" y="426"/>
                </a:cubicBezTo>
                <a:cubicBezTo>
                  <a:pt x="17" y="413"/>
                  <a:pt x="27" y="394"/>
                  <a:pt x="41" y="373"/>
                </a:cubicBezTo>
                <a:cubicBezTo>
                  <a:pt x="55" y="351"/>
                  <a:pt x="73" y="328"/>
                  <a:pt x="95" y="305"/>
                </a:cubicBezTo>
                <a:cubicBezTo>
                  <a:pt x="117" y="282"/>
                  <a:pt x="142" y="261"/>
                  <a:pt x="170" y="243"/>
                </a:cubicBezTo>
                <a:cubicBezTo>
                  <a:pt x="180" y="236"/>
                  <a:pt x="180" y="236"/>
                  <a:pt x="180" y="236"/>
                </a:cubicBezTo>
                <a:cubicBezTo>
                  <a:pt x="191" y="230"/>
                  <a:pt x="191" y="230"/>
                  <a:pt x="191" y="230"/>
                </a:cubicBezTo>
                <a:cubicBezTo>
                  <a:pt x="198" y="226"/>
                  <a:pt x="206" y="222"/>
                  <a:pt x="213" y="218"/>
                </a:cubicBezTo>
                <a:cubicBezTo>
                  <a:pt x="227" y="211"/>
                  <a:pt x="242" y="205"/>
                  <a:pt x="256" y="199"/>
                </a:cubicBezTo>
                <a:cubicBezTo>
                  <a:pt x="285" y="188"/>
                  <a:pt x="313" y="181"/>
                  <a:pt x="337" y="176"/>
                </a:cubicBezTo>
                <a:cubicBezTo>
                  <a:pt x="349" y="174"/>
                  <a:pt x="360" y="172"/>
                  <a:pt x="370" y="170"/>
                </a:cubicBezTo>
                <a:cubicBezTo>
                  <a:pt x="380" y="169"/>
                  <a:pt x="389" y="168"/>
                  <a:pt x="396" y="167"/>
                </a:cubicBezTo>
                <a:cubicBezTo>
                  <a:pt x="403" y="166"/>
                  <a:pt x="409" y="166"/>
                  <a:pt x="413" y="165"/>
                </a:cubicBezTo>
                <a:cubicBezTo>
                  <a:pt x="416" y="165"/>
                  <a:pt x="418" y="165"/>
                  <a:pt x="418" y="165"/>
                </a:cubicBezTo>
                <a:cubicBezTo>
                  <a:pt x="418" y="165"/>
                  <a:pt x="417" y="167"/>
                  <a:pt x="416" y="171"/>
                </a:cubicBezTo>
                <a:cubicBezTo>
                  <a:pt x="414" y="175"/>
                  <a:pt x="412" y="180"/>
                  <a:pt x="409" y="187"/>
                </a:cubicBezTo>
                <a:cubicBezTo>
                  <a:pt x="406" y="193"/>
                  <a:pt x="403" y="201"/>
                  <a:pt x="399" y="209"/>
                </a:cubicBezTo>
                <a:cubicBezTo>
                  <a:pt x="396" y="217"/>
                  <a:pt x="393" y="225"/>
                  <a:pt x="390" y="234"/>
                </a:cubicBezTo>
                <a:cubicBezTo>
                  <a:pt x="384" y="251"/>
                  <a:pt x="379" y="269"/>
                  <a:pt x="375" y="282"/>
                </a:cubicBezTo>
                <a:cubicBezTo>
                  <a:pt x="374" y="288"/>
                  <a:pt x="372" y="294"/>
                  <a:pt x="372" y="298"/>
                </a:cubicBezTo>
                <a:cubicBezTo>
                  <a:pt x="371" y="301"/>
                  <a:pt x="370" y="304"/>
                  <a:pt x="370" y="304"/>
                </a:cubicBezTo>
                <a:cubicBezTo>
                  <a:pt x="370" y="304"/>
                  <a:pt x="372" y="301"/>
                  <a:pt x="375" y="295"/>
                </a:cubicBezTo>
                <a:cubicBezTo>
                  <a:pt x="378" y="290"/>
                  <a:pt x="383" y="283"/>
                  <a:pt x="390" y="274"/>
                </a:cubicBezTo>
                <a:cubicBezTo>
                  <a:pt x="402" y="256"/>
                  <a:pt x="421" y="233"/>
                  <a:pt x="443" y="211"/>
                </a:cubicBezTo>
                <a:cubicBezTo>
                  <a:pt x="464" y="189"/>
                  <a:pt x="489" y="167"/>
                  <a:pt x="508" y="152"/>
                </a:cubicBezTo>
                <a:cubicBezTo>
                  <a:pt x="517" y="144"/>
                  <a:pt x="525" y="138"/>
                  <a:pt x="531" y="134"/>
                </a:cubicBezTo>
                <a:cubicBezTo>
                  <a:pt x="537" y="129"/>
                  <a:pt x="540" y="127"/>
                  <a:pt x="540" y="12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2" name="Freeform 9">
            <a:extLst>
              <a:ext uri="{FF2B5EF4-FFF2-40B4-BE49-F238E27FC236}">
                <a16:creationId xmlns:a16="http://schemas.microsoft.com/office/drawing/2014/main" id="{6A6F266C-B700-48E6-8A8C-4ABD180B1E55}"/>
              </a:ext>
            </a:extLst>
          </p:cNvPr>
          <p:cNvSpPr>
            <a:spLocks/>
          </p:cNvSpPr>
          <p:nvPr/>
        </p:nvSpPr>
        <p:spPr bwMode="auto">
          <a:xfrm rot="19573895">
            <a:off x="2055348" y="1854724"/>
            <a:ext cx="838199" cy="694358"/>
          </a:xfrm>
          <a:custGeom>
            <a:avLst/>
            <a:gdLst>
              <a:gd name="T0" fmla="*/ 540 w 540"/>
              <a:gd name="T1" fmla="*/ 127 h 447"/>
              <a:gd name="T2" fmla="*/ 531 w 540"/>
              <a:gd name="T3" fmla="*/ 120 h 447"/>
              <a:gd name="T4" fmla="*/ 506 w 540"/>
              <a:gd name="T5" fmla="*/ 103 h 447"/>
              <a:gd name="T6" fmla="*/ 425 w 540"/>
              <a:gd name="T7" fmla="*/ 55 h 447"/>
              <a:gd name="T8" fmla="*/ 335 w 540"/>
              <a:gd name="T9" fmla="*/ 14 h 447"/>
              <a:gd name="T10" fmla="*/ 302 w 540"/>
              <a:gd name="T11" fmla="*/ 4 h 447"/>
              <a:gd name="T12" fmla="*/ 289 w 540"/>
              <a:gd name="T13" fmla="*/ 0 h 447"/>
              <a:gd name="T14" fmla="*/ 295 w 540"/>
              <a:gd name="T15" fmla="*/ 4 h 447"/>
              <a:gd name="T16" fmla="*/ 310 w 540"/>
              <a:gd name="T17" fmla="*/ 15 h 447"/>
              <a:gd name="T18" fmla="*/ 354 w 540"/>
              <a:gd name="T19" fmla="*/ 50 h 447"/>
              <a:gd name="T20" fmla="*/ 375 w 540"/>
              <a:gd name="T21" fmla="*/ 70 h 447"/>
              <a:gd name="T22" fmla="*/ 393 w 540"/>
              <a:gd name="T23" fmla="*/ 88 h 447"/>
              <a:gd name="T24" fmla="*/ 406 w 540"/>
              <a:gd name="T25" fmla="*/ 100 h 447"/>
              <a:gd name="T26" fmla="*/ 410 w 540"/>
              <a:gd name="T27" fmla="*/ 105 h 447"/>
              <a:gd name="T28" fmla="*/ 404 w 540"/>
              <a:gd name="T29" fmla="*/ 106 h 447"/>
              <a:gd name="T30" fmla="*/ 386 w 540"/>
              <a:gd name="T31" fmla="*/ 110 h 447"/>
              <a:gd name="T32" fmla="*/ 359 w 540"/>
              <a:gd name="T33" fmla="*/ 117 h 447"/>
              <a:gd name="T34" fmla="*/ 324 w 540"/>
              <a:gd name="T35" fmla="*/ 127 h 447"/>
              <a:gd name="T36" fmla="*/ 240 w 540"/>
              <a:gd name="T37" fmla="*/ 162 h 447"/>
              <a:gd name="T38" fmla="*/ 195 w 540"/>
              <a:gd name="T39" fmla="*/ 187 h 447"/>
              <a:gd name="T40" fmla="*/ 173 w 540"/>
              <a:gd name="T41" fmla="*/ 202 h 447"/>
              <a:gd name="T42" fmla="*/ 163 w 540"/>
              <a:gd name="T43" fmla="*/ 210 h 447"/>
              <a:gd name="T44" fmla="*/ 152 w 540"/>
              <a:gd name="T45" fmla="*/ 218 h 447"/>
              <a:gd name="T46" fmla="*/ 80 w 540"/>
              <a:gd name="T47" fmla="*/ 292 h 447"/>
              <a:gd name="T48" fmla="*/ 33 w 540"/>
              <a:gd name="T49" fmla="*/ 368 h 447"/>
              <a:gd name="T50" fmla="*/ 8 w 540"/>
              <a:gd name="T51" fmla="*/ 425 h 447"/>
              <a:gd name="T52" fmla="*/ 2 w 540"/>
              <a:gd name="T53" fmla="*/ 441 h 447"/>
              <a:gd name="T54" fmla="*/ 0 w 540"/>
              <a:gd name="T55" fmla="*/ 447 h 447"/>
              <a:gd name="T56" fmla="*/ 3 w 540"/>
              <a:gd name="T57" fmla="*/ 441 h 447"/>
              <a:gd name="T58" fmla="*/ 10 w 540"/>
              <a:gd name="T59" fmla="*/ 426 h 447"/>
              <a:gd name="T60" fmla="*/ 41 w 540"/>
              <a:gd name="T61" fmla="*/ 373 h 447"/>
              <a:gd name="T62" fmla="*/ 95 w 540"/>
              <a:gd name="T63" fmla="*/ 305 h 447"/>
              <a:gd name="T64" fmla="*/ 170 w 540"/>
              <a:gd name="T65" fmla="*/ 243 h 447"/>
              <a:gd name="T66" fmla="*/ 180 w 540"/>
              <a:gd name="T67" fmla="*/ 236 h 447"/>
              <a:gd name="T68" fmla="*/ 191 w 540"/>
              <a:gd name="T69" fmla="*/ 230 h 447"/>
              <a:gd name="T70" fmla="*/ 213 w 540"/>
              <a:gd name="T71" fmla="*/ 218 h 447"/>
              <a:gd name="T72" fmla="*/ 256 w 540"/>
              <a:gd name="T73" fmla="*/ 199 h 447"/>
              <a:gd name="T74" fmla="*/ 337 w 540"/>
              <a:gd name="T75" fmla="*/ 176 h 447"/>
              <a:gd name="T76" fmla="*/ 370 w 540"/>
              <a:gd name="T77" fmla="*/ 170 h 447"/>
              <a:gd name="T78" fmla="*/ 396 w 540"/>
              <a:gd name="T79" fmla="*/ 167 h 447"/>
              <a:gd name="T80" fmla="*/ 413 w 540"/>
              <a:gd name="T81" fmla="*/ 165 h 447"/>
              <a:gd name="T82" fmla="*/ 418 w 540"/>
              <a:gd name="T83" fmla="*/ 165 h 447"/>
              <a:gd name="T84" fmla="*/ 416 w 540"/>
              <a:gd name="T85" fmla="*/ 171 h 447"/>
              <a:gd name="T86" fmla="*/ 409 w 540"/>
              <a:gd name="T87" fmla="*/ 187 h 447"/>
              <a:gd name="T88" fmla="*/ 399 w 540"/>
              <a:gd name="T89" fmla="*/ 209 h 447"/>
              <a:gd name="T90" fmla="*/ 390 w 540"/>
              <a:gd name="T91" fmla="*/ 234 h 447"/>
              <a:gd name="T92" fmla="*/ 375 w 540"/>
              <a:gd name="T93" fmla="*/ 282 h 447"/>
              <a:gd name="T94" fmla="*/ 372 w 540"/>
              <a:gd name="T95" fmla="*/ 298 h 447"/>
              <a:gd name="T96" fmla="*/ 370 w 540"/>
              <a:gd name="T97" fmla="*/ 304 h 447"/>
              <a:gd name="T98" fmla="*/ 375 w 540"/>
              <a:gd name="T99" fmla="*/ 295 h 447"/>
              <a:gd name="T100" fmla="*/ 390 w 540"/>
              <a:gd name="T101" fmla="*/ 274 h 447"/>
              <a:gd name="T102" fmla="*/ 443 w 540"/>
              <a:gd name="T103" fmla="*/ 211 h 447"/>
              <a:gd name="T104" fmla="*/ 508 w 540"/>
              <a:gd name="T105" fmla="*/ 152 h 447"/>
              <a:gd name="T106" fmla="*/ 531 w 540"/>
              <a:gd name="T107" fmla="*/ 134 h 447"/>
              <a:gd name="T108" fmla="*/ 540 w 540"/>
              <a:gd name="T109" fmla="*/ 127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0" h="447">
                <a:moveTo>
                  <a:pt x="540" y="127"/>
                </a:moveTo>
                <a:cubicBezTo>
                  <a:pt x="540" y="127"/>
                  <a:pt x="537" y="125"/>
                  <a:pt x="531" y="120"/>
                </a:cubicBezTo>
                <a:cubicBezTo>
                  <a:pt x="525" y="116"/>
                  <a:pt x="516" y="110"/>
                  <a:pt x="506" y="103"/>
                </a:cubicBezTo>
                <a:cubicBezTo>
                  <a:pt x="485" y="89"/>
                  <a:pt x="456" y="71"/>
                  <a:pt x="425" y="55"/>
                </a:cubicBezTo>
                <a:cubicBezTo>
                  <a:pt x="394" y="38"/>
                  <a:pt x="361" y="24"/>
                  <a:pt x="335" y="14"/>
                </a:cubicBezTo>
                <a:cubicBezTo>
                  <a:pt x="321" y="10"/>
                  <a:pt x="310" y="6"/>
                  <a:pt x="302" y="4"/>
                </a:cubicBezTo>
                <a:cubicBezTo>
                  <a:pt x="294" y="1"/>
                  <a:pt x="289" y="0"/>
                  <a:pt x="289" y="0"/>
                </a:cubicBezTo>
                <a:cubicBezTo>
                  <a:pt x="289" y="0"/>
                  <a:pt x="292" y="2"/>
                  <a:pt x="295" y="4"/>
                </a:cubicBezTo>
                <a:cubicBezTo>
                  <a:pt x="299" y="7"/>
                  <a:pt x="304" y="10"/>
                  <a:pt x="310" y="15"/>
                </a:cubicBezTo>
                <a:cubicBezTo>
                  <a:pt x="323" y="25"/>
                  <a:pt x="339" y="37"/>
                  <a:pt x="354" y="50"/>
                </a:cubicBezTo>
                <a:cubicBezTo>
                  <a:pt x="361" y="57"/>
                  <a:pt x="369" y="64"/>
                  <a:pt x="375" y="70"/>
                </a:cubicBezTo>
                <a:cubicBezTo>
                  <a:pt x="382" y="76"/>
                  <a:pt x="388" y="82"/>
                  <a:pt x="393" y="88"/>
                </a:cubicBezTo>
                <a:cubicBezTo>
                  <a:pt x="399" y="93"/>
                  <a:pt x="403" y="97"/>
                  <a:pt x="406" y="100"/>
                </a:cubicBezTo>
                <a:cubicBezTo>
                  <a:pt x="409" y="103"/>
                  <a:pt x="410" y="105"/>
                  <a:pt x="410" y="105"/>
                </a:cubicBezTo>
                <a:cubicBezTo>
                  <a:pt x="410" y="105"/>
                  <a:pt x="408" y="105"/>
                  <a:pt x="404" y="106"/>
                </a:cubicBezTo>
                <a:cubicBezTo>
                  <a:pt x="400" y="107"/>
                  <a:pt x="394" y="108"/>
                  <a:pt x="386" y="110"/>
                </a:cubicBezTo>
                <a:cubicBezTo>
                  <a:pt x="379" y="112"/>
                  <a:pt x="370" y="114"/>
                  <a:pt x="359" y="117"/>
                </a:cubicBezTo>
                <a:cubicBezTo>
                  <a:pt x="349" y="120"/>
                  <a:pt x="337" y="123"/>
                  <a:pt x="324" y="127"/>
                </a:cubicBezTo>
                <a:cubicBezTo>
                  <a:pt x="299" y="135"/>
                  <a:pt x="269" y="146"/>
                  <a:pt x="240" y="162"/>
                </a:cubicBezTo>
                <a:cubicBezTo>
                  <a:pt x="225" y="169"/>
                  <a:pt x="210" y="178"/>
                  <a:pt x="195" y="187"/>
                </a:cubicBezTo>
                <a:cubicBezTo>
                  <a:pt x="188" y="192"/>
                  <a:pt x="180" y="197"/>
                  <a:pt x="173" y="202"/>
                </a:cubicBezTo>
                <a:cubicBezTo>
                  <a:pt x="163" y="210"/>
                  <a:pt x="163" y="210"/>
                  <a:pt x="163" y="210"/>
                </a:cubicBezTo>
                <a:cubicBezTo>
                  <a:pt x="152" y="218"/>
                  <a:pt x="152" y="218"/>
                  <a:pt x="152" y="218"/>
                </a:cubicBezTo>
                <a:cubicBezTo>
                  <a:pt x="125" y="241"/>
                  <a:pt x="100" y="267"/>
                  <a:pt x="80" y="292"/>
                </a:cubicBezTo>
                <a:cubicBezTo>
                  <a:pt x="61" y="319"/>
                  <a:pt x="45" y="345"/>
                  <a:pt x="33" y="368"/>
                </a:cubicBezTo>
                <a:cubicBezTo>
                  <a:pt x="21" y="391"/>
                  <a:pt x="13" y="411"/>
                  <a:pt x="8" y="425"/>
                </a:cubicBezTo>
                <a:cubicBezTo>
                  <a:pt x="5" y="432"/>
                  <a:pt x="3" y="437"/>
                  <a:pt x="2" y="441"/>
                </a:cubicBezTo>
                <a:cubicBezTo>
                  <a:pt x="1" y="445"/>
                  <a:pt x="0" y="447"/>
                  <a:pt x="0" y="447"/>
                </a:cubicBezTo>
                <a:cubicBezTo>
                  <a:pt x="0" y="447"/>
                  <a:pt x="1" y="445"/>
                  <a:pt x="3" y="441"/>
                </a:cubicBezTo>
                <a:cubicBezTo>
                  <a:pt x="4" y="438"/>
                  <a:pt x="7" y="433"/>
                  <a:pt x="10" y="426"/>
                </a:cubicBezTo>
                <a:cubicBezTo>
                  <a:pt x="17" y="413"/>
                  <a:pt x="27" y="394"/>
                  <a:pt x="41" y="373"/>
                </a:cubicBezTo>
                <a:cubicBezTo>
                  <a:pt x="55" y="351"/>
                  <a:pt x="73" y="328"/>
                  <a:pt x="95" y="305"/>
                </a:cubicBezTo>
                <a:cubicBezTo>
                  <a:pt x="117" y="282"/>
                  <a:pt x="142" y="261"/>
                  <a:pt x="170" y="243"/>
                </a:cubicBezTo>
                <a:cubicBezTo>
                  <a:pt x="180" y="236"/>
                  <a:pt x="180" y="236"/>
                  <a:pt x="180" y="236"/>
                </a:cubicBezTo>
                <a:cubicBezTo>
                  <a:pt x="191" y="230"/>
                  <a:pt x="191" y="230"/>
                  <a:pt x="191" y="230"/>
                </a:cubicBezTo>
                <a:cubicBezTo>
                  <a:pt x="198" y="226"/>
                  <a:pt x="206" y="222"/>
                  <a:pt x="213" y="218"/>
                </a:cubicBezTo>
                <a:cubicBezTo>
                  <a:pt x="227" y="211"/>
                  <a:pt x="242" y="205"/>
                  <a:pt x="256" y="199"/>
                </a:cubicBezTo>
                <a:cubicBezTo>
                  <a:pt x="285" y="188"/>
                  <a:pt x="313" y="181"/>
                  <a:pt x="337" y="176"/>
                </a:cubicBezTo>
                <a:cubicBezTo>
                  <a:pt x="349" y="174"/>
                  <a:pt x="360" y="172"/>
                  <a:pt x="370" y="170"/>
                </a:cubicBezTo>
                <a:cubicBezTo>
                  <a:pt x="380" y="169"/>
                  <a:pt x="389" y="168"/>
                  <a:pt x="396" y="167"/>
                </a:cubicBezTo>
                <a:cubicBezTo>
                  <a:pt x="403" y="166"/>
                  <a:pt x="409" y="166"/>
                  <a:pt x="413" y="165"/>
                </a:cubicBezTo>
                <a:cubicBezTo>
                  <a:pt x="416" y="165"/>
                  <a:pt x="418" y="165"/>
                  <a:pt x="418" y="165"/>
                </a:cubicBezTo>
                <a:cubicBezTo>
                  <a:pt x="418" y="165"/>
                  <a:pt x="417" y="167"/>
                  <a:pt x="416" y="171"/>
                </a:cubicBezTo>
                <a:cubicBezTo>
                  <a:pt x="414" y="175"/>
                  <a:pt x="412" y="180"/>
                  <a:pt x="409" y="187"/>
                </a:cubicBezTo>
                <a:cubicBezTo>
                  <a:pt x="406" y="193"/>
                  <a:pt x="403" y="201"/>
                  <a:pt x="399" y="209"/>
                </a:cubicBezTo>
                <a:cubicBezTo>
                  <a:pt x="396" y="217"/>
                  <a:pt x="393" y="225"/>
                  <a:pt x="390" y="234"/>
                </a:cubicBezTo>
                <a:cubicBezTo>
                  <a:pt x="384" y="251"/>
                  <a:pt x="379" y="269"/>
                  <a:pt x="375" y="282"/>
                </a:cubicBezTo>
                <a:cubicBezTo>
                  <a:pt x="374" y="288"/>
                  <a:pt x="372" y="294"/>
                  <a:pt x="372" y="298"/>
                </a:cubicBezTo>
                <a:cubicBezTo>
                  <a:pt x="371" y="301"/>
                  <a:pt x="370" y="304"/>
                  <a:pt x="370" y="304"/>
                </a:cubicBezTo>
                <a:cubicBezTo>
                  <a:pt x="370" y="304"/>
                  <a:pt x="372" y="301"/>
                  <a:pt x="375" y="295"/>
                </a:cubicBezTo>
                <a:cubicBezTo>
                  <a:pt x="378" y="290"/>
                  <a:pt x="383" y="283"/>
                  <a:pt x="390" y="274"/>
                </a:cubicBezTo>
                <a:cubicBezTo>
                  <a:pt x="402" y="256"/>
                  <a:pt x="421" y="233"/>
                  <a:pt x="443" y="211"/>
                </a:cubicBezTo>
                <a:cubicBezTo>
                  <a:pt x="464" y="189"/>
                  <a:pt x="489" y="167"/>
                  <a:pt x="508" y="152"/>
                </a:cubicBezTo>
                <a:cubicBezTo>
                  <a:pt x="517" y="144"/>
                  <a:pt x="525" y="138"/>
                  <a:pt x="531" y="134"/>
                </a:cubicBezTo>
                <a:cubicBezTo>
                  <a:pt x="537" y="129"/>
                  <a:pt x="540" y="127"/>
                  <a:pt x="540" y="1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3" name="Freeform 9">
            <a:extLst>
              <a:ext uri="{FF2B5EF4-FFF2-40B4-BE49-F238E27FC236}">
                <a16:creationId xmlns:a16="http://schemas.microsoft.com/office/drawing/2014/main" id="{7A3818AC-C094-4865-A0C6-A94F07AC10D3}"/>
              </a:ext>
            </a:extLst>
          </p:cNvPr>
          <p:cNvSpPr>
            <a:spLocks/>
          </p:cNvSpPr>
          <p:nvPr/>
        </p:nvSpPr>
        <p:spPr bwMode="auto">
          <a:xfrm rot="17898758" flipH="1">
            <a:off x="1247979" y="2692957"/>
            <a:ext cx="838199" cy="694358"/>
          </a:xfrm>
          <a:custGeom>
            <a:avLst/>
            <a:gdLst>
              <a:gd name="T0" fmla="*/ 540 w 540"/>
              <a:gd name="T1" fmla="*/ 127 h 447"/>
              <a:gd name="T2" fmla="*/ 531 w 540"/>
              <a:gd name="T3" fmla="*/ 120 h 447"/>
              <a:gd name="T4" fmla="*/ 506 w 540"/>
              <a:gd name="T5" fmla="*/ 103 h 447"/>
              <a:gd name="T6" fmla="*/ 425 w 540"/>
              <a:gd name="T7" fmla="*/ 55 h 447"/>
              <a:gd name="T8" fmla="*/ 335 w 540"/>
              <a:gd name="T9" fmla="*/ 14 h 447"/>
              <a:gd name="T10" fmla="*/ 302 w 540"/>
              <a:gd name="T11" fmla="*/ 4 h 447"/>
              <a:gd name="T12" fmla="*/ 289 w 540"/>
              <a:gd name="T13" fmla="*/ 0 h 447"/>
              <a:gd name="T14" fmla="*/ 295 w 540"/>
              <a:gd name="T15" fmla="*/ 4 h 447"/>
              <a:gd name="T16" fmla="*/ 310 w 540"/>
              <a:gd name="T17" fmla="*/ 15 h 447"/>
              <a:gd name="T18" fmla="*/ 354 w 540"/>
              <a:gd name="T19" fmla="*/ 50 h 447"/>
              <a:gd name="T20" fmla="*/ 375 w 540"/>
              <a:gd name="T21" fmla="*/ 70 h 447"/>
              <a:gd name="T22" fmla="*/ 393 w 540"/>
              <a:gd name="T23" fmla="*/ 88 h 447"/>
              <a:gd name="T24" fmla="*/ 406 w 540"/>
              <a:gd name="T25" fmla="*/ 100 h 447"/>
              <a:gd name="T26" fmla="*/ 410 w 540"/>
              <a:gd name="T27" fmla="*/ 105 h 447"/>
              <a:gd name="T28" fmla="*/ 404 w 540"/>
              <a:gd name="T29" fmla="*/ 106 h 447"/>
              <a:gd name="T30" fmla="*/ 386 w 540"/>
              <a:gd name="T31" fmla="*/ 110 h 447"/>
              <a:gd name="T32" fmla="*/ 359 w 540"/>
              <a:gd name="T33" fmla="*/ 117 h 447"/>
              <a:gd name="T34" fmla="*/ 324 w 540"/>
              <a:gd name="T35" fmla="*/ 127 h 447"/>
              <a:gd name="T36" fmla="*/ 240 w 540"/>
              <a:gd name="T37" fmla="*/ 162 h 447"/>
              <a:gd name="T38" fmla="*/ 195 w 540"/>
              <a:gd name="T39" fmla="*/ 187 h 447"/>
              <a:gd name="T40" fmla="*/ 173 w 540"/>
              <a:gd name="T41" fmla="*/ 202 h 447"/>
              <a:gd name="T42" fmla="*/ 163 w 540"/>
              <a:gd name="T43" fmla="*/ 210 h 447"/>
              <a:gd name="T44" fmla="*/ 152 w 540"/>
              <a:gd name="T45" fmla="*/ 218 h 447"/>
              <a:gd name="T46" fmla="*/ 80 w 540"/>
              <a:gd name="T47" fmla="*/ 292 h 447"/>
              <a:gd name="T48" fmla="*/ 33 w 540"/>
              <a:gd name="T49" fmla="*/ 368 h 447"/>
              <a:gd name="T50" fmla="*/ 8 w 540"/>
              <a:gd name="T51" fmla="*/ 425 h 447"/>
              <a:gd name="T52" fmla="*/ 2 w 540"/>
              <a:gd name="T53" fmla="*/ 441 h 447"/>
              <a:gd name="T54" fmla="*/ 0 w 540"/>
              <a:gd name="T55" fmla="*/ 447 h 447"/>
              <a:gd name="T56" fmla="*/ 3 w 540"/>
              <a:gd name="T57" fmla="*/ 441 h 447"/>
              <a:gd name="T58" fmla="*/ 10 w 540"/>
              <a:gd name="T59" fmla="*/ 426 h 447"/>
              <a:gd name="T60" fmla="*/ 41 w 540"/>
              <a:gd name="T61" fmla="*/ 373 h 447"/>
              <a:gd name="T62" fmla="*/ 95 w 540"/>
              <a:gd name="T63" fmla="*/ 305 h 447"/>
              <a:gd name="T64" fmla="*/ 170 w 540"/>
              <a:gd name="T65" fmla="*/ 243 h 447"/>
              <a:gd name="T66" fmla="*/ 180 w 540"/>
              <a:gd name="T67" fmla="*/ 236 h 447"/>
              <a:gd name="T68" fmla="*/ 191 w 540"/>
              <a:gd name="T69" fmla="*/ 230 h 447"/>
              <a:gd name="T70" fmla="*/ 213 w 540"/>
              <a:gd name="T71" fmla="*/ 218 h 447"/>
              <a:gd name="T72" fmla="*/ 256 w 540"/>
              <a:gd name="T73" fmla="*/ 199 h 447"/>
              <a:gd name="T74" fmla="*/ 337 w 540"/>
              <a:gd name="T75" fmla="*/ 176 h 447"/>
              <a:gd name="T76" fmla="*/ 370 w 540"/>
              <a:gd name="T77" fmla="*/ 170 h 447"/>
              <a:gd name="T78" fmla="*/ 396 w 540"/>
              <a:gd name="T79" fmla="*/ 167 h 447"/>
              <a:gd name="T80" fmla="*/ 413 w 540"/>
              <a:gd name="T81" fmla="*/ 165 h 447"/>
              <a:gd name="T82" fmla="*/ 418 w 540"/>
              <a:gd name="T83" fmla="*/ 165 h 447"/>
              <a:gd name="T84" fmla="*/ 416 w 540"/>
              <a:gd name="T85" fmla="*/ 171 h 447"/>
              <a:gd name="T86" fmla="*/ 409 w 540"/>
              <a:gd name="T87" fmla="*/ 187 h 447"/>
              <a:gd name="T88" fmla="*/ 399 w 540"/>
              <a:gd name="T89" fmla="*/ 209 h 447"/>
              <a:gd name="T90" fmla="*/ 390 w 540"/>
              <a:gd name="T91" fmla="*/ 234 h 447"/>
              <a:gd name="T92" fmla="*/ 375 w 540"/>
              <a:gd name="T93" fmla="*/ 282 h 447"/>
              <a:gd name="T94" fmla="*/ 372 w 540"/>
              <a:gd name="T95" fmla="*/ 298 h 447"/>
              <a:gd name="T96" fmla="*/ 370 w 540"/>
              <a:gd name="T97" fmla="*/ 304 h 447"/>
              <a:gd name="T98" fmla="*/ 375 w 540"/>
              <a:gd name="T99" fmla="*/ 295 h 447"/>
              <a:gd name="T100" fmla="*/ 390 w 540"/>
              <a:gd name="T101" fmla="*/ 274 h 447"/>
              <a:gd name="T102" fmla="*/ 443 w 540"/>
              <a:gd name="T103" fmla="*/ 211 h 447"/>
              <a:gd name="T104" fmla="*/ 508 w 540"/>
              <a:gd name="T105" fmla="*/ 152 h 447"/>
              <a:gd name="T106" fmla="*/ 531 w 540"/>
              <a:gd name="T107" fmla="*/ 134 h 447"/>
              <a:gd name="T108" fmla="*/ 540 w 540"/>
              <a:gd name="T109" fmla="*/ 127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0" h="447">
                <a:moveTo>
                  <a:pt x="540" y="127"/>
                </a:moveTo>
                <a:cubicBezTo>
                  <a:pt x="540" y="127"/>
                  <a:pt x="537" y="125"/>
                  <a:pt x="531" y="120"/>
                </a:cubicBezTo>
                <a:cubicBezTo>
                  <a:pt x="525" y="116"/>
                  <a:pt x="516" y="110"/>
                  <a:pt x="506" y="103"/>
                </a:cubicBezTo>
                <a:cubicBezTo>
                  <a:pt x="485" y="89"/>
                  <a:pt x="456" y="71"/>
                  <a:pt x="425" y="55"/>
                </a:cubicBezTo>
                <a:cubicBezTo>
                  <a:pt x="394" y="38"/>
                  <a:pt x="361" y="24"/>
                  <a:pt x="335" y="14"/>
                </a:cubicBezTo>
                <a:cubicBezTo>
                  <a:pt x="321" y="10"/>
                  <a:pt x="310" y="6"/>
                  <a:pt x="302" y="4"/>
                </a:cubicBezTo>
                <a:cubicBezTo>
                  <a:pt x="294" y="1"/>
                  <a:pt x="289" y="0"/>
                  <a:pt x="289" y="0"/>
                </a:cubicBezTo>
                <a:cubicBezTo>
                  <a:pt x="289" y="0"/>
                  <a:pt x="292" y="2"/>
                  <a:pt x="295" y="4"/>
                </a:cubicBezTo>
                <a:cubicBezTo>
                  <a:pt x="299" y="7"/>
                  <a:pt x="304" y="10"/>
                  <a:pt x="310" y="15"/>
                </a:cubicBezTo>
                <a:cubicBezTo>
                  <a:pt x="323" y="25"/>
                  <a:pt x="339" y="37"/>
                  <a:pt x="354" y="50"/>
                </a:cubicBezTo>
                <a:cubicBezTo>
                  <a:pt x="361" y="57"/>
                  <a:pt x="369" y="64"/>
                  <a:pt x="375" y="70"/>
                </a:cubicBezTo>
                <a:cubicBezTo>
                  <a:pt x="382" y="76"/>
                  <a:pt x="388" y="82"/>
                  <a:pt x="393" y="88"/>
                </a:cubicBezTo>
                <a:cubicBezTo>
                  <a:pt x="399" y="93"/>
                  <a:pt x="403" y="97"/>
                  <a:pt x="406" y="100"/>
                </a:cubicBezTo>
                <a:cubicBezTo>
                  <a:pt x="409" y="103"/>
                  <a:pt x="410" y="105"/>
                  <a:pt x="410" y="105"/>
                </a:cubicBezTo>
                <a:cubicBezTo>
                  <a:pt x="410" y="105"/>
                  <a:pt x="408" y="105"/>
                  <a:pt x="404" y="106"/>
                </a:cubicBezTo>
                <a:cubicBezTo>
                  <a:pt x="400" y="107"/>
                  <a:pt x="394" y="108"/>
                  <a:pt x="386" y="110"/>
                </a:cubicBezTo>
                <a:cubicBezTo>
                  <a:pt x="379" y="112"/>
                  <a:pt x="370" y="114"/>
                  <a:pt x="359" y="117"/>
                </a:cubicBezTo>
                <a:cubicBezTo>
                  <a:pt x="349" y="120"/>
                  <a:pt x="337" y="123"/>
                  <a:pt x="324" y="127"/>
                </a:cubicBezTo>
                <a:cubicBezTo>
                  <a:pt x="299" y="135"/>
                  <a:pt x="269" y="146"/>
                  <a:pt x="240" y="162"/>
                </a:cubicBezTo>
                <a:cubicBezTo>
                  <a:pt x="225" y="169"/>
                  <a:pt x="210" y="178"/>
                  <a:pt x="195" y="187"/>
                </a:cubicBezTo>
                <a:cubicBezTo>
                  <a:pt x="188" y="192"/>
                  <a:pt x="180" y="197"/>
                  <a:pt x="173" y="202"/>
                </a:cubicBezTo>
                <a:cubicBezTo>
                  <a:pt x="163" y="210"/>
                  <a:pt x="163" y="210"/>
                  <a:pt x="163" y="210"/>
                </a:cubicBezTo>
                <a:cubicBezTo>
                  <a:pt x="152" y="218"/>
                  <a:pt x="152" y="218"/>
                  <a:pt x="152" y="218"/>
                </a:cubicBezTo>
                <a:cubicBezTo>
                  <a:pt x="125" y="241"/>
                  <a:pt x="100" y="267"/>
                  <a:pt x="80" y="292"/>
                </a:cubicBezTo>
                <a:cubicBezTo>
                  <a:pt x="61" y="319"/>
                  <a:pt x="45" y="345"/>
                  <a:pt x="33" y="368"/>
                </a:cubicBezTo>
                <a:cubicBezTo>
                  <a:pt x="21" y="391"/>
                  <a:pt x="13" y="411"/>
                  <a:pt x="8" y="425"/>
                </a:cubicBezTo>
                <a:cubicBezTo>
                  <a:pt x="5" y="432"/>
                  <a:pt x="3" y="437"/>
                  <a:pt x="2" y="441"/>
                </a:cubicBezTo>
                <a:cubicBezTo>
                  <a:pt x="1" y="445"/>
                  <a:pt x="0" y="447"/>
                  <a:pt x="0" y="447"/>
                </a:cubicBezTo>
                <a:cubicBezTo>
                  <a:pt x="0" y="447"/>
                  <a:pt x="1" y="445"/>
                  <a:pt x="3" y="441"/>
                </a:cubicBezTo>
                <a:cubicBezTo>
                  <a:pt x="4" y="438"/>
                  <a:pt x="7" y="433"/>
                  <a:pt x="10" y="426"/>
                </a:cubicBezTo>
                <a:cubicBezTo>
                  <a:pt x="17" y="413"/>
                  <a:pt x="27" y="394"/>
                  <a:pt x="41" y="373"/>
                </a:cubicBezTo>
                <a:cubicBezTo>
                  <a:pt x="55" y="351"/>
                  <a:pt x="73" y="328"/>
                  <a:pt x="95" y="305"/>
                </a:cubicBezTo>
                <a:cubicBezTo>
                  <a:pt x="117" y="282"/>
                  <a:pt x="142" y="261"/>
                  <a:pt x="170" y="243"/>
                </a:cubicBezTo>
                <a:cubicBezTo>
                  <a:pt x="180" y="236"/>
                  <a:pt x="180" y="236"/>
                  <a:pt x="180" y="236"/>
                </a:cubicBezTo>
                <a:cubicBezTo>
                  <a:pt x="191" y="230"/>
                  <a:pt x="191" y="230"/>
                  <a:pt x="191" y="230"/>
                </a:cubicBezTo>
                <a:cubicBezTo>
                  <a:pt x="198" y="226"/>
                  <a:pt x="206" y="222"/>
                  <a:pt x="213" y="218"/>
                </a:cubicBezTo>
                <a:cubicBezTo>
                  <a:pt x="227" y="211"/>
                  <a:pt x="242" y="205"/>
                  <a:pt x="256" y="199"/>
                </a:cubicBezTo>
                <a:cubicBezTo>
                  <a:pt x="285" y="188"/>
                  <a:pt x="313" y="181"/>
                  <a:pt x="337" y="176"/>
                </a:cubicBezTo>
                <a:cubicBezTo>
                  <a:pt x="349" y="174"/>
                  <a:pt x="360" y="172"/>
                  <a:pt x="370" y="170"/>
                </a:cubicBezTo>
                <a:cubicBezTo>
                  <a:pt x="380" y="169"/>
                  <a:pt x="389" y="168"/>
                  <a:pt x="396" y="167"/>
                </a:cubicBezTo>
                <a:cubicBezTo>
                  <a:pt x="403" y="166"/>
                  <a:pt x="409" y="166"/>
                  <a:pt x="413" y="165"/>
                </a:cubicBezTo>
                <a:cubicBezTo>
                  <a:pt x="416" y="165"/>
                  <a:pt x="418" y="165"/>
                  <a:pt x="418" y="165"/>
                </a:cubicBezTo>
                <a:cubicBezTo>
                  <a:pt x="418" y="165"/>
                  <a:pt x="417" y="167"/>
                  <a:pt x="416" y="171"/>
                </a:cubicBezTo>
                <a:cubicBezTo>
                  <a:pt x="414" y="175"/>
                  <a:pt x="412" y="180"/>
                  <a:pt x="409" y="187"/>
                </a:cubicBezTo>
                <a:cubicBezTo>
                  <a:pt x="406" y="193"/>
                  <a:pt x="403" y="201"/>
                  <a:pt x="399" y="209"/>
                </a:cubicBezTo>
                <a:cubicBezTo>
                  <a:pt x="396" y="217"/>
                  <a:pt x="393" y="225"/>
                  <a:pt x="390" y="234"/>
                </a:cubicBezTo>
                <a:cubicBezTo>
                  <a:pt x="384" y="251"/>
                  <a:pt x="379" y="269"/>
                  <a:pt x="375" y="282"/>
                </a:cubicBezTo>
                <a:cubicBezTo>
                  <a:pt x="374" y="288"/>
                  <a:pt x="372" y="294"/>
                  <a:pt x="372" y="298"/>
                </a:cubicBezTo>
                <a:cubicBezTo>
                  <a:pt x="371" y="301"/>
                  <a:pt x="370" y="304"/>
                  <a:pt x="370" y="304"/>
                </a:cubicBezTo>
                <a:cubicBezTo>
                  <a:pt x="370" y="304"/>
                  <a:pt x="372" y="301"/>
                  <a:pt x="375" y="295"/>
                </a:cubicBezTo>
                <a:cubicBezTo>
                  <a:pt x="378" y="290"/>
                  <a:pt x="383" y="283"/>
                  <a:pt x="390" y="274"/>
                </a:cubicBezTo>
                <a:cubicBezTo>
                  <a:pt x="402" y="256"/>
                  <a:pt x="421" y="233"/>
                  <a:pt x="443" y="211"/>
                </a:cubicBezTo>
                <a:cubicBezTo>
                  <a:pt x="464" y="189"/>
                  <a:pt x="489" y="167"/>
                  <a:pt x="508" y="152"/>
                </a:cubicBezTo>
                <a:cubicBezTo>
                  <a:pt x="517" y="144"/>
                  <a:pt x="525" y="138"/>
                  <a:pt x="531" y="134"/>
                </a:cubicBezTo>
                <a:cubicBezTo>
                  <a:pt x="537" y="129"/>
                  <a:pt x="540" y="127"/>
                  <a:pt x="540" y="12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4" name="Freeform 25">
            <a:extLst>
              <a:ext uri="{FF2B5EF4-FFF2-40B4-BE49-F238E27FC236}">
                <a16:creationId xmlns:a16="http://schemas.microsoft.com/office/drawing/2014/main" id="{A92DDD2D-AD1D-4032-88DD-E5868FF4802B}"/>
              </a:ext>
            </a:extLst>
          </p:cNvPr>
          <p:cNvSpPr>
            <a:spLocks noEditPoints="1"/>
          </p:cNvSpPr>
          <p:nvPr/>
        </p:nvSpPr>
        <p:spPr bwMode="auto">
          <a:xfrm rot="2700000">
            <a:off x="2125131" y="3628965"/>
            <a:ext cx="352807" cy="522942"/>
          </a:xfrm>
          <a:custGeom>
            <a:avLst/>
            <a:gdLst>
              <a:gd name="T0" fmla="*/ 163 w 164"/>
              <a:gd name="T1" fmla="*/ 109 h 244"/>
              <a:gd name="T2" fmla="*/ 125 w 164"/>
              <a:gd name="T3" fmla="*/ 46 h 244"/>
              <a:gd name="T4" fmla="*/ 143 w 164"/>
              <a:gd name="T5" fmla="*/ 9 h 244"/>
              <a:gd name="T6" fmla="*/ 143 w 164"/>
              <a:gd name="T7" fmla="*/ 3 h 244"/>
              <a:gd name="T8" fmla="*/ 138 w 164"/>
              <a:gd name="T9" fmla="*/ 0 h 244"/>
              <a:gd name="T10" fmla="*/ 22 w 164"/>
              <a:gd name="T11" fmla="*/ 0 h 244"/>
              <a:gd name="T12" fmla="*/ 17 w 164"/>
              <a:gd name="T13" fmla="*/ 3 h 244"/>
              <a:gd name="T14" fmla="*/ 17 w 164"/>
              <a:gd name="T15" fmla="*/ 9 h 244"/>
              <a:gd name="T16" fmla="*/ 39 w 164"/>
              <a:gd name="T17" fmla="*/ 46 h 244"/>
              <a:gd name="T18" fmla="*/ 2 w 164"/>
              <a:gd name="T19" fmla="*/ 109 h 244"/>
              <a:gd name="T20" fmla="*/ 1 w 164"/>
              <a:gd name="T21" fmla="*/ 114 h 244"/>
              <a:gd name="T22" fmla="*/ 61 w 164"/>
              <a:gd name="T23" fmla="*/ 241 h 244"/>
              <a:gd name="T24" fmla="*/ 66 w 164"/>
              <a:gd name="T25" fmla="*/ 244 h 244"/>
              <a:gd name="T26" fmla="*/ 98 w 164"/>
              <a:gd name="T27" fmla="*/ 244 h 244"/>
              <a:gd name="T28" fmla="*/ 103 w 164"/>
              <a:gd name="T29" fmla="*/ 241 h 244"/>
              <a:gd name="T30" fmla="*/ 163 w 164"/>
              <a:gd name="T31" fmla="*/ 114 h 244"/>
              <a:gd name="T32" fmla="*/ 163 w 164"/>
              <a:gd name="T33" fmla="*/ 109 h 244"/>
              <a:gd name="T34" fmla="*/ 128 w 164"/>
              <a:gd name="T35" fmla="*/ 12 h 244"/>
              <a:gd name="T36" fmla="*/ 114 w 164"/>
              <a:gd name="T37" fmla="*/ 40 h 244"/>
              <a:gd name="T38" fmla="*/ 49 w 164"/>
              <a:gd name="T39" fmla="*/ 40 h 244"/>
              <a:gd name="T40" fmla="*/ 33 w 164"/>
              <a:gd name="T41" fmla="*/ 12 h 244"/>
              <a:gd name="T42" fmla="*/ 128 w 164"/>
              <a:gd name="T43" fmla="*/ 12 h 244"/>
              <a:gd name="T44" fmla="*/ 82 w 164"/>
              <a:gd name="T45" fmla="*/ 120 h 244"/>
              <a:gd name="T46" fmla="*/ 68 w 164"/>
              <a:gd name="T47" fmla="*/ 106 h 244"/>
              <a:gd name="T48" fmla="*/ 82 w 164"/>
              <a:gd name="T49" fmla="*/ 92 h 244"/>
              <a:gd name="T50" fmla="*/ 96 w 164"/>
              <a:gd name="T51" fmla="*/ 106 h 244"/>
              <a:gd name="T52" fmla="*/ 82 w 164"/>
              <a:gd name="T53" fmla="*/ 120 h 244"/>
              <a:gd name="T54" fmla="*/ 94 w 164"/>
              <a:gd name="T55" fmla="*/ 232 h 244"/>
              <a:gd name="T56" fmla="*/ 88 w 164"/>
              <a:gd name="T57" fmla="*/ 232 h 244"/>
              <a:gd name="T58" fmla="*/ 88 w 164"/>
              <a:gd name="T59" fmla="*/ 131 h 244"/>
              <a:gd name="T60" fmla="*/ 108 w 164"/>
              <a:gd name="T61" fmla="*/ 106 h 244"/>
              <a:gd name="T62" fmla="*/ 82 w 164"/>
              <a:gd name="T63" fmla="*/ 80 h 244"/>
              <a:gd name="T64" fmla="*/ 56 w 164"/>
              <a:gd name="T65" fmla="*/ 106 h 244"/>
              <a:gd name="T66" fmla="*/ 76 w 164"/>
              <a:gd name="T67" fmla="*/ 131 h 244"/>
              <a:gd name="T68" fmla="*/ 76 w 164"/>
              <a:gd name="T69" fmla="*/ 232 h 244"/>
              <a:gd name="T70" fmla="*/ 70 w 164"/>
              <a:gd name="T71" fmla="*/ 232 h 244"/>
              <a:gd name="T72" fmla="*/ 13 w 164"/>
              <a:gd name="T73" fmla="*/ 112 h 244"/>
              <a:gd name="T74" fmla="*/ 49 w 164"/>
              <a:gd name="T75" fmla="*/ 52 h 244"/>
              <a:gd name="T76" fmla="*/ 115 w 164"/>
              <a:gd name="T77" fmla="*/ 52 h 244"/>
              <a:gd name="T78" fmla="*/ 151 w 164"/>
              <a:gd name="T79" fmla="*/ 112 h 244"/>
              <a:gd name="T80" fmla="*/ 94 w 164"/>
              <a:gd name="T81" fmla="*/ 232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4" h="244">
                <a:moveTo>
                  <a:pt x="163" y="109"/>
                </a:moveTo>
                <a:cubicBezTo>
                  <a:pt x="125" y="46"/>
                  <a:pt x="125" y="46"/>
                  <a:pt x="125" y="46"/>
                </a:cubicBezTo>
                <a:cubicBezTo>
                  <a:pt x="143" y="9"/>
                  <a:pt x="143" y="9"/>
                  <a:pt x="143" y="9"/>
                </a:cubicBezTo>
                <a:cubicBezTo>
                  <a:pt x="144" y="7"/>
                  <a:pt x="144" y="5"/>
                  <a:pt x="143" y="3"/>
                </a:cubicBezTo>
                <a:cubicBezTo>
                  <a:pt x="142" y="1"/>
                  <a:pt x="140" y="0"/>
                  <a:pt x="138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0" y="0"/>
                  <a:pt x="18" y="1"/>
                  <a:pt x="17" y="3"/>
                </a:cubicBezTo>
                <a:cubicBezTo>
                  <a:pt x="16" y="5"/>
                  <a:pt x="16" y="7"/>
                  <a:pt x="17" y="9"/>
                </a:cubicBezTo>
                <a:cubicBezTo>
                  <a:pt x="39" y="46"/>
                  <a:pt x="39" y="46"/>
                  <a:pt x="39" y="46"/>
                </a:cubicBezTo>
                <a:cubicBezTo>
                  <a:pt x="2" y="109"/>
                  <a:pt x="2" y="109"/>
                  <a:pt x="2" y="109"/>
                </a:cubicBezTo>
                <a:cubicBezTo>
                  <a:pt x="1" y="111"/>
                  <a:pt x="0" y="113"/>
                  <a:pt x="1" y="114"/>
                </a:cubicBezTo>
                <a:cubicBezTo>
                  <a:pt x="61" y="241"/>
                  <a:pt x="61" y="241"/>
                  <a:pt x="61" y="241"/>
                </a:cubicBezTo>
                <a:cubicBezTo>
                  <a:pt x="62" y="243"/>
                  <a:pt x="64" y="244"/>
                  <a:pt x="66" y="244"/>
                </a:cubicBezTo>
                <a:cubicBezTo>
                  <a:pt x="98" y="244"/>
                  <a:pt x="98" y="244"/>
                  <a:pt x="98" y="244"/>
                </a:cubicBezTo>
                <a:cubicBezTo>
                  <a:pt x="100" y="244"/>
                  <a:pt x="102" y="243"/>
                  <a:pt x="103" y="241"/>
                </a:cubicBezTo>
                <a:cubicBezTo>
                  <a:pt x="163" y="114"/>
                  <a:pt x="163" y="114"/>
                  <a:pt x="163" y="114"/>
                </a:cubicBezTo>
                <a:cubicBezTo>
                  <a:pt x="164" y="113"/>
                  <a:pt x="164" y="111"/>
                  <a:pt x="163" y="109"/>
                </a:cubicBezTo>
                <a:close/>
                <a:moveTo>
                  <a:pt x="128" y="12"/>
                </a:moveTo>
                <a:cubicBezTo>
                  <a:pt x="114" y="40"/>
                  <a:pt x="114" y="40"/>
                  <a:pt x="114" y="40"/>
                </a:cubicBezTo>
                <a:cubicBezTo>
                  <a:pt x="49" y="40"/>
                  <a:pt x="49" y="40"/>
                  <a:pt x="49" y="40"/>
                </a:cubicBezTo>
                <a:cubicBezTo>
                  <a:pt x="33" y="12"/>
                  <a:pt x="33" y="12"/>
                  <a:pt x="33" y="12"/>
                </a:cubicBezTo>
                <a:lnTo>
                  <a:pt x="128" y="12"/>
                </a:lnTo>
                <a:close/>
                <a:moveTo>
                  <a:pt x="82" y="120"/>
                </a:moveTo>
                <a:cubicBezTo>
                  <a:pt x="74" y="120"/>
                  <a:pt x="68" y="114"/>
                  <a:pt x="68" y="106"/>
                </a:cubicBezTo>
                <a:cubicBezTo>
                  <a:pt x="68" y="98"/>
                  <a:pt x="74" y="92"/>
                  <a:pt x="82" y="92"/>
                </a:cubicBezTo>
                <a:cubicBezTo>
                  <a:pt x="90" y="92"/>
                  <a:pt x="96" y="98"/>
                  <a:pt x="96" y="106"/>
                </a:cubicBezTo>
                <a:cubicBezTo>
                  <a:pt x="96" y="114"/>
                  <a:pt x="90" y="120"/>
                  <a:pt x="82" y="120"/>
                </a:cubicBezTo>
                <a:close/>
                <a:moveTo>
                  <a:pt x="94" y="232"/>
                </a:moveTo>
                <a:cubicBezTo>
                  <a:pt x="88" y="232"/>
                  <a:pt x="88" y="232"/>
                  <a:pt x="88" y="232"/>
                </a:cubicBezTo>
                <a:cubicBezTo>
                  <a:pt x="88" y="131"/>
                  <a:pt x="88" y="131"/>
                  <a:pt x="88" y="131"/>
                </a:cubicBezTo>
                <a:cubicBezTo>
                  <a:pt x="99" y="129"/>
                  <a:pt x="108" y="118"/>
                  <a:pt x="108" y="106"/>
                </a:cubicBezTo>
                <a:cubicBezTo>
                  <a:pt x="108" y="92"/>
                  <a:pt x="96" y="80"/>
                  <a:pt x="82" y="80"/>
                </a:cubicBezTo>
                <a:cubicBezTo>
                  <a:pt x="68" y="80"/>
                  <a:pt x="56" y="92"/>
                  <a:pt x="56" y="106"/>
                </a:cubicBezTo>
                <a:cubicBezTo>
                  <a:pt x="56" y="118"/>
                  <a:pt x="65" y="129"/>
                  <a:pt x="76" y="131"/>
                </a:cubicBezTo>
                <a:cubicBezTo>
                  <a:pt x="76" y="232"/>
                  <a:pt x="76" y="232"/>
                  <a:pt x="76" y="232"/>
                </a:cubicBezTo>
                <a:cubicBezTo>
                  <a:pt x="70" y="232"/>
                  <a:pt x="70" y="232"/>
                  <a:pt x="70" y="232"/>
                </a:cubicBezTo>
                <a:cubicBezTo>
                  <a:pt x="13" y="112"/>
                  <a:pt x="13" y="112"/>
                  <a:pt x="13" y="112"/>
                </a:cubicBezTo>
                <a:cubicBezTo>
                  <a:pt x="49" y="52"/>
                  <a:pt x="49" y="52"/>
                  <a:pt x="49" y="52"/>
                </a:cubicBezTo>
                <a:cubicBezTo>
                  <a:pt x="115" y="52"/>
                  <a:pt x="115" y="52"/>
                  <a:pt x="115" y="52"/>
                </a:cubicBezTo>
                <a:cubicBezTo>
                  <a:pt x="151" y="112"/>
                  <a:pt x="151" y="112"/>
                  <a:pt x="151" y="112"/>
                </a:cubicBezTo>
                <a:lnTo>
                  <a:pt x="94" y="2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cs typeface="+mn-ea"/>
              <a:sym typeface="+mn-lt"/>
            </a:endParaRPr>
          </a:p>
        </p:txBody>
      </p:sp>
      <p:grpSp>
        <p:nvGrpSpPr>
          <p:cNvPr id="35" name="Group 31">
            <a:extLst>
              <a:ext uri="{FF2B5EF4-FFF2-40B4-BE49-F238E27FC236}">
                <a16:creationId xmlns:a16="http://schemas.microsoft.com/office/drawing/2014/main" id="{8F566739-A29F-427D-9252-6DA5C5C80C51}"/>
              </a:ext>
            </a:extLst>
          </p:cNvPr>
          <p:cNvGrpSpPr/>
          <p:nvPr/>
        </p:nvGrpSpPr>
        <p:grpSpPr>
          <a:xfrm>
            <a:off x="3240168" y="2497015"/>
            <a:ext cx="418477" cy="404016"/>
            <a:chOff x="4064000" y="5461000"/>
            <a:chExt cx="735013" cy="709613"/>
          </a:xfrm>
          <a:solidFill>
            <a:schemeClr val="accent1"/>
          </a:solidFill>
        </p:grpSpPr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99BEB63B-DBED-4D2C-90F4-302D9F08BD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4000" y="5461000"/>
              <a:ext cx="708025" cy="709613"/>
            </a:xfrm>
            <a:custGeom>
              <a:avLst/>
              <a:gdLst>
                <a:gd name="T0" fmla="*/ 142 w 186"/>
                <a:gd name="T1" fmla="*/ 155 h 186"/>
                <a:gd name="T2" fmla="*/ 125 w 186"/>
                <a:gd name="T3" fmla="*/ 165 h 186"/>
                <a:gd name="T4" fmla="*/ 131 w 186"/>
                <a:gd name="T5" fmla="*/ 156 h 186"/>
                <a:gd name="T6" fmla="*/ 121 w 186"/>
                <a:gd name="T7" fmla="*/ 157 h 186"/>
                <a:gd name="T8" fmla="*/ 114 w 186"/>
                <a:gd name="T9" fmla="*/ 156 h 186"/>
                <a:gd name="T10" fmla="*/ 93 w 186"/>
                <a:gd name="T11" fmla="*/ 172 h 186"/>
                <a:gd name="T12" fmla="*/ 60 w 186"/>
                <a:gd name="T13" fmla="*/ 131 h 186"/>
                <a:gd name="T14" fmla="*/ 76 w 186"/>
                <a:gd name="T15" fmla="*/ 131 h 186"/>
                <a:gd name="T16" fmla="*/ 72 w 186"/>
                <a:gd name="T17" fmla="*/ 120 h 186"/>
                <a:gd name="T18" fmla="*/ 71 w 186"/>
                <a:gd name="T19" fmla="*/ 117 h 186"/>
                <a:gd name="T20" fmla="*/ 57 w 186"/>
                <a:gd name="T21" fmla="*/ 117 h 186"/>
                <a:gd name="T22" fmla="*/ 56 w 186"/>
                <a:gd name="T23" fmla="*/ 93 h 186"/>
                <a:gd name="T24" fmla="*/ 57 w 186"/>
                <a:gd name="T25" fmla="*/ 72 h 186"/>
                <a:gd name="T26" fmla="*/ 81 w 186"/>
                <a:gd name="T27" fmla="*/ 72 h 186"/>
                <a:gd name="T28" fmla="*/ 98 w 186"/>
                <a:gd name="T29" fmla="*/ 58 h 186"/>
                <a:gd name="T30" fmla="*/ 60 w 186"/>
                <a:gd name="T31" fmla="*/ 58 h 186"/>
                <a:gd name="T32" fmla="*/ 93 w 186"/>
                <a:gd name="T33" fmla="*/ 14 h 186"/>
                <a:gd name="T34" fmla="*/ 125 w 186"/>
                <a:gd name="T35" fmla="*/ 53 h 186"/>
                <a:gd name="T36" fmla="*/ 140 w 186"/>
                <a:gd name="T37" fmla="*/ 56 h 186"/>
                <a:gd name="T38" fmla="*/ 125 w 186"/>
                <a:gd name="T39" fmla="*/ 21 h 186"/>
                <a:gd name="T40" fmla="*/ 164 w 186"/>
                <a:gd name="T41" fmla="*/ 58 h 186"/>
                <a:gd name="T42" fmla="*/ 145 w 186"/>
                <a:gd name="T43" fmla="*/ 58 h 186"/>
                <a:gd name="T44" fmla="*/ 162 w 186"/>
                <a:gd name="T45" fmla="*/ 72 h 186"/>
                <a:gd name="T46" fmla="*/ 169 w 186"/>
                <a:gd name="T47" fmla="*/ 72 h 186"/>
                <a:gd name="T48" fmla="*/ 172 w 186"/>
                <a:gd name="T49" fmla="*/ 93 h 186"/>
                <a:gd name="T50" fmla="*/ 172 w 186"/>
                <a:gd name="T51" fmla="*/ 94 h 186"/>
                <a:gd name="T52" fmla="*/ 170 w 186"/>
                <a:gd name="T53" fmla="*/ 123 h 186"/>
                <a:gd name="T54" fmla="*/ 178 w 186"/>
                <a:gd name="T55" fmla="*/ 131 h 186"/>
                <a:gd name="T56" fmla="*/ 178 w 186"/>
                <a:gd name="T57" fmla="*/ 131 h 186"/>
                <a:gd name="T58" fmla="*/ 179 w 186"/>
                <a:gd name="T59" fmla="*/ 131 h 186"/>
                <a:gd name="T60" fmla="*/ 179 w 186"/>
                <a:gd name="T61" fmla="*/ 128 h 186"/>
                <a:gd name="T62" fmla="*/ 186 w 186"/>
                <a:gd name="T63" fmla="*/ 93 h 186"/>
                <a:gd name="T64" fmla="*/ 93 w 186"/>
                <a:gd name="T65" fmla="*/ 0 h 186"/>
                <a:gd name="T66" fmla="*/ 0 w 186"/>
                <a:gd name="T67" fmla="*/ 93 h 186"/>
                <a:gd name="T68" fmla="*/ 93 w 186"/>
                <a:gd name="T69" fmla="*/ 186 h 186"/>
                <a:gd name="T70" fmla="*/ 151 w 186"/>
                <a:gd name="T71" fmla="*/ 166 h 186"/>
                <a:gd name="T72" fmla="*/ 142 w 186"/>
                <a:gd name="T73" fmla="*/ 155 h 186"/>
                <a:gd name="T74" fmla="*/ 61 w 186"/>
                <a:gd name="T75" fmla="*/ 21 h 186"/>
                <a:gd name="T76" fmla="*/ 45 w 186"/>
                <a:gd name="T77" fmla="*/ 58 h 186"/>
                <a:gd name="T78" fmla="*/ 22 w 186"/>
                <a:gd name="T79" fmla="*/ 58 h 186"/>
                <a:gd name="T80" fmla="*/ 61 w 186"/>
                <a:gd name="T81" fmla="*/ 21 h 186"/>
                <a:gd name="T82" fmla="*/ 14 w 186"/>
                <a:gd name="T83" fmla="*/ 93 h 186"/>
                <a:gd name="T84" fmla="*/ 17 w 186"/>
                <a:gd name="T85" fmla="*/ 72 h 186"/>
                <a:gd name="T86" fmla="*/ 43 w 186"/>
                <a:gd name="T87" fmla="*/ 72 h 186"/>
                <a:gd name="T88" fmla="*/ 42 w 186"/>
                <a:gd name="T89" fmla="*/ 93 h 186"/>
                <a:gd name="T90" fmla="*/ 43 w 186"/>
                <a:gd name="T91" fmla="*/ 117 h 186"/>
                <a:gd name="T92" fmla="*/ 17 w 186"/>
                <a:gd name="T93" fmla="*/ 117 h 186"/>
                <a:gd name="T94" fmla="*/ 14 w 186"/>
                <a:gd name="T95" fmla="*/ 93 h 186"/>
                <a:gd name="T96" fmla="*/ 23 w 186"/>
                <a:gd name="T97" fmla="*/ 131 h 186"/>
                <a:gd name="T98" fmla="*/ 46 w 186"/>
                <a:gd name="T99" fmla="*/ 131 h 186"/>
                <a:gd name="T100" fmla="*/ 61 w 186"/>
                <a:gd name="T101" fmla="*/ 165 h 186"/>
                <a:gd name="T102" fmla="*/ 23 w 186"/>
                <a:gd name="T103" fmla="*/ 13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6" h="186">
                  <a:moveTo>
                    <a:pt x="142" y="155"/>
                  </a:moveTo>
                  <a:cubicBezTo>
                    <a:pt x="137" y="159"/>
                    <a:pt x="131" y="163"/>
                    <a:pt x="125" y="165"/>
                  </a:cubicBezTo>
                  <a:cubicBezTo>
                    <a:pt x="127" y="162"/>
                    <a:pt x="129" y="159"/>
                    <a:pt x="131" y="156"/>
                  </a:cubicBezTo>
                  <a:cubicBezTo>
                    <a:pt x="128" y="157"/>
                    <a:pt x="124" y="157"/>
                    <a:pt x="121" y="157"/>
                  </a:cubicBezTo>
                  <a:cubicBezTo>
                    <a:pt x="119" y="157"/>
                    <a:pt x="117" y="157"/>
                    <a:pt x="114" y="156"/>
                  </a:cubicBezTo>
                  <a:cubicBezTo>
                    <a:pt x="108" y="166"/>
                    <a:pt x="100" y="172"/>
                    <a:pt x="93" y="172"/>
                  </a:cubicBezTo>
                  <a:cubicBezTo>
                    <a:pt x="81" y="172"/>
                    <a:pt x="67" y="156"/>
                    <a:pt x="60" y="131"/>
                  </a:cubicBezTo>
                  <a:cubicBezTo>
                    <a:pt x="76" y="131"/>
                    <a:pt x="76" y="131"/>
                    <a:pt x="76" y="131"/>
                  </a:cubicBezTo>
                  <a:cubicBezTo>
                    <a:pt x="74" y="127"/>
                    <a:pt x="73" y="124"/>
                    <a:pt x="72" y="120"/>
                  </a:cubicBezTo>
                  <a:cubicBezTo>
                    <a:pt x="71" y="119"/>
                    <a:pt x="71" y="118"/>
                    <a:pt x="71" y="117"/>
                  </a:cubicBezTo>
                  <a:cubicBezTo>
                    <a:pt x="57" y="117"/>
                    <a:pt x="57" y="117"/>
                    <a:pt x="57" y="117"/>
                  </a:cubicBezTo>
                  <a:cubicBezTo>
                    <a:pt x="56" y="109"/>
                    <a:pt x="56" y="101"/>
                    <a:pt x="56" y="93"/>
                  </a:cubicBezTo>
                  <a:cubicBezTo>
                    <a:pt x="56" y="86"/>
                    <a:pt x="56" y="79"/>
                    <a:pt x="57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5" y="66"/>
                    <a:pt x="91" y="62"/>
                    <a:pt x="98" y="58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6" y="32"/>
                    <a:pt x="80" y="14"/>
                    <a:pt x="93" y="14"/>
                  </a:cubicBezTo>
                  <a:cubicBezTo>
                    <a:pt x="105" y="14"/>
                    <a:pt x="118" y="29"/>
                    <a:pt x="125" y="53"/>
                  </a:cubicBezTo>
                  <a:cubicBezTo>
                    <a:pt x="130" y="53"/>
                    <a:pt x="135" y="54"/>
                    <a:pt x="140" y="56"/>
                  </a:cubicBezTo>
                  <a:cubicBezTo>
                    <a:pt x="137" y="42"/>
                    <a:pt x="132" y="30"/>
                    <a:pt x="125" y="21"/>
                  </a:cubicBezTo>
                  <a:cubicBezTo>
                    <a:pt x="142" y="28"/>
                    <a:pt x="156" y="42"/>
                    <a:pt x="164" y="58"/>
                  </a:cubicBezTo>
                  <a:cubicBezTo>
                    <a:pt x="145" y="58"/>
                    <a:pt x="145" y="58"/>
                    <a:pt x="145" y="58"/>
                  </a:cubicBezTo>
                  <a:cubicBezTo>
                    <a:pt x="151" y="62"/>
                    <a:pt x="157" y="66"/>
                    <a:pt x="162" y="72"/>
                  </a:cubicBezTo>
                  <a:cubicBezTo>
                    <a:pt x="169" y="72"/>
                    <a:pt x="169" y="72"/>
                    <a:pt x="169" y="72"/>
                  </a:cubicBezTo>
                  <a:cubicBezTo>
                    <a:pt x="171" y="79"/>
                    <a:pt x="172" y="86"/>
                    <a:pt x="172" y="93"/>
                  </a:cubicBezTo>
                  <a:cubicBezTo>
                    <a:pt x="172" y="93"/>
                    <a:pt x="172" y="94"/>
                    <a:pt x="172" y="94"/>
                  </a:cubicBezTo>
                  <a:cubicBezTo>
                    <a:pt x="174" y="104"/>
                    <a:pt x="173" y="113"/>
                    <a:pt x="170" y="123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9" y="131"/>
                    <a:pt x="179" y="131"/>
                    <a:pt x="179" y="131"/>
                  </a:cubicBezTo>
                  <a:cubicBezTo>
                    <a:pt x="179" y="128"/>
                    <a:pt x="179" y="128"/>
                    <a:pt x="179" y="128"/>
                  </a:cubicBezTo>
                  <a:cubicBezTo>
                    <a:pt x="184" y="117"/>
                    <a:pt x="186" y="106"/>
                    <a:pt x="186" y="93"/>
                  </a:cubicBezTo>
                  <a:cubicBezTo>
                    <a:pt x="186" y="42"/>
                    <a:pt x="144" y="0"/>
                    <a:pt x="93" y="0"/>
                  </a:cubicBezTo>
                  <a:cubicBezTo>
                    <a:pt x="42" y="0"/>
                    <a:pt x="0" y="42"/>
                    <a:pt x="0" y="93"/>
                  </a:cubicBezTo>
                  <a:cubicBezTo>
                    <a:pt x="0" y="144"/>
                    <a:pt x="42" y="186"/>
                    <a:pt x="93" y="186"/>
                  </a:cubicBezTo>
                  <a:cubicBezTo>
                    <a:pt x="115" y="186"/>
                    <a:pt x="135" y="178"/>
                    <a:pt x="151" y="166"/>
                  </a:cubicBezTo>
                  <a:lnTo>
                    <a:pt x="142" y="155"/>
                  </a:lnTo>
                  <a:close/>
                  <a:moveTo>
                    <a:pt x="61" y="21"/>
                  </a:moveTo>
                  <a:cubicBezTo>
                    <a:pt x="54" y="31"/>
                    <a:pt x="49" y="44"/>
                    <a:pt x="45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30" y="42"/>
                    <a:pt x="44" y="28"/>
                    <a:pt x="61" y="21"/>
                  </a:cubicBezTo>
                  <a:close/>
                  <a:moveTo>
                    <a:pt x="14" y="93"/>
                  </a:moveTo>
                  <a:cubicBezTo>
                    <a:pt x="14" y="86"/>
                    <a:pt x="15" y="79"/>
                    <a:pt x="17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2" y="79"/>
                    <a:pt x="42" y="86"/>
                    <a:pt x="42" y="93"/>
                  </a:cubicBezTo>
                  <a:cubicBezTo>
                    <a:pt x="42" y="101"/>
                    <a:pt x="42" y="109"/>
                    <a:pt x="43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5" y="109"/>
                    <a:pt x="14" y="101"/>
                    <a:pt x="14" y="93"/>
                  </a:cubicBezTo>
                  <a:close/>
                  <a:moveTo>
                    <a:pt x="23" y="131"/>
                  </a:moveTo>
                  <a:cubicBezTo>
                    <a:pt x="46" y="131"/>
                    <a:pt x="46" y="131"/>
                    <a:pt x="46" y="131"/>
                  </a:cubicBezTo>
                  <a:cubicBezTo>
                    <a:pt x="49" y="144"/>
                    <a:pt x="54" y="156"/>
                    <a:pt x="61" y="165"/>
                  </a:cubicBezTo>
                  <a:cubicBezTo>
                    <a:pt x="45" y="158"/>
                    <a:pt x="32" y="146"/>
                    <a:pt x="23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2EDDC46D-F6FC-476A-A106-1963F2FBAC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2925" y="5691188"/>
              <a:ext cx="446088" cy="446088"/>
            </a:xfrm>
            <a:custGeom>
              <a:avLst/>
              <a:gdLst>
                <a:gd name="T0" fmla="*/ 116 w 117"/>
                <a:gd name="T1" fmla="*/ 103 h 117"/>
                <a:gd name="T2" fmla="*/ 81 w 117"/>
                <a:gd name="T3" fmla="*/ 65 h 117"/>
                <a:gd name="T4" fmla="*/ 80 w 117"/>
                <a:gd name="T5" fmla="*/ 65 h 117"/>
                <a:gd name="T6" fmla="*/ 84 w 117"/>
                <a:gd name="T7" fmla="*/ 33 h 117"/>
                <a:gd name="T8" fmla="*/ 33 w 117"/>
                <a:gd name="T9" fmla="*/ 6 h 117"/>
                <a:gd name="T10" fmla="*/ 7 w 117"/>
                <a:gd name="T11" fmla="*/ 57 h 117"/>
                <a:gd name="T12" fmla="*/ 57 w 117"/>
                <a:gd name="T13" fmla="*/ 83 h 117"/>
                <a:gd name="T14" fmla="*/ 67 w 117"/>
                <a:gd name="T15" fmla="*/ 79 h 117"/>
                <a:gd name="T16" fmla="*/ 101 w 117"/>
                <a:gd name="T17" fmla="*/ 116 h 117"/>
                <a:gd name="T18" fmla="*/ 106 w 117"/>
                <a:gd name="T19" fmla="*/ 115 h 117"/>
                <a:gd name="T20" fmla="*/ 114 w 117"/>
                <a:gd name="T21" fmla="*/ 108 h 117"/>
                <a:gd name="T22" fmla="*/ 116 w 117"/>
                <a:gd name="T23" fmla="*/ 103 h 117"/>
                <a:gd name="T24" fmla="*/ 17 w 117"/>
                <a:gd name="T25" fmla="*/ 54 h 117"/>
                <a:gd name="T26" fmla="*/ 36 w 117"/>
                <a:gd name="T27" fmla="*/ 17 h 117"/>
                <a:gd name="T28" fmla="*/ 73 w 117"/>
                <a:gd name="T29" fmla="*/ 36 h 117"/>
                <a:gd name="T30" fmla="*/ 54 w 117"/>
                <a:gd name="T31" fmla="*/ 73 h 117"/>
                <a:gd name="T32" fmla="*/ 17 w 117"/>
                <a:gd name="T33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7" h="117">
                  <a:moveTo>
                    <a:pt x="116" y="103"/>
                  </a:move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0" y="65"/>
                    <a:pt x="80" y="65"/>
                  </a:cubicBezTo>
                  <a:cubicBezTo>
                    <a:pt x="86" y="55"/>
                    <a:pt x="87" y="44"/>
                    <a:pt x="84" y="33"/>
                  </a:cubicBezTo>
                  <a:cubicBezTo>
                    <a:pt x="77" y="11"/>
                    <a:pt x="54" y="0"/>
                    <a:pt x="33" y="6"/>
                  </a:cubicBezTo>
                  <a:cubicBezTo>
                    <a:pt x="12" y="13"/>
                    <a:pt x="0" y="36"/>
                    <a:pt x="7" y="57"/>
                  </a:cubicBezTo>
                  <a:cubicBezTo>
                    <a:pt x="13" y="78"/>
                    <a:pt x="36" y="90"/>
                    <a:pt x="57" y="83"/>
                  </a:cubicBezTo>
                  <a:cubicBezTo>
                    <a:pt x="61" y="82"/>
                    <a:pt x="64" y="81"/>
                    <a:pt x="67" y="79"/>
                  </a:cubicBezTo>
                  <a:cubicBezTo>
                    <a:pt x="101" y="116"/>
                    <a:pt x="101" y="116"/>
                    <a:pt x="101" y="116"/>
                  </a:cubicBezTo>
                  <a:cubicBezTo>
                    <a:pt x="102" y="117"/>
                    <a:pt x="104" y="117"/>
                    <a:pt x="106" y="115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6" y="106"/>
                    <a:pt x="117" y="104"/>
                    <a:pt x="116" y="103"/>
                  </a:cubicBezTo>
                  <a:close/>
                  <a:moveTo>
                    <a:pt x="17" y="54"/>
                  </a:moveTo>
                  <a:cubicBezTo>
                    <a:pt x="12" y="38"/>
                    <a:pt x="21" y="22"/>
                    <a:pt x="36" y="17"/>
                  </a:cubicBezTo>
                  <a:cubicBezTo>
                    <a:pt x="52" y="12"/>
                    <a:pt x="69" y="20"/>
                    <a:pt x="73" y="36"/>
                  </a:cubicBezTo>
                  <a:cubicBezTo>
                    <a:pt x="78" y="52"/>
                    <a:pt x="70" y="68"/>
                    <a:pt x="54" y="73"/>
                  </a:cubicBezTo>
                  <a:cubicBezTo>
                    <a:pt x="39" y="78"/>
                    <a:pt x="22" y="69"/>
                    <a:pt x="17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38" name="Freeform 22">
              <a:extLst>
                <a:ext uri="{FF2B5EF4-FFF2-40B4-BE49-F238E27FC236}">
                  <a16:creationId xmlns:a16="http://schemas.microsoft.com/office/drawing/2014/main" id="{220079E2-12AA-4269-8A8B-52861AE76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3888" y="5754688"/>
              <a:ext cx="190500" cy="141288"/>
            </a:xfrm>
            <a:custGeom>
              <a:avLst/>
              <a:gdLst>
                <a:gd name="T0" fmla="*/ 10 w 50"/>
                <a:gd name="T1" fmla="*/ 16 h 37"/>
                <a:gd name="T2" fmla="*/ 48 w 50"/>
                <a:gd name="T3" fmla="*/ 36 h 37"/>
                <a:gd name="T4" fmla="*/ 48 w 50"/>
                <a:gd name="T5" fmla="*/ 37 h 37"/>
                <a:gd name="T6" fmla="*/ 49 w 50"/>
                <a:gd name="T7" fmla="*/ 20 h 37"/>
                <a:gd name="T8" fmla="*/ 17 w 50"/>
                <a:gd name="T9" fmla="*/ 4 h 37"/>
                <a:gd name="T10" fmla="*/ 0 w 50"/>
                <a:gd name="T11" fmla="*/ 21 h 37"/>
                <a:gd name="T12" fmla="*/ 10 w 50"/>
                <a:gd name="T13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37">
                  <a:moveTo>
                    <a:pt x="10" y="16"/>
                  </a:moveTo>
                  <a:cubicBezTo>
                    <a:pt x="26" y="11"/>
                    <a:pt x="43" y="20"/>
                    <a:pt x="48" y="36"/>
                  </a:cubicBezTo>
                  <a:cubicBezTo>
                    <a:pt x="48" y="36"/>
                    <a:pt x="48" y="36"/>
                    <a:pt x="48" y="37"/>
                  </a:cubicBezTo>
                  <a:cubicBezTo>
                    <a:pt x="50" y="32"/>
                    <a:pt x="50" y="26"/>
                    <a:pt x="49" y="20"/>
                  </a:cubicBezTo>
                  <a:cubicBezTo>
                    <a:pt x="45" y="7"/>
                    <a:pt x="30" y="0"/>
                    <a:pt x="17" y="4"/>
                  </a:cubicBezTo>
                  <a:cubicBezTo>
                    <a:pt x="8" y="6"/>
                    <a:pt x="2" y="13"/>
                    <a:pt x="0" y="21"/>
                  </a:cubicBezTo>
                  <a:cubicBezTo>
                    <a:pt x="3" y="19"/>
                    <a:pt x="6" y="17"/>
                    <a:pt x="1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</p:grpSp>
      <p:grpSp>
        <p:nvGrpSpPr>
          <p:cNvPr id="39" name="Group 35">
            <a:extLst>
              <a:ext uri="{FF2B5EF4-FFF2-40B4-BE49-F238E27FC236}">
                <a16:creationId xmlns:a16="http://schemas.microsoft.com/office/drawing/2014/main" id="{A43FFE0A-35B0-4735-B4E8-0C23E06B1AEF}"/>
              </a:ext>
            </a:extLst>
          </p:cNvPr>
          <p:cNvGrpSpPr/>
          <p:nvPr/>
        </p:nvGrpSpPr>
        <p:grpSpPr>
          <a:xfrm>
            <a:off x="3769903" y="4404972"/>
            <a:ext cx="666523" cy="635827"/>
            <a:chOff x="8875713" y="2687638"/>
            <a:chExt cx="1447800" cy="1381125"/>
          </a:xfrm>
          <a:solidFill>
            <a:schemeClr val="accent2"/>
          </a:solidFill>
        </p:grpSpPr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D34BA910-2F7C-41F8-BFB0-AD6A9F66D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75713" y="2687638"/>
              <a:ext cx="1447800" cy="1381125"/>
            </a:xfrm>
            <a:custGeom>
              <a:avLst/>
              <a:gdLst>
                <a:gd name="T0" fmla="*/ 117 w 128"/>
                <a:gd name="T1" fmla="*/ 0 h 122"/>
                <a:gd name="T2" fmla="*/ 11 w 128"/>
                <a:gd name="T3" fmla="*/ 0 h 122"/>
                <a:gd name="T4" fmla="*/ 0 w 128"/>
                <a:gd name="T5" fmla="*/ 11 h 122"/>
                <a:gd name="T6" fmla="*/ 0 w 128"/>
                <a:gd name="T7" fmla="*/ 93 h 122"/>
                <a:gd name="T8" fmla="*/ 11 w 128"/>
                <a:gd name="T9" fmla="*/ 104 h 122"/>
                <a:gd name="T10" fmla="*/ 43 w 128"/>
                <a:gd name="T11" fmla="*/ 104 h 122"/>
                <a:gd name="T12" fmla="*/ 37 w 128"/>
                <a:gd name="T13" fmla="*/ 110 h 122"/>
                <a:gd name="T14" fmla="*/ 34 w 128"/>
                <a:gd name="T15" fmla="*/ 113 h 122"/>
                <a:gd name="T16" fmla="*/ 34 w 128"/>
                <a:gd name="T17" fmla="*/ 118 h 122"/>
                <a:gd name="T18" fmla="*/ 42 w 128"/>
                <a:gd name="T19" fmla="*/ 122 h 122"/>
                <a:gd name="T20" fmla="*/ 86 w 128"/>
                <a:gd name="T21" fmla="*/ 122 h 122"/>
                <a:gd name="T22" fmla="*/ 94 w 128"/>
                <a:gd name="T23" fmla="*/ 118 h 122"/>
                <a:gd name="T24" fmla="*/ 94 w 128"/>
                <a:gd name="T25" fmla="*/ 113 h 122"/>
                <a:gd name="T26" fmla="*/ 91 w 128"/>
                <a:gd name="T27" fmla="*/ 110 h 122"/>
                <a:gd name="T28" fmla="*/ 85 w 128"/>
                <a:gd name="T29" fmla="*/ 104 h 122"/>
                <a:gd name="T30" fmla="*/ 117 w 128"/>
                <a:gd name="T31" fmla="*/ 104 h 122"/>
                <a:gd name="T32" fmla="*/ 128 w 128"/>
                <a:gd name="T33" fmla="*/ 93 h 122"/>
                <a:gd name="T34" fmla="*/ 128 w 128"/>
                <a:gd name="T35" fmla="*/ 11 h 122"/>
                <a:gd name="T36" fmla="*/ 117 w 128"/>
                <a:gd name="T37" fmla="*/ 0 h 122"/>
                <a:gd name="T38" fmla="*/ 88 w 128"/>
                <a:gd name="T39" fmla="*/ 113 h 122"/>
                <a:gd name="T40" fmla="*/ 90 w 128"/>
                <a:gd name="T41" fmla="*/ 116 h 122"/>
                <a:gd name="T42" fmla="*/ 90 w 128"/>
                <a:gd name="T43" fmla="*/ 116 h 122"/>
                <a:gd name="T44" fmla="*/ 86 w 128"/>
                <a:gd name="T45" fmla="*/ 118 h 122"/>
                <a:gd name="T46" fmla="*/ 42 w 128"/>
                <a:gd name="T47" fmla="*/ 118 h 122"/>
                <a:gd name="T48" fmla="*/ 38 w 128"/>
                <a:gd name="T49" fmla="*/ 116 h 122"/>
                <a:gd name="T50" fmla="*/ 38 w 128"/>
                <a:gd name="T51" fmla="*/ 116 h 122"/>
                <a:gd name="T52" fmla="*/ 38 w 128"/>
                <a:gd name="T53" fmla="*/ 116 h 122"/>
                <a:gd name="T54" fmla="*/ 40 w 128"/>
                <a:gd name="T55" fmla="*/ 113 h 122"/>
                <a:gd name="T56" fmla="*/ 48 w 128"/>
                <a:gd name="T57" fmla="*/ 104 h 122"/>
                <a:gd name="T58" fmla="*/ 80 w 128"/>
                <a:gd name="T59" fmla="*/ 104 h 122"/>
                <a:gd name="T60" fmla="*/ 88 w 128"/>
                <a:gd name="T61" fmla="*/ 113 h 122"/>
                <a:gd name="T62" fmla="*/ 120 w 128"/>
                <a:gd name="T63" fmla="*/ 93 h 122"/>
                <a:gd name="T64" fmla="*/ 117 w 128"/>
                <a:gd name="T65" fmla="*/ 96 h 122"/>
                <a:gd name="T66" fmla="*/ 11 w 128"/>
                <a:gd name="T67" fmla="*/ 96 h 122"/>
                <a:gd name="T68" fmla="*/ 8 w 128"/>
                <a:gd name="T69" fmla="*/ 93 h 122"/>
                <a:gd name="T70" fmla="*/ 8 w 128"/>
                <a:gd name="T71" fmla="*/ 11 h 122"/>
                <a:gd name="T72" fmla="*/ 11 w 128"/>
                <a:gd name="T73" fmla="*/ 8 h 122"/>
                <a:gd name="T74" fmla="*/ 117 w 128"/>
                <a:gd name="T75" fmla="*/ 8 h 122"/>
                <a:gd name="T76" fmla="*/ 120 w 128"/>
                <a:gd name="T77" fmla="*/ 11 h 122"/>
                <a:gd name="T78" fmla="*/ 120 w 128"/>
                <a:gd name="T79" fmla="*/ 9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8" h="122">
                  <a:moveTo>
                    <a:pt x="11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9"/>
                    <a:pt x="5" y="104"/>
                    <a:pt x="11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1" y="106"/>
                    <a:pt x="39" y="109"/>
                    <a:pt x="37" y="110"/>
                  </a:cubicBezTo>
                  <a:cubicBezTo>
                    <a:pt x="36" y="111"/>
                    <a:pt x="35" y="112"/>
                    <a:pt x="34" y="113"/>
                  </a:cubicBezTo>
                  <a:cubicBezTo>
                    <a:pt x="34" y="114"/>
                    <a:pt x="33" y="116"/>
                    <a:pt x="34" y="118"/>
                  </a:cubicBezTo>
                  <a:cubicBezTo>
                    <a:pt x="35" y="120"/>
                    <a:pt x="37" y="122"/>
                    <a:pt x="42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91" y="122"/>
                    <a:pt x="93" y="120"/>
                    <a:pt x="94" y="118"/>
                  </a:cubicBezTo>
                  <a:cubicBezTo>
                    <a:pt x="95" y="116"/>
                    <a:pt x="94" y="114"/>
                    <a:pt x="94" y="113"/>
                  </a:cubicBezTo>
                  <a:cubicBezTo>
                    <a:pt x="93" y="112"/>
                    <a:pt x="92" y="111"/>
                    <a:pt x="91" y="110"/>
                  </a:cubicBezTo>
                  <a:cubicBezTo>
                    <a:pt x="89" y="109"/>
                    <a:pt x="87" y="106"/>
                    <a:pt x="85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23" y="104"/>
                    <a:pt x="128" y="99"/>
                    <a:pt x="128" y="9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8" y="5"/>
                    <a:pt x="123" y="0"/>
                    <a:pt x="117" y="0"/>
                  </a:cubicBezTo>
                  <a:close/>
                  <a:moveTo>
                    <a:pt x="88" y="113"/>
                  </a:moveTo>
                  <a:cubicBezTo>
                    <a:pt x="89" y="114"/>
                    <a:pt x="90" y="115"/>
                    <a:pt x="90" y="116"/>
                  </a:cubicBezTo>
                  <a:cubicBezTo>
                    <a:pt x="90" y="116"/>
                    <a:pt x="91" y="116"/>
                    <a:pt x="90" y="116"/>
                  </a:cubicBezTo>
                  <a:cubicBezTo>
                    <a:pt x="90" y="117"/>
                    <a:pt x="88" y="118"/>
                    <a:pt x="86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0" y="118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40" y="113"/>
                  </a:cubicBezTo>
                  <a:cubicBezTo>
                    <a:pt x="44" y="109"/>
                    <a:pt x="47" y="106"/>
                    <a:pt x="48" y="104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81" y="106"/>
                    <a:pt x="84" y="109"/>
                    <a:pt x="88" y="113"/>
                  </a:cubicBezTo>
                  <a:close/>
                  <a:moveTo>
                    <a:pt x="120" y="93"/>
                  </a:moveTo>
                  <a:cubicBezTo>
                    <a:pt x="120" y="95"/>
                    <a:pt x="119" y="96"/>
                    <a:pt x="117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9" y="96"/>
                    <a:pt x="8" y="95"/>
                    <a:pt x="8" y="93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1" y="8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8"/>
                    <a:pt x="120" y="9"/>
                    <a:pt x="120" y="11"/>
                  </a:cubicBezTo>
                  <a:lnTo>
                    <a:pt x="12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D6402494-E719-4F0F-8A1D-E842E2165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6688" y="2868613"/>
              <a:ext cx="1085850" cy="723900"/>
            </a:xfrm>
            <a:custGeom>
              <a:avLst/>
              <a:gdLst>
                <a:gd name="T0" fmla="*/ 89 w 96"/>
                <a:gd name="T1" fmla="*/ 0 h 64"/>
                <a:gd name="T2" fmla="*/ 7 w 96"/>
                <a:gd name="T3" fmla="*/ 0 h 64"/>
                <a:gd name="T4" fmla="*/ 0 w 96"/>
                <a:gd name="T5" fmla="*/ 7 h 64"/>
                <a:gd name="T6" fmla="*/ 0 w 96"/>
                <a:gd name="T7" fmla="*/ 57 h 64"/>
                <a:gd name="T8" fmla="*/ 7 w 96"/>
                <a:gd name="T9" fmla="*/ 64 h 64"/>
                <a:gd name="T10" fmla="*/ 89 w 96"/>
                <a:gd name="T11" fmla="*/ 64 h 64"/>
                <a:gd name="T12" fmla="*/ 96 w 96"/>
                <a:gd name="T13" fmla="*/ 57 h 64"/>
                <a:gd name="T14" fmla="*/ 96 w 96"/>
                <a:gd name="T15" fmla="*/ 7 h 64"/>
                <a:gd name="T16" fmla="*/ 89 w 96"/>
                <a:gd name="T17" fmla="*/ 0 h 64"/>
                <a:gd name="T18" fmla="*/ 92 w 96"/>
                <a:gd name="T19" fmla="*/ 57 h 64"/>
                <a:gd name="T20" fmla="*/ 89 w 96"/>
                <a:gd name="T21" fmla="*/ 60 h 64"/>
                <a:gd name="T22" fmla="*/ 7 w 96"/>
                <a:gd name="T23" fmla="*/ 60 h 64"/>
                <a:gd name="T24" fmla="*/ 4 w 96"/>
                <a:gd name="T25" fmla="*/ 57 h 64"/>
                <a:gd name="T26" fmla="*/ 4 w 96"/>
                <a:gd name="T27" fmla="*/ 7 h 64"/>
                <a:gd name="T28" fmla="*/ 7 w 96"/>
                <a:gd name="T29" fmla="*/ 4 h 64"/>
                <a:gd name="T30" fmla="*/ 89 w 96"/>
                <a:gd name="T31" fmla="*/ 4 h 64"/>
                <a:gd name="T32" fmla="*/ 92 w 96"/>
                <a:gd name="T33" fmla="*/ 7 h 64"/>
                <a:gd name="T34" fmla="*/ 92 w 96"/>
                <a:gd name="T35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6" h="64">
                  <a:moveTo>
                    <a:pt x="8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1"/>
                    <a:pt x="3" y="64"/>
                    <a:pt x="7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3" y="64"/>
                    <a:pt x="96" y="61"/>
                    <a:pt x="96" y="5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3"/>
                    <a:pt x="93" y="0"/>
                    <a:pt x="89" y="0"/>
                  </a:cubicBezTo>
                  <a:close/>
                  <a:moveTo>
                    <a:pt x="92" y="57"/>
                  </a:moveTo>
                  <a:cubicBezTo>
                    <a:pt x="92" y="59"/>
                    <a:pt x="91" y="60"/>
                    <a:pt x="89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5" y="60"/>
                    <a:pt x="4" y="59"/>
                    <a:pt x="4" y="5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91" y="4"/>
                    <a:pt x="92" y="5"/>
                    <a:pt x="92" y="7"/>
                  </a:cubicBezTo>
                  <a:lnTo>
                    <a:pt x="9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8AAF52DA-1459-40E2-8CB8-BE593D8C86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31350" y="3616325"/>
              <a:ext cx="136525" cy="134938"/>
            </a:xfrm>
            <a:custGeom>
              <a:avLst/>
              <a:gdLst>
                <a:gd name="T0" fmla="*/ 6 w 12"/>
                <a:gd name="T1" fmla="*/ 0 h 12"/>
                <a:gd name="T2" fmla="*/ 0 w 12"/>
                <a:gd name="T3" fmla="*/ 6 h 12"/>
                <a:gd name="T4" fmla="*/ 6 w 12"/>
                <a:gd name="T5" fmla="*/ 12 h 12"/>
                <a:gd name="T6" fmla="*/ 12 w 12"/>
                <a:gd name="T7" fmla="*/ 6 h 12"/>
                <a:gd name="T8" fmla="*/ 6 w 12"/>
                <a:gd name="T9" fmla="*/ 0 h 12"/>
                <a:gd name="T10" fmla="*/ 6 w 12"/>
                <a:gd name="T11" fmla="*/ 8 h 12"/>
                <a:gd name="T12" fmla="*/ 4 w 12"/>
                <a:gd name="T13" fmla="*/ 6 h 12"/>
                <a:gd name="T14" fmla="*/ 6 w 12"/>
                <a:gd name="T15" fmla="*/ 4 h 12"/>
                <a:gd name="T16" fmla="*/ 8 w 12"/>
                <a:gd name="T17" fmla="*/ 6 h 12"/>
                <a:gd name="T18" fmla="*/ 6 w 12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  <a:moveTo>
                    <a:pt x="6" y="8"/>
                  </a:moveTo>
                  <a:cubicBezTo>
                    <a:pt x="5" y="8"/>
                    <a:pt x="4" y="7"/>
                    <a:pt x="4" y="6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7" y="4"/>
                    <a:pt x="8" y="5"/>
                    <a:pt x="8" y="6"/>
                  </a:cubicBezTo>
                  <a:cubicBezTo>
                    <a:pt x="8" y="7"/>
                    <a:pt x="7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9E56F612-5EC7-4DD3-BEDC-D341C2BAB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9125" y="3095625"/>
              <a:ext cx="227013" cy="271463"/>
            </a:xfrm>
            <a:custGeom>
              <a:avLst/>
              <a:gdLst>
                <a:gd name="T0" fmla="*/ 2 w 20"/>
                <a:gd name="T1" fmla="*/ 0 h 24"/>
                <a:gd name="T2" fmla="*/ 0 w 20"/>
                <a:gd name="T3" fmla="*/ 1 h 24"/>
                <a:gd name="T4" fmla="*/ 0 w 20"/>
                <a:gd name="T5" fmla="*/ 23 h 24"/>
                <a:gd name="T6" fmla="*/ 2 w 20"/>
                <a:gd name="T7" fmla="*/ 24 h 24"/>
                <a:gd name="T8" fmla="*/ 19 w 20"/>
                <a:gd name="T9" fmla="*/ 13 h 24"/>
                <a:gd name="T10" fmla="*/ 19 w 20"/>
                <a:gd name="T11" fmla="*/ 11 h 24"/>
                <a:gd name="T12" fmla="*/ 2 w 20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4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0" y="21"/>
                    <a:pt x="0" y="23"/>
                  </a:cubicBezTo>
                  <a:cubicBezTo>
                    <a:pt x="0" y="24"/>
                    <a:pt x="1" y="24"/>
                    <a:pt x="2" y="24"/>
                  </a:cubicBezTo>
                  <a:cubicBezTo>
                    <a:pt x="3" y="23"/>
                    <a:pt x="18" y="14"/>
                    <a:pt x="19" y="13"/>
                  </a:cubicBezTo>
                  <a:cubicBezTo>
                    <a:pt x="20" y="13"/>
                    <a:pt x="20" y="11"/>
                    <a:pt x="19" y="11"/>
                  </a:cubicBezTo>
                  <a:cubicBezTo>
                    <a:pt x="18" y="10"/>
                    <a:pt x="3" y="1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cs typeface="+mn-ea"/>
                <a:sym typeface="+mn-lt"/>
              </a:endParaRPr>
            </a:p>
          </p:txBody>
        </p:sp>
      </p:grpSp>
      <p:sp>
        <p:nvSpPr>
          <p:cNvPr id="44" name="TextBox 40">
            <a:extLst>
              <a:ext uri="{FF2B5EF4-FFF2-40B4-BE49-F238E27FC236}">
                <a16:creationId xmlns:a16="http://schemas.microsoft.com/office/drawing/2014/main" id="{B7F38EAF-7013-4F4B-8FD0-4EE1ADF0018D}"/>
              </a:ext>
            </a:extLst>
          </p:cNvPr>
          <p:cNvSpPr txBox="1"/>
          <p:nvPr/>
        </p:nvSpPr>
        <p:spPr>
          <a:xfrm>
            <a:off x="6854615" y="1792418"/>
            <a:ext cx="2181244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Add title text</a:t>
            </a:r>
            <a:endParaRPr lang="id-ID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5" name="TextBox 41">
            <a:extLst>
              <a:ext uri="{FF2B5EF4-FFF2-40B4-BE49-F238E27FC236}">
                <a16:creationId xmlns:a16="http://schemas.microsoft.com/office/drawing/2014/main" id="{B626201C-B404-4605-8FE0-351318F35117}"/>
              </a:ext>
            </a:extLst>
          </p:cNvPr>
          <p:cNvSpPr txBox="1"/>
          <p:nvPr/>
        </p:nvSpPr>
        <p:spPr>
          <a:xfrm>
            <a:off x="8221685" y="2247490"/>
            <a:ext cx="2522322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46" name="TextBox 42">
            <a:extLst>
              <a:ext uri="{FF2B5EF4-FFF2-40B4-BE49-F238E27FC236}">
                <a16:creationId xmlns:a16="http://schemas.microsoft.com/office/drawing/2014/main" id="{8EE9E015-8D6C-4308-80BF-9FB079C6369B}"/>
              </a:ext>
            </a:extLst>
          </p:cNvPr>
          <p:cNvSpPr txBox="1"/>
          <p:nvPr/>
        </p:nvSpPr>
        <p:spPr>
          <a:xfrm>
            <a:off x="6854615" y="2279134"/>
            <a:ext cx="141737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4800" b="1" dirty="0">
                <a:solidFill>
                  <a:schemeClr val="accent1"/>
                </a:solidFill>
                <a:cs typeface="+mn-ea"/>
                <a:sym typeface="+mn-lt"/>
              </a:rPr>
              <a:t>20%</a:t>
            </a:r>
          </a:p>
        </p:txBody>
      </p:sp>
      <p:sp>
        <p:nvSpPr>
          <p:cNvPr id="47" name="TextBox 43">
            <a:extLst>
              <a:ext uri="{FF2B5EF4-FFF2-40B4-BE49-F238E27FC236}">
                <a16:creationId xmlns:a16="http://schemas.microsoft.com/office/drawing/2014/main" id="{5E3E35B7-568D-4B37-8C74-98633151C4E7}"/>
              </a:ext>
            </a:extLst>
          </p:cNvPr>
          <p:cNvSpPr txBox="1"/>
          <p:nvPr/>
        </p:nvSpPr>
        <p:spPr>
          <a:xfrm>
            <a:off x="6854615" y="3345305"/>
            <a:ext cx="2181244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Add title text</a:t>
            </a:r>
            <a:endParaRPr lang="id-ID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8" name="TextBox 44">
            <a:extLst>
              <a:ext uri="{FF2B5EF4-FFF2-40B4-BE49-F238E27FC236}">
                <a16:creationId xmlns:a16="http://schemas.microsoft.com/office/drawing/2014/main" id="{7D344F40-1E5D-4916-ACBA-FCDB507F7313}"/>
              </a:ext>
            </a:extLst>
          </p:cNvPr>
          <p:cNvSpPr txBox="1"/>
          <p:nvPr/>
        </p:nvSpPr>
        <p:spPr>
          <a:xfrm>
            <a:off x="8221685" y="3800377"/>
            <a:ext cx="2522322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49" name="TextBox 45">
            <a:extLst>
              <a:ext uri="{FF2B5EF4-FFF2-40B4-BE49-F238E27FC236}">
                <a16:creationId xmlns:a16="http://schemas.microsoft.com/office/drawing/2014/main" id="{92E36BA0-1EB7-4971-A4DB-C4032FED6983}"/>
              </a:ext>
            </a:extLst>
          </p:cNvPr>
          <p:cNvSpPr txBox="1"/>
          <p:nvPr/>
        </p:nvSpPr>
        <p:spPr>
          <a:xfrm>
            <a:off x="6854615" y="3832021"/>
            <a:ext cx="141737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4800" b="1" dirty="0">
                <a:solidFill>
                  <a:schemeClr val="accent1"/>
                </a:solidFill>
                <a:cs typeface="+mn-ea"/>
                <a:sym typeface="+mn-lt"/>
              </a:rPr>
              <a:t>25%</a:t>
            </a:r>
          </a:p>
        </p:txBody>
      </p:sp>
      <p:sp>
        <p:nvSpPr>
          <p:cNvPr id="50" name="TextBox 46">
            <a:extLst>
              <a:ext uri="{FF2B5EF4-FFF2-40B4-BE49-F238E27FC236}">
                <a16:creationId xmlns:a16="http://schemas.microsoft.com/office/drawing/2014/main" id="{F411B89E-C469-49D6-A133-7F44BE96EF94}"/>
              </a:ext>
            </a:extLst>
          </p:cNvPr>
          <p:cNvSpPr txBox="1"/>
          <p:nvPr/>
        </p:nvSpPr>
        <p:spPr>
          <a:xfrm>
            <a:off x="6854615" y="4819689"/>
            <a:ext cx="2181244" cy="36933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Add title text</a:t>
            </a:r>
            <a:endParaRPr lang="id-ID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1" name="TextBox 47">
            <a:extLst>
              <a:ext uri="{FF2B5EF4-FFF2-40B4-BE49-F238E27FC236}">
                <a16:creationId xmlns:a16="http://schemas.microsoft.com/office/drawing/2014/main" id="{CF4EE877-5E21-44FC-B10F-AACF07F4DBFF}"/>
              </a:ext>
            </a:extLst>
          </p:cNvPr>
          <p:cNvSpPr txBox="1"/>
          <p:nvPr/>
        </p:nvSpPr>
        <p:spPr>
          <a:xfrm>
            <a:off x="8221685" y="5274761"/>
            <a:ext cx="2522322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4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52" name="TextBox 48">
            <a:extLst>
              <a:ext uri="{FF2B5EF4-FFF2-40B4-BE49-F238E27FC236}">
                <a16:creationId xmlns:a16="http://schemas.microsoft.com/office/drawing/2014/main" id="{31C1AAD6-02D9-45C4-95A9-63502AC79CAD}"/>
              </a:ext>
            </a:extLst>
          </p:cNvPr>
          <p:cNvSpPr txBox="1"/>
          <p:nvPr/>
        </p:nvSpPr>
        <p:spPr>
          <a:xfrm>
            <a:off x="6854615" y="5306405"/>
            <a:ext cx="141737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4800" b="1" dirty="0">
                <a:solidFill>
                  <a:schemeClr val="accent1"/>
                </a:solidFill>
                <a:cs typeface="+mn-ea"/>
                <a:sym typeface="+mn-lt"/>
              </a:rPr>
              <a:t>65%</a:t>
            </a:r>
          </a:p>
        </p:txBody>
      </p:sp>
    </p:spTree>
    <p:extLst>
      <p:ext uri="{BB962C8B-B14F-4D97-AF65-F5344CB8AC3E}">
        <p14:creationId xmlns:p14="http://schemas.microsoft.com/office/powerpoint/2010/main" val="4171184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2000">
        <p14:gallery dir="l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5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0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30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35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2" grpId="0" animBg="1"/>
      <p:bldP spid="33" grpId="0" animBg="1"/>
      <p:bldP spid="34" grpId="0" animBg="1"/>
      <p:bldP spid="44" grpId="0" animBg="1"/>
      <p:bldP spid="45" grpId="0"/>
      <p:bldP spid="46" grpId="0"/>
      <p:bldP spid="47" grpId="0" animBg="1"/>
      <p:bldP spid="48" grpId="0"/>
      <p:bldP spid="49" grpId="0"/>
      <p:bldP spid="50" grpId="0" animBg="1"/>
      <p:bldP spid="51" grpId="0"/>
      <p:bldP spid="5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그룹 2">
            <a:extLst>
              <a:ext uri="{FF2B5EF4-FFF2-40B4-BE49-F238E27FC236}">
                <a16:creationId xmlns:a16="http://schemas.microsoft.com/office/drawing/2014/main" id="{06AE2845-5AB7-46B5-8189-838460390CEF}"/>
              </a:ext>
            </a:extLst>
          </p:cNvPr>
          <p:cNvGrpSpPr/>
          <p:nvPr/>
        </p:nvGrpSpPr>
        <p:grpSpPr>
          <a:xfrm>
            <a:off x="2408581" y="-2121078"/>
            <a:ext cx="7344000" cy="7344000"/>
            <a:chOff x="2408581" y="-2121078"/>
            <a:chExt cx="7344000" cy="7344000"/>
          </a:xfrm>
        </p:grpSpPr>
        <p:sp>
          <p:nvSpPr>
            <p:cNvPr id="35" name="원호 102">
              <a:extLst>
                <a:ext uri="{FF2B5EF4-FFF2-40B4-BE49-F238E27FC236}">
                  <a16:creationId xmlns:a16="http://schemas.microsoft.com/office/drawing/2014/main" id="{B7CDBD32-AF71-49C8-9EC6-4DE67BC3DC48}"/>
                </a:ext>
              </a:extLst>
            </p:cNvPr>
            <p:cNvSpPr/>
            <p:nvPr/>
          </p:nvSpPr>
          <p:spPr>
            <a:xfrm rot="10800000">
              <a:off x="2839936" y="-1701864"/>
              <a:ext cx="6481290" cy="6480000"/>
            </a:xfrm>
            <a:prstGeom prst="arc">
              <a:avLst>
                <a:gd name="adj1" fmla="val 10974708"/>
                <a:gd name="adj2" fmla="val 21424242"/>
              </a:avLst>
            </a:prstGeom>
            <a:ln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sp>
          <p:nvSpPr>
            <p:cNvPr id="36" name="원호 81">
              <a:extLst>
                <a:ext uri="{FF2B5EF4-FFF2-40B4-BE49-F238E27FC236}">
                  <a16:creationId xmlns:a16="http://schemas.microsoft.com/office/drawing/2014/main" id="{2739C00F-4009-4F2D-838F-C82F6255F8F4}"/>
                </a:ext>
              </a:extLst>
            </p:cNvPr>
            <p:cNvSpPr/>
            <p:nvPr/>
          </p:nvSpPr>
          <p:spPr>
            <a:xfrm rot="10800000">
              <a:off x="3200581" y="-1276015"/>
              <a:ext cx="5760000" cy="5760000"/>
            </a:xfrm>
            <a:prstGeom prst="arc">
              <a:avLst>
                <a:gd name="adj1" fmla="val 10872618"/>
                <a:gd name="adj2" fmla="val 21571369"/>
              </a:avLst>
            </a:pr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sp>
          <p:nvSpPr>
            <p:cNvPr id="37" name="원호 118">
              <a:extLst>
                <a:ext uri="{FF2B5EF4-FFF2-40B4-BE49-F238E27FC236}">
                  <a16:creationId xmlns:a16="http://schemas.microsoft.com/office/drawing/2014/main" id="{F8939E7F-218C-4576-B05C-A997CDBF0775}"/>
                </a:ext>
              </a:extLst>
            </p:cNvPr>
            <p:cNvSpPr/>
            <p:nvPr/>
          </p:nvSpPr>
          <p:spPr>
            <a:xfrm rot="10800000">
              <a:off x="2408581" y="-2121078"/>
              <a:ext cx="7344000" cy="7344000"/>
            </a:xfrm>
            <a:prstGeom prst="arc">
              <a:avLst>
                <a:gd name="adj1" fmla="val 10965341"/>
                <a:gd name="adj2" fmla="val 21471770"/>
              </a:avLst>
            </a:prstGeom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</p:grpSp>
      <p:pic>
        <p:nvPicPr>
          <p:cNvPr id="38" name="그림 100">
            <a:extLst>
              <a:ext uri="{FF2B5EF4-FFF2-40B4-BE49-F238E27FC236}">
                <a16:creationId xmlns:a16="http://schemas.microsoft.com/office/drawing/2014/main" id="{A0EB0818-DF5B-42BA-AA30-0556579CB7A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65191" y="-203200"/>
            <a:ext cx="4430780" cy="4325688"/>
          </a:xfrm>
          <a:prstGeom prst="ellipse">
            <a:avLst/>
          </a:prstGeom>
        </p:spPr>
      </p:pic>
      <p:grpSp>
        <p:nvGrpSpPr>
          <p:cNvPr id="39" name="그룹 116">
            <a:extLst>
              <a:ext uri="{FF2B5EF4-FFF2-40B4-BE49-F238E27FC236}">
                <a16:creationId xmlns:a16="http://schemas.microsoft.com/office/drawing/2014/main" id="{F44D2485-D788-434E-AD6A-8B8835570ECD}"/>
              </a:ext>
            </a:extLst>
          </p:cNvPr>
          <p:cNvGrpSpPr/>
          <p:nvPr/>
        </p:nvGrpSpPr>
        <p:grpSpPr>
          <a:xfrm>
            <a:off x="4515211" y="3768281"/>
            <a:ext cx="1015700" cy="1015700"/>
            <a:chOff x="4604825" y="4052307"/>
            <a:chExt cx="1015700" cy="1015700"/>
          </a:xfrm>
        </p:grpSpPr>
        <p:sp>
          <p:nvSpPr>
            <p:cNvPr id="40" name="타원 40">
              <a:extLst>
                <a:ext uri="{FF2B5EF4-FFF2-40B4-BE49-F238E27FC236}">
                  <a16:creationId xmlns:a16="http://schemas.microsoft.com/office/drawing/2014/main" id="{D80A297D-54D2-41D4-B7D3-AFC83615AE91}"/>
                </a:ext>
              </a:extLst>
            </p:cNvPr>
            <p:cNvSpPr/>
            <p:nvPr/>
          </p:nvSpPr>
          <p:spPr>
            <a:xfrm>
              <a:off x="4604825" y="4052307"/>
              <a:ext cx="1015700" cy="10157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pic>
          <p:nvPicPr>
            <p:cNvPr id="41" name="그림 41">
              <a:extLst>
                <a:ext uri="{FF2B5EF4-FFF2-40B4-BE49-F238E27FC236}">
                  <a16:creationId xmlns:a16="http://schemas.microsoft.com/office/drawing/2014/main" id="{6605B167-DA2B-4D28-993D-B9F347EE4C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77896" y="4319446"/>
              <a:ext cx="469557" cy="469557"/>
            </a:xfrm>
            <a:prstGeom prst="rect">
              <a:avLst/>
            </a:prstGeom>
          </p:spPr>
        </p:pic>
      </p:grpSp>
      <p:grpSp>
        <p:nvGrpSpPr>
          <p:cNvPr id="42" name="그룹 115">
            <a:extLst>
              <a:ext uri="{FF2B5EF4-FFF2-40B4-BE49-F238E27FC236}">
                <a16:creationId xmlns:a16="http://schemas.microsoft.com/office/drawing/2014/main" id="{0643D678-B3F8-45A1-B6D6-314BE1F03718}"/>
              </a:ext>
            </a:extLst>
          </p:cNvPr>
          <p:cNvGrpSpPr/>
          <p:nvPr/>
        </p:nvGrpSpPr>
        <p:grpSpPr>
          <a:xfrm>
            <a:off x="3163804" y="2420946"/>
            <a:ext cx="1015700" cy="1015700"/>
            <a:chOff x="3243143" y="2591956"/>
            <a:chExt cx="1015700" cy="1015700"/>
          </a:xfrm>
        </p:grpSpPr>
        <p:sp>
          <p:nvSpPr>
            <p:cNvPr id="43" name="타원 44">
              <a:extLst>
                <a:ext uri="{FF2B5EF4-FFF2-40B4-BE49-F238E27FC236}">
                  <a16:creationId xmlns:a16="http://schemas.microsoft.com/office/drawing/2014/main" id="{256A8A7A-A925-4713-927C-1B5A7642E3AC}"/>
                </a:ext>
              </a:extLst>
            </p:cNvPr>
            <p:cNvSpPr/>
            <p:nvPr/>
          </p:nvSpPr>
          <p:spPr>
            <a:xfrm>
              <a:off x="3243143" y="2591956"/>
              <a:ext cx="1015700" cy="10157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pic>
          <p:nvPicPr>
            <p:cNvPr id="44" name="그림 45">
              <a:extLst>
                <a:ext uri="{FF2B5EF4-FFF2-40B4-BE49-F238E27FC236}">
                  <a16:creationId xmlns:a16="http://schemas.microsoft.com/office/drawing/2014/main" id="{2582E15C-82CA-4CA1-9785-31563BFF8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6214" y="2842616"/>
              <a:ext cx="469557" cy="469557"/>
            </a:xfrm>
            <a:prstGeom prst="rect">
              <a:avLst/>
            </a:prstGeom>
          </p:spPr>
        </p:pic>
      </p:grpSp>
      <p:grpSp>
        <p:nvGrpSpPr>
          <p:cNvPr id="45" name="그룹 117">
            <a:extLst>
              <a:ext uri="{FF2B5EF4-FFF2-40B4-BE49-F238E27FC236}">
                <a16:creationId xmlns:a16="http://schemas.microsoft.com/office/drawing/2014/main" id="{8DC3382C-B69B-455D-8280-AD85924FF2CF}"/>
              </a:ext>
            </a:extLst>
          </p:cNvPr>
          <p:cNvGrpSpPr/>
          <p:nvPr/>
        </p:nvGrpSpPr>
        <p:grpSpPr>
          <a:xfrm>
            <a:off x="6773357" y="3768281"/>
            <a:ext cx="1015700" cy="1015700"/>
            <a:chOff x="7006808" y="4062581"/>
            <a:chExt cx="1015700" cy="1015700"/>
          </a:xfrm>
        </p:grpSpPr>
        <p:sp>
          <p:nvSpPr>
            <p:cNvPr id="46" name="타원 48">
              <a:extLst>
                <a:ext uri="{FF2B5EF4-FFF2-40B4-BE49-F238E27FC236}">
                  <a16:creationId xmlns:a16="http://schemas.microsoft.com/office/drawing/2014/main" id="{519581F3-9EB2-4877-BA9E-F8E8B44BD686}"/>
                </a:ext>
              </a:extLst>
            </p:cNvPr>
            <p:cNvSpPr/>
            <p:nvPr/>
          </p:nvSpPr>
          <p:spPr>
            <a:xfrm>
              <a:off x="7006808" y="4062581"/>
              <a:ext cx="1015700" cy="10157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pic>
          <p:nvPicPr>
            <p:cNvPr id="47" name="그림 49">
              <a:extLst>
                <a:ext uri="{FF2B5EF4-FFF2-40B4-BE49-F238E27FC236}">
                  <a16:creationId xmlns:a16="http://schemas.microsoft.com/office/drawing/2014/main" id="{95983AE1-708B-4E0D-A396-E70A728D6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79879" y="4329720"/>
              <a:ext cx="469557" cy="469557"/>
            </a:xfrm>
            <a:prstGeom prst="rect">
              <a:avLst/>
            </a:prstGeom>
          </p:spPr>
        </p:pic>
      </p:grpSp>
      <p:grpSp>
        <p:nvGrpSpPr>
          <p:cNvPr id="48" name="그룹 77">
            <a:extLst>
              <a:ext uri="{FF2B5EF4-FFF2-40B4-BE49-F238E27FC236}">
                <a16:creationId xmlns:a16="http://schemas.microsoft.com/office/drawing/2014/main" id="{D03E19BC-BDC2-4F85-B8E0-7B5F728ED8CC}"/>
              </a:ext>
            </a:extLst>
          </p:cNvPr>
          <p:cNvGrpSpPr/>
          <p:nvPr/>
        </p:nvGrpSpPr>
        <p:grpSpPr>
          <a:xfrm>
            <a:off x="8205497" y="2420946"/>
            <a:ext cx="1015700" cy="1015700"/>
            <a:chOff x="6890416" y="4782793"/>
            <a:chExt cx="1615304" cy="1615304"/>
          </a:xfrm>
        </p:grpSpPr>
        <p:sp>
          <p:nvSpPr>
            <p:cNvPr id="49" name="타원 52">
              <a:extLst>
                <a:ext uri="{FF2B5EF4-FFF2-40B4-BE49-F238E27FC236}">
                  <a16:creationId xmlns:a16="http://schemas.microsoft.com/office/drawing/2014/main" id="{1BFE4F0E-5533-42C8-A349-7053226DCAB1}"/>
                </a:ext>
              </a:extLst>
            </p:cNvPr>
            <p:cNvSpPr/>
            <p:nvPr/>
          </p:nvSpPr>
          <p:spPr>
            <a:xfrm>
              <a:off x="6890416" y="4782793"/>
              <a:ext cx="1615304" cy="161530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pic>
          <p:nvPicPr>
            <p:cNvPr id="50" name="그림 53">
              <a:extLst>
                <a:ext uri="{FF2B5EF4-FFF2-40B4-BE49-F238E27FC236}">
                  <a16:creationId xmlns:a16="http://schemas.microsoft.com/office/drawing/2014/main" id="{C137BF37-F93B-43DC-AEF2-F02347E927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24691" y="5181429"/>
              <a:ext cx="746754" cy="746754"/>
            </a:xfrm>
            <a:prstGeom prst="rect">
              <a:avLst/>
            </a:prstGeom>
          </p:spPr>
        </p:pic>
      </p:grpSp>
      <p:grpSp>
        <p:nvGrpSpPr>
          <p:cNvPr id="51" name="그룹 105">
            <a:extLst>
              <a:ext uri="{FF2B5EF4-FFF2-40B4-BE49-F238E27FC236}">
                <a16:creationId xmlns:a16="http://schemas.microsoft.com/office/drawing/2014/main" id="{2C1AE2FF-E255-400C-AACF-E713C3F432CA}"/>
              </a:ext>
            </a:extLst>
          </p:cNvPr>
          <p:cNvGrpSpPr/>
          <p:nvPr/>
        </p:nvGrpSpPr>
        <p:grpSpPr>
          <a:xfrm>
            <a:off x="2742722" y="3142575"/>
            <a:ext cx="252446" cy="252446"/>
            <a:chOff x="2855640" y="3717032"/>
            <a:chExt cx="288032" cy="288032"/>
          </a:xfrm>
        </p:grpSpPr>
        <p:sp>
          <p:nvSpPr>
            <p:cNvPr id="52" name="타원 103">
              <a:extLst>
                <a:ext uri="{FF2B5EF4-FFF2-40B4-BE49-F238E27FC236}">
                  <a16:creationId xmlns:a16="http://schemas.microsoft.com/office/drawing/2014/main" id="{60592764-371A-4C9D-B1EB-D1A008EF3F50}"/>
                </a:ext>
              </a:extLst>
            </p:cNvPr>
            <p:cNvSpPr/>
            <p:nvPr/>
          </p:nvSpPr>
          <p:spPr>
            <a:xfrm>
              <a:off x="2855640" y="3717032"/>
              <a:ext cx="288032" cy="28803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sp>
          <p:nvSpPr>
            <p:cNvPr id="53" name="타원 104">
              <a:extLst>
                <a:ext uri="{FF2B5EF4-FFF2-40B4-BE49-F238E27FC236}">
                  <a16:creationId xmlns:a16="http://schemas.microsoft.com/office/drawing/2014/main" id="{77654CF2-8088-4C3E-A735-C0729B239619}"/>
                </a:ext>
              </a:extLst>
            </p:cNvPr>
            <p:cNvSpPr/>
            <p:nvPr/>
          </p:nvSpPr>
          <p:spPr>
            <a:xfrm>
              <a:off x="2919409" y="3780801"/>
              <a:ext cx="160494" cy="16049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</p:grpSp>
      <p:grpSp>
        <p:nvGrpSpPr>
          <p:cNvPr id="54" name="그룹 106">
            <a:extLst>
              <a:ext uri="{FF2B5EF4-FFF2-40B4-BE49-F238E27FC236}">
                <a16:creationId xmlns:a16="http://schemas.microsoft.com/office/drawing/2014/main" id="{500CF87E-1C7A-48D6-A9D4-7E32D2BAF958}"/>
              </a:ext>
            </a:extLst>
          </p:cNvPr>
          <p:cNvGrpSpPr/>
          <p:nvPr/>
        </p:nvGrpSpPr>
        <p:grpSpPr>
          <a:xfrm>
            <a:off x="4676576" y="4860669"/>
            <a:ext cx="252446" cy="252446"/>
            <a:chOff x="2855640" y="3717032"/>
            <a:chExt cx="288032" cy="288032"/>
          </a:xfrm>
        </p:grpSpPr>
        <p:sp>
          <p:nvSpPr>
            <p:cNvPr id="55" name="타원 107">
              <a:extLst>
                <a:ext uri="{FF2B5EF4-FFF2-40B4-BE49-F238E27FC236}">
                  <a16:creationId xmlns:a16="http://schemas.microsoft.com/office/drawing/2014/main" id="{5ADDBD99-52FE-4252-9FC4-F28EECB92524}"/>
                </a:ext>
              </a:extLst>
            </p:cNvPr>
            <p:cNvSpPr/>
            <p:nvPr/>
          </p:nvSpPr>
          <p:spPr>
            <a:xfrm>
              <a:off x="2855640" y="3717032"/>
              <a:ext cx="288032" cy="28803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sp>
          <p:nvSpPr>
            <p:cNvPr id="56" name="타원 108">
              <a:extLst>
                <a:ext uri="{FF2B5EF4-FFF2-40B4-BE49-F238E27FC236}">
                  <a16:creationId xmlns:a16="http://schemas.microsoft.com/office/drawing/2014/main" id="{F0089ECF-4FF8-483F-8F10-3A1DA9E1D968}"/>
                </a:ext>
              </a:extLst>
            </p:cNvPr>
            <p:cNvSpPr/>
            <p:nvPr/>
          </p:nvSpPr>
          <p:spPr>
            <a:xfrm>
              <a:off x="2919409" y="3780801"/>
              <a:ext cx="160494" cy="16049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</p:grpSp>
      <p:grpSp>
        <p:nvGrpSpPr>
          <p:cNvPr id="57" name="그룹 109">
            <a:extLst>
              <a:ext uri="{FF2B5EF4-FFF2-40B4-BE49-F238E27FC236}">
                <a16:creationId xmlns:a16="http://schemas.microsoft.com/office/drawing/2014/main" id="{523F92D1-9D64-4EB5-B3F2-D664D2D91D6F}"/>
              </a:ext>
            </a:extLst>
          </p:cNvPr>
          <p:cNvGrpSpPr/>
          <p:nvPr/>
        </p:nvGrpSpPr>
        <p:grpSpPr>
          <a:xfrm>
            <a:off x="7450598" y="4819573"/>
            <a:ext cx="252446" cy="252446"/>
            <a:chOff x="2855640" y="3717032"/>
            <a:chExt cx="288032" cy="288032"/>
          </a:xfrm>
        </p:grpSpPr>
        <p:sp>
          <p:nvSpPr>
            <p:cNvPr id="58" name="타원 110">
              <a:extLst>
                <a:ext uri="{FF2B5EF4-FFF2-40B4-BE49-F238E27FC236}">
                  <a16:creationId xmlns:a16="http://schemas.microsoft.com/office/drawing/2014/main" id="{BF8FB240-0B27-415A-B65D-3F6EB093300D}"/>
                </a:ext>
              </a:extLst>
            </p:cNvPr>
            <p:cNvSpPr/>
            <p:nvPr/>
          </p:nvSpPr>
          <p:spPr>
            <a:xfrm>
              <a:off x="2855640" y="3717032"/>
              <a:ext cx="288032" cy="28803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sp>
          <p:nvSpPr>
            <p:cNvPr id="59" name="타원 111">
              <a:extLst>
                <a:ext uri="{FF2B5EF4-FFF2-40B4-BE49-F238E27FC236}">
                  <a16:creationId xmlns:a16="http://schemas.microsoft.com/office/drawing/2014/main" id="{1C8634F8-FB69-42DE-B385-888CB0610EA6}"/>
                </a:ext>
              </a:extLst>
            </p:cNvPr>
            <p:cNvSpPr/>
            <p:nvPr/>
          </p:nvSpPr>
          <p:spPr>
            <a:xfrm>
              <a:off x="2919409" y="3780801"/>
              <a:ext cx="160494" cy="16049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</p:grpSp>
      <p:grpSp>
        <p:nvGrpSpPr>
          <p:cNvPr id="60" name="그룹 112">
            <a:extLst>
              <a:ext uri="{FF2B5EF4-FFF2-40B4-BE49-F238E27FC236}">
                <a16:creationId xmlns:a16="http://schemas.microsoft.com/office/drawing/2014/main" id="{B744A3D9-CC78-4B9C-931A-4551D4BAABD0}"/>
              </a:ext>
            </a:extLst>
          </p:cNvPr>
          <p:cNvGrpSpPr/>
          <p:nvPr/>
        </p:nvGrpSpPr>
        <p:grpSpPr>
          <a:xfrm>
            <a:off x="9217754" y="3216804"/>
            <a:ext cx="252446" cy="252446"/>
            <a:chOff x="2855640" y="3717032"/>
            <a:chExt cx="288032" cy="288032"/>
          </a:xfrm>
        </p:grpSpPr>
        <p:sp>
          <p:nvSpPr>
            <p:cNvPr id="61" name="타원 113">
              <a:extLst>
                <a:ext uri="{FF2B5EF4-FFF2-40B4-BE49-F238E27FC236}">
                  <a16:creationId xmlns:a16="http://schemas.microsoft.com/office/drawing/2014/main" id="{B44B5236-AD5A-4F0B-BF8E-D02E3FD45FC8}"/>
                </a:ext>
              </a:extLst>
            </p:cNvPr>
            <p:cNvSpPr/>
            <p:nvPr/>
          </p:nvSpPr>
          <p:spPr>
            <a:xfrm>
              <a:off x="2855640" y="3717032"/>
              <a:ext cx="288032" cy="28803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  <p:sp>
          <p:nvSpPr>
            <p:cNvPr id="62" name="타원 114">
              <a:extLst>
                <a:ext uri="{FF2B5EF4-FFF2-40B4-BE49-F238E27FC236}">
                  <a16:creationId xmlns:a16="http://schemas.microsoft.com/office/drawing/2014/main" id="{33074CD3-9D22-4DDA-8F32-DC9A335A2B90}"/>
                </a:ext>
              </a:extLst>
            </p:cNvPr>
            <p:cNvSpPr/>
            <p:nvPr/>
          </p:nvSpPr>
          <p:spPr>
            <a:xfrm>
              <a:off x="2919409" y="3780801"/>
              <a:ext cx="160494" cy="16049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cs typeface="+mn-ea"/>
                <a:sym typeface="+mn-lt"/>
              </a:endParaRPr>
            </a:p>
          </p:txBody>
        </p:sp>
      </p:grpSp>
      <p:sp>
        <p:nvSpPr>
          <p:cNvPr id="63" name="添加标题">
            <a:extLst>
              <a:ext uri="{FF2B5EF4-FFF2-40B4-BE49-F238E27FC236}">
                <a16:creationId xmlns:a16="http://schemas.microsoft.com/office/drawing/2014/main" id="{9D36D805-D00C-45DD-A00C-DAE4BC8DDBAF}"/>
              </a:ext>
            </a:extLst>
          </p:cNvPr>
          <p:cNvSpPr txBox="1"/>
          <p:nvPr/>
        </p:nvSpPr>
        <p:spPr>
          <a:xfrm>
            <a:off x="414259" y="2814359"/>
            <a:ext cx="2079085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64" name="添加标题">
            <a:extLst>
              <a:ext uri="{FF2B5EF4-FFF2-40B4-BE49-F238E27FC236}">
                <a16:creationId xmlns:a16="http://schemas.microsoft.com/office/drawing/2014/main" id="{6103555F-2E69-46D5-88D8-B3768BD668C5}"/>
              </a:ext>
            </a:extLst>
          </p:cNvPr>
          <p:cNvSpPr txBox="1"/>
          <p:nvPr/>
        </p:nvSpPr>
        <p:spPr>
          <a:xfrm>
            <a:off x="2090577" y="4715107"/>
            <a:ext cx="2079085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 algn="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65" name="添加标题">
            <a:extLst>
              <a:ext uri="{FF2B5EF4-FFF2-40B4-BE49-F238E27FC236}">
                <a16:creationId xmlns:a16="http://schemas.microsoft.com/office/drawing/2014/main" id="{E2218EE1-5611-4566-A9DE-D7709AB6F42E}"/>
              </a:ext>
            </a:extLst>
          </p:cNvPr>
          <p:cNvSpPr txBox="1"/>
          <p:nvPr/>
        </p:nvSpPr>
        <p:spPr>
          <a:xfrm>
            <a:off x="7827903" y="4715107"/>
            <a:ext cx="2079085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66" name="添加标题">
            <a:extLst>
              <a:ext uri="{FF2B5EF4-FFF2-40B4-BE49-F238E27FC236}">
                <a16:creationId xmlns:a16="http://schemas.microsoft.com/office/drawing/2014/main" id="{9A74124F-5869-4971-B5AA-ED493D4AD3B3}"/>
              </a:ext>
            </a:extLst>
          </p:cNvPr>
          <p:cNvSpPr txBox="1"/>
          <p:nvPr/>
        </p:nvSpPr>
        <p:spPr>
          <a:xfrm>
            <a:off x="9757544" y="2960416"/>
            <a:ext cx="2079085" cy="1027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>
                <a:cs typeface="+mn-ea"/>
                <a:sym typeface="+mn-lt"/>
              </a:rPr>
              <a:t>Add title text</a:t>
            </a: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132E43EE-849E-C7EE-2846-3B5E503585FC}"/>
              </a:ext>
            </a:extLst>
          </p:cNvPr>
          <p:cNvSpPr txBox="1"/>
          <p:nvPr/>
        </p:nvSpPr>
        <p:spPr>
          <a:xfrm>
            <a:off x="1031404" y="6615855"/>
            <a:ext cx="1224136" cy="118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00" dirty="0">
                <a:solidFill>
                  <a:prstClr val="black"/>
                </a:solidFill>
                <a:latin typeface="微软雅黑" panose="020B0503020204020204" pitchFamily="34" charset="-122"/>
              </a:rPr>
              <a:t>PPT</a:t>
            </a:r>
            <a:r>
              <a:rPr lang="zh-CN" altLang="en-US" sz="100" dirty="0">
                <a:solidFill>
                  <a:prstClr val="black"/>
                </a:solidFill>
                <a:latin typeface="微软雅黑" panose="020B0503020204020204" pitchFamily="34" charset="-122"/>
              </a:rPr>
              <a:t>下载 </a:t>
            </a:r>
            <a:r>
              <a:rPr lang="en-US" altLang="zh-CN" sz="100" dirty="0">
                <a:solidFill>
                  <a:prstClr val="black"/>
                </a:solidFill>
                <a:latin typeface="微软雅黑" panose="020B0503020204020204" pitchFamily="34" charset="-122"/>
              </a:rPr>
              <a:t>http://www.1ppt.com/xiazai/</a:t>
            </a:r>
          </a:p>
        </p:txBody>
      </p:sp>
    </p:spTree>
    <p:extLst>
      <p:ext uri="{BB962C8B-B14F-4D97-AF65-F5344CB8AC3E}">
        <p14:creationId xmlns:p14="http://schemas.microsoft.com/office/powerpoint/2010/main" val="3790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2000">
        <p14:gallery dir="l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0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5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0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64" grpId="0"/>
      <p:bldP spid="65" grpId="0"/>
      <p:bldP spid="6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5295BBC7-0058-4546-BABC-BA7C230E7D2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0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6858000 h 6858000"/>
              <a:gd name="connsiteX3" fmla="*/ 0 w 12193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57ABD210-35CF-4F66-9291-850933B84BE5}"/>
              </a:ext>
            </a:extLst>
          </p:cNvPr>
          <p:cNvSpPr/>
          <p:nvPr/>
        </p:nvSpPr>
        <p:spPr>
          <a:xfrm>
            <a:off x="-600" y="0"/>
            <a:ext cx="12193200" cy="6858000"/>
          </a:xfrm>
          <a:prstGeom prst="rect">
            <a:avLst/>
          </a:prstGeom>
          <a:solidFill>
            <a:srgbClr val="000000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E8F2F652-875F-4B4D-8D57-C4B254B589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0898" y="0"/>
            <a:ext cx="4784504" cy="6858000"/>
          </a:xfrm>
          <a:custGeom>
            <a:avLst/>
            <a:gdLst>
              <a:gd name="connsiteX0" fmla="*/ 2758478 w 4784504"/>
              <a:gd name="connsiteY0" fmla="*/ 0 h 6858000"/>
              <a:gd name="connsiteX1" fmla="*/ 4784504 w 4784504"/>
              <a:gd name="connsiteY1" fmla="*/ 0 h 6858000"/>
              <a:gd name="connsiteX2" fmla="*/ 2162477 w 4784504"/>
              <a:gd name="connsiteY2" fmla="*/ 2622027 h 6858000"/>
              <a:gd name="connsiteX3" fmla="*/ 2162477 w 4784504"/>
              <a:gd name="connsiteY3" fmla="*/ 4235974 h 6858000"/>
              <a:gd name="connsiteX4" fmla="*/ 4784504 w 4784504"/>
              <a:gd name="connsiteY4" fmla="*/ 6858000 h 6858000"/>
              <a:gd name="connsiteX5" fmla="*/ 2758478 w 4784504"/>
              <a:gd name="connsiteY5" fmla="*/ 6858000 h 6858000"/>
              <a:gd name="connsiteX6" fmla="*/ 474129 w 4784504"/>
              <a:gd name="connsiteY6" fmla="*/ 4573651 h 6858000"/>
              <a:gd name="connsiteX7" fmla="*/ 474129 w 4784504"/>
              <a:gd name="connsiteY7" fmla="*/ 2284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4504" h="6858000">
                <a:moveTo>
                  <a:pt x="2758478" y="0"/>
                </a:moveTo>
                <a:lnTo>
                  <a:pt x="4784504" y="0"/>
                </a:lnTo>
                <a:lnTo>
                  <a:pt x="2162477" y="2622027"/>
                </a:lnTo>
                <a:cubicBezTo>
                  <a:pt x="1716800" y="3067704"/>
                  <a:pt x="1716800" y="3790296"/>
                  <a:pt x="2162477" y="4235974"/>
                </a:cubicBezTo>
                <a:lnTo>
                  <a:pt x="4784504" y="6858000"/>
                </a:lnTo>
                <a:lnTo>
                  <a:pt x="2758478" y="6858000"/>
                </a:lnTo>
                <a:lnTo>
                  <a:pt x="474129" y="4573651"/>
                </a:lnTo>
                <a:cubicBezTo>
                  <a:pt x="-158042" y="3941480"/>
                  <a:pt x="-158042" y="2916520"/>
                  <a:pt x="474129" y="228435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51859471-0600-4C6A-8A35-33C51981703A}"/>
              </a:ext>
            </a:extLst>
          </p:cNvPr>
          <p:cNvSpPr/>
          <p:nvPr/>
        </p:nvSpPr>
        <p:spPr>
          <a:xfrm rot="18900000" flipH="1">
            <a:off x="399615" y="288023"/>
            <a:ext cx="6281955" cy="6281955"/>
          </a:xfrm>
          <a:custGeom>
            <a:avLst/>
            <a:gdLst>
              <a:gd name="connsiteX0" fmla="*/ 1432617 w 6281955"/>
              <a:gd name="connsiteY0" fmla="*/ 0 h 6281955"/>
              <a:gd name="connsiteX1" fmla="*/ 0 w 6281955"/>
              <a:gd name="connsiteY1" fmla="*/ 1432617 h 6281955"/>
              <a:gd name="connsiteX2" fmla="*/ 3708106 w 6281955"/>
              <a:gd name="connsiteY2" fmla="*/ 1432617 h 6281955"/>
              <a:gd name="connsiteX3" fmla="*/ 4849338 w 6281955"/>
              <a:gd name="connsiteY3" fmla="*/ 2573849 h 6281955"/>
              <a:gd name="connsiteX4" fmla="*/ 4849338 w 6281955"/>
              <a:gd name="connsiteY4" fmla="*/ 6281955 h 6281955"/>
              <a:gd name="connsiteX5" fmla="*/ 6281955 w 6281955"/>
              <a:gd name="connsiteY5" fmla="*/ 4849338 h 6281955"/>
              <a:gd name="connsiteX6" fmla="*/ 6281955 w 6281955"/>
              <a:gd name="connsiteY6" fmla="*/ 1618780 h 6281955"/>
              <a:gd name="connsiteX7" fmla="*/ 4663174 w 6281955"/>
              <a:gd name="connsiteY7" fmla="*/ 0 h 6281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1955" h="6281955">
                <a:moveTo>
                  <a:pt x="1432617" y="0"/>
                </a:moveTo>
                <a:lnTo>
                  <a:pt x="0" y="1432617"/>
                </a:lnTo>
                <a:lnTo>
                  <a:pt x="3708106" y="1432617"/>
                </a:lnTo>
                <a:cubicBezTo>
                  <a:pt x="4338388" y="1432617"/>
                  <a:pt x="4849338" y="1943567"/>
                  <a:pt x="4849338" y="2573849"/>
                </a:cubicBezTo>
                <a:lnTo>
                  <a:pt x="4849338" y="6281955"/>
                </a:lnTo>
                <a:lnTo>
                  <a:pt x="6281955" y="4849338"/>
                </a:lnTo>
                <a:lnTo>
                  <a:pt x="6281955" y="1618780"/>
                </a:lnTo>
                <a:cubicBezTo>
                  <a:pt x="6281955" y="724756"/>
                  <a:pt x="5557199" y="0"/>
                  <a:pt x="4663174" y="0"/>
                </a:cubicBezTo>
                <a:close/>
              </a:path>
            </a:pathLst>
          </a:custGeom>
          <a:solidFill>
            <a:schemeClr val="accent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39B3DCD6-B29F-44A4-80D5-7E53165EF9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38395" y="0"/>
            <a:ext cx="4784504" cy="6858000"/>
          </a:xfrm>
          <a:custGeom>
            <a:avLst/>
            <a:gdLst>
              <a:gd name="connsiteX0" fmla="*/ 2758478 w 4784504"/>
              <a:gd name="connsiteY0" fmla="*/ 0 h 6858000"/>
              <a:gd name="connsiteX1" fmla="*/ 4784504 w 4784504"/>
              <a:gd name="connsiteY1" fmla="*/ 0 h 6858000"/>
              <a:gd name="connsiteX2" fmla="*/ 2162477 w 4784504"/>
              <a:gd name="connsiteY2" fmla="*/ 2622027 h 6858000"/>
              <a:gd name="connsiteX3" fmla="*/ 2162477 w 4784504"/>
              <a:gd name="connsiteY3" fmla="*/ 4235974 h 6858000"/>
              <a:gd name="connsiteX4" fmla="*/ 4784504 w 4784504"/>
              <a:gd name="connsiteY4" fmla="*/ 6858000 h 6858000"/>
              <a:gd name="connsiteX5" fmla="*/ 2758478 w 4784504"/>
              <a:gd name="connsiteY5" fmla="*/ 6858000 h 6858000"/>
              <a:gd name="connsiteX6" fmla="*/ 474129 w 4784504"/>
              <a:gd name="connsiteY6" fmla="*/ 4573651 h 6858000"/>
              <a:gd name="connsiteX7" fmla="*/ 474129 w 4784504"/>
              <a:gd name="connsiteY7" fmla="*/ 22843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4504" h="6858000">
                <a:moveTo>
                  <a:pt x="2758478" y="0"/>
                </a:moveTo>
                <a:lnTo>
                  <a:pt x="4784504" y="0"/>
                </a:lnTo>
                <a:lnTo>
                  <a:pt x="2162477" y="2622027"/>
                </a:lnTo>
                <a:cubicBezTo>
                  <a:pt x="1716800" y="3067704"/>
                  <a:pt x="1716800" y="3790296"/>
                  <a:pt x="2162477" y="4235974"/>
                </a:cubicBezTo>
                <a:lnTo>
                  <a:pt x="4784504" y="6858000"/>
                </a:lnTo>
                <a:lnTo>
                  <a:pt x="2758478" y="6858000"/>
                </a:lnTo>
                <a:lnTo>
                  <a:pt x="474129" y="4573651"/>
                </a:lnTo>
                <a:cubicBezTo>
                  <a:pt x="-158042" y="3941480"/>
                  <a:pt x="-158042" y="2916520"/>
                  <a:pt x="474129" y="2284350"/>
                </a:cubicBezTo>
                <a:close/>
              </a:path>
            </a:pathLst>
          </a:custGeom>
          <a:solidFill>
            <a:srgbClr val="000000">
              <a:alpha val="72000"/>
            </a:srgbClr>
          </a:solidFill>
          <a:ln>
            <a:noFill/>
          </a:ln>
        </p:spPr>
      </p:pic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0EC2D70F-24D0-4374-860C-8F87DA85BCF5}"/>
              </a:ext>
            </a:extLst>
          </p:cNvPr>
          <p:cNvSpPr/>
          <p:nvPr/>
        </p:nvSpPr>
        <p:spPr>
          <a:xfrm rot="2700000">
            <a:off x="5510431" y="288023"/>
            <a:ext cx="6281955" cy="6281955"/>
          </a:xfrm>
          <a:custGeom>
            <a:avLst/>
            <a:gdLst>
              <a:gd name="connsiteX0" fmla="*/ 1432617 w 6281955"/>
              <a:gd name="connsiteY0" fmla="*/ 0 h 6281955"/>
              <a:gd name="connsiteX1" fmla="*/ 0 w 6281955"/>
              <a:gd name="connsiteY1" fmla="*/ 1432617 h 6281955"/>
              <a:gd name="connsiteX2" fmla="*/ 3708106 w 6281955"/>
              <a:gd name="connsiteY2" fmla="*/ 1432617 h 6281955"/>
              <a:gd name="connsiteX3" fmla="*/ 4849338 w 6281955"/>
              <a:gd name="connsiteY3" fmla="*/ 2573849 h 6281955"/>
              <a:gd name="connsiteX4" fmla="*/ 4849338 w 6281955"/>
              <a:gd name="connsiteY4" fmla="*/ 6281955 h 6281955"/>
              <a:gd name="connsiteX5" fmla="*/ 6281955 w 6281955"/>
              <a:gd name="connsiteY5" fmla="*/ 4849338 h 6281955"/>
              <a:gd name="connsiteX6" fmla="*/ 6281955 w 6281955"/>
              <a:gd name="connsiteY6" fmla="*/ 1618780 h 6281955"/>
              <a:gd name="connsiteX7" fmla="*/ 4663174 w 6281955"/>
              <a:gd name="connsiteY7" fmla="*/ 0 h 6281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81955" h="6281955">
                <a:moveTo>
                  <a:pt x="1432617" y="0"/>
                </a:moveTo>
                <a:lnTo>
                  <a:pt x="0" y="1432617"/>
                </a:lnTo>
                <a:lnTo>
                  <a:pt x="3708106" y="1432617"/>
                </a:lnTo>
                <a:cubicBezTo>
                  <a:pt x="4338388" y="1432617"/>
                  <a:pt x="4849338" y="1943567"/>
                  <a:pt x="4849338" y="2573849"/>
                </a:cubicBezTo>
                <a:lnTo>
                  <a:pt x="4849338" y="6281955"/>
                </a:lnTo>
                <a:lnTo>
                  <a:pt x="6281955" y="4849338"/>
                </a:lnTo>
                <a:lnTo>
                  <a:pt x="6281955" y="1618780"/>
                </a:lnTo>
                <a:cubicBezTo>
                  <a:pt x="6281955" y="724756"/>
                  <a:pt x="5557199" y="0"/>
                  <a:pt x="4663174" y="0"/>
                </a:cubicBezTo>
                <a:close/>
              </a:path>
            </a:pathLst>
          </a:custGeom>
          <a:solidFill>
            <a:schemeClr val="accent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文本框">
            <a:extLst>
              <a:ext uri="{FF2B5EF4-FFF2-40B4-BE49-F238E27FC236}">
                <a16:creationId xmlns:a16="http://schemas.microsoft.com/office/drawing/2014/main" id="{EF9BD0BA-39D7-48AF-9D6E-213A4A37C656}"/>
              </a:ext>
            </a:extLst>
          </p:cNvPr>
          <p:cNvSpPr txBox="1"/>
          <p:nvPr/>
        </p:nvSpPr>
        <p:spPr>
          <a:xfrm>
            <a:off x="3597805" y="4161313"/>
            <a:ext cx="4996390" cy="144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3600" b="1" dirty="0">
                <a:cs typeface="+mn-ea"/>
                <a:sym typeface="+mn-lt"/>
              </a:rPr>
              <a:t>Add title text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Click here to add content, content to match the title. 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18" name="文本框">
            <a:extLst>
              <a:ext uri="{FF2B5EF4-FFF2-40B4-BE49-F238E27FC236}">
                <a16:creationId xmlns:a16="http://schemas.microsoft.com/office/drawing/2014/main" id="{AFFE1D13-058E-427E-A11E-9E3059B7ABF2}"/>
              </a:ext>
            </a:extLst>
          </p:cNvPr>
          <p:cNvSpPr txBox="1"/>
          <p:nvPr/>
        </p:nvSpPr>
        <p:spPr>
          <a:xfrm>
            <a:off x="4652221" y="973780"/>
            <a:ext cx="2887558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3800" b="1" dirty="0">
                <a:latin typeface="Abadi Extra Light" panose="020B0204020104020204" pitchFamily="34" charset="0"/>
                <a:cs typeface="+mn-ea"/>
                <a:sym typeface="+mn-lt"/>
              </a:rPr>
              <a:t>02</a:t>
            </a:r>
          </a:p>
          <a:p>
            <a:pPr algn="ctr"/>
            <a:r>
              <a:rPr lang="en-US" altLang="zh-CN" sz="4000" b="1" dirty="0">
                <a:solidFill>
                  <a:schemeClr val="tx2"/>
                </a:solidFill>
                <a:latin typeface="Abadi Extra Light" panose="020B0204020104020204" pitchFamily="34" charset="0"/>
                <a:cs typeface="+mn-ea"/>
                <a:sym typeface="+mn-lt"/>
              </a:rPr>
              <a:t>Part two</a:t>
            </a:r>
            <a:endParaRPr lang="zh-CN" altLang="en-US" sz="4000" dirty="0">
              <a:solidFill>
                <a:schemeClr val="tx2"/>
              </a:solidFill>
              <a:latin typeface="Abadi Extra Light" panose="020B0204020104020204" pitchFamily="34" charset="0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57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2000">
        <p14:gallery dir="l"/>
      </p:transition>
    </mc:Choice>
    <mc:Fallback xmlns="">
      <p:transition spd="slow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6" grpId="0" animBg="1"/>
      <p:bldP spid="17" grpId="0"/>
      <p:bldP spid="1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00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BiFfq1WE.qdOU75Po4Mw"/>
</p:tagLst>
</file>

<file path=ppt/theme/theme1.xml><?xml version="1.0" encoding="utf-8"?>
<a:theme xmlns:a="http://schemas.openxmlformats.org/drawingml/2006/main" name="www.freeppt7.com">
  <a:themeElements>
    <a:clrScheme name="自定义 163">
      <a:dk1>
        <a:srgbClr val="00D7A8"/>
      </a:dk1>
      <a:lt1>
        <a:srgbClr val="FFFFFF"/>
      </a:lt1>
      <a:dk2>
        <a:srgbClr val="EAEAEA"/>
      </a:dk2>
      <a:lt2>
        <a:srgbClr val="808080"/>
      </a:lt2>
      <a:accent1>
        <a:srgbClr val="00D7A8"/>
      </a:accent1>
      <a:accent2>
        <a:srgbClr val="19BFF4"/>
      </a:accent2>
      <a:accent3>
        <a:srgbClr val="00D7A8"/>
      </a:accent3>
      <a:accent4>
        <a:srgbClr val="19BFF4"/>
      </a:accent4>
      <a:accent5>
        <a:srgbClr val="00D7A8"/>
      </a:accent5>
      <a:accent6>
        <a:srgbClr val="19BFF4"/>
      </a:accent6>
      <a:hlink>
        <a:srgbClr val="FFFFFF"/>
      </a:hlink>
      <a:folHlink>
        <a:srgbClr val="FFFFFF"/>
      </a:folHlink>
    </a:clrScheme>
    <a:fontScheme name="f43zzppn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150000"/>
          </a:lnSpc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ww.jpppt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163">
    <a:dk1>
      <a:srgbClr val="00D7A8"/>
    </a:dk1>
    <a:lt1>
      <a:srgbClr val="FFFFFF"/>
    </a:lt1>
    <a:dk2>
      <a:srgbClr val="EAEAEA"/>
    </a:dk2>
    <a:lt2>
      <a:srgbClr val="808080"/>
    </a:lt2>
    <a:accent1>
      <a:srgbClr val="00D7A8"/>
    </a:accent1>
    <a:accent2>
      <a:srgbClr val="19BFF4"/>
    </a:accent2>
    <a:accent3>
      <a:srgbClr val="00D7A8"/>
    </a:accent3>
    <a:accent4>
      <a:srgbClr val="19BFF4"/>
    </a:accent4>
    <a:accent5>
      <a:srgbClr val="00D7A8"/>
    </a:accent5>
    <a:accent6>
      <a:srgbClr val="19BFF4"/>
    </a:accent6>
    <a:hlink>
      <a:srgbClr val="FFFFFF"/>
    </a:hlink>
    <a:folHlink>
      <a:srgbClr val="FFFF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01</TotalTime>
  <Words>1632</Words>
  <Application>Microsoft Office PowerPoint</Application>
  <PresentationFormat>宽屏</PresentationFormat>
  <Paragraphs>269</Paragraphs>
  <Slides>34</Slides>
  <Notes>25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3</vt:i4>
      </vt:variant>
      <vt:variant>
        <vt:lpstr>幻灯片标题</vt:lpstr>
      </vt:variant>
      <vt:variant>
        <vt:i4>34</vt:i4>
      </vt:variant>
    </vt:vector>
  </HeadingPairs>
  <TitlesOfParts>
    <vt:vector size="47" baseType="lpstr">
      <vt:lpstr>Gill Sans</vt:lpstr>
      <vt:lpstr>Roboto Slab Bold</vt:lpstr>
      <vt:lpstr>等线</vt:lpstr>
      <vt:lpstr>等线 Light</vt:lpstr>
      <vt:lpstr>方正正黑简体</vt:lpstr>
      <vt:lpstr>微软雅黑</vt:lpstr>
      <vt:lpstr>Abadi Extra Light</vt:lpstr>
      <vt:lpstr>Arial</vt:lpstr>
      <vt:lpstr>Calibri</vt:lpstr>
      <vt:lpstr>Lao UI</vt:lpstr>
      <vt:lpstr>www.freeppt7.com</vt:lpstr>
      <vt:lpstr>www.jpppt.com</vt:lpstr>
      <vt:lpstr>Office 主题​​</vt:lpstr>
      <vt:lpstr>PowerPoint 演示文稿</vt:lpstr>
      <vt:lpstr>PowerPoint 演示文稿</vt:lpstr>
      <vt:lpstr>PowerPoint 演示文稿</vt:lpstr>
      <vt:lpstr>PowerPoint 演示文稿</vt:lpstr>
      <vt:lpstr>Add title text</vt:lpstr>
      <vt:lpstr>Add title text</vt:lpstr>
      <vt:lpstr>Add title text</vt:lpstr>
      <vt:lpstr>PowerPoint 演示文稿</vt:lpstr>
      <vt:lpstr>PowerPoint 演示文稿</vt:lpstr>
      <vt:lpstr>Add title text</vt:lpstr>
      <vt:lpstr>Add title text</vt:lpstr>
      <vt:lpstr>Add title text</vt:lpstr>
      <vt:lpstr>Add title text</vt:lpstr>
      <vt:lpstr>Add title text</vt:lpstr>
      <vt:lpstr>PowerPoint 演示文稿</vt:lpstr>
      <vt:lpstr>PowerPoint 演示文稿</vt:lpstr>
      <vt:lpstr>Add title text</vt:lpstr>
      <vt:lpstr>Add title text</vt:lpstr>
      <vt:lpstr>PowerPoint 演示文稿</vt:lpstr>
      <vt:lpstr>Add title text</vt:lpstr>
      <vt:lpstr>Add title text</vt:lpstr>
      <vt:lpstr>Add title text</vt:lpstr>
      <vt:lpstr>Add title text</vt:lpstr>
      <vt:lpstr>PowerPoint 演示文稿</vt:lpstr>
      <vt:lpstr>Fonts &amp; colors used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第一PPT</Manager>
  <Company>第一PPT，www.1ppt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工作计划</dc:title>
  <dc:creator>第一PPT</dc:creator>
  <cp:keywords>www.1ppt.com</cp:keywords>
  <dc:description>www.1ppt.com</dc:description>
  <cp:lastModifiedBy>之灵</cp:lastModifiedBy>
  <cp:revision>2136</cp:revision>
  <dcterms:created xsi:type="dcterms:W3CDTF">2016-07-28T14:37:42Z</dcterms:created>
  <dcterms:modified xsi:type="dcterms:W3CDTF">2022-12-05T13:11:27Z</dcterms:modified>
</cp:coreProperties>
</file>